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vsdx" ContentType="application/vnd.ms-visio.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8.xml" ContentType="application/vnd.openxmlformats-officedocument.presentationml.tags+xml"/>
  <Override PartName="/ppt/notesSlides/notesSlide44.xml" ContentType="application/vnd.openxmlformats-officedocument.presentationml.notesSlide+xml"/>
  <Override PartName="/ppt/tags/tag9.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14.xml" ContentType="application/vnd.openxmlformats-officedocument.presentationml.tags+xml"/>
  <Override PartName="/ppt/notesSlides/notesSlide61.xml" ContentType="application/vnd.openxmlformats-officedocument.presentationml.notesSlide+xml"/>
  <Override PartName="/ppt/tags/tag15.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16.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4"/>
    <p:sldMasterId id="2147484016" r:id="rId5"/>
    <p:sldMasterId id="2147484030" r:id="rId6"/>
  </p:sldMasterIdLst>
  <p:notesMasterIdLst>
    <p:notesMasterId r:id="rId229"/>
  </p:notesMasterIdLst>
  <p:handoutMasterIdLst>
    <p:handoutMasterId r:id="rId230"/>
  </p:handoutMasterIdLst>
  <p:sldIdLst>
    <p:sldId id="256" r:id="rId7"/>
    <p:sldId id="304" r:id="rId8"/>
    <p:sldId id="4635" r:id="rId9"/>
    <p:sldId id="4638" r:id="rId10"/>
    <p:sldId id="4633" r:id="rId11"/>
    <p:sldId id="4594" r:id="rId12"/>
    <p:sldId id="4612" r:id="rId13"/>
    <p:sldId id="4649" r:id="rId14"/>
    <p:sldId id="384" r:id="rId15"/>
    <p:sldId id="4578" r:id="rId16"/>
    <p:sldId id="834" r:id="rId17"/>
    <p:sldId id="3095" r:id="rId18"/>
    <p:sldId id="4577" r:id="rId19"/>
    <p:sldId id="4709" r:id="rId20"/>
    <p:sldId id="4673" r:id="rId21"/>
    <p:sldId id="2159" r:id="rId22"/>
    <p:sldId id="4666" r:id="rId23"/>
    <p:sldId id="4674" r:id="rId24"/>
    <p:sldId id="4670" r:id="rId25"/>
    <p:sldId id="4668" r:id="rId26"/>
    <p:sldId id="4675" r:id="rId27"/>
    <p:sldId id="4667" r:id="rId28"/>
    <p:sldId id="4669" r:id="rId29"/>
    <p:sldId id="4697" r:id="rId30"/>
    <p:sldId id="4676" r:id="rId31"/>
    <p:sldId id="4672" r:id="rId32"/>
    <p:sldId id="4671" r:id="rId33"/>
    <p:sldId id="4677" r:id="rId34"/>
    <p:sldId id="4572" r:id="rId35"/>
    <p:sldId id="4682" r:id="rId36"/>
    <p:sldId id="4681" r:id="rId37"/>
    <p:sldId id="4698" r:id="rId38"/>
    <p:sldId id="4680" r:id="rId39"/>
    <p:sldId id="4684" r:id="rId40"/>
    <p:sldId id="4683" r:id="rId41"/>
    <p:sldId id="4694" r:id="rId42"/>
    <p:sldId id="4699" r:id="rId43"/>
    <p:sldId id="4700" r:id="rId44"/>
    <p:sldId id="4701" r:id="rId45"/>
    <p:sldId id="4702" r:id="rId46"/>
    <p:sldId id="4703" r:id="rId47"/>
    <p:sldId id="4704" r:id="rId48"/>
    <p:sldId id="4705" r:id="rId49"/>
    <p:sldId id="4706" r:id="rId50"/>
    <p:sldId id="4707" r:id="rId51"/>
    <p:sldId id="4579" r:id="rId52"/>
    <p:sldId id="4582" r:id="rId53"/>
    <p:sldId id="4573" r:id="rId54"/>
    <p:sldId id="3101" r:id="rId55"/>
    <p:sldId id="4632" r:id="rId56"/>
    <p:sldId id="3066" r:id="rId57"/>
    <p:sldId id="4580" r:id="rId58"/>
    <p:sldId id="4583" r:id="rId59"/>
    <p:sldId id="283" r:id="rId60"/>
    <p:sldId id="514" r:id="rId61"/>
    <p:sldId id="910" r:id="rId62"/>
    <p:sldId id="895" r:id="rId63"/>
    <p:sldId id="3906" r:id="rId64"/>
    <p:sldId id="3914" r:id="rId65"/>
    <p:sldId id="3908" r:id="rId66"/>
    <p:sldId id="4585" r:id="rId67"/>
    <p:sldId id="890" r:id="rId68"/>
    <p:sldId id="2207" r:id="rId69"/>
    <p:sldId id="2284" r:id="rId70"/>
    <p:sldId id="2994" r:id="rId71"/>
    <p:sldId id="4636" r:id="rId72"/>
    <p:sldId id="904" r:id="rId73"/>
    <p:sldId id="3186" r:id="rId74"/>
    <p:sldId id="3340" r:id="rId75"/>
    <p:sldId id="4637" r:id="rId76"/>
    <p:sldId id="4639" r:id="rId77"/>
    <p:sldId id="325" r:id="rId78"/>
    <p:sldId id="348" r:id="rId79"/>
    <p:sldId id="314" r:id="rId80"/>
    <p:sldId id="317" r:id="rId81"/>
    <p:sldId id="2971" r:id="rId82"/>
    <p:sldId id="3347" r:id="rId83"/>
    <p:sldId id="3348" r:id="rId84"/>
    <p:sldId id="3349" r:id="rId85"/>
    <p:sldId id="4586" r:id="rId86"/>
    <p:sldId id="4605" r:id="rId87"/>
    <p:sldId id="572" r:id="rId88"/>
    <p:sldId id="3538" r:id="rId89"/>
    <p:sldId id="3807" r:id="rId90"/>
    <p:sldId id="3808" r:id="rId91"/>
    <p:sldId id="3809" r:id="rId92"/>
    <p:sldId id="3542" r:id="rId93"/>
    <p:sldId id="3810" r:id="rId94"/>
    <p:sldId id="3811" r:id="rId95"/>
    <p:sldId id="3812" r:id="rId96"/>
    <p:sldId id="3829" r:id="rId97"/>
    <p:sldId id="3831" r:id="rId98"/>
    <p:sldId id="3834" r:id="rId99"/>
    <p:sldId id="3835" r:id="rId100"/>
    <p:sldId id="577" r:id="rId101"/>
    <p:sldId id="579" r:id="rId102"/>
    <p:sldId id="4614" r:id="rId103"/>
    <p:sldId id="863" r:id="rId104"/>
    <p:sldId id="411" r:id="rId105"/>
    <p:sldId id="412" r:id="rId106"/>
    <p:sldId id="835" r:id="rId107"/>
    <p:sldId id="4644" r:id="rId108"/>
    <p:sldId id="324" r:id="rId109"/>
    <p:sldId id="4312" r:id="rId110"/>
    <p:sldId id="4311" r:id="rId111"/>
    <p:sldId id="546" r:id="rId112"/>
    <p:sldId id="551" r:id="rId113"/>
    <p:sldId id="3118" r:id="rId114"/>
    <p:sldId id="555" r:id="rId115"/>
    <p:sldId id="842" r:id="rId116"/>
    <p:sldId id="1003" r:id="rId117"/>
    <p:sldId id="4652" r:id="rId118"/>
    <p:sldId id="4653" r:id="rId119"/>
    <p:sldId id="4654" r:id="rId120"/>
    <p:sldId id="4655" r:id="rId121"/>
    <p:sldId id="4656" r:id="rId122"/>
    <p:sldId id="4657" r:id="rId123"/>
    <p:sldId id="4640" r:id="rId124"/>
    <p:sldId id="4643" r:id="rId125"/>
    <p:sldId id="294" r:id="rId126"/>
    <p:sldId id="4641" r:id="rId127"/>
    <p:sldId id="3415" r:id="rId128"/>
    <p:sldId id="332" r:id="rId129"/>
    <p:sldId id="4642" r:id="rId130"/>
    <p:sldId id="4610" r:id="rId131"/>
    <p:sldId id="4646" r:id="rId132"/>
    <p:sldId id="2260" r:id="rId133"/>
    <p:sldId id="2257" r:id="rId134"/>
    <p:sldId id="4647" r:id="rId135"/>
    <p:sldId id="654" r:id="rId136"/>
    <p:sldId id="4651" r:id="rId137"/>
    <p:sldId id="4648" r:id="rId138"/>
    <p:sldId id="4589" r:id="rId139"/>
    <p:sldId id="4587" r:id="rId140"/>
    <p:sldId id="4711" r:id="rId141"/>
    <p:sldId id="4710" r:id="rId142"/>
    <p:sldId id="661" r:id="rId143"/>
    <p:sldId id="4617" r:id="rId144"/>
    <p:sldId id="662" r:id="rId145"/>
    <p:sldId id="2062" r:id="rId146"/>
    <p:sldId id="749" r:id="rId147"/>
    <p:sldId id="750" r:id="rId148"/>
    <p:sldId id="4618" r:id="rId149"/>
    <p:sldId id="4567" r:id="rId150"/>
    <p:sldId id="504" r:id="rId151"/>
    <p:sldId id="925" r:id="rId152"/>
    <p:sldId id="467" r:id="rId153"/>
    <p:sldId id="272" r:id="rId154"/>
    <p:sldId id="270" r:id="rId155"/>
    <p:sldId id="273" r:id="rId156"/>
    <p:sldId id="4619" r:id="rId157"/>
    <p:sldId id="4629" r:id="rId158"/>
    <p:sldId id="4620" r:id="rId159"/>
    <p:sldId id="468" r:id="rId160"/>
    <p:sldId id="4658" r:id="rId161"/>
    <p:sldId id="4621" r:id="rId162"/>
    <p:sldId id="4622" r:id="rId163"/>
    <p:sldId id="4623" r:id="rId164"/>
    <p:sldId id="4624" r:id="rId165"/>
    <p:sldId id="4625" r:id="rId166"/>
    <p:sldId id="4659" r:id="rId167"/>
    <p:sldId id="4627" r:id="rId168"/>
    <p:sldId id="4590" r:id="rId169"/>
    <p:sldId id="4591" r:id="rId170"/>
    <p:sldId id="295" r:id="rId171"/>
    <p:sldId id="4660" r:id="rId172"/>
    <p:sldId id="4661" r:id="rId173"/>
    <p:sldId id="4650" r:id="rId174"/>
    <p:sldId id="4597" r:id="rId175"/>
    <p:sldId id="4708" r:id="rId176"/>
    <p:sldId id="4695" r:id="rId177"/>
    <p:sldId id="4602" r:id="rId178"/>
    <p:sldId id="4570" r:id="rId179"/>
    <p:sldId id="4603" r:id="rId180"/>
    <p:sldId id="4598" r:id="rId181"/>
    <p:sldId id="4630" r:id="rId182"/>
    <p:sldId id="4631" r:id="rId183"/>
    <p:sldId id="4600" r:id="rId184"/>
    <p:sldId id="645" r:id="rId185"/>
    <p:sldId id="802" r:id="rId186"/>
    <p:sldId id="4609" r:id="rId187"/>
    <p:sldId id="4595" r:id="rId188"/>
    <p:sldId id="4662" r:id="rId189"/>
    <p:sldId id="653" r:id="rId190"/>
    <p:sldId id="4691" r:id="rId191"/>
    <p:sldId id="4685" r:id="rId192"/>
    <p:sldId id="4686" r:id="rId193"/>
    <p:sldId id="4687" r:id="rId194"/>
    <p:sldId id="4688" r:id="rId195"/>
    <p:sldId id="4689" r:id="rId196"/>
    <p:sldId id="4690" r:id="rId197"/>
    <p:sldId id="4692" r:id="rId198"/>
    <p:sldId id="305" r:id="rId199"/>
    <p:sldId id="840" r:id="rId200"/>
    <p:sldId id="290" r:id="rId201"/>
    <p:sldId id="4575" r:id="rId202"/>
    <p:sldId id="1972" r:id="rId203"/>
    <p:sldId id="2894" r:id="rId204"/>
    <p:sldId id="3093" r:id="rId205"/>
    <p:sldId id="3094" r:id="rId206"/>
    <p:sldId id="3089" r:id="rId207"/>
    <p:sldId id="743" r:id="rId208"/>
    <p:sldId id="452" r:id="rId209"/>
    <p:sldId id="454" r:id="rId210"/>
    <p:sldId id="571" r:id="rId211"/>
    <p:sldId id="3096" r:id="rId212"/>
    <p:sldId id="590" r:id="rId213"/>
    <p:sldId id="592" r:id="rId214"/>
    <p:sldId id="576" r:id="rId215"/>
    <p:sldId id="644" r:id="rId216"/>
    <p:sldId id="648" r:id="rId217"/>
    <p:sldId id="649" r:id="rId218"/>
    <p:sldId id="367" r:id="rId219"/>
    <p:sldId id="651" r:id="rId220"/>
    <p:sldId id="877" r:id="rId221"/>
    <p:sldId id="4576" r:id="rId222"/>
    <p:sldId id="869" r:id="rId223"/>
    <p:sldId id="868" r:id="rId224"/>
    <p:sldId id="3098" r:id="rId225"/>
    <p:sldId id="4596" r:id="rId226"/>
    <p:sldId id="4663" r:id="rId227"/>
    <p:sldId id="4693" r:id="rId228"/>
  </p:sldIdLst>
  <p:sldSz cx="9144000" cy="5143500" type="screen16x9"/>
  <p:notesSz cx="6858000" cy="9144000"/>
  <p:custDataLst>
    <p:tags r:id="rId231"/>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Title" id="{57DC69AD-A26E-47D6-B65E-46E672F711FE}">
          <p14:sldIdLst>
            <p14:sldId id="256"/>
          </p14:sldIdLst>
        </p14:section>
        <p14:section name="Presentation Flow" id="{3FE9BF1C-36E0-4486-8834-D2A6E63AA1D9}">
          <p14:sldIdLst>
            <p14:sldId id="304"/>
          </p14:sldIdLst>
        </p14:section>
        <p14:section name="Situation" id="{7E223EBD-D15A-8640-8FFA-6E4E2B932BA3}">
          <p14:sldIdLst>
            <p14:sldId id="4635"/>
            <p14:sldId id="4638"/>
            <p14:sldId id="4633"/>
          </p14:sldIdLst>
        </p14:section>
        <p14:section name="Situation - Why Cisco" id="{0B9EB830-681F-46C2-9878-05985F07CC8C}">
          <p14:sldIdLst>
            <p14:sldId id="4594"/>
            <p14:sldId id="4612"/>
            <p14:sldId id="4649"/>
            <p14:sldId id="384"/>
          </p14:sldIdLst>
        </p14:section>
        <p14:section name="Overview" id="{8B350996-4582-405D-A106-CB6AC6846E4B}">
          <p14:sldIdLst>
            <p14:sldId id="4578"/>
            <p14:sldId id="834"/>
            <p14:sldId id="3095"/>
          </p14:sldIdLst>
        </p14:section>
        <p14:section name="Solution Overview" id="{6380CB5B-B194-4B7F-A26D-8B83EC4A5FB1}">
          <p14:sldIdLst>
            <p14:sldId id="4577"/>
            <p14:sldId id="4709"/>
            <p14:sldId id="4673"/>
            <p14:sldId id="2159"/>
            <p14:sldId id="4666"/>
            <p14:sldId id="4674"/>
            <p14:sldId id="4670"/>
            <p14:sldId id="4668"/>
            <p14:sldId id="4675"/>
            <p14:sldId id="4667"/>
            <p14:sldId id="4669"/>
            <p14:sldId id="4697"/>
            <p14:sldId id="4676"/>
            <p14:sldId id="4672"/>
            <p14:sldId id="4671"/>
            <p14:sldId id="4677"/>
            <p14:sldId id="4572"/>
            <p14:sldId id="4682"/>
            <p14:sldId id="4681"/>
            <p14:sldId id="4698"/>
            <p14:sldId id="4680"/>
            <p14:sldId id="4684"/>
            <p14:sldId id="4683"/>
            <p14:sldId id="4694"/>
            <p14:sldId id="4699"/>
            <p14:sldId id="4700"/>
            <p14:sldId id="4701"/>
            <p14:sldId id="4702"/>
            <p14:sldId id="4703"/>
            <p14:sldId id="4704"/>
            <p14:sldId id="4705"/>
            <p14:sldId id="4706"/>
            <p14:sldId id="4707"/>
          </p14:sldIdLst>
        </p14:section>
        <p14:section name="Radio" id="{5D3E2860-C977-438F-B885-2AD338351D37}">
          <p14:sldIdLst>
            <p14:sldId id="4579"/>
            <p14:sldId id="4582"/>
            <p14:sldId id="4573"/>
            <p14:sldId id="3101"/>
            <p14:sldId id="4632"/>
            <p14:sldId id="3066"/>
          </p14:sldIdLst>
        </p14:section>
        <p14:section name="Access, Pre-Aggregation" id="{FEFD49F2-5718-489A-9F88-4D22D911A312}">
          <p14:sldIdLst>
            <p14:sldId id="4580"/>
            <p14:sldId id="4583"/>
            <p14:sldId id="283"/>
            <p14:sldId id="514"/>
            <p14:sldId id="910"/>
            <p14:sldId id="895"/>
            <p14:sldId id="3906"/>
            <p14:sldId id="3914"/>
            <p14:sldId id="3908"/>
            <p14:sldId id="4585"/>
            <p14:sldId id="890"/>
            <p14:sldId id="2207"/>
            <p14:sldId id="2284"/>
            <p14:sldId id="2994"/>
            <p14:sldId id="4636"/>
            <p14:sldId id="904"/>
            <p14:sldId id="3186"/>
            <p14:sldId id="3340"/>
            <p14:sldId id="4637"/>
            <p14:sldId id="4639"/>
            <p14:sldId id="325"/>
            <p14:sldId id="348"/>
            <p14:sldId id="314"/>
            <p14:sldId id="317"/>
            <p14:sldId id="2971"/>
            <p14:sldId id="3347"/>
            <p14:sldId id="3348"/>
            <p14:sldId id="3349"/>
          </p14:sldIdLst>
        </p14:section>
        <p14:section name="IP Core" id="{329D2CB6-1749-40B1-A5FA-7EFB613AAA3B}">
          <p14:sldIdLst>
            <p14:sldId id="4586"/>
            <p14:sldId id="4605"/>
            <p14:sldId id="572"/>
            <p14:sldId id="3538"/>
            <p14:sldId id="3807"/>
            <p14:sldId id="3808"/>
            <p14:sldId id="3809"/>
            <p14:sldId id="3542"/>
            <p14:sldId id="3810"/>
            <p14:sldId id="3811"/>
            <p14:sldId id="3812"/>
            <p14:sldId id="3829"/>
            <p14:sldId id="3831"/>
            <p14:sldId id="3834"/>
            <p14:sldId id="3835"/>
            <p14:sldId id="577"/>
            <p14:sldId id="579"/>
            <p14:sldId id="4614"/>
            <p14:sldId id="863"/>
            <p14:sldId id="411"/>
            <p14:sldId id="412"/>
            <p14:sldId id="835"/>
            <p14:sldId id="4644"/>
            <p14:sldId id="324"/>
            <p14:sldId id="4312"/>
            <p14:sldId id="4311"/>
            <p14:sldId id="546"/>
            <p14:sldId id="551"/>
            <p14:sldId id="3118"/>
            <p14:sldId id="555"/>
            <p14:sldId id="842"/>
            <p14:sldId id="1003"/>
            <p14:sldId id="4652"/>
            <p14:sldId id="4653"/>
            <p14:sldId id="4654"/>
            <p14:sldId id="4655"/>
            <p14:sldId id="4656"/>
            <p14:sldId id="4657"/>
          </p14:sldIdLst>
        </p14:section>
        <p14:section name="Flexible Consumption Model" id="{788A2447-125A-453D-90AA-013A572C0142}">
          <p14:sldIdLst>
            <p14:sldId id="4640"/>
            <p14:sldId id="4643"/>
            <p14:sldId id="294"/>
            <p14:sldId id="4641"/>
            <p14:sldId id="3415"/>
            <p14:sldId id="332"/>
            <p14:sldId id="4642"/>
          </p14:sldIdLst>
        </p14:section>
        <p14:section name="DCI Interconnect" id="{6A65E8DA-1937-42AC-AAE3-835485C273E3}">
          <p14:sldIdLst>
            <p14:sldId id="4610"/>
            <p14:sldId id="4646"/>
            <p14:sldId id="2260"/>
            <p14:sldId id="2257"/>
            <p14:sldId id="4647"/>
            <p14:sldId id="654"/>
            <p14:sldId id="4651"/>
            <p14:sldId id="4648"/>
          </p14:sldIdLst>
        </p14:section>
        <p14:section name="DC" id="{AAF930A3-654E-41BB-A161-638553E50D88}">
          <p14:sldIdLst>
            <p14:sldId id="4589"/>
            <p14:sldId id="4587"/>
            <p14:sldId id="4711"/>
            <p14:sldId id="4710"/>
            <p14:sldId id="661"/>
            <p14:sldId id="4617"/>
            <p14:sldId id="662"/>
            <p14:sldId id="2062"/>
            <p14:sldId id="749"/>
            <p14:sldId id="750"/>
            <p14:sldId id="4618"/>
            <p14:sldId id="4567"/>
            <p14:sldId id="504"/>
            <p14:sldId id="925"/>
            <p14:sldId id="467"/>
            <p14:sldId id="272"/>
            <p14:sldId id="270"/>
            <p14:sldId id="273"/>
          </p14:sldIdLst>
        </p14:section>
        <p14:section name="MPC" id="{79EBE0BA-36F0-4555-AD55-BE74B64A464C}">
          <p14:sldIdLst>
            <p14:sldId id="4619"/>
            <p14:sldId id="4629"/>
            <p14:sldId id="4620"/>
            <p14:sldId id="468"/>
            <p14:sldId id="4658"/>
            <p14:sldId id="4621"/>
            <p14:sldId id="4622"/>
            <p14:sldId id="4623"/>
            <p14:sldId id="4624"/>
            <p14:sldId id="4625"/>
            <p14:sldId id="4659"/>
            <p14:sldId id="4627"/>
          </p14:sldIdLst>
        </p14:section>
        <p14:section name="Security" id="{393629B3-3D62-4252-9213-A947C9460725}">
          <p14:sldIdLst>
            <p14:sldId id="4590"/>
            <p14:sldId id="4591"/>
            <p14:sldId id="295"/>
            <p14:sldId id="4660"/>
            <p14:sldId id="4661"/>
            <p14:sldId id="4650"/>
          </p14:sldIdLst>
        </p14:section>
        <p14:section name="Automation" id="{5822069D-7B7A-412F-BFB5-871C29508F0A}">
          <p14:sldIdLst>
            <p14:sldId id="4597"/>
            <p14:sldId id="4708"/>
            <p14:sldId id="4695"/>
            <p14:sldId id="4602"/>
            <p14:sldId id="4570"/>
            <p14:sldId id="4603"/>
            <p14:sldId id="4598"/>
            <p14:sldId id="4630"/>
            <p14:sldId id="4631"/>
            <p14:sldId id="4600"/>
          </p14:sldIdLst>
        </p14:section>
        <p14:section name="Architectures" id="{0FD7AA2C-8A7F-4CC0-8175-89D291C4A27D}">
          <p14:sldIdLst>
            <p14:sldId id="645"/>
            <p14:sldId id="802"/>
            <p14:sldId id="4609"/>
            <p14:sldId id="4595"/>
            <p14:sldId id="4662"/>
            <p14:sldId id="653"/>
          </p14:sldIdLst>
        </p14:section>
        <p14:section name="Enterprise" id="{8F11F2A5-657B-459B-BD35-47787B4B0D59}">
          <p14:sldIdLst>
            <p14:sldId id="4691"/>
            <p14:sldId id="4685"/>
            <p14:sldId id="4686"/>
            <p14:sldId id="4687"/>
            <p14:sldId id="4688"/>
            <p14:sldId id="4689"/>
            <p14:sldId id="4690"/>
            <p14:sldId id="4692"/>
            <p14:sldId id="305"/>
          </p14:sldIdLst>
        </p14:section>
        <p14:section name="Close" id="{B16B0119-F592-42F7-9D01-1C22FDD9DB10}">
          <p14:sldIdLst>
            <p14:sldId id="840"/>
            <p14:sldId id="290"/>
          </p14:sldIdLst>
        </p14:section>
        <p14:section name="Additional slides" id="{0894568A-33FB-433B-BF3D-BB51C1FD6BF3}">
          <p14:sldIdLst>
            <p14:sldId id="4575"/>
            <p14:sldId id="1972"/>
            <p14:sldId id="2894"/>
            <p14:sldId id="3093"/>
            <p14:sldId id="3094"/>
            <p14:sldId id="3089"/>
            <p14:sldId id="743"/>
            <p14:sldId id="452"/>
            <p14:sldId id="454"/>
            <p14:sldId id="571"/>
            <p14:sldId id="3096"/>
            <p14:sldId id="590"/>
            <p14:sldId id="592"/>
            <p14:sldId id="576"/>
            <p14:sldId id="644"/>
            <p14:sldId id="648"/>
            <p14:sldId id="649"/>
            <p14:sldId id="367"/>
            <p14:sldId id="651"/>
            <p14:sldId id="877"/>
            <p14:sldId id="4576"/>
            <p14:sldId id="869"/>
            <p14:sldId id="868"/>
            <p14:sldId id="3098"/>
            <p14:sldId id="4596"/>
            <p14:sldId id="4663"/>
            <p14:sldId id="4693"/>
          </p14:sldIdLst>
        </p14:section>
      </p14:sectionLst>
    </p:ext>
    <p:ext uri="{EFAFB233-063F-42B5-8137-9DF3F51BA10A}">
      <p15:sldGuideLst xmlns:p15="http://schemas.microsoft.com/office/powerpoint/2012/main">
        <p15:guide id="1" pos="3144"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00"/>
    <a:srgbClr val="6C7384"/>
    <a:srgbClr val="CC2133"/>
    <a:srgbClr val="0D274D"/>
    <a:srgbClr val="004669"/>
    <a:srgbClr val="86DBF2"/>
    <a:srgbClr val="049FD9"/>
    <a:srgbClr val="1FAED4"/>
    <a:srgbClr val="72C059"/>
    <a:srgbClr val="B2D17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2835CE-BDEB-4823-BC94-448EE8E3186D}" v="21" dt="2020-07-22T11:53:57.267"/>
  </p1510:revLst>
</p1510:revInfo>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041" autoAdjust="0"/>
    <p:restoredTop sz="81671" autoAdjust="0"/>
  </p:normalViewPr>
  <p:slideViewPr>
    <p:cSldViewPr snapToGrid="0" snapToObjects="1" showGuides="1">
      <p:cViewPr varScale="1">
        <p:scale>
          <a:sx n="123" d="100"/>
          <a:sy n="123" d="100"/>
        </p:scale>
        <p:origin x="828" y="90"/>
      </p:cViewPr>
      <p:guideLst>
        <p:guide pos="3144"/>
        <p:guide orient="horz" pos="1620"/>
      </p:guideLst>
    </p:cSldViewPr>
  </p:slideViewPr>
  <p:outlineViewPr>
    <p:cViewPr>
      <p:scale>
        <a:sx n="33" d="100"/>
        <a:sy n="33" d="100"/>
      </p:scale>
      <p:origin x="0" y="-1008"/>
    </p:cViewPr>
  </p:outlineViewPr>
  <p:notesTextViewPr>
    <p:cViewPr>
      <p:scale>
        <a:sx n="100" d="100"/>
        <a:sy n="100" d="100"/>
      </p:scale>
      <p:origin x="0" y="0"/>
    </p:cViewPr>
  </p:notesTextViewPr>
  <p:sorterViewPr>
    <p:cViewPr>
      <p:scale>
        <a:sx n="75" d="100"/>
        <a:sy n="75" d="100"/>
      </p:scale>
      <p:origin x="0" y="-2988"/>
    </p:cViewPr>
  </p:sorterViewPr>
  <p:notesViewPr>
    <p:cSldViewPr snapToGrid="0" snapToObjects="1" showGuides="1">
      <p:cViewPr varScale="1">
        <p:scale>
          <a:sx n="87" d="100"/>
          <a:sy n="87" d="100"/>
        </p:scale>
        <p:origin x="2574" y="72"/>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59" Type="http://schemas.openxmlformats.org/officeDocument/2006/relationships/slide" Target="slides/slide153.xml"/><Relationship Id="rId170" Type="http://schemas.openxmlformats.org/officeDocument/2006/relationships/slide" Target="slides/slide164.xml"/><Relationship Id="rId191" Type="http://schemas.openxmlformats.org/officeDocument/2006/relationships/slide" Target="slides/slide185.xml"/><Relationship Id="rId205" Type="http://schemas.openxmlformats.org/officeDocument/2006/relationships/slide" Target="slides/slide199.xml"/><Relationship Id="rId226" Type="http://schemas.openxmlformats.org/officeDocument/2006/relationships/slide" Target="slides/slide22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5" Type="http://schemas.openxmlformats.org/officeDocument/2006/relationships/slideMaster" Target="slideMasters/slideMaster2.xml"/><Relationship Id="rId95" Type="http://schemas.openxmlformats.org/officeDocument/2006/relationships/slide" Target="slides/slide89.xml"/><Relationship Id="rId160" Type="http://schemas.openxmlformats.org/officeDocument/2006/relationships/slide" Target="slides/slide154.xml"/><Relationship Id="rId181" Type="http://schemas.openxmlformats.org/officeDocument/2006/relationships/slide" Target="slides/slide175.xml"/><Relationship Id="rId216" Type="http://schemas.openxmlformats.org/officeDocument/2006/relationships/slide" Target="slides/slide210.xml"/><Relationship Id="rId237" Type="http://schemas.microsoft.com/office/2015/10/relationships/revisionInfo" Target="revisionInfo.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85" Type="http://schemas.openxmlformats.org/officeDocument/2006/relationships/slide" Target="slides/slide79.xml"/><Relationship Id="rId150" Type="http://schemas.openxmlformats.org/officeDocument/2006/relationships/slide" Target="slides/slide144.xml"/><Relationship Id="rId171" Type="http://schemas.openxmlformats.org/officeDocument/2006/relationships/slide" Target="slides/slide165.xml"/><Relationship Id="rId192" Type="http://schemas.openxmlformats.org/officeDocument/2006/relationships/slide" Target="slides/slide186.xml"/><Relationship Id="rId206" Type="http://schemas.openxmlformats.org/officeDocument/2006/relationships/slide" Target="slides/slide200.xml"/><Relationship Id="rId227" Type="http://schemas.openxmlformats.org/officeDocument/2006/relationships/slide" Target="slides/slide221.xml"/><Relationship Id="rId12" Type="http://schemas.openxmlformats.org/officeDocument/2006/relationships/slide" Target="slides/slide6.xml"/><Relationship Id="rId33" Type="http://schemas.openxmlformats.org/officeDocument/2006/relationships/slide" Target="slides/slide27.xml"/><Relationship Id="rId108" Type="http://schemas.openxmlformats.org/officeDocument/2006/relationships/slide" Target="slides/slide102.xml"/><Relationship Id="rId129" Type="http://schemas.openxmlformats.org/officeDocument/2006/relationships/slide" Target="slides/slide123.xml"/><Relationship Id="rId54" Type="http://schemas.openxmlformats.org/officeDocument/2006/relationships/slide" Target="slides/slide48.xml"/><Relationship Id="rId75" Type="http://schemas.openxmlformats.org/officeDocument/2006/relationships/slide" Target="slides/slide69.xml"/><Relationship Id="rId96" Type="http://schemas.openxmlformats.org/officeDocument/2006/relationships/slide" Target="slides/slide90.xml"/><Relationship Id="rId140" Type="http://schemas.openxmlformats.org/officeDocument/2006/relationships/slide" Target="slides/slide134.xml"/><Relationship Id="rId161" Type="http://schemas.openxmlformats.org/officeDocument/2006/relationships/slide" Target="slides/slide155.xml"/><Relationship Id="rId182" Type="http://schemas.openxmlformats.org/officeDocument/2006/relationships/slide" Target="slides/slide176.xml"/><Relationship Id="rId217" Type="http://schemas.openxmlformats.org/officeDocument/2006/relationships/slide" Target="slides/slide211.xml"/><Relationship Id="rId6" Type="http://schemas.openxmlformats.org/officeDocument/2006/relationships/slideMaster" Target="slideMasters/slideMaster3.xml"/><Relationship Id="rId23" Type="http://schemas.openxmlformats.org/officeDocument/2006/relationships/slide" Target="slides/slide17.xml"/><Relationship Id="rId119" Type="http://schemas.openxmlformats.org/officeDocument/2006/relationships/slide" Target="slides/slide113.xml"/><Relationship Id="rId44" Type="http://schemas.openxmlformats.org/officeDocument/2006/relationships/slide" Target="slides/slide38.xml"/><Relationship Id="rId65" Type="http://schemas.openxmlformats.org/officeDocument/2006/relationships/slide" Target="slides/slide59.xml"/><Relationship Id="rId86" Type="http://schemas.openxmlformats.org/officeDocument/2006/relationships/slide" Target="slides/slide80.xml"/><Relationship Id="rId130" Type="http://schemas.openxmlformats.org/officeDocument/2006/relationships/slide" Target="slides/slide124.xml"/><Relationship Id="rId151" Type="http://schemas.openxmlformats.org/officeDocument/2006/relationships/slide" Target="slides/slide145.xml"/><Relationship Id="rId172" Type="http://schemas.openxmlformats.org/officeDocument/2006/relationships/slide" Target="slides/slide166.xml"/><Relationship Id="rId193" Type="http://schemas.openxmlformats.org/officeDocument/2006/relationships/slide" Target="slides/slide187.xml"/><Relationship Id="rId207" Type="http://schemas.openxmlformats.org/officeDocument/2006/relationships/slide" Target="slides/slide201.xml"/><Relationship Id="rId228" Type="http://schemas.openxmlformats.org/officeDocument/2006/relationships/slide" Target="slides/slide222.xml"/><Relationship Id="rId13" Type="http://schemas.openxmlformats.org/officeDocument/2006/relationships/slide" Target="slides/slide7.xml"/><Relationship Id="rId109" Type="http://schemas.openxmlformats.org/officeDocument/2006/relationships/slide" Target="slides/slide103.xml"/><Relationship Id="rId34" Type="http://schemas.openxmlformats.org/officeDocument/2006/relationships/slide" Target="slides/slide28.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20" Type="http://schemas.openxmlformats.org/officeDocument/2006/relationships/slide" Target="slides/slide114.xml"/><Relationship Id="rId141" Type="http://schemas.openxmlformats.org/officeDocument/2006/relationships/slide" Target="slides/slide135.xml"/><Relationship Id="rId7" Type="http://schemas.openxmlformats.org/officeDocument/2006/relationships/slide" Target="slides/slide1.xml"/><Relationship Id="rId162" Type="http://schemas.openxmlformats.org/officeDocument/2006/relationships/slide" Target="slides/slide156.xml"/><Relationship Id="rId183" Type="http://schemas.openxmlformats.org/officeDocument/2006/relationships/slide" Target="slides/slide177.xml"/><Relationship Id="rId218" Type="http://schemas.openxmlformats.org/officeDocument/2006/relationships/slide" Target="slides/slide212.xml"/><Relationship Id="rId24" Type="http://schemas.openxmlformats.org/officeDocument/2006/relationships/slide" Target="slides/slide18.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31" Type="http://schemas.openxmlformats.org/officeDocument/2006/relationships/slide" Target="slides/slide125.xml"/><Relationship Id="rId152" Type="http://schemas.openxmlformats.org/officeDocument/2006/relationships/slide" Target="slides/slide146.xml"/><Relationship Id="rId173" Type="http://schemas.openxmlformats.org/officeDocument/2006/relationships/slide" Target="slides/slide167.xml"/><Relationship Id="rId194" Type="http://schemas.openxmlformats.org/officeDocument/2006/relationships/slide" Target="slides/slide188.xml"/><Relationship Id="rId208" Type="http://schemas.openxmlformats.org/officeDocument/2006/relationships/slide" Target="slides/slide202.xml"/><Relationship Id="rId229" Type="http://schemas.openxmlformats.org/officeDocument/2006/relationships/notesMaster" Target="notesMasters/notesMaster1.xml"/><Relationship Id="rId14" Type="http://schemas.openxmlformats.org/officeDocument/2006/relationships/slide" Target="slides/slide8.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8" Type="http://schemas.openxmlformats.org/officeDocument/2006/relationships/slide" Target="slides/slide2.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163" Type="http://schemas.openxmlformats.org/officeDocument/2006/relationships/slide" Target="slides/slide157.xml"/><Relationship Id="rId184" Type="http://schemas.openxmlformats.org/officeDocument/2006/relationships/slide" Target="slides/slide178.xml"/><Relationship Id="rId219" Type="http://schemas.openxmlformats.org/officeDocument/2006/relationships/slide" Target="slides/slide213.xml"/><Relationship Id="rId230" Type="http://schemas.openxmlformats.org/officeDocument/2006/relationships/handoutMaster" Target="handoutMasters/handoutMaster1.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74" Type="http://schemas.openxmlformats.org/officeDocument/2006/relationships/slide" Target="slides/slide168.xml"/><Relationship Id="rId195" Type="http://schemas.openxmlformats.org/officeDocument/2006/relationships/slide" Target="slides/slide189.xml"/><Relationship Id="rId209" Type="http://schemas.openxmlformats.org/officeDocument/2006/relationships/slide" Target="slides/slide203.xml"/><Relationship Id="rId190" Type="http://schemas.openxmlformats.org/officeDocument/2006/relationships/slide" Target="slides/slide184.xml"/><Relationship Id="rId204" Type="http://schemas.openxmlformats.org/officeDocument/2006/relationships/slide" Target="slides/slide198.xml"/><Relationship Id="rId220" Type="http://schemas.openxmlformats.org/officeDocument/2006/relationships/slide" Target="slides/slide214.xml"/><Relationship Id="rId225" Type="http://schemas.openxmlformats.org/officeDocument/2006/relationships/slide" Target="slides/slide219.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164" Type="http://schemas.openxmlformats.org/officeDocument/2006/relationships/slide" Target="slides/slide158.xml"/><Relationship Id="rId169" Type="http://schemas.openxmlformats.org/officeDocument/2006/relationships/slide" Target="slides/slide163.xml"/><Relationship Id="rId185" Type="http://schemas.openxmlformats.org/officeDocument/2006/relationships/slide" Target="slides/slide179.xml"/><Relationship Id="rId4" Type="http://schemas.openxmlformats.org/officeDocument/2006/relationships/slideMaster" Target="slideMasters/slideMaster1.xml"/><Relationship Id="rId9" Type="http://schemas.openxmlformats.org/officeDocument/2006/relationships/slide" Target="slides/slide3.xml"/><Relationship Id="rId180" Type="http://schemas.openxmlformats.org/officeDocument/2006/relationships/slide" Target="slides/slide174.xml"/><Relationship Id="rId210" Type="http://schemas.openxmlformats.org/officeDocument/2006/relationships/slide" Target="slides/slide204.xml"/><Relationship Id="rId215" Type="http://schemas.openxmlformats.org/officeDocument/2006/relationships/slide" Target="slides/slide209.xml"/><Relationship Id="rId236" Type="http://schemas.openxmlformats.org/officeDocument/2006/relationships/tableStyles" Target="tableStyles.xml"/><Relationship Id="rId26" Type="http://schemas.openxmlformats.org/officeDocument/2006/relationships/slide" Target="slides/slide20.xml"/><Relationship Id="rId231" Type="http://schemas.openxmlformats.org/officeDocument/2006/relationships/tags" Target="tags/tag1.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75" Type="http://schemas.openxmlformats.org/officeDocument/2006/relationships/slide" Target="slides/slide169.xml"/><Relationship Id="rId196" Type="http://schemas.openxmlformats.org/officeDocument/2006/relationships/slide" Target="slides/slide190.xml"/><Relationship Id="rId200" Type="http://schemas.openxmlformats.org/officeDocument/2006/relationships/slide" Target="slides/slide194.xml"/><Relationship Id="rId16" Type="http://schemas.openxmlformats.org/officeDocument/2006/relationships/slide" Target="slides/slide10.xml"/><Relationship Id="rId221" Type="http://schemas.openxmlformats.org/officeDocument/2006/relationships/slide" Target="slides/slide215.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 Id="rId165" Type="http://schemas.openxmlformats.org/officeDocument/2006/relationships/slide" Target="slides/slide159.xml"/><Relationship Id="rId186" Type="http://schemas.openxmlformats.org/officeDocument/2006/relationships/slide" Target="slides/slide180.xml"/><Relationship Id="rId211" Type="http://schemas.openxmlformats.org/officeDocument/2006/relationships/slide" Target="slides/slide205.xml"/><Relationship Id="rId232" Type="http://schemas.openxmlformats.org/officeDocument/2006/relationships/commentAuthors" Target="commentAuthors.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80" Type="http://schemas.openxmlformats.org/officeDocument/2006/relationships/slide" Target="slides/slide74.xml"/><Relationship Id="rId155" Type="http://schemas.openxmlformats.org/officeDocument/2006/relationships/slide" Target="slides/slide149.xml"/><Relationship Id="rId176" Type="http://schemas.openxmlformats.org/officeDocument/2006/relationships/slide" Target="slides/slide170.xml"/><Relationship Id="rId197" Type="http://schemas.openxmlformats.org/officeDocument/2006/relationships/slide" Target="slides/slide191.xml"/><Relationship Id="rId201" Type="http://schemas.openxmlformats.org/officeDocument/2006/relationships/slide" Target="slides/slide195.xml"/><Relationship Id="rId222" Type="http://schemas.openxmlformats.org/officeDocument/2006/relationships/slide" Target="slides/slide216.xml"/><Relationship Id="rId17" Type="http://schemas.openxmlformats.org/officeDocument/2006/relationships/slide" Target="slides/slide11.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24" Type="http://schemas.openxmlformats.org/officeDocument/2006/relationships/slide" Target="slides/slide118.xml"/><Relationship Id="rId70" Type="http://schemas.openxmlformats.org/officeDocument/2006/relationships/slide" Target="slides/slide64.xml"/><Relationship Id="rId91" Type="http://schemas.openxmlformats.org/officeDocument/2006/relationships/slide" Target="slides/slide85.xml"/><Relationship Id="rId145" Type="http://schemas.openxmlformats.org/officeDocument/2006/relationships/slide" Target="slides/slide139.xml"/><Relationship Id="rId166" Type="http://schemas.openxmlformats.org/officeDocument/2006/relationships/slide" Target="slides/slide160.xml"/><Relationship Id="rId187" Type="http://schemas.openxmlformats.org/officeDocument/2006/relationships/slide" Target="slides/slide181.xml"/><Relationship Id="rId1" Type="http://schemas.openxmlformats.org/officeDocument/2006/relationships/customXml" Target="../customXml/item1.xml"/><Relationship Id="rId212" Type="http://schemas.openxmlformats.org/officeDocument/2006/relationships/slide" Target="slides/slide206.xml"/><Relationship Id="rId233" Type="http://schemas.openxmlformats.org/officeDocument/2006/relationships/presProps" Target="presProps.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60" Type="http://schemas.openxmlformats.org/officeDocument/2006/relationships/slide" Target="slides/slide54.xml"/><Relationship Id="rId81" Type="http://schemas.openxmlformats.org/officeDocument/2006/relationships/slide" Target="slides/slide75.xml"/><Relationship Id="rId135" Type="http://schemas.openxmlformats.org/officeDocument/2006/relationships/slide" Target="slides/slide129.xml"/><Relationship Id="rId156" Type="http://schemas.openxmlformats.org/officeDocument/2006/relationships/slide" Target="slides/slide150.xml"/><Relationship Id="rId177" Type="http://schemas.openxmlformats.org/officeDocument/2006/relationships/slide" Target="slides/slide171.xml"/><Relationship Id="rId198" Type="http://schemas.openxmlformats.org/officeDocument/2006/relationships/slide" Target="slides/slide192.xml"/><Relationship Id="rId202" Type="http://schemas.openxmlformats.org/officeDocument/2006/relationships/slide" Target="slides/slide196.xml"/><Relationship Id="rId223" Type="http://schemas.openxmlformats.org/officeDocument/2006/relationships/slide" Target="slides/slide217.xml"/><Relationship Id="rId18" Type="http://schemas.openxmlformats.org/officeDocument/2006/relationships/slide" Target="slides/slide12.xml"/><Relationship Id="rId39" Type="http://schemas.openxmlformats.org/officeDocument/2006/relationships/slide" Target="slides/slide33.xml"/><Relationship Id="rId50" Type="http://schemas.openxmlformats.org/officeDocument/2006/relationships/slide" Target="slides/slide44.xml"/><Relationship Id="rId104" Type="http://schemas.openxmlformats.org/officeDocument/2006/relationships/slide" Target="slides/slide98.xml"/><Relationship Id="rId125" Type="http://schemas.openxmlformats.org/officeDocument/2006/relationships/slide" Target="slides/slide119.xml"/><Relationship Id="rId146" Type="http://schemas.openxmlformats.org/officeDocument/2006/relationships/slide" Target="slides/slide140.xml"/><Relationship Id="rId167" Type="http://schemas.openxmlformats.org/officeDocument/2006/relationships/slide" Target="slides/slide161.xml"/><Relationship Id="rId188" Type="http://schemas.openxmlformats.org/officeDocument/2006/relationships/slide" Target="slides/slide182.xml"/><Relationship Id="rId71" Type="http://schemas.openxmlformats.org/officeDocument/2006/relationships/slide" Target="slides/slide65.xml"/><Relationship Id="rId92" Type="http://schemas.openxmlformats.org/officeDocument/2006/relationships/slide" Target="slides/slide86.xml"/><Relationship Id="rId213" Type="http://schemas.openxmlformats.org/officeDocument/2006/relationships/slide" Target="slides/slide207.xml"/><Relationship Id="rId234"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3.xml"/><Relationship Id="rId40" Type="http://schemas.openxmlformats.org/officeDocument/2006/relationships/slide" Target="slides/slide34.xml"/><Relationship Id="rId115" Type="http://schemas.openxmlformats.org/officeDocument/2006/relationships/slide" Target="slides/slide109.xml"/><Relationship Id="rId136" Type="http://schemas.openxmlformats.org/officeDocument/2006/relationships/slide" Target="slides/slide130.xml"/><Relationship Id="rId157" Type="http://schemas.openxmlformats.org/officeDocument/2006/relationships/slide" Target="slides/slide151.xml"/><Relationship Id="rId178" Type="http://schemas.openxmlformats.org/officeDocument/2006/relationships/slide" Target="slides/slide172.xml"/><Relationship Id="rId61" Type="http://schemas.openxmlformats.org/officeDocument/2006/relationships/slide" Target="slides/slide55.xml"/><Relationship Id="rId82" Type="http://schemas.openxmlformats.org/officeDocument/2006/relationships/slide" Target="slides/slide76.xml"/><Relationship Id="rId199" Type="http://schemas.openxmlformats.org/officeDocument/2006/relationships/slide" Target="slides/slide193.xml"/><Relationship Id="rId203" Type="http://schemas.openxmlformats.org/officeDocument/2006/relationships/slide" Target="slides/slide197.xml"/><Relationship Id="rId19" Type="http://schemas.openxmlformats.org/officeDocument/2006/relationships/slide" Target="slides/slide13.xml"/><Relationship Id="rId224" Type="http://schemas.openxmlformats.org/officeDocument/2006/relationships/slide" Target="slides/slide218.xml"/><Relationship Id="rId30" Type="http://schemas.openxmlformats.org/officeDocument/2006/relationships/slide" Target="slides/slide2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168" Type="http://schemas.openxmlformats.org/officeDocument/2006/relationships/slide" Target="slides/slide16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189" Type="http://schemas.openxmlformats.org/officeDocument/2006/relationships/slide" Target="slides/slide183.xml"/><Relationship Id="rId3" Type="http://schemas.openxmlformats.org/officeDocument/2006/relationships/customXml" Target="../customXml/item3.xml"/><Relationship Id="rId214" Type="http://schemas.openxmlformats.org/officeDocument/2006/relationships/slide" Target="slides/slide208.xml"/><Relationship Id="rId235" Type="http://schemas.openxmlformats.org/officeDocument/2006/relationships/theme" Target="theme/theme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slide" Target="slides/slide152.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179" Type="http://schemas.openxmlformats.org/officeDocument/2006/relationships/slide" Target="slides/slide173.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6D1570-5085-4BBE-BBA4-FC27A9482638}"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C6DD763B-FA00-4CCA-96D2-C59D469140A1}" type="pres">
      <dgm:prSet presAssocID="{9C6D1570-5085-4BBE-BBA4-FC27A9482638}" presName="Name0" presStyleCnt="0">
        <dgm:presLayoutVars>
          <dgm:dir/>
          <dgm:animLvl val="lvl"/>
          <dgm:resizeHandles val="exact"/>
        </dgm:presLayoutVars>
      </dgm:prSet>
      <dgm:spPr/>
    </dgm:pt>
  </dgm:ptLst>
  <dgm:cxnLst>
    <dgm:cxn modelId="{ECE90041-3460-4A85-897D-8BABBC7047AA}" type="presOf" srcId="{9C6D1570-5085-4BBE-BBA4-FC27A9482638}" destId="{C6DD763B-FA00-4CCA-96D2-C59D469140A1}" srcOrd="0"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AD06F05-3903-433B-819B-F96CE91CF596}"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A857E58C-97AE-49CD-B97A-4AE61EDD56C3}">
      <dgm:prSet/>
      <dgm:spPr>
        <a:solidFill>
          <a:schemeClr val="accent3">
            <a:lumMod val="20000"/>
            <a:lumOff val="80000"/>
          </a:schemeClr>
        </a:solidFill>
        <a:ln>
          <a:noFill/>
        </a:ln>
      </dgm:spPr>
      <dgm:t>
        <a:bodyPr/>
        <a:lstStyle/>
        <a:p>
          <a:pPr rtl="0"/>
          <a:r>
            <a:rPr lang="en-US" dirty="0"/>
            <a:t>ASIC/CPU/Mem</a:t>
          </a:r>
        </a:p>
      </dgm:t>
    </dgm:pt>
    <dgm:pt modelId="{7CFB9093-54FB-41EF-8F19-CC73B6679103}" type="parTrans" cxnId="{5A39FCF3-AD21-4C63-B500-12FEC3752B92}">
      <dgm:prSet/>
      <dgm:spPr/>
      <dgm:t>
        <a:bodyPr/>
        <a:lstStyle/>
        <a:p>
          <a:endParaRPr lang="en-US"/>
        </a:p>
      </dgm:t>
    </dgm:pt>
    <dgm:pt modelId="{86CA84AA-D830-417D-BF7F-4979D17CBEAE}" type="sibTrans" cxnId="{5A39FCF3-AD21-4C63-B500-12FEC3752B92}">
      <dgm:prSet/>
      <dgm:spPr/>
      <dgm:t>
        <a:bodyPr/>
        <a:lstStyle/>
        <a:p>
          <a:endParaRPr lang="en-US"/>
        </a:p>
      </dgm:t>
    </dgm:pt>
    <dgm:pt modelId="{7931435D-86CC-4E5F-AEA6-654DD645A9D0}">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1 RU, Width 17.5 Inches, Depth 250 mm</a:t>
          </a:r>
          <a:endParaRPr kumimoji="0" lang="en-US" sz="800" b="0" i="0" u="none" strike="noStrike" kern="1200" cap="none" spc="0" normalizeH="0" baseline="0" dirty="0">
            <a:ln>
              <a:noFill/>
            </a:ln>
            <a:solidFill>
              <a:schemeClr val="tx2"/>
            </a:solidFill>
            <a:effectLst/>
            <a:uLnTx/>
            <a:uFillTx/>
            <a:latin typeface="+mn-lt"/>
            <a:ea typeface="+mn-ea"/>
            <a:cs typeface="+mn-cs"/>
          </a:endParaRPr>
        </a:p>
      </dgm:t>
    </dgm:pt>
    <dgm:pt modelId="{B0381B90-A790-4E10-9BB6-1081D6ED3F9B}" type="parTrans" cxnId="{FD4AC943-CC0C-421B-9E55-E4A36E6FB31B}">
      <dgm:prSet/>
      <dgm:spPr/>
      <dgm:t>
        <a:bodyPr/>
        <a:lstStyle/>
        <a:p>
          <a:endParaRPr lang="en-US"/>
        </a:p>
      </dgm:t>
    </dgm:pt>
    <dgm:pt modelId="{18F1ED80-9C2A-4BD8-861D-545F84CFB19A}" type="sibTrans" cxnId="{FD4AC943-CC0C-421B-9E55-E4A36E6FB31B}">
      <dgm:prSet/>
      <dgm:spPr/>
      <dgm:t>
        <a:bodyPr/>
        <a:lstStyle/>
        <a:p>
          <a:endParaRPr lang="en-US"/>
        </a:p>
      </dgm:t>
    </dgm:pt>
    <dgm:pt modelId="{3BBE5F78-935B-42C9-B573-16AC714B10F1}">
      <dgm:prSet/>
      <dgm:spPr>
        <a:solidFill>
          <a:schemeClr val="accent3">
            <a:lumMod val="20000"/>
            <a:lumOff val="80000"/>
          </a:schemeClr>
        </a:solidFill>
        <a:ln>
          <a:noFill/>
        </a:ln>
      </dgm:spPr>
      <dgm:t>
        <a:bodyPr/>
        <a:lstStyle/>
        <a:p>
          <a:pPr rtl="0"/>
          <a:r>
            <a:rPr lang="en-US" dirty="0"/>
            <a:t>Port Config</a:t>
          </a:r>
        </a:p>
      </dgm:t>
    </dgm:pt>
    <dgm:pt modelId="{EE14023B-C2BA-4331-9C36-5E19183E6AEE}" type="parTrans" cxnId="{C62A1EDA-3826-44A9-9335-C8E7552C4330}">
      <dgm:prSet/>
      <dgm:spPr/>
      <dgm:t>
        <a:bodyPr/>
        <a:lstStyle/>
        <a:p>
          <a:endParaRPr lang="en-US"/>
        </a:p>
      </dgm:t>
    </dgm:pt>
    <dgm:pt modelId="{F495C1DF-00CA-4806-8848-4DB4430BC0E5}" type="sibTrans" cxnId="{C62A1EDA-3826-44A9-9335-C8E7552C4330}">
      <dgm:prSet/>
      <dgm:spPr/>
      <dgm:t>
        <a:bodyPr/>
        <a:lstStyle/>
        <a:p>
          <a:endParaRPr lang="en-US"/>
        </a:p>
      </dgm:t>
    </dgm:pt>
    <dgm:pt modelId="{19AFF552-528C-4877-97A3-12FC6BD54D90}">
      <dgm:prSet custT="1"/>
      <dgm:spPr>
        <a:solidFill>
          <a:srgbClr val="D1E6F7">
            <a:alpha val="90000"/>
          </a:srgbClr>
        </a:solidFill>
        <a:ln>
          <a:noFill/>
        </a:ln>
      </dgm:spPr>
      <dgm:t>
        <a:bodyPr/>
        <a:lstStyle/>
        <a:p>
          <a:pPr rtl="0"/>
          <a:r>
            <a:rPr lang="en-CA" sz="800" kern="1200" dirty="0">
              <a:solidFill>
                <a:schemeClr val="bg1"/>
              </a:solidFill>
              <a:latin typeface="CiscoSansTT ExtraLight"/>
            </a:rPr>
            <a:t>20x1G+12x10G</a:t>
          </a:r>
          <a:endParaRPr lang="en-US" sz="800" kern="1200" dirty="0">
            <a:solidFill>
              <a:schemeClr val="tx2"/>
            </a:solidFill>
            <a:latin typeface="+mn-lt"/>
            <a:ea typeface="+mn-ea"/>
            <a:cs typeface="+mn-cs"/>
          </a:endParaRPr>
        </a:p>
      </dgm:t>
    </dgm:pt>
    <dgm:pt modelId="{269718FA-B77B-41E9-B6BC-51C9841D86BE}" type="parTrans" cxnId="{309C19EB-8138-496D-9EB7-437788006B10}">
      <dgm:prSet/>
      <dgm:spPr/>
      <dgm:t>
        <a:bodyPr/>
        <a:lstStyle/>
        <a:p>
          <a:endParaRPr lang="en-US"/>
        </a:p>
      </dgm:t>
    </dgm:pt>
    <dgm:pt modelId="{CBC002CF-AA4E-4F12-AA57-C4D942495BB3}" type="sibTrans" cxnId="{309C19EB-8138-496D-9EB7-437788006B10}">
      <dgm:prSet/>
      <dgm:spPr/>
      <dgm:t>
        <a:bodyPr/>
        <a:lstStyle/>
        <a:p>
          <a:endParaRPr lang="en-US"/>
        </a:p>
      </dgm:t>
    </dgm:pt>
    <dgm:pt modelId="{EFE837F0-2D9A-4CDF-A1D4-4A926913B307}">
      <dgm:prSet/>
      <dgm:spPr>
        <a:solidFill>
          <a:schemeClr val="accent3">
            <a:lumMod val="20000"/>
            <a:lumOff val="80000"/>
          </a:schemeClr>
        </a:solidFill>
        <a:ln>
          <a:noFill/>
        </a:ln>
      </dgm:spPr>
      <dgm:t>
        <a:bodyPr/>
        <a:lstStyle/>
        <a:p>
          <a:pPr rtl="0"/>
          <a:r>
            <a:rPr lang="en-US" dirty="0"/>
            <a:t>PSU/Fan</a:t>
          </a:r>
        </a:p>
      </dgm:t>
    </dgm:pt>
    <dgm:pt modelId="{F39B6D33-5DF0-4159-B422-777B81F4DA77}" type="parTrans" cxnId="{CA5F7EB3-BE12-4A94-A8CB-1A7697C6DE1F}">
      <dgm:prSet/>
      <dgm:spPr/>
      <dgm:t>
        <a:bodyPr/>
        <a:lstStyle/>
        <a:p>
          <a:endParaRPr lang="en-US"/>
        </a:p>
      </dgm:t>
    </dgm:pt>
    <dgm:pt modelId="{ECFD24B6-B38D-471B-8241-123E8F706492}" type="sibTrans" cxnId="{CA5F7EB3-BE12-4A94-A8CB-1A7697C6DE1F}">
      <dgm:prSet/>
      <dgm:spPr/>
      <dgm:t>
        <a:bodyPr/>
        <a:lstStyle/>
        <a:p>
          <a:endParaRPr lang="en-US"/>
        </a:p>
      </dgm:t>
    </dgm:pt>
    <dgm:pt modelId="{8E7316BF-1222-45EA-ABE1-78CBE16193B1}">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Font typeface="Arial" panose="020B0604020202020204" pitchFamily="34" charset="0"/>
            <a:buChar char="•"/>
          </a:pPr>
          <a:r>
            <a:rPr lang="en-US" sz="800" kern="1200" dirty="0">
              <a:solidFill>
                <a:schemeClr val="tx2"/>
              </a:solidFill>
              <a:latin typeface="+mn-lt"/>
            </a:rPr>
            <a:t>Fixed PSU, Dual DC /Single AC PSU</a:t>
          </a:r>
          <a:endParaRPr lang="en-US" sz="800" kern="1200" dirty="0">
            <a:solidFill>
              <a:schemeClr val="tx2"/>
            </a:solidFill>
            <a:latin typeface="+mn-lt"/>
            <a:ea typeface="+mn-ea"/>
            <a:cs typeface="+mn-cs"/>
          </a:endParaRPr>
        </a:p>
      </dgm:t>
    </dgm:pt>
    <dgm:pt modelId="{73E5A098-945B-4C78-AD53-C2C174F65149}" type="parTrans" cxnId="{5B239AD3-85FB-4C47-9CAB-2AF559CA73E6}">
      <dgm:prSet/>
      <dgm:spPr/>
      <dgm:t>
        <a:bodyPr/>
        <a:lstStyle/>
        <a:p>
          <a:endParaRPr lang="en-US"/>
        </a:p>
      </dgm:t>
    </dgm:pt>
    <dgm:pt modelId="{2DACA4EF-6F12-46A5-B1F1-21EA4A20873D}" type="sibTrans" cxnId="{5B239AD3-85FB-4C47-9CAB-2AF559CA73E6}">
      <dgm:prSet/>
      <dgm:spPr/>
      <dgm:t>
        <a:bodyPr/>
        <a:lstStyle/>
        <a:p>
          <a:endParaRPr lang="en-US"/>
        </a:p>
      </dgm:t>
    </dgm:pt>
    <dgm:pt modelId="{7EEF4263-4E6E-4004-960E-3E3E9468A3AC}">
      <dgm:prSet/>
      <dgm:spPr>
        <a:solidFill>
          <a:schemeClr val="accent3">
            <a:lumMod val="20000"/>
            <a:lumOff val="80000"/>
          </a:schemeClr>
        </a:solidFill>
        <a:ln>
          <a:noFill/>
        </a:ln>
      </dgm:spPr>
      <dgm:t>
        <a:bodyPr/>
        <a:lstStyle/>
        <a:p>
          <a:pPr rtl="0"/>
          <a:r>
            <a:rPr lang="en-US" dirty="0"/>
            <a:t>Temp Range</a:t>
          </a:r>
        </a:p>
      </dgm:t>
    </dgm:pt>
    <dgm:pt modelId="{7A13DF79-CCAA-4E59-AC08-5B2E4EED69BF}" type="parTrans" cxnId="{E5CF5CDD-012A-4955-AA75-58B4E09FAB96}">
      <dgm:prSet/>
      <dgm:spPr/>
      <dgm:t>
        <a:bodyPr/>
        <a:lstStyle/>
        <a:p>
          <a:endParaRPr lang="en-US"/>
        </a:p>
      </dgm:t>
    </dgm:pt>
    <dgm:pt modelId="{4CE6DE60-F69C-4621-8578-4D44E879034E}" type="sibTrans" cxnId="{E5CF5CDD-012A-4955-AA75-58B4E09FAB96}">
      <dgm:prSet/>
      <dgm:spPr/>
      <dgm:t>
        <a:bodyPr/>
        <a:lstStyle/>
        <a:p>
          <a:endParaRPr lang="en-US"/>
        </a:p>
      </dgm:t>
    </dgm:pt>
    <dgm:pt modelId="{3F619E9B-7592-4D0E-9488-8A5B974A1666}">
      <dgm:prSet custT="1"/>
      <dgm:spPr>
        <a:solidFill>
          <a:srgbClr val="D1E6F7">
            <a:alpha val="90000"/>
          </a:srgbClr>
        </a:solidFill>
        <a:ln>
          <a:noFill/>
        </a:ln>
      </dgm:spPr>
      <dgm:t>
        <a:bodyPr/>
        <a:lstStyle/>
        <a:p>
          <a:pPr rtl="0"/>
          <a:r>
            <a:rPr lang="en-US" sz="800" dirty="0">
              <a:solidFill>
                <a:schemeClr val="tx2"/>
              </a:solidFill>
              <a:latin typeface="+mn-lt"/>
            </a:rPr>
            <a:t>Commercial -0C to +50C</a:t>
          </a:r>
        </a:p>
      </dgm:t>
    </dgm:pt>
    <dgm:pt modelId="{0D2C2944-594A-4519-9F06-1D0E1C1376FF}" type="parTrans" cxnId="{DE7906F5-3B68-4298-876A-FF154F8BB589}">
      <dgm:prSet/>
      <dgm:spPr/>
      <dgm:t>
        <a:bodyPr/>
        <a:lstStyle/>
        <a:p>
          <a:endParaRPr lang="en-US"/>
        </a:p>
      </dgm:t>
    </dgm:pt>
    <dgm:pt modelId="{EA1A8E51-D814-4655-B17C-2C181E2F44C0}" type="sibTrans" cxnId="{DE7906F5-3B68-4298-876A-FF154F8BB589}">
      <dgm:prSet/>
      <dgm:spPr/>
      <dgm:t>
        <a:bodyPr/>
        <a:lstStyle/>
        <a:p>
          <a:endParaRPr lang="en-US"/>
        </a:p>
      </dgm:t>
    </dgm:pt>
    <dgm:pt modelId="{5EA9DA79-28E7-45D4-871A-EF76EE70709D}">
      <dgm:prSet/>
      <dgm:spPr>
        <a:solidFill>
          <a:schemeClr val="accent3">
            <a:lumMod val="20000"/>
            <a:lumOff val="80000"/>
          </a:schemeClr>
        </a:solidFill>
        <a:ln>
          <a:noFill/>
        </a:ln>
      </dgm:spPr>
      <dgm:t>
        <a:bodyPr/>
        <a:lstStyle/>
        <a:p>
          <a:pPr rtl="0"/>
          <a:r>
            <a:rPr lang="en-US" dirty="0"/>
            <a:t>Timing</a:t>
          </a:r>
        </a:p>
      </dgm:t>
    </dgm:pt>
    <dgm:pt modelId="{974B947A-5332-4D17-9DC4-3924DFDB2080}" type="parTrans" cxnId="{C7A1E8A9-7E9B-4846-9A99-9A8E761214B3}">
      <dgm:prSet/>
      <dgm:spPr/>
      <dgm:t>
        <a:bodyPr/>
        <a:lstStyle/>
        <a:p>
          <a:endParaRPr lang="en-US"/>
        </a:p>
      </dgm:t>
    </dgm:pt>
    <dgm:pt modelId="{CF883CA7-B12F-4964-961F-BA435C55BCFC}" type="sibTrans" cxnId="{C7A1E8A9-7E9B-4846-9A99-9A8E761214B3}">
      <dgm:prSet/>
      <dgm:spPr/>
      <dgm:t>
        <a:bodyPr/>
        <a:lstStyle/>
        <a:p>
          <a:endParaRPr lang="en-US"/>
        </a:p>
      </dgm:t>
    </dgm:pt>
    <dgm:pt modelId="{C38B58B5-12D3-4A51-B860-16C18A107601}">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Char char="•"/>
          </a:pPr>
          <a:r>
            <a:rPr lang="en-US" sz="800" kern="1200" dirty="0">
              <a:solidFill>
                <a:schemeClr val="tx2"/>
              </a:solidFill>
              <a:latin typeface="+mn-lt"/>
            </a:rPr>
            <a:t>1588v2, TOD, BITS, 1PPS, 10MHz, Class-B</a:t>
          </a:r>
          <a:endParaRPr lang="en-US" sz="800" kern="1200" dirty="0">
            <a:solidFill>
              <a:schemeClr val="tx2"/>
            </a:solidFill>
            <a:latin typeface="+mn-lt"/>
            <a:ea typeface="+mn-ea"/>
            <a:cs typeface="+mn-cs"/>
          </a:endParaRPr>
        </a:p>
      </dgm:t>
    </dgm:pt>
    <dgm:pt modelId="{D2454DE5-9BA9-4680-8918-DD86BC2131C0}" type="parTrans" cxnId="{058CD167-1915-429C-BF36-B12F4165BCC1}">
      <dgm:prSet/>
      <dgm:spPr/>
      <dgm:t>
        <a:bodyPr/>
        <a:lstStyle/>
        <a:p>
          <a:endParaRPr lang="en-US"/>
        </a:p>
      </dgm:t>
    </dgm:pt>
    <dgm:pt modelId="{73EEC26C-9C9C-433E-9189-7BE729F08491}" type="sibTrans" cxnId="{058CD167-1915-429C-BF36-B12F4165BCC1}">
      <dgm:prSet/>
      <dgm:spPr/>
      <dgm:t>
        <a:bodyPr/>
        <a:lstStyle/>
        <a:p>
          <a:endParaRPr lang="en-US"/>
        </a:p>
      </dgm:t>
    </dgm:pt>
    <dgm:pt modelId="{1A0A2AA1-69D5-4E14-A15E-0D5DB2762F19}">
      <dgm:prSet/>
      <dgm:spPr>
        <a:solidFill>
          <a:schemeClr val="accent3">
            <a:lumMod val="20000"/>
            <a:lumOff val="80000"/>
          </a:schemeClr>
        </a:solidFill>
        <a:ln>
          <a:noFill/>
        </a:ln>
      </dgm:spPr>
      <dgm:t>
        <a:bodyPr/>
        <a:lstStyle/>
        <a:p>
          <a:pPr rtl="0"/>
          <a:r>
            <a:rPr lang="en-US" dirty="0"/>
            <a:t>Software</a:t>
          </a:r>
        </a:p>
      </dgm:t>
    </dgm:pt>
    <dgm:pt modelId="{9EAEA37A-A80A-4B0B-86C0-F7BC883CD3FA}" type="parTrans" cxnId="{504908DB-3FC9-4C05-9B55-989A070DC9BD}">
      <dgm:prSet/>
      <dgm:spPr/>
      <dgm:t>
        <a:bodyPr/>
        <a:lstStyle/>
        <a:p>
          <a:endParaRPr lang="en-US"/>
        </a:p>
      </dgm:t>
    </dgm:pt>
    <dgm:pt modelId="{1BC57049-2068-4AC0-BFB4-94C5D69D5D48}" type="sibTrans" cxnId="{504908DB-3FC9-4C05-9B55-989A070DC9BD}">
      <dgm:prSet/>
      <dgm:spPr/>
      <dgm:t>
        <a:bodyPr/>
        <a:lstStyle/>
        <a:p>
          <a:endParaRPr lang="en-US"/>
        </a:p>
      </dgm:t>
    </dgm:pt>
    <dgm:pt modelId="{CD757011-5728-4BF4-853F-70E13533E937}">
      <dgm:prSet custT="1"/>
      <dgm:spPr>
        <a:solidFill>
          <a:srgbClr val="D1E6F7">
            <a:alpha val="89804"/>
          </a:srgbClr>
        </a:solidFill>
        <a:ln>
          <a:noFill/>
        </a:ln>
      </dgm:spPr>
      <dgm:t>
        <a:bodyPr/>
        <a:lstStyle/>
        <a:p>
          <a:pPr rtl="0"/>
          <a:r>
            <a:rPr lang="en-US" sz="800" dirty="0">
              <a:solidFill>
                <a:schemeClr val="tx2"/>
              </a:solidFill>
              <a:latin typeface="+mn-lt"/>
            </a:rPr>
            <a:t>FCS  IOS XR 7.0.1</a:t>
          </a:r>
        </a:p>
      </dgm:t>
    </dgm:pt>
    <dgm:pt modelId="{4FA3D885-C227-4859-BFAF-3178421AB4D0}" type="parTrans" cxnId="{D5DBFA3D-7122-43F1-AD34-4F94C6F7E5DE}">
      <dgm:prSet/>
      <dgm:spPr/>
      <dgm:t>
        <a:bodyPr/>
        <a:lstStyle/>
        <a:p>
          <a:endParaRPr lang="en-US"/>
        </a:p>
      </dgm:t>
    </dgm:pt>
    <dgm:pt modelId="{1F91DA92-BB7C-4DFA-AAAA-66381A48E26F}" type="sibTrans" cxnId="{D5DBFA3D-7122-43F1-AD34-4F94C6F7E5DE}">
      <dgm:prSet/>
      <dgm:spPr/>
      <dgm:t>
        <a:bodyPr/>
        <a:lstStyle/>
        <a:p>
          <a:endParaRPr lang="en-US"/>
        </a:p>
      </dgm:t>
    </dgm:pt>
    <dgm:pt modelId="{53D666BE-2E64-4343-84BF-2116BE8B80E6}">
      <dgm:prSet custT="1"/>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chemeClr val="tx2"/>
              </a:solidFill>
              <a:effectLst/>
              <a:uLnTx/>
              <a:uFillTx/>
              <a:latin typeface="+mn-lt"/>
              <a:ea typeface="+mn-ea"/>
              <a:cs typeface="+mn-cs"/>
            </a:rPr>
            <a:t>Q-AX 160G BCOM, Intel </a:t>
          </a:r>
          <a:r>
            <a:rPr kumimoji="0" lang="en-US" sz="800" b="0" i="0" u="none" strike="noStrike" kern="1200" cap="none" spc="0" normalizeH="0" baseline="0" dirty="0" err="1">
              <a:ln>
                <a:noFill/>
              </a:ln>
              <a:solidFill>
                <a:schemeClr val="tx2"/>
              </a:solidFill>
              <a:effectLst/>
              <a:uLnTx/>
              <a:uFillTx/>
              <a:latin typeface="+mn-lt"/>
              <a:ea typeface="+mn-ea"/>
              <a:cs typeface="+mn-cs"/>
            </a:rPr>
            <a:t>Denverton</a:t>
          </a:r>
          <a:r>
            <a:rPr kumimoji="0" lang="en-US" sz="800" b="0" i="0" u="none" strike="noStrike" kern="1200" cap="none" spc="0" normalizeH="0" baseline="0" dirty="0">
              <a:ln>
                <a:noFill/>
              </a:ln>
              <a:solidFill>
                <a:schemeClr val="tx2"/>
              </a:solidFill>
              <a:effectLst/>
              <a:uLnTx/>
              <a:uFillTx/>
              <a:latin typeface="+mn-lt"/>
              <a:ea typeface="+mn-ea"/>
              <a:cs typeface="+mn-cs"/>
            </a:rPr>
            <a:t> 4C 1.5GHz CPU</a:t>
          </a:r>
        </a:p>
      </dgm:t>
    </dgm:pt>
    <dgm:pt modelId="{A0C13E03-BC8D-B74B-8C87-56EBDA2D5877}" type="parTrans" cxnId="{6A021749-50AF-7E48-BE5A-E28F9C51A8EA}">
      <dgm:prSet/>
      <dgm:spPr/>
      <dgm:t>
        <a:bodyPr/>
        <a:lstStyle/>
        <a:p>
          <a:endParaRPr lang="en-US"/>
        </a:p>
      </dgm:t>
    </dgm:pt>
    <dgm:pt modelId="{9B8A88C5-1698-0749-AC1B-0302F4386564}" type="sibTrans" cxnId="{6A021749-50AF-7E48-BE5A-E28F9C51A8EA}">
      <dgm:prSet/>
      <dgm:spPr/>
      <dgm:t>
        <a:bodyPr/>
        <a:lstStyle/>
        <a:p>
          <a:endParaRPr lang="en-US"/>
        </a:p>
      </dgm:t>
    </dgm:pt>
    <dgm:pt modelId="{2FB2FDD1-88E1-2849-B5C1-08BC28DC843C}">
      <dgm:prSet custT="1"/>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chemeClr val="tx2"/>
              </a:solidFill>
              <a:effectLst/>
              <a:uLnTx/>
              <a:uFillTx/>
              <a:latin typeface="+mn-lt"/>
              <a:ea typeface="+mn-ea"/>
              <a:cs typeface="+mn-cs"/>
            </a:rPr>
            <a:t>8 GB DRAM, 64G SSD</a:t>
          </a:r>
        </a:p>
      </dgm:t>
    </dgm:pt>
    <dgm:pt modelId="{85AF8E29-3E56-8F4A-AEA0-7AC8D9A13AF9}" type="parTrans" cxnId="{6AD3400E-99C1-3341-B1E6-6CAE34D4D836}">
      <dgm:prSet/>
      <dgm:spPr/>
      <dgm:t>
        <a:bodyPr/>
        <a:lstStyle/>
        <a:p>
          <a:endParaRPr lang="en-US"/>
        </a:p>
      </dgm:t>
    </dgm:pt>
    <dgm:pt modelId="{4F6807FB-D43D-B64B-905B-7BEF705BCB3F}" type="sibTrans" cxnId="{6AD3400E-99C1-3341-B1E6-6CAE34D4D836}">
      <dgm:prSet/>
      <dgm:spPr/>
      <dgm:t>
        <a:bodyPr/>
        <a:lstStyle/>
        <a:p>
          <a:endParaRPr lang="en-US"/>
        </a:p>
      </dgm:t>
    </dgm:pt>
    <dgm:pt modelId="{64088DDB-BFF1-A745-82D4-F5A4DA2D937A}">
      <dgm:prSet custT="1"/>
      <dgm:spPr/>
      <dgm:t>
        <a:bodyPr/>
        <a:lstStyle/>
        <a:p>
          <a:pPr marL="57150" lvl="1" indent="-57150" algn="l" defTabSz="355600">
            <a:lnSpc>
              <a:spcPct val="90000"/>
            </a:lnSpc>
            <a:spcBef>
              <a:spcPct val="0"/>
            </a:spcBef>
            <a:spcAft>
              <a:spcPct val="15000"/>
            </a:spcAft>
            <a:buClrTx/>
            <a:buSzTx/>
            <a:buFont typeface="Arial" panose="020B0604020202020204" pitchFamily="34" charset="0"/>
            <a:buChar char="•"/>
          </a:pPr>
          <a:r>
            <a:rPr lang="en-US" sz="800" kern="1200" dirty="0">
              <a:solidFill>
                <a:schemeClr val="tx2"/>
              </a:solidFill>
              <a:latin typeface="+mn-lt"/>
              <a:ea typeface="+mn-ea"/>
              <a:cs typeface="+mn-cs"/>
            </a:rPr>
            <a:t>Fixed Fans, Front to back airflow</a:t>
          </a:r>
        </a:p>
      </dgm:t>
    </dgm:pt>
    <dgm:pt modelId="{581ED972-C0ED-E440-8371-8ABD04688208}" type="parTrans" cxnId="{CF14B5AB-3585-2540-A18C-A8BEBF520B31}">
      <dgm:prSet/>
      <dgm:spPr/>
      <dgm:t>
        <a:bodyPr/>
        <a:lstStyle/>
        <a:p>
          <a:endParaRPr lang="en-US"/>
        </a:p>
      </dgm:t>
    </dgm:pt>
    <dgm:pt modelId="{BF9766A6-06E4-7640-BCBF-A9A7E8B81536}" type="sibTrans" cxnId="{CF14B5AB-3585-2540-A18C-A8BEBF520B31}">
      <dgm:prSet/>
      <dgm:spPr/>
      <dgm:t>
        <a:bodyPr/>
        <a:lstStyle/>
        <a:p>
          <a:endParaRPr lang="en-US"/>
        </a:p>
      </dgm:t>
    </dgm:pt>
    <dgm:pt modelId="{5B4AEF64-28AE-485F-8316-5EC472702409}" type="pres">
      <dgm:prSet presAssocID="{DAD06F05-3903-433B-819B-F96CE91CF596}" presName="Name0" presStyleCnt="0">
        <dgm:presLayoutVars>
          <dgm:dir/>
          <dgm:animLvl val="lvl"/>
          <dgm:resizeHandles val="exact"/>
        </dgm:presLayoutVars>
      </dgm:prSet>
      <dgm:spPr/>
    </dgm:pt>
    <dgm:pt modelId="{892E7779-DCF7-49DC-B0CB-6BFF0EF6741F}" type="pres">
      <dgm:prSet presAssocID="{A857E58C-97AE-49CD-B97A-4AE61EDD56C3}" presName="linNode" presStyleCnt="0"/>
      <dgm:spPr/>
    </dgm:pt>
    <dgm:pt modelId="{75BDDF79-3035-42C9-A99F-F5B297561CD6}" type="pres">
      <dgm:prSet presAssocID="{A857E58C-97AE-49CD-B97A-4AE61EDD56C3}" presName="parentText" presStyleLbl="node1" presStyleIdx="0" presStyleCnt="6">
        <dgm:presLayoutVars>
          <dgm:chMax val="1"/>
          <dgm:bulletEnabled val="1"/>
        </dgm:presLayoutVars>
      </dgm:prSet>
      <dgm:spPr/>
    </dgm:pt>
    <dgm:pt modelId="{454F4EDA-E589-4A16-85DB-0C9792B930E7}" type="pres">
      <dgm:prSet presAssocID="{A857E58C-97AE-49CD-B97A-4AE61EDD56C3}" presName="descendantText" presStyleLbl="alignAccFollowNode1" presStyleIdx="0" presStyleCnt="6">
        <dgm:presLayoutVars>
          <dgm:bulletEnabled val="1"/>
        </dgm:presLayoutVars>
      </dgm:prSet>
      <dgm:spPr/>
    </dgm:pt>
    <dgm:pt modelId="{81BEC21C-0012-4E95-BB17-9B2AA37A90D4}" type="pres">
      <dgm:prSet presAssocID="{86CA84AA-D830-417D-BF7F-4979D17CBEAE}" presName="sp" presStyleCnt="0"/>
      <dgm:spPr/>
    </dgm:pt>
    <dgm:pt modelId="{3AB861FE-6227-4EE5-A6DA-C65C44CFB581}" type="pres">
      <dgm:prSet presAssocID="{3BBE5F78-935B-42C9-B573-16AC714B10F1}" presName="linNode" presStyleCnt="0"/>
      <dgm:spPr/>
    </dgm:pt>
    <dgm:pt modelId="{46830796-4281-4E9F-8DEE-0DD2DF16825B}" type="pres">
      <dgm:prSet presAssocID="{3BBE5F78-935B-42C9-B573-16AC714B10F1}" presName="parentText" presStyleLbl="node1" presStyleIdx="1" presStyleCnt="6">
        <dgm:presLayoutVars>
          <dgm:chMax val="1"/>
          <dgm:bulletEnabled val="1"/>
        </dgm:presLayoutVars>
      </dgm:prSet>
      <dgm:spPr/>
    </dgm:pt>
    <dgm:pt modelId="{2BDD3F66-042D-48A7-8A12-4EEFBC3BB338}" type="pres">
      <dgm:prSet presAssocID="{3BBE5F78-935B-42C9-B573-16AC714B10F1}" presName="descendantText" presStyleLbl="alignAccFollowNode1" presStyleIdx="1" presStyleCnt="6">
        <dgm:presLayoutVars>
          <dgm:bulletEnabled val="1"/>
        </dgm:presLayoutVars>
      </dgm:prSet>
      <dgm:spPr/>
    </dgm:pt>
    <dgm:pt modelId="{BCFB7EE6-BA37-4E65-98F6-BDF5A4F3F69C}" type="pres">
      <dgm:prSet presAssocID="{F495C1DF-00CA-4806-8848-4DB4430BC0E5}" presName="sp" presStyleCnt="0"/>
      <dgm:spPr/>
    </dgm:pt>
    <dgm:pt modelId="{5D8D81FC-E2E7-467C-9C14-B6D3623F36DF}" type="pres">
      <dgm:prSet presAssocID="{EFE837F0-2D9A-4CDF-A1D4-4A926913B307}" presName="linNode" presStyleCnt="0"/>
      <dgm:spPr/>
    </dgm:pt>
    <dgm:pt modelId="{101019C5-FDD6-4886-90F5-F669DD820F3A}" type="pres">
      <dgm:prSet presAssocID="{EFE837F0-2D9A-4CDF-A1D4-4A926913B307}" presName="parentText" presStyleLbl="node1" presStyleIdx="2" presStyleCnt="6">
        <dgm:presLayoutVars>
          <dgm:chMax val="1"/>
          <dgm:bulletEnabled val="1"/>
        </dgm:presLayoutVars>
      </dgm:prSet>
      <dgm:spPr/>
    </dgm:pt>
    <dgm:pt modelId="{ECB50969-2EBA-4889-BC7D-B884D0866E33}" type="pres">
      <dgm:prSet presAssocID="{EFE837F0-2D9A-4CDF-A1D4-4A926913B307}" presName="descendantText" presStyleLbl="alignAccFollowNode1" presStyleIdx="2" presStyleCnt="6">
        <dgm:presLayoutVars>
          <dgm:bulletEnabled val="1"/>
        </dgm:presLayoutVars>
      </dgm:prSet>
      <dgm:spPr/>
    </dgm:pt>
    <dgm:pt modelId="{99451625-FCC4-4B83-B889-E8DD158ED64F}" type="pres">
      <dgm:prSet presAssocID="{ECFD24B6-B38D-471B-8241-123E8F706492}" presName="sp" presStyleCnt="0"/>
      <dgm:spPr/>
    </dgm:pt>
    <dgm:pt modelId="{4B28F1C2-05BC-45C3-9269-7CE466037E26}" type="pres">
      <dgm:prSet presAssocID="{7EEF4263-4E6E-4004-960E-3E3E9468A3AC}" presName="linNode" presStyleCnt="0"/>
      <dgm:spPr/>
    </dgm:pt>
    <dgm:pt modelId="{8E64AB20-F105-400F-8F74-08B70BF50322}" type="pres">
      <dgm:prSet presAssocID="{7EEF4263-4E6E-4004-960E-3E3E9468A3AC}" presName="parentText" presStyleLbl="node1" presStyleIdx="3" presStyleCnt="6">
        <dgm:presLayoutVars>
          <dgm:chMax val="1"/>
          <dgm:bulletEnabled val="1"/>
        </dgm:presLayoutVars>
      </dgm:prSet>
      <dgm:spPr/>
    </dgm:pt>
    <dgm:pt modelId="{07C64787-2A16-432E-A9E9-C9678F3B7697}" type="pres">
      <dgm:prSet presAssocID="{7EEF4263-4E6E-4004-960E-3E3E9468A3AC}" presName="descendantText" presStyleLbl="alignAccFollowNode1" presStyleIdx="3" presStyleCnt="6">
        <dgm:presLayoutVars>
          <dgm:bulletEnabled val="1"/>
        </dgm:presLayoutVars>
      </dgm:prSet>
      <dgm:spPr/>
    </dgm:pt>
    <dgm:pt modelId="{0F34426D-C1A0-4D72-9913-BAE6F3F4B6F0}" type="pres">
      <dgm:prSet presAssocID="{4CE6DE60-F69C-4621-8578-4D44E879034E}" presName="sp" presStyleCnt="0"/>
      <dgm:spPr/>
    </dgm:pt>
    <dgm:pt modelId="{B658F943-F0FE-42EE-B0D1-1847AF1AFE1A}" type="pres">
      <dgm:prSet presAssocID="{5EA9DA79-28E7-45D4-871A-EF76EE70709D}" presName="linNode" presStyleCnt="0"/>
      <dgm:spPr/>
    </dgm:pt>
    <dgm:pt modelId="{5CE93F69-8985-4E79-AB79-F77331DDDF29}" type="pres">
      <dgm:prSet presAssocID="{5EA9DA79-28E7-45D4-871A-EF76EE70709D}" presName="parentText" presStyleLbl="node1" presStyleIdx="4" presStyleCnt="6">
        <dgm:presLayoutVars>
          <dgm:chMax val="1"/>
          <dgm:bulletEnabled val="1"/>
        </dgm:presLayoutVars>
      </dgm:prSet>
      <dgm:spPr/>
    </dgm:pt>
    <dgm:pt modelId="{8E9693D4-37B8-411A-B81B-9FF4FED4D5AC}" type="pres">
      <dgm:prSet presAssocID="{5EA9DA79-28E7-45D4-871A-EF76EE70709D}" presName="descendantText" presStyleLbl="alignAccFollowNode1" presStyleIdx="4" presStyleCnt="6">
        <dgm:presLayoutVars>
          <dgm:bulletEnabled val="1"/>
        </dgm:presLayoutVars>
      </dgm:prSet>
      <dgm:spPr/>
    </dgm:pt>
    <dgm:pt modelId="{A467D402-92CD-4BF3-87FF-475BED166A57}" type="pres">
      <dgm:prSet presAssocID="{CF883CA7-B12F-4964-961F-BA435C55BCFC}" presName="sp" presStyleCnt="0"/>
      <dgm:spPr/>
    </dgm:pt>
    <dgm:pt modelId="{5D58E42B-2060-489A-8BD9-92C85736B2EE}" type="pres">
      <dgm:prSet presAssocID="{1A0A2AA1-69D5-4E14-A15E-0D5DB2762F19}" presName="linNode" presStyleCnt="0"/>
      <dgm:spPr/>
    </dgm:pt>
    <dgm:pt modelId="{24C0A0FD-C6B1-479F-931D-3DD94F912BF2}" type="pres">
      <dgm:prSet presAssocID="{1A0A2AA1-69D5-4E14-A15E-0D5DB2762F19}" presName="parentText" presStyleLbl="node1" presStyleIdx="5" presStyleCnt="6">
        <dgm:presLayoutVars>
          <dgm:chMax val="1"/>
          <dgm:bulletEnabled val="1"/>
        </dgm:presLayoutVars>
      </dgm:prSet>
      <dgm:spPr/>
    </dgm:pt>
    <dgm:pt modelId="{BA1392D3-6B0C-439C-BF9F-5015A177764E}" type="pres">
      <dgm:prSet presAssocID="{1A0A2AA1-69D5-4E14-A15E-0D5DB2762F19}" presName="descendantText" presStyleLbl="alignAccFollowNode1" presStyleIdx="5" presStyleCnt="6">
        <dgm:presLayoutVars>
          <dgm:bulletEnabled val="1"/>
        </dgm:presLayoutVars>
      </dgm:prSet>
      <dgm:spPr/>
    </dgm:pt>
  </dgm:ptLst>
  <dgm:cxnLst>
    <dgm:cxn modelId="{8E384F03-F82E-4A97-9EAA-D5DA2820E5C9}" type="presOf" srcId="{EFE837F0-2D9A-4CDF-A1D4-4A926913B307}" destId="{101019C5-FDD6-4886-90F5-F669DD820F3A}" srcOrd="0" destOrd="0" presId="urn:microsoft.com/office/officeart/2005/8/layout/vList5"/>
    <dgm:cxn modelId="{6AD3400E-99C1-3341-B1E6-6CAE34D4D836}" srcId="{A857E58C-97AE-49CD-B97A-4AE61EDD56C3}" destId="{2FB2FDD1-88E1-2849-B5C1-08BC28DC843C}" srcOrd="2" destOrd="0" parTransId="{85AF8E29-3E56-8F4A-AEA0-7AC8D9A13AF9}" sibTransId="{4F6807FB-D43D-B64B-905B-7BEF705BCB3F}"/>
    <dgm:cxn modelId="{5A10F72B-B70F-4047-833D-DF0ADBB6CAE9}" type="presOf" srcId="{DAD06F05-3903-433B-819B-F96CE91CF596}" destId="{5B4AEF64-28AE-485F-8316-5EC472702409}" srcOrd="0" destOrd="0" presId="urn:microsoft.com/office/officeart/2005/8/layout/vList5"/>
    <dgm:cxn modelId="{32AF1F3D-5EA1-450F-8B1A-3D70422409A6}" type="presOf" srcId="{7931435D-86CC-4E5F-AEA6-654DD645A9D0}" destId="{454F4EDA-E589-4A16-85DB-0C9792B930E7}" srcOrd="0" destOrd="0" presId="urn:microsoft.com/office/officeart/2005/8/layout/vList5"/>
    <dgm:cxn modelId="{D5DBFA3D-7122-43F1-AD34-4F94C6F7E5DE}" srcId="{1A0A2AA1-69D5-4E14-A15E-0D5DB2762F19}" destId="{CD757011-5728-4BF4-853F-70E13533E937}" srcOrd="0" destOrd="0" parTransId="{4FA3D885-C227-4859-BFAF-3178421AB4D0}" sibTransId="{1F91DA92-BB7C-4DFA-AAAA-66381A48E26F}"/>
    <dgm:cxn modelId="{FD4AC943-CC0C-421B-9E55-E4A36E6FB31B}" srcId="{A857E58C-97AE-49CD-B97A-4AE61EDD56C3}" destId="{7931435D-86CC-4E5F-AEA6-654DD645A9D0}" srcOrd="0" destOrd="0" parTransId="{B0381B90-A790-4E10-9BB6-1081D6ED3F9B}" sibTransId="{18F1ED80-9C2A-4BD8-861D-545F84CFB19A}"/>
    <dgm:cxn modelId="{2E540764-9DC8-4EBC-A694-304529F67E64}" type="presOf" srcId="{1A0A2AA1-69D5-4E14-A15E-0D5DB2762F19}" destId="{24C0A0FD-C6B1-479F-931D-3DD94F912BF2}" srcOrd="0" destOrd="0" presId="urn:microsoft.com/office/officeart/2005/8/layout/vList5"/>
    <dgm:cxn modelId="{058CD167-1915-429C-BF36-B12F4165BCC1}" srcId="{5EA9DA79-28E7-45D4-871A-EF76EE70709D}" destId="{C38B58B5-12D3-4A51-B860-16C18A107601}" srcOrd="0" destOrd="0" parTransId="{D2454DE5-9BA9-4680-8918-DD86BC2131C0}" sibTransId="{73EEC26C-9C9C-433E-9189-7BE729F08491}"/>
    <dgm:cxn modelId="{6A021749-50AF-7E48-BE5A-E28F9C51A8EA}" srcId="{A857E58C-97AE-49CD-B97A-4AE61EDD56C3}" destId="{53D666BE-2E64-4343-84BF-2116BE8B80E6}" srcOrd="1" destOrd="0" parTransId="{A0C13E03-BC8D-B74B-8C87-56EBDA2D5877}" sibTransId="{9B8A88C5-1698-0749-AC1B-0302F4386564}"/>
    <dgm:cxn modelId="{B7434775-3FDA-4409-A75F-790174755D82}" type="presOf" srcId="{5EA9DA79-28E7-45D4-871A-EF76EE70709D}" destId="{5CE93F69-8985-4E79-AB79-F77331DDDF29}" srcOrd="0" destOrd="0" presId="urn:microsoft.com/office/officeart/2005/8/layout/vList5"/>
    <dgm:cxn modelId="{B7EF1B83-D41C-6749-B8A9-15D2A41202DA}" type="presOf" srcId="{2FB2FDD1-88E1-2849-B5C1-08BC28DC843C}" destId="{454F4EDA-E589-4A16-85DB-0C9792B930E7}" srcOrd="0" destOrd="2" presId="urn:microsoft.com/office/officeart/2005/8/layout/vList5"/>
    <dgm:cxn modelId="{742C458A-17DE-8D40-81BD-A71810531290}" type="presOf" srcId="{64088DDB-BFF1-A745-82D4-F5A4DA2D937A}" destId="{ECB50969-2EBA-4889-BC7D-B884D0866E33}" srcOrd="0" destOrd="1" presId="urn:microsoft.com/office/officeart/2005/8/layout/vList5"/>
    <dgm:cxn modelId="{40EC938D-B9A2-452E-9E78-0B9AE66C5785}" type="presOf" srcId="{CD757011-5728-4BF4-853F-70E13533E937}" destId="{BA1392D3-6B0C-439C-BF9F-5015A177764E}" srcOrd="0" destOrd="0" presId="urn:microsoft.com/office/officeart/2005/8/layout/vList5"/>
    <dgm:cxn modelId="{707BDD95-DDEE-4F9A-A68B-9CB0E3FE6F6C}" type="presOf" srcId="{7EEF4263-4E6E-4004-960E-3E3E9468A3AC}" destId="{8E64AB20-F105-400F-8F74-08B70BF50322}" srcOrd="0" destOrd="0" presId="urn:microsoft.com/office/officeart/2005/8/layout/vList5"/>
    <dgm:cxn modelId="{C7A1E8A9-7E9B-4846-9A99-9A8E761214B3}" srcId="{DAD06F05-3903-433B-819B-F96CE91CF596}" destId="{5EA9DA79-28E7-45D4-871A-EF76EE70709D}" srcOrd="4" destOrd="0" parTransId="{974B947A-5332-4D17-9DC4-3924DFDB2080}" sibTransId="{CF883CA7-B12F-4964-961F-BA435C55BCFC}"/>
    <dgm:cxn modelId="{CF14B5AB-3585-2540-A18C-A8BEBF520B31}" srcId="{EFE837F0-2D9A-4CDF-A1D4-4A926913B307}" destId="{64088DDB-BFF1-A745-82D4-F5A4DA2D937A}" srcOrd="1" destOrd="0" parTransId="{581ED972-C0ED-E440-8371-8ABD04688208}" sibTransId="{BF9766A6-06E4-7640-BCBF-A9A7E8B81536}"/>
    <dgm:cxn modelId="{91A8A6B2-9435-4D1F-95FB-BD8A0D2C2514}" type="presOf" srcId="{3F619E9B-7592-4D0E-9488-8A5B974A1666}" destId="{07C64787-2A16-432E-A9E9-C9678F3B7697}" srcOrd="0" destOrd="0" presId="urn:microsoft.com/office/officeart/2005/8/layout/vList5"/>
    <dgm:cxn modelId="{CA5F7EB3-BE12-4A94-A8CB-1A7697C6DE1F}" srcId="{DAD06F05-3903-433B-819B-F96CE91CF596}" destId="{EFE837F0-2D9A-4CDF-A1D4-4A926913B307}" srcOrd="2" destOrd="0" parTransId="{F39B6D33-5DF0-4159-B422-777B81F4DA77}" sibTransId="{ECFD24B6-B38D-471B-8241-123E8F706492}"/>
    <dgm:cxn modelId="{2834DCBD-6FDA-4C39-87B3-BCA93B3FFDAD}" type="presOf" srcId="{19AFF552-528C-4877-97A3-12FC6BD54D90}" destId="{2BDD3F66-042D-48A7-8A12-4EEFBC3BB338}" srcOrd="0" destOrd="0" presId="urn:microsoft.com/office/officeart/2005/8/layout/vList5"/>
    <dgm:cxn modelId="{A661A1CB-7EA3-4F55-AE86-D4B614935AD6}" type="presOf" srcId="{A857E58C-97AE-49CD-B97A-4AE61EDD56C3}" destId="{75BDDF79-3035-42C9-A99F-F5B297561CD6}" srcOrd="0" destOrd="0" presId="urn:microsoft.com/office/officeart/2005/8/layout/vList5"/>
    <dgm:cxn modelId="{5B239AD3-85FB-4C47-9CAB-2AF559CA73E6}" srcId="{EFE837F0-2D9A-4CDF-A1D4-4A926913B307}" destId="{8E7316BF-1222-45EA-ABE1-78CBE16193B1}" srcOrd="0" destOrd="0" parTransId="{73E5A098-945B-4C78-AD53-C2C174F65149}" sibTransId="{2DACA4EF-6F12-46A5-B1F1-21EA4A20873D}"/>
    <dgm:cxn modelId="{C62A1EDA-3826-44A9-9335-C8E7552C4330}" srcId="{DAD06F05-3903-433B-819B-F96CE91CF596}" destId="{3BBE5F78-935B-42C9-B573-16AC714B10F1}" srcOrd="1" destOrd="0" parTransId="{EE14023B-C2BA-4331-9C36-5E19183E6AEE}" sibTransId="{F495C1DF-00CA-4806-8848-4DB4430BC0E5}"/>
    <dgm:cxn modelId="{99C2BADA-930D-49D5-9D80-EB30E8F492D7}" type="presOf" srcId="{C38B58B5-12D3-4A51-B860-16C18A107601}" destId="{8E9693D4-37B8-411A-B81B-9FF4FED4D5AC}" srcOrd="0" destOrd="0" presId="urn:microsoft.com/office/officeart/2005/8/layout/vList5"/>
    <dgm:cxn modelId="{504908DB-3FC9-4C05-9B55-989A070DC9BD}" srcId="{DAD06F05-3903-433B-819B-F96CE91CF596}" destId="{1A0A2AA1-69D5-4E14-A15E-0D5DB2762F19}" srcOrd="5" destOrd="0" parTransId="{9EAEA37A-A80A-4B0B-86C0-F7BC883CD3FA}" sibTransId="{1BC57049-2068-4AC0-BFB4-94C5D69D5D48}"/>
    <dgm:cxn modelId="{E5CF5CDD-012A-4955-AA75-58B4E09FAB96}" srcId="{DAD06F05-3903-433B-819B-F96CE91CF596}" destId="{7EEF4263-4E6E-4004-960E-3E3E9468A3AC}" srcOrd="3" destOrd="0" parTransId="{7A13DF79-CCAA-4E59-AC08-5B2E4EED69BF}" sibTransId="{4CE6DE60-F69C-4621-8578-4D44E879034E}"/>
    <dgm:cxn modelId="{309C19EB-8138-496D-9EB7-437788006B10}" srcId="{3BBE5F78-935B-42C9-B573-16AC714B10F1}" destId="{19AFF552-528C-4877-97A3-12FC6BD54D90}" srcOrd="0" destOrd="0" parTransId="{269718FA-B77B-41E9-B6BC-51C9841D86BE}" sibTransId="{CBC002CF-AA4E-4F12-AA57-C4D942495BB3}"/>
    <dgm:cxn modelId="{F4100BF2-848F-FD40-9356-1426EF0F57D5}" type="presOf" srcId="{53D666BE-2E64-4343-84BF-2116BE8B80E6}" destId="{454F4EDA-E589-4A16-85DB-0C9792B930E7}" srcOrd="0" destOrd="1" presId="urn:microsoft.com/office/officeart/2005/8/layout/vList5"/>
    <dgm:cxn modelId="{5A39FCF3-AD21-4C63-B500-12FEC3752B92}" srcId="{DAD06F05-3903-433B-819B-F96CE91CF596}" destId="{A857E58C-97AE-49CD-B97A-4AE61EDD56C3}" srcOrd="0" destOrd="0" parTransId="{7CFB9093-54FB-41EF-8F19-CC73B6679103}" sibTransId="{86CA84AA-D830-417D-BF7F-4979D17CBEAE}"/>
    <dgm:cxn modelId="{DE7906F5-3B68-4298-876A-FF154F8BB589}" srcId="{7EEF4263-4E6E-4004-960E-3E3E9468A3AC}" destId="{3F619E9B-7592-4D0E-9488-8A5B974A1666}" srcOrd="0" destOrd="0" parTransId="{0D2C2944-594A-4519-9F06-1D0E1C1376FF}" sibTransId="{EA1A8E51-D814-4655-B17C-2C181E2F44C0}"/>
    <dgm:cxn modelId="{79FEF3F5-AAA5-4DB4-9494-28E0A42D7E96}" type="presOf" srcId="{8E7316BF-1222-45EA-ABE1-78CBE16193B1}" destId="{ECB50969-2EBA-4889-BC7D-B884D0866E33}" srcOrd="0" destOrd="0" presId="urn:microsoft.com/office/officeart/2005/8/layout/vList5"/>
    <dgm:cxn modelId="{258C70FE-81C9-46D5-BA41-7C3E7D70C18C}" type="presOf" srcId="{3BBE5F78-935B-42C9-B573-16AC714B10F1}" destId="{46830796-4281-4E9F-8DEE-0DD2DF16825B}" srcOrd="0" destOrd="0" presId="urn:microsoft.com/office/officeart/2005/8/layout/vList5"/>
    <dgm:cxn modelId="{E2FDCCF1-5448-45E8-A7DD-5F4810FC3751}" type="presParOf" srcId="{5B4AEF64-28AE-485F-8316-5EC472702409}" destId="{892E7779-DCF7-49DC-B0CB-6BFF0EF6741F}" srcOrd="0" destOrd="0" presId="urn:microsoft.com/office/officeart/2005/8/layout/vList5"/>
    <dgm:cxn modelId="{92BE393F-3174-4171-8796-AD90E06F3CAA}" type="presParOf" srcId="{892E7779-DCF7-49DC-B0CB-6BFF0EF6741F}" destId="{75BDDF79-3035-42C9-A99F-F5B297561CD6}" srcOrd="0" destOrd="0" presId="urn:microsoft.com/office/officeart/2005/8/layout/vList5"/>
    <dgm:cxn modelId="{490AB15B-4143-40BE-848B-A85A76D6806A}" type="presParOf" srcId="{892E7779-DCF7-49DC-B0CB-6BFF0EF6741F}" destId="{454F4EDA-E589-4A16-85DB-0C9792B930E7}" srcOrd="1" destOrd="0" presId="urn:microsoft.com/office/officeart/2005/8/layout/vList5"/>
    <dgm:cxn modelId="{0BB72D25-0196-4E68-9B94-10AAA9F457C2}" type="presParOf" srcId="{5B4AEF64-28AE-485F-8316-5EC472702409}" destId="{81BEC21C-0012-4E95-BB17-9B2AA37A90D4}" srcOrd="1" destOrd="0" presId="urn:microsoft.com/office/officeart/2005/8/layout/vList5"/>
    <dgm:cxn modelId="{697DB389-629F-4A6B-ADBD-B20531B61827}" type="presParOf" srcId="{5B4AEF64-28AE-485F-8316-5EC472702409}" destId="{3AB861FE-6227-4EE5-A6DA-C65C44CFB581}" srcOrd="2" destOrd="0" presId="urn:microsoft.com/office/officeart/2005/8/layout/vList5"/>
    <dgm:cxn modelId="{1504853D-E578-4EA6-ACDA-A4ED2D3581F9}" type="presParOf" srcId="{3AB861FE-6227-4EE5-A6DA-C65C44CFB581}" destId="{46830796-4281-4E9F-8DEE-0DD2DF16825B}" srcOrd="0" destOrd="0" presId="urn:microsoft.com/office/officeart/2005/8/layout/vList5"/>
    <dgm:cxn modelId="{C434CEBC-991B-426F-90E8-7756F75DA485}" type="presParOf" srcId="{3AB861FE-6227-4EE5-A6DA-C65C44CFB581}" destId="{2BDD3F66-042D-48A7-8A12-4EEFBC3BB338}" srcOrd="1" destOrd="0" presId="urn:microsoft.com/office/officeart/2005/8/layout/vList5"/>
    <dgm:cxn modelId="{A23BCE16-8305-4517-9DA2-E4F487189928}" type="presParOf" srcId="{5B4AEF64-28AE-485F-8316-5EC472702409}" destId="{BCFB7EE6-BA37-4E65-98F6-BDF5A4F3F69C}" srcOrd="3" destOrd="0" presId="urn:microsoft.com/office/officeart/2005/8/layout/vList5"/>
    <dgm:cxn modelId="{8229E0C7-AAE2-42C6-886B-6CA804E09D26}" type="presParOf" srcId="{5B4AEF64-28AE-485F-8316-5EC472702409}" destId="{5D8D81FC-E2E7-467C-9C14-B6D3623F36DF}" srcOrd="4" destOrd="0" presId="urn:microsoft.com/office/officeart/2005/8/layout/vList5"/>
    <dgm:cxn modelId="{DFCFD670-6E16-473D-B9D3-9C1B0C9D0321}" type="presParOf" srcId="{5D8D81FC-E2E7-467C-9C14-B6D3623F36DF}" destId="{101019C5-FDD6-4886-90F5-F669DD820F3A}" srcOrd="0" destOrd="0" presId="urn:microsoft.com/office/officeart/2005/8/layout/vList5"/>
    <dgm:cxn modelId="{865DA2CF-E2F0-4C84-886E-39CEEB0919BE}" type="presParOf" srcId="{5D8D81FC-E2E7-467C-9C14-B6D3623F36DF}" destId="{ECB50969-2EBA-4889-BC7D-B884D0866E33}" srcOrd="1" destOrd="0" presId="urn:microsoft.com/office/officeart/2005/8/layout/vList5"/>
    <dgm:cxn modelId="{324252B4-5A7E-413F-BD97-7E819D6D0F14}" type="presParOf" srcId="{5B4AEF64-28AE-485F-8316-5EC472702409}" destId="{99451625-FCC4-4B83-B889-E8DD158ED64F}" srcOrd="5" destOrd="0" presId="urn:microsoft.com/office/officeart/2005/8/layout/vList5"/>
    <dgm:cxn modelId="{ADAC34F0-3286-4679-B287-52F7B07D803A}" type="presParOf" srcId="{5B4AEF64-28AE-485F-8316-5EC472702409}" destId="{4B28F1C2-05BC-45C3-9269-7CE466037E26}" srcOrd="6" destOrd="0" presId="urn:microsoft.com/office/officeart/2005/8/layout/vList5"/>
    <dgm:cxn modelId="{866D56D5-D91D-491A-B851-7E92B4F3BB95}" type="presParOf" srcId="{4B28F1C2-05BC-45C3-9269-7CE466037E26}" destId="{8E64AB20-F105-400F-8F74-08B70BF50322}" srcOrd="0" destOrd="0" presId="urn:microsoft.com/office/officeart/2005/8/layout/vList5"/>
    <dgm:cxn modelId="{AB6F072F-011C-4B83-AF42-5CCD0A61AFE6}" type="presParOf" srcId="{4B28F1C2-05BC-45C3-9269-7CE466037E26}" destId="{07C64787-2A16-432E-A9E9-C9678F3B7697}" srcOrd="1" destOrd="0" presId="urn:microsoft.com/office/officeart/2005/8/layout/vList5"/>
    <dgm:cxn modelId="{E04F19AE-0206-4CD8-9BC8-658A00C9FEDB}" type="presParOf" srcId="{5B4AEF64-28AE-485F-8316-5EC472702409}" destId="{0F34426D-C1A0-4D72-9913-BAE6F3F4B6F0}" srcOrd="7" destOrd="0" presId="urn:microsoft.com/office/officeart/2005/8/layout/vList5"/>
    <dgm:cxn modelId="{E66353AA-6B7A-477E-B97C-512D5BA2CAD4}" type="presParOf" srcId="{5B4AEF64-28AE-485F-8316-5EC472702409}" destId="{B658F943-F0FE-42EE-B0D1-1847AF1AFE1A}" srcOrd="8" destOrd="0" presId="urn:microsoft.com/office/officeart/2005/8/layout/vList5"/>
    <dgm:cxn modelId="{A4308CEC-5244-46DF-8BC4-30DF53182C51}" type="presParOf" srcId="{B658F943-F0FE-42EE-B0D1-1847AF1AFE1A}" destId="{5CE93F69-8985-4E79-AB79-F77331DDDF29}" srcOrd="0" destOrd="0" presId="urn:microsoft.com/office/officeart/2005/8/layout/vList5"/>
    <dgm:cxn modelId="{657E5045-72A5-42DD-B93F-D695DEB6624B}" type="presParOf" srcId="{B658F943-F0FE-42EE-B0D1-1847AF1AFE1A}" destId="{8E9693D4-37B8-411A-B81B-9FF4FED4D5AC}" srcOrd="1" destOrd="0" presId="urn:microsoft.com/office/officeart/2005/8/layout/vList5"/>
    <dgm:cxn modelId="{CF1921C6-C9A0-4DC4-848D-AA7BC8FF1783}" type="presParOf" srcId="{5B4AEF64-28AE-485F-8316-5EC472702409}" destId="{A467D402-92CD-4BF3-87FF-475BED166A57}" srcOrd="9" destOrd="0" presId="urn:microsoft.com/office/officeart/2005/8/layout/vList5"/>
    <dgm:cxn modelId="{067D9BC7-DE9E-42C1-B43A-D29111BF369C}" type="presParOf" srcId="{5B4AEF64-28AE-485F-8316-5EC472702409}" destId="{5D58E42B-2060-489A-8BD9-92C85736B2EE}" srcOrd="10" destOrd="0" presId="urn:microsoft.com/office/officeart/2005/8/layout/vList5"/>
    <dgm:cxn modelId="{DA70AF37-6C57-4661-8262-ED64BFC82ABF}" type="presParOf" srcId="{5D58E42B-2060-489A-8BD9-92C85736B2EE}" destId="{24C0A0FD-C6B1-479F-931D-3DD94F912BF2}" srcOrd="0" destOrd="0" presId="urn:microsoft.com/office/officeart/2005/8/layout/vList5"/>
    <dgm:cxn modelId="{73EFFCA6-9C7F-43A2-86BF-CEEEBB0193C6}" type="presParOf" srcId="{5D58E42B-2060-489A-8BD9-92C85736B2EE}" destId="{BA1392D3-6B0C-439C-BF9F-5015A177764E}"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C6D1570-5085-4BBE-BBA4-FC27A9482638}"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C6DD763B-FA00-4CCA-96D2-C59D469140A1}" type="pres">
      <dgm:prSet presAssocID="{9C6D1570-5085-4BBE-BBA4-FC27A9482638}" presName="Name0" presStyleCnt="0">
        <dgm:presLayoutVars>
          <dgm:dir/>
          <dgm:animLvl val="lvl"/>
          <dgm:resizeHandles val="exact"/>
        </dgm:presLayoutVars>
      </dgm:prSet>
      <dgm:spPr/>
    </dgm:pt>
  </dgm:ptLst>
  <dgm:cxnLst>
    <dgm:cxn modelId="{ECE90041-3460-4A85-897D-8BABBC7047AA}" type="presOf" srcId="{9C6D1570-5085-4BBE-BBA4-FC27A9482638}" destId="{C6DD763B-FA00-4CCA-96D2-C59D469140A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AD06F05-3903-433B-819B-F96CE91CF596}"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A857E58C-97AE-49CD-B97A-4AE61EDD56C3}">
      <dgm:prSet/>
      <dgm:spPr>
        <a:solidFill>
          <a:schemeClr val="accent3">
            <a:lumMod val="20000"/>
            <a:lumOff val="80000"/>
          </a:schemeClr>
        </a:solidFill>
        <a:ln>
          <a:noFill/>
        </a:ln>
      </dgm:spPr>
      <dgm:t>
        <a:bodyPr/>
        <a:lstStyle/>
        <a:p>
          <a:pPr rtl="0"/>
          <a:r>
            <a:rPr lang="en-US" dirty="0"/>
            <a:t>ASIC/CPU/Mem</a:t>
          </a:r>
        </a:p>
      </dgm:t>
    </dgm:pt>
    <dgm:pt modelId="{7CFB9093-54FB-41EF-8F19-CC73B6679103}" type="parTrans" cxnId="{5A39FCF3-AD21-4C63-B500-12FEC3752B92}">
      <dgm:prSet/>
      <dgm:spPr/>
      <dgm:t>
        <a:bodyPr/>
        <a:lstStyle/>
        <a:p>
          <a:endParaRPr lang="en-US"/>
        </a:p>
      </dgm:t>
    </dgm:pt>
    <dgm:pt modelId="{86CA84AA-D830-417D-BF7F-4979D17CBEAE}" type="sibTrans" cxnId="{5A39FCF3-AD21-4C63-B500-12FEC3752B92}">
      <dgm:prSet/>
      <dgm:spPr/>
      <dgm:t>
        <a:bodyPr/>
        <a:lstStyle/>
        <a:p>
          <a:endParaRPr lang="en-US"/>
        </a:p>
      </dgm:t>
    </dgm:pt>
    <dgm:pt modelId="{7931435D-86CC-4E5F-AEA6-654DD645A9D0}">
      <dgm:prSet/>
      <dgm:spPr>
        <a:solidFill>
          <a:srgbClr val="D1E6F7">
            <a:alpha val="90000"/>
          </a:srgbClr>
        </a:solidFill>
        <a:ln>
          <a:noFill/>
        </a:ln>
      </dgm:spPr>
      <dgm:t>
        <a:bodyPr/>
        <a:lstStyle/>
        <a:p>
          <a:pPr rtl="0"/>
          <a:r>
            <a:rPr lang="en-US" dirty="0"/>
            <a:t>800 </a:t>
          </a:r>
          <a:r>
            <a:rPr lang="en-US" dirty="0" err="1"/>
            <a:t>Gbps</a:t>
          </a:r>
          <a:r>
            <a:rPr lang="en-US" dirty="0"/>
            <a:t> BCOM, Intel Broadwell 4C 1.8GHz CPU</a:t>
          </a:r>
        </a:p>
      </dgm:t>
    </dgm:pt>
    <dgm:pt modelId="{B0381B90-A790-4E10-9BB6-1081D6ED3F9B}" type="parTrans" cxnId="{FD4AC943-CC0C-421B-9E55-E4A36E6FB31B}">
      <dgm:prSet/>
      <dgm:spPr/>
      <dgm:t>
        <a:bodyPr/>
        <a:lstStyle/>
        <a:p>
          <a:endParaRPr lang="en-US"/>
        </a:p>
      </dgm:t>
    </dgm:pt>
    <dgm:pt modelId="{18F1ED80-9C2A-4BD8-861D-545F84CFB19A}" type="sibTrans" cxnId="{FD4AC943-CC0C-421B-9E55-E4A36E6FB31B}">
      <dgm:prSet/>
      <dgm:spPr/>
      <dgm:t>
        <a:bodyPr/>
        <a:lstStyle/>
        <a:p>
          <a:endParaRPr lang="en-US"/>
        </a:p>
      </dgm:t>
    </dgm:pt>
    <dgm:pt modelId="{645FAC24-FB5E-48D3-BABD-F14E732D5739}">
      <dgm:prSet/>
      <dgm:spPr>
        <a:solidFill>
          <a:srgbClr val="D1E6F7">
            <a:alpha val="90000"/>
          </a:srgbClr>
        </a:solidFill>
        <a:ln>
          <a:noFill/>
        </a:ln>
      </dgm:spPr>
      <dgm:t>
        <a:bodyPr/>
        <a:lstStyle/>
        <a:p>
          <a:pPr rtl="0"/>
          <a:r>
            <a:rPr lang="en-US" dirty="0"/>
            <a:t>32GB RAM, 128G SSD </a:t>
          </a:r>
        </a:p>
      </dgm:t>
    </dgm:pt>
    <dgm:pt modelId="{6D290A9C-A74D-4D98-B7FF-361F69BAC7C2}" type="parTrans" cxnId="{06F737A8-5A9D-47CB-B9C8-EB945A0CD654}">
      <dgm:prSet/>
      <dgm:spPr/>
      <dgm:t>
        <a:bodyPr/>
        <a:lstStyle/>
        <a:p>
          <a:endParaRPr lang="en-US"/>
        </a:p>
      </dgm:t>
    </dgm:pt>
    <dgm:pt modelId="{CF193FCC-1ACA-485C-8B58-5A73B80825CF}" type="sibTrans" cxnId="{06F737A8-5A9D-47CB-B9C8-EB945A0CD654}">
      <dgm:prSet/>
      <dgm:spPr/>
      <dgm:t>
        <a:bodyPr/>
        <a:lstStyle/>
        <a:p>
          <a:endParaRPr lang="en-US"/>
        </a:p>
      </dgm:t>
    </dgm:pt>
    <dgm:pt modelId="{3BBE5F78-935B-42C9-B573-16AC714B10F1}">
      <dgm:prSet/>
      <dgm:spPr>
        <a:solidFill>
          <a:schemeClr val="accent3">
            <a:lumMod val="20000"/>
            <a:lumOff val="80000"/>
          </a:schemeClr>
        </a:solidFill>
        <a:ln>
          <a:noFill/>
        </a:ln>
      </dgm:spPr>
      <dgm:t>
        <a:bodyPr/>
        <a:lstStyle/>
        <a:p>
          <a:pPr rtl="0"/>
          <a:r>
            <a:rPr lang="en-US"/>
            <a:t>Port Config</a:t>
          </a:r>
        </a:p>
      </dgm:t>
    </dgm:pt>
    <dgm:pt modelId="{EE14023B-C2BA-4331-9C36-5E19183E6AEE}" type="parTrans" cxnId="{C62A1EDA-3826-44A9-9335-C8E7552C4330}">
      <dgm:prSet/>
      <dgm:spPr/>
      <dgm:t>
        <a:bodyPr/>
        <a:lstStyle/>
        <a:p>
          <a:endParaRPr lang="en-US"/>
        </a:p>
      </dgm:t>
    </dgm:pt>
    <dgm:pt modelId="{F495C1DF-00CA-4806-8848-4DB4430BC0E5}" type="sibTrans" cxnId="{C62A1EDA-3826-44A9-9335-C8E7552C4330}">
      <dgm:prSet/>
      <dgm:spPr/>
      <dgm:t>
        <a:bodyPr/>
        <a:lstStyle/>
        <a:p>
          <a:endParaRPr lang="en-US"/>
        </a:p>
      </dgm:t>
    </dgm:pt>
    <dgm:pt modelId="{19AFF552-528C-4877-97A3-12FC6BD54D90}">
      <dgm:prSet/>
      <dgm:spPr>
        <a:solidFill>
          <a:srgbClr val="D1E6F7">
            <a:alpha val="90000"/>
          </a:srgbClr>
        </a:solidFill>
        <a:ln>
          <a:noFill/>
        </a:ln>
      </dgm:spPr>
      <dgm:t>
        <a:bodyPr/>
        <a:lstStyle/>
        <a:p>
          <a:pPr rtl="0"/>
          <a:r>
            <a:rPr lang="en-US" dirty="0"/>
            <a:t>Modular. 4 x 100G QSFP28, 40 x 10G SFP+, 96 x 1G CSFP</a:t>
          </a:r>
        </a:p>
      </dgm:t>
    </dgm:pt>
    <dgm:pt modelId="{269718FA-B77B-41E9-B6BC-51C9841D86BE}" type="parTrans" cxnId="{309C19EB-8138-496D-9EB7-437788006B10}">
      <dgm:prSet/>
      <dgm:spPr/>
      <dgm:t>
        <a:bodyPr/>
        <a:lstStyle/>
        <a:p>
          <a:endParaRPr lang="en-US"/>
        </a:p>
      </dgm:t>
    </dgm:pt>
    <dgm:pt modelId="{CBC002CF-AA4E-4F12-AA57-C4D942495BB3}" type="sibTrans" cxnId="{309C19EB-8138-496D-9EB7-437788006B10}">
      <dgm:prSet/>
      <dgm:spPr/>
      <dgm:t>
        <a:bodyPr/>
        <a:lstStyle/>
        <a:p>
          <a:endParaRPr lang="en-US"/>
        </a:p>
      </dgm:t>
    </dgm:pt>
    <dgm:pt modelId="{EFE837F0-2D9A-4CDF-A1D4-4A926913B307}">
      <dgm:prSet/>
      <dgm:spPr>
        <a:solidFill>
          <a:schemeClr val="accent3">
            <a:lumMod val="20000"/>
            <a:lumOff val="80000"/>
          </a:schemeClr>
        </a:solidFill>
        <a:ln>
          <a:noFill/>
        </a:ln>
      </dgm:spPr>
      <dgm:t>
        <a:bodyPr/>
        <a:lstStyle/>
        <a:p>
          <a:pPr rtl="0"/>
          <a:r>
            <a:rPr lang="en-US" dirty="0"/>
            <a:t>PSU/Fan</a:t>
          </a:r>
        </a:p>
      </dgm:t>
    </dgm:pt>
    <dgm:pt modelId="{F39B6D33-5DF0-4159-B422-777B81F4DA77}" type="parTrans" cxnId="{CA5F7EB3-BE12-4A94-A8CB-1A7697C6DE1F}">
      <dgm:prSet/>
      <dgm:spPr/>
      <dgm:t>
        <a:bodyPr/>
        <a:lstStyle/>
        <a:p>
          <a:endParaRPr lang="en-US"/>
        </a:p>
      </dgm:t>
    </dgm:pt>
    <dgm:pt modelId="{ECFD24B6-B38D-471B-8241-123E8F706492}" type="sibTrans" cxnId="{CA5F7EB3-BE12-4A94-A8CB-1A7697C6DE1F}">
      <dgm:prSet/>
      <dgm:spPr/>
      <dgm:t>
        <a:bodyPr/>
        <a:lstStyle/>
        <a:p>
          <a:endParaRPr lang="en-US"/>
        </a:p>
      </dgm:t>
    </dgm:pt>
    <dgm:pt modelId="{8E7316BF-1222-45EA-ABE1-78CBE16193B1}">
      <dgm:prSet/>
      <dgm:spPr>
        <a:solidFill>
          <a:srgbClr val="D1E6F7">
            <a:alpha val="90000"/>
          </a:srgbClr>
        </a:solidFill>
        <a:ln>
          <a:noFill/>
        </a:ln>
      </dgm:spPr>
      <dgm:t>
        <a:bodyPr/>
        <a:lstStyle/>
        <a:p>
          <a:pPr rtl="0"/>
          <a:r>
            <a:rPr lang="en-US" dirty="0"/>
            <a:t>Modular &amp; redundant PSUs and fans</a:t>
          </a:r>
        </a:p>
      </dgm:t>
    </dgm:pt>
    <dgm:pt modelId="{73E5A098-945B-4C78-AD53-C2C174F65149}" type="parTrans" cxnId="{5B239AD3-85FB-4C47-9CAB-2AF559CA73E6}">
      <dgm:prSet/>
      <dgm:spPr/>
      <dgm:t>
        <a:bodyPr/>
        <a:lstStyle/>
        <a:p>
          <a:endParaRPr lang="en-US"/>
        </a:p>
      </dgm:t>
    </dgm:pt>
    <dgm:pt modelId="{2DACA4EF-6F12-46A5-B1F1-21EA4A20873D}" type="sibTrans" cxnId="{5B239AD3-85FB-4C47-9CAB-2AF559CA73E6}">
      <dgm:prSet/>
      <dgm:spPr/>
      <dgm:t>
        <a:bodyPr/>
        <a:lstStyle/>
        <a:p>
          <a:endParaRPr lang="en-US"/>
        </a:p>
      </dgm:t>
    </dgm:pt>
    <dgm:pt modelId="{7EEF4263-4E6E-4004-960E-3E3E9468A3AC}">
      <dgm:prSet/>
      <dgm:spPr>
        <a:solidFill>
          <a:schemeClr val="accent3">
            <a:lumMod val="20000"/>
            <a:lumOff val="80000"/>
          </a:schemeClr>
        </a:solidFill>
        <a:ln>
          <a:noFill/>
        </a:ln>
      </dgm:spPr>
      <dgm:t>
        <a:bodyPr/>
        <a:lstStyle/>
        <a:p>
          <a:pPr rtl="0"/>
          <a:r>
            <a:rPr lang="en-US" dirty="0"/>
            <a:t>Temp Range</a:t>
          </a:r>
        </a:p>
      </dgm:t>
    </dgm:pt>
    <dgm:pt modelId="{7A13DF79-CCAA-4E59-AC08-5B2E4EED69BF}" type="parTrans" cxnId="{E5CF5CDD-012A-4955-AA75-58B4E09FAB96}">
      <dgm:prSet/>
      <dgm:spPr/>
      <dgm:t>
        <a:bodyPr/>
        <a:lstStyle/>
        <a:p>
          <a:endParaRPr lang="en-US"/>
        </a:p>
      </dgm:t>
    </dgm:pt>
    <dgm:pt modelId="{4CE6DE60-F69C-4621-8578-4D44E879034E}" type="sibTrans" cxnId="{E5CF5CDD-012A-4955-AA75-58B4E09FAB96}">
      <dgm:prSet/>
      <dgm:spPr/>
      <dgm:t>
        <a:bodyPr/>
        <a:lstStyle/>
        <a:p>
          <a:endParaRPr lang="en-US"/>
        </a:p>
      </dgm:t>
    </dgm:pt>
    <dgm:pt modelId="{3F619E9B-7592-4D0E-9488-8A5B974A1666}">
      <dgm:prSet/>
      <dgm:spPr>
        <a:solidFill>
          <a:srgbClr val="D1E6F7">
            <a:alpha val="90000"/>
          </a:srgbClr>
        </a:solidFill>
        <a:ln>
          <a:noFill/>
        </a:ln>
      </dgm:spPr>
      <dgm:t>
        <a:bodyPr/>
        <a:lstStyle/>
        <a:p>
          <a:pPr rtl="0"/>
          <a:r>
            <a:rPr lang="en-US" dirty="0" err="1"/>
            <a:t>iTemp</a:t>
          </a:r>
          <a:r>
            <a:rPr lang="en-US" dirty="0"/>
            <a:t> 40C to +65C</a:t>
          </a:r>
        </a:p>
      </dgm:t>
    </dgm:pt>
    <dgm:pt modelId="{0D2C2944-594A-4519-9F06-1D0E1C1376FF}" type="parTrans" cxnId="{DE7906F5-3B68-4298-876A-FF154F8BB589}">
      <dgm:prSet/>
      <dgm:spPr/>
      <dgm:t>
        <a:bodyPr/>
        <a:lstStyle/>
        <a:p>
          <a:endParaRPr lang="en-US"/>
        </a:p>
      </dgm:t>
    </dgm:pt>
    <dgm:pt modelId="{EA1A8E51-D814-4655-B17C-2C181E2F44C0}" type="sibTrans" cxnId="{DE7906F5-3B68-4298-876A-FF154F8BB589}">
      <dgm:prSet/>
      <dgm:spPr/>
      <dgm:t>
        <a:bodyPr/>
        <a:lstStyle/>
        <a:p>
          <a:endParaRPr lang="en-US"/>
        </a:p>
      </dgm:t>
    </dgm:pt>
    <dgm:pt modelId="{00D4706A-CCA3-4E9F-8C3E-CF0DDD79D9A2}">
      <dgm:prSet/>
      <dgm:spPr>
        <a:solidFill>
          <a:srgbClr val="D1E6F7">
            <a:alpha val="90000"/>
          </a:srgbClr>
        </a:solidFill>
        <a:ln>
          <a:noFill/>
        </a:ln>
      </dgm:spPr>
      <dgm:t>
        <a:bodyPr/>
        <a:lstStyle/>
        <a:p>
          <a:pPr rtl="0"/>
          <a:r>
            <a:rPr lang="en-US" dirty="0"/>
            <a:t>Conformal coated SKU’s for hot humid conditions</a:t>
          </a:r>
        </a:p>
      </dgm:t>
    </dgm:pt>
    <dgm:pt modelId="{7BBEC611-1C42-449E-9EBA-CB57EDD32757}" type="parTrans" cxnId="{DB3E3202-BCA7-4684-B726-DFE2D2250AC2}">
      <dgm:prSet/>
      <dgm:spPr/>
      <dgm:t>
        <a:bodyPr/>
        <a:lstStyle/>
        <a:p>
          <a:endParaRPr lang="en-US"/>
        </a:p>
      </dgm:t>
    </dgm:pt>
    <dgm:pt modelId="{1964B2D3-B48E-432D-8C5D-A7D0C0C0E005}" type="sibTrans" cxnId="{DB3E3202-BCA7-4684-B726-DFE2D2250AC2}">
      <dgm:prSet/>
      <dgm:spPr/>
      <dgm:t>
        <a:bodyPr/>
        <a:lstStyle/>
        <a:p>
          <a:endParaRPr lang="en-US"/>
        </a:p>
      </dgm:t>
    </dgm:pt>
    <dgm:pt modelId="{5EA9DA79-28E7-45D4-871A-EF76EE70709D}">
      <dgm:prSet/>
      <dgm:spPr>
        <a:solidFill>
          <a:schemeClr val="accent3">
            <a:lumMod val="20000"/>
            <a:lumOff val="80000"/>
          </a:schemeClr>
        </a:solidFill>
        <a:ln>
          <a:noFill/>
        </a:ln>
      </dgm:spPr>
      <dgm:t>
        <a:bodyPr/>
        <a:lstStyle/>
        <a:p>
          <a:pPr rtl="0"/>
          <a:r>
            <a:rPr lang="en-US"/>
            <a:t>Software </a:t>
          </a:r>
          <a:endParaRPr lang="en-US" dirty="0"/>
        </a:p>
      </dgm:t>
    </dgm:pt>
    <dgm:pt modelId="{974B947A-5332-4D17-9DC4-3924DFDB2080}" type="parTrans" cxnId="{C7A1E8A9-7E9B-4846-9A99-9A8E761214B3}">
      <dgm:prSet/>
      <dgm:spPr/>
      <dgm:t>
        <a:bodyPr/>
        <a:lstStyle/>
        <a:p>
          <a:endParaRPr lang="en-US"/>
        </a:p>
      </dgm:t>
    </dgm:pt>
    <dgm:pt modelId="{CF883CA7-B12F-4964-961F-BA435C55BCFC}" type="sibTrans" cxnId="{C7A1E8A9-7E9B-4846-9A99-9A8E761214B3}">
      <dgm:prSet/>
      <dgm:spPr/>
      <dgm:t>
        <a:bodyPr/>
        <a:lstStyle/>
        <a:p>
          <a:endParaRPr lang="en-US"/>
        </a:p>
      </dgm:t>
    </dgm:pt>
    <dgm:pt modelId="{C38B58B5-12D3-4A51-B860-16C18A107601}">
      <dgm:prSet/>
      <dgm:spPr>
        <a:solidFill>
          <a:srgbClr val="D1E6F7">
            <a:alpha val="90000"/>
          </a:srgbClr>
        </a:solidFill>
        <a:ln>
          <a:noFill/>
        </a:ln>
      </dgm:spPr>
      <dgm:t>
        <a:bodyPr/>
        <a:lstStyle/>
        <a:p>
          <a:pPr rtl="0"/>
          <a:r>
            <a:rPr lang="en-US" dirty="0"/>
            <a:t>FCS 64 bit IOS XR 6.6.25 (GA, NCS 540, NCS 5500 parity)</a:t>
          </a:r>
        </a:p>
      </dgm:t>
    </dgm:pt>
    <dgm:pt modelId="{D2454DE5-9BA9-4680-8918-DD86BC2131C0}" type="parTrans" cxnId="{058CD167-1915-429C-BF36-B12F4165BCC1}">
      <dgm:prSet/>
      <dgm:spPr/>
      <dgm:t>
        <a:bodyPr/>
        <a:lstStyle/>
        <a:p>
          <a:endParaRPr lang="en-US"/>
        </a:p>
      </dgm:t>
    </dgm:pt>
    <dgm:pt modelId="{73EEC26C-9C9C-433E-9189-7BE729F08491}" type="sibTrans" cxnId="{058CD167-1915-429C-BF36-B12F4165BCC1}">
      <dgm:prSet/>
      <dgm:spPr/>
      <dgm:t>
        <a:bodyPr/>
        <a:lstStyle/>
        <a:p>
          <a:endParaRPr lang="en-US"/>
        </a:p>
      </dgm:t>
    </dgm:pt>
    <dgm:pt modelId="{CAD1E296-2682-47CC-800C-9990CDFB477D}">
      <dgm:prSet/>
      <dgm:spPr>
        <a:solidFill>
          <a:schemeClr val="accent3">
            <a:lumMod val="20000"/>
            <a:lumOff val="80000"/>
          </a:schemeClr>
        </a:solidFill>
        <a:ln>
          <a:noFill/>
        </a:ln>
      </dgm:spPr>
      <dgm:t>
        <a:bodyPr/>
        <a:lstStyle/>
        <a:p>
          <a:pPr rtl="0"/>
          <a:r>
            <a:rPr lang="en-US" dirty="0"/>
            <a:t>Programmability</a:t>
          </a:r>
        </a:p>
      </dgm:t>
    </dgm:pt>
    <dgm:pt modelId="{3ED3BF94-A4FA-4E76-85CC-172A6BABD1D3}" type="parTrans" cxnId="{24E03AB5-550A-4598-8896-7EE6F013BB5A}">
      <dgm:prSet/>
      <dgm:spPr/>
      <dgm:t>
        <a:bodyPr/>
        <a:lstStyle/>
        <a:p>
          <a:endParaRPr lang="en-US"/>
        </a:p>
      </dgm:t>
    </dgm:pt>
    <dgm:pt modelId="{31AD0500-64E9-4868-91FC-25409F333D90}" type="sibTrans" cxnId="{24E03AB5-550A-4598-8896-7EE6F013BB5A}">
      <dgm:prSet/>
      <dgm:spPr/>
      <dgm:t>
        <a:bodyPr/>
        <a:lstStyle/>
        <a:p>
          <a:endParaRPr lang="en-US"/>
        </a:p>
      </dgm:t>
    </dgm:pt>
    <dgm:pt modelId="{1A0A2AA1-69D5-4E14-A15E-0D5DB2762F19}">
      <dgm:prSet/>
      <dgm:spPr>
        <a:solidFill>
          <a:schemeClr val="accent3">
            <a:lumMod val="20000"/>
            <a:lumOff val="80000"/>
          </a:schemeClr>
        </a:solidFill>
        <a:ln>
          <a:noFill/>
        </a:ln>
      </dgm:spPr>
      <dgm:t>
        <a:bodyPr/>
        <a:lstStyle/>
        <a:p>
          <a:pPr rtl="0"/>
          <a:r>
            <a:rPr lang="en-US" dirty="0"/>
            <a:t>Timing</a:t>
          </a:r>
        </a:p>
      </dgm:t>
    </dgm:pt>
    <dgm:pt modelId="{9EAEA37A-A80A-4B0B-86C0-F7BC883CD3FA}" type="parTrans" cxnId="{504908DB-3FC9-4C05-9B55-989A070DC9BD}">
      <dgm:prSet/>
      <dgm:spPr/>
      <dgm:t>
        <a:bodyPr/>
        <a:lstStyle/>
        <a:p>
          <a:endParaRPr lang="en-US"/>
        </a:p>
      </dgm:t>
    </dgm:pt>
    <dgm:pt modelId="{1BC57049-2068-4AC0-BFB4-94C5D69D5D48}" type="sibTrans" cxnId="{504908DB-3FC9-4C05-9B55-989A070DC9BD}">
      <dgm:prSet/>
      <dgm:spPr/>
      <dgm:t>
        <a:bodyPr/>
        <a:lstStyle/>
        <a:p>
          <a:endParaRPr lang="en-US"/>
        </a:p>
      </dgm:t>
    </dgm:pt>
    <dgm:pt modelId="{CD757011-5728-4BF4-853F-70E13533E937}">
      <dgm:prSet/>
      <dgm:spPr>
        <a:solidFill>
          <a:srgbClr val="D1E6F7">
            <a:alpha val="89804"/>
          </a:srgbClr>
        </a:solidFill>
        <a:ln>
          <a:noFill/>
        </a:ln>
      </dgm:spPr>
      <dgm:t>
        <a:bodyPr/>
        <a:lstStyle/>
        <a:p>
          <a:pPr rtl="0"/>
          <a:r>
            <a:rPr lang="en-US" dirty="0"/>
            <a:t>1PPS in/out, 10Mhz in/out, </a:t>
          </a:r>
          <a:r>
            <a:rPr lang="en-US" dirty="0" err="1"/>
            <a:t>ToD</a:t>
          </a:r>
          <a:r>
            <a:rPr lang="en-US" dirty="0"/>
            <a:t>, Internal GNSS, External GNSS</a:t>
          </a:r>
        </a:p>
      </dgm:t>
    </dgm:pt>
    <dgm:pt modelId="{4FA3D885-C227-4859-BFAF-3178421AB4D0}" type="parTrans" cxnId="{D5DBFA3D-7122-43F1-AD34-4F94C6F7E5DE}">
      <dgm:prSet/>
      <dgm:spPr/>
      <dgm:t>
        <a:bodyPr/>
        <a:lstStyle/>
        <a:p>
          <a:endParaRPr lang="en-US"/>
        </a:p>
      </dgm:t>
    </dgm:pt>
    <dgm:pt modelId="{1F91DA92-BB7C-4DFA-AAAA-66381A48E26F}" type="sibTrans" cxnId="{D5DBFA3D-7122-43F1-AD34-4F94C6F7E5DE}">
      <dgm:prSet/>
      <dgm:spPr/>
      <dgm:t>
        <a:bodyPr/>
        <a:lstStyle/>
        <a:p>
          <a:endParaRPr lang="en-US"/>
        </a:p>
      </dgm:t>
    </dgm:pt>
    <dgm:pt modelId="{A146A60A-F6FF-403E-BD3B-788CE74740CF}">
      <dgm:prSet/>
      <dgm:spPr>
        <a:solidFill>
          <a:srgbClr val="D1E6F7">
            <a:alpha val="89804"/>
          </a:srgbClr>
        </a:solidFill>
        <a:ln>
          <a:noFill/>
        </a:ln>
      </dgm:spPr>
      <dgm:t>
        <a:bodyPr/>
        <a:lstStyle/>
        <a:p>
          <a:pPr rtl="0"/>
          <a:r>
            <a:rPr lang="en-US" dirty="0" err="1"/>
            <a:t>SyncE</a:t>
          </a:r>
          <a:r>
            <a:rPr lang="en-US" dirty="0"/>
            <a:t>, G.8265.1, G.8275.1/2, Class B BC</a:t>
          </a:r>
        </a:p>
      </dgm:t>
    </dgm:pt>
    <dgm:pt modelId="{8BEAC2C5-8B35-4C3F-B217-070C0E9C844E}" type="parTrans" cxnId="{40030A4F-8005-4146-947D-9C8861E3E758}">
      <dgm:prSet/>
      <dgm:spPr/>
      <dgm:t>
        <a:bodyPr/>
        <a:lstStyle/>
        <a:p>
          <a:endParaRPr lang="en-US"/>
        </a:p>
      </dgm:t>
    </dgm:pt>
    <dgm:pt modelId="{7D01D85C-72AB-4F06-920F-F174E2039C49}" type="sibTrans" cxnId="{40030A4F-8005-4146-947D-9C8861E3E758}">
      <dgm:prSet/>
      <dgm:spPr/>
      <dgm:t>
        <a:bodyPr/>
        <a:lstStyle/>
        <a:p>
          <a:endParaRPr lang="en-US"/>
        </a:p>
      </dgm:t>
    </dgm:pt>
    <dgm:pt modelId="{58778B0D-E6FC-4549-BD07-E10245BE0A60}">
      <dgm:prSet/>
      <dgm:spPr>
        <a:solidFill>
          <a:srgbClr val="D1E6F7">
            <a:alpha val="90000"/>
          </a:srgbClr>
        </a:solidFill>
        <a:ln>
          <a:noFill/>
        </a:ln>
      </dgm:spPr>
      <dgm:t>
        <a:bodyPr/>
        <a:lstStyle/>
        <a:p>
          <a:pPr rtl="0"/>
          <a:r>
            <a:rPr lang="en-US" dirty="0" err="1"/>
            <a:t>Netconf</a:t>
          </a:r>
          <a:r>
            <a:rPr lang="en-US" dirty="0"/>
            <a:t> yang, </a:t>
          </a:r>
          <a:r>
            <a:rPr lang="en-US" dirty="0" err="1"/>
            <a:t>Restconf</a:t>
          </a:r>
          <a:r>
            <a:rPr lang="en-US" dirty="0"/>
            <a:t>, BGP-LS, PCEP</a:t>
          </a:r>
        </a:p>
      </dgm:t>
    </dgm:pt>
    <dgm:pt modelId="{5AB44AEA-B7E4-4C3A-BCEE-661ACE6A3D12}" type="parTrans" cxnId="{FD0D646A-2290-46DD-8F9F-6A5A93C6F20F}">
      <dgm:prSet/>
      <dgm:spPr/>
      <dgm:t>
        <a:bodyPr/>
        <a:lstStyle/>
        <a:p>
          <a:endParaRPr lang="en-US"/>
        </a:p>
      </dgm:t>
    </dgm:pt>
    <dgm:pt modelId="{9573029D-EB61-4559-A422-AF1CCF6CF495}" type="sibTrans" cxnId="{FD0D646A-2290-46DD-8F9F-6A5A93C6F20F}">
      <dgm:prSet/>
      <dgm:spPr/>
      <dgm:t>
        <a:bodyPr/>
        <a:lstStyle/>
        <a:p>
          <a:endParaRPr lang="en-US"/>
        </a:p>
      </dgm:t>
    </dgm:pt>
    <dgm:pt modelId="{9D07F8D7-E342-4E09-950B-898E7B9F8D82}">
      <dgm:prSet/>
      <dgm:spPr>
        <a:solidFill>
          <a:srgbClr val="D1E6F7">
            <a:alpha val="90000"/>
          </a:srgbClr>
        </a:solidFill>
        <a:ln>
          <a:noFill/>
        </a:ln>
      </dgm:spPr>
      <dgm:t>
        <a:bodyPr/>
        <a:lstStyle/>
        <a:p>
          <a:pPr rtl="0"/>
          <a:r>
            <a:rPr lang="en-US" dirty="0"/>
            <a:t>XTC Integration</a:t>
          </a:r>
        </a:p>
      </dgm:t>
    </dgm:pt>
    <dgm:pt modelId="{2F97C639-6AD5-4EF5-87FA-0B49427AA592}" type="parTrans" cxnId="{71FB5D2D-A976-4D30-9229-2B3F46E1D76D}">
      <dgm:prSet/>
      <dgm:spPr/>
      <dgm:t>
        <a:bodyPr/>
        <a:lstStyle/>
        <a:p>
          <a:endParaRPr lang="en-US"/>
        </a:p>
      </dgm:t>
    </dgm:pt>
    <dgm:pt modelId="{494DB1AF-E53C-4CF4-A775-2A1A4B3081CC}" type="sibTrans" cxnId="{71FB5D2D-A976-4D30-9229-2B3F46E1D76D}">
      <dgm:prSet/>
      <dgm:spPr/>
      <dgm:t>
        <a:bodyPr/>
        <a:lstStyle/>
        <a:p>
          <a:endParaRPr lang="en-US"/>
        </a:p>
      </dgm:t>
    </dgm:pt>
    <dgm:pt modelId="{84B6F318-F249-47A7-B863-1DCB043E2923}">
      <dgm:prSet/>
      <dgm:spPr>
        <a:solidFill>
          <a:schemeClr val="accent3">
            <a:lumMod val="20000"/>
            <a:lumOff val="80000"/>
          </a:schemeClr>
        </a:solidFill>
        <a:ln>
          <a:noFill/>
        </a:ln>
      </dgm:spPr>
      <dgm:t>
        <a:bodyPr/>
        <a:lstStyle/>
        <a:p>
          <a:pPr rtl="0"/>
          <a:r>
            <a:rPr lang="en-US" dirty="0"/>
            <a:t>Service Scale*</a:t>
          </a:r>
        </a:p>
      </dgm:t>
    </dgm:pt>
    <dgm:pt modelId="{F0CB68FD-3ADB-40A7-90FE-A9712E5FF0C5}" type="parTrans" cxnId="{4612FEFE-DCCA-4CBA-ABA0-529E15B54A39}">
      <dgm:prSet/>
      <dgm:spPr/>
      <dgm:t>
        <a:bodyPr/>
        <a:lstStyle/>
        <a:p>
          <a:endParaRPr lang="en-US"/>
        </a:p>
      </dgm:t>
    </dgm:pt>
    <dgm:pt modelId="{E0668F7F-2AB5-4168-8F33-48790C1AB099}" type="sibTrans" cxnId="{4612FEFE-DCCA-4CBA-ABA0-529E15B54A39}">
      <dgm:prSet/>
      <dgm:spPr/>
      <dgm:t>
        <a:bodyPr/>
        <a:lstStyle/>
        <a:p>
          <a:endParaRPr lang="en-US"/>
        </a:p>
      </dgm:t>
    </dgm:pt>
    <dgm:pt modelId="{8C91E56A-0109-4EAC-9D0C-F8D6E9E81F6C}">
      <dgm:prSet/>
      <dgm:spPr>
        <a:solidFill>
          <a:srgbClr val="D1E6F7">
            <a:alpha val="90000"/>
          </a:srgbClr>
        </a:solidFill>
        <a:ln>
          <a:noFill/>
        </a:ln>
      </dgm:spPr>
      <dgm:t>
        <a:bodyPr/>
        <a:lstStyle/>
        <a:p>
          <a:pPr rtl="0"/>
          <a:r>
            <a:rPr lang="en-US" dirty="0"/>
            <a:t>2M v4/v6 prefixes, 1K VRF, 8K Bridge Domain, 8K VFI, 16K EFP/EVC, 256K MAC, 26K Queues, 10K Policers</a:t>
          </a:r>
        </a:p>
      </dgm:t>
    </dgm:pt>
    <dgm:pt modelId="{4139C3C0-D755-4433-974E-6279466A0B4C}" type="parTrans" cxnId="{FB086070-8266-4619-93B7-6FB54296AA25}">
      <dgm:prSet/>
      <dgm:spPr/>
      <dgm:t>
        <a:bodyPr/>
        <a:lstStyle/>
        <a:p>
          <a:endParaRPr lang="en-US"/>
        </a:p>
      </dgm:t>
    </dgm:pt>
    <dgm:pt modelId="{23F2F12C-BB4E-47F1-B19C-8E514A2B01BE}" type="sibTrans" cxnId="{FB086070-8266-4619-93B7-6FB54296AA25}">
      <dgm:prSet/>
      <dgm:spPr/>
      <dgm:t>
        <a:bodyPr/>
        <a:lstStyle/>
        <a:p>
          <a:endParaRPr lang="en-US"/>
        </a:p>
      </dgm:t>
    </dgm:pt>
    <dgm:pt modelId="{A8B85717-DBCD-42BF-A96F-C69860ABC979}">
      <dgm:prSet/>
      <dgm:spPr>
        <a:solidFill>
          <a:schemeClr val="accent3">
            <a:lumMod val="20000"/>
            <a:lumOff val="80000"/>
          </a:schemeClr>
        </a:solidFill>
        <a:ln>
          <a:noFill/>
        </a:ln>
      </dgm:spPr>
      <dgm:t>
        <a:bodyPr/>
        <a:lstStyle/>
        <a:p>
          <a:pPr rtl="0"/>
          <a:r>
            <a:rPr lang="en-US" dirty="0"/>
            <a:t>Advanced Routing</a:t>
          </a:r>
        </a:p>
      </dgm:t>
    </dgm:pt>
    <dgm:pt modelId="{E21E1424-0F85-4385-B335-9A3DA17A150A}" type="parTrans" cxnId="{E1B53315-95DD-472E-A840-7176F3065F61}">
      <dgm:prSet/>
      <dgm:spPr/>
      <dgm:t>
        <a:bodyPr/>
        <a:lstStyle/>
        <a:p>
          <a:endParaRPr lang="en-US"/>
        </a:p>
      </dgm:t>
    </dgm:pt>
    <dgm:pt modelId="{F96B0D76-6369-479B-8D4D-A850F0287E42}" type="sibTrans" cxnId="{E1B53315-95DD-472E-A840-7176F3065F61}">
      <dgm:prSet/>
      <dgm:spPr/>
      <dgm:t>
        <a:bodyPr/>
        <a:lstStyle/>
        <a:p>
          <a:endParaRPr lang="en-US"/>
        </a:p>
      </dgm:t>
    </dgm:pt>
    <dgm:pt modelId="{FE8A551D-D2F4-49E7-8B20-ADF3895BDFDC}">
      <dgm:prSet/>
      <dgm:spPr>
        <a:solidFill>
          <a:srgbClr val="D1E6F7">
            <a:alpha val="90000"/>
          </a:srgbClr>
        </a:solidFill>
        <a:ln>
          <a:noFill/>
        </a:ln>
      </dgm:spPr>
      <dgm:t>
        <a:bodyPr/>
        <a:lstStyle/>
        <a:p>
          <a:pPr rtl="0"/>
          <a:r>
            <a:rPr lang="en-US" dirty="0"/>
            <a:t>SR, SR-TE, TI-LFA, On Demand Next Hop</a:t>
          </a:r>
        </a:p>
      </dgm:t>
    </dgm:pt>
    <dgm:pt modelId="{841C4525-3678-4B4F-A1C0-CE5F53B9DE1F}" type="parTrans" cxnId="{AE4726F6-79C2-4F2E-96A7-AA8B25710857}">
      <dgm:prSet/>
      <dgm:spPr/>
      <dgm:t>
        <a:bodyPr/>
        <a:lstStyle/>
        <a:p>
          <a:endParaRPr lang="en-US"/>
        </a:p>
      </dgm:t>
    </dgm:pt>
    <dgm:pt modelId="{C57D756A-9276-449B-8B78-32DEED29086C}" type="sibTrans" cxnId="{AE4726F6-79C2-4F2E-96A7-AA8B25710857}">
      <dgm:prSet/>
      <dgm:spPr/>
      <dgm:t>
        <a:bodyPr/>
        <a:lstStyle/>
        <a:p>
          <a:endParaRPr lang="en-US"/>
        </a:p>
      </dgm:t>
    </dgm:pt>
    <dgm:pt modelId="{76DDE425-CDEB-404C-93B5-8D0C35C6C754}">
      <dgm:prSet/>
      <dgm:spPr>
        <a:solidFill>
          <a:schemeClr val="accent3">
            <a:lumMod val="20000"/>
            <a:lumOff val="80000"/>
          </a:schemeClr>
        </a:solidFill>
        <a:ln>
          <a:noFill/>
        </a:ln>
      </dgm:spPr>
      <dgm:t>
        <a:bodyPr/>
        <a:lstStyle/>
        <a:p>
          <a:pPr rtl="0"/>
          <a:r>
            <a:rPr lang="en-US"/>
            <a:t>Optics</a:t>
          </a:r>
          <a:endParaRPr lang="en-US" dirty="0"/>
        </a:p>
      </dgm:t>
    </dgm:pt>
    <dgm:pt modelId="{DC22F324-4649-4A90-A5D2-E8C6277FFAA2}" type="parTrans" cxnId="{B1592F30-06EF-432D-BC59-964CFE2E82A7}">
      <dgm:prSet/>
      <dgm:spPr/>
      <dgm:t>
        <a:bodyPr/>
        <a:lstStyle/>
        <a:p>
          <a:endParaRPr lang="en-US"/>
        </a:p>
      </dgm:t>
    </dgm:pt>
    <dgm:pt modelId="{F54D5323-BA68-4B54-97B7-6CEF9C3B2BAB}" type="sibTrans" cxnId="{B1592F30-06EF-432D-BC59-964CFE2E82A7}">
      <dgm:prSet/>
      <dgm:spPr/>
      <dgm:t>
        <a:bodyPr/>
        <a:lstStyle/>
        <a:p>
          <a:endParaRPr lang="en-US"/>
        </a:p>
      </dgm:t>
    </dgm:pt>
    <dgm:pt modelId="{09C134A8-57C9-4B7A-8E61-270DDC9D80C1}">
      <dgm:prSet/>
      <dgm:spPr>
        <a:solidFill>
          <a:srgbClr val="D1E6F7">
            <a:alpha val="90000"/>
          </a:srgbClr>
        </a:solidFill>
        <a:ln>
          <a:noFill/>
        </a:ln>
      </dgm:spPr>
      <dgm:t>
        <a:bodyPr/>
        <a:lstStyle/>
        <a:p>
          <a:pPr rtl="0"/>
          <a:r>
            <a:rPr lang="en-US" dirty="0"/>
            <a:t>1/10G: BX/2BX, SR/LR/ER/ZR/DWDM SFP</a:t>
          </a:r>
        </a:p>
      </dgm:t>
    </dgm:pt>
    <dgm:pt modelId="{001AA634-5E41-4F08-878B-D2DA5F81117F}" type="parTrans" cxnId="{A8264FB5-DE6C-4AEE-9908-2AC6266BDF4D}">
      <dgm:prSet/>
      <dgm:spPr/>
      <dgm:t>
        <a:bodyPr/>
        <a:lstStyle/>
        <a:p>
          <a:endParaRPr lang="en-US"/>
        </a:p>
      </dgm:t>
    </dgm:pt>
    <dgm:pt modelId="{277E12D5-614A-41F5-8459-3239BA3C4823}" type="sibTrans" cxnId="{A8264FB5-DE6C-4AEE-9908-2AC6266BDF4D}">
      <dgm:prSet/>
      <dgm:spPr/>
      <dgm:t>
        <a:bodyPr/>
        <a:lstStyle/>
        <a:p>
          <a:endParaRPr lang="en-US"/>
        </a:p>
      </dgm:t>
    </dgm:pt>
    <dgm:pt modelId="{C722E49D-B435-4261-B5BA-09F512595731}">
      <dgm:prSet/>
      <dgm:spPr>
        <a:solidFill>
          <a:srgbClr val="D1E6F7">
            <a:alpha val="90000"/>
          </a:srgbClr>
        </a:solidFill>
        <a:ln>
          <a:noFill/>
        </a:ln>
      </dgm:spPr>
      <dgm:t>
        <a:bodyPr/>
        <a:lstStyle/>
        <a:p>
          <a:pPr rtl="0"/>
          <a:r>
            <a:rPr lang="en-US" dirty="0"/>
            <a:t>40G: SR/LR/LR4L/ER QSFP+, 100G: SR/LR/ER4L QSFP28</a:t>
          </a:r>
        </a:p>
      </dgm:t>
    </dgm:pt>
    <dgm:pt modelId="{F2CDEA4D-78F5-4E92-83B5-4D60AC2EACB3}" type="parTrans" cxnId="{50C2FC33-B2D3-440E-ABD3-96777AC6656B}">
      <dgm:prSet/>
      <dgm:spPr/>
      <dgm:t>
        <a:bodyPr/>
        <a:lstStyle/>
        <a:p>
          <a:endParaRPr lang="en-US"/>
        </a:p>
      </dgm:t>
    </dgm:pt>
    <dgm:pt modelId="{7F7532D1-2480-4EE6-A82F-D82E50DEA7CC}" type="sibTrans" cxnId="{50C2FC33-B2D3-440E-ABD3-96777AC6656B}">
      <dgm:prSet/>
      <dgm:spPr/>
      <dgm:t>
        <a:bodyPr/>
        <a:lstStyle/>
        <a:p>
          <a:endParaRPr lang="en-US"/>
        </a:p>
      </dgm:t>
    </dgm:pt>
    <dgm:pt modelId="{5D74217E-636F-8B43-B060-3886204331C5}">
      <dgm:prSet/>
      <dgm:spPr>
        <a:solidFill>
          <a:srgbClr val="D1E6F7">
            <a:alpha val="90000"/>
          </a:srgbClr>
        </a:solidFill>
        <a:ln>
          <a:noFill/>
        </a:ln>
      </dgm:spPr>
      <dgm:t>
        <a:bodyPr/>
        <a:lstStyle/>
        <a:p>
          <a:pPr rtl="0"/>
          <a:r>
            <a:rPr lang="nl-NL" dirty="0"/>
            <a:t>Side-</a:t>
          </a:r>
          <a:r>
            <a:rPr lang="nl-NL" dirty="0" err="1"/>
            <a:t>to</a:t>
          </a:r>
          <a:r>
            <a:rPr lang="nl-NL" dirty="0"/>
            <a:t>-side </a:t>
          </a:r>
          <a:r>
            <a:rPr lang="nl-NL" dirty="0" err="1"/>
            <a:t>airflow</a:t>
          </a:r>
          <a:r>
            <a:rPr lang="nl-NL" dirty="0"/>
            <a:t>. Front-</a:t>
          </a:r>
          <a:r>
            <a:rPr lang="nl-NL" dirty="0" err="1"/>
            <a:t>to</a:t>
          </a:r>
          <a:r>
            <a:rPr lang="nl-NL" dirty="0"/>
            <a:t>-back </a:t>
          </a:r>
          <a:r>
            <a:rPr lang="nl-NL" dirty="0" err="1"/>
            <a:t>airflow</a:t>
          </a:r>
          <a:r>
            <a:rPr lang="nl-NL" dirty="0"/>
            <a:t> plenum option</a:t>
          </a:r>
          <a:endParaRPr lang="en-US" dirty="0"/>
        </a:p>
      </dgm:t>
    </dgm:pt>
    <dgm:pt modelId="{7FB3CDAB-2F6E-8545-BC0D-DF3FC543E781}" type="parTrans" cxnId="{B2206305-7ED1-1B43-91F2-BF61FEA67713}">
      <dgm:prSet/>
      <dgm:spPr/>
      <dgm:t>
        <a:bodyPr/>
        <a:lstStyle/>
        <a:p>
          <a:endParaRPr lang="en-US"/>
        </a:p>
      </dgm:t>
    </dgm:pt>
    <dgm:pt modelId="{6D63DE89-7D8E-1A4B-8C67-655DED994676}" type="sibTrans" cxnId="{B2206305-7ED1-1B43-91F2-BF61FEA67713}">
      <dgm:prSet/>
      <dgm:spPr/>
      <dgm:t>
        <a:bodyPr/>
        <a:lstStyle/>
        <a:p>
          <a:endParaRPr lang="en-US"/>
        </a:p>
      </dgm:t>
    </dgm:pt>
    <dgm:pt modelId="{5B4AEF64-28AE-485F-8316-5EC472702409}" type="pres">
      <dgm:prSet presAssocID="{DAD06F05-3903-433B-819B-F96CE91CF596}" presName="Name0" presStyleCnt="0">
        <dgm:presLayoutVars>
          <dgm:dir/>
          <dgm:animLvl val="lvl"/>
          <dgm:resizeHandles val="exact"/>
        </dgm:presLayoutVars>
      </dgm:prSet>
      <dgm:spPr/>
    </dgm:pt>
    <dgm:pt modelId="{892E7779-DCF7-49DC-B0CB-6BFF0EF6741F}" type="pres">
      <dgm:prSet presAssocID="{A857E58C-97AE-49CD-B97A-4AE61EDD56C3}" presName="linNode" presStyleCnt="0"/>
      <dgm:spPr/>
    </dgm:pt>
    <dgm:pt modelId="{75BDDF79-3035-42C9-A99F-F5B297561CD6}" type="pres">
      <dgm:prSet presAssocID="{A857E58C-97AE-49CD-B97A-4AE61EDD56C3}" presName="parentText" presStyleLbl="node1" presStyleIdx="0" presStyleCnt="10">
        <dgm:presLayoutVars>
          <dgm:chMax val="1"/>
          <dgm:bulletEnabled val="1"/>
        </dgm:presLayoutVars>
      </dgm:prSet>
      <dgm:spPr/>
    </dgm:pt>
    <dgm:pt modelId="{454F4EDA-E589-4A16-85DB-0C9792B930E7}" type="pres">
      <dgm:prSet presAssocID="{A857E58C-97AE-49CD-B97A-4AE61EDD56C3}" presName="descendantText" presStyleLbl="alignAccFollowNode1" presStyleIdx="0" presStyleCnt="10">
        <dgm:presLayoutVars>
          <dgm:bulletEnabled val="1"/>
        </dgm:presLayoutVars>
      </dgm:prSet>
      <dgm:spPr/>
    </dgm:pt>
    <dgm:pt modelId="{81BEC21C-0012-4E95-BB17-9B2AA37A90D4}" type="pres">
      <dgm:prSet presAssocID="{86CA84AA-D830-417D-BF7F-4979D17CBEAE}" presName="sp" presStyleCnt="0"/>
      <dgm:spPr/>
    </dgm:pt>
    <dgm:pt modelId="{3AB861FE-6227-4EE5-A6DA-C65C44CFB581}" type="pres">
      <dgm:prSet presAssocID="{3BBE5F78-935B-42C9-B573-16AC714B10F1}" presName="linNode" presStyleCnt="0"/>
      <dgm:spPr/>
    </dgm:pt>
    <dgm:pt modelId="{46830796-4281-4E9F-8DEE-0DD2DF16825B}" type="pres">
      <dgm:prSet presAssocID="{3BBE5F78-935B-42C9-B573-16AC714B10F1}" presName="parentText" presStyleLbl="node1" presStyleIdx="1" presStyleCnt="10">
        <dgm:presLayoutVars>
          <dgm:chMax val="1"/>
          <dgm:bulletEnabled val="1"/>
        </dgm:presLayoutVars>
      </dgm:prSet>
      <dgm:spPr/>
    </dgm:pt>
    <dgm:pt modelId="{2BDD3F66-042D-48A7-8A12-4EEFBC3BB338}" type="pres">
      <dgm:prSet presAssocID="{3BBE5F78-935B-42C9-B573-16AC714B10F1}" presName="descendantText" presStyleLbl="alignAccFollowNode1" presStyleIdx="1" presStyleCnt="10">
        <dgm:presLayoutVars>
          <dgm:bulletEnabled val="1"/>
        </dgm:presLayoutVars>
      </dgm:prSet>
      <dgm:spPr/>
    </dgm:pt>
    <dgm:pt modelId="{BCFB7EE6-BA37-4E65-98F6-BDF5A4F3F69C}" type="pres">
      <dgm:prSet presAssocID="{F495C1DF-00CA-4806-8848-4DB4430BC0E5}" presName="sp" presStyleCnt="0"/>
      <dgm:spPr/>
    </dgm:pt>
    <dgm:pt modelId="{5D8D81FC-E2E7-467C-9C14-B6D3623F36DF}" type="pres">
      <dgm:prSet presAssocID="{EFE837F0-2D9A-4CDF-A1D4-4A926913B307}" presName="linNode" presStyleCnt="0"/>
      <dgm:spPr/>
    </dgm:pt>
    <dgm:pt modelId="{101019C5-FDD6-4886-90F5-F669DD820F3A}" type="pres">
      <dgm:prSet presAssocID="{EFE837F0-2D9A-4CDF-A1D4-4A926913B307}" presName="parentText" presStyleLbl="node1" presStyleIdx="2" presStyleCnt="10">
        <dgm:presLayoutVars>
          <dgm:chMax val="1"/>
          <dgm:bulletEnabled val="1"/>
        </dgm:presLayoutVars>
      </dgm:prSet>
      <dgm:spPr/>
    </dgm:pt>
    <dgm:pt modelId="{ECB50969-2EBA-4889-BC7D-B884D0866E33}" type="pres">
      <dgm:prSet presAssocID="{EFE837F0-2D9A-4CDF-A1D4-4A926913B307}" presName="descendantText" presStyleLbl="alignAccFollowNode1" presStyleIdx="2" presStyleCnt="10">
        <dgm:presLayoutVars>
          <dgm:bulletEnabled val="1"/>
        </dgm:presLayoutVars>
      </dgm:prSet>
      <dgm:spPr/>
    </dgm:pt>
    <dgm:pt modelId="{99451625-FCC4-4B83-B889-E8DD158ED64F}" type="pres">
      <dgm:prSet presAssocID="{ECFD24B6-B38D-471B-8241-123E8F706492}" presName="sp" presStyleCnt="0"/>
      <dgm:spPr/>
    </dgm:pt>
    <dgm:pt modelId="{4B28F1C2-05BC-45C3-9269-7CE466037E26}" type="pres">
      <dgm:prSet presAssocID="{7EEF4263-4E6E-4004-960E-3E3E9468A3AC}" presName="linNode" presStyleCnt="0"/>
      <dgm:spPr/>
    </dgm:pt>
    <dgm:pt modelId="{8E64AB20-F105-400F-8F74-08B70BF50322}" type="pres">
      <dgm:prSet presAssocID="{7EEF4263-4E6E-4004-960E-3E3E9468A3AC}" presName="parentText" presStyleLbl="node1" presStyleIdx="3" presStyleCnt="10">
        <dgm:presLayoutVars>
          <dgm:chMax val="1"/>
          <dgm:bulletEnabled val="1"/>
        </dgm:presLayoutVars>
      </dgm:prSet>
      <dgm:spPr/>
    </dgm:pt>
    <dgm:pt modelId="{07C64787-2A16-432E-A9E9-C9678F3B7697}" type="pres">
      <dgm:prSet presAssocID="{7EEF4263-4E6E-4004-960E-3E3E9468A3AC}" presName="descendantText" presStyleLbl="alignAccFollowNode1" presStyleIdx="3" presStyleCnt="10">
        <dgm:presLayoutVars>
          <dgm:bulletEnabled val="1"/>
        </dgm:presLayoutVars>
      </dgm:prSet>
      <dgm:spPr/>
    </dgm:pt>
    <dgm:pt modelId="{0F34426D-C1A0-4D72-9913-BAE6F3F4B6F0}" type="pres">
      <dgm:prSet presAssocID="{4CE6DE60-F69C-4621-8578-4D44E879034E}" presName="sp" presStyleCnt="0"/>
      <dgm:spPr/>
    </dgm:pt>
    <dgm:pt modelId="{108676FA-28CB-421F-8835-8ED57B52B896}" type="pres">
      <dgm:prSet presAssocID="{76DDE425-CDEB-404C-93B5-8D0C35C6C754}" presName="linNode" presStyleCnt="0"/>
      <dgm:spPr/>
    </dgm:pt>
    <dgm:pt modelId="{5776C898-5446-41F9-AB50-6472EDBC184A}" type="pres">
      <dgm:prSet presAssocID="{76DDE425-CDEB-404C-93B5-8D0C35C6C754}" presName="parentText" presStyleLbl="node1" presStyleIdx="4" presStyleCnt="10">
        <dgm:presLayoutVars>
          <dgm:chMax val="1"/>
          <dgm:bulletEnabled val="1"/>
        </dgm:presLayoutVars>
      </dgm:prSet>
      <dgm:spPr/>
    </dgm:pt>
    <dgm:pt modelId="{1659659C-CE82-4BE1-928B-B3C52FC9FD5A}" type="pres">
      <dgm:prSet presAssocID="{76DDE425-CDEB-404C-93B5-8D0C35C6C754}" presName="descendantText" presStyleLbl="alignAccFollowNode1" presStyleIdx="4" presStyleCnt="10">
        <dgm:presLayoutVars>
          <dgm:bulletEnabled val="1"/>
        </dgm:presLayoutVars>
      </dgm:prSet>
      <dgm:spPr/>
    </dgm:pt>
    <dgm:pt modelId="{88733FFE-4DB0-4BEC-B2C2-E11BCE30AB37}" type="pres">
      <dgm:prSet presAssocID="{F54D5323-BA68-4B54-97B7-6CEF9C3B2BAB}" presName="sp" presStyleCnt="0"/>
      <dgm:spPr/>
    </dgm:pt>
    <dgm:pt modelId="{B658F943-F0FE-42EE-B0D1-1847AF1AFE1A}" type="pres">
      <dgm:prSet presAssocID="{5EA9DA79-28E7-45D4-871A-EF76EE70709D}" presName="linNode" presStyleCnt="0"/>
      <dgm:spPr/>
    </dgm:pt>
    <dgm:pt modelId="{5CE93F69-8985-4E79-AB79-F77331DDDF29}" type="pres">
      <dgm:prSet presAssocID="{5EA9DA79-28E7-45D4-871A-EF76EE70709D}" presName="parentText" presStyleLbl="node1" presStyleIdx="5" presStyleCnt="10">
        <dgm:presLayoutVars>
          <dgm:chMax val="1"/>
          <dgm:bulletEnabled val="1"/>
        </dgm:presLayoutVars>
      </dgm:prSet>
      <dgm:spPr/>
    </dgm:pt>
    <dgm:pt modelId="{8E9693D4-37B8-411A-B81B-9FF4FED4D5AC}" type="pres">
      <dgm:prSet presAssocID="{5EA9DA79-28E7-45D4-871A-EF76EE70709D}" presName="descendantText" presStyleLbl="alignAccFollowNode1" presStyleIdx="5" presStyleCnt="10">
        <dgm:presLayoutVars>
          <dgm:bulletEnabled val="1"/>
        </dgm:presLayoutVars>
      </dgm:prSet>
      <dgm:spPr/>
    </dgm:pt>
    <dgm:pt modelId="{A467D402-92CD-4BF3-87FF-475BED166A57}" type="pres">
      <dgm:prSet presAssocID="{CF883CA7-B12F-4964-961F-BA435C55BCFC}" presName="sp" presStyleCnt="0"/>
      <dgm:spPr/>
    </dgm:pt>
    <dgm:pt modelId="{5D58E42B-2060-489A-8BD9-92C85736B2EE}" type="pres">
      <dgm:prSet presAssocID="{1A0A2AA1-69D5-4E14-A15E-0D5DB2762F19}" presName="linNode" presStyleCnt="0"/>
      <dgm:spPr/>
    </dgm:pt>
    <dgm:pt modelId="{24C0A0FD-C6B1-479F-931D-3DD94F912BF2}" type="pres">
      <dgm:prSet presAssocID="{1A0A2AA1-69D5-4E14-A15E-0D5DB2762F19}" presName="parentText" presStyleLbl="node1" presStyleIdx="6" presStyleCnt="10">
        <dgm:presLayoutVars>
          <dgm:chMax val="1"/>
          <dgm:bulletEnabled val="1"/>
        </dgm:presLayoutVars>
      </dgm:prSet>
      <dgm:spPr/>
    </dgm:pt>
    <dgm:pt modelId="{BA1392D3-6B0C-439C-BF9F-5015A177764E}" type="pres">
      <dgm:prSet presAssocID="{1A0A2AA1-69D5-4E14-A15E-0D5DB2762F19}" presName="descendantText" presStyleLbl="alignAccFollowNode1" presStyleIdx="6" presStyleCnt="10">
        <dgm:presLayoutVars>
          <dgm:bulletEnabled val="1"/>
        </dgm:presLayoutVars>
      </dgm:prSet>
      <dgm:spPr/>
    </dgm:pt>
    <dgm:pt modelId="{0D217F7E-BDFD-4B07-A1EC-006DB4D9F135}" type="pres">
      <dgm:prSet presAssocID="{1BC57049-2068-4AC0-BFB4-94C5D69D5D48}" presName="sp" presStyleCnt="0"/>
      <dgm:spPr/>
    </dgm:pt>
    <dgm:pt modelId="{A3B13F0C-42F6-4A4D-A383-5362C1F40F32}" type="pres">
      <dgm:prSet presAssocID="{84B6F318-F249-47A7-B863-1DCB043E2923}" presName="linNode" presStyleCnt="0"/>
      <dgm:spPr/>
    </dgm:pt>
    <dgm:pt modelId="{DBD9D043-BD78-4105-ABCD-AD59034829C1}" type="pres">
      <dgm:prSet presAssocID="{84B6F318-F249-47A7-B863-1DCB043E2923}" presName="parentText" presStyleLbl="node1" presStyleIdx="7" presStyleCnt="10">
        <dgm:presLayoutVars>
          <dgm:chMax val="1"/>
          <dgm:bulletEnabled val="1"/>
        </dgm:presLayoutVars>
      </dgm:prSet>
      <dgm:spPr/>
    </dgm:pt>
    <dgm:pt modelId="{68C818A9-7C69-46B3-83C5-E9028463F0DA}" type="pres">
      <dgm:prSet presAssocID="{84B6F318-F249-47A7-B863-1DCB043E2923}" presName="descendantText" presStyleLbl="alignAccFollowNode1" presStyleIdx="7" presStyleCnt="10">
        <dgm:presLayoutVars>
          <dgm:bulletEnabled val="1"/>
        </dgm:presLayoutVars>
      </dgm:prSet>
      <dgm:spPr/>
    </dgm:pt>
    <dgm:pt modelId="{D7093BD5-9BFF-4606-890F-BF2368DA3BCF}" type="pres">
      <dgm:prSet presAssocID="{E0668F7F-2AB5-4168-8F33-48790C1AB099}" presName="sp" presStyleCnt="0"/>
      <dgm:spPr/>
    </dgm:pt>
    <dgm:pt modelId="{C5D7E0E2-61E4-4E51-A1DD-2D2A89E52F6C}" type="pres">
      <dgm:prSet presAssocID="{CAD1E296-2682-47CC-800C-9990CDFB477D}" presName="linNode" presStyleCnt="0"/>
      <dgm:spPr/>
    </dgm:pt>
    <dgm:pt modelId="{4A4C5A52-1AF1-43F8-890F-A795CB9EE3B8}" type="pres">
      <dgm:prSet presAssocID="{CAD1E296-2682-47CC-800C-9990CDFB477D}" presName="parentText" presStyleLbl="node1" presStyleIdx="8" presStyleCnt="10">
        <dgm:presLayoutVars>
          <dgm:chMax val="1"/>
          <dgm:bulletEnabled val="1"/>
        </dgm:presLayoutVars>
      </dgm:prSet>
      <dgm:spPr/>
    </dgm:pt>
    <dgm:pt modelId="{4C774326-18FC-4362-B585-3C2C0D44D334}" type="pres">
      <dgm:prSet presAssocID="{CAD1E296-2682-47CC-800C-9990CDFB477D}" presName="descendantText" presStyleLbl="alignAccFollowNode1" presStyleIdx="8" presStyleCnt="10">
        <dgm:presLayoutVars>
          <dgm:bulletEnabled val="1"/>
        </dgm:presLayoutVars>
      </dgm:prSet>
      <dgm:spPr/>
    </dgm:pt>
    <dgm:pt modelId="{A9A63FCD-4795-42F4-BEA2-91DAA240344D}" type="pres">
      <dgm:prSet presAssocID="{31AD0500-64E9-4868-91FC-25409F333D90}" presName="sp" presStyleCnt="0"/>
      <dgm:spPr/>
    </dgm:pt>
    <dgm:pt modelId="{F3CEA85F-1DAE-44CA-9AAA-87D78AFEE386}" type="pres">
      <dgm:prSet presAssocID="{A8B85717-DBCD-42BF-A96F-C69860ABC979}" presName="linNode" presStyleCnt="0"/>
      <dgm:spPr/>
    </dgm:pt>
    <dgm:pt modelId="{3472CCEB-485F-471F-9F94-60A4A2D722F4}" type="pres">
      <dgm:prSet presAssocID="{A8B85717-DBCD-42BF-A96F-C69860ABC979}" presName="parentText" presStyleLbl="node1" presStyleIdx="9" presStyleCnt="10">
        <dgm:presLayoutVars>
          <dgm:chMax val="1"/>
          <dgm:bulletEnabled val="1"/>
        </dgm:presLayoutVars>
      </dgm:prSet>
      <dgm:spPr/>
    </dgm:pt>
    <dgm:pt modelId="{9A1B36E4-7EC5-42E2-8C6A-D319BB2DEC48}" type="pres">
      <dgm:prSet presAssocID="{A8B85717-DBCD-42BF-A96F-C69860ABC979}" presName="descendantText" presStyleLbl="alignAccFollowNode1" presStyleIdx="9" presStyleCnt="10">
        <dgm:presLayoutVars>
          <dgm:bulletEnabled val="1"/>
        </dgm:presLayoutVars>
      </dgm:prSet>
      <dgm:spPr/>
    </dgm:pt>
  </dgm:ptLst>
  <dgm:cxnLst>
    <dgm:cxn modelId="{DB3E3202-BCA7-4684-B726-DFE2D2250AC2}" srcId="{7EEF4263-4E6E-4004-960E-3E3E9468A3AC}" destId="{00D4706A-CCA3-4E9F-8C3E-CF0DDD79D9A2}" srcOrd="1" destOrd="0" parTransId="{7BBEC611-1C42-449E-9EBA-CB57EDD32757}" sibTransId="{1964B2D3-B48E-432D-8C5D-A7D0C0C0E005}"/>
    <dgm:cxn modelId="{14CA9602-4FF8-4A6B-AE1B-F6103C3EF62F}" type="presOf" srcId="{9D07F8D7-E342-4E09-950B-898E7B9F8D82}" destId="{4C774326-18FC-4362-B585-3C2C0D44D334}" srcOrd="0" destOrd="1" presId="urn:microsoft.com/office/officeart/2005/8/layout/vList5"/>
    <dgm:cxn modelId="{8E384F03-F82E-4A97-9EAA-D5DA2820E5C9}" type="presOf" srcId="{EFE837F0-2D9A-4CDF-A1D4-4A926913B307}" destId="{101019C5-FDD6-4886-90F5-F669DD820F3A}" srcOrd="0" destOrd="0" presId="urn:microsoft.com/office/officeart/2005/8/layout/vList5"/>
    <dgm:cxn modelId="{B2206305-7ED1-1B43-91F2-BF61FEA67713}" srcId="{EFE837F0-2D9A-4CDF-A1D4-4A926913B307}" destId="{5D74217E-636F-8B43-B060-3886204331C5}" srcOrd="1" destOrd="0" parTransId="{7FB3CDAB-2F6E-8545-BC0D-DF3FC543E781}" sibTransId="{6D63DE89-7D8E-1A4B-8C67-655DED994676}"/>
    <dgm:cxn modelId="{405B5607-6406-4E7F-8814-0D48840C7632}" type="presOf" srcId="{09C134A8-57C9-4B7A-8E61-270DDC9D80C1}" destId="{1659659C-CE82-4BE1-928B-B3C52FC9FD5A}" srcOrd="0" destOrd="0" presId="urn:microsoft.com/office/officeart/2005/8/layout/vList5"/>
    <dgm:cxn modelId="{E1B53315-95DD-472E-A840-7176F3065F61}" srcId="{DAD06F05-3903-433B-819B-F96CE91CF596}" destId="{A8B85717-DBCD-42BF-A96F-C69860ABC979}" srcOrd="9" destOrd="0" parTransId="{E21E1424-0F85-4385-B335-9A3DA17A150A}" sibTransId="{F96B0D76-6369-479B-8D4D-A850F0287E42}"/>
    <dgm:cxn modelId="{5A10F72B-B70F-4047-833D-DF0ADBB6CAE9}" type="presOf" srcId="{DAD06F05-3903-433B-819B-F96CE91CF596}" destId="{5B4AEF64-28AE-485F-8316-5EC472702409}" srcOrd="0" destOrd="0" presId="urn:microsoft.com/office/officeart/2005/8/layout/vList5"/>
    <dgm:cxn modelId="{71FB5D2D-A976-4D30-9229-2B3F46E1D76D}" srcId="{CAD1E296-2682-47CC-800C-9990CDFB477D}" destId="{9D07F8D7-E342-4E09-950B-898E7B9F8D82}" srcOrd="1" destOrd="0" parTransId="{2F97C639-6AD5-4EF5-87FA-0B49427AA592}" sibTransId="{494DB1AF-E53C-4CF4-A775-2A1A4B3081CC}"/>
    <dgm:cxn modelId="{B1592F30-06EF-432D-BC59-964CFE2E82A7}" srcId="{DAD06F05-3903-433B-819B-F96CE91CF596}" destId="{76DDE425-CDEB-404C-93B5-8D0C35C6C754}" srcOrd="4" destOrd="0" parTransId="{DC22F324-4649-4A90-A5D2-E8C6277FFAA2}" sibTransId="{F54D5323-BA68-4B54-97B7-6CEF9C3B2BAB}"/>
    <dgm:cxn modelId="{C09CCD30-29BC-E749-A9D8-888D879F73C8}" type="presOf" srcId="{5D74217E-636F-8B43-B060-3886204331C5}" destId="{ECB50969-2EBA-4889-BC7D-B884D0866E33}" srcOrd="0" destOrd="1" presId="urn:microsoft.com/office/officeart/2005/8/layout/vList5"/>
    <dgm:cxn modelId="{50C2FC33-B2D3-440E-ABD3-96777AC6656B}" srcId="{76DDE425-CDEB-404C-93B5-8D0C35C6C754}" destId="{C722E49D-B435-4261-B5BA-09F512595731}" srcOrd="1" destOrd="0" parTransId="{F2CDEA4D-78F5-4E92-83B5-4D60AC2EACB3}" sibTransId="{7F7532D1-2480-4EE6-A82F-D82E50DEA7CC}"/>
    <dgm:cxn modelId="{0D39B035-8612-4171-BA6A-B9ED1143C3A5}" type="presOf" srcId="{84B6F318-F249-47A7-B863-1DCB043E2923}" destId="{DBD9D043-BD78-4105-ABCD-AD59034829C1}" srcOrd="0" destOrd="0" presId="urn:microsoft.com/office/officeart/2005/8/layout/vList5"/>
    <dgm:cxn modelId="{32AF1F3D-5EA1-450F-8B1A-3D70422409A6}" type="presOf" srcId="{7931435D-86CC-4E5F-AEA6-654DD645A9D0}" destId="{454F4EDA-E589-4A16-85DB-0C9792B930E7}" srcOrd="0" destOrd="0" presId="urn:microsoft.com/office/officeart/2005/8/layout/vList5"/>
    <dgm:cxn modelId="{D5DBFA3D-7122-43F1-AD34-4F94C6F7E5DE}" srcId="{1A0A2AA1-69D5-4E14-A15E-0D5DB2762F19}" destId="{CD757011-5728-4BF4-853F-70E13533E937}" srcOrd="0" destOrd="0" parTransId="{4FA3D885-C227-4859-BFAF-3178421AB4D0}" sibTransId="{1F91DA92-BB7C-4DFA-AAAA-66381A48E26F}"/>
    <dgm:cxn modelId="{FD4AC943-CC0C-421B-9E55-E4A36E6FB31B}" srcId="{A857E58C-97AE-49CD-B97A-4AE61EDD56C3}" destId="{7931435D-86CC-4E5F-AEA6-654DD645A9D0}" srcOrd="0" destOrd="0" parTransId="{B0381B90-A790-4E10-9BB6-1081D6ED3F9B}" sibTransId="{18F1ED80-9C2A-4BD8-861D-545F84CFB19A}"/>
    <dgm:cxn modelId="{2E540764-9DC8-4EBC-A694-304529F67E64}" type="presOf" srcId="{1A0A2AA1-69D5-4E14-A15E-0D5DB2762F19}" destId="{24C0A0FD-C6B1-479F-931D-3DD94F912BF2}" srcOrd="0" destOrd="0" presId="urn:microsoft.com/office/officeart/2005/8/layout/vList5"/>
    <dgm:cxn modelId="{1C69A544-6EBB-4C03-86B8-22AB374E9E8D}" type="presOf" srcId="{00D4706A-CCA3-4E9F-8C3E-CF0DDD79D9A2}" destId="{07C64787-2A16-432E-A9E9-C9678F3B7697}" srcOrd="0" destOrd="1" presId="urn:microsoft.com/office/officeart/2005/8/layout/vList5"/>
    <dgm:cxn modelId="{058CD167-1915-429C-BF36-B12F4165BCC1}" srcId="{5EA9DA79-28E7-45D4-871A-EF76EE70709D}" destId="{C38B58B5-12D3-4A51-B860-16C18A107601}" srcOrd="0" destOrd="0" parTransId="{D2454DE5-9BA9-4680-8918-DD86BC2131C0}" sibTransId="{73EEC26C-9C9C-433E-9189-7BE729F08491}"/>
    <dgm:cxn modelId="{FD0D646A-2290-46DD-8F9F-6A5A93C6F20F}" srcId="{CAD1E296-2682-47CC-800C-9990CDFB477D}" destId="{58778B0D-E6FC-4549-BD07-E10245BE0A60}" srcOrd="0" destOrd="0" parTransId="{5AB44AEA-B7E4-4C3A-BCEE-661ACE6A3D12}" sibTransId="{9573029D-EB61-4559-A422-AF1CCF6CF495}"/>
    <dgm:cxn modelId="{40030A4F-8005-4146-947D-9C8861E3E758}" srcId="{1A0A2AA1-69D5-4E14-A15E-0D5DB2762F19}" destId="{A146A60A-F6FF-403E-BD3B-788CE74740CF}" srcOrd="1" destOrd="0" parTransId="{8BEAC2C5-8B35-4C3F-B217-070C0E9C844E}" sibTransId="{7D01D85C-72AB-4F06-920F-F174E2039C49}"/>
    <dgm:cxn modelId="{FB086070-8266-4619-93B7-6FB54296AA25}" srcId="{84B6F318-F249-47A7-B863-1DCB043E2923}" destId="{8C91E56A-0109-4EAC-9D0C-F8D6E9E81F6C}" srcOrd="0" destOrd="0" parTransId="{4139C3C0-D755-4433-974E-6279466A0B4C}" sibTransId="{23F2F12C-BB4E-47F1-B19C-8E514A2B01BE}"/>
    <dgm:cxn modelId="{7E0A4853-1C83-4A43-A5D5-2121E3DA8A7E}" type="presOf" srcId="{645FAC24-FB5E-48D3-BABD-F14E732D5739}" destId="{454F4EDA-E589-4A16-85DB-0C9792B930E7}" srcOrd="0" destOrd="1" presId="urn:microsoft.com/office/officeart/2005/8/layout/vList5"/>
    <dgm:cxn modelId="{B7434775-3FDA-4409-A75F-790174755D82}" type="presOf" srcId="{5EA9DA79-28E7-45D4-871A-EF76EE70709D}" destId="{5CE93F69-8985-4E79-AB79-F77331DDDF29}" srcOrd="0" destOrd="0" presId="urn:microsoft.com/office/officeart/2005/8/layout/vList5"/>
    <dgm:cxn modelId="{2FA4F479-58F3-475F-9038-02EC37E47D1C}" type="presOf" srcId="{A146A60A-F6FF-403E-BD3B-788CE74740CF}" destId="{BA1392D3-6B0C-439C-BF9F-5015A177764E}" srcOrd="0" destOrd="1" presId="urn:microsoft.com/office/officeart/2005/8/layout/vList5"/>
    <dgm:cxn modelId="{B687BF7C-89AB-43D3-A9DF-5C8B109A1B88}" type="presOf" srcId="{FE8A551D-D2F4-49E7-8B20-ADF3895BDFDC}" destId="{9A1B36E4-7EC5-42E2-8C6A-D319BB2DEC48}" srcOrd="0" destOrd="0" presId="urn:microsoft.com/office/officeart/2005/8/layout/vList5"/>
    <dgm:cxn modelId="{FCA95A8C-FA70-4D49-BCEF-738397E194A0}" type="presOf" srcId="{A8B85717-DBCD-42BF-A96F-C69860ABC979}" destId="{3472CCEB-485F-471F-9F94-60A4A2D722F4}" srcOrd="0" destOrd="0" presId="urn:microsoft.com/office/officeart/2005/8/layout/vList5"/>
    <dgm:cxn modelId="{40EC938D-B9A2-452E-9E78-0B9AE66C5785}" type="presOf" srcId="{CD757011-5728-4BF4-853F-70E13533E937}" destId="{BA1392D3-6B0C-439C-BF9F-5015A177764E}" srcOrd="0" destOrd="0" presId="urn:microsoft.com/office/officeart/2005/8/layout/vList5"/>
    <dgm:cxn modelId="{707BDD95-DDEE-4F9A-A68B-9CB0E3FE6F6C}" type="presOf" srcId="{7EEF4263-4E6E-4004-960E-3E3E9468A3AC}" destId="{8E64AB20-F105-400F-8F74-08B70BF50322}" srcOrd="0" destOrd="0" presId="urn:microsoft.com/office/officeart/2005/8/layout/vList5"/>
    <dgm:cxn modelId="{06F737A8-5A9D-47CB-B9C8-EB945A0CD654}" srcId="{A857E58C-97AE-49CD-B97A-4AE61EDD56C3}" destId="{645FAC24-FB5E-48D3-BABD-F14E732D5739}" srcOrd="1" destOrd="0" parTransId="{6D290A9C-A74D-4D98-B7FF-361F69BAC7C2}" sibTransId="{CF193FCC-1ACA-485C-8B58-5A73B80825CF}"/>
    <dgm:cxn modelId="{DE0E99A8-CE8E-4D69-B45A-24558D22E55C}" type="presOf" srcId="{76DDE425-CDEB-404C-93B5-8D0C35C6C754}" destId="{5776C898-5446-41F9-AB50-6472EDBC184A}" srcOrd="0" destOrd="0" presId="urn:microsoft.com/office/officeart/2005/8/layout/vList5"/>
    <dgm:cxn modelId="{C7A1E8A9-7E9B-4846-9A99-9A8E761214B3}" srcId="{DAD06F05-3903-433B-819B-F96CE91CF596}" destId="{5EA9DA79-28E7-45D4-871A-EF76EE70709D}" srcOrd="5" destOrd="0" parTransId="{974B947A-5332-4D17-9DC4-3924DFDB2080}" sibTransId="{CF883CA7-B12F-4964-961F-BA435C55BCFC}"/>
    <dgm:cxn modelId="{91A8A6B2-9435-4D1F-95FB-BD8A0D2C2514}" type="presOf" srcId="{3F619E9B-7592-4D0E-9488-8A5B974A1666}" destId="{07C64787-2A16-432E-A9E9-C9678F3B7697}" srcOrd="0" destOrd="0" presId="urn:microsoft.com/office/officeart/2005/8/layout/vList5"/>
    <dgm:cxn modelId="{CA5F7EB3-BE12-4A94-A8CB-1A7697C6DE1F}" srcId="{DAD06F05-3903-433B-819B-F96CE91CF596}" destId="{EFE837F0-2D9A-4CDF-A1D4-4A926913B307}" srcOrd="2" destOrd="0" parTransId="{F39B6D33-5DF0-4159-B422-777B81F4DA77}" sibTransId="{ECFD24B6-B38D-471B-8241-123E8F706492}"/>
    <dgm:cxn modelId="{24E03AB5-550A-4598-8896-7EE6F013BB5A}" srcId="{DAD06F05-3903-433B-819B-F96CE91CF596}" destId="{CAD1E296-2682-47CC-800C-9990CDFB477D}" srcOrd="8" destOrd="0" parTransId="{3ED3BF94-A4FA-4E76-85CC-172A6BABD1D3}" sibTransId="{31AD0500-64E9-4868-91FC-25409F333D90}"/>
    <dgm:cxn modelId="{A8264FB5-DE6C-4AEE-9908-2AC6266BDF4D}" srcId="{76DDE425-CDEB-404C-93B5-8D0C35C6C754}" destId="{09C134A8-57C9-4B7A-8E61-270DDC9D80C1}" srcOrd="0" destOrd="0" parTransId="{001AA634-5E41-4F08-878B-D2DA5F81117F}" sibTransId="{277E12D5-614A-41F5-8459-3239BA3C4823}"/>
    <dgm:cxn modelId="{2834DCBD-6FDA-4C39-87B3-BCA93B3FFDAD}" type="presOf" srcId="{19AFF552-528C-4877-97A3-12FC6BD54D90}" destId="{2BDD3F66-042D-48A7-8A12-4EEFBC3BB338}" srcOrd="0" destOrd="0" presId="urn:microsoft.com/office/officeart/2005/8/layout/vList5"/>
    <dgm:cxn modelId="{C91FB9C4-FAED-4263-94AB-2A3330948EC7}" type="presOf" srcId="{58778B0D-E6FC-4549-BD07-E10245BE0A60}" destId="{4C774326-18FC-4362-B585-3C2C0D44D334}" srcOrd="0" destOrd="0" presId="urn:microsoft.com/office/officeart/2005/8/layout/vList5"/>
    <dgm:cxn modelId="{3FD411C6-2775-4229-8BCD-B90CC9320E1F}" type="presOf" srcId="{8C91E56A-0109-4EAC-9D0C-F8D6E9E81F6C}" destId="{68C818A9-7C69-46B3-83C5-E9028463F0DA}" srcOrd="0" destOrd="0" presId="urn:microsoft.com/office/officeart/2005/8/layout/vList5"/>
    <dgm:cxn modelId="{A661A1CB-7EA3-4F55-AE86-D4B614935AD6}" type="presOf" srcId="{A857E58C-97AE-49CD-B97A-4AE61EDD56C3}" destId="{75BDDF79-3035-42C9-A99F-F5B297561CD6}" srcOrd="0" destOrd="0" presId="urn:microsoft.com/office/officeart/2005/8/layout/vList5"/>
    <dgm:cxn modelId="{5B239AD3-85FB-4C47-9CAB-2AF559CA73E6}" srcId="{EFE837F0-2D9A-4CDF-A1D4-4A926913B307}" destId="{8E7316BF-1222-45EA-ABE1-78CBE16193B1}" srcOrd="0" destOrd="0" parTransId="{73E5A098-945B-4C78-AD53-C2C174F65149}" sibTransId="{2DACA4EF-6F12-46A5-B1F1-21EA4A20873D}"/>
    <dgm:cxn modelId="{C62A1EDA-3826-44A9-9335-C8E7552C4330}" srcId="{DAD06F05-3903-433B-819B-F96CE91CF596}" destId="{3BBE5F78-935B-42C9-B573-16AC714B10F1}" srcOrd="1" destOrd="0" parTransId="{EE14023B-C2BA-4331-9C36-5E19183E6AEE}" sibTransId="{F495C1DF-00CA-4806-8848-4DB4430BC0E5}"/>
    <dgm:cxn modelId="{99C2BADA-930D-49D5-9D80-EB30E8F492D7}" type="presOf" srcId="{C38B58B5-12D3-4A51-B860-16C18A107601}" destId="{8E9693D4-37B8-411A-B81B-9FF4FED4D5AC}" srcOrd="0" destOrd="0" presId="urn:microsoft.com/office/officeart/2005/8/layout/vList5"/>
    <dgm:cxn modelId="{504908DB-3FC9-4C05-9B55-989A070DC9BD}" srcId="{DAD06F05-3903-433B-819B-F96CE91CF596}" destId="{1A0A2AA1-69D5-4E14-A15E-0D5DB2762F19}" srcOrd="6" destOrd="0" parTransId="{9EAEA37A-A80A-4B0B-86C0-F7BC883CD3FA}" sibTransId="{1BC57049-2068-4AC0-BFB4-94C5D69D5D48}"/>
    <dgm:cxn modelId="{E5CF5CDD-012A-4955-AA75-58B4E09FAB96}" srcId="{DAD06F05-3903-433B-819B-F96CE91CF596}" destId="{7EEF4263-4E6E-4004-960E-3E3E9468A3AC}" srcOrd="3" destOrd="0" parTransId="{7A13DF79-CCAA-4E59-AC08-5B2E4EED69BF}" sibTransId="{4CE6DE60-F69C-4621-8578-4D44E879034E}"/>
    <dgm:cxn modelId="{3D5E36E3-A984-44F5-BA4E-BDA6E350B2CF}" type="presOf" srcId="{CAD1E296-2682-47CC-800C-9990CDFB477D}" destId="{4A4C5A52-1AF1-43F8-890F-A795CB9EE3B8}" srcOrd="0" destOrd="0" presId="urn:microsoft.com/office/officeart/2005/8/layout/vList5"/>
    <dgm:cxn modelId="{309C19EB-8138-496D-9EB7-437788006B10}" srcId="{3BBE5F78-935B-42C9-B573-16AC714B10F1}" destId="{19AFF552-528C-4877-97A3-12FC6BD54D90}" srcOrd="0" destOrd="0" parTransId="{269718FA-B77B-41E9-B6BC-51C9841D86BE}" sibTransId="{CBC002CF-AA4E-4F12-AA57-C4D942495BB3}"/>
    <dgm:cxn modelId="{5A39FCF3-AD21-4C63-B500-12FEC3752B92}" srcId="{DAD06F05-3903-433B-819B-F96CE91CF596}" destId="{A857E58C-97AE-49CD-B97A-4AE61EDD56C3}" srcOrd="0" destOrd="0" parTransId="{7CFB9093-54FB-41EF-8F19-CC73B6679103}" sibTransId="{86CA84AA-D830-417D-BF7F-4979D17CBEAE}"/>
    <dgm:cxn modelId="{DE7906F5-3B68-4298-876A-FF154F8BB589}" srcId="{7EEF4263-4E6E-4004-960E-3E3E9468A3AC}" destId="{3F619E9B-7592-4D0E-9488-8A5B974A1666}" srcOrd="0" destOrd="0" parTransId="{0D2C2944-594A-4519-9F06-1D0E1C1376FF}" sibTransId="{EA1A8E51-D814-4655-B17C-2C181E2F44C0}"/>
    <dgm:cxn modelId="{79FEF3F5-AAA5-4DB4-9494-28E0A42D7E96}" type="presOf" srcId="{8E7316BF-1222-45EA-ABE1-78CBE16193B1}" destId="{ECB50969-2EBA-4889-BC7D-B884D0866E33}" srcOrd="0" destOrd="0" presId="urn:microsoft.com/office/officeart/2005/8/layout/vList5"/>
    <dgm:cxn modelId="{AE4726F6-79C2-4F2E-96A7-AA8B25710857}" srcId="{A8B85717-DBCD-42BF-A96F-C69860ABC979}" destId="{FE8A551D-D2F4-49E7-8B20-ADF3895BDFDC}" srcOrd="0" destOrd="0" parTransId="{841C4525-3678-4B4F-A1C0-CE5F53B9DE1F}" sibTransId="{C57D756A-9276-449B-8B78-32DEED29086C}"/>
    <dgm:cxn modelId="{900C6FFE-ABCD-4F81-83C8-9D3E7754E483}" type="presOf" srcId="{C722E49D-B435-4261-B5BA-09F512595731}" destId="{1659659C-CE82-4BE1-928B-B3C52FC9FD5A}" srcOrd="0" destOrd="1" presId="urn:microsoft.com/office/officeart/2005/8/layout/vList5"/>
    <dgm:cxn modelId="{258C70FE-81C9-46D5-BA41-7C3E7D70C18C}" type="presOf" srcId="{3BBE5F78-935B-42C9-B573-16AC714B10F1}" destId="{46830796-4281-4E9F-8DEE-0DD2DF16825B}" srcOrd="0" destOrd="0" presId="urn:microsoft.com/office/officeart/2005/8/layout/vList5"/>
    <dgm:cxn modelId="{4612FEFE-DCCA-4CBA-ABA0-529E15B54A39}" srcId="{DAD06F05-3903-433B-819B-F96CE91CF596}" destId="{84B6F318-F249-47A7-B863-1DCB043E2923}" srcOrd="7" destOrd="0" parTransId="{F0CB68FD-3ADB-40A7-90FE-A9712E5FF0C5}" sibTransId="{E0668F7F-2AB5-4168-8F33-48790C1AB099}"/>
    <dgm:cxn modelId="{E2FDCCF1-5448-45E8-A7DD-5F4810FC3751}" type="presParOf" srcId="{5B4AEF64-28AE-485F-8316-5EC472702409}" destId="{892E7779-DCF7-49DC-B0CB-6BFF0EF6741F}" srcOrd="0" destOrd="0" presId="urn:microsoft.com/office/officeart/2005/8/layout/vList5"/>
    <dgm:cxn modelId="{92BE393F-3174-4171-8796-AD90E06F3CAA}" type="presParOf" srcId="{892E7779-DCF7-49DC-B0CB-6BFF0EF6741F}" destId="{75BDDF79-3035-42C9-A99F-F5B297561CD6}" srcOrd="0" destOrd="0" presId="urn:microsoft.com/office/officeart/2005/8/layout/vList5"/>
    <dgm:cxn modelId="{490AB15B-4143-40BE-848B-A85A76D6806A}" type="presParOf" srcId="{892E7779-DCF7-49DC-B0CB-6BFF0EF6741F}" destId="{454F4EDA-E589-4A16-85DB-0C9792B930E7}" srcOrd="1" destOrd="0" presId="urn:microsoft.com/office/officeart/2005/8/layout/vList5"/>
    <dgm:cxn modelId="{0BB72D25-0196-4E68-9B94-10AAA9F457C2}" type="presParOf" srcId="{5B4AEF64-28AE-485F-8316-5EC472702409}" destId="{81BEC21C-0012-4E95-BB17-9B2AA37A90D4}" srcOrd="1" destOrd="0" presId="urn:microsoft.com/office/officeart/2005/8/layout/vList5"/>
    <dgm:cxn modelId="{697DB389-629F-4A6B-ADBD-B20531B61827}" type="presParOf" srcId="{5B4AEF64-28AE-485F-8316-5EC472702409}" destId="{3AB861FE-6227-4EE5-A6DA-C65C44CFB581}" srcOrd="2" destOrd="0" presId="urn:microsoft.com/office/officeart/2005/8/layout/vList5"/>
    <dgm:cxn modelId="{1504853D-E578-4EA6-ACDA-A4ED2D3581F9}" type="presParOf" srcId="{3AB861FE-6227-4EE5-A6DA-C65C44CFB581}" destId="{46830796-4281-4E9F-8DEE-0DD2DF16825B}" srcOrd="0" destOrd="0" presId="urn:microsoft.com/office/officeart/2005/8/layout/vList5"/>
    <dgm:cxn modelId="{C434CEBC-991B-426F-90E8-7756F75DA485}" type="presParOf" srcId="{3AB861FE-6227-4EE5-A6DA-C65C44CFB581}" destId="{2BDD3F66-042D-48A7-8A12-4EEFBC3BB338}" srcOrd="1" destOrd="0" presId="urn:microsoft.com/office/officeart/2005/8/layout/vList5"/>
    <dgm:cxn modelId="{A23BCE16-8305-4517-9DA2-E4F487189928}" type="presParOf" srcId="{5B4AEF64-28AE-485F-8316-5EC472702409}" destId="{BCFB7EE6-BA37-4E65-98F6-BDF5A4F3F69C}" srcOrd="3" destOrd="0" presId="urn:microsoft.com/office/officeart/2005/8/layout/vList5"/>
    <dgm:cxn modelId="{8229E0C7-AAE2-42C6-886B-6CA804E09D26}" type="presParOf" srcId="{5B4AEF64-28AE-485F-8316-5EC472702409}" destId="{5D8D81FC-E2E7-467C-9C14-B6D3623F36DF}" srcOrd="4" destOrd="0" presId="urn:microsoft.com/office/officeart/2005/8/layout/vList5"/>
    <dgm:cxn modelId="{DFCFD670-6E16-473D-B9D3-9C1B0C9D0321}" type="presParOf" srcId="{5D8D81FC-E2E7-467C-9C14-B6D3623F36DF}" destId="{101019C5-FDD6-4886-90F5-F669DD820F3A}" srcOrd="0" destOrd="0" presId="urn:microsoft.com/office/officeart/2005/8/layout/vList5"/>
    <dgm:cxn modelId="{865DA2CF-E2F0-4C84-886E-39CEEB0919BE}" type="presParOf" srcId="{5D8D81FC-E2E7-467C-9C14-B6D3623F36DF}" destId="{ECB50969-2EBA-4889-BC7D-B884D0866E33}" srcOrd="1" destOrd="0" presId="urn:microsoft.com/office/officeart/2005/8/layout/vList5"/>
    <dgm:cxn modelId="{324252B4-5A7E-413F-BD97-7E819D6D0F14}" type="presParOf" srcId="{5B4AEF64-28AE-485F-8316-5EC472702409}" destId="{99451625-FCC4-4B83-B889-E8DD158ED64F}" srcOrd="5" destOrd="0" presId="urn:microsoft.com/office/officeart/2005/8/layout/vList5"/>
    <dgm:cxn modelId="{ADAC34F0-3286-4679-B287-52F7B07D803A}" type="presParOf" srcId="{5B4AEF64-28AE-485F-8316-5EC472702409}" destId="{4B28F1C2-05BC-45C3-9269-7CE466037E26}" srcOrd="6" destOrd="0" presId="urn:microsoft.com/office/officeart/2005/8/layout/vList5"/>
    <dgm:cxn modelId="{866D56D5-D91D-491A-B851-7E92B4F3BB95}" type="presParOf" srcId="{4B28F1C2-05BC-45C3-9269-7CE466037E26}" destId="{8E64AB20-F105-400F-8F74-08B70BF50322}" srcOrd="0" destOrd="0" presId="urn:microsoft.com/office/officeart/2005/8/layout/vList5"/>
    <dgm:cxn modelId="{AB6F072F-011C-4B83-AF42-5CCD0A61AFE6}" type="presParOf" srcId="{4B28F1C2-05BC-45C3-9269-7CE466037E26}" destId="{07C64787-2A16-432E-A9E9-C9678F3B7697}" srcOrd="1" destOrd="0" presId="urn:microsoft.com/office/officeart/2005/8/layout/vList5"/>
    <dgm:cxn modelId="{E04F19AE-0206-4CD8-9BC8-658A00C9FEDB}" type="presParOf" srcId="{5B4AEF64-28AE-485F-8316-5EC472702409}" destId="{0F34426D-C1A0-4D72-9913-BAE6F3F4B6F0}" srcOrd="7" destOrd="0" presId="urn:microsoft.com/office/officeart/2005/8/layout/vList5"/>
    <dgm:cxn modelId="{AE6C3DA0-1F64-495A-9C4E-B7766F490328}" type="presParOf" srcId="{5B4AEF64-28AE-485F-8316-5EC472702409}" destId="{108676FA-28CB-421F-8835-8ED57B52B896}" srcOrd="8" destOrd="0" presId="urn:microsoft.com/office/officeart/2005/8/layout/vList5"/>
    <dgm:cxn modelId="{D3A1C109-0024-4318-A06E-DA4F64D12547}" type="presParOf" srcId="{108676FA-28CB-421F-8835-8ED57B52B896}" destId="{5776C898-5446-41F9-AB50-6472EDBC184A}" srcOrd="0" destOrd="0" presId="urn:microsoft.com/office/officeart/2005/8/layout/vList5"/>
    <dgm:cxn modelId="{7A0D9362-B968-4FCF-8A79-57C2BC6880F4}" type="presParOf" srcId="{108676FA-28CB-421F-8835-8ED57B52B896}" destId="{1659659C-CE82-4BE1-928B-B3C52FC9FD5A}" srcOrd="1" destOrd="0" presId="urn:microsoft.com/office/officeart/2005/8/layout/vList5"/>
    <dgm:cxn modelId="{91D50429-C623-40FE-9978-60A467E1545A}" type="presParOf" srcId="{5B4AEF64-28AE-485F-8316-5EC472702409}" destId="{88733FFE-4DB0-4BEC-B2C2-E11BCE30AB37}" srcOrd="9" destOrd="0" presId="urn:microsoft.com/office/officeart/2005/8/layout/vList5"/>
    <dgm:cxn modelId="{E66353AA-6B7A-477E-B97C-512D5BA2CAD4}" type="presParOf" srcId="{5B4AEF64-28AE-485F-8316-5EC472702409}" destId="{B658F943-F0FE-42EE-B0D1-1847AF1AFE1A}" srcOrd="10" destOrd="0" presId="urn:microsoft.com/office/officeart/2005/8/layout/vList5"/>
    <dgm:cxn modelId="{A4308CEC-5244-46DF-8BC4-30DF53182C51}" type="presParOf" srcId="{B658F943-F0FE-42EE-B0D1-1847AF1AFE1A}" destId="{5CE93F69-8985-4E79-AB79-F77331DDDF29}" srcOrd="0" destOrd="0" presId="urn:microsoft.com/office/officeart/2005/8/layout/vList5"/>
    <dgm:cxn modelId="{657E5045-72A5-42DD-B93F-D695DEB6624B}" type="presParOf" srcId="{B658F943-F0FE-42EE-B0D1-1847AF1AFE1A}" destId="{8E9693D4-37B8-411A-B81B-9FF4FED4D5AC}" srcOrd="1" destOrd="0" presId="urn:microsoft.com/office/officeart/2005/8/layout/vList5"/>
    <dgm:cxn modelId="{CF1921C6-C9A0-4DC4-848D-AA7BC8FF1783}" type="presParOf" srcId="{5B4AEF64-28AE-485F-8316-5EC472702409}" destId="{A467D402-92CD-4BF3-87FF-475BED166A57}" srcOrd="11" destOrd="0" presId="urn:microsoft.com/office/officeart/2005/8/layout/vList5"/>
    <dgm:cxn modelId="{067D9BC7-DE9E-42C1-B43A-D29111BF369C}" type="presParOf" srcId="{5B4AEF64-28AE-485F-8316-5EC472702409}" destId="{5D58E42B-2060-489A-8BD9-92C85736B2EE}" srcOrd="12" destOrd="0" presId="urn:microsoft.com/office/officeart/2005/8/layout/vList5"/>
    <dgm:cxn modelId="{DA70AF37-6C57-4661-8262-ED64BFC82ABF}" type="presParOf" srcId="{5D58E42B-2060-489A-8BD9-92C85736B2EE}" destId="{24C0A0FD-C6B1-479F-931D-3DD94F912BF2}" srcOrd="0" destOrd="0" presId="urn:microsoft.com/office/officeart/2005/8/layout/vList5"/>
    <dgm:cxn modelId="{73EFFCA6-9C7F-43A2-86BF-CEEEBB0193C6}" type="presParOf" srcId="{5D58E42B-2060-489A-8BD9-92C85736B2EE}" destId="{BA1392D3-6B0C-439C-BF9F-5015A177764E}" srcOrd="1" destOrd="0" presId="urn:microsoft.com/office/officeart/2005/8/layout/vList5"/>
    <dgm:cxn modelId="{E74A9680-2E5E-4907-B63D-7600F46CAA45}" type="presParOf" srcId="{5B4AEF64-28AE-485F-8316-5EC472702409}" destId="{0D217F7E-BDFD-4B07-A1EC-006DB4D9F135}" srcOrd="13" destOrd="0" presId="urn:microsoft.com/office/officeart/2005/8/layout/vList5"/>
    <dgm:cxn modelId="{A5C92B11-771F-44AB-B012-78B991281EA7}" type="presParOf" srcId="{5B4AEF64-28AE-485F-8316-5EC472702409}" destId="{A3B13F0C-42F6-4A4D-A383-5362C1F40F32}" srcOrd="14" destOrd="0" presId="urn:microsoft.com/office/officeart/2005/8/layout/vList5"/>
    <dgm:cxn modelId="{DDF0E3BC-917D-4145-932F-E64270070E62}" type="presParOf" srcId="{A3B13F0C-42F6-4A4D-A383-5362C1F40F32}" destId="{DBD9D043-BD78-4105-ABCD-AD59034829C1}" srcOrd="0" destOrd="0" presId="urn:microsoft.com/office/officeart/2005/8/layout/vList5"/>
    <dgm:cxn modelId="{6D487687-29B5-4BA3-9A4A-8B1DCD411459}" type="presParOf" srcId="{A3B13F0C-42F6-4A4D-A383-5362C1F40F32}" destId="{68C818A9-7C69-46B3-83C5-E9028463F0DA}" srcOrd="1" destOrd="0" presId="urn:microsoft.com/office/officeart/2005/8/layout/vList5"/>
    <dgm:cxn modelId="{7B13BC76-3F5C-44A8-96CC-D76EAEE1DB63}" type="presParOf" srcId="{5B4AEF64-28AE-485F-8316-5EC472702409}" destId="{D7093BD5-9BFF-4606-890F-BF2368DA3BCF}" srcOrd="15" destOrd="0" presId="urn:microsoft.com/office/officeart/2005/8/layout/vList5"/>
    <dgm:cxn modelId="{3FB2D876-DE88-498B-9115-3568D69248D5}" type="presParOf" srcId="{5B4AEF64-28AE-485F-8316-5EC472702409}" destId="{C5D7E0E2-61E4-4E51-A1DD-2D2A89E52F6C}" srcOrd="16" destOrd="0" presId="urn:microsoft.com/office/officeart/2005/8/layout/vList5"/>
    <dgm:cxn modelId="{02562C03-BCA8-4304-8C48-461C78E3CC52}" type="presParOf" srcId="{C5D7E0E2-61E4-4E51-A1DD-2D2A89E52F6C}" destId="{4A4C5A52-1AF1-43F8-890F-A795CB9EE3B8}" srcOrd="0" destOrd="0" presId="urn:microsoft.com/office/officeart/2005/8/layout/vList5"/>
    <dgm:cxn modelId="{C0CDC4C1-ACD4-4119-81A6-566CBF32B2BC}" type="presParOf" srcId="{C5D7E0E2-61E4-4E51-A1DD-2D2A89E52F6C}" destId="{4C774326-18FC-4362-B585-3C2C0D44D334}" srcOrd="1" destOrd="0" presId="urn:microsoft.com/office/officeart/2005/8/layout/vList5"/>
    <dgm:cxn modelId="{4C7E0E7A-09AC-4459-AF8F-430BCA4A5EEF}" type="presParOf" srcId="{5B4AEF64-28AE-485F-8316-5EC472702409}" destId="{A9A63FCD-4795-42F4-BEA2-91DAA240344D}" srcOrd="17" destOrd="0" presId="urn:microsoft.com/office/officeart/2005/8/layout/vList5"/>
    <dgm:cxn modelId="{1B278066-B31F-4197-A871-0ECB26629487}" type="presParOf" srcId="{5B4AEF64-28AE-485F-8316-5EC472702409}" destId="{F3CEA85F-1DAE-44CA-9AAA-87D78AFEE386}" srcOrd="18" destOrd="0" presId="urn:microsoft.com/office/officeart/2005/8/layout/vList5"/>
    <dgm:cxn modelId="{3FB42C83-A3C5-407E-A451-AA760455FA2C}" type="presParOf" srcId="{F3CEA85F-1DAE-44CA-9AAA-87D78AFEE386}" destId="{3472CCEB-485F-471F-9F94-60A4A2D722F4}" srcOrd="0" destOrd="0" presId="urn:microsoft.com/office/officeart/2005/8/layout/vList5"/>
    <dgm:cxn modelId="{1BCFDEA1-4ED5-4145-9ACF-BDA7EA5F9ECC}" type="presParOf" srcId="{F3CEA85F-1DAE-44CA-9AAA-87D78AFEE386}" destId="{9A1B36E4-7EC5-42E2-8C6A-D319BB2DEC48}"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C6D1570-5085-4BBE-BBA4-FC27A9482638}"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C6DD763B-FA00-4CCA-96D2-C59D469140A1}" type="pres">
      <dgm:prSet presAssocID="{9C6D1570-5085-4BBE-BBA4-FC27A9482638}" presName="Name0" presStyleCnt="0">
        <dgm:presLayoutVars>
          <dgm:dir/>
          <dgm:animLvl val="lvl"/>
          <dgm:resizeHandles val="exact"/>
        </dgm:presLayoutVars>
      </dgm:prSet>
      <dgm:spPr/>
    </dgm:pt>
  </dgm:ptLst>
  <dgm:cxnLst>
    <dgm:cxn modelId="{ECE90041-3460-4A85-897D-8BABBC7047AA}" type="presOf" srcId="{9C6D1570-5085-4BBE-BBA4-FC27A9482638}" destId="{C6DD763B-FA00-4CCA-96D2-C59D469140A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AD06F05-3903-433B-819B-F96CE91CF596}"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A857E58C-97AE-49CD-B97A-4AE61EDD56C3}">
      <dgm:prSet/>
      <dgm:spPr>
        <a:solidFill>
          <a:schemeClr val="accent3">
            <a:lumMod val="20000"/>
            <a:lumOff val="80000"/>
          </a:schemeClr>
        </a:solidFill>
        <a:ln>
          <a:noFill/>
        </a:ln>
      </dgm:spPr>
      <dgm:t>
        <a:bodyPr/>
        <a:lstStyle/>
        <a:p>
          <a:pPr rtl="0"/>
          <a:r>
            <a:rPr lang="en-US" dirty="0"/>
            <a:t>ASIC/CPU/Mem</a:t>
          </a:r>
        </a:p>
      </dgm:t>
    </dgm:pt>
    <dgm:pt modelId="{7CFB9093-54FB-41EF-8F19-CC73B6679103}" type="parTrans" cxnId="{5A39FCF3-AD21-4C63-B500-12FEC3752B92}">
      <dgm:prSet/>
      <dgm:spPr/>
      <dgm:t>
        <a:bodyPr/>
        <a:lstStyle/>
        <a:p>
          <a:endParaRPr lang="en-US"/>
        </a:p>
      </dgm:t>
    </dgm:pt>
    <dgm:pt modelId="{86CA84AA-D830-417D-BF7F-4979D17CBEAE}" type="sibTrans" cxnId="{5A39FCF3-AD21-4C63-B500-12FEC3752B92}">
      <dgm:prSet/>
      <dgm:spPr/>
      <dgm:t>
        <a:bodyPr/>
        <a:lstStyle/>
        <a:p>
          <a:endParaRPr lang="en-US"/>
        </a:p>
      </dgm:t>
    </dgm:pt>
    <dgm:pt modelId="{7931435D-86CC-4E5F-AEA6-654DD645A9D0}">
      <dgm:prSet/>
      <dgm:spPr>
        <a:solidFill>
          <a:srgbClr val="D1E6F7">
            <a:alpha val="90000"/>
          </a:srgbClr>
        </a:solidFill>
        <a:ln>
          <a:noFill/>
        </a:ln>
      </dgm:spPr>
      <dgm:t>
        <a:bodyPr/>
        <a:lstStyle/>
        <a:p>
          <a:pPr rtl="0"/>
          <a:r>
            <a:rPr lang="en-US" dirty="0"/>
            <a:t>800 </a:t>
          </a:r>
          <a:r>
            <a:rPr lang="en-US" dirty="0" err="1"/>
            <a:t>Gbps</a:t>
          </a:r>
          <a:r>
            <a:rPr lang="en-US" dirty="0"/>
            <a:t> BCOM, Intel Broadwell 4C 1.8GHz CPU</a:t>
          </a:r>
        </a:p>
      </dgm:t>
    </dgm:pt>
    <dgm:pt modelId="{B0381B90-A790-4E10-9BB6-1081D6ED3F9B}" type="parTrans" cxnId="{FD4AC943-CC0C-421B-9E55-E4A36E6FB31B}">
      <dgm:prSet/>
      <dgm:spPr/>
      <dgm:t>
        <a:bodyPr/>
        <a:lstStyle/>
        <a:p>
          <a:endParaRPr lang="en-US"/>
        </a:p>
      </dgm:t>
    </dgm:pt>
    <dgm:pt modelId="{18F1ED80-9C2A-4BD8-861D-545F84CFB19A}" type="sibTrans" cxnId="{FD4AC943-CC0C-421B-9E55-E4A36E6FB31B}">
      <dgm:prSet/>
      <dgm:spPr/>
      <dgm:t>
        <a:bodyPr/>
        <a:lstStyle/>
        <a:p>
          <a:endParaRPr lang="en-US"/>
        </a:p>
      </dgm:t>
    </dgm:pt>
    <dgm:pt modelId="{645FAC24-FB5E-48D3-BABD-F14E732D5739}">
      <dgm:prSet/>
      <dgm:spPr>
        <a:solidFill>
          <a:srgbClr val="D1E6F7">
            <a:alpha val="90000"/>
          </a:srgbClr>
        </a:solidFill>
        <a:ln>
          <a:noFill/>
        </a:ln>
      </dgm:spPr>
      <dgm:t>
        <a:bodyPr/>
        <a:lstStyle/>
        <a:p>
          <a:pPr rtl="0"/>
          <a:r>
            <a:rPr lang="en-US" dirty="0"/>
            <a:t>32GB RAM, 128G SSD </a:t>
          </a:r>
        </a:p>
      </dgm:t>
    </dgm:pt>
    <dgm:pt modelId="{6D290A9C-A74D-4D98-B7FF-361F69BAC7C2}" type="parTrans" cxnId="{06F737A8-5A9D-47CB-B9C8-EB945A0CD654}">
      <dgm:prSet/>
      <dgm:spPr/>
      <dgm:t>
        <a:bodyPr/>
        <a:lstStyle/>
        <a:p>
          <a:endParaRPr lang="en-US"/>
        </a:p>
      </dgm:t>
    </dgm:pt>
    <dgm:pt modelId="{CF193FCC-1ACA-485C-8B58-5A73B80825CF}" type="sibTrans" cxnId="{06F737A8-5A9D-47CB-B9C8-EB945A0CD654}">
      <dgm:prSet/>
      <dgm:spPr/>
      <dgm:t>
        <a:bodyPr/>
        <a:lstStyle/>
        <a:p>
          <a:endParaRPr lang="en-US"/>
        </a:p>
      </dgm:t>
    </dgm:pt>
    <dgm:pt modelId="{3BBE5F78-935B-42C9-B573-16AC714B10F1}">
      <dgm:prSet/>
      <dgm:spPr>
        <a:solidFill>
          <a:schemeClr val="accent3">
            <a:lumMod val="20000"/>
            <a:lumOff val="80000"/>
          </a:schemeClr>
        </a:solidFill>
        <a:ln>
          <a:noFill/>
        </a:ln>
      </dgm:spPr>
      <dgm:t>
        <a:bodyPr/>
        <a:lstStyle/>
        <a:p>
          <a:pPr rtl="0"/>
          <a:r>
            <a:rPr lang="en-US"/>
            <a:t>Port Config</a:t>
          </a:r>
        </a:p>
      </dgm:t>
    </dgm:pt>
    <dgm:pt modelId="{EE14023B-C2BA-4331-9C36-5E19183E6AEE}" type="parTrans" cxnId="{C62A1EDA-3826-44A9-9335-C8E7552C4330}">
      <dgm:prSet/>
      <dgm:spPr/>
      <dgm:t>
        <a:bodyPr/>
        <a:lstStyle/>
        <a:p>
          <a:endParaRPr lang="en-US"/>
        </a:p>
      </dgm:t>
    </dgm:pt>
    <dgm:pt modelId="{F495C1DF-00CA-4806-8848-4DB4430BC0E5}" type="sibTrans" cxnId="{C62A1EDA-3826-44A9-9335-C8E7552C4330}">
      <dgm:prSet/>
      <dgm:spPr/>
      <dgm:t>
        <a:bodyPr/>
        <a:lstStyle/>
        <a:p>
          <a:endParaRPr lang="en-US"/>
        </a:p>
      </dgm:t>
    </dgm:pt>
    <dgm:pt modelId="{19AFF552-528C-4877-97A3-12FC6BD54D90}">
      <dgm:prSet/>
      <dgm:spPr>
        <a:solidFill>
          <a:srgbClr val="D1E6F7">
            <a:alpha val="90000"/>
          </a:srgbClr>
        </a:solidFill>
        <a:ln>
          <a:noFill/>
        </a:ln>
      </dgm:spPr>
      <dgm:t>
        <a:bodyPr/>
        <a:lstStyle/>
        <a:p>
          <a:pPr rtl="0"/>
          <a:r>
            <a:rPr lang="en-US" dirty="0"/>
            <a:t>Modular. 4 x 100G QSFP28, 32 x 10G SFP+ or 72 x 1G CSFP</a:t>
          </a:r>
        </a:p>
      </dgm:t>
    </dgm:pt>
    <dgm:pt modelId="{269718FA-B77B-41E9-B6BC-51C9841D86BE}" type="parTrans" cxnId="{309C19EB-8138-496D-9EB7-437788006B10}">
      <dgm:prSet/>
      <dgm:spPr/>
      <dgm:t>
        <a:bodyPr/>
        <a:lstStyle/>
        <a:p>
          <a:endParaRPr lang="en-US"/>
        </a:p>
      </dgm:t>
    </dgm:pt>
    <dgm:pt modelId="{CBC002CF-AA4E-4F12-AA57-C4D942495BB3}" type="sibTrans" cxnId="{309C19EB-8138-496D-9EB7-437788006B10}">
      <dgm:prSet/>
      <dgm:spPr/>
      <dgm:t>
        <a:bodyPr/>
        <a:lstStyle/>
        <a:p>
          <a:endParaRPr lang="en-US"/>
        </a:p>
      </dgm:t>
    </dgm:pt>
    <dgm:pt modelId="{EFE837F0-2D9A-4CDF-A1D4-4A926913B307}">
      <dgm:prSet/>
      <dgm:spPr>
        <a:solidFill>
          <a:schemeClr val="accent3">
            <a:lumMod val="20000"/>
            <a:lumOff val="80000"/>
          </a:schemeClr>
        </a:solidFill>
        <a:ln>
          <a:noFill/>
        </a:ln>
      </dgm:spPr>
      <dgm:t>
        <a:bodyPr/>
        <a:lstStyle/>
        <a:p>
          <a:pPr rtl="0"/>
          <a:r>
            <a:rPr lang="en-US" dirty="0"/>
            <a:t>PSU/Fan</a:t>
          </a:r>
        </a:p>
      </dgm:t>
    </dgm:pt>
    <dgm:pt modelId="{F39B6D33-5DF0-4159-B422-777B81F4DA77}" type="parTrans" cxnId="{CA5F7EB3-BE12-4A94-A8CB-1A7697C6DE1F}">
      <dgm:prSet/>
      <dgm:spPr/>
      <dgm:t>
        <a:bodyPr/>
        <a:lstStyle/>
        <a:p>
          <a:endParaRPr lang="en-US"/>
        </a:p>
      </dgm:t>
    </dgm:pt>
    <dgm:pt modelId="{ECFD24B6-B38D-471B-8241-123E8F706492}" type="sibTrans" cxnId="{CA5F7EB3-BE12-4A94-A8CB-1A7697C6DE1F}">
      <dgm:prSet/>
      <dgm:spPr/>
      <dgm:t>
        <a:bodyPr/>
        <a:lstStyle/>
        <a:p>
          <a:endParaRPr lang="en-US"/>
        </a:p>
      </dgm:t>
    </dgm:pt>
    <dgm:pt modelId="{8E7316BF-1222-45EA-ABE1-78CBE16193B1}">
      <dgm:prSet/>
      <dgm:spPr>
        <a:solidFill>
          <a:srgbClr val="D1E6F7">
            <a:alpha val="90000"/>
          </a:srgbClr>
        </a:solidFill>
        <a:ln>
          <a:noFill/>
        </a:ln>
      </dgm:spPr>
      <dgm:t>
        <a:bodyPr/>
        <a:lstStyle/>
        <a:p>
          <a:pPr rtl="0"/>
          <a:r>
            <a:rPr lang="en-US" dirty="0"/>
            <a:t>Modular &amp; redundant PSUs and fans</a:t>
          </a:r>
        </a:p>
      </dgm:t>
    </dgm:pt>
    <dgm:pt modelId="{73E5A098-945B-4C78-AD53-C2C174F65149}" type="parTrans" cxnId="{5B239AD3-85FB-4C47-9CAB-2AF559CA73E6}">
      <dgm:prSet/>
      <dgm:spPr/>
      <dgm:t>
        <a:bodyPr/>
        <a:lstStyle/>
        <a:p>
          <a:endParaRPr lang="en-US"/>
        </a:p>
      </dgm:t>
    </dgm:pt>
    <dgm:pt modelId="{2DACA4EF-6F12-46A5-B1F1-21EA4A20873D}" type="sibTrans" cxnId="{5B239AD3-85FB-4C47-9CAB-2AF559CA73E6}">
      <dgm:prSet/>
      <dgm:spPr/>
      <dgm:t>
        <a:bodyPr/>
        <a:lstStyle/>
        <a:p>
          <a:endParaRPr lang="en-US"/>
        </a:p>
      </dgm:t>
    </dgm:pt>
    <dgm:pt modelId="{7EEF4263-4E6E-4004-960E-3E3E9468A3AC}">
      <dgm:prSet/>
      <dgm:spPr>
        <a:solidFill>
          <a:schemeClr val="accent3">
            <a:lumMod val="20000"/>
            <a:lumOff val="80000"/>
          </a:schemeClr>
        </a:solidFill>
        <a:ln>
          <a:noFill/>
        </a:ln>
      </dgm:spPr>
      <dgm:t>
        <a:bodyPr/>
        <a:lstStyle/>
        <a:p>
          <a:pPr rtl="0"/>
          <a:r>
            <a:rPr lang="en-US" dirty="0"/>
            <a:t>Temp Range</a:t>
          </a:r>
        </a:p>
      </dgm:t>
    </dgm:pt>
    <dgm:pt modelId="{7A13DF79-CCAA-4E59-AC08-5B2E4EED69BF}" type="parTrans" cxnId="{E5CF5CDD-012A-4955-AA75-58B4E09FAB96}">
      <dgm:prSet/>
      <dgm:spPr/>
      <dgm:t>
        <a:bodyPr/>
        <a:lstStyle/>
        <a:p>
          <a:endParaRPr lang="en-US"/>
        </a:p>
      </dgm:t>
    </dgm:pt>
    <dgm:pt modelId="{4CE6DE60-F69C-4621-8578-4D44E879034E}" type="sibTrans" cxnId="{E5CF5CDD-012A-4955-AA75-58B4E09FAB96}">
      <dgm:prSet/>
      <dgm:spPr/>
      <dgm:t>
        <a:bodyPr/>
        <a:lstStyle/>
        <a:p>
          <a:endParaRPr lang="en-US"/>
        </a:p>
      </dgm:t>
    </dgm:pt>
    <dgm:pt modelId="{3F619E9B-7592-4D0E-9488-8A5B974A1666}">
      <dgm:prSet/>
      <dgm:spPr>
        <a:solidFill>
          <a:srgbClr val="D1E6F7">
            <a:alpha val="90000"/>
          </a:srgbClr>
        </a:solidFill>
        <a:ln>
          <a:noFill/>
        </a:ln>
      </dgm:spPr>
      <dgm:t>
        <a:bodyPr/>
        <a:lstStyle/>
        <a:p>
          <a:pPr rtl="0"/>
          <a:r>
            <a:rPr lang="en-US" dirty="0" err="1"/>
            <a:t>iTemp</a:t>
          </a:r>
          <a:r>
            <a:rPr lang="en-US" dirty="0"/>
            <a:t> 40C to +65C</a:t>
          </a:r>
        </a:p>
      </dgm:t>
    </dgm:pt>
    <dgm:pt modelId="{0D2C2944-594A-4519-9F06-1D0E1C1376FF}" type="parTrans" cxnId="{DE7906F5-3B68-4298-876A-FF154F8BB589}">
      <dgm:prSet/>
      <dgm:spPr/>
      <dgm:t>
        <a:bodyPr/>
        <a:lstStyle/>
        <a:p>
          <a:endParaRPr lang="en-US"/>
        </a:p>
      </dgm:t>
    </dgm:pt>
    <dgm:pt modelId="{EA1A8E51-D814-4655-B17C-2C181E2F44C0}" type="sibTrans" cxnId="{DE7906F5-3B68-4298-876A-FF154F8BB589}">
      <dgm:prSet/>
      <dgm:spPr/>
      <dgm:t>
        <a:bodyPr/>
        <a:lstStyle/>
        <a:p>
          <a:endParaRPr lang="en-US"/>
        </a:p>
      </dgm:t>
    </dgm:pt>
    <dgm:pt modelId="{00D4706A-CCA3-4E9F-8C3E-CF0DDD79D9A2}">
      <dgm:prSet/>
      <dgm:spPr>
        <a:solidFill>
          <a:srgbClr val="D1E6F7">
            <a:alpha val="90000"/>
          </a:srgbClr>
        </a:solidFill>
        <a:ln>
          <a:noFill/>
        </a:ln>
      </dgm:spPr>
      <dgm:t>
        <a:bodyPr/>
        <a:lstStyle/>
        <a:p>
          <a:pPr rtl="0"/>
          <a:r>
            <a:rPr lang="en-US" dirty="0"/>
            <a:t>Conformal coated SKU’s for hot humid conditions</a:t>
          </a:r>
        </a:p>
      </dgm:t>
    </dgm:pt>
    <dgm:pt modelId="{7BBEC611-1C42-449E-9EBA-CB57EDD32757}" type="parTrans" cxnId="{DB3E3202-BCA7-4684-B726-DFE2D2250AC2}">
      <dgm:prSet/>
      <dgm:spPr/>
      <dgm:t>
        <a:bodyPr/>
        <a:lstStyle/>
        <a:p>
          <a:endParaRPr lang="en-US"/>
        </a:p>
      </dgm:t>
    </dgm:pt>
    <dgm:pt modelId="{1964B2D3-B48E-432D-8C5D-A7D0C0C0E005}" type="sibTrans" cxnId="{DB3E3202-BCA7-4684-B726-DFE2D2250AC2}">
      <dgm:prSet/>
      <dgm:spPr/>
      <dgm:t>
        <a:bodyPr/>
        <a:lstStyle/>
        <a:p>
          <a:endParaRPr lang="en-US"/>
        </a:p>
      </dgm:t>
    </dgm:pt>
    <dgm:pt modelId="{5EA9DA79-28E7-45D4-871A-EF76EE70709D}">
      <dgm:prSet/>
      <dgm:spPr>
        <a:solidFill>
          <a:schemeClr val="accent3">
            <a:lumMod val="20000"/>
            <a:lumOff val="80000"/>
          </a:schemeClr>
        </a:solidFill>
        <a:ln>
          <a:noFill/>
        </a:ln>
      </dgm:spPr>
      <dgm:t>
        <a:bodyPr/>
        <a:lstStyle/>
        <a:p>
          <a:pPr rtl="0"/>
          <a:r>
            <a:rPr lang="en-US"/>
            <a:t>Software </a:t>
          </a:r>
          <a:endParaRPr lang="en-US" dirty="0"/>
        </a:p>
      </dgm:t>
    </dgm:pt>
    <dgm:pt modelId="{974B947A-5332-4D17-9DC4-3924DFDB2080}" type="parTrans" cxnId="{C7A1E8A9-7E9B-4846-9A99-9A8E761214B3}">
      <dgm:prSet/>
      <dgm:spPr/>
      <dgm:t>
        <a:bodyPr/>
        <a:lstStyle/>
        <a:p>
          <a:endParaRPr lang="en-US"/>
        </a:p>
      </dgm:t>
    </dgm:pt>
    <dgm:pt modelId="{CF883CA7-B12F-4964-961F-BA435C55BCFC}" type="sibTrans" cxnId="{C7A1E8A9-7E9B-4846-9A99-9A8E761214B3}">
      <dgm:prSet/>
      <dgm:spPr/>
      <dgm:t>
        <a:bodyPr/>
        <a:lstStyle/>
        <a:p>
          <a:endParaRPr lang="en-US"/>
        </a:p>
      </dgm:t>
    </dgm:pt>
    <dgm:pt modelId="{C38B58B5-12D3-4A51-B860-16C18A107601}">
      <dgm:prSet/>
      <dgm:spPr>
        <a:solidFill>
          <a:srgbClr val="D1E6F7">
            <a:alpha val="90000"/>
          </a:srgbClr>
        </a:solidFill>
        <a:ln>
          <a:noFill/>
        </a:ln>
      </dgm:spPr>
      <dgm:t>
        <a:bodyPr/>
        <a:lstStyle/>
        <a:p>
          <a:pPr rtl="0"/>
          <a:r>
            <a:rPr lang="en-US" dirty="0"/>
            <a:t>FCS 64 bit IOS XR 6.6.25  (GA, NCS 540, NCS 5500 parity)</a:t>
          </a:r>
        </a:p>
      </dgm:t>
    </dgm:pt>
    <dgm:pt modelId="{D2454DE5-9BA9-4680-8918-DD86BC2131C0}" type="parTrans" cxnId="{058CD167-1915-429C-BF36-B12F4165BCC1}">
      <dgm:prSet/>
      <dgm:spPr/>
      <dgm:t>
        <a:bodyPr/>
        <a:lstStyle/>
        <a:p>
          <a:endParaRPr lang="en-US"/>
        </a:p>
      </dgm:t>
    </dgm:pt>
    <dgm:pt modelId="{73EEC26C-9C9C-433E-9189-7BE729F08491}" type="sibTrans" cxnId="{058CD167-1915-429C-BF36-B12F4165BCC1}">
      <dgm:prSet/>
      <dgm:spPr/>
      <dgm:t>
        <a:bodyPr/>
        <a:lstStyle/>
        <a:p>
          <a:endParaRPr lang="en-US"/>
        </a:p>
      </dgm:t>
    </dgm:pt>
    <dgm:pt modelId="{CAD1E296-2682-47CC-800C-9990CDFB477D}">
      <dgm:prSet/>
      <dgm:spPr>
        <a:solidFill>
          <a:schemeClr val="accent3">
            <a:lumMod val="20000"/>
            <a:lumOff val="80000"/>
          </a:schemeClr>
        </a:solidFill>
        <a:ln>
          <a:noFill/>
        </a:ln>
      </dgm:spPr>
      <dgm:t>
        <a:bodyPr/>
        <a:lstStyle/>
        <a:p>
          <a:pPr rtl="0"/>
          <a:r>
            <a:rPr lang="en-US" dirty="0"/>
            <a:t>Programmability</a:t>
          </a:r>
        </a:p>
      </dgm:t>
    </dgm:pt>
    <dgm:pt modelId="{3ED3BF94-A4FA-4E76-85CC-172A6BABD1D3}" type="parTrans" cxnId="{24E03AB5-550A-4598-8896-7EE6F013BB5A}">
      <dgm:prSet/>
      <dgm:spPr/>
      <dgm:t>
        <a:bodyPr/>
        <a:lstStyle/>
        <a:p>
          <a:endParaRPr lang="en-US"/>
        </a:p>
      </dgm:t>
    </dgm:pt>
    <dgm:pt modelId="{31AD0500-64E9-4868-91FC-25409F333D90}" type="sibTrans" cxnId="{24E03AB5-550A-4598-8896-7EE6F013BB5A}">
      <dgm:prSet/>
      <dgm:spPr/>
      <dgm:t>
        <a:bodyPr/>
        <a:lstStyle/>
        <a:p>
          <a:endParaRPr lang="en-US"/>
        </a:p>
      </dgm:t>
    </dgm:pt>
    <dgm:pt modelId="{1A0A2AA1-69D5-4E14-A15E-0D5DB2762F19}">
      <dgm:prSet/>
      <dgm:spPr>
        <a:solidFill>
          <a:schemeClr val="accent3">
            <a:lumMod val="20000"/>
            <a:lumOff val="80000"/>
          </a:schemeClr>
        </a:solidFill>
        <a:ln>
          <a:noFill/>
        </a:ln>
      </dgm:spPr>
      <dgm:t>
        <a:bodyPr/>
        <a:lstStyle/>
        <a:p>
          <a:pPr rtl="0"/>
          <a:r>
            <a:rPr lang="en-US" dirty="0"/>
            <a:t>Timing</a:t>
          </a:r>
        </a:p>
      </dgm:t>
    </dgm:pt>
    <dgm:pt modelId="{9EAEA37A-A80A-4B0B-86C0-F7BC883CD3FA}" type="parTrans" cxnId="{504908DB-3FC9-4C05-9B55-989A070DC9BD}">
      <dgm:prSet/>
      <dgm:spPr/>
      <dgm:t>
        <a:bodyPr/>
        <a:lstStyle/>
        <a:p>
          <a:endParaRPr lang="en-US"/>
        </a:p>
      </dgm:t>
    </dgm:pt>
    <dgm:pt modelId="{1BC57049-2068-4AC0-BFB4-94C5D69D5D48}" type="sibTrans" cxnId="{504908DB-3FC9-4C05-9B55-989A070DC9BD}">
      <dgm:prSet/>
      <dgm:spPr/>
      <dgm:t>
        <a:bodyPr/>
        <a:lstStyle/>
        <a:p>
          <a:endParaRPr lang="en-US"/>
        </a:p>
      </dgm:t>
    </dgm:pt>
    <dgm:pt modelId="{CD757011-5728-4BF4-853F-70E13533E937}">
      <dgm:prSet/>
      <dgm:spPr>
        <a:solidFill>
          <a:srgbClr val="D1E6F7">
            <a:alpha val="90000"/>
          </a:srgbClr>
        </a:solidFill>
        <a:ln>
          <a:noFill/>
        </a:ln>
      </dgm:spPr>
      <dgm:t>
        <a:bodyPr/>
        <a:lstStyle/>
        <a:p>
          <a:pPr rtl="0"/>
          <a:r>
            <a:rPr lang="en-US" dirty="0"/>
            <a:t>1PPS in/out, 10Mhz in/out, </a:t>
          </a:r>
          <a:r>
            <a:rPr lang="en-US" dirty="0" err="1"/>
            <a:t>ToD</a:t>
          </a:r>
          <a:r>
            <a:rPr lang="en-US" dirty="0"/>
            <a:t>, Internal GNSS, External GNSS</a:t>
          </a:r>
        </a:p>
      </dgm:t>
    </dgm:pt>
    <dgm:pt modelId="{4FA3D885-C227-4859-BFAF-3178421AB4D0}" type="parTrans" cxnId="{D5DBFA3D-7122-43F1-AD34-4F94C6F7E5DE}">
      <dgm:prSet/>
      <dgm:spPr/>
      <dgm:t>
        <a:bodyPr/>
        <a:lstStyle/>
        <a:p>
          <a:endParaRPr lang="en-US"/>
        </a:p>
      </dgm:t>
    </dgm:pt>
    <dgm:pt modelId="{1F91DA92-BB7C-4DFA-AAAA-66381A48E26F}" type="sibTrans" cxnId="{D5DBFA3D-7122-43F1-AD34-4F94C6F7E5DE}">
      <dgm:prSet/>
      <dgm:spPr/>
      <dgm:t>
        <a:bodyPr/>
        <a:lstStyle/>
        <a:p>
          <a:endParaRPr lang="en-US"/>
        </a:p>
      </dgm:t>
    </dgm:pt>
    <dgm:pt modelId="{A146A60A-F6FF-403E-BD3B-788CE74740CF}">
      <dgm:prSet/>
      <dgm:spPr>
        <a:solidFill>
          <a:srgbClr val="D1E6F7">
            <a:alpha val="90000"/>
          </a:srgbClr>
        </a:solidFill>
        <a:ln>
          <a:noFill/>
        </a:ln>
      </dgm:spPr>
      <dgm:t>
        <a:bodyPr/>
        <a:lstStyle/>
        <a:p>
          <a:pPr rtl="0"/>
          <a:r>
            <a:rPr lang="en-US" dirty="0" err="1"/>
            <a:t>SyncE</a:t>
          </a:r>
          <a:r>
            <a:rPr lang="en-US" dirty="0"/>
            <a:t>, G.8265.1, G.8275.1/2, Class B BC</a:t>
          </a:r>
        </a:p>
      </dgm:t>
    </dgm:pt>
    <dgm:pt modelId="{8BEAC2C5-8B35-4C3F-B217-070C0E9C844E}" type="parTrans" cxnId="{40030A4F-8005-4146-947D-9C8861E3E758}">
      <dgm:prSet/>
      <dgm:spPr/>
      <dgm:t>
        <a:bodyPr/>
        <a:lstStyle/>
        <a:p>
          <a:endParaRPr lang="en-US"/>
        </a:p>
      </dgm:t>
    </dgm:pt>
    <dgm:pt modelId="{7D01D85C-72AB-4F06-920F-F174E2039C49}" type="sibTrans" cxnId="{40030A4F-8005-4146-947D-9C8861E3E758}">
      <dgm:prSet/>
      <dgm:spPr/>
      <dgm:t>
        <a:bodyPr/>
        <a:lstStyle/>
        <a:p>
          <a:endParaRPr lang="en-US"/>
        </a:p>
      </dgm:t>
    </dgm:pt>
    <dgm:pt modelId="{58778B0D-E6FC-4549-BD07-E10245BE0A60}">
      <dgm:prSet/>
      <dgm:spPr>
        <a:solidFill>
          <a:srgbClr val="D1E6F7">
            <a:alpha val="90000"/>
          </a:srgbClr>
        </a:solidFill>
        <a:ln>
          <a:noFill/>
        </a:ln>
      </dgm:spPr>
      <dgm:t>
        <a:bodyPr/>
        <a:lstStyle/>
        <a:p>
          <a:pPr rtl="0"/>
          <a:r>
            <a:rPr lang="en-US" dirty="0" err="1"/>
            <a:t>Netconf</a:t>
          </a:r>
          <a:r>
            <a:rPr lang="en-US" dirty="0"/>
            <a:t> yang, </a:t>
          </a:r>
          <a:r>
            <a:rPr lang="en-US" dirty="0" err="1"/>
            <a:t>Restconf</a:t>
          </a:r>
          <a:r>
            <a:rPr lang="en-US" dirty="0"/>
            <a:t>, BGP-LS, PCEP</a:t>
          </a:r>
        </a:p>
      </dgm:t>
    </dgm:pt>
    <dgm:pt modelId="{5AB44AEA-B7E4-4C3A-BCEE-661ACE6A3D12}" type="parTrans" cxnId="{FD0D646A-2290-46DD-8F9F-6A5A93C6F20F}">
      <dgm:prSet/>
      <dgm:spPr/>
      <dgm:t>
        <a:bodyPr/>
        <a:lstStyle/>
        <a:p>
          <a:endParaRPr lang="en-US"/>
        </a:p>
      </dgm:t>
    </dgm:pt>
    <dgm:pt modelId="{9573029D-EB61-4559-A422-AF1CCF6CF495}" type="sibTrans" cxnId="{FD0D646A-2290-46DD-8F9F-6A5A93C6F20F}">
      <dgm:prSet/>
      <dgm:spPr/>
      <dgm:t>
        <a:bodyPr/>
        <a:lstStyle/>
        <a:p>
          <a:endParaRPr lang="en-US"/>
        </a:p>
      </dgm:t>
    </dgm:pt>
    <dgm:pt modelId="{9D07F8D7-E342-4E09-950B-898E7B9F8D82}">
      <dgm:prSet/>
      <dgm:spPr>
        <a:solidFill>
          <a:srgbClr val="D1E6F7">
            <a:alpha val="90000"/>
          </a:srgbClr>
        </a:solidFill>
        <a:ln>
          <a:noFill/>
        </a:ln>
      </dgm:spPr>
      <dgm:t>
        <a:bodyPr/>
        <a:lstStyle/>
        <a:p>
          <a:pPr rtl="0"/>
          <a:r>
            <a:rPr lang="en-US" dirty="0"/>
            <a:t>XTC Integration</a:t>
          </a:r>
        </a:p>
      </dgm:t>
    </dgm:pt>
    <dgm:pt modelId="{2F97C639-6AD5-4EF5-87FA-0B49427AA592}" type="parTrans" cxnId="{71FB5D2D-A976-4D30-9229-2B3F46E1D76D}">
      <dgm:prSet/>
      <dgm:spPr/>
      <dgm:t>
        <a:bodyPr/>
        <a:lstStyle/>
        <a:p>
          <a:endParaRPr lang="en-US"/>
        </a:p>
      </dgm:t>
    </dgm:pt>
    <dgm:pt modelId="{494DB1AF-E53C-4CF4-A775-2A1A4B3081CC}" type="sibTrans" cxnId="{71FB5D2D-A976-4D30-9229-2B3F46E1D76D}">
      <dgm:prSet/>
      <dgm:spPr/>
      <dgm:t>
        <a:bodyPr/>
        <a:lstStyle/>
        <a:p>
          <a:endParaRPr lang="en-US"/>
        </a:p>
      </dgm:t>
    </dgm:pt>
    <dgm:pt modelId="{84B6F318-F249-47A7-B863-1DCB043E2923}">
      <dgm:prSet/>
      <dgm:spPr>
        <a:solidFill>
          <a:schemeClr val="accent3">
            <a:lumMod val="20000"/>
            <a:lumOff val="80000"/>
          </a:schemeClr>
        </a:solidFill>
        <a:ln>
          <a:noFill/>
        </a:ln>
      </dgm:spPr>
      <dgm:t>
        <a:bodyPr/>
        <a:lstStyle/>
        <a:p>
          <a:pPr rtl="0"/>
          <a:r>
            <a:rPr lang="en-US" dirty="0"/>
            <a:t>Service Scale*</a:t>
          </a:r>
        </a:p>
      </dgm:t>
    </dgm:pt>
    <dgm:pt modelId="{F0CB68FD-3ADB-40A7-90FE-A9712E5FF0C5}" type="parTrans" cxnId="{4612FEFE-DCCA-4CBA-ABA0-529E15B54A39}">
      <dgm:prSet/>
      <dgm:spPr/>
      <dgm:t>
        <a:bodyPr/>
        <a:lstStyle/>
        <a:p>
          <a:endParaRPr lang="en-US"/>
        </a:p>
      </dgm:t>
    </dgm:pt>
    <dgm:pt modelId="{E0668F7F-2AB5-4168-8F33-48790C1AB099}" type="sibTrans" cxnId="{4612FEFE-DCCA-4CBA-ABA0-529E15B54A39}">
      <dgm:prSet/>
      <dgm:spPr/>
      <dgm:t>
        <a:bodyPr/>
        <a:lstStyle/>
        <a:p>
          <a:endParaRPr lang="en-US"/>
        </a:p>
      </dgm:t>
    </dgm:pt>
    <dgm:pt modelId="{8C91E56A-0109-4EAC-9D0C-F8D6E9E81F6C}">
      <dgm:prSet/>
      <dgm:spPr>
        <a:solidFill>
          <a:srgbClr val="D1E6F7">
            <a:alpha val="90000"/>
          </a:srgbClr>
        </a:solidFill>
        <a:ln>
          <a:noFill/>
        </a:ln>
      </dgm:spPr>
      <dgm:t>
        <a:bodyPr/>
        <a:lstStyle/>
        <a:p>
          <a:pPr rtl="0"/>
          <a:r>
            <a:rPr lang="en-US" dirty="0"/>
            <a:t>2M v4/v6 prefixes, 1K VRF, 8K Bridge Doman, 8K VFI, 16K EFP/EVC, 256K MAC, 26K Queues, 10K Policers</a:t>
          </a:r>
        </a:p>
      </dgm:t>
    </dgm:pt>
    <dgm:pt modelId="{4139C3C0-D755-4433-974E-6279466A0B4C}" type="parTrans" cxnId="{FB086070-8266-4619-93B7-6FB54296AA25}">
      <dgm:prSet/>
      <dgm:spPr/>
      <dgm:t>
        <a:bodyPr/>
        <a:lstStyle/>
        <a:p>
          <a:endParaRPr lang="en-US"/>
        </a:p>
      </dgm:t>
    </dgm:pt>
    <dgm:pt modelId="{23F2F12C-BB4E-47F1-B19C-8E514A2B01BE}" type="sibTrans" cxnId="{FB086070-8266-4619-93B7-6FB54296AA25}">
      <dgm:prSet/>
      <dgm:spPr/>
      <dgm:t>
        <a:bodyPr/>
        <a:lstStyle/>
        <a:p>
          <a:endParaRPr lang="en-US"/>
        </a:p>
      </dgm:t>
    </dgm:pt>
    <dgm:pt modelId="{A8B85717-DBCD-42BF-A96F-C69860ABC979}">
      <dgm:prSet/>
      <dgm:spPr>
        <a:solidFill>
          <a:schemeClr val="accent3">
            <a:lumMod val="20000"/>
            <a:lumOff val="80000"/>
          </a:schemeClr>
        </a:solidFill>
        <a:ln>
          <a:noFill/>
        </a:ln>
      </dgm:spPr>
      <dgm:t>
        <a:bodyPr/>
        <a:lstStyle/>
        <a:p>
          <a:pPr rtl="0"/>
          <a:r>
            <a:rPr lang="en-US" dirty="0"/>
            <a:t>Advanced Routing</a:t>
          </a:r>
        </a:p>
      </dgm:t>
    </dgm:pt>
    <dgm:pt modelId="{E21E1424-0F85-4385-B335-9A3DA17A150A}" type="parTrans" cxnId="{E1B53315-95DD-472E-A840-7176F3065F61}">
      <dgm:prSet/>
      <dgm:spPr/>
      <dgm:t>
        <a:bodyPr/>
        <a:lstStyle/>
        <a:p>
          <a:endParaRPr lang="en-US"/>
        </a:p>
      </dgm:t>
    </dgm:pt>
    <dgm:pt modelId="{F96B0D76-6369-479B-8D4D-A850F0287E42}" type="sibTrans" cxnId="{E1B53315-95DD-472E-A840-7176F3065F61}">
      <dgm:prSet/>
      <dgm:spPr/>
      <dgm:t>
        <a:bodyPr/>
        <a:lstStyle/>
        <a:p>
          <a:endParaRPr lang="en-US"/>
        </a:p>
      </dgm:t>
    </dgm:pt>
    <dgm:pt modelId="{FE8A551D-D2F4-49E7-8B20-ADF3895BDFDC}">
      <dgm:prSet/>
      <dgm:spPr>
        <a:solidFill>
          <a:srgbClr val="D1E6F7">
            <a:alpha val="90000"/>
          </a:srgbClr>
        </a:solidFill>
        <a:ln>
          <a:noFill/>
        </a:ln>
      </dgm:spPr>
      <dgm:t>
        <a:bodyPr/>
        <a:lstStyle/>
        <a:p>
          <a:pPr rtl="0"/>
          <a:r>
            <a:rPr lang="en-US" dirty="0"/>
            <a:t>SR, SR-TE, TI-LFA, On Demand Next Hop</a:t>
          </a:r>
        </a:p>
      </dgm:t>
    </dgm:pt>
    <dgm:pt modelId="{841C4525-3678-4B4F-A1C0-CE5F53B9DE1F}" type="parTrans" cxnId="{AE4726F6-79C2-4F2E-96A7-AA8B25710857}">
      <dgm:prSet/>
      <dgm:spPr/>
      <dgm:t>
        <a:bodyPr/>
        <a:lstStyle/>
        <a:p>
          <a:endParaRPr lang="en-US"/>
        </a:p>
      </dgm:t>
    </dgm:pt>
    <dgm:pt modelId="{C57D756A-9276-449B-8B78-32DEED29086C}" type="sibTrans" cxnId="{AE4726F6-79C2-4F2E-96A7-AA8B25710857}">
      <dgm:prSet/>
      <dgm:spPr/>
      <dgm:t>
        <a:bodyPr/>
        <a:lstStyle/>
        <a:p>
          <a:endParaRPr lang="en-US"/>
        </a:p>
      </dgm:t>
    </dgm:pt>
    <dgm:pt modelId="{76DDE425-CDEB-404C-93B5-8D0C35C6C754}">
      <dgm:prSet/>
      <dgm:spPr>
        <a:solidFill>
          <a:schemeClr val="accent3">
            <a:lumMod val="20000"/>
            <a:lumOff val="80000"/>
          </a:schemeClr>
        </a:solidFill>
        <a:ln>
          <a:noFill/>
        </a:ln>
      </dgm:spPr>
      <dgm:t>
        <a:bodyPr/>
        <a:lstStyle/>
        <a:p>
          <a:pPr rtl="0"/>
          <a:r>
            <a:rPr lang="en-US"/>
            <a:t>Optics</a:t>
          </a:r>
          <a:endParaRPr lang="en-US" dirty="0"/>
        </a:p>
      </dgm:t>
    </dgm:pt>
    <dgm:pt modelId="{DC22F324-4649-4A90-A5D2-E8C6277FFAA2}" type="parTrans" cxnId="{B1592F30-06EF-432D-BC59-964CFE2E82A7}">
      <dgm:prSet/>
      <dgm:spPr/>
      <dgm:t>
        <a:bodyPr/>
        <a:lstStyle/>
        <a:p>
          <a:endParaRPr lang="en-US"/>
        </a:p>
      </dgm:t>
    </dgm:pt>
    <dgm:pt modelId="{F54D5323-BA68-4B54-97B7-6CEF9C3B2BAB}" type="sibTrans" cxnId="{B1592F30-06EF-432D-BC59-964CFE2E82A7}">
      <dgm:prSet/>
      <dgm:spPr/>
      <dgm:t>
        <a:bodyPr/>
        <a:lstStyle/>
        <a:p>
          <a:endParaRPr lang="en-US"/>
        </a:p>
      </dgm:t>
    </dgm:pt>
    <dgm:pt modelId="{09C134A8-57C9-4B7A-8E61-270DDC9D80C1}">
      <dgm:prSet/>
      <dgm:spPr>
        <a:solidFill>
          <a:srgbClr val="D1E6F7">
            <a:alpha val="90000"/>
          </a:srgbClr>
        </a:solidFill>
        <a:ln>
          <a:noFill/>
        </a:ln>
      </dgm:spPr>
      <dgm:t>
        <a:bodyPr/>
        <a:lstStyle/>
        <a:p>
          <a:pPr rtl="0"/>
          <a:r>
            <a:rPr lang="en-US" dirty="0"/>
            <a:t>1/10G: BX/2BX, SR/LR/ER/ZR/DWDM SFP</a:t>
          </a:r>
        </a:p>
      </dgm:t>
    </dgm:pt>
    <dgm:pt modelId="{001AA634-5E41-4F08-878B-D2DA5F81117F}" type="parTrans" cxnId="{A8264FB5-DE6C-4AEE-9908-2AC6266BDF4D}">
      <dgm:prSet/>
      <dgm:spPr/>
      <dgm:t>
        <a:bodyPr/>
        <a:lstStyle/>
        <a:p>
          <a:endParaRPr lang="en-US"/>
        </a:p>
      </dgm:t>
    </dgm:pt>
    <dgm:pt modelId="{277E12D5-614A-41F5-8459-3239BA3C4823}" type="sibTrans" cxnId="{A8264FB5-DE6C-4AEE-9908-2AC6266BDF4D}">
      <dgm:prSet/>
      <dgm:spPr/>
      <dgm:t>
        <a:bodyPr/>
        <a:lstStyle/>
        <a:p>
          <a:endParaRPr lang="en-US"/>
        </a:p>
      </dgm:t>
    </dgm:pt>
    <dgm:pt modelId="{C722E49D-B435-4261-B5BA-09F512595731}">
      <dgm:prSet/>
      <dgm:spPr>
        <a:solidFill>
          <a:srgbClr val="D1E6F7">
            <a:alpha val="90000"/>
          </a:srgbClr>
        </a:solidFill>
        <a:ln>
          <a:noFill/>
        </a:ln>
      </dgm:spPr>
      <dgm:t>
        <a:bodyPr/>
        <a:lstStyle/>
        <a:p>
          <a:pPr rtl="0"/>
          <a:r>
            <a:rPr lang="en-US" dirty="0"/>
            <a:t>40G: SR/LR/LR4L/ER QSFP+, 100G: SR/LR/ER4L QSFP28</a:t>
          </a:r>
        </a:p>
      </dgm:t>
    </dgm:pt>
    <dgm:pt modelId="{F2CDEA4D-78F5-4E92-83B5-4D60AC2EACB3}" type="parTrans" cxnId="{50C2FC33-B2D3-440E-ABD3-96777AC6656B}">
      <dgm:prSet/>
      <dgm:spPr/>
      <dgm:t>
        <a:bodyPr/>
        <a:lstStyle/>
        <a:p>
          <a:endParaRPr lang="en-US"/>
        </a:p>
      </dgm:t>
    </dgm:pt>
    <dgm:pt modelId="{7F7532D1-2480-4EE6-A82F-D82E50DEA7CC}" type="sibTrans" cxnId="{50C2FC33-B2D3-440E-ABD3-96777AC6656B}">
      <dgm:prSet/>
      <dgm:spPr/>
      <dgm:t>
        <a:bodyPr/>
        <a:lstStyle/>
        <a:p>
          <a:endParaRPr lang="en-US"/>
        </a:p>
      </dgm:t>
    </dgm:pt>
    <dgm:pt modelId="{5D74217E-636F-8B43-B060-3886204331C5}">
      <dgm:prSet/>
      <dgm:spPr>
        <a:solidFill>
          <a:srgbClr val="D1E6F7">
            <a:alpha val="90000"/>
          </a:srgbClr>
        </a:solidFill>
        <a:ln>
          <a:noFill/>
        </a:ln>
      </dgm:spPr>
      <dgm:t>
        <a:bodyPr/>
        <a:lstStyle/>
        <a:p>
          <a:pPr rtl="0"/>
          <a:r>
            <a:rPr lang="nl-NL" dirty="0"/>
            <a:t>Side-</a:t>
          </a:r>
          <a:r>
            <a:rPr lang="nl-NL" dirty="0" err="1"/>
            <a:t>to</a:t>
          </a:r>
          <a:r>
            <a:rPr lang="nl-NL" dirty="0"/>
            <a:t>-side </a:t>
          </a:r>
          <a:r>
            <a:rPr lang="nl-NL" dirty="0" err="1"/>
            <a:t>airflow</a:t>
          </a:r>
          <a:r>
            <a:rPr lang="nl-NL" dirty="0"/>
            <a:t>. Front-</a:t>
          </a:r>
          <a:r>
            <a:rPr lang="nl-NL" dirty="0" err="1"/>
            <a:t>to</a:t>
          </a:r>
          <a:r>
            <a:rPr lang="nl-NL" dirty="0"/>
            <a:t>-back </a:t>
          </a:r>
          <a:r>
            <a:rPr lang="nl-NL" dirty="0" err="1"/>
            <a:t>airflow</a:t>
          </a:r>
          <a:r>
            <a:rPr lang="nl-NL" dirty="0"/>
            <a:t> plenum option (2RU)</a:t>
          </a:r>
          <a:endParaRPr lang="en-US" dirty="0"/>
        </a:p>
      </dgm:t>
    </dgm:pt>
    <dgm:pt modelId="{7FB3CDAB-2F6E-8545-BC0D-DF3FC543E781}" type="parTrans" cxnId="{B2206305-7ED1-1B43-91F2-BF61FEA67713}">
      <dgm:prSet/>
      <dgm:spPr/>
      <dgm:t>
        <a:bodyPr/>
        <a:lstStyle/>
        <a:p>
          <a:endParaRPr lang="en-US"/>
        </a:p>
      </dgm:t>
    </dgm:pt>
    <dgm:pt modelId="{6D63DE89-7D8E-1A4B-8C67-655DED994676}" type="sibTrans" cxnId="{B2206305-7ED1-1B43-91F2-BF61FEA67713}">
      <dgm:prSet/>
      <dgm:spPr/>
      <dgm:t>
        <a:bodyPr/>
        <a:lstStyle/>
        <a:p>
          <a:endParaRPr lang="en-US"/>
        </a:p>
      </dgm:t>
    </dgm:pt>
    <dgm:pt modelId="{5B4AEF64-28AE-485F-8316-5EC472702409}" type="pres">
      <dgm:prSet presAssocID="{DAD06F05-3903-433B-819B-F96CE91CF596}" presName="Name0" presStyleCnt="0">
        <dgm:presLayoutVars>
          <dgm:dir/>
          <dgm:animLvl val="lvl"/>
          <dgm:resizeHandles val="exact"/>
        </dgm:presLayoutVars>
      </dgm:prSet>
      <dgm:spPr/>
    </dgm:pt>
    <dgm:pt modelId="{892E7779-DCF7-49DC-B0CB-6BFF0EF6741F}" type="pres">
      <dgm:prSet presAssocID="{A857E58C-97AE-49CD-B97A-4AE61EDD56C3}" presName="linNode" presStyleCnt="0"/>
      <dgm:spPr/>
    </dgm:pt>
    <dgm:pt modelId="{75BDDF79-3035-42C9-A99F-F5B297561CD6}" type="pres">
      <dgm:prSet presAssocID="{A857E58C-97AE-49CD-B97A-4AE61EDD56C3}" presName="parentText" presStyleLbl="node1" presStyleIdx="0" presStyleCnt="10">
        <dgm:presLayoutVars>
          <dgm:chMax val="1"/>
          <dgm:bulletEnabled val="1"/>
        </dgm:presLayoutVars>
      </dgm:prSet>
      <dgm:spPr/>
    </dgm:pt>
    <dgm:pt modelId="{454F4EDA-E589-4A16-85DB-0C9792B930E7}" type="pres">
      <dgm:prSet presAssocID="{A857E58C-97AE-49CD-B97A-4AE61EDD56C3}" presName="descendantText" presStyleLbl="alignAccFollowNode1" presStyleIdx="0" presStyleCnt="10">
        <dgm:presLayoutVars>
          <dgm:bulletEnabled val="1"/>
        </dgm:presLayoutVars>
      </dgm:prSet>
      <dgm:spPr/>
    </dgm:pt>
    <dgm:pt modelId="{81BEC21C-0012-4E95-BB17-9B2AA37A90D4}" type="pres">
      <dgm:prSet presAssocID="{86CA84AA-D830-417D-BF7F-4979D17CBEAE}" presName="sp" presStyleCnt="0"/>
      <dgm:spPr/>
    </dgm:pt>
    <dgm:pt modelId="{3AB861FE-6227-4EE5-A6DA-C65C44CFB581}" type="pres">
      <dgm:prSet presAssocID="{3BBE5F78-935B-42C9-B573-16AC714B10F1}" presName="linNode" presStyleCnt="0"/>
      <dgm:spPr/>
    </dgm:pt>
    <dgm:pt modelId="{46830796-4281-4E9F-8DEE-0DD2DF16825B}" type="pres">
      <dgm:prSet presAssocID="{3BBE5F78-935B-42C9-B573-16AC714B10F1}" presName="parentText" presStyleLbl="node1" presStyleIdx="1" presStyleCnt="10">
        <dgm:presLayoutVars>
          <dgm:chMax val="1"/>
          <dgm:bulletEnabled val="1"/>
        </dgm:presLayoutVars>
      </dgm:prSet>
      <dgm:spPr/>
    </dgm:pt>
    <dgm:pt modelId="{2BDD3F66-042D-48A7-8A12-4EEFBC3BB338}" type="pres">
      <dgm:prSet presAssocID="{3BBE5F78-935B-42C9-B573-16AC714B10F1}" presName="descendantText" presStyleLbl="alignAccFollowNode1" presStyleIdx="1" presStyleCnt="10">
        <dgm:presLayoutVars>
          <dgm:bulletEnabled val="1"/>
        </dgm:presLayoutVars>
      </dgm:prSet>
      <dgm:spPr/>
    </dgm:pt>
    <dgm:pt modelId="{BCFB7EE6-BA37-4E65-98F6-BDF5A4F3F69C}" type="pres">
      <dgm:prSet presAssocID="{F495C1DF-00CA-4806-8848-4DB4430BC0E5}" presName="sp" presStyleCnt="0"/>
      <dgm:spPr/>
    </dgm:pt>
    <dgm:pt modelId="{5D8D81FC-E2E7-467C-9C14-B6D3623F36DF}" type="pres">
      <dgm:prSet presAssocID="{EFE837F0-2D9A-4CDF-A1D4-4A926913B307}" presName="linNode" presStyleCnt="0"/>
      <dgm:spPr/>
    </dgm:pt>
    <dgm:pt modelId="{101019C5-FDD6-4886-90F5-F669DD820F3A}" type="pres">
      <dgm:prSet presAssocID="{EFE837F0-2D9A-4CDF-A1D4-4A926913B307}" presName="parentText" presStyleLbl="node1" presStyleIdx="2" presStyleCnt="10">
        <dgm:presLayoutVars>
          <dgm:chMax val="1"/>
          <dgm:bulletEnabled val="1"/>
        </dgm:presLayoutVars>
      </dgm:prSet>
      <dgm:spPr/>
    </dgm:pt>
    <dgm:pt modelId="{ECB50969-2EBA-4889-BC7D-B884D0866E33}" type="pres">
      <dgm:prSet presAssocID="{EFE837F0-2D9A-4CDF-A1D4-4A926913B307}" presName="descendantText" presStyleLbl="alignAccFollowNode1" presStyleIdx="2" presStyleCnt="10">
        <dgm:presLayoutVars>
          <dgm:bulletEnabled val="1"/>
        </dgm:presLayoutVars>
      </dgm:prSet>
      <dgm:spPr/>
    </dgm:pt>
    <dgm:pt modelId="{99451625-FCC4-4B83-B889-E8DD158ED64F}" type="pres">
      <dgm:prSet presAssocID="{ECFD24B6-B38D-471B-8241-123E8F706492}" presName="sp" presStyleCnt="0"/>
      <dgm:spPr/>
    </dgm:pt>
    <dgm:pt modelId="{4B28F1C2-05BC-45C3-9269-7CE466037E26}" type="pres">
      <dgm:prSet presAssocID="{7EEF4263-4E6E-4004-960E-3E3E9468A3AC}" presName="linNode" presStyleCnt="0"/>
      <dgm:spPr/>
    </dgm:pt>
    <dgm:pt modelId="{8E64AB20-F105-400F-8F74-08B70BF50322}" type="pres">
      <dgm:prSet presAssocID="{7EEF4263-4E6E-4004-960E-3E3E9468A3AC}" presName="parentText" presStyleLbl="node1" presStyleIdx="3" presStyleCnt="10">
        <dgm:presLayoutVars>
          <dgm:chMax val="1"/>
          <dgm:bulletEnabled val="1"/>
        </dgm:presLayoutVars>
      </dgm:prSet>
      <dgm:spPr/>
    </dgm:pt>
    <dgm:pt modelId="{07C64787-2A16-432E-A9E9-C9678F3B7697}" type="pres">
      <dgm:prSet presAssocID="{7EEF4263-4E6E-4004-960E-3E3E9468A3AC}" presName="descendantText" presStyleLbl="alignAccFollowNode1" presStyleIdx="3" presStyleCnt="10">
        <dgm:presLayoutVars>
          <dgm:bulletEnabled val="1"/>
        </dgm:presLayoutVars>
      </dgm:prSet>
      <dgm:spPr/>
    </dgm:pt>
    <dgm:pt modelId="{0F34426D-C1A0-4D72-9913-BAE6F3F4B6F0}" type="pres">
      <dgm:prSet presAssocID="{4CE6DE60-F69C-4621-8578-4D44E879034E}" presName="sp" presStyleCnt="0"/>
      <dgm:spPr/>
    </dgm:pt>
    <dgm:pt modelId="{108676FA-28CB-421F-8835-8ED57B52B896}" type="pres">
      <dgm:prSet presAssocID="{76DDE425-CDEB-404C-93B5-8D0C35C6C754}" presName="linNode" presStyleCnt="0"/>
      <dgm:spPr/>
    </dgm:pt>
    <dgm:pt modelId="{5776C898-5446-41F9-AB50-6472EDBC184A}" type="pres">
      <dgm:prSet presAssocID="{76DDE425-CDEB-404C-93B5-8D0C35C6C754}" presName="parentText" presStyleLbl="node1" presStyleIdx="4" presStyleCnt="10">
        <dgm:presLayoutVars>
          <dgm:chMax val="1"/>
          <dgm:bulletEnabled val="1"/>
        </dgm:presLayoutVars>
      </dgm:prSet>
      <dgm:spPr/>
    </dgm:pt>
    <dgm:pt modelId="{1659659C-CE82-4BE1-928B-B3C52FC9FD5A}" type="pres">
      <dgm:prSet presAssocID="{76DDE425-CDEB-404C-93B5-8D0C35C6C754}" presName="descendantText" presStyleLbl="alignAccFollowNode1" presStyleIdx="4" presStyleCnt="10">
        <dgm:presLayoutVars>
          <dgm:bulletEnabled val="1"/>
        </dgm:presLayoutVars>
      </dgm:prSet>
      <dgm:spPr/>
    </dgm:pt>
    <dgm:pt modelId="{88733FFE-4DB0-4BEC-B2C2-E11BCE30AB37}" type="pres">
      <dgm:prSet presAssocID="{F54D5323-BA68-4B54-97B7-6CEF9C3B2BAB}" presName="sp" presStyleCnt="0"/>
      <dgm:spPr/>
    </dgm:pt>
    <dgm:pt modelId="{B658F943-F0FE-42EE-B0D1-1847AF1AFE1A}" type="pres">
      <dgm:prSet presAssocID="{5EA9DA79-28E7-45D4-871A-EF76EE70709D}" presName="linNode" presStyleCnt="0"/>
      <dgm:spPr/>
    </dgm:pt>
    <dgm:pt modelId="{5CE93F69-8985-4E79-AB79-F77331DDDF29}" type="pres">
      <dgm:prSet presAssocID="{5EA9DA79-28E7-45D4-871A-EF76EE70709D}" presName="parentText" presStyleLbl="node1" presStyleIdx="5" presStyleCnt="10">
        <dgm:presLayoutVars>
          <dgm:chMax val="1"/>
          <dgm:bulletEnabled val="1"/>
        </dgm:presLayoutVars>
      </dgm:prSet>
      <dgm:spPr/>
    </dgm:pt>
    <dgm:pt modelId="{8E9693D4-37B8-411A-B81B-9FF4FED4D5AC}" type="pres">
      <dgm:prSet presAssocID="{5EA9DA79-28E7-45D4-871A-EF76EE70709D}" presName="descendantText" presStyleLbl="alignAccFollowNode1" presStyleIdx="5" presStyleCnt="10">
        <dgm:presLayoutVars>
          <dgm:bulletEnabled val="1"/>
        </dgm:presLayoutVars>
      </dgm:prSet>
      <dgm:spPr/>
    </dgm:pt>
    <dgm:pt modelId="{A467D402-92CD-4BF3-87FF-475BED166A57}" type="pres">
      <dgm:prSet presAssocID="{CF883CA7-B12F-4964-961F-BA435C55BCFC}" presName="sp" presStyleCnt="0"/>
      <dgm:spPr/>
    </dgm:pt>
    <dgm:pt modelId="{5D58E42B-2060-489A-8BD9-92C85736B2EE}" type="pres">
      <dgm:prSet presAssocID="{1A0A2AA1-69D5-4E14-A15E-0D5DB2762F19}" presName="linNode" presStyleCnt="0"/>
      <dgm:spPr/>
    </dgm:pt>
    <dgm:pt modelId="{24C0A0FD-C6B1-479F-931D-3DD94F912BF2}" type="pres">
      <dgm:prSet presAssocID="{1A0A2AA1-69D5-4E14-A15E-0D5DB2762F19}" presName="parentText" presStyleLbl="node1" presStyleIdx="6" presStyleCnt="10">
        <dgm:presLayoutVars>
          <dgm:chMax val="1"/>
          <dgm:bulletEnabled val="1"/>
        </dgm:presLayoutVars>
      </dgm:prSet>
      <dgm:spPr/>
    </dgm:pt>
    <dgm:pt modelId="{BA1392D3-6B0C-439C-BF9F-5015A177764E}" type="pres">
      <dgm:prSet presAssocID="{1A0A2AA1-69D5-4E14-A15E-0D5DB2762F19}" presName="descendantText" presStyleLbl="alignAccFollowNode1" presStyleIdx="6" presStyleCnt="10">
        <dgm:presLayoutVars>
          <dgm:bulletEnabled val="1"/>
        </dgm:presLayoutVars>
      </dgm:prSet>
      <dgm:spPr/>
    </dgm:pt>
    <dgm:pt modelId="{0D217F7E-BDFD-4B07-A1EC-006DB4D9F135}" type="pres">
      <dgm:prSet presAssocID="{1BC57049-2068-4AC0-BFB4-94C5D69D5D48}" presName="sp" presStyleCnt="0"/>
      <dgm:spPr/>
    </dgm:pt>
    <dgm:pt modelId="{A3B13F0C-42F6-4A4D-A383-5362C1F40F32}" type="pres">
      <dgm:prSet presAssocID="{84B6F318-F249-47A7-B863-1DCB043E2923}" presName="linNode" presStyleCnt="0"/>
      <dgm:spPr/>
    </dgm:pt>
    <dgm:pt modelId="{DBD9D043-BD78-4105-ABCD-AD59034829C1}" type="pres">
      <dgm:prSet presAssocID="{84B6F318-F249-47A7-B863-1DCB043E2923}" presName="parentText" presStyleLbl="node1" presStyleIdx="7" presStyleCnt="10">
        <dgm:presLayoutVars>
          <dgm:chMax val="1"/>
          <dgm:bulletEnabled val="1"/>
        </dgm:presLayoutVars>
      </dgm:prSet>
      <dgm:spPr/>
    </dgm:pt>
    <dgm:pt modelId="{68C818A9-7C69-46B3-83C5-E9028463F0DA}" type="pres">
      <dgm:prSet presAssocID="{84B6F318-F249-47A7-B863-1DCB043E2923}" presName="descendantText" presStyleLbl="alignAccFollowNode1" presStyleIdx="7" presStyleCnt="10">
        <dgm:presLayoutVars>
          <dgm:bulletEnabled val="1"/>
        </dgm:presLayoutVars>
      </dgm:prSet>
      <dgm:spPr/>
    </dgm:pt>
    <dgm:pt modelId="{D7093BD5-9BFF-4606-890F-BF2368DA3BCF}" type="pres">
      <dgm:prSet presAssocID="{E0668F7F-2AB5-4168-8F33-48790C1AB099}" presName="sp" presStyleCnt="0"/>
      <dgm:spPr/>
    </dgm:pt>
    <dgm:pt modelId="{C5D7E0E2-61E4-4E51-A1DD-2D2A89E52F6C}" type="pres">
      <dgm:prSet presAssocID="{CAD1E296-2682-47CC-800C-9990CDFB477D}" presName="linNode" presStyleCnt="0"/>
      <dgm:spPr/>
    </dgm:pt>
    <dgm:pt modelId="{4A4C5A52-1AF1-43F8-890F-A795CB9EE3B8}" type="pres">
      <dgm:prSet presAssocID="{CAD1E296-2682-47CC-800C-9990CDFB477D}" presName="parentText" presStyleLbl="node1" presStyleIdx="8" presStyleCnt="10">
        <dgm:presLayoutVars>
          <dgm:chMax val="1"/>
          <dgm:bulletEnabled val="1"/>
        </dgm:presLayoutVars>
      </dgm:prSet>
      <dgm:spPr/>
    </dgm:pt>
    <dgm:pt modelId="{4C774326-18FC-4362-B585-3C2C0D44D334}" type="pres">
      <dgm:prSet presAssocID="{CAD1E296-2682-47CC-800C-9990CDFB477D}" presName="descendantText" presStyleLbl="alignAccFollowNode1" presStyleIdx="8" presStyleCnt="10">
        <dgm:presLayoutVars>
          <dgm:bulletEnabled val="1"/>
        </dgm:presLayoutVars>
      </dgm:prSet>
      <dgm:spPr/>
    </dgm:pt>
    <dgm:pt modelId="{A9A63FCD-4795-42F4-BEA2-91DAA240344D}" type="pres">
      <dgm:prSet presAssocID="{31AD0500-64E9-4868-91FC-25409F333D90}" presName="sp" presStyleCnt="0"/>
      <dgm:spPr/>
    </dgm:pt>
    <dgm:pt modelId="{F3CEA85F-1DAE-44CA-9AAA-87D78AFEE386}" type="pres">
      <dgm:prSet presAssocID="{A8B85717-DBCD-42BF-A96F-C69860ABC979}" presName="linNode" presStyleCnt="0"/>
      <dgm:spPr/>
    </dgm:pt>
    <dgm:pt modelId="{3472CCEB-485F-471F-9F94-60A4A2D722F4}" type="pres">
      <dgm:prSet presAssocID="{A8B85717-DBCD-42BF-A96F-C69860ABC979}" presName="parentText" presStyleLbl="node1" presStyleIdx="9" presStyleCnt="10">
        <dgm:presLayoutVars>
          <dgm:chMax val="1"/>
          <dgm:bulletEnabled val="1"/>
        </dgm:presLayoutVars>
      </dgm:prSet>
      <dgm:spPr/>
    </dgm:pt>
    <dgm:pt modelId="{9A1B36E4-7EC5-42E2-8C6A-D319BB2DEC48}" type="pres">
      <dgm:prSet presAssocID="{A8B85717-DBCD-42BF-A96F-C69860ABC979}" presName="descendantText" presStyleLbl="alignAccFollowNode1" presStyleIdx="9" presStyleCnt="10">
        <dgm:presLayoutVars>
          <dgm:bulletEnabled val="1"/>
        </dgm:presLayoutVars>
      </dgm:prSet>
      <dgm:spPr/>
    </dgm:pt>
  </dgm:ptLst>
  <dgm:cxnLst>
    <dgm:cxn modelId="{DB3E3202-BCA7-4684-B726-DFE2D2250AC2}" srcId="{7EEF4263-4E6E-4004-960E-3E3E9468A3AC}" destId="{00D4706A-CCA3-4E9F-8C3E-CF0DDD79D9A2}" srcOrd="1" destOrd="0" parTransId="{7BBEC611-1C42-449E-9EBA-CB57EDD32757}" sibTransId="{1964B2D3-B48E-432D-8C5D-A7D0C0C0E005}"/>
    <dgm:cxn modelId="{14CA9602-4FF8-4A6B-AE1B-F6103C3EF62F}" type="presOf" srcId="{9D07F8D7-E342-4E09-950B-898E7B9F8D82}" destId="{4C774326-18FC-4362-B585-3C2C0D44D334}" srcOrd="0" destOrd="1" presId="urn:microsoft.com/office/officeart/2005/8/layout/vList5"/>
    <dgm:cxn modelId="{8E384F03-F82E-4A97-9EAA-D5DA2820E5C9}" type="presOf" srcId="{EFE837F0-2D9A-4CDF-A1D4-4A926913B307}" destId="{101019C5-FDD6-4886-90F5-F669DD820F3A}" srcOrd="0" destOrd="0" presId="urn:microsoft.com/office/officeart/2005/8/layout/vList5"/>
    <dgm:cxn modelId="{B2206305-7ED1-1B43-91F2-BF61FEA67713}" srcId="{EFE837F0-2D9A-4CDF-A1D4-4A926913B307}" destId="{5D74217E-636F-8B43-B060-3886204331C5}" srcOrd="1" destOrd="0" parTransId="{7FB3CDAB-2F6E-8545-BC0D-DF3FC543E781}" sibTransId="{6D63DE89-7D8E-1A4B-8C67-655DED994676}"/>
    <dgm:cxn modelId="{405B5607-6406-4E7F-8814-0D48840C7632}" type="presOf" srcId="{09C134A8-57C9-4B7A-8E61-270DDC9D80C1}" destId="{1659659C-CE82-4BE1-928B-B3C52FC9FD5A}" srcOrd="0" destOrd="0" presId="urn:microsoft.com/office/officeart/2005/8/layout/vList5"/>
    <dgm:cxn modelId="{E1B53315-95DD-472E-A840-7176F3065F61}" srcId="{DAD06F05-3903-433B-819B-F96CE91CF596}" destId="{A8B85717-DBCD-42BF-A96F-C69860ABC979}" srcOrd="9" destOrd="0" parTransId="{E21E1424-0F85-4385-B335-9A3DA17A150A}" sibTransId="{F96B0D76-6369-479B-8D4D-A850F0287E42}"/>
    <dgm:cxn modelId="{5A10F72B-B70F-4047-833D-DF0ADBB6CAE9}" type="presOf" srcId="{DAD06F05-3903-433B-819B-F96CE91CF596}" destId="{5B4AEF64-28AE-485F-8316-5EC472702409}" srcOrd="0" destOrd="0" presId="urn:microsoft.com/office/officeart/2005/8/layout/vList5"/>
    <dgm:cxn modelId="{71FB5D2D-A976-4D30-9229-2B3F46E1D76D}" srcId="{CAD1E296-2682-47CC-800C-9990CDFB477D}" destId="{9D07F8D7-E342-4E09-950B-898E7B9F8D82}" srcOrd="1" destOrd="0" parTransId="{2F97C639-6AD5-4EF5-87FA-0B49427AA592}" sibTransId="{494DB1AF-E53C-4CF4-A775-2A1A4B3081CC}"/>
    <dgm:cxn modelId="{B1592F30-06EF-432D-BC59-964CFE2E82A7}" srcId="{DAD06F05-3903-433B-819B-F96CE91CF596}" destId="{76DDE425-CDEB-404C-93B5-8D0C35C6C754}" srcOrd="4" destOrd="0" parTransId="{DC22F324-4649-4A90-A5D2-E8C6277FFAA2}" sibTransId="{F54D5323-BA68-4B54-97B7-6CEF9C3B2BAB}"/>
    <dgm:cxn modelId="{C09CCD30-29BC-E749-A9D8-888D879F73C8}" type="presOf" srcId="{5D74217E-636F-8B43-B060-3886204331C5}" destId="{ECB50969-2EBA-4889-BC7D-B884D0866E33}" srcOrd="0" destOrd="1" presId="urn:microsoft.com/office/officeart/2005/8/layout/vList5"/>
    <dgm:cxn modelId="{50C2FC33-B2D3-440E-ABD3-96777AC6656B}" srcId="{76DDE425-CDEB-404C-93B5-8D0C35C6C754}" destId="{C722E49D-B435-4261-B5BA-09F512595731}" srcOrd="1" destOrd="0" parTransId="{F2CDEA4D-78F5-4E92-83B5-4D60AC2EACB3}" sibTransId="{7F7532D1-2480-4EE6-A82F-D82E50DEA7CC}"/>
    <dgm:cxn modelId="{0D39B035-8612-4171-BA6A-B9ED1143C3A5}" type="presOf" srcId="{84B6F318-F249-47A7-B863-1DCB043E2923}" destId="{DBD9D043-BD78-4105-ABCD-AD59034829C1}" srcOrd="0" destOrd="0" presId="urn:microsoft.com/office/officeart/2005/8/layout/vList5"/>
    <dgm:cxn modelId="{32AF1F3D-5EA1-450F-8B1A-3D70422409A6}" type="presOf" srcId="{7931435D-86CC-4E5F-AEA6-654DD645A9D0}" destId="{454F4EDA-E589-4A16-85DB-0C9792B930E7}" srcOrd="0" destOrd="0" presId="urn:microsoft.com/office/officeart/2005/8/layout/vList5"/>
    <dgm:cxn modelId="{D5DBFA3D-7122-43F1-AD34-4F94C6F7E5DE}" srcId="{1A0A2AA1-69D5-4E14-A15E-0D5DB2762F19}" destId="{CD757011-5728-4BF4-853F-70E13533E937}" srcOrd="0" destOrd="0" parTransId="{4FA3D885-C227-4859-BFAF-3178421AB4D0}" sibTransId="{1F91DA92-BB7C-4DFA-AAAA-66381A48E26F}"/>
    <dgm:cxn modelId="{FD4AC943-CC0C-421B-9E55-E4A36E6FB31B}" srcId="{A857E58C-97AE-49CD-B97A-4AE61EDD56C3}" destId="{7931435D-86CC-4E5F-AEA6-654DD645A9D0}" srcOrd="0" destOrd="0" parTransId="{B0381B90-A790-4E10-9BB6-1081D6ED3F9B}" sibTransId="{18F1ED80-9C2A-4BD8-861D-545F84CFB19A}"/>
    <dgm:cxn modelId="{2E540764-9DC8-4EBC-A694-304529F67E64}" type="presOf" srcId="{1A0A2AA1-69D5-4E14-A15E-0D5DB2762F19}" destId="{24C0A0FD-C6B1-479F-931D-3DD94F912BF2}" srcOrd="0" destOrd="0" presId="urn:microsoft.com/office/officeart/2005/8/layout/vList5"/>
    <dgm:cxn modelId="{1C69A544-6EBB-4C03-86B8-22AB374E9E8D}" type="presOf" srcId="{00D4706A-CCA3-4E9F-8C3E-CF0DDD79D9A2}" destId="{07C64787-2A16-432E-A9E9-C9678F3B7697}" srcOrd="0" destOrd="1" presId="urn:microsoft.com/office/officeart/2005/8/layout/vList5"/>
    <dgm:cxn modelId="{058CD167-1915-429C-BF36-B12F4165BCC1}" srcId="{5EA9DA79-28E7-45D4-871A-EF76EE70709D}" destId="{C38B58B5-12D3-4A51-B860-16C18A107601}" srcOrd="0" destOrd="0" parTransId="{D2454DE5-9BA9-4680-8918-DD86BC2131C0}" sibTransId="{73EEC26C-9C9C-433E-9189-7BE729F08491}"/>
    <dgm:cxn modelId="{FD0D646A-2290-46DD-8F9F-6A5A93C6F20F}" srcId="{CAD1E296-2682-47CC-800C-9990CDFB477D}" destId="{58778B0D-E6FC-4549-BD07-E10245BE0A60}" srcOrd="0" destOrd="0" parTransId="{5AB44AEA-B7E4-4C3A-BCEE-661ACE6A3D12}" sibTransId="{9573029D-EB61-4559-A422-AF1CCF6CF495}"/>
    <dgm:cxn modelId="{40030A4F-8005-4146-947D-9C8861E3E758}" srcId="{1A0A2AA1-69D5-4E14-A15E-0D5DB2762F19}" destId="{A146A60A-F6FF-403E-BD3B-788CE74740CF}" srcOrd="1" destOrd="0" parTransId="{8BEAC2C5-8B35-4C3F-B217-070C0E9C844E}" sibTransId="{7D01D85C-72AB-4F06-920F-F174E2039C49}"/>
    <dgm:cxn modelId="{FB086070-8266-4619-93B7-6FB54296AA25}" srcId="{84B6F318-F249-47A7-B863-1DCB043E2923}" destId="{8C91E56A-0109-4EAC-9D0C-F8D6E9E81F6C}" srcOrd="0" destOrd="0" parTransId="{4139C3C0-D755-4433-974E-6279466A0B4C}" sibTransId="{23F2F12C-BB4E-47F1-B19C-8E514A2B01BE}"/>
    <dgm:cxn modelId="{7E0A4853-1C83-4A43-A5D5-2121E3DA8A7E}" type="presOf" srcId="{645FAC24-FB5E-48D3-BABD-F14E732D5739}" destId="{454F4EDA-E589-4A16-85DB-0C9792B930E7}" srcOrd="0" destOrd="1" presId="urn:microsoft.com/office/officeart/2005/8/layout/vList5"/>
    <dgm:cxn modelId="{B7434775-3FDA-4409-A75F-790174755D82}" type="presOf" srcId="{5EA9DA79-28E7-45D4-871A-EF76EE70709D}" destId="{5CE93F69-8985-4E79-AB79-F77331DDDF29}" srcOrd="0" destOrd="0" presId="urn:microsoft.com/office/officeart/2005/8/layout/vList5"/>
    <dgm:cxn modelId="{2FA4F479-58F3-475F-9038-02EC37E47D1C}" type="presOf" srcId="{A146A60A-F6FF-403E-BD3B-788CE74740CF}" destId="{BA1392D3-6B0C-439C-BF9F-5015A177764E}" srcOrd="0" destOrd="1" presId="urn:microsoft.com/office/officeart/2005/8/layout/vList5"/>
    <dgm:cxn modelId="{B687BF7C-89AB-43D3-A9DF-5C8B109A1B88}" type="presOf" srcId="{FE8A551D-D2F4-49E7-8B20-ADF3895BDFDC}" destId="{9A1B36E4-7EC5-42E2-8C6A-D319BB2DEC48}" srcOrd="0" destOrd="0" presId="urn:microsoft.com/office/officeart/2005/8/layout/vList5"/>
    <dgm:cxn modelId="{FCA95A8C-FA70-4D49-BCEF-738397E194A0}" type="presOf" srcId="{A8B85717-DBCD-42BF-A96F-C69860ABC979}" destId="{3472CCEB-485F-471F-9F94-60A4A2D722F4}" srcOrd="0" destOrd="0" presId="urn:microsoft.com/office/officeart/2005/8/layout/vList5"/>
    <dgm:cxn modelId="{40EC938D-B9A2-452E-9E78-0B9AE66C5785}" type="presOf" srcId="{CD757011-5728-4BF4-853F-70E13533E937}" destId="{BA1392D3-6B0C-439C-BF9F-5015A177764E}" srcOrd="0" destOrd="0" presId="urn:microsoft.com/office/officeart/2005/8/layout/vList5"/>
    <dgm:cxn modelId="{707BDD95-DDEE-4F9A-A68B-9CB0E3FE6F6C}" type="presOf" srcId="{7EEF4263-4E6E-4004-960E-3E3E9468A3AC}" destId="{8E64AB20-F105-400F-8F74-08B70BF50322}" srcOrd="0" destOrd="0" presId="urn:microsoft.com/office/officeart/2005/8/layout/vList5"/>
    <dgm:cxn modelId="{06F737A8-5A9D-47CB-B9C8-EB945A0CD654}" srcId="{A857E58C-97AE-49CD-B97A-4AE61EDD56C3}" destId="{645FAC24-FB5E-48D3-BABD-F14E732D5739}" srcOrd="1" destOrd="0" parTransId="{6D290A9C-A74D-4D98-B7FF-361F69BAC7C2}" sibTransId="{CF193FCC-1ACA-485C-8B58-5A73B80825CF}"/>
    <dgm:cxn modelId="{DE0E99A8-CE8E-4D69-B45A-24558D22E55C}" type="presOf" srcId="{76DDE425-CDEB-404C-93B5-8D0C35C6C754}" destId="{5776C898-5446-41F9-AB50-6472EDBC184A}" srcOrd="0" destOrd="0" presId="urn:microsoft.com/office/officeart/2005/8/layout/vList5"/>
    <dgm:cxn modelId="{C7A1E8A9-7E9B-4846-9A99-9A8E761214B3}" srcId="{DAD06F05-3903-433B-819B-F96CE91CF596}" destId="{5EA9DA79-28E7-45D4-871A-EF76EE70709D}" srcOrd="5" destOrd="0" parTransId="{974B947A-5332-4D17-9DC4-3924DFDB2080}" sibTransId="{CF883CA7-B12F-4964-961F-BA435C55BCFC}"/>
    <dgm:cxn modelId="{91A8A6B2-9435-4D1F-95FB-BD8A0D2C2514}" type="presOf" srcId="{3F619E9B-7592-4D0E-9488-8A5B974A1666}" destId="{07C64787-2A16-432E-A9E9-C9678F3B7697}" srcOrd="0" destOrd="0" presId="urn:microsoft.com/office/officeart/2005/8/layout/vList5"/>
    <dgm:cxn modelId="{CA5F7EB3-BE12-4A94-A8CB-1A7697C6DE1F}" srcId="{DAD06F05-3903-433B-819B-F96CE91CF596}" destId="{EFE837F0-2D9A-4CDF-A1D4-4A926913B307}" srcOrd="2" destOrd="0" parTransId="{F39B6D33-5DF0-4159-B422-777B81F4DA77}" sibTransId="{ECFD24B6-B38D-471B-8241-123E8F706492}"/>
    <dgm:cxn modelId="{24E03AB5-550A-4598-8896-7EE6F013BB5A}" srcId="{DAD06F05-3903-433B-819B-F96CE91CF596}" destId="{CAD1E296-2682-47CC-800C-9990CDFB477D}" srcOrd="8" destOrd="0" parTransId="{3ED3BF94-A4FA-4E76-85CC-172A6BABD1D3}" sibTransId="{31AD0500-64E9-4868-91FC-25409F333D90}"/>
    <dgm:cxn modelId="{A8264FB5-DE6C-4AEE-9908-2AC6266BDF4D}" srcId="{76DDE425-CDEB-404C-93B5-8D0C35C6C754}" destId="{09C134A8-57C9-4B7A-8E61-270DDC9D80C1}" srcOrd="0" destOrd="0" parTransId="{001AA634-5E41-4F08-878B-D2DA5F81117F}" sibTransId="{277E12D5-614A-41F5-8459-3239BA3C4823}"/>
    <dgm:cxn modelId="{2834DCBD-6FDA-4C39-87B3-BCA93B3FFDAD}" type="presOf" srcId="{19AFF552-528C-4877-97A3-12FC6BD54D90}" destId="{2BDD3F66-042D-48A7-8A12-4EEFBC3BB338}" srcOrd="0" destOrd="0" presId="urn:microsoft.com/office/officeart/2005/8/layout/vList5"/>
    <dgm:cxn modelId="{C91FB9C4-FAED-4263-94AB-2A3330948EC7}" type="presOf" srcId="{58778B0D-E6FC-4549-BD07-E10245BE0A60}" destId="{4C774326-18FC-4362-B585-3C2C0D44D334}" srcOrd="0" destOrd="0" presId="urn:microsoft.com/office/officeart/2005/8/layout/vList5"/>
    <dgm:cxn modelId="{3FD411C6-2775-4229-8BCD-B90CC9320E1F}" type="presOf" srcId="{8C91E56A-0109-4EAC-9D0C-F8D6E9E81F6C}" destId="{68C818A9-7C69-46B3-83C5-E9028463F0DA}" srcOrd="0" destOrd="0" presId="urn:microsoft.com/office/officeart/2005/8/layout/vList5"/>
    <dgm:cxn modelId="{A661A1CB-7EA3-4F55-AE86-D4B614935AD6}" type="presOf" srcId="{A857E58C-97AE-49CD-B97A-4AE61EDD56C3}" destId="{75BDDF79-3035-42C9-A99F-F5B297561CD6}" srcOrd="0" destOrd="0" presId="urn:microsoft.com/office/officeart/2005/8/layout/vList5"/>
    <dgm:cxn modelId="{5B239AD3-85FB-4C47-9CAB-2AF559CA73E6}" srcId="{EFE837F0-2D9A-4CDF-A1D4-4A926913B307}" destId="{8E7316BF-1222-45EA-ABE1-78CBE16193B1}" srcOrd="0" destOrd="0" parTransId="{73E5A098-945B-4C78-AD53-C2C174F65149}" sibTransId="{2DACA4EF-6F12-46A5-B1F1-21EA4A20873D}"/>
    <dgm:cxn modelId="{C62A1EDA-3826-44A9-9335-C8E7552C4330}" srcId="{DAD06F05-3903-433B-819B-F96CE91CF596}" destId="{3BBE5F78-935B-42C9-B573-16AC714B10F1}" srcOrd="1" destOrd="0" parTransId="{EE14023B-C2BA-4331-9C36-5E19183E6AEE}" sibTransId="{F495C1DF-00CA-4806-8848-4DB4430BC0E5}"/>
    <dgm:cxn modelId="{99C2BADA-930D-49D5-9D80-EB30E8F492D7}" type="presOf" srcId="{C38B58B5-12D3-4A51-B860-16C18A107601}" destId="{8E9693D4-37B8-411A-B81B-9FF4FED4D5AC}" srcOrd="0" destOrd="0" presId="urn:microsoft.com/office/officeart/2005/8/layout/vList5"/>
    <dgm:cxn modelId="{504908DB-3FC9-4C05-9B55-989A070DC9BD}" srcId="{DAD06F05-3903-433B-819B-F96CE91CF596}" destId="{1A0A2AA1-69D5-4E14-A15E-0D5DB2762F19}" srcOrd="6" destOrd="0" parTransId="{9EAEA37A-A80A-4B0B-86C0-F7BC883CD3FA}" sibTransId="{1BC57049-2068-4AC0-BFB4-94C5D69D5D48}"/>
    <dgm:cxn modelId="{E5CF5CDD-012A-4955-AA75-58B4E09FAB96}" srcId="{DAD06F05-3903-433B-819B-F96CE91CF596}" destId="{7EEF4263-4E6E-4004-960E-3E3E9468A3AC}" srcOrd="3" destOrd="0" parTransId="{7A13DF79-CCAA-4E59-AC08-5B2E4EED69BF}" sibTransId="{4CE6DE60-F69C-4621-8578-4D44E879034E}"/>
    <dgm:cxn modelId="{3D5E36E3-A984-44F5-BA4E-BDA6E350B2CF}" type="presOf" srcId="{CAD1E296-2682-47CC-800C-9990CDFB477D}" destId="{4A4C5A52-1AF1-43F8-890F-A795CB9EE3B8}" srcOrd="0" destOrd="0" presId="urn:microsoft.com/office/officeart/2005/8/layout/vList5"/>
    <dgm:cxn modelId="{309C19EB-8138-496D-9EB7-437788006B10}" srcId="{3BBE5F78-935B-42C9-B573-16AC714B10F1}" destId="{19AFF552-528C-4877-97A3-12FC6BD54D90}" srcOrd="0" destOrd="0" parTransId="{269718FA-B77B-41E9-B6BC-51C9841D86BE}" sibTransId="{CBC002CF-AA4E-4F12-AA57-C4D942495BB3}"/>
    <dgm:cxn modelId="{5A39FCF3-AD21-4C63-B500-12FEC3752B92}" srcId="{DAD06F05-3903-433B-819B-F96CE91CF596}" destId="{A857E58C-97AE-49CD-B97A-4AE61EDD56C3}" srcOrd="0" destOrd="0" parTransId="{7CFB9093-54FB-41EF-8F19-CC73B6679103}" sibTransId="{86CA84AA-D830-417D-BF7F-4979D17CBEAE}"/>
    <dgm:cxn modelId="{DE7906F5-3B68-4298-876A-FF154F8BB589}" srcId="{7EEF4263-4E6E-4004-960E-3E3E9468A3AC}" destId="{3F619E9B-7592-4D0E-9488-8A5B974A1666}" srcOrd="0" destOrd="0" parTransId="{0D2C2944-594A-4519-9F06-1D0E1C1376FF}" sibTransId="{EA1A8E51-D814-4655-B17C-2C181E2F44C0}"/>
    <dgm:cxn modelId="{79FEF3F5-AAA5-4DB4-9494-28E0A42D7E96}" type="presOf" srcId="{8E7316BF-1222-45EA-ABE1-78CBE16193B1}" destId="{ECB50969-2EBA-4889-BC7D-B884D0866E33}" srcOrd="0" destOrd="0" presId="urn:microsoft.com/office/officeart/2005/8/layout/vList5"/>
    <dgm:cxn modelId="{AE4726F6-79C2-4F2E-96A7-AA8B25710857}" srcId="{A8B85717-DBCD-42BF-A96F-C69860ABC979}" destId="{FE8A551D-D2F4-49E7-8B20-ADF3895BDFDC}" srcOrd="0" destOrd="0" parTransId="{841C4525-3678-4B4F-A1C0-CE5F53B9DE1F}" sibTransId="{C57D756A-9276-449B-8B78-32DEED29086C}"/>
    <dgm:cxn modelId="{900C6FFE-ABCD-4F81-83C8-9D3E7754E483}" type="presOf" srcId="{C722E49D-B435-4261-B5BA-09F512595731}" destId="{1659659C-CE82-4BE1-928B-B3C52FC9FD5A}" srcOrd="0" destOrd="1" presId="urn:microsoft.com/office/officeart/2005/8/layout/vList5"/>
    <dgm:cxn modelId="{258C70FE-81C9-46D5-BA41-7C3E7D70C18C}" type="presOf" srcId="{3BBE5F78-935B-42C9-B573-16AC714B10F1}" destId="{46830796-4281-4E9F-8DEE-0DD2DF16825B}" srcOrd="0" destOrd="0" presId="urn:microsoft.com/office/officeart/2005/8/layout/vList5"/>
    <dgm:cxn modelId="{4612FEFE-DCCA-4CBA-ABA0-529E15B54A39}" srcId="{DAD06F05-3903-433B-819B-F96CE91CF596}" destId="{84B6F318-F249-47A7-B863-1DCB043E2923}" srcOrd="7" destOrd="0" parTransId="{F0CB68FD-3ADB-40A7-90FE-A9712E5FF0C5}" sibTransId="{E0668F7F-2AB5-4168-8F33-48790C1AB099}"/>
    <dgm:cxn modelId="{E2FDCCF1-5448-45E8-A7DD-5F4810FC3751}" type="presParOf" srcId="{5B4AEF64-28AE-485F-8316-5EC472702409}" destId="{892E7779-DCF7-49DC-B0CB-6BFF0EF6741F}" srcOrd="0" destOrd="0" presId="urn:microsoft.com/office/officeart/2005/8/layout/vList5"/>
    <dgm:cxn modelId="{92BE393F-3174-4171-8796-AD90E06F3CAA}" type="presParOf" srcId="{892E7779-DCF7-49DC-B0CB-6BFF0EF6741F}" destId="{75BDDF79-3035-42C9-A99F-F5B297561CD6}" srcOrd="0" destOrd="0" presId="urn:microsoft.com/office/officeart/2005/8/layout/vList5"/>
    <dgm:cxn modelId="{490AB15B-4143-40BE-848B-A85A76D6806A}" type="presParOf" srcId="{892E7779-DCF7-49DC-B0CB-6BFF0EF6741F}" destId="{454F4EDA-E589-4A16-85DB-0C9792B930E7}" srcOrd="1" destOrd="0" presId="urn:microsoft.com/office/officeart/2005/8/layout/vList5"/>
    <dgm:cxn modelId="{0BB72D25-0196-4E68-9B94-10AAA9F457C2}" type="presParOf" srcId="{5B4AEF64-28AE-485F-8316-5EC472702409}" destId="{81BEC21C-0012-4E95-BB17-9B2AA37A90D4}" srcOrd="1" destOrd="0" presId="urn:microsoft.com/office/officeart/2005/8/layout/vList5"/>
    <dgm:cxn modelId="{697DB389-629F-4A6B-ADBD-B20531B61827}" type="presParOf" srcId="{5B4AEF64-28AE-485F-8316-5EC472702409}" destId="{3AB861FE-6227-4EE5-A6DA-C65C44CFB581}" srcOrd="2" destOrd="0" presId="urn:microsoft.com/office/officeart/2005/8/layout/vList5"/>
    <dgm:cxn modelId="{1504853D-E578-4EA6-ACDA-A4ED2D3581F9}" type="presParOf" srcId="{3AB861FE-6227-4EE5-A6DA-C65C44CFB581}" destId="{46830796-4281-4E9F-8DEE-0DD2DF16825B}" srcOrd="0" destOrd="0" presId="urn:microsoft.com/office/officeart/2005/8/layout/vList5"/>
    <dgm:cxn modelId="{C434CEBC-991B-426F-90E8-7756F75DA485}" type="presParOf" srcId="{3AB861FE-6227-4EE5-A6DA-C65C44CFB581}" destId="{2BDD3F66-042D-48A7-8A12-4EEFBC3BB338}" srcOrd="1" destOrd="0" presId="urn:microsoft.com/office/officeart/2005/8/layout/vList5"/>
    <dgm:cxn modelId="{A23BCE16-8305-4517-9DA2-E4F487189928}" type="presParOf" srcId="{5B4AEF64-28AE-485F-8316-5EC472702409}" destId="{BCFB7EE6-BA37-4E65-98F6-BDF5A4F3F69C}" srcOrd="3" destOrd="0" presId="urn:microsoft.com/office/officeart/2005/8/layout/vList5"/>
    <dgm:cxn modelId="{8229E0C7-AAE2-42C6-886B-6CA804E09D26}" type="presParOf" srcId="{5B4AEF64-28AE-485F-8316-5EC472702409}" destId="{5D8D81FC-E2E7-467C-9C14-B6D3623F36DF}" srcOrd="4" destOrd="0" presId="urn:microsoft.com/office/officeart/2005/8/layout/vList5"/>
    <dgm:cxn modelId="{DFCFD670-6E16-473D-B9D3-9C1B0C9D0321}" type="presParOf" srcId="{5D8D81FC-E2E7-467C-9C14-B6D3623F36DF}" destId="{101019C5-FDD6-4886-90F5-F669DD820F3A}" srcOrd="0" destOrd="0" presId="urn:microsoft.com/office/officeart/2005/8/layout/vList5"/>
    <dgm:cxn modelId="{865DA2CF-E2F0-4C84-886E-39CEEB0919BE}" type="presParOf" srcId="{5D8D81FC-E2E7-467C-9C14-B6D3623F36DF}" destId="{ECB50969-2EBA-4889-BC7D-B884D0866E33}" srcOrd="1" destOrd="0" presId="urn:microsoft.com/office/officeart/2005/8/layout/vList5"/>
    <dgm:cxn modelId="{324252B4-5A7E-413F-BD97-7E819D6D0F14}" type="presParOf" srcId="{5B4AEF64-28AE-485F-8316-5EC472702409}" destId="{99451625-FCC4-4B83-B889-E8DD158ED64F}" srcOrd="5" destOrd="0" presId="urn:microsoft.com/office/officeart/2005/8/layout/vList5"/>
    <dgm:cxn modelId="{ADAC34F0-3286-4679-B287-52F7B07D803A}" type="presParOf" srcId="{5B4AEF64-28AE-485F-8316-5EC472702409}" destId="{4B28F1C2-05BC-45C3-9269-7CE466037E26}" srcOrd="6" destOrd="0" presId="urn:microsoft.com/office/officeart/2005/8/layout/vList5"/>
    <dgm:cxn modelId="{866D56D5-D91D-491A-B851-7E92B4F3BB95}" type="presParOf" srcId="{4B28F1C2-05BC-45C3-9269-7CE466037E26}" destId="{8E64AB20-F105-400F-8F74-08B70BF50322}" srcOrd="0" destOrd="0" presId="urn:microsoft.com/office/officeart/2005/8/layout/vList5"/>
    <dgm:cxn modelId="{AB6F072F-011C-4B83-AF42-5CCD0A61AFE6}" type="presParOf" srcId="{4B28F1C2-05BC-45C3-9269-7CE466037E26}" destId="{07C64787-2A16-432E-A9E9-C9678F3B7697}" srcOrd="1" destOrd="0" presId="urn:microsoft.com/office/officeart/2005/8/layout/vList5"/>
    <dgm:cxn modelId="{E04F19AE-0206-4CD8-9BC8-658A00C9FEDB}" type="presParOf" srcId="{5B4AEF64-28AE-485F-8316-5EC472702409}" destId="{0F34426D-C1A0-4D72-9913-BAE6F3F4B6F0}" srcOrd="7" destOrd="0" presId="urn:microsoft.com/office/officeart/2005/8/layout/vList5"/>
    <dgm:cxn modelId="{AE6C3DA0-1F64-495A-9C4E-B7766F490328}" type="presParOf" srcId="{5B4AEF64-28AE-485F-8316-5EC472702409}" destId="{108676FA-28CB-421F-8835-8ED57B52B896}" srcOrd="8" destOrd="0" presId="urn:microsoft.com/office/officeart/2005/8/layout/vList5"/>
    <dgm:cxn modelId="{D3A1C109-0024-4318-A06E-DA4F64D12547}" type="presParOf" srcId="{108676FA-28CB-421F-8835-8ED57B52B896}" destId="{5776C898-5446-41F9-AB50-6472EDBC184A}" srcOrd="0" destOrd="0" presId="urn:microsoft.com/office/officeart/2005/8/layout/vList5"/>
    <dgm:cxn modelId="{7A0D9362-B968-4FCF-8A79-57C2BC6880F4}" type="presParOf" srcId="{108676FA-28CB-421F-8835-8ED57B52B896}" destId="{1659659C-CE82-4BE1-928B-B3C52FC9FD5A}" srcOrd="1" destOrd="0" presId="urn:microsoft.com/office/officeart/2005/8/layout/vList5"/>
    <dgm:cxn modelId="{91D50429-C623-40FE-9978-60A467E1545A}" type="presParOf" srcId="{5B4AEF64-28AE-485F-8316-5EC472702409}" destId="{88733FFE-4DB0-4BEC-B2C2-E11BCE30AB37}" srcOrd="9" destOrd="0" presId="urn:microsoft.com/office/officeart/2005/8/layout/vList5"/>
    <dgm:cxn modelId="{E66353AA-6B7A-477E-B97C-512D5BA2CAD4}" type="presParOf" srcId="{5B4AEF64-28AE-485F-8316-5EC472702409}" destId="{B658F943-F0FE-42EE-B0D1-1847AF1AFE1A}" srcOrd="10" destOrd="0" presId="urn:microsoft.com/office/officeart/2005/8/layout/vList5"/>
    <dgm:cxn modelId="{A4308CEC-5244-46DF-8BC4-30DF53182C51}" type="presParOf" srcId="{B658F943-F0FE-42EE-B0D1-1847AF1AFE1A}" destId="{5CE93F69-8985-4E79-AB79-F77331DDDF29}" srcOrd="0" destOrd="0" presId="urn:microsoft.com/office/officeart/2005/8/layout/vList5"/>
    <dgm:cxn modelId="{657E5045-72A5-42DD-B93F-D695DEB6624B}" type="presParOf" srcId="{B658F943-F0FE-42EE-B0D1-1847AF1AFE1A}" destId="{8E9693D4-37B8-411A-B81B-9FF4FED4D5AC}" srcOrd="1" destOrd="0" presId="urn:microsoft.com/office/officeart/2005/8/layout/vList5"/>
    <dgm:cxn modelId="{CF1921C6-C9A0-4DC4-848D-AA7BC8FF1783}" type="presParOf" srcId="{5B4AEF64-28AE-485F-8316-5EC472702409}" destId="{A467D402-92CD-4BF3-87FF-475BED166A57}" srcOrd="11" destOrd="0" presId="urn:microsoft.com/office/officeart/2005/8/layout/vList5"/>
    <dgm:cxn modelId="{067D9BC7-DE9E-42C1-B43A-D29111BF369C}" type="presParOf" srcId="{5B4AEF64-28AE-485F-8316-5EC472702409}" destId="{5D58E42B-2060-489A-8BD9-92C85736B2EE}" srcOrd="12" destOrd="0" presId="urn:microsoft.com/office/officeart/2005/8/layout/vList5"/>
    <dgm:cxn modelId="{DA70AF37-6C57-4661-8262-ED64BFC82ABF}" type="presParOf" srcId="{5D58E42B-2060-489A-8BD9-92C85736B2EE}" destId="{24C0A0FD-C6B1-479F-931D-3DD94F912BF2}" srcOrd="0" destOrd="0" presId="urn:microsoft.com/office/officeart/2005/8/layout/vList5"/>
    <dgm:cxn modelId="{73EFFCA6-9C7F-43A2-86BF-CEEEBB0193C6}" type="presParOf" srcId="{5D58E42B-2060-489A-8BD9-92C85736B2EE}" destId="{BA1392D3-6B0C-439C-BF9F-5015A177764E}" srcOrd="1" destOrd="0" presId="urn:microsoft.com/office/officeart/2005/8/layout/vList5"/>
    <dgm:cxn modelId="{E74A9680-2E5E-4907-B63D-7600F46CAA45}" type="presParOf" srcId="{5B4AEF64-28AE-485F-8316-5EC472702409}" destId="{0D217F7E-BDFD-4B07-A1EC-006DB4D9F135}" srcOrd="13" destOrd="0" presId="urn:microsoft.com/office/officeart/2005/8/layout/vList5"/>
    <dgm:cxn modelId="{A5C92B11-771F-44AB-B012-78B991281EA7}" type="presParOf" srcId="{5B4AEF64-28AE-485F-8316-5EC472702409}" destId="{A3B13F0C-42F6-4A4D-A383-5362C1F40F32}" srcOrd="14" destOrd="0" presId="urn:microsoft.com/office/officeart/2005/8/layout/vList5"/>
    <dgm:cxn modelId="{DDF0E3BC-917D-4145-932F-E64270070E62}" type="presParOf" srcId="{A3B13F0C-42F6-4A4D-A383-5362C1F40F32}" destId="{DBD9D043-BD78-4105-ABCD-AD59034829C1}" srcOrd="0" destOrd="0" presId="urn:microsoft.com/office/officeart/2005/8/layout/vList5"/>
    <dgm:cxn modelId="{6D487687-29B5-4BA3-9A4A-8B1DCD411459}" type="presParOf" srcId="{A3B13F0C-42F6-4A4D-A383-5362C1F40F32}" destId="{68C818A9-7C69-46B3-83C5-E9028463F0DA}" srcOrd="1" destOrd="0" presId="urn:microsoft.com/office/officeart/2005/8/layout/vList5"/>
    <dgm:cxn modelId="{7B13BC76-3F5C-44A8-96CC-D76EAEE1DB63}" type="presParOf" srcId="{5B4AEF64-28AE-485F-8316-5EC472702409}" destId="{D7093BD5-9BFF-4606-890F-BF2368DA3BCF}" srcOrd="15" destOrd="0" presId="urn:microsoft.com/office/officeart/2005/8/layout/vList5"/>
    <dgm:cxn modelId="{3FB2D876-DE88-498B-9115-3568D69248D5}" type="presParOf" srcId="{5B4AEF64-28AE-485F-8316-5EC472702409}" destId="{C5D7E0E2-61E4-4E51-A1DD-2D2A89E52F6C}" srcOrd="16" destOrd="0" presId="urn:microsoft.com/office/officeart/2005/8/layout/vList5"/>
    <dgm:cxn modelId="{02562C03-BCA8-4304-8C48-461C78E3CC52}" type="presParOf" srcId="{C5D7E0E2-61E4-4E51-A1DD-2D2A89E52F6C}" destId="{4A4C5A52-1AF1-43F8-890F-A795CB9EE3B8}" srcOrd="0" destOrd="0" presId="urn:microsoft.com/office/officeart/2005/8/layout/vList5"/>
    <dgm:cxn modelId="{C0CDC4C1-ACD4-4119-81A6-566CBF32B2BC}" type="presParOf" srcId="{C5D7E0E2-61E4-4E51-A1DD-2D2A89E52F6C}" destId="{4C774326-18FC-4362-B585-3C2C0D44D334}" srcOrd="1" destOrd="0" presId="urn:microsoft.com/office/officeart/2005/8/layout/vList5"/>
    <dgm:cxn modelId="{4C7E0E7A-09AC-4459-AF8F-430BCA4A5EEF}" type="presParOf" srcId="{5B4AEF64-28AE-485F-8316-5EC472702409}" destId="{A9A63FCD-4795-42F4-BEA2-91DAA240344D}" srcOrd="17" destOrd="0" presId="urn:microsoft.com/office/officeart/2005/8/layout/vList5"/>
    <dgm:cxn modelId="{1B278066-B31F-4197-A871-0ECB26629487}" type="presParOf" srcId="{5B4AEF64-28AE-485F-8316-5EC472702409}" destId="{F3CEA85F-1DAE-44CA-9AAA-87D78AFEE386}" srcOrd="18" destOrd="0" presId="urn:microsoft.com/office/officeart/2005/8/layout/vList5"/>
    <dgm:cxn modelId="{3FB42C83-A3C5-407E-A451-AA760455FA2C}" type="presParOf" srcId="{F3CEA85F-1DAE-44CA-9AAA-87D78AFEE386}" destId="{3472CCEB-485F-471F-9F94-60A4A2D722F4}" srcOrd="0" destOrd="0" presId="urn:microsoft.com/office/officeart/2005/8/layout/vList5"/>
    <dgm:cxn modelId="{1BCFDEA1-4ED5-4145-9ACF-BDA7EA5F9ECC}" type="presParOf" srcId="{F3CEA85F-1DAE-44CA-9AAA-87D78AFEE386}" destId="{9A1B36E4-7EC5-42E2-8C6A-D319BB2DEC48}"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AD06F05-3903-433B-819B-F96CE91CF596}"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A857E58C-97AE-49CD-B97A-4AE61EDD56C3}">
      <dgm:prSet/>
      <dgm:spPr>
        <a:solidFill>
          <a:schemeClr val="accent3">
            <a:lumMod val="20000"/>
            <a:lumOff val="80000"/>
          </a:schemeClr>
        </a:solidFill>
        <a:ln>
          <a:noFill/>
        </a:ln>
      </dgm:spPr>
      <dgm:t>
        <a:bodyPr/>
        <a:lstStyle/>
        <a:p>
          <a:pPr rtl="0"/>
          <a:r>
            <a:rPr lang="en-US" dirty="0">
              <a:solidFill>
                <a:schemeClr val="bg1"/>
              </a:solidFill>
            </a:rPr>
            <a:t>ASIC/CPU/Mem</a:t>
          </a:r>
        </a:p>
      </dgm:t>
    </dgm:pt>
    <dgm:pt modelId="{7CFB9093-54FB-41EF-8F19-CC73B6679103}" type="parTrans" cxnId="{5A39FCF3-AD21-4C63-B500-12FEC3752B92}">
      <dgm:prSet/>
      <dgm:spPr/>
      <dgm:t>
        <a:bodyPr/>
        <a:lstStyle/>
        <a:p>
          <a:endParaRPr lang="en-US"/>
        </a:p>
      </dgm:t>
    </dgm:pt>
    <dgm:pt modelId="{86CA84AA-D830-417D-BF7F-4979D17CBEAE}" type="sibTrans" cxnId="{5A39FCF3-AD21-4C63-B500-12FEC3752B92}">
      <dgm:prSet/>
      <dgm:spPr/>
      <dgm:t>
        <a:bodyPr/>
        <a:lstStyle/>
        <a:p>
          <a:endParaRPr lang="en-US"/>
        </a:p>
      </dgm:t>
    </dgm:pt>
    <dgm:pt modelId="{7931435D-86CC-4E5F-AEA6-654DD645A9D0}">
      <dgm:prSet/>
      <dgm:spPr>
        <a:solidFill>
          <a:srgbClr val="D1E6F7">
            <a:alpha val="89804"/>
          </a:srgbClr>
        </a:solidFill>
        <a:ln>
          <a:noFill/>
        </a:ln>
      </dgm:spPr>
      <dgm:t>
        <a:bodyPr/>
        <a:lstStyle/>
        <a:p>
          <a:pPr rtl="0"/>
          <a:r>
            <a:rPr lang="en-US" dirty="0"/>
            <a:t>300 Gbps BCOM, Intel Broadwell 4C 1.8GHz CPU</a:t>
          </a:r>
        </a:p>
      </dgm:t>
    </dgm:pt>
    <dgm:pt modelId="{B0381B90-A790-4E10-9BB6-1081D6ED3F9B}" type="parTrans" cxnId="{FD4AC943-CC0C-421B-9E55-E4A36E6FB31B}">
      <dgm:prSet/>
      <dgm:spPr/>
      <dgm:t>
        <a:bodyPr/>
        <a:lstStyle/>
        <a:p>
          <a:endParaRPr lang="en-US"/>
        </a:p>
      </dgm:t>
    </dgm:pt>
    <dgm:pt modelId="{18F1ED80-9C2A-4BD8-861D-545F84CFB19A}" type="sibTrans" cxnId="{FD4AC943-CC0C-421B-9E55-E4A36E6FB31B}">
      <dgm:prSet/>
      <dgm:spPr/>
      <dgm:t>
        <a:bodyPr/>
        <a:lstStyle/>
        <a:p>
          <a:endParaRPr lang="en-US"/>
        </a:p>
      </dgm:t>
    </dgm:pt>
    <dgm:pt modelId="{3BBE5F78-935B-42C9-B573-16AC714B10F1}">
      <dgm:prSet/>
      <dgm:spPr>
        <a:solidFill>
          <a:schemeClr val="accent3">
            <a:lumMod val="20000"/>
            <a:lumOff val="80000"/>
          </a:schemeClr>
        </a:solidFill>
        <a:ln>
          <a:noFill/>
        </a:ln>
      </dgm:spPr>
      <dgm:t>
        <a:bodyPr/>
        <a:lstStyle/>
        <a:p>
          <a:pPr rtl="0"/>
          <a:r>
            <a:rPr lang="en-US" dirty="0">
              <a:solidFill>
                <a:schemeClr val="bg1"/>
              </a:solidFill>
            </a:rPr>
            <a:t>Port Config</a:t>
          </a:r>
        </a:p>
      </dgm:t>
    </dgm:pt>
    <dgm:pt modelId="{EE14023B-C2BA-4331-9C36-5E19183E6AEE}" type="parTrans" cxnId="{C62A1EDA-3826-44A9-9335-C8E7552C4330}">
      <dgm:prSet/>
      <dgm:spPr/>
      <dgm:t>
        <a:bodyPr/>
        <a:lstStyle/>
        <a:p>
          <a:endParaRPr lang="en-US"/>
        </a:p>
      </dgm:t>
    </dgm:pt>
    <dgm:pt modelId="{F495C1DF-00CA-4806-8848-4DB4430BC0E5}" type="sibTrans" cxnId="{C62A1EDA-3826-44A9-9335-C8E7552C4330}">
      <dgm:prSet/>
      <dgm:spPr/>
      <dgm:t>
        <a:bodyPr/>
        <a:lstStyle/>
        <a:p>
          <a:endParaRPr lang="en-US"/>
        </a:p>
      </dgm:t>
    </dgm:pt>
    <dgm:pt modelId="{19AFF552-528C-4877-97A3-12FC6BD54D90}">
      <dgm:prSet/>
      <dgm:spPr>
        <a:solidFill>
          <a:srgbClr val="D1E6F7">
            <a:alpha val="89804"/>
          </a:srgbClr>
        </a:solidFill>
        <a:ln>
          <a:noFill/>
        </a:ln>
      </dgm:spPr>
      <dgm:t>
        <a:bodyPr/>
        <a:lstStyle/>
        <a:p>
          <a:pPr rtl="0"/>
          <a:r>
            <a:rPr lang="en-US" dirty="0"/>
            <a:t>24x1/10G SFP+, 8x 25G SFP28, 2x100G QSFP28</a:t>
          </a:r>
        </a:p>
      </dgm:t>
    </dgm:pt>
    <dgm:pt modelId="{269718FA-B77B-41E9-B6BC-51C9841D86BE}" type="parTrans" cxnId="{309C19EB-8138-496D-9EB7-437788006B10}">
      <dgm:prSet/>
      <dgm:spPr/>
      <dgm:t>
        <a:bodyPr/>
        <a:lstStyle/>
        <a:p>
          <a:endParaRPr lang="en-US"/>
        </a:p>
      </dgm:t>
    </dgm:pt>
    <dgm:pt modelId="{CBC002CF-AA4E-4F12-AA57-C4D942495BB3}" type="sibTrans" cxnId="{309C19EB-8138-496D-9EB7-437788006B10}">
      <dgm:prSet/>
      <dgm:spPr/>
      <dgm:t>
        <a:bodyPr/>
        <a:lstStyle/>
        <a:p>
          <a:endParaRPr lang="en-US"/>
        </a:p>
      </dgm:t>
    </dgm:pt>
    <dgm:pt modelId="{EFE837F0-2D9A-4CDF-A1D4-4A926913B307}">
      <dgm:prSet/>
      <dgm:spPr>
        <a:solidFill>
          <a:schemeClr val="accent3">
            <a:lumMod val="20000"/>
            <a:lumOff val="80000"/>
          </a:schemeClr>
        </a:solidFill>
        <a:ln>
          <a:noFill/>
        </a:ln>
      </dgm:spPr>
      <dgm:t>
        <a:bodyPr/>
        <a:lstStyle/>
        <a:p>
          <a:pPr rtl="0"/>
          <a:r>
            <a:rPr lang="en-US" dirty="0">
              <a:solidFill>
                <a:schemeClr val="bg1"/>
              </a:solidFill>
            </a:rPr>
            <a:t>PSU/Fan</a:t>
          </a:r>
        </a:p>
      </dgm:t>
    </dgm:pt>
    <dgm:pt modelId="{F39B6D33-5DF0-4159-B422-777B81F4DA77}" type="parTrans" cxnId="{CA5F7EB3-BE12-4A94-A8CB-1A7697C6DE1F}">
      <dgm:prSet/>
      <dgm:spPr/>
      <dgm:t>
        <a:bodyPr/>
        <a:lstStyle/>
        <a:p>
          <a:endParaRPr lang="en-US"/>
        </a:p>
      </dgm:t>
    </dgm:pt>
    <dgm:pt modelId="{ECFD24B6-B38D-471B-8241-123E8F706492}" type="sibTrans" cxnId="{CA5F7EB3-BE12-4A94-A8CB-1A7697C6DE1F}">
      <dgm:prSet/>
      <dgm:spPr/>
      <dgm:t>
        <a:bodyPr/>
        <a:lstStyle/>
        <a:p>
          <a:endParaRPr lang="en-US"/>
        </a:p>
      </dgm:t>
    </dgm:pt>
    <dgm:pt modelId="{8E7316BF-1222-45EA-ABE1-78CBE16193B1}">
      <dgm:prSet/>
      <dgm:spPr>
        <a:solidFill>
          <a:srgbClr val="D1E6F7">
            <a:alpha val="89804"/>
          </a:srgbClr>
        </a:solidFill>
        <a:ln>
          <a:noFill/>
        </a:ln>
      </dgm:spPr>
      <dgm:t>
        <a:bodyPr/>
        <a:lstStyle/>
        <a:p>
          <a:pPr rtl="0"/>
          <a:r>
            <a:rPr lang="en-US"/>
            <a:t>Modular &amp; redundant PSUs and fans</a:t>
          </a:r>
        </a:p>
      </dgm:t>
    </dgm:pt>
    <dgm:pt modelId="{73E5A098-945B-4C78-AD53-C2C174F65149}" type="parTrans" cxnId="{5B239AD3-85FB-4C47-9CAB-2AF559CA73E6}">
      <dgm:prSet/>
      <dgm:spPr/>
      <dgm:t>
        <a:bodyPr/>
        <a:lstStyle/>
        <a:p>
          <a:endParaRPr lang="en-US"/>
        </a:p>
      </dgm:t>
    </dgm:pt>
    <dgm:pt modelId="{2DACA4EF-6F12-46A5-B1F1-21EA4A20873D}" type="sibTrans" cxnId="{5B239AD3-85FB-4C47-9CAB-2AF559CA73E6}">
      <dgm:prSet/>
      <dgm:spPr/>
      <dgm:t>
        <a:bodyPr/>
        <a:lstStyle/>
        <a:p>
          <a:endParaRPr lang="en-US"/>
        </a:p>
      </dgm:t>
    </dgm:pt>
    <dgm:pt modelId="{B2BA9B24-2803-4E39-8F75-D6AEA508EFF4}">
      <dgm:prSet/>
      <dgm:spPr>
        <a:solidFill>
          <a:srgbClr val="D1E6F7">
            <a:alpha val="89804"/>
          </a:srgbClr>
        </a:solidFill>
        <a:ln>
          <a:noFill/>
        </a:ln>
      </dgm:spPr>
      <dgm:t>
        <a:bodyPr/>
        <a:lstStyle/>
        <a:p>
          <a:pPr rtl="0"/>
          <a:r>
            <a:rPr lang="en-US"/>
            <a:t>Front to back airflow</a:t>
          </a:r>
        </a:p>
      </dgm:t>
    </dgm:pt>
    <dgm:pt modelId="{DB3CC9BA-A727-461C-A7B8-B2C045D577F0}" type="parTrans" cxnId="{C45F2490-3E16-4907-8161-71C1269C5470}">
      <dgm:prSet/>
      <dgm:spPr/>
      <dgm:t>
        <a:bodyPr/>
        <a:lstStyle/>
        <a:p>
          <a:endParaRPr lang="en-US"/>
        </a:p>
      </dgm:t>
    </dgm:pt>
    <dgm:pt modelId="{58A735D0-E3ED-4722-A2D2-258D94734A3C}" type="sibTrans" cxnId="{C45F2490-3E16-4907-8161-71C1269C5470}">
      <dgm:prSet/>
      <dgm:spPr/>
      <dgm:t>
        <a:bodyPr/>
        <a:lstStyle/>
        <a:p>
          <a:endParaRPr lang="en-US"/>
        </a:p>
      </dgm:t>
    </dgm:pt>
    <dgm:pt modelId="{7EEF4263-4E6E-4004-960E-3E3E9468A3AC}">
      <dgm:prSet/>
      <dgm:spPr>
        <a:solidFill>
          <a:schemeClr val="accent3">
            <a:lumMod val="20000"/>
            <a:lumOff val="80000"/>
          </a:schemeClr>
        </a:solidFill>
        <a:ln>
          <a:noFill/>
        </a:ln>
      </dgm:spPr>
      <dgm:t>
        <a:bodyPr/>
        <a:lstStyle/>
        <a:p>
          <a:pPr rtl="0"/>
          <a:r>
            <a:rPr lang="en-US" dirty="0">
              <a:solidFill>
                <a:schemeClr val="bg1"/>
              </a:solidFill>
            </a:rPr>
            <a:t>Temp Range</a:t>
          </a:r>
        </a:p>
      </dgm:t>
    </dgm:pt>
    <dgm:pt modelId="{7A13DF79-CCAA-4E59-AC08-5B2E4EED69BF}" type="parTrans" cxnId="{E5CF5CDD-012A-4955-AA75-58B4E09FAB96}">
      <dgm:prSet/>
      <dgm:spPr/>
      <dgm:t>
        <a:bodyPr/>
        <a:lstStyle/>
        <a:p>
          <a:endParaRPr lang="en-US"/>
        </a:p>
      </dgm:t>
    </dgm:pt>
    <dgm:pt modelId="{4CE6DE60-F69C-4621-8578-4D44E879034E}" type="sibTrans" cxnId="{E5CF5CDD-012A-4955-AA75-58B4E09FAB96}">
      <dgm:prSet/>
      <dgm:spPr/>
      <dgm:t>
        <a:bodyPr/>
        <a:lstStyle/>
        <a:p>
          <a:endParaRPr lang="en-US"/>
        </a:p>
      </dgm:t>
    </dgm:pt>
    <dgm:pt modelId="{3F619E9B-7592-4D0E-9488-8A5B974A1666}">
      <dgm:prSet/>
      <dgm:spPr>
        <a:solidFill>
          <a:srgbClr val="D1E6F7">
            <a:alpha val="89804"/>
          </a:srgbClr>
        </a:solidFill>
        <a:ln>
          <a:noFill/>
        </a:ln>
      </dgm:spPr>
      <dgm:t>
        <a:bodyPr/>
        <a:lstStyle/>
        <a:p>
          <a:pPr rtl="0"/>
          <a:r>
            <a:rPr lang="en-US"/>
            <a:t>iTemp 40C to +70C </a:t>
          </a:r>
        </a:p>
      </dgm:t>
    </dgm:pt>
    <dgm:pt modelId="{0D2C2944-594A-4519-9F06-1D0E1C1376FF}" type="parTrans" cxnId="{DE7906F5-3B68-4298-876A-FF154F8BB589}">
      <dgm:prSet/>
      <dgm:spPr/>
      <dgm:t>
        <a:bodyPr/>
        <a:lstStyle/>
        <a:p>
          <a:endParaRPr lang="en-US"/>
        </a:p>
      </dgm:t>
    </dgm:pt>
    <dgm:pt modelId="{EA1A8E51-D814-4655-B17C-2C181E2F44C0}" type="sibTrans" cxnId="{DE7906F5-3B68-4298-876A-FF154F8BB589}">
      <dgm:prSet/>
      <dgm:spPr/>
      <dgm:t>
        <a:bodyPr/>
        <a:lstStyle/>
        <a:p>
          <a:endParaRPr lang="en-US"/>
        </a:p>
      </dgm:t>
    </dgm:pt>
    <dgm:pt modelId="{00D4706A-CCA3-4E9F-8C3E-CF0DDD79D9A2}">
      <dgm:prSet/>
      <dgm:spPr>
        <a:solidFill>
          <a:srgbClr val="D1E6F7">
            <a:alpha val="89804"/>
          </a:srgbClr>
        </a:solidFill>
        <a:ln>
          <a:noFill/>
        </a:ln>
      </dgm:spPr>
      <dgm:t>
        <a:bodyPr/>
        <a:lstStyle/>
        <a:p>
          <a:pPr rtl="0"/>
          <a:r>
            <a:rPr lang="en-US"/>
            <a:t>Conformal coated SKU for hot humid conditions</a:t>
          </a:r>
        </a:p>
      </dgm:t>
    </dgm:pt>
    <dgm:pt modelId="{7BBEC611-1C42-449E-9EBA-CB57EDD32757}" type="parTrans" cxnId="{DB3E3202-BCA7-4684-B726-DFE2D2250AC2}">
      <dgm:prSet/>
      <dgm:spPr/>
      <dgm:t>
        <a:bodyPr/>
        <a:lstStyle/>
        <a:p>
          <a:endParaRPr lang="en-US"/>
        </a:p>
      </dgm:t>
    </dgm:pt>
    <dgm:pt modelId="{1964B2D3-B48E-432D-8C5D-A7D0C0C0E005}" type="sibTrans" cxnId="{DB3E3202-BCA7-4684-B726-DFE2D2250AC2}">
      <dgm:prSet/>
      <dgm:spPr/>
      <dgm:t>
        <a:bodyPr/>
        <a:lstStyle/>
        <a:p>
          <a:endParaRPr lang="en-US"/>
        </a:p>
      </dgm:t>
    </dgm:pt>
    <dgm:pt modelId="{1A0A2AA1-69D5-4E14-A15E-0D5DB2762F19}">
      <dgm:prSet/>
      <dgm:spPr>
        <a:solidFill>
          <a:schemeClr val="accent3">
            <a:lumMod val="20000"/>
            <a:lumOff val="80000"/>
          </a:schemeClr>
        </a:solidFill>
        <a:ln>
          <a:noFill/>
        </a:ln>
      </dgm:spPr>
      <dgm:t>
        <a:bodyPr/>
        <a:lstStyle/>
        <a:p>
          <a:pPr rtl="0"/>
          <a:r>
            <a:rPr lang="en-US" dirty="0">
              <a:solidFill>
                <a:schemeClr val="bg1"/>
              </a:solidFill>
            </a:rPr>
            <a:t>Timing</a:t>
          </a:r>
        </a:p>
      </dgm:t>
    </dgm:pt>
    <dgm:pt modelId="{9EAEA37A-A80A-4B0B-86C0-F7BC883CD3FA}" type="parTrans" cxnId="{504908DB-3FC9-4C05-9B55-989A070DC9BD}">
      <dgm:prSet/>
      <dgm:spPr/>
      <dgm:t>
        <a:bodyPr/>
        <a:lstStyle/>
        <a:p>
          <a:endParaRPr lang="en-US"/>
        </a:p>
      </dgm:t>
    </dgm:pt>
    <dgm:pt modelId="{1BC57049-2068-4AC0-BFB4-94C5D69D5D48}" type="sibTrans" cxnId="{504908DB-3FC9-4C05-9B55-989A070DC9BD}">
      <dgm:prSet/>
      <dgm:spPr/>
      <dgm:t>
        <a:bodyPr/>
        <a:lstStyle/>
        <a:p>
          <a:endParaRPr lang="en-US"/>
        </a:p>
      </dgm:t>
    </dgm:pt>
    <dgm:pt modelId="{CD757011-5728-4BF4-853F-70E13533E937}">
      <dgm:prSet/>
      <dgm:spPr>
        <a:solidFill>
          <a:srgbClr val="D1E6F7">
            <a:alpha val="89804"/>
          </a:srgbClr>
        </a:solidFill>
        <a:ln>
          <a:noFill/>
        </a:ln>
      </dgm:spPr>
      <dgm:t>
        <a:bodyPr/>
        <a:lstStyle/>
        <a:p>
          <a:pPr rtl="0"/>
          <a:r>
            <a:rPr lang="en-US" dirty="0"/>
            <a:t>1PPS in/out, 10Mhz in/out, </a:t>
          </a:r>
          <a:r>
            <a:rPr lang="en-US" dirty="0" err="1"/>
            <a:t>ToD</a:t>
          </a:r>
          <a:r>
            <a:rPr lang="en-US" dirty="0"/>
            <a:t>, Internal GNSS</a:t>
          </a:r>
        </a:p>
      </dgm:t>
    </dgm:pt>
    <dgm:pt modelId="{4FA3D885-C227-4859-BFAF-3178421AB4D0}" type="parTrans" cxnId="{D5DBFA3D-7122-43F1-AD34-4F94C6F7E5DE}">
      <dgm:prSet/>
      <dgm:spPr/>
      <dgm:t>
        <a:bodyPr/>
        <a:lstStyle/>
        <a:p>
          <a:endParaRPr lang="en-US"/>
        </a:p>
      </dgm:t>
    </dgm:pt>
    <dgm:pt modelId="{1F91DA92-BB7C-4DFA-AAAA-66381A48E26F}" type="sibTrans" cxnId="{D5DBFA3D-7122-43F1-AD34-4F94C6F7E5DE}">
      <dgm:prSet/>
      <dgm:spPr/>
      <dgm:t>
        <a:bodyPr/>
        <a:lstStyle/>
        <a:p>
          <a:endParaRPr lang="en-US"/>
        </a:p>
      </dgm:t>
    </dgm:pt>
    <dgm:pt modelId="{A146A60A-F6FF-403E-BD3B-788CE74740CF}">
      <dgm:prSet/>
      <dgm:spPr>
        <a:solidFill>
          <a:srgbClr val="D1E6F7">
            <a:alpha val="89804"/>
          </a:srgbClr>
        </a:solidFill>
        <a:ln>
          <a:noFill/>
        </a:ln>
      </dgm:spPr>
      <dgm:t>
        <a:bodyPr/>
        <a:lstStyle/>
        <a:p>
          <a:pPr rtl="0"/>
          <a:r>
            <a:rPr lang="en-US" dirty="0" err="1"/>
            <a:t>SyncE</a:t>
          </a:r>
          <a:r>
            <a:rPr lang="en-US" dirty="0"/>
            <a:t>, G.8265.1, G.8275.1/2, Class B BC</a:t>
          </a:r>
        </a:p>
      </dgm:t>
    </dgm:pt>
    <dgm:pt modelId="{8BEAC2C5-8B35-4C3F-B217-070C0E9C844E}" type="parTrans" cxnId="{40030A4F-8005-4146-947D-9C8861E3E758}">
      <dgm:prSet/>
      <dgm:spPr/>
      <dgm:t>
        <a:bodyPr/>
        <a:lstStyle/>
        <a:p>
          <a:endParaRPr lang="en-US"/>
        </a:p>
      </dgm:t>
    </dgm:pt>
    <dgm:pt modelId="{7D01D85C-72AB-4F06-920F-F174E2039C49}" type="sibTrans" cxnId="{40030A4F-8005-4146-947D-9C8861E3E758}">
      <dgm:prSet/>
      <dgm:spPr/>
      <dgm:t>
        <a:bodyPr/>
        <a:lstStyle/>
        <a:p>
          <a:endParaRPr lang="en-US"/>
        </a:p>
      </dgm:t>
    </dgm:pt>
    <dgm:pt modelId="{84B6F318-F249-47A7-B863-1DCB043E2923}">
      <dgm:prSet/>
      <dgm:spPr>
        <a:solidFill>
          <a:schemeClr val="accent3">
            <a:lumMod val="20000"/>
            <a:lumOff val="80000"/>
          </a:schemeClr>
        </a:solidFill>
        <a:ln>
          <a:noFill/>
        </a:ln>
      </dgm:spPr>
      <dgm:t>
        <a:bodyPr/>
        <a:lstStyle/>
        <a:p>
          <a:pPr rtl="0"/>
          <a:r>
            <a:rPr lang="en-US" dirty="0">
              <a:solidFill>
                <a:schemeClr val="bg1"/>
              </a:solidFill>
            </a:rPr>
            <a:t>Service Scale</a:t>
          </a:r>
        </a:p>
      </dgm:t>
    </dgm:pt>
    <dgm:pt modelId="{F0CB68FD-3ADB-40A7-90FE-A9712E5FF0C5}" type="parTrans" cxnId="{4612FEFE-DCCA-4CBA-ABA0-529E15B54A39}">
      <dgm:prSet/>
      <dgm:spPr/>
      <dgm:t>
        <a:bodyPr/>
        <a:lstStyle/>
        <a:p>
          <a:endParaRPr lang="en-US"/>
        </a:p>
      </dgm:t>
    </dgm:pt>
    <dgm:pt modelId="{E0668F7F-2AB5-4168-8F33-48790C1AB099}" type="sibTrans" cxnId="{4612FEFE-DCCA-4CBA-ABA0-529E15B54A39}">
      <dgm:prSet/>
      <dgm:spPr/>
      <dgm:t>
        <a:bodyPr/>
        <a:lstStyle/>
        <a:p>
          <a:endParaRPr lang="en-US"/>
        </a:p>
      </dgm:t>
    </dgm:pt>
    <dgm:pt modelId="{8C91E56A-0109-4EAC-9D0C-F8D6E9E81F6C}">
      <dgm:prSet/>
      <dgm:spPr>
        <a:solidFill>
          <a:srgbClr val="D1E6F7">
            <a:alpha val="89804"/>
          </a:srgbClr>
        </a:solidFill>
        <a:ln>
          <a:noFill/>
        </a:ln>
      </dgm:spPr>
      <dgm:t>
        <a:bodyPr/>
        <a:lstStyle/>
        <a:p>
          <a:pPr rtl="0"/>
          <a:r>
            <a:rPr lang="en-US" dirty="0"/>
            <a:t>256 L3VPN, 2K PWs</a:t>
          </a:r>
        </a:p>
      </dgm:t>
    </dgm:pt>
    <dgm:pt modelId="{4139C3C0-D755-4433-974E-6279466A0B4C}" type="parTrans" cxnId="{FB086070-8266-4619-93B7-6FB54296AA25}">
      <dgm:prSet/>
      <dgm:spPr/>
      <dgm:t>
        <a:bodyPr/>
        <a:lstStyle/>
        <a:p>
          <a:endParaRPr lang="en-US"/>
        </a:p>
      </dgm:t>
    </dgm:pt>
    <dgm:pt modelId="{23F2F12C-BB4E-47F1-B19C-8E514A2B01BE}" type="sibTrans" cxnId="{FB086070-8266-4619-93B7-6FB54296AA25}">
      <dgm:prSet/>
      <dgm:spPr/>
      <dgm:t>
        <a:bodyPr/>
        <a:lstStyle/>
        <a:p>
          <a:endParaRPr lang="en-US"/>
        </a:p>
      </dgm:t>
    </dgm:pt>
    <dgm:pt modelId="{76DDE425-CDEB-404C-93B5-8D0C35C6C754}">
      <dgm:prSet/>
      <dgm:spPr>
        <a:solidFill>
          <a:schemeClr val="accent3">
            <a:lumMod val="20000"/>
            <a:lumOff val="80000"/>
          </a:schemeClr>
        </a:solidFill>
        <a:ln>
          <a:noFill/>
        </a:ln>
      </dgm:spPr>
      <dgm:t>
        <a:bodyPr/>
        <a:lstStyle/>
        <a:p>
          <a:pPr rtl="0"/>
          <a:r>
            <a:rPr lang="en-US" dirty="0">
              <a:solidFill>
                <a:schemeClr val="bg1"/>
              </a:solidFill>
            </a:rPr>
            <a:t>Optics</a:t>
          </a:r>
        </a:p>
      </dgm:t>
    </dgm:pt>
    <dgm:pt modelId="{DC22F324-4649-4A90-A5D2-E8C6277FFAA2}" type="parTrans" cxnId="{B1592F30-06EF-432D-BC59-964CFE2E82A7}">
      <dgm:prSet/>
      <dgm:spPr/>
      <dgm:t>
        <a:bodyPr/>
        <a:lstStyle/>
        <a:p>
          <a:endParaRPr lang="en-US"/>
        </a:p>
      </dgm:t>
    </dgm:pt>
    <dgm:pt modelId="{F54D5323-BA68-4B54-97B7-6CEF9C3B2BAB}" type="sibTrans" cxnId="{B1592F30-06EF-432D-BC59-964CFE2E82A7}">
      <dgm:prSet/>
      <dgm:spPr/>
      <dgm:t>
        <a:bodyPr/>
        <a:lstStyle/>
        <a:p>
          <a:endParaRPr lang="en-US"/>
        </a:p>
      </dgm:t>
    </dgm:pt>
    <dgm:pt modelId="{09C134A8-57C9-4B7A-8E61-270DDC9D80C1}">
      <dgm:prSet/>
      <dgm:spPr>
        <a:solidFill>
          <a:srgbClr val="D1E6F7">
            <a:alpha val="89804"/>
          </a:srgbClr>
        </a:solidFill>
        <a:ln>
          <a:noFill/>
        </a:ln>
      </dgm:spPr>
      <dgm:t>
        <a:bodyPr/>
        <a:lstStyle/>
        <a:p>
          <a:pPr rtl="0"/>
          <a:r>
            <a:rPr lang="en-US" dirty="0"/>
            <a:t>1/10G: SR/LR/ER/ZR/DWDM</a:t>
          </a:r>
        </a:p>
      </dgm:t>
    </dgm:pt>
    <dgm:pt modelId="{001AA634-5E41-4F08-878B-D2DA5F81117F}" type="parTrans" cxnId="{A8264FB5-DE6C-4AEE-9908-2AC6266BDF4D}">
      <dgm:prSet/>
      <dgm:spPr/>
      <dgm:t>
        <a:bodyPr/>
        <a:lstStyle/>
        <a:p>
          <a:endParaRPr lang="en-US"/>
        </a:p>
      </dgm:t>
    </dgm:pt>
    <dgm:pt modelId="{277E12D5-614A-41F5-8459-3239BA3C4823}" type="sibTrans" cxnId="{A8264FB5-DE6C-4AEE-9908-2AC6266BDF4D}">
      <dgm:prSet/>
      <dgm:spPr/>
      <dgm:t>
        <a:bodyPr/>
        <a:lstStyle/>
        <a:p>
          <a:endParaRPr lang="en-US"/>
        </a:p>
      </dgm:t>
    </dgm:pt>
    <dgm:pt modelId="{C722E49D-B435-4261-B5BA-09F512595731}">
      <dgm:prSet/>
      <dgm:spPr>
        <a:solidFill>
          <a:srgbClr val="D1E6F7">
            <a:alpha val="89804"/>
          </a:srgbClr>
        </a:solidFill>
        <a:ln>
          <a:noFill/>
        </a:ln>
      </dgm:spPr>
      <dgm:t>
        <a:bodyPr/>
        <a:lstStyle/>
        <a:p>
          <a:pPr rtl="0"/>
          <a:r>
            <a:rPr lang="en-US" dirty="0"/>
            <a:t>25G: SR/LR, 40G: SR/LR/ER, 100G: SR/LR/ER4L</a:t>
          </a:r>
        </a:p>
      </dgm:t>
    </dgm:pt>
    <dgm:pt modelId="{F2CDEA4D-78F5-4E92-83B5-4D60AC2EACB3}" type="parTrans" cxnId="{50C2FC33-B2D3-440E-ABD3-96777AC6656B}">
      <dgm:prSet/>
      <dgm:spPr/>
      <dgm:t>
        <a:bodyPr/>
        <a:lstStyle/>
        <a:p>
          <a:endParaRPr lang="en-US"/>
        </a:p>
      </dgm:t>
    </dgm:pt>
    <dgm:pt modelId="{7F7532D1-2480-4EE6-A82F-D82E50DEA7CC}" type="sibTrans" cxnId="{50C2FC33-B2D3-440E-ABD3-96777AC6656B}">
      <dgm:prSet/>
      <dgm:spPr/>
      <dgm:t>
        <a:bodyPr/>
        <a:lstStyle/>
        <a:p>
          <a:endParaRPr lang="en-US"/>
        </a:p>
      </dgm:t>
    </dgm:pt>
    <dgm:pt modelId="{20957546-E2E6-4C4F-A825-E41FDCB44123}">
      <dgm:prSet/>
      <dgm:spPr>
        <a:solidFill>
          <a:schemeClr val="accent3">
            <a:lumMod val="20000"/>
            <a:lumOff val="80000"/>
          </a:schemeClr>
        </a:solidFill>
        <a:ln>
          <a:noFill/>
        </a:ln>
      </dgm:spPr>
      <dgm:t>
        <a:bodyPr/>
        <a:lstStyle/>
        <a:p>
          <a:pPr rtl="0"/>
          <a:r>
            <a:rPr lang="en-US" dirty="0">
              <a:solidFill>
                <a:schemeClr val="bg1"/>
              </a:solidFill>
            </a:rPr>
            <a:t>Software </a:t>
          </a:r>
        </a:p>
      </dgm:t>
    </dgm:pt>
    <dgm:pt modelId="{07DDE6D8-5DDE-4F0C-B580-0CA40CB314C9}" type="parTrans" cxnId="{C483A43D-73E3-4158-88EB-CDF3567288B7}">
      <dgm:prSet/>
      <dgm:spPr/>
      <dgm:t>
        <a:bodyPr/>
        <a:lstStyle/>
        <a:p>
          <a:endParaRPr lang="en-US"/>
        </a:p>
      </dgm:t>
    </dgm:pt>
    <dgm:pt modelId="{EC765BAE-E94A-41CB-9F32-46EB3F4230F0}" type="sibTrans" cxnId="{C483A43D-73E3-4158-88EB-CDF3567288B7}">
      <dgm:prSet/>
      <dgm:spPr/>
      <dgm:t>
        <a:bodyPr/>
        <a:lstStyle/>
        <a:p>
          <a:endParaRPr lang="en-US"/>
        </a:p>
      </dgm:t>
    </dgm:pt>
    <dgm:pt modelId="{DA9203E2-9037-4960-9139-082B6DF02509}">
      <dgm:prSet/>
      <dgm:spPr>
        <a:solidFill>
          <a:srgbClr val="D1E6F7">
            <a:alpha val="89804"/>
          </a:srgbClr>
        </a:solidFill>
        <a:ln>
          <a:noFill/>
        </a:ln>
      </dgm:spPr>
      <dgm:t>
        <a:bodyPr/>
        <a:lstStyle/>
        <a:p>
          <a:pPr rtl="0"/>
          <a:r>
            <a:rPr lang="en-US" dirty="0"/>
            <a:t>FCS 64 bit IOS XR 6.5.2</a:t>
          </a:r>
        </a:p>
      </dgm:t>
    </dgm:pt>
    <dgm:pt modelId="{EC4D8E22-9106-41D3-A5B2-C2DD9ACF0876}" type="parTrans" cxnId="{E6A09145-0F8C-415C-A482-EEDDB699A02F}">
      <dgm:prSet/>
      <dgm:spPr/>
      <dgm:t>
        <a:bodyPr/>
        <a:lstStyle/>
        <a:p>
          <a:endParaRPr lang="en-US"/>
        </a:p>
      </dgm:t>
    </dgm:pt>
    <dgm:pt modelId="{E8CB6306-59B0-4F13-A523-876EE6FE00FF}" type="sibTrans" cxnId="{E6A09145-0F8C-415C-A482-EEDDB699A02F}">
      <dgm:prSet/>
      <dgm:spPr/>
      <dgm:t>
        <a:bodyPr/>
        <a:lstStyle/>
        <a:p>
          <a:endParaRPr lang="en-US"/>
        </a:p>
      </dgm:t>
    </dgm:pt>
    <dgm:pt modelId="{2794341A-3A19-47AD-BC1F-21948E35D1C8}">
      <dgm:prSet/>
      <dgm:spPr>
        <a:solidFill>
          <a:srgbClr val="D1E6F7">
            <a:alpha val="89804"/>
          </a:srgbClr>
        </a:solidFill>
        <a:ln>
          <a:noFill/>
        </a:ln>
      </dgm:spPr>
      <dgm:t>
        <a:bodyPr/>
        <a:lstStyle/>
        <a:p>
          <a:pPr rtl="0"/>
          <a:r>
            <a:rPr lang="en-US" dirty="0"/>
            <a:t>Full SW feature parity with NCS 5500</a:t>
          </a:r>
        </a:p>
      </dgm:t>
    </dgm:pt>
    <dgm:pt modelId="{F316696D-CD05-4A34-9361-FCE6E56769B4}" type="parTrans" cxnId="{C246CAAE-BEAC-4621-83CB-B96E2847D403}">
      <dgm:prSet/>
      <dgm:spPr/>
      <dgm:t>
        <a:bodyPr/>
        <a:lstStyle/>
        <a:p>
          <a:endParaRPr lang="en-US"/>
        </a:p>
      </dgm:t>
    </dgm:pt>
    <dgm:pt modelId="{5F043A97-59E8-407C-A796-D2958A322368}" type="sibTrans" cxnId="{C246CAAE-BEAC-4621-83CB-B96E2847D403}">
      <dgm:prSet/>
      <dgm:spPr/>
      <dgm:t>
        <a:bodyPr/>
        <a:lstStyle/>
        <a:p>
          <a:endParaRPr lang="en-US"/>
        </a:p>
      </dgm:t>
    </dgm:pt>
    <dgm:pt modelId="{D5580CC8-4226-4966-B0C7-B3FAD54F1C41}">
      <dgm:prSet/>
      <dgm:spPr>
        <a:solidFill>
          <a:srgbClr val="D1E6F7">
            <a:alpha val="89804"/>
          </a:srgbClr>
        </a:solidFill>
        <a:ln>
          <a:noFill/>
        </a:ln>
      </dgm:spPr>
      <dgm:t>
        <a:bodyPr/>
        <a:lstStyle/>
        <a:p>
          <a:r>
            <a:rPr lang="en-US" dirty="0">
              <a:solidFill>
                <a:schemeClr val="tx1"/>
              </a:solidFill>
            </a:rPr>
            <a:t>DWDM/ZR support on all SFP+ interfaces</a:t>
          </a:r>
          <a:endParaRPr lang="en-US" dirty="0"/>
        </a:p>
      </dgm:t>
    </dgm:pt>
    <dgm:pt modelId="{73D0808D-3956-4C37-83AD-2C2F033958C5}" type="parTrans" cxnId="{7FE0D6AA-B665-477E-9CB7-019F1FA26821}">
      <dgm:prSet/>
      <dgm:spPr/>
      <dgm:t>
        <a:bodyPr/>
        <a:lstStyle/>
        <a:p>
          <a:endParaRPr lang="en-US"/>
        </a:p>
      </dgm:t>
    </dgm:pt>
    <dgm:pt modelId="{88AECE78-B7D0-4C34-9A74-4EAAB1292F68}" type="sibTrans" cxnId="{7FE0D6AA-B665-477E-9CB7-019F1FA26821}">
      <dgm:prSet/>
      <dgm:spPr/>
      <dgm:t>
        <a:bodyPr/>
        <a:lstStyle/>
        <a:p>
          <a:endParaRPr lang="en-US"/>
        </a:p>
      </dgm:t>
    </dgm:pt>
    <dgm:pt modelId="{5B4AEF64-28AE-485F-8316-5EC472702409}" type="pres">
      <dgm:prSet presAssocID="{DAD06F05-3903-433B-819B-F96CE91CF596}" presName="Name0" presStyleCnt="0">
        <dgm:presLayoutVars>
          <dgm:dir/>
          <dgm:animLvl val="lvl"/>
          <dgm:resizeHandles val="exact"/>
        </dgm:presLayoutVars>
      </dgm:prSet>
      <dgm:spPr/>
    </dgm:pt>
    <dgm:pt modelId="{892E7779-DCF7-49DC-B0CB-6BFF0EF6741F}" type="pres">
      <dgm:prSet presAssocID="{A857E58C-97AE-49CD-B97A-4AE61EDD56C3}" presName="linNode" presStyleCnt="0"/>
      <dgm:spPr/>
    </dgm:pt>
    <dgm:pt modelId="{75BDDF79-3035-42C9-A99F-F5B297561CD6}" type="pres">
      <dgm:prSet presAssocID="{A857E58C-97AE-49CD-B97A-4AE61EDD56C3}" presName="parentText" presStyleLbl="node1" presStyleIdx="0" presStyleCnt="8">
        <dgm:presLayoutVars>
          <dgm:chMax val="1"/>
          <dgm:bulletEnabled val="1"/>
        </dgm:presLayoutVars>
      </dgm:prSet>
      <dgm:spPr/>
    </dgm:pt>
    <dgm:pt modelId="{454F4EDA-E589-4A16-85DB-0C9792B930E7}" type="pres">
      <dgm:prSet presAssocID="{A857E58C-97AE-49CD-B97A-4AE61EDD56C3}" presName="descendantText" presStyleLbl="alignAccFollowNode1" presStyleIdx="0" presStyleCnt="8">
        <dgm:presLayoutVars>
          <dgm:bulletEnabled val="1"/>
        </dgm:presLayoutVars>
      </dgm:prSet>
      <dgm:spPr/>
    </dgm:pt>
    <dgm:pt modelId="{81BEC21C-0012-4E95-BB17-9B2AA37A90D4}" type="pres">
      <dgm:prSet presAssocID="{86CA84AA-D830-417D-BF7F-4979D17CBEAE}" presName="sp" presStyleCnt="0"/>
      <dgm:spPr/>
    </dgm:pt>
    <dgm:pt modelId="{3AB861FE-6227-4EE5-A6DA-C65C44CFB581}" type="pres">
      <dgm:prSet presAssocID="{3BBE5F78-935B-42C9-B573-16AC714B10F1}" presName="linNode" presStyleCnt="0"/>
      <dgm:spPr/>
    </dgm:pt>
    <dgm:pt modelId="{46830796-4281-4E9F-8DEE-0DD2DF16825B}" type="pres">
      <dgm:prSet presAssocID="{3BBE5F78-935B-42C9-B573-16AC714B10F1}" presName="parentText" presStyleLbl="node1" presStyleIdx="1" presStyleCnt="8">
        <dgm:presLayoutVars>
          <dgm:chMax val="1"/>
          <dgm:bulletEnabled val="1"/>
        </dgm:presLayoutVars>
      </dgm:prSet>
      <dgm:spPr/>
    </dgm:pt>
    <dgm:pt modelId="{2BDD3F66-042D-48A7-8A12-4EEFBC3BB338}" type="pres">
      <dgm:prSet presAssocID="{3BBE5F78-935B-42C9-B573-16AC714B10F1}" presName="descendantText" presStyleLbl="alignAccFollowNode1" presStyleIdx="1" presStyleCnt="8">
        <dgm:presLayoutVars>
          <dgm:bulletEnabled val="1"/>
        </dgm:presLayoutVars>
      </dgm:prSet>
      <dgm:spPr/>
    </dgm:pt>
    <dgm:pt modelId="{BCFB7EE6-BA37-4E65-98F6-BDF5A4F3F69C}" type="pres">
      <dgm:prSet presAssocID="{F495C1DF-00CA-4806-8848-4DB4430BC0E5}" presName="sp" presStyleCnt="0"/>
      <dgm:spPr/>
    </dgm:pt>
    <dgm:pt modelId="{5D8D81FC-E2E7-467C-9C14-B6D3623F36DF}" type="pres">
      <dgm:prSet presAssocID="{EFE837F0-2D9A-4CDF-A1D4-4A926913B307}" presName="linNode" presStyleCnt="0"/>
      <dgm:spPr/>
    </dgm:pt>
    <dgm:pt modelId="{101019C5-FDD6-4886-90F5-F669DD820F3A}" type="pres">
      <dgm:prSet presAssocID="{EFE837F0-2D9A-4CDF-A1D4-4A926913B307}" presName="parentText" presStyleLbl="node1" presStyleIdx="2" presStyleCnt="8">
        <dgm:presLayoutVars>
          <dgm:chMax val="1"/>
          <dgm:bulletEnabled val="1"/>
        </dgm:presLayoutVars>
      </dgm:prSet>
      <dgm:spPr/>
    </dgm:pt>
    <dgm:pt modelId="{ECB50969-2EBA-4889-BC7D-B884D0866E33}" type="pres">
      <dgm:prSet presAssocID="{EFE837F0-2D9A-4CDF-A1D4-4A926913B307}" presName="descendantText" presStyleLbl="alignAccFollowNode1" presStyleIdx="2" presStyleCnt="8">
        <dgm:presLayoutVars>
          <dgm:bulletEnabled val="1"/>
        </dgm:presLayoutVars>
      </dgm:prSet>
      <dgm:spPr/>
    </dgm:pt>
    <dgm:pt modelId="{99451625-FCC4-4B83-B889-E8DD158ED64F}" type="pres">
      <dgm:prSet presAssocID="{ECFD24B6-B38D-471B-8241-123E8F706492}" presName="sp" presStyleCnt="0"/>
      <dgm:spPr/>
    </dgm:pt>
    <dgm:pt modelId="{4B28F1C2-05BC-45C3-9269-7CE466037E26}" type="pres">
      <dgm:prSet presAssocID="{7EEF4263-4E6E-4004-960E-3E3E9468A3AC}" presName="linNode" presStyleCnt="0"/>
      <dgm:spPr/>
    </dgm:pt>
    <dgm:pt modelId="{8E64AB20-F105-400F-8F74-08B70BF50322}" type="pres">
      <dgm:prSet presAssocID="{7EEF4263-4E6E-4004-960E-3E3E9468A3AC}" presName="parentText" presStyleLbl="node1" presStyleIdx="3" presStyleCnt="8">
        <dgm:presLayoutVars>
          <dgm:chMax val="1"/>
          <dgm:bulletEnabled val="1"/>
        </dgm:presLayoutVars>
      </dgm:prSet>
      <dgm:spPr/>
    </dgm:pt>
    <dgm:pt modelId="{07C64787-2A16-432E-A9E9-C9678F3B7697}" type="pres">
      <dgm:prSet presAssocID="{7EEF4263-4E6E-4004-960E-3E3E9468A3AC}" presName="descendantText" presStyleLbl="alignAccFollowNode1" presStyleIdx="3" presStyleCnt="8">
        <dgm:presLayoutVars>
          <dgm:bulletEnabled val="1"/>
        </dgm:presLayoutVars>
      </dgm:prSet>
      <dgm:spPr/>
    </dgm:pt>
    <dgm:pt modelId="{0F34426D-C1A0-4D72-9913-BAE6F3F4B6F0}" type="pres">
      <dgm:prSet presAssocID="{4CE6DE60-F69C-4621-8578-4D44E879034E}" presName="sp" presStyleCnt="0"/>
      <dgm:spPr/>
    </dgm:pt>
    <dgm:pt modelId="{108676FA-28CB-421F-8835-8ED57B52B896}" type="pres">
      <dgm:prSet presAssocID="{76DDE425-CDEB-404C-93B5-8D0C35C6C754}" presName="linNode" presStyleCnt="0"/>
      <dgm:spPr/>
    </dgm:pt>
    <dgm:pt modelId="{5776C898-5446-41F9-AB50-6472EDBC184A}" type="pres">
      <dgm:prSet presAssocID="{76DDE425-CDEB-404C-93B5-8D0C35C6C754}" presName="parentText" presStyleLbl="node1" presStyleIdx="4" presStyleCnt="8">
        <dgm:presLayoutVars>
          <dgm:chMax val="1"/>
          <dgm:bulletEnabled val="1"/>
        </dgm:presLayoutVars>
      </dgm:prSet>
      <dgm:spPr/>
    </dgm:pt>
    <dgm:pt modelId="{1659659C-CE82-4BE1-928B-B3C52FC9FD5A}" type="pres">
      <dgm:prSet presAssocID="{76DDE425-CDEB-404C-93B5-8D0C35C6C754}" presName="descendantText" presStyleLbl="alignAccFollowNode1" presStyleIdx="4" presStyleCnt="8">
        <dgm:presLayoutVars>
          <dgm:bulletEnabled val="1"/>
        </dgm:presLayoutVars>
      </dgm:prSet>
      <dgm:spPr/>
    </dgm:pt>
    <dgm:pt modelId="{88733FFE-4DB0-4BEC-B2C2-E11BCE30AB37}" type="pres">
      <dgm:prSet presAssocID="{F54D5323-BA68-4B54-97B7-6CEF9C3B2BAB}" presName="sp" presStyleCnt="0"/>
      <dgm:spPr/>
    </dgm:pt>
    <dgm:pt modelId="{5D58E42B-2060-489A-8BD9-92C85736B2EE}" type="pres">
      <dgm:prSet presAssocID="{1A0A2AA1-69D5-4E14-A15E-0D5DB2762F19}" presName="linNode" presStyleCnt="0"/>
      <dgm:spPr/>
    </dgm:pt>
    <dgm:pt modelId="{24C0A0FD-C6B1-479F-931D-3DD94F912BF2}" type="pres">
      <dgm:prSet presAssocID="{1A0A2AA1-69D5-4E14-A15E-0D5DB2762F19}" presName="parentText" presStyleLbl="node1" presStyleIdx="5" presStyleCnt="8">
        <dgm:presLayoutVars>
          <dgm:chMax val="1"/>
          <dgm:bulletEnabled val="1"/>
        </dgm:presLayoutVars>
      </dgm:prSet>
      <dgm:spPr/>
    </dgm:pt>
    <dgm:pt modelId="{BA1392D3-6B0C-439C-BF9F-5015A177764E}" type="pres">
      <dgm:prSet presAssocID="{1A0A2AA1-69D5-4E14-A15E-0D5DB2762F19}" presName="descendantText" presStyleLbl="alignAccFollowNode1" presStyleIdx="5" presStyleCnt="8">
        <dgm:presLayoutVars>
          <dgm:bulletEnabled val="1"/>
        </dgm:presLayoutVars>
      </dgm:prSet>
      <dgm:spPr/>
    </dgm:pt>
    <dgm:pt modelId="{0D217F7E-BDFD-4B07-A1EC-006DB4D9F135}" type="pres">
      <dgm:prSet presAssocID="{1BC57049-2068-4AC0-BFB4-94C5D69D5D48}" presName="sp" presStyleCnt="0"/>
      <dgm:spPr/>
    </dgm:pt>
    <dgm:pt modelId="{A3B13F0C-42F6-4A4D-A383-5362C1F40F32}" type="pres">
      <dgm:prSet presAssocID="{84B6F318-F249-47A7-B863-1DCB043E2923}" presName="linNode" presStyleCnt="0"/>
      <dgm:spPr/>
    </dgm:pt>
    <dgm:pt modelId="{DBD9D043-BD78-4105-ABCD-AD59034829C1}" type="pres">
      <dgm:prSet presAssocID="{84B6F318-F249-47A7-B863-1DCB043E2923}" presName="parentText" presStyleLbl="node1" presStyleIdx="6" presStyleCnt="8">
        <dgm:presLayoutVars>
          <dgm:chMax val="1"/>
          <dgm:bulletEnabled val="1"/>
        </dgm:presLayoutVars>
      </dgm:prSet>
      <dgm:spPr/>
    </dgm:pt>
    <dgm:pt modelId="{68C818A9-7C69-46B3-83C5-E9028463F0DA}" type="pres">
      <dgm:prSet presAssocID="{84B6F318-F249-47A7-B863-1DCB043E2923}" presName="descendantText" presStyleLbl="alignAccFollowNode1" presStyleIdx="6" presStyleCnt="8">
        <dgm:presLayoutVars>
          <dgm:bulletEnabled val="1"/>
        </dgm:presLayoutVars>
      </dgm:prSet>
      <dgm:spPr/>
    </dgm:pt>
    <dgm:pt modelId="{D7093BD5-9BFF-4606-890F-BF2368DA3BCF}" type="pres">
      <dgm:prSet presAssocID="{E0668F7F-2AB5-4168-8F33-48790C1AB099}" presName="sp" presStyleCnt="0"/>
      <dgm:spPr/>
    </dgm:pt>
    <dgm:pt modelId="{DE29CE80-CA37-4285-BF81-32CCA6697A1A}" type="pres">
      <dgm:prSet presAssocID="{20957546-E2E6-4C4F-A825-E41FDCB44123}" presName="linNode" presStyleCnt="0"/>
      <dgm:spPr/>
    </dgm:pt>
    <dgm:pt modelId="{41746B8C-8FEC-420B-97BC-62C11CFA5A17}" type="pres">
      <dgm:prSet presAssocID="{20957546-E2E6-4C4F-A825-E41FDCB44123}" presName="parentText" presStyleLbl="node1" presStyleIdx="7" presStyleCnt="8">
        <dgm:presLayoutVars>
          <dgm:chMax val="1"/>
          <dgm:bulletEnabled val="1"/>
        </dgm:presLayoutVars>
      </dgm:prSet>
      <dgm:spPr/>
    </dgm:pt>
    <dgm:pt modelId="{49C2723C-B03B-4629-9710-5551D1B5F32A}" type="pres">
      <dgm:prSet presAssocID="{20957546-E2E6-4C4F-A825-E41FDCB44123}" presName="descendantText" presStyleLbl="alignAccFollowNode1" presStyleIdx="7" presStyleCnt="8">
        <dgm:presLayoutVars>
          <dgm:bulletEnabled val="1"/>
        </dgm:presLayoutVars>
      </dgm:prSet>
      <dgm:spPr/>
    </dgm:pt>
  </dgm:ptLst>
  <dgm:cxnLst>
    <dgm:cxn modelId="{DB3E3202-BCA7-4684-B726-DFE2D2250AC2}" srcId="{7EEF4263-4E6E-4004-960E-3E3E9468A3AC}" destId="{00D4706A-CCA3-4E9F-8C3E-CF0DDD79D9A2}" srcOrd="1" destOrd="0" parTransId="{7BBEC611-1C42-449E-9EBA-CB57EDD32757}" sibTransId="{1964B2D3-B48E-432D-8C5D-A7D0C0C0E005}"/>
    <dgm:cxn modelId="{8E384F03-F82E-4A97-9EAA-D5DA2820E5C9}" type="presOf" srcId="{EFE837F0-2D9A-4CDF-A1D4-4A926913B307}" destId="{101019C5-FDD6-4886-90F5-F669DD820F3A}" srcOrd="0" destOrd="0" presId="urn:microsoft.com/office/officeart/2005/8/layout/vList5"/>
    <dgm:cxn modelId="{405B5607-6406-4E7F-8814-0D48840C7632}" type="presOf" srcId="{09C134A8-57C9-4B7A-8E61-270DDC9D80C1}" destId="{1659659C-CE82-4BE1-928B-B3C52FC9FD5A}" srcOrd="0" destOrd="0" presId="urn:microsoft.com/office/officeart/2005/8/layout/vList5"/>
    <dgm:cxn modelId="{0B8F6D0C-E31F-48A1-BF9F-523025A38E55}" type="presOf" srcId="{DA9203E2-9037-4960-9139-082B6DF02509}" destId="{49C2723C-B03B-4629-9710-5551D1B5F32A}" srcOrd="0" destOrd="0" presId="urn:microsoft.com/office/officeart/2005/8/layout/vList5"/>
    <dgm:cxn modelId="{5A10F72B-B70F-4047-833D-DF0ADBB6CAE9}" type="presOf" srcId="{DAD06F05-3903-433B-819B-F96CE91CF596}" destId="{5B4AEF64-28AE-485F-8316-5EC472702409}" srcOrd="0" destOrd="0" presId="urn:microsoft.com/office/officeart/2005/8/layout/vList5"/>
    <dgm:cxn modelId="{B1592F30-06EF-432D-BC59-964CFE2E82A7}" srcId="{DAD06F05-3903-433B-819B-F96CE91CF596}" destId="{76DDE425-CDEB-404C-93B5-8D0C35C6C754}" srcOrd="4" destOrd="0" parTransId="{DC22F324-4649-4A90-A5D2-E8C6277FFAA2}" sibTransId="{F54D5323-BA68-4B54-97B7-6CEF9C3B2BAB}"/>
    <dgm:cxn modelId="{50C2FC33-B2D3-440E-ABD3-96777AC6656B}" srcId="{76DDE425-CDEB-404C-93B5-8D0C35C6C754}" destId="{C722E49D-B435-4261-B5BA-09F512595731}" srcOrd="1" destOrd="0" parTransId="{F2CDEA4D-78F5-4E92-83B5-4D60AC2EACB3}" sibTransId="{7F7532D1-2480-4EE6-A82F-D82E50DEA7CC}"/>
    <dgm:cxn modelId="{0D39B035-8612-4171-BA6A-B9ED1143C3A5}" type="presOf" srcId="{84B6F318-F249-47A7-B863-1DCB043E2923}" destId="{DBD9D043-BD78-4105-ABCD-AD59034829C1}" srcOrd="0" destOrd="0" presId="urn:microsoft.com/office/officeart/2005/8/layout/vList5"/>
    <dgm:cxn modelId="{32AF1F3D-5EA1-450F-8B1A-3D70422409A6}" type="presOf" srcId="{7931435D-86CC-4E5F-AEA6-654DD645A9D0}" destId="{454F4EDA-E589-4A16-85DB-0C9792B930E7}" srcOrd="0" destOrd="0" presId="urn:microsoft.com/office/officeart/2005/8/layout/vList5"/>
    <dgm:cxn modelId="{C483A43D-73E3-4158-88EB-CDF3567288B7}" srcId="{DAD06F05-3903-433B-819B-F96CE91CF596}" destId="{20957546-E2E6-4C4F-A825-E41FDCB44123}" srcOrd="7" destOrd="0" parTransId="{07DDE6D8-5DDE-4F0C-B580-0CA40CB314C9}" sibTransId="{EC765BAE-E94A-41CB-9F32-46EB3F4230F0}"/>
    <dgm:cxn modelId="{6EDFA43D-43B9-43EB-9B42-1D3E9429292A}" type="presOf" srcId="{2794341A-3A19-47AD-BC1F-21948E35D1C8}" destId="{49C2723C-B03B-4629-9710-5551D1B5F32A}" srcOrd="0" destOrd="1" presId="urn:microsoft.com/office/officeart/2005/8/layout/vList5"/>
    <dgm:cxn modelId="{D5DBFA3D-7122-43F1-AD34-4F94C6F7E5DE}" srcId="{1A0A2AA1-69D5-4E14-A15E-0D5DB2762F19}" destId="{CD757011-5728-4BF4-853F-70E13533E937}" srcOrd="0" destOrd="0" parTransId="{4FA3D885-C227-4859-BFAF-3178421AB4D0}" sibTransId="{1F91DA92-BB7C-4DFA-AAAA-66381A48E26F}"/>
    <dgm:cxn modelId="{47AF0040-62D8-4955-B934-D07296289B34}" type="presOf" srcId="{D5580CC8-4226-4966-B0C7-B3FAD54F1C41}" destId="{2BDD3F66-042D-48A7-8A12-4EEFBC3BB338}" srcOrd="0" destOrd="1" presId="urn:microsoft.com/office/officeart/2005/8/layout/vList5"/>
    <dgm:cxn modelId="{3DAADE5C-63C1-4BD1-88A2-C4A2AEC3B537}" type="presOf" srcId="{B2BA9B24-2803-4E39-8F75-D6AEA508EFF4}" destId="{ECB50969-2EBA-4889-BC7D-B884D0866E33}" srcOrd="0" destOrd="1" presId="urn:microsoft.com/office/officeart/2005/8/layout/vList5"/>
    <dgm:cxn modelId="{FD4AC943-CC0C-421B-9E55-E4A36E6FB31B}" srcId="{A857E58C-97AE-49CD-B97A-4AE61EDD56C3}" destId="{7931435D-86CC-4E5F-AEA6-654DD645A9D0}" srcOrd="0" destOrd="0" parTransId="{B0381B90-A790-4E10-9BB6-1081D6ED3F9B}" sibTransId="{18F1ED80-9C2A-4BD8-861D-545F84CFB19A}"/>
    <dgm:cxn modelId="{2E540764-9DC8-4EBC-A694-304529F67E64}" type="presOf" srcId="{1A0A2AA1-69D5-4E14-A15E-0D5DB2762F19}" destId="{24C0A0FD-C6B1-479F-931D-3DD94F912BF2}" srcOrd="0" destOrd="0" presId="urn:microsoft.com/office/officeart/2005/8/layout/vList5"/>
    <dgm:cxn modelId="{1C69A544-6EBB-4C03-86B8-22AB374E9E8D}" type="presOf" srcId="{00D4706A-CCA3-4E9F-8C3E-CF0DDD79D9A2}" destId="{07C64787-2A16-432E-A9E9-C9678F3B7697}" srcOrd="0" destOrd="1" presId="urn:microsoft.com/office/officeart/2005/8/layout/vList5"/>
    <dgm:cxn modelId="{E6A09145-0F8C-415C-A482-EEDDB699A02F}" srcId="{20957546-E2E6-4C4F-A825-E41FDCB44123}" destId="{DA9203E2-9037-4960-9139-082B6DF02509}" srcOrd="0" destOrd="0" parTransId="{EC4D8E22-9106-41D3-A5B2-C2DD9ACF0876}" sibTransId="{E8CB6306-59B0-4F13-A523-876EE6FE00FF}"/>
    <dgm:cxn modelId="{40030A4F-8005-4146-947D-9C8861E3E758}" srcId="{1A0A2AA1-69D5-4E14-A15E-0D5DB2762F19}" destId="{A146A60A-F6FF-403E-BD3B-788CE74740CF}" srcOrd="1" destOrd="0" parTransId="{8BEAC2C5-8B35-4C3F-B217-070C0E9C844E}" sibTransId="{7D01D85C-72AB-4F06-920F-F174E2039C49}"/>
    <dgm:cxn modelId="{FB086070-8266-4619-93B7-6FB54296AA25}" srcId="{84B6F318-F249-47A7-B863-1DCB043E2923}" destId="{8C91E56A-0109-4EAC-9D0C-F8D6E9E81F6C}" srcOrd="0" destOrd="0" parTransId="{4139C3C0-D755-4433-974E-6279466A0B4C}" sibTransId="{23F2F12C-BB4E-47F1-B19C-8E514A2B01BE}"/>
    <dgm:cxn modelId="{2FA4F479-58F3-475F-9038-02EC37E47D1C}" type="presOf" srcId="{A146A60A-F6FF-403E-BD3B-788CE74740CF}" destId="{BA1392D3-6B0C-439C-BF9F-5015A177764E}" srcOrd="0" destOrd="1" presId="urn:microsoft.com/office/officeart/2005/8/layout/vList5"/>
    <dgm:cxn modelId="{40EC938D-B9A2-452E-9E78-0B9AE66C5785}" type="presOf" srcId="{CD757011-5728-4BF4-853F-70E13533E937}" destId="{BA1392D3-6B0C-439C-BF9F-5015A177764E}" srcOrd="0" destOrd="0" presId="urn:microsoft.com/office/officeart/2005/8/layout/vList5"/>
    <dgm:cxn modelId="{C45F2490-3E16-4907-8161-71C1269C5470}" srcId="{EFE837F0-2D9A-4CDF-A1D4-4A926913B307}" destId="{B2BA9B24-2803-4E39-8F75-D6AEA508EFF4}" srcOrd="1" destOrd="0" parTransId="{DB3CC9BA-A727-461C-A7B8-B2C045D577F0}" sibTransId="{58A735D0-E3ED-4722-A2D2-258D94734A3C}"/>
    <dgm:cxn modelId="{707BDD95-DDEE-4F9A-A68B-9CB0E3FE6F6C}" type="presOf" srcId="{7EEF4263-4E6E-4004-960E-3E3E9468A3AC}" destId="{8E64AB20-F105-400F-8F74-08B70BF50322}" srcOrd="0" destOrd="0" presId="urn:microsoft.com/office/officeart/2005/8/layout/vList5"/>
    <dgm:cxn modelId="{DE0E99A8-CE8E-4D69-B45A-24558D22E55C}" type="presOf" srcId="{76DDE425-CDEB-404C-93B5-8D0C35C6C754}" destId="{5776C898-5446-41F9-AB50-6472EDBC184A}" srcOrd="0" destOrd="0" presId="urn:microsoft.com/office/officeart/2005/8/layout/vList5"/>
    <dgm:cxn modelId="{7FE0D6AA-B665-477E-9CB7-019F1FA26821}" srcId="{3BBE5F78-935B-42C9-B573-16AC714B10F1}" destId="{D5580CC8-4226-4966-B0C7-B3FAD54F1C41}" srcOrd="1" destOrd="0" parTransId="{73D0808D-3956-4C37-83AD-2C2F033958C5}" sibTransId="{88AECE78-B7D0-4C34-9A74-4EAAB1292F68}"/>
    <dgm:cxn modelId="{C246CAAE-BEAC-4621-83CB-B96E2847D403}" srcId="{20957546-E2E6-4C4F-A825-E41FDCB44123}" destId="{2794341A-3A19-47AD-BC1F-21948E35D1C8}" srcOrd="1" destOrd="0" parTransId="{F316696D-CD05-4A34-9361-FCE6E56769B4}" sibTransId="{5F043A97-59E8-407C-A796-D2958A322368}"/>
    <dgm:cxn modelId="{91A8A6B2-9435-4D1F-95FB-BD8A0D2C2514}" type="presOf" srcId="{3F619E9B-7592-4D0E-9488-8A5B974A1666}" destId="{07C64787-2A16-432E-A9E9-C9678F3B7697}" srcOrd="0" destOrd="0" presId="urn:microsoft.com/office/officeart/2005/8/layout/vList5"/>
    <dgm:cxn modelId="{CA5F7EB3-BE12-4A94-A8CB-1A7697C6DE1F}" srcId="{DAD06F05-3903-433B-819B-F96CE91CF596}" destId="{EFE837F0-2D9A-4CDF-A1D4-4A926913B307}" srcOrd="2" destOrd="0" parTransId="{F39B6D33-5DF0-4159-B422-777B81F4DA77}" sibTransId="{ECFD24B6-B38D-471B-8241-123E8F706492}"/>
    <dgm:cxn modelId="{A8264FB5-DE6C-4AEE-9908-2AC6266BDF4D}" srcId="{76DDE425-CDEB-404C-93B5-8D0C35C6C754}" destId="{09C134A8-57C9-4B7A-8E61-270DDC9D80C1}" srcOrd="0" destOrd="0" parTransId="{001AA634-5E41-4F08-878B-D2DA5F81117F}" sibTransId="{277E12D5-614A-41F5-8459-3239BA3C4823}"/>
    <dgm:cxn modelId="{60F52EB7-18A0-4650-A812-3A631F4DC109}" type="presOf" srcId="{20957546-E2E6-4C4F-A825-E41FDCB44123}" destId="{41746B8C-8FEC-420B-97BC-62C11CFA5A17}" srcOrd="0" destOrd="0" presId="urn:microsoft.com/office/officeart/2005/8/layout/vList5"/>
    <dgm:cxn modelId="{2834DCBD-6FDA-4C39-87B3-BCA93B3FFDAD}" type="presOf" srcId="{19AFF552-528C-4877-97A3-12FC6BD54D90}" destId="{2BDD3F66-042D-48A7-8A12-4EEFBC3BB338}" srcOrd="0" destOrd="0" presId="urn:microsoft.com/office/officeart/2005/8/layout/vList5"/>
    <dgm:cxn modelId="{3FD411C6-2775-4229-8BCD-B90CC9320E1F}" type="presOf" srcId="{8C91E56A-0109-4EAC-9D0C-F8D6E9E81F6C}" destId="{68C818A9-7C69-46B3-83C5-E9028463F0DA}" srcOrd="0" destOrd="0" presId="urn:microsoft.com/office/officeart/2005/8/layout/vList5"/>
    <dgm:cxn modelId="{A661A1CB-7EA3-4F55-AE86-D4B614935AD6}" type="presOf" srcId="{A857E58C-97AE-49CD-B97A-4AE61EDD56C3}" destId="{75BDDF79-3035-42C9-A99F-F5B297561CD6}" srcOrd="0" destOrd="0" presId="urn:microsoft.com/office/officeart/2005/8/layout/vList5"/>
    <dgm:cxn modelId="{5B239AD3-85FB-4C47-9CAB-2AF559CA73E6}" srcId="{EFE837F0-2D9A-4CDF-A1D4-4A926913B307}" destId="{8E7316BF-1222-45EA-ABE1-78CBE16193B1}" srcOrd="0" destOrd="0" parTransId="{73E5A098-945B-4C78-AD53-C2C174F65149}" sibTransId="{2DACA4EF-6F12-46A5-B1F1-21EA4A20873D}"/>
    <dgm:cxn modelId="{C62A1EDA-3826-44A9-9335-C8E7552C4330}" srcId="{DAD06F05-3903-433B-819B-F96CE91CF596}" destId="{3BBE5F78-935B-42C9-B573-16AC714B10F1}" srcOrd="1" destOrd="0" parTransId="{EE14023B-C2BA-4331-9C36-5E19183E6AEE}" sibTransId="{F495C1DF-00CA-4806-8848-4DB4430BC0E5}"/>
    <dgm:cxn modelId="{504908DB-3FC9-4C05-9B55-989A070DC9BD}" srcId="{DAD06F05-3903-433B-819B-F96CE91CF596}" destId="{1A0A2AA1-69D5-4E14-A15E-0D5DB2762F19}" srcOrd="5" destOrd="0" parTransId="{9EAEA37A-A80A-4B0B-86C0-F7BC883CD3FA}" sibTransId="{1BC57049-2068-4AC0-BFB4-94C5D69D5D48}"/>
    <dgm:cxn modelId="{E5CF5CDD-012A-4955-AA75-58B4E09FAB96}" srcId="{DAD06F05-3903-433B-819B-F96CE91CF596}" destId="{7EEF4263-4E6E-4004-960E-3E3E9468A3AC}" srcOrd="3" destOrd="0" parTransId="{7A13DF79-CCAA-4E59-AC08-5B2E4EED69BF}" sibTransId="{4CE6DE60-F69C-4621-8578-4D44E879034E}"/>
    <dgm:cxn modelId="{309C19EB-8138-496D-9EB7-437788006B10}" srcId="{3BBE5F78-935B-42C9-B573-16AC714B10F1}" destId="{19AFF552-528C-4877-97A3-12FC6BD54D90}" srcOrd="0" destOrd="0" parTransId="{269718FA-B77B-41E9-B6BC-51C9841D86BE}" sibTransId="{CBC002CF-AA4E-4F12-AA57-C4D942495BB3}"/>
    <dgm:cxn modelId="{5A39FCF3-AD21-4C63-B500-12FEC3752B92}" srcId="{DAD06F05-3903-433B-819B-F96CE91CF596}" destId="{A857E58C-97AE-49CD-B97A-4AE61EDD56C3}" srcOrd="0" destOrd="0" parTransId="{7CFB9093-54FB-41EF-8F19-CC73B6679103}" sibTransId="{86CA84AA-D830-417D-BF7F-4979D17CBEAE}"/>
    <dgm:cxn modelId="{DE7906F5-3B68-4298-876A-FF154F8BB589}" srcId="{7EEF4263-4E6E-4004-960E-3E3E9468A3AC}" destId="{3F619E9B-7592-4D0E-9488-8A5B974A1666}" srcOrd="0" destOrd="0" parTransId="{0D2C2944-594A-4519-9F06-1D0E1C1376FF}" sibTransId="{EA1A8E51-D814-4655-B17C-2C181E2F44C0}"/>
    <dgm:cxn modelId="{79FEF3F5-AAA5-4DB4-9494-28E0A42D7E96}" type="presOf" srcId="{8E7316BF-1222-45EA-ABE1-78CBE16193B1}" destId="{ECB50969-2EBA-4889-BC7D-B884D0866E33}" srcOrd="0" destOrd="0" presId="urn:microsoft.com/office/officeart/2005/8/layout/vList5"/>
    <dgm:cxn modelId="{900C6FFE-ABCD-4F81-83C8-9D3E7754E483}" type="presOf" srcId="{C722E49D-B435-4261-B5BA-09F512595731}" destId="{1659659C-CE82-4BE1-928B-B3C52FC9FD5A}" srcOrd="0" destOrd="1" presId="urn:microsoft.com/office/officeart/2005/8/layout/vList5"/>
    <dgm:cxn modelId="{258C70FE-81C9-46D5-BA41-7C3E7D70C18C}" type="presOf" srcId="{3BBE5F78-935B-42C9-B573-16AC714B10F1}" destId="{46830796-4281-4E9F-8DEE-0DD2DF16825B}" srcOrd="0" destOrd="0" presId="urn:microsoft.com/office/officeart/2005/8/layout/vList5"/>
    <dgm:cxn modelId="{4612FEFE-DCCA-4CBA-ABA0-529E15B54A39}" srcId="{DAD06F05-3903-433B-819B-F96CE91CF596}" destId="{84B6F318-F249-47A7-B863-1DCB043E2923}" srcOrd="6" destOrd="0" parTransId="{F0CB68FD-3ADB-40A7-90FE-A9712E5FF0C5}" sibTransId="{E0668F7F-2AB5-4168-8F33-48790C1AB099}"/>
    <dgm:cxn modelId="{E2FDCCF1-5448-45E8-A7DD-5F4810FC3751}" type="presParOf" srcId="{5B4AEF64-28AE-485F-8316-5EC472702409}" destId="{892E7779-DCF7-49DC-B0CB-6BFF0EF6741F}" srcOrd="0" destOrd="0" presId="urn:microsoft.com/office/officeart/2005/8/layout/vList5"/>
    <dgm:cxn modelId="{92BE393F-3174-4171-8796-AD90E06F3CAA}" type="presParOf" srcId="{892E7779-DCF7-49DC-B0CB-6BFF0EF6741F}" destId="{75BDDF79-3035-42C9-A99F-F5B297561CD6}" srcOrd="0" destOrd="0" presId="urn:microsoft.com/office/officeart/2005/8/layout/vList5"/>
    <dgm:cxn modelId="{490AB15B-4143-40BE-848B-A85A76D6806A}" type="presParOf" srcId="{892E7779-DCF7-49DC-B0CB-6BFF0EF6741F}" destId="{454F4EDA-E589-4A16-85DB-0C9792B930E7}" srcOrd="1" destOrd="0" presId="urn:microsoft.com/office/officeart/2005/8/layout/vList5"/>
    <dgm:cxn modelId="{0BB72D25-0196-4E68-9B94-10AAA9F457C2}" type="presParOf" srcId="{5B4AEF64-28AE-485F-8316-5EC472702409}" destId="{81BEC21C-0012-4E95-BB17-9B2AA37A90D4}" srcOrd="1" destOrd="0" presId="urn:microsoft.com/office/officeart/2005/8/layout/vList5"/>
    <dgm:cxn modelId="{697DB389-629F-4A6B-ADBD-B20531B61827}" type="presParOf" srcId="{5B4AEF64-28AE-485F-8316-5EC472702409}" destId="{3AB861FE-6227-4EE5-A6DA-C65C44CFB581}" srcOrd="2" destOrd="0" presId="urn:microsoft.com/office/officeart/2005/8/layout/vList5"/>
    <dgm:cxn modelId="{1504853D-E578-4EA6-ACDA-A4ED2D3581F9}" type="presParOf" srcId="{3AB861FE-6227-4EE5-A6DA-C65C44CFB581}" destId="{46830796-4281-4E9F-8DEE-0DD2DF16825B}" srcOrd="0" destOrd="0" presId="urn:microsoft.com/office/officeart/2005/8/layout/vList5"/>
    <dgm:cxn modelId="{C434CEBC-991B-426F-90E8-7756F75DA485}" type="presParOf" srcId="{3AB861FE-6227-4EE5-A6DA-C65C44CFB581}" destId="{2BDD3F66-042D-48A7-8A12-4EEFBC3BB338}" srcOrd="1" destOrd="0" presId="urn:microsoft.com/office/officeart/2005/8/layout/vList5"/>
    <dgm:cxn modelId="{A23BCE16-8305-4517-9DA2-E4F487189928}" type="presParOf" srcId="{5B4AEF64-28AE-485F-8316-5EC472702409}" destId="{BCFB7EE6-BA37-4E65-98F6-BDF5A4F3F69C}" srcOrd="3" destOrd="0" presId="urn:microsoft.com/office/officeart/2005/8/layout/vList5"/>
    <dgm:cxn modelId="{8229E0C7-AAE2-42C6-886B-6CA804E09D26}" type="presParOf" srcId="{5B4AEF64-28AE-485F-8316-5EC472702409}" destId="{5D8D81FC-E2E7-467C-9C14-B6D3623F36DF}" srcOrd="4" destOrd="0" presId="urn:microsoft.com/office/officeart/2005/8/layout/vList5"/>
    <dgm:cxn modelId="{DFCFD670-6E16-473D-B9D3-9C1B0C9D0321}" type="presParOf" srcId="{5D8D81FC-E2E7-467C-9C14-B6D3623F36DF}" destId="{101019C5-FDD6-4886-90F5-F669DD820F3A}" srcOrd="0" destOrd="0" presId="urn:microsoft.com/office/officeart/2005/8/layout/vList5"/>
    <dgm:cxn modelId="{865DA2CF-E2F0-4C84-886E-39CEEB0919BE}" type="presParOf" srcId="{5D8D81FC-E2E7-467C-9C14-B6D3623F36DF}" destId="{ECB50969-2EBA-4889-BC7D-B884D0866E33}" srcOrd="1" destOrd="0" presId="urn:microsoft.com/office/officeart/2005/8/layout/vList5"/>
    <dgm:cxn modelId="{324252B4-5A7E-413F-BD97-7E819D6D0F14}" type="presParOf" srcId="{5B4AEF64-28AE-485F-8316-5EC472702409}" destId="{99451625-FCC4-4B83-B889-E8DD158ED64F}" srcOrd="5" destOrd="0" presId="urn:microsoft.com/office/officeart/2005/8/layout/vList5"/>
    <dgm:cxn modelId="{ADAC34F0-3286-4679-B287-52F7B07D803A}" type="presParOf" srcId="{5B4AEF64-28AE-485F-8316-5EC472702409}" destId="{4B28F1C2-05BC-45C3-9269-7CE466037E26}" srcOrd="6" destOrd="0" presId="urn:microsoft.com/office/officeart/2005/8/layout/vList5"/>
    <dgm:cxn modelId="{866D56D5-D91D-491A-B851-7E92B4F3BB95}" type="presParOf" srcId="{4B28F1C2-05BC-45C3-9269-7CE466037E26}" destId="{8E64AB20-F105-400F-8F74-08B70BF50322}" srcOrd="0" destOrd="0" presId="urn:microsoft.com/office/officeart/2005/8/layout/vList5"/>
    <dgm:cxn modelId="{AB6F072F-011C-4B83-AF42-5CCD0A61AFE6}" type="presParOf" srcId="{4B28F1C2-05BC-45C3-9269-7CE466037E26}" destId="{07C64787-2A16-432E-A9E9-C9678F3B7697}" srcOrd="1" destOrd="0" presId="urn:microsoft.com/office/officeart/2005/8/layout/vList5"/>
    <dgm:cxn modelId="{E04F19AE-0206-4CD8-9BC8-658A00C9FEDB}" type="presParOf" srcId="{5B4AEF64-28AE-485F-8316-5EC472702409}" destId="{0F34426D-C1A0-4D72-9913-BAE6F3F4B6F0}" srcOrd="7" destOrd="0" presId="urn:microsoft.com/office/officeart/2005/8/layout/vList5"/>
    <dgm:cxn modelId="{AE6C3DA0-1F64-495A-9C4E-B7766F490328}" type="presParOf" srcId="{5B4AEF64-28AE-485F-8316-5EC472702409}" destId="{108676FA-28CB-421F-8835-8ED57B52B896}" srcOrd="8" destOrd="0" presId="urn:microsoft.com/office/officeart/2005/8/layout/vList5"/>
    <dgm:cxn modelId="{D3A1C109-0024-4318-A06E-DA4F64D12547}" type="presParOf" srcId="{108676FA-28CB-421F-8835-8ED57B52B896}" destId="{5776C898-5446-41F9-AB50-6472EDBC184A}" srcOrd="0" destOrd="0" presId="urn:microsoft.com/office/officeart/2005/8/layout/vList5"/>
    <dgm:cxn modelId="{7A0D9362-B968-4FCF-8A79-57C2BC6880F4}" type="presParOf" srcId="{108676FA-28CB-421F-8835-8ED57B52B896}" destId="{1659659C-CE82-4BE1-928B-B3C52FC9FD5A}" srcOrd="1" destOrd="0" presId="urn:microsoft.com/office/officeart/2005/8/layout/vList5"/>
    <dgm:cxn modelId="{91D50429-C623-40FE-9978-60A467E1545A}" type="presParOf" srcId="{5B4AEF64-28AE-485F-8316-5EC472702409}" destId="{88733FFE-4DB0-4BEC-B2C2-E11BCE30AB37}" srcOrd="9" destOrd="0" presId="urn:microsoft.com/office/officeart/2005/8/layout/vList5"/>
    <dgm:cxn modelId="{067D9BC7-DE9E-42C1-B43A-D29111BF369C}" type="presParOf" srcId="{5B4AEF64-28AE-485F-8316-5EC472702409}" destId="{5D58E42B-2060-489A-8BD9-92C85736B2EE}" srcOrd="10" destOrd="0" presId="urn:microsoft.com/office/officeart/2005/8/layout/vList5"/>
    <dgm:cxn modelId="{DA70AF37-6C57-4661-8262-ED64BFC82ABF}" type="presParOf" srcId="{5D58E42B-2060-489A-8BD9-92C85736B2EE}" destId="{24C0A0FD-C6B1-479F-931D-3DD94F912BF2}" srcOrd="0" destOrd="0" presId="urn:microsoft.com/office/officeart/2005/8/layout/vList5"/>
    <dgm:cxn modelId="{73EFFCA6-9C7F-43A2-86BF-CEEEBB0193C6}" type="presParOf" srcId="{5D58E42B-2060-489A-8BD9-92C85736B2EE}" destId="{BA1392D3-6B0C-439C-BF9F-5015A177764E}" srcOrd="1" destOrd="0" presId="urn:microsoft.com/office/officeart/2005/8/layout/vList5"/>
    <dgm:cxn modelId="{E74A9680-2E5E-4907-B63D-7600F46CAA45}" type="presParOf" srcId="{5B4AEF64-28AE-485F-8316-5EC472702409}" destId="{0D217F7E-BDFD-4B07-A1EC-006DB4D9F135}" srcOrd="11" destOrd="0" presId="urn:microsoft.com/office/officeart/2005/8/layout/vList5"/>
    <dgm:cxn modelId="{A5C92B11-771F-44AB-B012-78B991281EA7}" type="presParOf" srcId="{5B4AEF64-28AE-485F-8316-5EC472702409}" destId="{A3B13F0C-42F6-4A4D-A383-5362C1F40F32}" srcOrd="12" destOrd="0" presId="urn:microsoft.com/office/officeart/2005/8/layout/vList5"/>
    <dgm:cxn modelId="{DDF0E3BC-917D-4145-932F-E64270070E62}" type="presParOf" srcId="{A3B13F0C-42F6-4A4D-A383-5362C1F40F32}" destId="{DBD9D043-BD78-4105-ABCD-AD59034829C1}" srcOrd="0" destOrd="0" presId="urn:microsoft.com/office/officeart/2005/8/layout/vList5"/>
    <dgm:cxn modelId="{6D487687-29B5-4BA3-9A4A-8B1DCD411459}" type="presParOf" srcId="{A3B13F0C-42F6-4A4D-A383-5362C1F40F32}" destId="{68C818A9-7C69-46B3-83C5-E9028463F0DA}" srcOrd="1" destOrd="0" presId="urn:microsoft.com/office/officeart/2005/8/layout/vList5"/>
    <dgm:cxn modelId="{93A37D49-9A68-4156-BFDD-8B7A28C64D39}" type="presParOf" srcId="{5B4AEF64-28AE-485F-8316-5EC472702409}" destId="{D7093BD5-9BFF-4606-890F-BF2368DA3BCF}" srcOrd="13" destOrd="0" presId="urn:microsoft.com/office/officeart/2005/8/layout/vList5"/>
    <dgm:cxn modelId="{3716BB46-7978-4A37-A14C-BEA0344F9923}" type="presParOf" srcId="{5B4AEF64-28AE-485F-8316-5EC472702409}" destId="{DE29CE80-CA37-4285-BF81-32CCA6697A1A}" srcOrd="14" destOrd="0" presId="urn:microsoft.com/office/officeart/2005/8/layout/vList5"/>
    <dgm:cxn modelId="{14D99820-28DE-45BF-9DBD-155C2B3E922B}" type="presParOf" srcId="{DE29CE80-CA37-4285-BF81-32CCA6697A1A}" destId="{41746B8C-8FEC-420B-97BC-62C11CFA5A17}" srcOrd="0" destOrd="0" presId="urn:microsoft.com/office/officeart/2005/8/layout/vList5"/>
    <dgm:cxn modelId="{6FB4EB6F-DEFB-416F-B1CA-BA8798F353F2}" type="presParOf" srcId="{DE29CE80-CA37-4285-BF81-32CCA6697A1A}" destId="{49C2723C-B03B-4629-9710-5551D1B5F32A}" srcOrd="1" destOrd="0" presId="urn:microsoft.com/office/officeart/2005/8/layout/vList5"/>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6D1570-5085-4BBE-BBA4-FC27A9482638}"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C6DD763B-FA00-4CCA-96D2-C59D469140A1}" type="pres">
      <dgm:prSet presAssocID="{9C6D1570-5085-4BBE-BBA4-FC27A9482638}" presName="Name0" presStyleCnt="0">
        <dgm:presLayoutVars>
          <dgm:dir/>
          <dgm:animLvl val="lvl"/>
          <dgm:resizeHandles val="exact"/>
        </dgm:presLayoutVars>
      </dgm:prSet>
      <dgm:spPr/>
    </dgm:pt>
  </dgm:ptLst>
  <dgm:cxnLst>
    <dgm:cxn modelId="{ECE90041-3460-4A85-897D-8BABBC7047AA}" type="presOf" srcId="{9C6D1570-5085-4BBE-BBA4-FC27A9482638}" destId="{C6DD763B-FA00-4CCA-96D2-C59D469140A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AD06F05-3903-433B-819B-F96CE91CF596}"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A857E58C-97AE-49CD-B97A-4AE61EDD56C3}">
      <dgm:prSet/>
      <dgm:spPr>
        <a:solidFill>
          <a:schemeClr val="accent3">
            <a:lumMod val="20000"/>
            <a:lumOff val="80000"/>
          </a:schemeClr>
        </a:solidFill>
        <a:ln>
          <a:noFill/>
        </a:ln>
      </dgm:spPr>
      <dgm:t>
        <a:bodyPr/>
        <a:lstStyle/>
        <a:p>
          <a:pPr rtl="0"/>
          <a:r>
            <a:rPr lang="en-US" dirty="0"/>
            <a:t>ASIC/CPU/Mem</a:t>
          </a:r>
        </a:p>
      </dgm:t>
    </dgm:pt>
    <dgm:pt modelId="{7CFB9093-54FB-41EF-8F19-CC73B6679103}" type="parTrans" cxnId="{5A39FCF3-AD21-4C63-B500-12FEC3752B92}">
      <dgm:prSet/>
      <dgm:spPr/>
      <dgm:t>
        <a:bodyPr/>
        <a:lstStyle/>
        <a:p>
          <a:endParaRPr lang="en-US"/>
        </a:p>
      </dgm:t>
    </dgm:pt>
    <dgm:pt modelId="{86CA84AA-D830-417D-BF7F-4979D17CBEAE}" type="sibTrans" cxnId="{5A39FCF3-AD21-4C63-B500-12FEC3752B92}">
      <dgm:prSet/>
      <dgm:spPr/>
      <dgm:t>
        <a:bodyPr/>
        <a:lstStyle/>
        <a:p>
          <a:endParaRPr lang="en-US"/>
        </a:p>
      </dgm:t>
    </dgm:pt>
    <dgm:pt modelId="{7931435D-86CC-4E5F-AEA6-654DD645A9D0}">
      <dgm:prSet custT="1"/>
      <dgm:spPr>
        <a:solidFill>
          <a:srgbClr val="D1E6F7">
            <a:alpha val="90000"/>
          </a:srgbClr>
        </a:solidFill>
        <a:ln>
          <a:noFill/>
        </a:ln>
      </dgm:spPr>
      <dgm:t>
        <a:bodyPr/>
        <a:lstStyle/>
        <a:p>
          <a:pPr rtl="0"/>
          <a:r>
            <a:rPr kumimoji="0" lang="en-US" sz="800" b="0" i="0" u="none" strike="noStrike" cap="none" spc="0" normalizeH="0" baseline="0" noProof="0" dirty="0">
              <a:ln>
                <a:noFill/>
              </a:ln>
              <a:solidFill>
                <a:schemeClr val="tx2"/>
              </a:solidFill>
              <a:effectLst/>
              <a:uLnTx/>
              <a:uFillTx/>
              <a:latin typeface="+mn-lt"/>
              <a:ea typeface="+mn-ea"/>
              <a:cs typeface="+mn-cs"/>
            </a:rPr>
            <a:t>1RU, Width 17.5 Inches, Depth 250 mm</a:t>
          </a:r>
          <a:endParaRPr lang="en-US" sz="800" dirty="0">
            <a:solidFill>
              <a:schemeClr val="tx2"/>
            </a:solidFill>
            <a:latin typeface="+mn-lt"/>
          </a:endParaRPr>
        </a:p>
      </dgm:t>
    </dgm:pt>
    <dgm:pt modelId="{B0381B90-A790-4E10-9BB6-1081D6ED3F9B}" type="parTrans" cxnId="{FD4AC943-CC0C-421B-9E55-E4A36E6FB31B}">
      <dgm:prSet/>
      <dgm:spPr/>
      <dgm:t>
        <a:bodyPr/>
        <a:lstStyle/>
        <a:p>
          <a:endParaRPr lang="en-US"/>
        </a:p>
      </dgm:t>
    </dgm:pt>
    <dgm:pt modelId="{18F1ED80-9C2A-4BD8-861D-545F84CFB19A}" type="sibTrans" cxnId="{FD4AC943-CC0C-421B-9E55-E4A36E6FB31B}">
      <dgm:prSet/>
      <dgm:spPr/>
      <dgm:t>
        <a:bodyPr/>
        <a:lstStyle/>
        <a:p>
          <a:endParaRPr lang="en-US"/>
        </a:p>
      </dgm:t>
    </dgm:pt>
    <dgm:pt modelId="{3BBE5F78-935B-42C9-B573-16AC714B10F1}">
      <dgm:prSet/>
      <dgm:spPr>
        <a:solidFill>
          <a:schemeClr val="accent3">
            <a:lumMod val="20000"/>
            <a:lumOff val="80000"/>
          </a:schemeClr>
        </a:solidFill>
        <a:ln>
          <a:noFill/>
        </a:ln>
      </dgm:spPr>
      <dgm:t>
        <a:bodyPr/>
        <a:lstStyle/>
        <a:p>
          <a:pPr rtl="0"/>
          <a:r>
            <a:rPr lang="en-US" dirty="0"/>
            <a:t>Port Config</a:t>
          </a:r>
        </a:p>
      </dgm:t>
    </dgm:pt>
    <dgm:pt modelId="{EE14023B-C2BA-4331-9C36-5E19183E6AEE}" type="parTrans" cxnId="{C62A1EDA-3826-44A9-9335-C8E7552C4330}">
      <dgm:prSet/>
      <dgm:spPr/>
      <dgm:t>
        <a:bodyPr/>
        <a:lstStyle/>
        <a:p>
          <a:endParaRPr lang="en-US"/>
        </a:p>
      </dgm:t>
    </dgm:pt>
    <dgm:pt modelId="{F495C1DF-00CA-4806-8848-4DB4430BC0E5}" type="sibTrans" cxnId="{C62A1EDA-3826-44A9-9335-C8E7552C4330}">
      <dgm:prSet/>
      <dgm:spPr/>
      <dgm:t>
        <a:bodyPr/>
        <a:lstStyle/>
        <a:p>
          <a:endParaRPr lang="en-US"/>
        </a:p>
      </dgm:t>
    </dgm:pt>
    <dgm:pt modelId="{19AFF552-528C-4877-97A3-12FC6BD54D90}">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12x1G SFP + 4x1G Cu + 12x10G </a:t>
          </a:r>
          <a:endParaRPr kumimoji="0" lang="en-US" sz="800" b="0" i="0" u="none" strike="noStrike" kern="1200" cap="none" spc="0" normalizeH="0" baseline="0" dirty="0">
            <a:ln>
              <a:noFill/>
            </a:ln>
            <a:solidFill>
              <a:srgbClr val="005073"/>
            </a:solidFill>
            <a:effectLst/>
            <a:uLnTx/>
            <a:uFillTx/>
            <a:latin typeface="CiscoSansTT ExtraLight"/>
            <a:ea typeface="+mn-ea"/>
            <a:cs typeface="+mn-cs"/>
          </a:endParaRPr>
        </a:p>
      </dgm:t>
    </dgm:pt>
    <dgm:pt modelId="{269718FA-B77B-41E9-B6BC-51C9841D86BE}" type="parTrans" cxnId="{309C19EB-8138-496D-9EB7-437788006B10}">
      <dgm:prSet/>
      <dgm:spPr/>
      <dgm:t>
        <a:bodyPr/>
        <a:lstStyle/>
        <a:p>
          <a:endParaRPr lang="en-US"/>
        </a:p>
      </dgm:t>
    </dgm:pt>
    <dgm:pt modelId="{CBC002CF-AA4E-4F12-AA57-C4D942495BB3}" type="sibTrans" cxnId="{309C19EB-8138-496D-9EB7-437788006B10}">
      <dgm:prSet/>
      <dgm:spPr/>
      <dgm:t>
        <a:bodyPr/>
        <a:lstStyle/>
        <a:p>
          <a:endParaRPr lang="en-US"/>
        </a:p>
      </dgm:t>
    </dgm:pt>
    <dgm:pt modelId="{EFE837F0-2D9A-4CDF-A1D4-4A926913B307}">
      <dgm:prSet/>
      <dgm:spPr>
        <a:solidFill>
          <a:schemeClr val="accent3">
            <a:lumMod val="20000"/>
            <a:lumOff val="80000"/>
          </a:schemeClr>
        </a:solidFill>
        <a:ln>
          <a:noFill/>
        </a:ln>
      </dgm:spPr>
      <dgm:t>
        <a:bodyPr/>
        <a:lstStyle/>
        <a:p>
          <a:pPr rtl="0"/>
          <a:r>
            <a:rPr lang="en-US" dirty="0"/>
            <a:t>PSU/Fan</a:t>
          </a:r>
        </a:p>
      </dgm:t>
    </dgm:pt>
    <dgm:pt modelId="{F39B6D33-5DF0-4159-B422-777B81F4DA77}" type="parTrans" cxnId="{CA5F7EB3-BE12-4A94-A8CB-1A7697C6DE1F}">
      <dgm:prSet/>
      <dgm:spPr/>
      <dgm:t>
        <a:bodyPr/>
        <a:lstStyle/>
        <a:p>
          <a:endParaRPr lang="en-US"/>
        </a:p>
      </dgm:t>
    </dgm:pt>
    <dgm:pt modelId="{ECFD24B6-B38D-471B-8241-123E8F706492}" type="sibTrans" cxnId="{CA5F7EB3-BE12-4A94-A8CB-1A7697C6DE1F}">
      <dgm:prSet/>
      <dgm:spPr/>
      <dgm:t>
        <a:bodyPr/>
        <a:lstStyle/>
        <a:p>
          <a:endParaRPr lang="en-US"/>
        </a:p>
      </dgm:t>
    </dgm:pt>
    <dgm:pt modelId="{8E7316BF-1222-45EA-ABE1-78CBE16193B1}">
      <dgm:prSet custT="1"/>
      <dgm:spPr>
        <a:solidFill>
          <a:srgbClr val="D1E6F7">
            <a:alpha val="90000"/>
          </a:srgbClr>
        </a:solidFill>
        <a:ln>
          <a:noFill/>
        </a:ln>
      </dgm:spPr>
      <dgm:t>
        <a:bodyPr/>
        <a:lstStyle/>
        <a:p>
          <a:pPr rtl="0"/>
          <a:r>
            <a:rPr kumimoji="0" lang="en-US" sz="800" b="0" i="0" u="none" strike="noStrike" cap="none" spc="0" normalizeH="0" baseline="0" noProof="0" dirty="0">
              <a:ln>
                <a:noFill/>
              </a:ln>
              <a:solidFill>
                <a:schemeClr val="tx2"/>
              </a:solidFill>
              <a:effectLst/>
              <a:uLnTx/>
              <a:uFillTx/>
              <a:latin typeface="+mn-lt"/>
              <a:ea typeface="+mn-ea"/>
              <a:cs typeface="+mn-cs"/>
            </a:rPr>
            <a:t>PSU conformal coated, With</a:t>
          </a:r>
          <a:endParaRPr lang="en-US" sz="800" dirty="0">
            <a:solidFill>
              <a:schemeClr val="tx2"/>
            </a:solidFill>
            <a:latin typeface="+mn-lt"/>
          </a:endParaRPr>
        </a:p>
      </dgm:t>
    </dgm:pt>
    <dgm:pt modelId="{73E5A098-945B-4C78-AD53-C2C174F65149}" type="parTrans" cxnId="{5B239AD3-85FB-4C47-9CAB-2AF559CA73E6}">
      <dgm:prSet/>
      <dgm:spPr/>
      <dgm:t>
        <a:bodyPr/>
        <a:lstStyle/>
        <a:p>
          <a:endParaRPr lang="en-US"/>
        </a:p>
      </dgm:t>
    </dgm:pt>
    <dgm:pt modelId="{2DACA4EF-6F12-46A5-B1F1-21EA4A20873D}" type="sibTrans" cxnId="{5B239AD3-85FB-4C47-9CAB-2AF559CA73E6}">
      <dgm:prSet/>
      <dgm:spPr/>
      <dgm:t>
        <a:bodyPr/>
        <a:lstStyle/>
        <a:p>
          <a:endParaRPr lang="en-US"/>
        </a:p>
      </dgm:t>
    </dgm:pt>
    <dgm:pt modelId="{7EEF4263-4E6E-4004-960E-3E3E9468A3AC}">
      <dgm:prSet/>
      <dgm:spPr>
        <a:solidFill>
          <a:schemeClr val="accent3">
            <a:lumMod val="20000"/>
            <a:lumOff val="80000"/>
          </a:schemeClr>
        </a:solidFill>
        <a:ln>
          <a:noFill/>
        </a:ln>
      </dgm:spPr>
      <dgm:t>
        <a:bodyPr/>
        <a:lstStyle/>
        <a:p>
          <a:pPr rtl="0"/>
          <a:r>
            <a:rPr lang="en-US" dirty="0"/>
            <a:t>Temp Range</a:t>
          </a:r>
        </a:p>
      </dgm:t>
    </dgm:pt>
    <dgm:pt modelId="{7A13DF79-CCAA-4E59-AC08-5B2E4EED69BF}" type="parTrans" cxnId="{E5CF5CDD-012A-4955-AA75-58B4E09FAB96}">
      <dgm:prSet/>
      <dgm:spPr/>
      <dgm:t>
        <a:bodyPr/>
        <a:lstStyle/>
        <a:p>
          <a:endParaRPr lang="en-US"/>
        </a:p>
      </dgm:t>
    </dgm:pt>
    <dgm:pt modelId="{4CE6DE60-F69C-4621-8578-4D44E879034E}" type="sibTrans" cxnId="{E5CF5CDD-012A-4955-AA75-58B4E09FAB96}">
      <dgm:prSet/>
      <dgm:spPr/>
      <dgm:t>
        <a:bodyPr/>
        <a:lstStyle/>
        <a:p>
          <a:endParaRPr lang="en-US"/>
        </a:p>
      </dgm:t>
    </dgm:pt>
    <dgm:pt modelId="{3F619E9B-7592-4D0E-9488-8A5B974A1666}">
      <dgm:prSet custT="1"/>
      <dgm:spPr>
        <a:solidFill>
          <a:srgbClr val="D1E6F7">
            <a:alpha val="90000"/>
          </a:srgbClr>
        </a:solidFill>
        <a:ln>
          <a:noFill/>
        </a:ln>
      </dgm:spPr>
      <dgm:t>
        <a:bodyPr/>
        <a:lstStyle/>
        <a:p>
          <a:pPr rtl="0"/>
          <a:r>
            <a:rPr lang="en-US" sz="800" dirty="0" err="1">
              <a:solidFill>
                <a:schemeClr val="tx2"/>
              </a:solidFill>
              <a:latin typeface="+mn-lt"/>
            </a:rPr>
            <a:t>iTemp</a:t>
          </a:r>
          <a:r>
            <a:rPr lang="en-US" sz="800" dirty="0">
              <a:solidFill>
                <a:schemeClr val="tx2"/>
              </a:solidFill>
              <a:latin typeface="+mn-lt"/>
            </a:rPr>
            <a:t> -40C to +70C</a:t>
          </a:r>
        </a:p>
      </dgm:t>
    </dgm:pt>
    <dgm:pt modelId="{0D2C2944-594A-4519-9F06-1D0E1C1376FF}" type="parTrans" cxnId="{DE7906F5-3B68-4298-876A-FF154F8BB589}">
      <dgm:prSet/>
      <dgm:spPr/>
      <dgm:t>
        <a:bodyPr/>
        <a:lstStyle/>
        <a:p>
          <a:endParaRPr lang="en-US"/>
        </a:p>
      </dgm:t>
    </dgm:pt>
    <dgm:pt modelId="{EA1A8E51-D814-4655-B17C-2C181E2F44C0}" type="sibTrans" cxnId="{DE7906F5-3B68-4298-876A-FF154F8BB589}">
      <dgm:prSet/>
      <dgm:spPr/>
      <dgm:t>
        <a:bodyPr/>
        <a:lstStyle/>
        <a:p>
          <a:endParaRPr lang="en-US"/>
        </a:p>
      </dgm:t>
    </dgm:pt>
    <dgm:pt modelId="{00D4706A-CCA3-4E9F-8C3E-CF0DDD79D9A2}">
      <dgm:prSet custT="1"/>
      <dgm:spPr>
        <a:solidFill>
          <a:srgbClr val="D1E6F7">
            <a:alpha val="90000"/>
          </a:srgbClr>
        </a:solidFill>
        <a:ln>
          <a:noFill/>
        </a:ln>
      </dgm:spPr>
      <dgm:t>
        <a:bodyPr/>
        <a:lstStyle/>
        <a:p>
          <a:pPr rtl="0"/>
          <a:r>
            <a:rPr lang="en-US" sz="800" dirty="0">
              <a:solidFill>
                <a:schemeClr val="tx2"/>
              </a:solidFill>
              <a:latin typeface="+mn-lt"/>
            </a:rPr>
            <a:t>Conformal coated</a:t>
          </a:r>
        </a:p>
      </dgm:t>
    </dgm:pt>
    <dgm:pt modelId="{7BBEC611-1C42-449E-9EBA-CB57EDD32757}" type="parTrans" cxnId="{DB3E3202-BCA7-4684-B726-DFE2D2250AC2}">
      <dgm:prSet/>
      <dgm:spPr/>
      <dgm:t>
        <a:bodyPr/>
        <a:lstStyle/>
        <a:p>
          <a:endParaRPr lang="en-US"/>
        </a:p>
      </dgm:t>
    </dgm:pt>
    <dgm:pt modelId="{1964B2D3-B48E-432D-8C5D-A7D0C0C0E005}" type="sibTrans" cxnId="{DB3E3202-BCA7-4684-B726-DFE2D2250AC2}">
      <dgm:prSet/>
      <dgm:spPr/>
      <dgm:t>
        <a:bodyPr/>
        <a:lstStyle/>
        <a:p>
          <a:endParaRPr lang="en-US"/>
        </a:p>
      </dgm:t>
    </dgm:pt>
    <dgm:pt modelId="{5EA9DA79-28E7-45D4-871A-EF76EE70709D}">
      <dgm:prSet/>
      <dgm:spPr>
        <a:solidFill>
          <a:schemeClr val="accent3">
            <a:lumMod val="20000"/>
            <a:lumOff val="80000"/>
          </a:schemeClr>
        </a:solidFill>
        <a:ln>
          <a:noFill/>
        </a:ln>
      </dgm:spPr>
      <dgm:t>
        <a:bodyPr/>
        <a:lstStyle/>
        <a:p>
          <a:pPr rtl="0"/>
          <a:r>
            <a:rPr lang="en-US" dirty="0"/>
            <a:t>Timing</a:t>
          </a:r>
        </a:p>
      </dgm:t>
    </dgm:pt>
    <dgm:pt modelId="{974B947A-5332-4D17-9DC4-3924DFDB2080}" type="parTrans" cxnId="{C7A1E8A9-7E9B-4846-9A99-9A8E761214B3}">
      <dgm:prSet/>
      <dgm:spPr/>
      <dgm:t>
        <a:bodyPr/>
        <a:lstStyle/>
        <a:p>
          <a:endParaRPr lang="en-US"/>
        </a:p>
      </dgm:t>
    </dgm:pt>
    <dgm:pt modelId="{CF883CA7-B12F-4964-961F-BA435C55BCFC}" type="sibTrans" cxnId="{C7A1E8A9-7E9B-4846-9A99-9A8E761214B3}">
      <dgm:prSet/>
      <dgm:spPr/>
      <dgm:t>
        <a:bodyPr/>
        <a:lstStyle/>
        <a:p>
          <a:endParaRPr lang="en-US"/>
        </a:p>
      </dgm:t>
    </dgm:pt>
    <dgm:pt modelId="{C38B58B5-12D3-4A51-B860-16C18A107601}">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1588/</a:t>
          </a:r>
          <a:r>
            <a:rPr kumimoji="0" lang="en-US" sz="800" b="0" i="0" u="none" strike="noStrike" kern="1200" cap="none" spc="0" normalizeH="0" baseline="0" noProof="0" dirty="0" err="1">
              <a:ln>
                <a:noFill/>
              </a:ln>
              <a:solidFill>
                <a:srgbClr val="005073"/>
              </a:solidFill>
              <a:effectLst/>
              <a:uLnTx/>
              <a:uFillTx/>
              <a:latin typeface="CiscoSansTT ExtraLight"/>
              <a:ea typeface="+mn-ea"/>
              <a:cs typeface="+mn-cs"/>
            </a:rPr>
            <a:t>SyncE</a:t>
          </a: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 GNSS, 1PPS, </a:t>
          </a:r>
          <a:r>
            <a:rPr kumimoji="0" lang="en-US" sz="800" b="0" i="0" u="none" strike="noStrike" kern="1200" cap="none" spc="0" normalizeH="0" baseline="0" noProof="0" dirty="0" err="1">
              <a:ln>
                <a:noFill/>
              </a:ln>
              <a:solidFill>
                <a:srgbClr val="005073"/>
              </a:solidFill>
              <a:effectLst/>
              <a:uLnTx/>
              <a:uFillTx/>
              <a:latin typeface="CiscoSansTT ExtraLight"/>
              <a:ea typeface="+mn-ea"/>
              <a:cs typeface="+mn-cs"/>
            </a:rPr>
            <a:t>ToD</a:t>
          </a: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 10MHz, Class-C</a:t>
          </a:r>
          <a:endParaRPr kumimoji="0" lang="en-US" sz="800" b="0" i="0" u="none" strike="noStrike" kern="1200" cap="none" spc="0" normalizeH="0" baseline="0" dirty="0">
            <a:ln>
              <a:noFill/>
            </a:ln>
            <a:solidFill>
              <a:srgbClr val="005073"/>
            </a:solidFill>
            <a:effectLst/>
            <a:uLnTx/>
            <a:uFillTx/>
            <a:latin typeface="CiscoSansTT ExtraLight"/>
            <a:ea typeface="+mn-ea"/>
            <a:cs typeface="+mn-cs"/>
          </a:endParaRPr>
        </a:p>
      </dgm:t>
    </dgm:pt>
    <dgm:pt modelId="{D2454DE5-9BA9-4680-8918-DD86BC2131C0}" type="parTrans" cxnId="{058CD167-1915-429C-BF36-B12F4165BCC1}">
      <dgm:prSet/>
      <dgm:spPr/>
      <dgm:t>
        <a:bodyPr/>
        <a:lstStyle/>
        <a:p>
          <a:endParaRPr lang="en-US"/>
        </a:p>
      </dgm:t>
    </dgm:pt>
    <dgm:pt modelId="{73EEC26C-9C9C-433E-9189-7BE729F08491}" type="sibTrans" cxnId="{058CD167-1915-429C-BF36-B12F4165BCC1}">
      <dgm:prSet/>
      <dgm:spPr/>
      <dgm:t>
        <a:bodyPr/>
        <a:lstStyle/>
        <a:p>
          <a:endParaRPr lang="en-US"/>
        </a:p>
      </dgm:t>
    </dgm:pt>
    <dgm:pt modelId="{1A0A2AA1-69D5-4E14-A15E-0D5DB2762F19}">
      <dgm:prSet/>
      <dgm:spPr>
        <a:solidFill>
          <a:schemeClr val="accent3">
            <a:lumMod val="20000"/>
            <a:lumOff val="80000"/>
          </a:schemeClr>
        </a:solidFill>
        <a:ln>
          <a:noFill/>
        </a:ln>
      </dgm:spPr>
      <dgm:t>
        <a:bodyPr/>
        <a:lstStyle/>
        <a:p>
          <a:pPr rtl="0"/>
          <a:r>
            <a:rPr lang="en-US" dirty="0"/>
            <a:t>Software</a:t>
          </a:r>
        </a:p>
      </dgm:t>
    </dgm:pt>
    <dgm:pt modelId="{9EAEA37A-A80A-4B0B-86C0-F7BC883CD3FA}" type="parTrans" cxnId="{504908DB-3FC9-4C05-9B55-989A070DC9BD}">
      <dgm:prSet/>
      <dgm:spPr/>
      <dgm:t>
        <a:bodyPr/>
        <a:lstStyle/>
        <a:p>
          <a:endParaRPr lang="en-US"/>
        </a:p>
      </dgm:t>
    </dgm:pt>
    <dgm:pt modelId="{1BC57049-2068-4AC0-BFB4-94C5D69D5D48}" type="sibTrans" cxnId="{504908DB-3FC9-4C05-9B55-989A070DC9BD}">
      <dgm:prSet/>
      <dgm:spPr/>
      <dgm:t>
        <a:bodyPr/>
        <a:lstStyle/>
        <a:p>
          <a:endParaRPr lang="en-US"/>
        </a:p>
      </dgm:t>
    </dgm:pt>
    <dgm:pt modelId="{CD757011-5728-4BF4-853F-70E13533E937}">
      <dgm:prSet custT="1"/>
      <dgm:spPr>
        <a:solidFill>
          <a:srgbClr val="D1E6F7">
            <a:alpha val="89804"/>
          </a:srgbClr>
        </a:solidFill>
        <a:ln>
          <a:noFill/>
        </a:ln>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rgbClr val="005073"/>
              </a:solidFill>
              <a:effectLst/>
              <a:uLnTx/>
              <a:uFillTx/>
              <a:latin typeface="CiscoSansTT ExtraLight"/>
              <a:ea typeface="+mn-ea"/>
              <a:cs typeface="+mn-cs"/>
            </a:rPr>
            <a:t>FCS  IOS XR 7</a:t>
          </a:r>
        </a:p>
      </dgm:t>
    </dgm:pt>
    <dgm:pt modelId="{4FA3D885-C227-4859-BFAF-3178421AB4D0}" type="parTrans" cxnId="{D5DBFA3D-7122-43F1-AD34-4F94C6F7E5DE}">
      <dgm:prSet/>
      <dgm:spPr/>
      <dgm:t>
        <a:bodyPr/>
        <a:lstStyle/>
        <a:p>
          <a:endParaRPr lang="en-US"/>
        </a:p>
      </dgm:t>
    </dgm:pt>
    <dgm:pt modelId="{1F91DA92-BB7C-4DFA-AAAA-66381A48E26F}" type="sibTrans" cxnId="{D5DBFA3D-7122-43F1-AD34-4F94C6F7E5DE}">
      <dgm:prSet/>
      <dgm:spPr/>
      <dgm:t>
        <a:bodyPr/>
        <a:lstStyle/>
        <a:p>
          <a:endParaRPr lang="en-US"/>
        </a:p>
      </dgm:t>
    </dgm:pt>
    <dgm:pt modelId="{F23E4448-6EFA-E04A-A420-3F4B4047EFBC}">
      <dgm:prSet custT="1"/>
      <dgm:spPr/>
      <dgm:t>
        <a:bodyPr/>
        <a:lstStyle/>
        <a:p>
          <a:pPr rtl="0"/>
          <a:r>
            <a:rPr kumimoji="0" lang="en-US" sz="800" b="0" i="0" u="none" strike="noStrike" cap="none" spc="0" normalizeH="0" baseline="0" noProof="0" dirty="0">
              <a:ln>
                <a:noFill/>
              </a:ln>
              <a:solidFill>
                <a:schemeClr val="tx2"/>
              </a:solidFill>
              <a:effectLst/>
              <a:uLnTx/>
              <a:uFillTx/>
              <a:latin typeface="+mn-lt"/>
              <a:ea typeface="+mn-ea"/>
              <a:cs typeface="+mn-cs"/>
            </a:rPr>
            <a:t>Q-AX 160G BCOM, </a:t>
          </a:r>
          <a:r>
            <a:rPr kumimoji="0" lang="en-US" sz="800" b="0" i="0" u="none" strike="noStrike" cap="none" spc="0" normalizeH="0" baseline="0" noProof="0" dirty="0">
              <a:ln>
                <a:noFill/>
              </a:ln>
              <a:solidFill>
                <a:schemeClr val="tx2"/>
              </a:solidFill>
              <a:effectLst/>
              <a:uLnTx/>
              <a:uFillTx/>
              <a:latin typeface="+mn-lt"/>
              <a:ea typeface="+mn-ea"/>
              <a:cs typeface="Arial" panose="020B0604020202020204" pitchFamily="34" charset="0"/>
            </a:rPr>
            <a:t>Intel </a:t>
          </a:r>
          <a:r>
            <a:rPr kumimoji="0" lang="en-US" sz="800" b="0" i="0" u="none" strike="noStrike" cap="none" spc="0" normalizeH="0" baseline="0" noProof="0" dirty="0" err="1">
              <a:ln>
                <a:noFill/>
              </a:ln>
              <a:solidFill>
                <a:schemeClr val="tx2"/>
              </a:solidFill>
              <a:effectLst/>
              <a:uLnTx/>
              <a:uFillTx/>
              <a:latin typeface="+mn-lt"/>
              <a:ea typeface="+mn-ea"/>
              <a:cs typeface="Arial" panose="020B0604020202020204" pitchFamily="34" charset="0"/>
            </a:rPr>
            <a:t>Denverton</a:t>
          </a:r>
          <a:r>
            <a:rPr kumimoji="0" lang="en-US" sz="800" b="0" i="0" u="none" strike="noStrike" cap="none" spc="0" normalizeH="0" baseline="0" noProof="0" dirty="0">
              <a:ln>
                <a:noFill/>
              </a:ln>
              <a:solidFill>
                <a:schemeClr val="tx2"/>
              </a:solidFill>
              <a:effectLst/>
              <a:uLnTx/>
              <a:uFillTx/>
              <a:latin typeface="+mn-lt"/>
              <a:ea typeface="+mn-ea"/>
              <a:cs typeface="Arial" panose="020B0604020202020204" pitchFamily="34" charset="0"/>
            </a:rPr>
            <a:t> 4C 1.5GHz CPU</a:t>
          </a:r>
          <a:endParaRPr kumimoji="0" lang="en-US" sz="800" b="0" i="0" u="none" strike="noStrike" cap="none" spc="0" normalizeH="0" baseline="0" noProof="0" dirty="0">
            <a:ln>
              <a:noFill/>
            </a:ln>
            <a:solidFill>
              <a:schemeClr val="tx2"/>
            </a:solidFill>
            <a:effectLst/>
            <a:uLnTx/>
            <a:uFillTx/>
            <a:latin typeface="+mn-lt"/>
            <a:ea typeface="+mn-ea"/>
          </a:endParaRPr>
        </a:p>
      </dgm:t>
    </dgm:pt>
    <dgm:pt modelId="{67A17267-70F7-F54D-A3DE-3B0612710FA6}" type="parTrans" cxnId="{D56D5EC1-9DC8-014C-8E5F-6CCBEA40822F}">
      <dgm:prSet/>
      <dgm:spPr/>
      <dgm:t>
        <a:bodyPr/>
        <a:lstStyle/>
        <a:p>
          <a:endParaRPr lang="en-US"/>
        </a:p>
      </dgm:t>
    </dgm:pt>
    <dgm:pt modelId="{AD42EFC5-3ED0-5041-8A90-1ED1AEF7D397}" type="sibTrans" cxnId="{D56D5EC1-9DC8-014C-8E5F-6CCBEA40822F}">
      <dgm:prSet/>
      <dgm:spPr/>
      <dgm:t>
        <a:bodyPr/>
        <a:lstStyle/>
        <a:p>
          <a:endParaRPr lang="en-US"/>
        </a:p>
      </dgm:t>
    </dgm:pt>
    <dgm:pt modelId="{30336F5C-1634-824C-B3E3-66593C76809B}">
      <dgm:prSet custT="1"/>
      <dgm:spPr/>
      <dgm:t>
        <a:bodyPr/>
        <a:lstStyle/>
        <a:p>
          <a:pPr rtl="0"/>
          <a:r>
            <a:rPr kumimoji="0" lang="en-US" sz="800" b="0" i="0" u="none" strike="noStrike" cap="none" spc="0" normalizeH="0" baseline="0" noProof="0" dirty="0">
              <a:ln>
                <a:noFill/>
              </a:ln>
              <a:solidFill>
                <a:schemeClr val="tx2"/>
              </a:solidFill>
              <a:effectLst/>
              <a:uLnTx/>
              <a:uFillTx/>
              <a:latin typeface="+mn-lt"/>
              <a:ea typeface="+mn-ea"/>
              <a:cs typeface="+mn-cs"/>
            </a:rPr>
            <a:t>8 GB DRAM, 32G eMMC (</a:t>
          </a:r>
          <a:r>
            <a:rPr kumimoji="0" lang="en-IN" sz="800" b="0" i="0" u="none" strike="noStrike" cap="none" spc="0" normalizeH="0" baseline="0" noProof="0" dirty="0">
              <a:ln>
                <a:noFill/>
              </a:ln>
              <a:solidFill>
                <a:schemeClr val="tx2"/>
              </a:solidFill>
              <a:effectLst/>
              <a:uLnTx/>
              <a:uFillTx/>
              <a:latin typeface="+mn-lt"/>
              <a:ea typeface="+mn-ea"/>
              <a:cs typeface="+mn-cs"/>
            </a:rPr>
            <a:t>Embedded Multimedia Card</a:t>
          </a:r>
          <a:endParaRPr kumimoji="0" lang="en-US" sz="800" b="0" i="0" u="none" strike="noStrike" cap="none" spc="0" normalizeH="0" baseline="0" noProof="0" dirty="0">
            <a:ln>
              <a:noFill/>
            </a:ln>
            <a:solidFill>
              <a:schemeClr val="tx2"/>
            </a:solidFill>
            <a:effectLst/>
            <a:uLnTx/>
            <a:uFillTx/>
            <a:latin typeface="+mn-lt"/>
            <a:ea typeface="+mn-ea"/>
            <a:cs typeface="+mn-cs"/>
          </a:endParaRPr>
        </a:p>
      </dgm:t>
    </dgm:pt>
    <dgm:pt modelId="{3B5C5CFE-9EEB-424F-91BC-E34A5FEE2982}" type="parTrans" cxnId="{30DDC379-EEA7-CA43-B164-81566AA55D18}">
      <dgm:prSet/>
      <dgm:spPr/>
      <dgm:t>
        <a:bodyPr/>
        <a:lstStyle/>
        <a:p>
          <a:endParaRPr lang="en-US"/>
        </a:p>
      </dgm:t>
    </dgm:pt>
    <dgm:pt modelId="{7280DDF1-7422-8245-B494-D13550176625}" type="sibTrans" cxnId="{30DDC379-EEA7-CA43-B164-81566AA55D18}">
      <dgm:prSet/>
      <dgm:spPr/>
      <dgm:t>
        <a:bodyPr/>
        <a:lstStyle/>
        <a:p>
          <a:endParaRPr lang="en-US"/>
        </a:p>
      </dgm:t>
    </dgm:pt>
    <dgm:pt modelId="{F43F0758-CBFB-8048-A269-247D317730A5}">
      <dgm:prSet custT="1"/>
      <dgm:spPr/>
      <dgm:t>
        <a:bodyPr/>
        <a:lstStyle/>
        <a:p>
          <a:pPr rtl="0"/>
          <a:r>
            <a:rPr kumimoji="0" lang="en-US" sz="800" b="0" i="0" u="none" strike="noStrike" cap="none" spc="0" normalizeH="0" baseline="0" noProof="0" dirty="0">
              <a:ln>
                <a:noFill/>
              </a:ln>
              <a:solidFill>
                <a:schemeClr val="tx2"/>
              </a:solidFill>
              <a:effectLst/>
              <a:uLnTx/>
              <a:uFillTx/>
              <a:latin typeface="+mn-lt"/>
              <a:ea typeface="+mn-ea"/>
              <a:cs typeface="+mn-cs"/>
            </a:rPr>
            <a:t>Fixed PSU, Dual DC /Single AC PSU</a:t>
          </a:r>
        </a:p>
      </dgm:t>
    </dgm:pt>
    <dgm:pt modelId="{E844600D-5E58-A14B-BD55-F6256A36CBEB}" type="parTrans" cxnId="{6BA01295-640C-A046-9E2A-853BF20246EE}">
      <dgm:prSet/>
      <dgm:spPr/>
      <dgm:t>
        <a:bodyPr/>
        <a:lstStyle/>
        <a:p>
          <a:endParaRPr lang="en-US"/>
        </a:p>
      </dgm:t>
    </dgm:pt>
    <dgm:pt modelId="{AE05F794-0011-8A42-8694-5057C07F48D7}" type="sibTrans" cxnId="{6BA01295-640C-A046-9E2A-853BF20246EE}">
      <dgm:prSet/>
      <dgm:spPr/>
      <dgm:t>
        <a:bodyPr/>
        <a:lstStyle/>
        <a:p>
          <a:endParaRPr lang="en-US"/>
        </a:p>
      </dgm:t>
    </dgm:pt>
    <dgm:pt modelId="{88DC59B9-8CE4-0447-BF7F-FF8A08AB5B09}">
      <dgm:prSet custT="1"/>
      <dgm:spPr/>
      <dgm:t>
        <a:bodyPr/>
        <a:lstStyle/>
        <a:p>
          <a:pPr rtl="0"/>
          <a:r>
            <a:rPr kumimoji="0" lang="en-US" sz="800" b="0" i="0" u="none" strike="noStrike" cap="none" spc="0" normalizeH="0" baseline="0" noProof="0" dirty="0">
              <a:ln>
                <a:noFill/>
              </a:ln>
              <a:solidFill>
                <a:schemeClr val="tx2"/>
              </a:solidFill>
              <a:effectLst/>
              <a:uLnTx/>
              <a:uFillTx/>
              <a:latin typeface="+mn-lt"/>
              <a:ea typeface="+mn-ea"/>
              <a:cs typeface="+mn-cs"/>
            </a:rPr>
            <a:t>Fixed Fans, Side to Side airflow</a:t>
          </a:r>
        </a:p>
      </dgm:t>
    </dgm:pt>
    <dgm:pt modelId="{F94D527C-7248-C249-BD27-944FC7F386FF}" type="parTrans" cxnId="{D1C5EDCC-AB68-284B-8ACF-B701950F5F36}">
      <dgm:prSet/>
      <dgm:spPr/>
      <dgm:t>
        <a:bodyPr/>
        <a:lstStyle/>
        <a:p>
          <a:endParaRPr lang="en-US"/>
        </a:p>
      </dgm:t>
    </dgm:pt>
    <dgm:pt modelId="{600A2EA2-A415-0A44-9E5A-9315CFEE9129}" type="sibTrans" cxnId="{D1C5EDCC-AB68-284B-8ACF-B701950F5F36}">
      <dgm:prSet/>
      <dgm:spPr/>
      <dgm:t>
        <a:bodyPr/>
        <a:lstStyle/>
        <a:p>
          <a:endParaRPr lang="en-US"/>
        </a:p>
      </dgm:t>
    </dgm:pt>
    <dgm:pt modelId="{EBDE4401-F0C0-E742-8A99-5FD0858CC433}">
      <dgm:prSet custT="1"/>
      <dgm:spPr>
        <a:solidFill>
          <a:srgbClr val="D1E6F7">
            <a:alpha val="89804"/>
          </a:srgbClr>
        </a:solidFill>
        <a:ln>
          <a:noFill/>
        </a:ln>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rgbClr val="005073"/>
              </a:solidFill>
              <a:effectLst/>
              <a:uLnTx/>
              <a:uFillTx/>
              <a:latin typeface="CiscoSansTT ExtraLight"/>
              <a:ea typeface="+mn-ea"/>
              <a:cs typeface="+mn-cs"/>
            </a:rPr>
            <a:t>Feature parity with NCS 5500 </a:t>
          </a:r>
          <a:r>
            <a:rPr kumimoji="0" lang="en-US" sz="800" b="0" i="0" u="none" strike="noStrike" kern="1200" cap="none" spc="0" normalizeH="0" baseline="0" dirty="0" err="1">
              <a:ln>
                <a:noFill/>
              </a:ln>
              <a:solidFill>
                <a:srgbClr val="005073"/>
              </a:solidFill>
              <a:effectLst/>
              <a:uLnTx/>
              <a:uFillTx/>
              <a:latin typeface="CiscoSansTT ExtraLight"/>
              <a:ea typeface="+mn-ea"/>
              <a:cs typeface="+mn-cs"/>
            </a:rPr>
            <a:t>upto</a:t>
          </a:r>
          <a:r>
            <a:rPr kumimoji="0" lang="en-US" sz="800" b="0" i="0" u="none" strike="noStrike" kern="1200" cap="none" spc="0" normalizeH="0" baseline="0" dirty="0">
              <a:ln>
                <a:noFill/>
              </a:ln>
              <a:solidFill>
                <a:srgbClr val="005073"/>
              </a:solidFill>
              <a:effectLst/>
              <a:uLnTx/>
              <a:uFillTx/>
              <a:latin typeface="CiscoSansTT ExtraLight"/>
              <a:ea typeface="+mn-ea"/>
              <a:cs typeface="+mn-cs"/>
            </a:rPr>
            <a:t> 6.6.25 release during FCS</a:t>
          </a:r>
        </a:p>
      </dgm:t>
    </dgm:pt>
    <dgm:pt modelId="{FED4059F-DC13-2B45-87FE-94C04B45B296}" type="parTrans" cxnId="{455BE69E-77CE-CD42-A8F8-CC0584D4F17D}">
      <dgm:prSet/>
      <dgm:spPr/>
      <dgm:t>
        <a:bodyPr/>
        <a:lstStyle/>
        <a:p>
          <a:endParaRPr lang="en-US"/>
        </a:p>
      </dgm:t>
    </dgm:pt>
    <dgm:pt modelId="{B7924A65-2DC2-E047-AD8F-5E64CC94D297}" type="sibTrans" cxnId="{455BE69E-77CE-CD42-A8F8-CC0584D4F17D}">
      <dgm:prSet/>
      <dgm:spPr/>
      <dgm:t>
        <a:bodyPr/>
        <a:lstStyle/>
        <a:p>
          <a:endParaRPr lang="en-US"/>
        </a:p>
      </dgm:t>
    </dgm:pt>
    <dgm:pt modelId="{5B4AEF64-28AE-485F-8316-5EC472702409}" type="pres">
      <dgm:prSet presAssocID="{DAD06F05-3903-433B-819B-F96CE91CF596}" presName="Name0" presStyleCnt="0">
        <dgm:presLayoutVars>
          <dgm:dir/>
          <dgm:animLvl val="lvl"/>
          <dgm:resizeHandles val="exact"/>
        </dgm:presLayoutVars>
      </dgm:prSet>
      <dgm:spPr/>
    </dgm:pt>
    <dgm:pt modelId="{892E7779-DCF7-49DC-B0CB-6BFF0EF6741F}" type="pres">
      <dgm:prSet presAssocID="{A857E58C-97AE-49CD-B97A-4AE61EDD56C3}" presName="linNode" presStyleCnt="0"/>
      <dgm:spPr/>
    </dgm:pt>
    <dgm:pt modelId="{75BDDF79-3035-42C9-A99F-F5B297561CD6}" type="pres">
      <dgm:prSet presAssocID="{A857E58C-97AE-49CD-B97A-4AE61EDD56C3}" presName="parentText" presStyleLbl="node1" presStyleIdx="0" presStyleCnt="6">
        <dgm:presLayoutVars>
          <dgm:chMax val="1"/>
          <dgm:bulletEnabled val="1"/>
        </dgm:presLayoutVars>
      </dgm:prSet>
      <dgm:spPr/>
    </dgm:pt>
    <dgm:pt modelId="{454F4EDA-E589-4A16-85DB-0C9792B930E7}" type="pres">
      <dgm:prSet presAssocID="{A857E58C-97AE-49CD-B97A-4AE61EDD56C3}" presName="descendantText" presStyleLbl="alignAccFollowNode1" presStyleIdx="0" presStyleCnt="6">
        <dgm:presLayoutVars>
          <dgm:bulletEnabled val="1"/>
        </dgm:presLayoutVars>
      </dgm:prSet>
      <dgm:spPr/>
    </dgm:pt>
    <dgm:pt modelId="{81BEC21C-0012-4E95-BB17-9B2AA37A90D4}" type="pres">
      <dgm:prSet presAssocID="{86CA84AA-D830-417D-BF7F-4979D17CBEAE}" presName="sp" presStyleCnt="0"/>
      <dgm:spPr/>
    </dgm:pt>
    <dgm:pt modelId="{3AB861FE-6227-4EE5-A6DA-C65C44CFB581}" type="pres">
      <dgm:prSet presAssocID="{3BBE5F78-935B-42C9-B573-16AC714B10F1}" presName="linNode" presStyleCnt="0"/>
      <dgm:spPr/>
    </dgm:pt>
    <dgm:pt modelId="{46830796-4281-4E9F-8DEE-0DD2DF16825B}" type="pres">
      <dgm:prSet presAssocID="{3BBE5F78-935B-42C9-B573-16AC714B10F1}" presName="parentText" presStyleLbl="node1" presStyleIdx="1" presStyleCnt="6">
        <dgm:presLayoutVars>
          <dgm:chMax val="1"/>
          <dgm:bulletEnabled val="1"/>
        </dgm:presLayoutVars>
      </dgm:prSet>
      <dgm:spPr/>
    </dgm:pt>
    <dgm:pt modelId="{2BDD3F66-042D-48A7-8A12-4EEFBC3BB338}" type="pres">
      <dgm:prSet presAssocID="{3BBE5F78-935B-42C9-B573-16AC714B10F1}" presName="descendantText" presStyleLbl="alignAccFollowNode1" presStyleIdx="1" presStyleCnt="6">
        <dgm:presLayoutVars>
          <dgm:bulletEnabled val="1"/>
        </dgm:presLayoutVars>
      </dgm:prSet>
      <dgm:spPr/>
    </dgm:pt>
    <dgm:pt modelId="{BCFB7EE6-BA37-4E65-98F6-BDF5A4F3F69C}" type="pres">
      <dgm:prSet presAssocID="{F495C1DF-00CA-4806-8848-4DB4430BC0E5}" presName="sp" presStyleCnt="0"/>
      <dgm:spPr/>
    </dgm:pt>
    <dgm:pt modelId="{5D8D81FC-E2E7-467C-9C14-B6D3623F36DF}" type="pres">
      <dgm:prSet presAssocID="{EFE837F0-2D9A-4CDF-A1D4-4A926913B307}" presName="linNode" presStyleCnt="0"/>
      <dgm:spPr/>
    </dgm:pt>
    <dgm:pt modelId="{101019C5-FDD6-4886-90F5-F669DD820F3A}" type="pres">
      <dgm:prSet presAssocID="{EFE837F0-2D9A-4CDF-A1D4-4A926913B307}" presName="parentText" presStyleLbl="node1" presStyleIdx="2" presStyleCnt="6">
        <dgm:presLayoutVars>
          <dgm:chMax val="1"/>
          <dgm:bulletEnabled val="1"/>
        </dgm:presLayoutVars>
      </dgm:prSet>
      <dgm:spPr/>
    </dgm:pt>
    <dgm:pt modelId="{ECB50969-2EBA-4889-BC7D-B884D0866E33}" type="pres">
      <dgm:prSet presAssocID="{EFE837F0-2D9A-4CDF-A1D4-4A926913B307}" presName="descendantText" presStyleLbl="alignAccFollowNode1" presStyleIdx="2" presStyleCnt="6">
        <dgm:presLayoutVars>
          <dgm:bulletEnabled val="1"/>
        </dgm:presLayoutVars>
      </dgm:prSet>
      <dgm:spPr/>
    </dgm:pt>
    <dgm:pt modelId="{99451625-FCC4-4B83-B889-E8DD158ED64F}" type="pres">
      <dgm:prSet presAssocID="{ECFD24B6-B38D-471B-8241-123E8F706492}" presName="sp" presStyleCnt="0"/>
      <dgm:spPr/>
    </dgm:pt>
    <dgm:pt modelId="{4B28F1C2-05BC-45C3-9269-7CE466037E26}" type="pres">
      <dgm:prSet presAssocID="{7EEF4263-4E6E-4004-960E-3E3E9468A3AC}" presName="linNode" presStyleCnt="0"/>
      <dgm:spPr/>
    </dgm:pt>
    <dgm:pt modelId="{8E64AB20-F105-400F-8F74-08B70BF50322}" type="pres">
      <dgm:prSet presAssocID="{7EEF4263-4E6E-4004-960E-3E3E9468A3AC}" presName="parentText" presStyleLbl="node1" presStyleIdx="3" presStyleCnt="6">
        <dgm:presLayoutVars>
          <dgm:chMax val="1"/>
          <dgm:bulletEnabled val="1"/>
        </dgm:presLayoutVars>
      </dgm:prSet>
      <dgm:spPr/>
    </dgm:pt>
    <dgm:pt modelId="{07C64787-2A16-432E-A9E9-C9678F3B7697}" type="pres">
      <dgm:prSet presAssocID="{7EEF4263-4E6E-4004-960E-3E3E9468A3AC}" presName="descendantText" presStyleLbl="alignAccFollowNode1" presStyleIdx="3" presStyleCnt="6">
        <dgm:presLayoutVars>
          <dgm:bulletEnabled val="1"/>
        </dgm:presLayoutVars>
      </dgm:prSet>
      <dgm:spPr/>
    </dgm:pt>
    <dgm:pt modelId="{0F34426D-C1A0-4D72-9913-BAE6F3F4B6F0}" type="pres">
      <dgm:prSet presAssocID="{4CE6DE60-F69C-4621-8578-4D44E879034E}" presName="sp" presStyleCnt="0"/>
      <dgm:spPr/>
    </dgm:pt>
    <dgm:pt modelId="{B658F943-F0FE-42EE-B0D1-1847AF1AFE1A}" type="pres">
      <dgm:prSet presAssocID="{5EA9DA79-28E7-45D4-871A-EF76EE70709D}" presName="linNode" presStyleCnt="0"/>
      <dgm:spPr/>
    </dgm:pt>
    <dgm:pt modelId="{5CE93F69-8985-4E79-AB79-F77331DDDF29}" type="pres">
      <dgm:prSet presAssocID="{5EA9DA79-28E7-45D4-871A-EF76EE70709D}" presName="parentText" presStyleLbl="node1" presStyleIdx="4" presStyleCnt="6">
        <dgm:presLayoutVars>
          <dgm:chMax val="1"/>
          <dgm:bulletEnabled val="1"/>
        </dgm:presLayoutVars>
      </dgm:prSet>
      <dgm:spPr/>
    </dgm:pt>
    <dgm:pt modelId="{8E9693D4-37B8-411A-B81B-9FF4FED4D5AC}" type="pres">
      <dgm:prSet presAssocID="{5EA9DA79-28E7-45D4-871A-EF76EE70709D}" presName="descendantText" presStyleLbl="alignAccFollowNode1" presStyleIdx="4" presStyleCnt="6">
        <dgm:presLayoutVars>
          <dgm:bulletEnabled val="1"/>
        </dgm:presLayoutVars>
      </dgm:prSet>
      <dgm:spPr/>
    </dgm:pt>
    <dgm:pt modelId="{A467D402-92CD-4BF3-87FF-475BED166A57}" type="pres">
      <dgm:prSet presAssocID="{CF883CA7-B12F-4964-961F-BA435C55BCFC}" presName="sp" presStyleCnt="0"/>
      <dgm:spPr/>
    </dgm:pt>
    <dgm:pt modelId="{5D58E42B-2060-489A-8BD9-92C85736B2EE}" type="pres">
      <dgm:prSet presAssocID="{1A0A2AA1-69D5-4E14-A15E-0D5DB2762F19}" presName="linNode" presStyleCnt="0"/>
      <dgm:spPr/>
    </dgm:pt>
    <dgm:pt modelId="{24C0A0FD-C6B1-479F-931D-3DD94F912BF2}" type="pres">
      <dgm:prSet presAssocID="{1A0A2AA1-69D5-4E14-A15E-0D5DB2762F19}" presName="parentText" presStyleLbl="node1" presStyleIdx="5" presStyleCnt="6">
        <dgm:presLayoutVars>
          <dgm:chMax val="1"/>
          <dgm:bulletEnabled val="1"/>
        </dgm:presLayoutVars>
      </dgm:prSet>
      <dgm:spPr/>
    </dgm:pt>
    <dgm:pt modelId="{BA1392D3-6B0C-439C-BF9F-5015A177764E}" type="pres">
      <dgm:prSet presAssocID="{1A0A2AA1-69D5-4E14-A15E-0D5DB2762F19}" presName="descendantText" presStyleLbl="alignAccFollowNode1" presStyleIdx="5" presStyleCnt="6">
        <dgm:presLayoutVars>
          <dgm:bulletEnabled val="1"/>
        </dgm:presLayoutVars>
      </dgm:prSet>
      <dgm:spPr/>
    </dgm:pt>
  </dgm:ptLst>
  <dgm:cxnLst>
    <dgm:cxn modelId="{DB3E3202-BCA7-4684-B726-DFE2D2250AC2}" srcId="{7EEF4263-4E6E-4004-960E-3E3E9468A3AC}" destId="{00D4706A-CCA3-4E9F-8C3E-CF0DDD79D9A2}" srcOrd="1" destOrd="0" parTransId="{7BBEC611-1C42-449E-9EBA-CB57EDD32757}" sibTransId="{1964B2D3-B48E-432D-8C5D-A7D0C0C0E005}"/>
    <dgm:cxn modelId="{8E384F03-F82E-4A97-9EAA-D5DA2820E5C9}" type="presOf" srcId="{EFE837F0-2D9A-4CDF-A1D4-4A926913B307}" destId="{101019C5-FDD6-4886-90F5-F669DD820F3A}" srcOrd="0" destOrd="0" presId="urn:microsoft.com/office/officeart/2005/8/layout/vList5"/>
    <dgm:cxn modelId="{C0231222-31C8-D743-B4DE-9C2D93DA537E}" type="presOf" srcId="{F43F0758-CBFB-8048-A269-247D317730A5}" destId="{ECB50969-2EBA-4889-BC7D-B884D0866E33}" srcOrd="0" destOrd="1" presId="urn:microsoft.com/office/officeart/2005/8/layout/vList5"/>
    <dgm:cxn modelId="{5A10F72B-B70F-4047-833D-DF0ADBB6CAE9}" type="presOf" srcId="{DAD06F05-3903-433B-819B-F96CE91CF596}" destId="{5B4AEF64-28AE-485F-8316-5EC472702409}" srcOrd="0" destOrd="0" presId="urn:microsoft.com/office/officeart/2005/8/layout/vList5"/>
    <dgm:cxn modelId="{6D9EF636-0F10-7140-9BF3-DE62D51C0C05}" type="presOf" srcId="{88DC59B9-8CE4-0447-BF7F-FF8A08AB5B09}" destId="{ECB50969-2EBA-4889-BC7D-B884D0866E33}" srcOrd="0" destOrd="2" presId="urn:microsoft.com/office/officeart/2005/8/layout/vList5"/>
    <dgm:cxn modelId="{6742303A-528D-774C-9CF9-B8B4B69D6941}" type="presOf" srcId="{EBDE4401-F0C0-E742-8A99-5FD0858CC433}" destId="{BA1392D3-6B0C-439C-BF9F-5015A177764E}" srcOrd="0" destOrd="1" presId="urn:microsoft.com/office/officeart/2005/8/layout/vList5"/>
    <dgm:cxn modelId="{32AF1F3D-5EA1-450F-8B1A-3D70422409A6}" type="presOf" srcId="{7931435D-86CC-4E5F-AEA6-654DD645A9D0}" destId="{454F4EDA-E589-4A16-85DB-0C9792B930E7}" srcOrd="0" destOrd="0" presId="urn:microsoft.com/office/officeart/2005/8/layout/vList5"/>
    <dgm:cxn modelId="{D5DBFA3D-7122-43F1-AD34-4F94C6F7E5DE}" srcId="{1A0A2AA1-69D5-4E14-A15E-0D5DB2762F19}" destId="{CD757011-5728-4BF4-853F-70E13533E937}" srcOrd="0" destOrd="0" parTransId="{4FA3D885-C227-4859-BFAF-3178421AB4D0}" sibTransId="{1F91DA92-BB7C-4DFA-AAAA-66381A48E26F}"/>
    <dgm:cxn modelId="{FD4AC943-CC0C-421B-9E55-E4A36E6FB31B}" srcId="{A857E58C-97AE-49CD-B97A-4AE61EDD56C3}" destId="{7931435D-86CC-4E5F-AEA6-654DD645A9D0}" srcOrd="0" destOrd="0" parTransId="{B0381B90-A790-4E10-9BB6-1081D6ED3F9B}" sibTransId="{18F1ED80-9C2A-4BD8-861D-545F84CFB19A}"/>
    <dgm:cxn modelId="{2E540764-9DC8-4EBC-A694-304529F67E64}" type="presOf" srcId="{1A0A2AA1-69D5-4E14-A15E-0D5DB2762F19}" destId="{24C0A0FD-C6B1-479F-931D-3DD94F912BF2}" srcOrd="0" destOrd="0" presId="urn:microsoft.com/office/officeart/2005/8/layout/vList5"/>
    <dgm:cxn modelId="{1C69A544-6EBB-4C03-86B8-22AB374E9E8D}" type="presOf" srcId="{00D4706A-CCA3-4E9F-8C3E-CF0DDD79D9A2}" destId="{07C64787-2A16-432E-A9E9-C9678F3B7697}" srcOrd="0" destOrd="1" presId="urn:microsoft.com/office/officeart/2005/8/layout/vList5"/>
    <dgm:cxn modelId="{058CD167-1915-429C-BF36-B12F4165BCC1}" srcId="{5EA9DA79-28E7-45D4-871A-EF76EE70709D}" destId="{C38B58B5-12D3-4A51-B860-16C18A107601}" srcOrd="0" destOrd="0" parTransId="{D2454DE5-9BA9-4680-8918-DD86BC2131C0}" sibTransId="{73EEC26C-9C9C-433E-9189-7BE729F08491}"/>
    <dgm:cxn modelId="{B7434775-3FDA-4409-A75F-790174755D82}" type="presOf" srcId="{5EA9DA79-28E7-45D4-871A-EF76EE70709D}" destId="{5CE93F69-8985-4E79-AB79-F77331DDDF29}" srcOrd="0" destOrd="0" presId="urn:microsoft.com/office/officeart/2005/8/layout/vList5"/>
    <dgm:cxn modelId="{30DDC379-EEA7-CA43-B164-81566AA55D18}" srcId="{A857E58C-97AE-49CD-B97A-4AE61EDD56C3}" destId="{30336F5C-1634-824C-B3E3-66593C76809B}" srcOrd="2" destOrd="0" parTransId="{3B5C5CFE-9EEB-424F-91BC-E34A5FEE2982}" sibTransId="{7280DDF1-7422-8245-B494-D13550176625}"/>
    <dgm:cxn modelId="{40EC938D-B9A2-452E-9E78-0B9AE66C5785}" type="presOf" srcId="{CD757011-5728-4BF4-853F-70E13533E937}" destId="{BA1392D3-6B0C-439C-BF9F-5015A177764E}" srcOrd="0" destOrd="0" presId="urn:microsoft.com/office/officeart/2005/8/layout/vList5"/>
    <dgm:cxn modelId="{6BA01295-640C-A046-9E2A-853BF20246EE}" srcId="{EFE837F0-2D9A-4CDF-A1D4-4A926913B307}" destId="{F43F0758-CBFB-8048-A269-247D317730A5}" srcOrd="1" destOrd="0" parTransId="{E844600D-5E58-A14B-BD55-F6256A36CBEB}" sibTransId="{AE05F794-0011-8A42-8694-5057C07F48D7}"/>
    <dgm:cxn modelId="{707BDD95-DDEE-4F9A-A68B-9CB0E3FE6F6C}" type="presOf" srcId="{7EEF4263-4E6E-4004-960E-3E3E9468A3AC}" destId="{8E64AB20-F105-400F-8F74-08B70BF50322}" srcOrd="0" destOrd="0" presId="urn:microsoft.com/office/officeart/2005/8/layout/vList5"/>
    <dgm:cxn modelId="{455BE69E-77CE-CD42-A8F8-CC0584D4F17D}" srcId="{1A0A2AA1-69D5-4E14-A15E-0D5DB2762F19}" destId="{EBDE4401-F0C0-E742-8A99-5FD0858CC433}" srcOrd="1" destOrd="0" parTransId="{FED4059F-DC13-2B45-87FE-94C04B45B296}" sibTransId="{B7924A65-2DC2-E047-AD8F-5E64CC94D297}"/>
    <dgm:cxn modelId="{C7A1E8A9-7E9B-4846-9A99-9A8E761214B3}" srcId="{DAD06F05-3903-433B-819B-F96CE91CF596}" destId="{5EA9DA79-28E7-45D4-871A-EF76EE70709D}" srcOrd="4" destOrd="0" parTransId="{974B947A-5332-4D17-9DC4-3924DFDB2080}" sibTransId="{CF883CA7-B12F-4964-961F-BA435C55BCFC}"/>
    <dgm:cxn modelId="{91A8A6B2-9435-4D1F-95FB-BD8A0D2C2514}" type="presOf" srcId="{3F619E9B-7592-4D0E-9488-8A5B974A1666}" destId="{07C64787-2A16-432E-A9E9-C9678F3B7697}" srcOrd="0" destOrd="0" presId="urn:microsoft.com/office/officeart/2005/8/layout/vList5"/>
    <dgm:cxn modelId="{CA5F7EB3-BE12-4A94-A8CB-1A7697C6DE1F}" srcId="{DAD06F05-3903-433B-819B-F96CE91CF596}" destId="{EFE837F0-2D9A-4CDF-A1D4-4A926913B307}" srcOrd="2" destOrd="0" parTransId="{F39B6D33-5DF0-4159-B422-777B81F4DA77}" sibTransId="{ECFD24B6-B38D-471B-8241-123E8F706492}"/>
    <dgm:cxn modelId="{B2007CB4-542E-5244-99BC-D155A3D2E03F}" type="presOf" srcId="{F23E4448-6EFA-E04A-A420-3F4B4047EFBC}" destId="{454F4EDA-E589-4A16-85DB-0C9792B930E7}" srcOrd="0" destOrd="1" presId="urn:microsoft.com/office/officeart/2005/8/layout/vList5"/>
    <dgm:cxn modelId="{7CF835BC-95C2-3148-B884-D0FDD86DB5E0}" type="presOf" srcId="{30336F5C-1634-824C-B3E3-66593C76809B}" destId="{454F4EDA-E589-4A16-85DB-0C9792B930E7}" srcOrd="0" destOrd="2" presId="urn:microsoft.com/office/officeart/2005/8/layout/vList5"/>
    <dgm:cxn modelId="{2834DCBD-6FDA-4C39-87B3-BCA93B3FFDAD}" type="presOf" srcId="{19AFF552-528C-4877-97A3-12FC6BD54D90}" destId="{2BDD3F66-042D-48A7-8A12-4EEFBC3BB338}" srcOrd="0" destOrd="0" presId="urn:microsoft.com/office/officeart/2005/8/layout/vList5"/>
    <dgm:cxn modelId="{D56D5EC1-9DC8-014C-8E5F-6CCBEA40822F}" srcId="{A857E58C-97AE-49CD-B97A-4AE61EDD56C3}" destId="{F23E4448-6EFA-E04A-A420-3F4B4047EFBC}" srcOrd="1" destOrd="0" parTransId="{67A17267-70F7-F54D-A3DE-3B0612710FA6}" sibTransId="{AD42EFC5-3ED0-5041-8A90-1ED1AEF7D397}"/>
    <dgm:cxn modelId="{A661A1CB-7EA3-4F55-AE86-D4B614935AD6}" type="presOf" srcId="{A857E58C-97AE-49CD-B97A-4AE61EDD56C3}" destId="{75BDDF79-3035-42C9-A99F-F5B297561CD6}" srcOrd="0" destOrd="0" presId="urn:microsoft.com/office/officeart/2005/8/layout/vList5"/>
    <dgm:cxn modelId="{D1C5EDCC-AB68-284B-8ACF-B701950F5F36}" srcId="{EFE837F0-2D9A-4CDF-A1D4-4A926913B307}" destId="{88DC59B9-8CE4-0447-BF7F-FF8A08AB5B09}" srcOrd="2" destOrd="0" parTransId="{F94D527C-7248-C249-BD27-944FC7F386FF}" sibTransId="{600A2EA2-A415-0A44-9E5A-9315CFEE9129}"/>
    <dgm:cxn modelId="{5B239AD3-85FB-4C47-9CAB-2AF559CA73E6}" srcId="{EFE837F0-2D9A-4CDF-A1D4-4A926913B307}" destId="{8E7316BF-1222-45EA-ABE1-78CBE16193B1}" srcOrd="0" destOrd="0" parTransId="{73E5A098-945B-4C78-AD53-C2C174F65149}" sibTransId="{2DACA4EF-6F12-46A5-B1F1-21EA4A20873D}"/>
    <dgm:cxn modelId="{C62A1EDA-3826-44A9-9335-C8E7552C4330}" srcId="{DAD06F05-3903-433B-819B-F96CE91CF596}" destId="{3BBE5F78-935B-42C9-B573-16AC714B10F1}" srcOrd="1" destOrd="0" parTransId="{EE14023B-C2BA-4331-9C36-5E19183E6AEE}" sibTransId="{F495C1DF-00CA-4806-8848-4DB4430BC0E5}"/>
    <dgm:cxn modelId="{99C2BADA-930D-49D5-9D80-EB30E8F492D7}" type="presOf" srcId="{C38B58B5-12D3-4A51-B860-16C18A107601}" destId="{8E9693D4-37B8-411A-B81B-9FF4FED4D5AC}" srcOrd="0" destOrd="0" presId="urn:microsoft.com/office/officeart/2005/8/layout/vList5"/>
    <dgm:cxn modelId="{504908DB-3FC9-4C05-9B55-989A070DC9BD}" srcId="{DAD06F05-3903-433B-819B-F96CE91CF596}" destId="{1A0A2AA1-69D5-4E14-A15E-0D5DB2762F19}" srcOrd="5" destOrd="0" parTransId="{9EAEA37A-A80A-4B0B-86C0-F7BC883CD3FA}" sibTransId="{1BC57049-2068-4AC0-BFB4-94C5D69D5D48}"/>
    <dgm:cxn modelId="{E5CF5CDD-012A-4955-AA75-58B4E09FAB96}" srcId="{DAD06F05-3903-433B-819B-F96CE91CF596}" destId="{7EEF4263-4E6E-4004-960E-3E3E9468A3AC}" srcOrd="3" destOrd="0" parTransId="{7A13DF79-CCAA-4E59-AC08-5B2E4EED69BF}" sibTransId="{4CE6DE60-F69C-4621-8578-4D44E879034E}"/>
    <dgm:cxn modelId="{309C19EB-8138-496D-9EB7-437788006B10}" srcId="{3BBE5F78-935B-42C9-B573-16AC714B10F1}" destId="{19AFF552-528C-4877-97A3-12FC6BD54D90}" srcOrd="0" destOrd="0" parTransId="{269718FA-B77B-41E9-B6BC-51C9841D86BE}" sibTransId="{CBC002CF-AA4E-4F12-AA57-C4D942495BB3}"/>
    <dgm:cxn modelId="{5A39FCF3-AD21-4C63-B500-12FEC3752B92}" srcId="{DAD06F05-3903-433B-819B-F96CE91CF596}" destId="{A857E58C-97AE-49CD-B97A-4AE61EDD56C3}" srcOrd="0" destOrd="0" parTransId="{7CFB9093-54FB-41EF-8F19-CC73B6679103}" sibTransId="{86CA84AA-D830-417D-BF7F-4979D17CBEAE}"/>
    <dgm:cxn modelId="{DE7906F5-3B68-4298-876A-FF154F8BB589}" srcId="{7EEF4263-4E6E-4004-960E-3E3E9468A3AC}" destId="{3F619E9B-7592-4D0E-9488-8A5B974A1666}" srcOrd="0" destOrd="0" parTransId="{0D2C2944-594A-4519-9F06-1D0E1C1376FF}" sibTransId="{EA1A8E51-D814-4655-B17C-2C181E2F44C0}"/>
    <dgm:cxn modelId="{79FEF3F5-AAA5-4DB4-9494-28E0A42D7E96}" type="presOf" srcId="{8E7316BF-1222-45EA-ABE1-78CBE16193B1}" destId="{ECB50969-2EBA-4889-BC7D-B884D0866E33}" srcOrd="0" destOrd="0" presId="urn:microsoft.com/office/officeart/2005/8/layout/vList5"/>
    <dgm:cxn modelId="{258C70FE-81C9-46D5-BA41-7C3E7D70C18C}" type="presOf" srcId="{3BBE5F78-935B-42C9-B573-16AC714B10F1}" destId="{46830796-4281-4E9F-8DEE-0DD2DF16825B}" srcOrd="0" destOrd="0" presId="urn:microsoft.com/office/officeart/2005/8/layout/vList5"/>
    <dgm:cxn modelId="{E2FDCCF1-5448-45E8-A7DD-5F4810FC3751}" type="presParOf" srcId="{5B4AEF64-28AE-485F-8316-5EC472702409}" destId="{892E7779-DCF7-49DC-B0CB-6BFF0EF6741F}" srcOrd="0" destOrd="0" presId="urn:microsoft.com/office/officeart/2005/8/layout/vList5"/>
    <dgm:cxn modelId="{92BE393F-3174-4171-8796-AD90E06F3CAA}" type="presParOf" srcId="{892E7779-DCF7-49DC-B0CB-6BFF0EF6741F}" destId="{75BDDF79-3035-42C9-A99F-F5B297561CD6}" srcOrd="0" destOrd="0" presId="urn:microsoft.com/office/officeart/2005/8/layout/vList5"/>
    <dgm:cxn modelId="{490AB15B-4143-40BE-848B-A85A76D6806A}" type="presParOf" srcId="{892E7779-DCF7-49DC-B0CB-6BFF0EF6741F}" destId="{454F4EDA-E589-4A16-85DB-0C9792B930E7}" srcOrd="1" destOrd="0" presId="urn:microsoft.com/office/officeart/2005/8/layout/vList5"/>
    <dgm:cxn modelId="{0BB72D25-0196-4E68-9B94-10AAA9F457C2}" type="presParOf" srcId="{5B4AEF64-28AE-485F-8316-5EC472702409}" destId="{81BEC21C-0012-4E95-BB17-9B2AA37A90D4}" srcOrd="1" destOrd="0" presId="urn:microsoft.com/office/officeart/2005/8/layout/vList5"/>
    <dgm:cxn modelId="{697DB389-629F-4A6B-ADBD-B20531B61827}" type="presParOf" srcId="{5B4AEF64-28AE-485F-8316-5EC472702409}" destId="{3AB861FE-6227-4EE5-A6DA-C65C44CFB581}" srcOrd="2" destOrd="0" presId="urn:microsoft.com/office/officeart/2005/8/layout/vList5"/>
    <dgm:cxn modelId="{1504853D-E578-4EA6-ACDA-A4ED2D3581F9}" type="presParOf" srcId="{3AB861FE-6227-4EE5-A6DA-C65C44CFB581}" destId="{46830796-4281-4E9F-8DEE-0DD2DF16825B}" srcOrd="0" destOrd="0" presId="urn:microsoft.com/office/officeart/2005/8/layout/vList5"/>
    <dgm:cxn modelId="{C434CEBC-991B-426F-90E8-7756F75DA485}" type="presParOf" srcId="{3AB861FE-6227-4EE5-A6DA-C65C44CFB581}" destId="{2BDD3F66-042D-48A7-8A12-4EEFBC3BB338}" srcOrd="1" destOrd="0" presId="urn:microsoft.com/office/officeart/2005/8/layout/vList5"/>
    <dgm:cxn modelId="{A23BCE16-8305-4517-9DA2-E4F487189928}" type="presParOf" srcId="{5B4AEF64-28AE-485F-8316-5EC472702409}" destId="{BCFB7EE6-BA37-4E65-98F6-BDF5A4F3F69C}" srcOrd="3" destOrd="0" presId="urn:microsoft.com/office/officeart/2005/8/layout/vList5"/>
    <dgm:cxn modelId="{8229E0C7-AAE2-42C6-886B-6CA804E09D26}" type="presParOf" srcId="{5B4AEF64-28AE-485F-8316-5EC472702409}" destId="{5D8D81FC-E2E7-467C-9C14-B6D3623F36DF}" srcOrd="4" destOrd="0" presId="urn:microsoft.com/office/officeart/2005/8/layout/vList5"/>
    <dgm:cxn modelId="{DFCFD670-6E16-473D-B9D3-9C1B0C9D0321}" type="presParOf" srcId="{5D8D81FC-E2E7-467C-9C14-B6D3623F36DF}" destId="{101019C5-FDD6-4886-90F5-F669DD820F3A}" srcOrd="0" destOrd="0" presId="urn:microsoft.com/office/officeart/2005/8/layout/vList5"/>
    <dgm:cxn modelId="{865DA2CF-E2F0-4C84-886E-39CEEB0919BE}" type="presParOf" srcId="{5D8D81FC-E2E7-467C-9C14-B6D3623F36DF}" destId="{ECB50969-2EBA-4889-BC7D-B884D0866E33}" srcOrd="1" destOrd="0" presId="urn:microsoft.com/office/officeart/2005/8/layout/vList5"/>
    <dgm:cxn modelId="{324252B4-5A7E-413F-BD97-7E819D6D0F14}" type="presParOf" srcId="{5B4AEF64-28AE-485F-8316-5EC472702409}" destId="{99451625-FCC4-4B83-B889-E8DD158ED64F}" srcOrd="5" destOrd="0" presId="urn:microsoft.com/office/officeart/2005/8/layout/vList5"/>
    <dgm:cxn modelId="{ADAC34F0-3286-4679-B287-52F7B07D803A}" type="presParOf" srcId="{5B4AEF64-28AE-485F-8316-5EC472702409}" destId="{4B28F1C2-05BC-45C3-9269-7CE466037E26}" srcOrd="6" destOrd="0" presId="urn:microsoft.com/office/officeart/2005/8/layout/vList5"/>
    <dgm:cxn modelId="{866D56D5-D91D-491A-B851-7E92B4F3BB95}" type="presParOf" srcId="{4B28F1C2-05BC-45C3-9269-7CE466037E26}" destId="{8E64AB20-F105-400F-8F74-08B70BF50322}" srcOrd="0" destOrd="0" presId="urn:microsoft.com/office/officeart/2005/8/layout/vList5"/>
    <dgm:cxn modelId="{AB6F072F-011C-4B83-AF42-5CCD0A61AFE6}" type="presParOf" srcId="{4B28F1C2-05BC-45C3-9269-7CE466037E26}" destId="{07C64787-2A16-432E-A9E9-C9678F3B7697}" srcOrd="1" destOrd="0" presId="urn:microsoft.com/office/officeart/2005/8/layout/vList5"/>
    <dgm:cxn modelId="{E04F19AE-0206-4CD8-9BC8-658A00C9FEDB}" type="presParOf" srcId="{5B4AEF64-28AE-485F-8316-5EC472702409}" destId="{0F34426D-C1A0-4D72-9913-BAE6F3F4B6F0}" srcOrd="7" destOrd="0" presId="urn:microsoft.com/office/officeart/2005/8/layout/vList5"/>
    <dgm:cxn modelId="{E66353AA-6B7A-477E-B97C-512D5BA2CAD4}" type="presParOf" srcId="{5B4AEF64-28AE-485F-8316-5EC472702409}" destId="{B658F943-F0FE-42EE-B0D1-1847AF1AFE1A}" srcOrd="8" destOrd="0" presId="urn:microsoft.com/office/officeart/2005/8/layout/vList5"/>
    <dgm:cxn modelId="{A4308CEC-5244-46DF-8BC4-30DF53182C51}" type="presParOf" srcId="{B658F943-F0FE-42EE-B0D1-1847AF1AFE1A}" destId="{5CE93F69-8985-4E79-AB79-F77331DDDF29}" srcOrd="0" destOrd="0" presId="urn:microsoft.com/office/officeart/2005/8/layout/vList5"/>
    <dgm:cxn modelId="{657E5045-72A5-42DD-B93F-D695DEB6624B}" type="presParOf" srcId="{B658F943-F0FE-42EE-B0D1-1847AF1AFE1A}" destId="{8E9693D4-37B8-411A-B81B-9FF4FED4D5AC}" srcOrd="1" destOrd="0" presId="urn:microsoft.com/office/officeart/2005/8/layout/vList5"/>
    <dgm:cxn modelId="{CF1921C6-C9A0-4DC4-848D-AA7BC8FF1783}" type="presParOf" srcId="{5B4AEF64-28AE-485F-8316-5EC472702409}" destId="{A467D402-92CD-4BF3-87FF-475BED166A57}" srcOrd="9" destOrd="0" presId="urn:microsoft.com/office/officeart/2005/8/layout/vList5"/>
    <dgm:cxn modelId="{067D9BC7-DE9E-42C1-B43A-D29111BF369C}" type="presParOf" srcId="{5B4AEF64-28AE-485F-8316-5EC472702409}" destId="{5D58E42B-2060-489A-8BD9-92C85736B2EE}" srcOrd="10" destOrd="0" presId="urn:microsoft.com/office/officeart/2005/8/layout/vList5"/>
    <dgm:cxn modelId="{DA70AF37-6C57-4661-8262-ED64BFC82ABF}" type="presParOf" srcId="{5D58E42B-2060-489A-8BD9-92C85736B2EE}" destId="{24C0A0FD-C6B1-479F-931D-3DD94F912BF2}" srcOrd="0" destOrd="0" presId="urn:microsoft.com/office/officeart/2005/8/layout/vList5"/>
    <dgm:cxn modelId="{73EFFCA6-9C7F-43A2-86BF-CEEEBB0193C6}" type="presParOf" srcId="{5D58E42B-2060-489A-8BD9-92C85736B2EE}" destId="{BA1392D3-6B0C-439C-BF9F-5015A177764E}"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C6D1570-5085-4BBE-BBA4-FC27A9482638}"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C6DD763B-FA00-4CCA-96D2-C59D469140A1}" type="pres">
      <dgm:prSet presAssocID="{9C6D1570-5085-4BBE-BBA4-FC27A9482638}" presName="Name0" presStyleCnt="0">
        <dgm:presLayoutVars>
          <dgm:dir/>
          <dgm:animLvl val="lvl"/>
          <dgm:resizeHandles val="exact"/>
        </dgm:presLayoutVars>
      </dgm:prSet>
      <dgm:spPr/>
    </dgm:pt>
  </dgm:ptLst>
  <dgm:cxnLst>
    <dgm:cxn modelId="{ECE90041-3460-4A85-897D-8BABBC7047AA}" type="presOf" srcId="{9C6D1570-5085-4BBE-BBA4-FC27A9482638}" destId="{C6DD763B-FA00-4CCA-96D2-C59D469140A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AD06F05-3903-433B-819B-F96CE91CF596}"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A857E58C-97AE-49CD-B97A-4AE61EDD56C3}">
      <dgm:prSet/>
      <dgm:spPr>
        <a:solidFill>
          <a:schemeClr val="accent3">
            <a:lumMod val="20000"/>
            <a:lumOff val="80000"/>
          </a:schemeClr>
        </a:solidFill>
        <a:ln>
          <a:noFill/>
        </a:ln>
      </dgm:spPr>
      <dgm:t>
        <a:bodyPr/>
        <a:lstStyle/>
        <a:p>
          <a:pPr rtl="0"/>
          <a:r>
            <a:rPr lang="en-US" dirty="0"/>
            <a:t>ASIC/CPU/Mem</a:t>
          </a:r>
        </a:p>
      </dgm:t>
    </dgm:pt>
    <dgm:pt modelId="{7CFB9093-54FB-41EF-8F19-CC73B6679103}" type="parTrans" cxnId="{5A39FCF3-AD21-4C63-B500-12FEC3752B92}">
      <dgm:prSet/>
      <dgm:spPr/>
      <dgm:t>
        <a:bodyPr/>
        <a:lstStyle/>
        <a:p>
          <a:endParaRPr lang="en-US"/>
        </a:p>
      </dgm:t>
    </dgm:pt>
    <dgm:pt modelId="{86CA84AA-D830-417D-BF7F-4979D17CBEAE}" type="sibTrans" cxnId="{5A39FCF3-AD21-4C63-B500-12FEC3752B92}">
      <dgm:prSet/>
      <dgm:spPr/>
      <dgm:t>
        <a:bodyPr/>
        <a:lstStyle/>
        <a:p>
          <a:endParaRPr lang="en-US"/>
        </a:p>
      </dgm:t>
    </dgm:pt>
    <dgm:pt modelId="{7931435D-86CC-4E5F-AEA6-654DD645A9D0}">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1 RU, Width 17.5 Inches, Depth 280 mm</a:t>
          </a:r>
          <a:endParaRPr kumimoji="0" lang="en-US" sz="800" b="0" i="0" u="none" strike="noStrike" kern="1200" cap="none" spc="0" normalizeH="0" baseline="0" dirty="0">
            <a:ln>
              <a:noFill/>
            </a:ln>
            <a:solidFill>
              <a:srgbClr val="005073"/>
            </a:solidFill>
            <a:effectLst/>
            <a:uLnTx/>
            <a:uFillTx/>
            <a:latin typeface="CiscoSansTT ExtraLight"/>
            <a:ea typeface="+mn-ea"/>
            <a:cs typeface="+mn-cs"/>
          </a:endParaRPr>
        </a:p>
      </dgm:t>
    </dgm:pt>
    <dgm:pt modelId="{B0381B90-A790-4E10-9BB6-1081D6ED3F9B}" type="parTrans" cxnId="{FD4AC943-CC0C-421B-9E55-E4A36E6FB31B}">
      <dgm:prSet/>
      <dgm:spPr/>
      <dgm:t>
        <a:bodyPr/>
        <a:lstStyle/>
        <a:p>
          <a:endParaRPr lang="en-US"/>
        </a:p>
      </dgm:t>
    </dgm:pt>
    <dgm:pt modelId="{18F1ED80-9C2A-4BD8-861D-545F84CFB19A}" type="sibTrans" cxnId="{FD4AC943-CC0C-421B-9E55-E4A36E6FB31B}">
      <dgm:prSet/>
      <dgm:spPr/>
      <dgm:t>
        <a:bodyPr/>
        <a:lstStyle/>
        <a:p>
          <a:endParaRPr lang="en-US"/>
        </a:p>
      </dgm:t>
    </dgm:pt>
    <dgm:pt modelId="{3BBE5F78-935B-42C9-B573-16AC714B10F1}">
      <dgm:prSet/>
      <dgm:spPr>
        <a:solidFill>
          <a:schemeClr val="accent3">
            <a:lumMod val="20000"/>
            <a:lumOff val="80000"/>
          </a:schemeClr>
        </a:solidFill>
        <a:ln>
          <a:noFill/>
        </a:ln>
      </dgm:spPr>
      <dgm:t>
        <a:bodyPr/>
        <a:lstStyle/>
        <a:p>
          <a:pPr rtl="0"/>
          <a:r>
            <a:rPr lang="en-US" dirty="0"/>
            <a:t>Port Config</a:t>
          </a:r>
        </a:p>
      </dgm:t>
    </dgm:pt>
    <dgm:pt modelId="{EE14023B-C2BA-4331-9C36-5E19183E6AEE}" type="parTrans" cxnId="{C62A1EDA-3826-44A9-9335-C8E7552C4330}">
      <dgm:prSet/>
      <dgm:spPr/>
      <dgm:t>
        <a:bodyPr/>
        <a:lstStyle/>
        <a:p>
          <a:endParaRPr lang="en-US"/>
        </a:p>
      </dgm:t>
    </dgm:pt>
    <dgm:pt modelId="{F495C1DF-00CA-4806-8848-4DB4430BC0E5}" type="sibTrans" cxnId="{C62A1EDA-3826-44A9-9335-C8E7552C4330}">
      <dgm:prSet/>
      <dgm:spPr/>
      <dgm:t>
        <a:bodyPr/>
        <a:lstStyle/>
        <a:p>
          <a:endParaRPr lang="en-US"/>
        </a:p>
      </dgm:t>
    </dgm:pt>
    <dgm:pt modelId="{19AFF552-528C-4877-97A3-12FC6BD54D90}">
      <dgm:prSet custT="1"/>
      <dgm:spPr>
        <a:solidFill>
          <a:srgbClr val="D1E6F7">
            <a:alpha val="90000"/>
          </a:srgbClr>
        </a:solidFill>
        <a:ln>
          <a:noFill/>
        </a:ln>
      </dgm:spPr>
      <dgm:t>
        <a:bodyPr/>
        <a:lstStyle/>
        <a:p>
          <a:pPr rtl="0"/>
          <a:r>
            <a:rPr lang="en-CA" sz="800" kern="1200" dirty="0">
              <a:solidFill>
                <a:schemeClr val="bg1"/>
              </a:solidFill>
              <a:latin typeface="+mn-lt"/>
            </a:rPr>
            <a:t>16x10G+4x1G Cu+8x25G+2x100G</a:t>
          </a:r>
          <a:endParaRPr lang="en-US" sz="800" kern="1200" dirty="0">
            <a:solidFill>
              <a:schemeClr val="tx2"/>
            </a:solidFill>
            <a:latin typeface="+mn-lt"/>
            <a:ea typeface="+mn-ea"/>
            <a:cs typeface="+mn-cs"/>
          </a:endParaRPr>
        </a:p>
      </dgm:t>
    </dgm:pt>
    <dgm:pt modelId="{269718FA-B77B-41E9-B6BC-51C9841D86BE}" type="parTrans" cxnId="{309C19EB-8138-496D-9EB7-437788006B10}">
      <dgm:prSet/>
      <dgm:spPr/>
      <dgm:t>
        <a:bodyPr/>
        <a:lstStyle/>
        <a:p>
          <a:endParaRPr lang="en-US"/>
        </a:p>
      </dgm:t>
    </dgm:pt>
    <dgm:pt modelId="{CBC002CF-AA4E-4F12-AA57-C4D942495BB3}" type="sibTrans" cxnId="{309C19EB-8138-496D-9EB7-437788006B10}">
      <dgm:prSet/>
      <dgm:spPr/>
      <dgm:t>
        <a:bodyPr/>
        <a:lstStyle/>
        <a:p>
          <a:endParaRPr lang="en-US"/>
        </a:p>
      </dgm:t>
    </dgm:pt>
    <dgm:pt modelId="{EFE837F0-2D9A-4CDF-A1D4-4A926913B307}">
      <dgm:prSet/>
      <dgm:spPr>
        <a:solidFill>
          <a:schemeClr val="accent3">
            <a:lumMod val="20000"/>
            <a:lumOff val="80000"/>
          </a:schemeClr>
        </a:solidFill>
        <a:ln>
          <a:noFill/>
        </a:ln>
      </dgm:spPr>
      <dgm:t>
        <a:bodyPr/>
        <a:lstStyle/>
        <a:p>
          <a:pPr rtl="0"/>
          <a:r>
            <a:rPr lang="en-US" dirty="0"/>
            <a:t>PSU/Fan</a:t>
          </a:r>
        </a:p>
      </dgm:t>
    </dgm:pt>
    <dgm:pt modelId="{F39B6D33-5DF0-4159-B422-777B81F4DA77}" type="parTrans" cxnId="{CA5F7EB3-BE12-4A94-A8CB-1A7697C6DE1F}">
      <dgm:prSet/>
      <dgm:spPr/>
      <dgm:t>
        <a:bodyPr/>
        <a:lstStyle/>
        <a:p>
          <a:endParaRPr lang="en-US"/>
        </a:p>
      </dgm:t>
    </dgm:pt>
    <dgm:pt modelId="{ECFD24B6-B38D-471B-8241-123E8F706492}" type="sibTrans" cxnId="{CA5F7EB3-BE12-4A94-A8CB-1A7697C6DE1F}">
      <dgm:prSet/>
      <dgm:spPr/>
      <dgm:t>
        <a:bodyPr/>
        <a:lstStyle/>
        <a:p>
          <a:endParaRPr lang="en-US"/>
        </a:p>
      </dgm:t>
    </dgm:pt>
    <dgm:pt modelId="{8E7316BF-1222-45EA-ABE1-78CBE16193B1}">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None/>
          </a:pPr>
          <a:endParaRPr lang="en-US" sz="800" kern="1200" dirty="0">
            <a:solidFill>
              <a:schemeClr val="tx2"/>
            </a:solidFill>
            <a:latin typeface="CiscoSansTT Light"/>
            <a:ea typeface="+mn-ea"/>
            <a:cs typeface="+mn-cs"/>
          </a:endParaRPr>
        </a:p>
      </dgm:t>
    </dgm:pt>
    <dgm:pt modelId="{73E5A098-945B-4C78-AD53-C2C174F65149}" type="parTrans" cxnId="{5B239AD3-85FB-4C47-9CAB-2AF559CA73E6}">
      <dgm:prSet/>
      <dgm:spPr/>
      <dgm:t>
        <a:bodyPr/>
        <a:lstStyle/>
        <a:p>
          <a:endParaRPr lang="en-US"/>
        </a:p>
      </dgm:t>
    </dgm:pt>
    <dgm:pt modelId="{2DACA4EF-6F12-46A5-B1F1-21EA4A20873D}" type="sibTrans" cxnId="{5B239AD3-85FB-4C47-9CAB-2AF559CA73E6}">
      <dgm:prSet/>
      <dgm:spPr/>
      <dgm:t>
        <a:bodyPr/>
        <a:lstStyle/>
        <a:p>
          <a:endParaRPr lang="en-US"/>
        </a:p>
      </dgm:t>
    </dgm:pt>
    <dgm:pt modelId="{7EEF4263-4E6E-4004-960E-3E3E9468A3AC}">
      <dgm:prSet/>
      <dgm:spPr>
        <a:solidFill>
          <a:schemeClr val="accent3">
            <a:lumMod val="20000"/>
            <a:lumOff val="80000"/>
          </a:schemeClr>
        </a:solidFill>
        <a:ln>
          <a:noFill/>
        </a:ln>
      </dgm:spPr>
      <dgm:t>
        <a:bodyPr/>
        <a:lstStyle/>
        <a:p>
          <a:pPr rtl="0"/>
          <a:r>
            <a:rPr lang="en-US" dirty="0"/>
            <a:t>Temp Range</a:t>
          </a:r>
        </a:p>
      </dgm:t>
    </dgm:pt>
    <dgm:pt modelId="{7A13DF79-CCAA-4E59-AC08-5B2E4EED69BF}" type="parTrans" cxnId="{E5CF5CDD-012A-4955-AA75-58B4E09FAB96}">
      <dgm:prSet/>
      <dgm:spPr/>
      <dgm:t>
        <a:bodyPr/>
        <a:lstStyle/>
        <a:p>
          <a:endParaRPr lang="en-US"/>
        </a:p>
      </dgm:t>
    </dgm:pt>
    <dgm:pt modelId="{4CE6DE60-F69C-4621-8578-4D44E879034E}" type="sibTrans" cxnId="{E5CF5CDD-012A-4955-AA75-58B4E09FAB96}">
      <dgm:prSet/>
      <dgm:spPr/>
      <dgm:t>
        <a:bodyPr/>
        <a:lstStyle/>
        <a:p>
          <a:endParaRPr lang="en-US"/>
        </a:p>
      </dgm:t>
    </dgm:pt>
    <dgm:pt modelId="{3F619E9B-7592-4D0E-9488-8A5B974A1666}">
      <dgm:prSet custT="1"/>
      <dgm:spPr>
        <a:solidFill>
          <a:srgbClr val="D1E6F7">
            <a:alpha val="90000"/>
          </a:srgbClr>
        </a:solidFill>
        <a:ln>
          <a:noFill/>
        </a:ln>
      </dgm:spPr>
      <dgm:t>
        <a:bodyPr/>
        <a:lstStyle/>
        <a:p>
          <a:pPr rtl="0"/>
          <a:r>
            <a:rPr lang="en-US" sz="800" dirty="0" err="1">
              <a:solidFill>
                <a:schemeClr val="tx2"/>
              </a:solidFill>
              <a:latin typeface="+mn-lt"/>
            </a:rPr>
            <a:t>iTemp</a:t>
          </a:r>
          <a:r>
            <a:rPr lang="en-US" sz="800" dirty="0">
              <a:solidFill>
                <a:schemeClr val="tx2"/>
              </a:solidFill>
              <a:latin typeface="+mn-lt"/>
            </a:rPr>
            <a:t> -40C to +70C</a:t>
          </a:r>
        </a:p>
      </dgm:t>
    </dgm:pt>
    <dgm:pt modelId="{0D2C2944-594A-4519-9F06-1D0E1C1376FF}" type="parTrans" cxnId="{DE7906F5-3B68-4298-876A-FF154F8BB589}">
      <dgm:prSet/>
      <dgm:spPr/>
      <dgm:t>
        <a:bodyPr/>
        <a:lstStyle/>
        <a:p>
          <a:endParaRPr lang="en-US"/>
        </a:p>
      </dgm:t>
    </dgm:pt>
    <dgm:pt modelId="{EA1A8E51-D814-4655-B17C-2C181E2F44C0}" type="sibTrans" cxnId="{DE7906F5-3B68-4298-876A-FF154F8BB589}">
      <dgm:prSet/>
      <dgm:spPr/>
      <dgm:t>
        <a:bodyPr/>
        <a:lstStyle/>
        <a:p>
          <a:endParaRPr lang="en-US"/>
        </a:p>
      </dgm:t>
    </dgm:pt>
    <dgm:pt modelId="{00D4706A-CCA3-4E9F-8C3E-CF0DDD79D9A2}">
      <dgm:prSet custT="1"/>
      <dgm:spPr>
        <a:solidFill>
          <a:srgbClr val="D1E6F7">
            <a:alpha val="90000"/>
          </a:srgbClr>
        </a:solidFill>
        <a:ln>
          <a:noFill/>
        </a:ln>
      </dgm:spPr>
      <dgm:t>
        <a:bodyPr/>
        <a:lstStyle/>
        <a:p>
          <a:pPr rtl="0"/>
          <a:r>
            <a:rPr lang="en-US" sz="800" dirty="0">
              <a:solidFill>
                <a:schemeClr val="tx2"/>
              </a:solidFill>
              <a:latin typeface="+mn-lt"/>
            </a:rPr>
            <a:t>Conformal coated</a:t>
          </a:r>
        </a:p>
      </dgm:t>
    </dgm:pt>
    <dgm:pt modelId="{7BBEC611-1C42-449E-9EBA-CB57EDD32757}" type="parTrans" cxnId="{DB3E3202-BCA7-4684-B726-DFE2D2250AC2}">
      <dgm:prSet/>
      <dgm:spPr/>
      <dgm:t>
        <a:bodyPr/>
        <a:lstStyle/>
        <a:p>
          <a:endParaRPr lang="en-US"/>
        </a:p>
      </dgm:t>
    </dgm:pt>
    <dgm:pt modelId="{1964B2D3-B48E-432D-8C5D-A7D0C0C0E005}" type="sibTrans" cxnId="{DB3E3202-BCA7-4684-B726-DFE2D2250AC2}">
      <dgm:prSet/>
      <dgm:spPr/>
      <dgm:t>
        <a:bodyPr/>
        <a:lstStyle/>
        <a:p>
          <a:endParaRPr lang="en-US"/>
        </a:p>
      </dgm:t>
    </dgm:pt>
    <dgm:pt modelId="{5EA9DA79-28E7-45D4-871A-EF76EE70709D}">
      <dgm:prSet/>
      <dgm:spPr>
        <a:solidFill>
          <a:schemeClr val="accent3">
            <a:lumMod val="20000"/>
            <a:lumOff val="80000"/>
          </a:schemeClr>
        </a:solidFill>
        <a:ln>
          <a:noFill/>
        </a:ln>
      </dgm:spPr>
      <dgm:t>
        <a:bodyPr/>
        <a:lstStyle/>
        <a:p>
          <a:pPr rtl="0"/>
          <a:r>
            <a:rPr lang="en-US" dirty="0"/>
            <a:t>Timing</a:t>
          </a:r>
        </a:p>
      </dgm:t>
    </dgm:pt>
    <dgm:pt modelId="{974B947A-5332-4D17-9DC4-3924DFDB2080}" type="parTrans" cxnId="{C7A1E8A9-7E9B-4846-9A99-9A8E761214B3}">
      <dgm:prSet/>
      <dgm:spPr/>
      <dgm:t>
        <a:bodyPr/>
        <a:lstStyle/>
        <a:p>
          <a:endParaRPr lang="en-US"/>
        </a:p>
      </dgm:t>
    </dgm:pt>
    <dgm:pt modelId="{CF883CA7-B12F-4964-961F-BA435C55BCFC}" type="sibTrans" cxnId="{C7A1E8A9-7E9B-4846-9A99-9A8E761214B3}">
      <dgm:prSet/>
      <dgm:spPr/>
      <dgm:t>
        <a:bodyPr/>
        <a:lstStyle/>
        <a:p>
          <a:endParaRPr lang="en-US"/>
        </a:p>
      </dgm:t>
    </dgm:pt>
    <dgm:pt modelId="{C38B58B5-12D3-4A51-B860-16C18A107601}">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Char char="•"/>
          </a:pPr>
          <a:r>
            <a:rPr lang="en-US" sz="800" kern="1200" noProof="0" dirty="0">
              <a:solidFill>
                <a:srgbClr val="005073"/>
              </a:solidFill>
              <a:latin typeface="CiscoSansTT Light"/>
              <a:ea typeface="+mn-ea"/>
              <a:cs typeface="+mn-cs"/>
            </a:rPr>
            <a:t>1588/</a:t>
          </a:r>
          <a:r>
            <a:rPr lang="en-US" sz="800" kern="1200" noProof="0" dirty="0" err="1">
              <a:solidFill>
                <a:srgbClr val="005073"/>
              </a:solidFill>
              <a:latin typeface="CiscoSansTT Light"/>
              <a:ea typeface="+mn-ea"/>
              <a:cs typeface="+mn-cs"/>
            </a:rPr>
            <a:t>SyncE</a:t>
          </a:r>
          <a:r>
            <a:rPr lang="en-US" sz="800" kern="1200" noProof="0" dirty="0">
              <a:solidFill>
                <a:srgbClr val="005073"/>
              </a:solidFill>
              <a:latin typeface="CiscoSansTT Light"/>
              <a:ea typeface="+mn-ea"/>
              <a:cs typeface="+mn-cs"/>
            </a:rPr>
            <a:t>, GNSS, 1PPS, </a:t>
          </a:r>
          <a:r>
            <a:rPr lang="en-US" sz="800" kern="1200" noProof="0" dirty="0" err="1">
              <a:solidFill>
                <a:srgbClr val="005073"/>
              </a:solidFill>
              <a:latin typeface="CiscoSansTT Light"/>
              <a:ea typeface="+mn-ea"/>
              <a:cs typeface="+mn-cs"/>
            </a:rPr>
            <a:t>ToD</a:t>
          </a:r>
          <a:r>
            <a:rPr lang="en-US" sz="800" kern="1200" noProof="0" dirty="0">
              <a:solidFill>
                <a:srgbClr val="005073"/>
              </a:solidFill>
              <a:latin typeface="CiscoSansTT Light"/>
              <a:ea typeface="+mn-ea"/>
              <a:cs typeface="+mn-cs"/>
            </a:rPr>
            <a:t>, 10MHz, Class-C</a:t>
          </a:r>
          <a:endParaRPr lang="en-US" sz="800" kern="1200" dirty="0">
            <a:solidFill>
              <a:srgbClr val="005073"/>
            </a:solidFill>
            <a:latin typeface="CiscoSansTT Light"/>
            <a:ea typeface="+mn-ea"/>
            <a:cs typeface="+mn-cs"/>
          </a:endParaRPr>
        </a:p>
      </dgm:t>
    </dgm:pt>
    <dgm:pt modelId="{D2454DE5-9BA9-4680-8918-DD86BC2131C0}" type="parTrans" cxnId="{058CD167-1915-429C-BF36-B12F4165BCC1}">
      <dgm:prSet/>
      <dgm:spPr/>
      <dgm:t>
        <a:bodyPr/>
        <a:lstStyle/>
        <a:p>
          <a:endParaRPr lang="en-US"/>
        </a:p>
      </dgm:t>
    </dgm:pt>
    <dgm:pt modelId="{73EEC26C-9C9C-433E-9189-7BE729F08491}" type="sibTrans" cxnId="{058CD167-1915-429C-BF36-B12F4165BCC1}">
      <dgm:prSet/>
      <dgm:spPr/>
      <dgm:t>
        <a:bodyPr/>
        <a:lstStyle/>
        <a:p>
          <a:endParaRPr lang="en-US"/>
        </a:p>
      </dgm:t>
    </dgm:pt>
    <dgm:pt modelId="{1A0A2AA1-69D5-4E14-A15E-0D5DB2762F19}">
      <dgm:prSet/>
      <dgm:spPr>
        <a:solidFill>
          <a:schemeClr val="accent3">
            <a:lumMod val="20000"/>
            <a:lumOff val="80000"/>
          </a:schemeClr>
        </a:solidFill>
        <a:ln>
          <a:noFill/>
        </a:ln>
      </dgm:spPr>
      <dgm:t>
        <a:bodyPr/>
        <a:lstStyle/>
        <a:p>
          <a:pPr rtl="0"/>
          <a:r>
            <a:rPr lang="en-US" dirty="0"/>
            <a:t>Software</a:t>
          </a:r>
        </a:p>
      </dgm:t>
    </dgm:pt>
    <dgm:pt modelId="{9EAEA37A-A80A-4B0B-86C0-F7BC883CD3FA}" type="parTrans" cxnId="{504908DB-3FC9-4C05-9B55-989A070DC9BD}">
      <dgm:prSet/>
      <dgm:spPr/>
      <dgm:t>
        <a:bodyPr/>
        <a:lstStyle/>
        <a:p>
          <a:endParaRPr lang="en-US"/>
        </a:p>
      </dgm:t>
    </dgm:pt>
    <dgm:pt modelId="{1BC57049-2068-4AC0-BFB4-94C5D69D5D48}" type="sibTrans" cxnId="{504908DB-3FC9-4C05-9B55-989A070DC9BD}">
      <dgm:prSet/>
      <dgm:spPr/>
      <dgm:t>
        <a:bodyPr/>
        <a:lstStyle/>
        <a:p>
          <a:endParaRPr lang="en-US"/>
        </a:p>
      </dgm:t>
    </dgm:pt>
    <dgm:pt modelId="{CD757011-5728-4BF4-853F-70E13533E937}">
      <dgm:prSet custT="1"/>
      <dgm:spPr>
        <a:solidFill>
          <a:srgbClr val="D1E6F7">
            <a:alpha val="89804"/>
          </a:srgbClr>
        </a:solidFill>
        <a:ln>
          <a:noFill/>
        </a:ln>
      </dgm:spPr>
      <dgm:t>
        <a:bodyPr/>
        <a:lstStyle/>
        <a:p>
          <a:pPr rtl="0"/>
          <a:r>
            <a:rPr lang="en-US" sz="800" dirty="0">
              <a:solidFill>
                <a:schemeClr val="tx2"/>
              </a:solidFill>
            </a:rPr>
            <a:t>FCS  IOS XR 7.0.1</a:t>
          </a:r>
        </a:p>
      </dgm:t>
    </dgm:pt>
    <dgm:pt modelId="{4FA3D885-C227-4859-BFAF-3178421AB4D0}" type="parTrans" cxnId="{D5DBFA3D-7122-43F1-AD34-4F94C6F7E5DE}">
      <dgm:prSet/>
      <dgm:spPr/>
      <dgm:t>
        <a:bodyPr/>
        <a:lstStyle/>
        <a:p>
          <a:endParaRPr lang="en-US"/>
        </a:p>
      </dgm:t>
    </dgm:pt>
    <dgm:pt modelId="{1F91DA92-BB7C-4DFA-AAAA-66381A48E26F}" type="sibTrans" cxnId="{D5DBFA3D-7122-43F1-AD34-4F94C6F7E5DE}">
      <dgm:prSet/>
      <dgm:spPr/>
      <dgm:t>
        <a:bodyPr/>
        <a:lstStyle/>
        <a:p>
          <a:endParaRPr lang="en-US"/>
        </a:p>
      </dgm:t>
    </dgm:pt>
    <dgm:pt modelId="{53D666BE-2E64-4343-84BF-2116BE8B80E6}">
      <dgm:prSet custT="1"/>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rgbClr val="005073"/>
              </a:solidFill>
              <a:effectLst/>
              <a:uLnTx/>
              <a:uFillTx/>
              <a:latin typeface="CiscoSansTT ExtraLight"/>
              <a:ea typeface="+mn-ea"/>
              <a:cs typeface="+mn-cs"/>
            </a:rPr>
            <a:t>Q-AX 300G BCOM, Intel </a:t>
          </a:r>
          <a:r>
            <a:rPr kumimoji="0" lang="en-US" sz="800" b="0" i="0" u="none" strike="noStrike" kern="1200" cap="none" spc="0" normalizeH="0" baseline="0" dirty="0" err="1">
              <a:ln>
                <a:noFill/>
              </a:ln>
              <a:solidFill>
                <a:srgbClr val="005073"/>
              </a:solidFill>
              <a:effectLst/>
              <a:uLnTx/>
              <a:uFillTx/>
              <a:latin typeface="CiscoSansTT ExtraLight"/>
              <a:ea typeface="+mn-ea"/>
              <a:cs typeface="+mn-cs"/>
            </a:rPr>
            <a:t>Denverton</a:t>
          </a:r>
          <a:r>
            <a:rPr kumimoji="0" lang="en-US" sz="800" b="0" i="0" u="none" strike="noStrike" kern="1200" cap="none" spc="0" normalizeH="0" baseline="0" dirty="0">
              <a:ln>
                <a:noFill/>
              </a:ln>
              <a:solidFill>
                <a:srgbClr val="005073"/>
              </a:solidFill>
              <a:effectLst/>
              <a:uLnTx/>
              <a:uFillTx/>
              <a:latin typeface="CiscoSansTT ExtraLight"/>
              <a:ea typeface="+mn-ea"/>
              <a:cs typeface="+mn-cs"/>
            </a:rPr>
            <a:t> 8C 1.7GHz CPU</a:t>
          </a:r>
        </a:p>
      </dgm:t>
    </dgm:pt>
    <dgm:pt modelId="{A0C13E03-BC8D-B74B-8C87-56EBDA2D5877}" type="parTrans" cxnId="{6A021749-50AF-7E48-BE5A-E28F9C51A8EA}">
      <dgm:prSet/>
      <dgm:spPr/>
      <dgm:t>
        <a:bodyPr/>
        <a:lstStyle/>
        <a:p>
          <a:endParaRPr lang="en-US"/>
        </a:p>
      </dgm:t>
    </dgm:pt>
    <dgm:pt modelId="{9B8A88C5-1698-0749-AC1B-0302F4386564}" type="sibTrans" cxnId="{6A021749-50AF-7E48-BE5A-E28F9C51A8EA}">
      <dgm:prSet/>
      <dgm:spPr/>
      <dgm:t>
        <a:bodyPr/>
        <a:lstStyle/>
        <a:p>
          <a:endParaRPr lang="en-US"/>
        </a:p>
      </dgm:t>
    </dgm:pt>
    <dgm:pt modelId="{2FB2FDD1-88E1-2849-B5C1-08BC28DC843C}">
      <dgm:prSet custT="1"/>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rgbClr val="005073"/>
              </a:solidFill>
              <a:effectLst/>
              <a:uLnTx/>
              <a:uFillTx/>
              <a:latin typeface="CiscoSansTT ExtraLight"/>
              <a:ea typeface="+mn-ea"/>
              <a:cs typeface="+mn-cs"/>
            </a:rPr>
            <a:t>8 GB DRAM, 32G eMMC (</a:t>
          </a:r>
          <a:r>
            <a:rPr kumimoji="0" lang="en-IN" sz="800" b="0" i="0" u="none" strike="noStrike" kern="1200" cap="none" spc="0" normalizeH="0" baseline="0" dirty="0">
              <a:ln>
                <a:noFill/>
              </a:ln>
              <a:solidFill>
                <a:srgbClr val="005073"/>
              </a:solidFill>
              <a:effectLst/>
              <a:uLnTx/>
              <a:uFillTx/>
              <a:latin typeface="CiscoSansTT ExtraLight"/>
              <a:ea typeface="+mn-ea"/>
              <a:cs typeface="+mn-cs"/>
            </a:rPr>
            <a:t>Embedded Multimedia Card</a:t>
          </a:r>
          <a:endParaRPr kumimoji="0" lang="en-US" sz="800" b="0" i="0" u="none" strike="noStrike" kern="1200" cap="none" spc="0" normalizeH="0" baseline="0" dirty="0">
            <a:ln>
              <a:noFill/>
            </a:ln>
            <a:solidFill>
              <a:srgbClr val="005073"/>
            </a:solidFill>
            <a:effectLst/>
            <a:uLnTx/>
            <a:uFillTx/>
            <a:latin typeface="CiscoSansTT ExtraLight"/>
            <a:ea typeface="+mn-ea"/>
            <a:cs typeface="+mn-cs"/>
          </a:endParaRPr>
        </a:p>
      </dgm:t>
    </dgm:pt>
    <dgm:pt modelId="{85AF8E29-3E56-8F4A-AEA0-7AC8D9A13AF9}" type="parTrans" cxnId="{6AD3400E-99C1-3341-B1E6-6CAE34D4D836}">
      <dgm:prSet/>
      <dgm:spPr/>
      <dgm:t>
        <a:bodyPr/>
        <a:lstStyle/>
        <a:p>
          <a:endParaRPr lang="en-US"/>
        </a:p>
      </dgm:t>
    </dgm:pt>
    <dgm:pt modelId="{4F6807FB-D43D-B64B-905B-7BEF705BCB3F}" type="sibTrans" cxnId="{6AD3400E-99C1-3341-B1E6-6CAE34D4D836}">
      <dgm:prSet/>
      <dgm:spPr/>
      <dgm:t>
        <a:bodyPr/>
        <a:lstStyle/>
        <a:p>
          <a:endParaRPr lang="en-US"/>
        </a:p>
      </dgm:t>
    </dgm:pt>
    <dgm:pt modelId="{98B71D7B-1514-CA43-A91C-8F9931C98A60}">
      <dgm:prSet custT="1"/>
      <dgm:spPr/>
      <dgm:t>
        <a:bodyPr/>
        <a:lstStyle/>
        <a:p>
          <a:pPr marL="57150" lvl="1" indent="-57150" algn="l" defTabSz="355600" rtl="0">
            <a:lnSpc>
              <a:spcPct val="90000"/>
            </a:lnSpc>
            <a:spcBef>
              <a:spcPct val="0"/>
            </a:spcBef>
            <a:spcAft>
              <a:spcPct val="15000"/>
            </a:spcAft>
            <a:buClrTx/>
            <a:buSzTx/>
            <a:buFont typeface="Arial" panose="020B0604020202020204" pitchFamily="34" charset="0"/>
            <a:buChar char="•"/>
          </a:pPr>
          <a:r>
            <a:rPr lang="en-US" sz="800" kern="1200" noProof="0" dirty="0">
              <a:solidFill>
                <a:srgbClr val="005073"/>
              </a:solidFill>
              <a:latin typeface="CiscoSansTT ExtraLight"/>
              <a:ea typeface="+mn-ea"/>
              <a:cs typeface="+mn-cs"/>
            </a:rPr>
            <a:t>Fixed PSU, Dual DC /Single AC PSU</a:t>
          </a:r>
          <a:endParaRPr lang="en-US" sz="800" kern="1200" dirty="0">
            <a:solidFill>
              <a:srgbClr val="005073"/>
            </a:solidFill>
            <a:latin typeface="CiscoSansTT ExtraLight"/>
            <a:ea typeface="+mn-ea"/>
            <a:cs typeface="+mn-cs"/>
          </a:endParaRPr>
        </a:p>
      </dgm:t>
    </dgm:pt>
    <dgm:pt modelId="{D5878EDE-5E81-5047-9937-ECFE8B86585C}" type="parTrans" cxnId="{4AF81755-E0CD-184C-8669-969B5272FDDA}">
      <dgm:prSet/>
      <dgm:spPr/>
      <dgm:t>
        <a:bodyPr/>
        <a:lstStyle/>
        <a:p>
          <a:endParaRPr lang="en-US"/>
        </a:p>
      </dgm:t>
    </dgm:pt>
    <dgm:pt modelId="{3B25EEB1-B464-0B45-8E31-16400A43692A}" type="sibTrans" cxnId="{4AF81755-E0CD-184C-8669-969B5272FDDA}">
      <dgm:prSet/>
      <dgm:spPr/>
      <dgm:t>
        <a:bodyPr/>
        <a:lstStyle/>
        <a:p>
          <a:endParaRPr lang="en-US"/>
        </a:p>
      </dgm:t>
    </dgm:pt>
    <dgm:pt modelId="{D0FE3F43-4E1A-5A48-A30D-A1E158B68858}">
      <dgm:prSet custT="1"/>
      <dgm:spPr/>
      <dgm:t>
        <a:bodyPr/>
        <a:lstStyle/>
        <a:p>
          <a:pPr marL="57150" lvl="1" indent="-57150" algn="l" defTabSz="355600" rtl="0">
            <a:lnSpc>
              <a:spcPct val="90000"/>
            </a:lnSpc>
            <a:spcBef>
              <a:spcPct val="0"/>
            </a:spcBef>
            <a:spcAft>
              <a:spcPct val="15000"/>
            </a:spcAft>
            <a:buFont typeface="Arial" panose="020B0604020202020204" pitchFamily="34" charset="0"/>
            <a:buChar char="•"/>
          </a:pPr>
          <a:r>
            <a:rPr lang="en-US" sz="800" kern="1200" dirty="0">
              <a:solidFill>
                <a:srgbClr val="005073"/>
              </a:solidFill>
              <a:latin typeface="CiscoSansTT ExtraLight"/>
              <a:ea typeface="+mn-ea"/>
              <a:cs typeface="+mn-cs"/>
            </a:rPr>
            <a:t>Modular Fan Tray, Side to Side airflow</a:t>
          </a:r>
        </a:p>
      </dgm:t>
    </dgm:pt>
    <dgm:pt modelId="{912DBFB4-975C-154B-BE45-1DFCB48AAC47}" type="parTrans" cxnId="{79AD6D6F-5EB8-BD4D-B680-933C1CC456CB}">
      <dgm:prSet/>
      <dgm:spPr/>
      <dgm:t>
        <a:bodyPr/>
        <a:lstStyle/>
        <a:p>
          <a:endParaRPr lang="en-US"/>
        </a:p>
      </dgm:t>
    </dgm:pt>
    <dgm:pt modelId="{2204A321-722F-A84E-9C73-93CE71D5259C}" type="sibTrans" cxnId="{79AD6D6F-5EB8-BD4D-B680-933C1CC456CB}">
      <dgm:prSet/>
      <dgm:spPr/>
      <dgm:t>
        <a:bodyPr/>
        <a:lstStyle/>
        <a:p>
          <a:endParaRPr lang="en-US"/>
        </a:p>
      </dgm:t>
    </dgm:pt>
    <dgm:pt modelId="{5B4AEF64-28AE-485F-8316-5EC472702409}" type="pres">
      <dgm:prSet presAssocID="{DAD06F05-3903-433B-819B-F96CE91CF596}" presName="Name0" presStyleCnt="0">
        <dgm:presLayoutVars>
          <dgm:dir/>
          <dgm:animLvl val="lvl"/>
          <dgm:resizeHandles val="exact"/>
        </dgm:presLayoutVars>
      </dgm:prSet>
      <dgm:spPr/>
    </dgm:pt>
    <dgm:pt modelId="{892E7779-DCF7-49DC-B0CB-6BFF0EF6741F}" type="pres">
      <dgm:prSet presAssocID="{A857E58C-97AE-49CD-B97A-4AE61EDD56C3}" presName="linNode" presStyleCnt="0"/>
      <dgm:spPr/>
    </dgm:pt>
    <dgm:pt modelId="{75BDDF79-3035-42C9-A99F-F5B297561CD6}" type="pres">
      <dgm:prSet presAssocID="{A857E58C-97AE-49CD-B97A-4AE61EDD56C3}" presName="parentText" presStyleLbl="node1" presStyleIdx="0" presStyleCnt="6">
        <dgm:presLayoutVars>
          <dgm:chMax val="1"/>
          <dgm:bulletEnabled val="1"/>
        </dgm:presLayoutVars>
      </dgm:prSet>
      <dgm:spPr/>
    </dgm:pt>
    <dgm:pt modelId="{454F4EDA-E589-4A16-85DB-0C9792B930E7}" type="pres">
      <dgm:prSet presAssocID="{A857E58C-97AE-49CD-B97A-4AE61EDD56C3}" presName="descendantText" presStyleLbl="alignAccFollowNode1" presStyleIdx="0" presStyleCnt="6">
        <dgm:presLayoutVars>
          <dgm:bulletEnabled val="1"/>
        </dgm:presLayoutVars>
      </dgm:prSet>
      <dgm:spPr/>
    </dgm:pt>
    <dgm:pt modelId="{81BEC21C-0012-4E95-BB17-9B2AA37A90D4}" type="pres">
      <dgm:prSet presAssocID="{86CA84AA-D830-417D-BF7F-4979D17CBEAE}" presName="sp" presStyleCnt="0"/>
      <dgm:spPr/>
    </dgm:pt>
    <dgm:pt modelId="{3AB861FE-6227-4EE5-A6DA-C65C44CFB581}" type="pres">
      <dgm:prSet presAssocID="{3BBE5F78-935B-42C9-B573-16AC714B10F1}" presName="linNode" presStyleCnt="0"/>
      <dgm:spPr/>
    </dgm:pt>
    <dgm:pt modelId="{46830796-4281-4E9F-8DEE-0DD2DF16825B}" type="pres">
      <dgm:prSet presAssocID="{3BBE5F78-935B-42C9-B573-16AC714B10F1}" presName="parentText" presStyleLbl="node1" presStyleIdx="1" presStyleCnt="6">
        <dgm:presLayoutVars>
          <dgm:chMax val="1"/>
          <dgm:bulletEnabled val="1"/>
        </dgm:presLayoutVars>
      </dgm:prSet>
      <dgm:spPr/>
    </dgm:pt>
    <dgm:pt modelId="{2BDD3F66-042D-48A7-8A12-4EEFBC3BB338}" type="pres">
      <dgm:prSet presAssocID="{3BBE5F78-935B-42C9-B573-16AC714B10F1}" presName="descendantText" presStyleLbl="alignAccFollowNode1" presStyleIdx="1" presStyleCnt="6">
        <dgm:presLayoutVars>
          <dgm:bulletEnabled val="1"/>
        </dgm:presLayoutVars>
      </dgm:prSet>
      <dgm:spPr/>
    </dgm:pt>
    <dgm:pt modelId="{BCFB7EE6-BA37-4E65-98F6-BDF5A4F3F69C}" type="pres">
      <dgm:prSet presAssocID="{F495C1DF-00CA-4806-8848-4DB4430BC0E5}" presName="sp" presStyleCnt="0"/>
      <dgm:spPr/>
    </dgm:pt>
    <dgm:pt modelId="{5D8D81FC-E2E7-467C-9C14-B6D3623F36DF}" type="pres">
      <dgm:prSet presAssocID="{EFE837F0-2D9A-4CDF-A1D4-4A926913B307}" presName="linNode" presStyleCnt="0"/>
      <dgm:spPr/>
    </dgm:pt>
    <dgm:pt modelId="{101019C5-FDD6-4886-90F5-F669DD820F3A}" type="pres">
      <dgm:prSet presAssocID="{EFE837F0-2D9A-4CDF-A1D4-4A926913B307}" presName="parentText" presStyleLbl="node1" presStyleIdx="2" presStyleCnt="6">
        <dgm:presLayoutVars>
          <dgm:chMax val="1"/>
          <dgm:bulletEnabled val="1"/>
        </dgm:presLayoutVars>
      </dgm:prSet>
      <dgm:spPr/>
    </dgm:pt>
    <dgm:pt modelId="{ECB50969-2EBA-4889-BC7D-B884D0866E33}" type="pres">
      <dgm:prSet presAssocID="{EFE837F0-2D9A-4CDF-A1D4-4A926913B307}" presName="descendantText" presStyleLbl="alignAccFollowNode1" presStyleIdx="2" presStyleCnt="6">
        <dgm:presLayoutVars>
          <dgm:bulletEnabled val="1"/>
        </dgm:presLayoutVars>
      </dgm:prSet>
      <dgm:spPr/>
    </dgm:pt>
    <dgm:pt modelId="{99451625-FCC4-4B83-B889-E8DD158ED64F}" type="pres">
      <dgm:prSet presAssocID="{ECFD24B6-B38D-471B-8241-123E8F706492}" presName="sp" presStyleCnt="0"/>
      <dgm:spPr/>
    </dgm:pt>
    <dgm:pt modelId="{4B28F1C2-05BC-45C3-9269-7CE466037E26}" type="pres">
      <dgm:prSet presAssocID="{7EEF4263-4E6E-4004-960E-3E3E9468A3AC}" presName="linNode" presStyleCnt="0"/>
      <dgm:spPr/>
    </dgm:pt>
    <dgm:pt modelId="{8E64AB20-F105-400F-8F74-08B70BF50322}" type="pres">
      <dgm:prSet presAssocID="{7EEF4263-4E6E-4004-960E-3E3E9468A3AC}" presName="parentText" presStyleLbl="node1" presStyleIdx="3" presStyleCnt="6">
        <dgm:presLayoutVars>
          <dgm:chMax val="1"/>
          <dgm:bulletEnabled val="1"/>
        </dgm:presLayoutVars>
      </dgm:prSet>
      <dgm:spPr/>
    </dgm:pt>
    <dgm:pt modelId="{07C64787-2A16-432E-A9E9-C9678F3B7697}" type="pres">
      <dgm:prSet presAssocID="{7EEF4263-4E6E-4004-960E-3E3E9468A3AC}" presName="descendantText" presStyleLbl="alignAccFollowNode1" presStyleIdx="3" presStyleCnt="6">
        <dgm:presLayoutVars>
          <dgm:bulletEnabled val="1"/>
        </dgm:presLayoutVars>
      </dgm:prSet>
      <dgm:spPr/>
    </dgm:pt>
    <dgm:pt modelId="{0F34426D-C1A0-4D72-9913-BAE6F3F4B6F0}" type="pres">
      <dgm:prSet presAssocID="{4CE6DE60-F69C-4621-8578-4D44E879034E}" presName="sp" presStyleCnt="0"/>
      <dgm:spPr/>
    </dgm:pt>
    <dgm:pt modelId="{B658F943-F0FE-42EE-B0D1-1847AF1AFE1A}" type="pres">
      <dgm:prSet presAssocID="{5EA9DA79-28E7-45D4-871A-EF76EE70709D}" presName="linNode" presStyleCnt="0"/>
      <dgm:spPr/>
    </dgm:pt>
    <dgm:pt modelId="{5CE93F69-8985-4E79-AB79-F77331DDDF29}" type="pres">
      <dgm:prSet presAssocID="{5EA9DA79-28E7-45D4-871A-EF76EE70709D}" presName="parentText" presStyleLbl="node1" presStyleIdx="4" presStyleCnt="6">
        <dgm:presLayoutVars>
          <dgm:chMax val="1"/>
          <dgm:bulletEnabled val="1"/>
        </dgm:presLayoutVars>
      </dgm:prSet>
      <dgm:spPr/>
    </dgm:pt>
    <dgm:pt modelId="{8E9693D4-37B8-411A-B81B-9FF4FED4D5AC}" type="pres">
      <dgm:prSet presAssocID="{5EA9DA79-28E7-45D4-871A-EF76EE70709D}" presName="descendantText" presStyleLbl="alignAccFollowNode1" presStyleIdx="4" presStyleCnt="6">
        <dgm:presLayoutVars>
          <dgm:bulletEnabled val="1"/>
        </dgm:presLayoutVars>
      </dgm:prSet>
      <dgm:spPr/>
    </dgm:pt>
    <dgm:pt modelId="{A467D402-92CD-4BF3-87FF-475BED166A57}" type="pres">
      <dgm:prSet presAssocID="{CF883CA7-B12F-4964-961F-BA435C55BCFC}" presName="sp" presStyleCnt="0"/>
      <dgm:spPr/>
    </dgm:pt>
    <dgm:pt modelId="{5D58E42B-2060-489A-8BD9-92C85736B2EE}" type="pres">
      <dgm:prSet presAssocID="{1A0A2AA1-69D5-4E14-A15E-0D5DB2762F19}" presName="linNode" presStyleCnt="0"/>
      <dgm:spPr/>
    </dgm:pt>
    <dgm:pt modelId="{24C0A0FD-C6B1-479F-931D-3DD94F912BF2}" type="pres">
      <dgm:prSet presAssocID="{1A0A2AA1-69D5-4E14-A15E-0D5DB2762F19}" presName="parentText" presStyleLbl="node1" presStyleIdx="5" presStyleCnt="6">
        <dgm:presLayoutVars>
          <dgm:chMax val="1"/>
          <dgm:bulletEnabled val="1"/>
        </dgm:presLayoutVars>
      </dgm:prSet>
      <dgm:spPr/>
    </dgm:pt>
    <dgm:pt modelId="{BA1392D3-6B0C-439C-BF9F-5015A177764E}" type="pres">
      <dgm:prSet presAssocID="{1A0A2AA1-69D5-4E14-A15E-0D5DB2762F19}" presName="descendantText" presStyleLbl="alignAccFollowNode1" presStyleIdx="5" presStyleCnt="6">
        <dgm:presLayoutVars>
          <dgm:bulletEnabled val="1"/>
        </dgm:presLayoutVars>
      </dgm:prSet>
      <dgm:spPr/>
    </dgm:pt>
  </dgm:ptLst>
  <dgm:cxnLst>
    <dgm:cxn modelId="{DB3E3202-BCA7-4684-B726-DFE2D2250AC2}" srcId="{7EEF4263-4E6E-4004-960E-3E3E9468A3AC}" destId="{00D4706A-CCA3-4E9F-8C3E-CF0DDD79D9A2}" srcOrd="1" destOrd="0" parTransId="{7BBEC611-1C42-449E-9EBA-CB57EDD32757}" sibTransId="{1964B2D3-B48E-432D-8C5D-A7D0C0C0E005}"/>
    <dgm:cxn modelId="{8E384F03-F82E-4A97-9EAA-D5DA2820E5C9}" type="presOf" srcId="{EFE837F0-2D9A-4CDF-A1D4-4A926913B307}" destId="{101019C5-FDD6-4886-90F5-F669DD820F3A}" srcOrd="0" destOrd="0" presId="urn:microsoft.com/office/officeart/2005/8/layout/vList5"/>
    <dgm:cxn modelId="{6AD3400E-99C1-3341-B1E6-6CAE34D4D836}" srcId="{A857E58C-97AE-49CD-B97A-4AE61EDD56C3}" destId="{2FB2FDD1-88E1-2849-B5C1-08BC28DC843C}" srcOrd="2" destOrd="0" parTransId="{85AF8E29-3E56-8F4A-AEA0-7AC8D9A13AF9}" sibTransId="{4F6807FB-D43D-B64B-905B-7BEF705BCB3F}"/>
    <dgm:cxn modelId="{BADC6117-E6A8-CA47-8611-D6A4D389AF36}" type="presOf" srcId="{D0FE3F43-4E1A-5A48-A30D-A1E158B68858}" destId="{ECB50969-2EBA-4889-BC7D-B884D0866E33}" srcOrd="0" destOrd="2" presId="urn:microsoft.com/office/officeart/2005/8/layout/vList5"/>
    <dgm:cxn modelId="{5A10F72B-B70F-4047-833D-DF0ADBB6CAE9}" type="presOf" srcId="{DAD06F05-3903-433B-819B-F96CE91CF596}" destId="{5B4AEF64-28AE-485F-8316-5EC472702409}" srcOrd="0" destOrd="0" presId="urn:microsoft.com/office/officeart/2005/8/layout/vList5"/>
    <dgm:cxn modelId="{32AF1F3D-5EA1-450F-8B1A-3D70422409A6}" type="presOf" srcId="{7931435D-86CC-4E5F-AEA6-654DD645A9D0}" destId="{454F4EDA-E589-4A16-85DB-0C9792B930E7}" srcOrd="0" destOrd="0" presId="urn:microsoft.com/office/officeart/2005/8/layout/vList5"/>
    <dgm:cxn modelId="{D5DBFA3D-7122-43F1-AD34-4F94C6F7E5DE}" srcId="{1A0A2AA1-69D5-4E14-A15E-0D5DB2762F19}" destId="{CD757011-5728-4BF4-853F-70E13533E937}" srcOrd="0" destOrd="0" parTransId="{4FA3D885-C227-4859-BFAF-3178421AB4D0}" sibTransId="{1F91DA92-BB7C-4DFA-AAAA-66381A48E26F}"/>
    <dgm:cxn modelId="{FD4AC943-CC0C-421B-9E55-E4A36E6FB31B}" srcId="{A857E58C-97AE-49CD-B97A-4AE61EDD56C3}" destId="{7931435D-86CC-4E5F-AEA6-654DD645A9D0}" srcOrd="0" destOrd="0" parTransId="{B0381B90-A790-4E10-9BB6-1081D6ED3F9B}" sibTransId="{18F1ED80-9C2A-4BD8-861D-545F84CFB19A}"/>
    <dgm:cxn modelId="{2E540764-9DC8-4EBC-A694-304529F67E64}" type="presOf" srcId="{1A0A2AA1-69D5-4E14-A15E-0D5DB2762F19}" destId="{24C0A0FD-C6B1-479F-931D-3DD94F912BF2}" srcOrd="0" destOrd="0" presId="urn:microsoft.com/office/officeart/2005/8/layout/vList5"/>
    <dgm:cxn modelId="{1C69A544-6EBB-4C03-86B8-22AB374E9E8D}" type="presOf" srcId="{00D4706A-CCA3-4E9F-8C3E-CF0DDD79D9A2}" destId="{07C64787-2A16-432E-A9E9-C9678F3B7697}" srcOrd="0" destOrd="1" presId="urn:microsoft.com/office/officeart/2005/8/layout/vList5"/>
    <dgm:cxn modelId="{058CD167-1915-429C-BF36-B12F4165BCC1}" srcId="{5EA9DA79-28E7-45D4-871A-EF76EE70709D}" destId="{C38B58B5-12D3-4A51-B860-16C18A107601}" srcOrd="0" destOrd="0" parTransId="{D2454DE5-9BA9-4680-8918-DD86BC2131C0}" sibTransId="{73EEC26C-9C9C-433E-9189-7BE729F08491}"/>
    <dgm:cxn modelId="{6A021749-50AF-7E48-BE5A-E28F9C51A8EA}" srcId="{A857E58C-97AE-49CD-B97A-4AE61EDD56C3}" destId="{53D666BE-2E64-4343-84BF-2116BE8B80E6}" srcOrd="1" destOrd="0" parTransId="{A0C13E03-BC8D-B74B-8C87-56EBDA2D5877}" sibTransId="{9B8A88C5-1698-0749-AC1B-0302F4386564}"/>
    <dgm:cxn modelId="{79AD6D6F-5EB8-BD4D-B680-933C1CC456CB}" srcId="{EFE837F0-2D9A-4CDF-A1D4-4A926913B307}" destId="{D0FE3F43-4E1A-5A48-A30D-A1E158B68858}" srcOrd="2" destOrd="0" parTransId="{912DBFB4-975C-154B-BE45-1DFCB48AAC47}" sibTransId="{2204A321-722F-A84E-9C73-93CE71D5259C}"/>
    <dgm:cxn modelId="{4AF81755-E0CD-184C-8669-969B5272FDDA}" srcId="{EFE837F0-2D9A-4CDF-A1D4-4A926913B307}" destId="{98B71D7B-1514-CA43-A91C-8F9931C98A60}" srcOrd="1" destOrd="0" parTransId="{D5878EDE-5E81-5047-9937-ECFE8B86585C}" sibTransId="{3B25EEB1-B464-0B45-8E31-16400A43692A}"/>
    <dgm:cxn modelId="{B7434775-3FDA-4409-A75F-790174755D82}" type="presOf" srcId="{5EA9DA79-28E7-45D4-871A-EF76EE70709D}" destId="{5CE93F69-8985-4E79-AB79-F77331DDDF29}" srcOrd="0" destOrd="0" presId="urn:microsoft.com/office/officeart/2005/8/layout/vList5"/>
    <dgm:cxn modelId="{B7EF1B83-D41C-6749-B8A9-15D2A41202DA}" type="presOf" srcId="{2FB2FDD1-88E1-2849-B5C1-08BC28DC843C}" destId="{454F4EDA-E589-4A16-85DB-0C9792B930E7}" srcOrd="0" destOrd="2" presId="urn:microsoft.com/office/officeart/2005/8/layout/vList5"/>
    <dgm:cxn modelId="{40EC938D-B9A2-452E-9E78-0B9AE66C5785}" type="presOf" srcId="{CD757011-5728-4BF4-853F-70E13533E937}" destId="{BA1392D3-6B0C-439C-BF9F-5015A177764E}" srcOrd="0" destOrd="0" presId="urn:microsoft.com/office/officeart/2005/8/layout/vList5"/>
    <dgm:cxn modelId="{707BDD95-DDEE-4F9A-A68B-9CB0E3FE6F6C}" type="presOf" srcId="{7EEF4263-4E6E-4004-960E-3E3E9468A3AC}" destId="{8E64AB20-F105-400F-8F74-08B70BF50322}" srcOrd="0" destOrd="0" presId="urn:microsoft.com/office/officeart/2005/8/layout/vList5"/>
    <dgm:cxn modelId="{C7A1E8A9-7E9B-4846-9A99-9A8E761214B3}" srcId="{DAD06F05-3903-433B-819B-F96CE91CF596}" destId="{5EA9DA79-28E7-45D4-871A-EF76EE70709D}" srcOrd="4" destOrd="0" parTransId="{974B947A-5332-4D17-9DC4-3924DFDB2080}" sibTransId="{CF883CA7-B12F-4964-961F-BA435C55BCFC}"/>
    <dgm:cxn modelId="{91A8A6B2-9435-4D1F-95FB-BD8A0D2C2514}" type="presOf" srcId="{3F619E9B-7592-4D0E-9488-8A5B974A1666}" destId="{07C64787-2A16-432E-A9E9-C9678F3B7697}" srcOrd="0" destOrd="0" presId="urn:microsoft.com/office/officeart/2005/8/layout/vList5"/>
    <dgm:cxn modelId="{CA5F7EB3-BE12-4A94-A8CB-1A7697C6DE1F}" srcId="{DAD06F05-3903-433B-819B-F96CE91CF596}" destId="{EFE837F0-2D9A-4CDF-A1D4-4A926913B307}" srcOrd="2" destOrd="0" parTransId="{F39B6D33-5DF0-4159-B422-777B81F4DA77}" sibTransId="{ECFD24B6-B38D-471B-8241-123E8F706492}"/>
    <dgm:cxn modelId="{2834DCBD-6FDA-4C39-87B3-BCA93B3FFDAD}" type="presOf" srcId="{19AFF552-528C-4877-97A3-12FC6BD54D90}" destId="{2BDD3F66-042D-48A7-8A12-4EEFBC3BB338}" srcOrd="0" destOrd="0" presId="urn:microsoft.com/office/officeart/2005/8/layout/vList5"/>
    <dgm:cxn modelId="{2FD676CB-C025-164E-A52F-0E346E9DDD43}" type="presOf" srcId="{98B71D7B-1514-CA43-A91C-8F9931C98A60}" destId="{ECB50969-2EBA-4889-BC7D-B884D0866E33}" srcOrd="0" destOrd="1" presId="urn:microsoft.com/office/officeart/2005/8/layout/vList5"/>
    <dgm:cxn modelId="{A661A1CB-7EA3-4F55-AE86-D4B614935AD6}" type="presOf" srcId="{A857E58C-97AE-49CD-B97A-4AE61EDD56C3}" destId="{75BDDF79-3035-42C9-A99F-F5B297561CD6}" srcOrd="0" destOrd="0" presId="urn:microsoft.com/office/officeart/2005/8/layout/vList5"/>
    <dgm:cxn modelId="{5B239AD3-85FB-4C47-9CAB-2AF559CA73E6}" srcId="{EFE837F0-2D9A-4CDF-A1D4-4A926913B307}" destId="{8E7316BF-1222-45EA-ABE1-78CBE16193B1}" srcOrd="0" destOrd="0" parTransId="{73E5A098-945B-4C78-AD53-C2C174F65149}" sibTransId="{2DACA4EF-6F12-46A5-B1F1-21EA4A20873D}"/>
    <dgm:cxn modelId="{C62A1EDA-3826-44A9-9335-C8E7552C4330}" srcId="{DAD06F05-3903-433B-819B-F96CE91CF596}" destId="{3BBE5F78-935B-42C9-B573-16AC714B10F1}" srcOrd="1" destOrd="0" parTransId="{EE14023B-C2BA-4331-9C36-5E19183E6AEE}" sibTransId="{F495C1DF-00CA-4806-8848-4DB4430BC0E5}"/>
    <dgm:cxn modelId="{99C2BADA-930D-49D5-9D80-EB30E8F492D7}" type="presOf" srcId="{C38B58B5-12D3-4A51-B860-16C18A107601}" destId="{8E9693D4-37B8-411A-B81B-9FF4FED4D5AC}" srcOrd="0" destOrd="0" presId="urn:microsoft.com/office/officeart/2005/8/layout/vList5"/>
    <dgm:cxn modelId="{504908DB-3FC9-4C05-9B55-989A070DC9BD}" srcId="{DAD06F05-3903-433B-819B-F96CE91CF596}" destId="{1A0A2AA1-69D5-4E14-A15E-0D5DB2762F19}" srcOrd="5" destOrd="0" parTransId="{9EAEA37A-A80A-4B0B-86C0-F7BC883CD3FA}" sibTransId="{1BC57049-2068-4AC0-BFB4-94C5D69D5D48}"/>
    <dgm:cxn modelId="{E5CF5CDD-012A-4955-AA75-58B4E09FAB96}" srcId="{DAD06F05-3903-433B-819B-F96CE91CF596}" destId="{7EEF4263-4E6E-4004-960E-3E3E9468A3AC}" srcOrd="3" destOrd="0" parTransId="{7A13DF79-CCAA-4E59-AC08-5B2E4EED69BF}" sibTransId="{4CE6DE60-F69C-4621-8578-4D44E879034E}"/>
    <dgm:cxn modelId="{309C19EB-8138-496D-9EB7-437788006B10}" srcId="{3BBE5F78-935B-42C9-B573-16AC714B10F1}" destId="{19AFF552-528C-4877-97A3-12FC6BD54D90}" srcOrd="0" destOrd="0" parTransId="{269718FA-B77B-41E9-B6BC-51C9841D86BE}" sibTransId="{CBC002CF-AA4E-4F12-AA57-C4D942495BB3}"/>
    <dgm:cxn modelId="{F4100BF2-848F-FD40-9356-1426EF0F57D5}" type="presOf" srcId="{53D666BE-2E64-4343-84BF-2116BE8B80E6}" destId="{454F4EDA-E589-4A16-85DB-0C9792B930E7}" srcOrd="0" destOrd="1" presId="urn:microsoft.com/office/officeart/2005/8/layout/vList5"/>
    <dgm:cxn modelId="{5A39FCF3-AD21-4C63-B500-12FEC3752B92}" srcId="{DAD06F05-3903-433B-819B-F96CE91CF596}" destId="{A857E58C-97AE-49CD-B97A-4AE61EDD56C3}" srcOrd="0" destOrd="0" parTransId="{7CFB9093-54FB-41EF-8F19-CC73B6679103}" sibTransId="{86CA84AA-D830-417D-BF7F-4979D17CBEAE}"/>
    <dgm:cxn modelId="{DE7906F5-3B68-4298-876A-FF154F8BB589}" srcId="{7EEF4263-4E6E-4004-960E-3E3E9468A3AC}" destId="{3F619E9B-7592-4D0E-9488-8A5B974A1666}" srcOrd="0" destOrd="0" parTransId="{0D2C2944-594A-4519-9F06-1D0E1C1376FF}" sibTransId="{EA1A8E51-D814-4655-B17C-2C181E2F44C0}"/>
    <dgm:cxn modelId="{79FEF3F5-AAA5-4DB4-9494-28E0A42D7E96}" type="presOf" srcId="{8E7316BF-1222-45EA-ABE1-78CBE16193B1}" destId="{ECB50969-2EBA-4889-BC7D-B884D0866E33}" srcOrd="0" destOrd="0" presId="urn:microsoft.com/office/officeart/2005/8/layout/vList5"/>
    <dgm:cxn modelId="{258C70FE-81C9-46D5-BA41-7C3E7D70C18C}" type="presOf" srcId="{3BBE5F78-935B-42C9-B573-16AC714B10F1}" destId="{46830796-4281-4E9F-8DEE-0DD2DF16825B}" srcOrd="0" destOrd="0" presId="urn:microsoft.com/office/officeart/2005/8/layout/vList5"/>
    <dgm:cxn modelId="{E2FDCCF1-5448-45E8-A7DD-5F4810FC3751}" type="presParOf" srcId="{5B4AEF64-28AE-485F-8316-5EC472702409}" destId="{892E7779-DCF7-49DC-B0CB-6BFF0EF6741F}" srcOrd="0" destOrd="0" presId="urn:microsoft.com/office/officeart/2005/8/layout/vList5"/>
    <dgm:cxn modelId="{92BE393F-3174-4171-8796-AD90E06F3CAA}" type="presParOf" srcId="{892E7779-DCF7-49DC-B0CB-6BFF0EF6741F}" destId="{75BDDF79-3035-42C9-A99F-F5B297561CD6}" srcOrd="0" destOrd="0" presId="urn:microsoft.com/office/officeart/2005/8/layout/vList5"/>
    <dgm:cxn modelId="{490AB15B-4143-40BE-848B-A85A76D6806A}" type="presParOf" srcId="{892E7779-DCF7-49DC-B0CB-6BFF0EF6741F}" destId="{454F4EDA-E589-4A16-85DB-0C9792B930E7}" srcOrd="1" destOrd="0" presId="urn:microsoft.com/office/officeart/2005/8/layout/vList5"/>
    <dgm:cxn modelId="{0BB72D25-0196-4E68-9B94-10AAA9F457C2}" type="presParOf" srcId="{5B4AEF64-28AE-485F-8316-5EC472702409}" destId="{81BEC21C-0012-4E95-BB17-9B2AA37A90D4}" srcOrd="1" destOrd="0" presId="urn:microsoft.com/office/officeart/2005/8/layout/vList5"/>
    <dgm:cxn modelId="{697DB389-629F-4A6B-ADBD-B20531B61827}" type="presParOf" srcId="{5B4AEF64-28AE-485F-8316-5EC472702409}" destId="{3AB861FE-6227-4EE5-A6DA-C65C44CFB581}" srcOrd="2" destOrd="0" presId="urn:microsoft.com/office/officeart/2005/8/layout/vList5"/>
    <dgm:cxn modelId="{1504853D-E578-4EA6-ACDA-A4ED2D3581F9}" type="presParOf" srcId="{3AB861FE-6227-4EE5-A6DA-C65C44CFB581}" destId="{46830796-4281-4E9F-8DEE-0DD2DF16825B}" srcOrd="0" destOrd="0" presId="urn:microsoft.com/office/officeart/2005/8/layout/vList5"/>
    <dgm:cxn modelId="{C434CEBC-991B-426F-90E8-7756F75DA485}" type="presParOf" srcId="{3AB861FE-6227-4EE5-A6DA-C65C44CFB581}" destId="{2BDD3F66-042D-48A7-8A12-4EEFBC3BB338}" srcOrd="1" destOrd="0" presId="urn:microsoft.com/office/officeart/2005/8/layout/vList5"/>
    <dgm:cxn modelId="{A23BCE16-8305-4517-9DA2-E4F487189928}" type="presParOf" srcId="{5B4AEF64-28AE-485F-8316-5EC472702409}" destId="{BCFB7EE6-BA37-4E65-98F6-BDF5A4F3F69C}" srcOrd="3" destOrd="0" presId="urn:microsoft.com/office/officeart/2005/8/layout/vList5"/>
    <dgm:cxn modelId="{8229E0C7-AAE2-42C6-886B-6CA804E09D26}" type="presParOf" srcId="{5B4AEF64-28AE-485F-8316-5EC472702409}" destId="{5D8D81FC-E2E7-467C-9C14-B6D3623F36DF}" srcOrd="4" destOrd="0" presId="urn:microsoft.com/office/officeart/2005/8/layout/vList5"/>
    <dgm:cxn modelId="{DFCFD670-6E16-473D-B9D3-9C1B0C9D0321}" type="presParOf" srcId="{5D8D81FC-E2E7-467C-9C14-B6D3623F36DF}" destId="{101019C5-FDD6-4886-90F5-F669DD820F3A}" srcOrd="0" destOrd="0" presId="urn:microsoft.com/office/officeart/2005/8/layout/vList5"/>
    <dgm:cxn modelId="{865DA2CF-E2F0-4C84-886E-39CEEB0919BE}" type="presParOf" srcId="{5D8D81FC-E2E7-467C-9C14-B6D3623F36DF}" destId="{ECB50969-2EBA-4889-BC7D-B884D0866E33}" srcOrd="1" destOrd="0" presId="urn:microsoft.com/office/officeart/2005/8/layout/vList5"/>
    <dgm:cxn modelId="{324252B4-5A7E-413F-BD97-7E819D6D0F14}" type="presParOf" srcId="{5B4AEF64-28AE-485F-8316-5EC472702409}" destId="{99451625-FCC4-4B83-B889-E8DD158ED64F}" srcOrd="5" destOrd="0" presId="urn:microsoft.com/office/officeart/2005/8/layout/vList5"/>
    <dgm:cxn modelId="{ADAC34F0-3286-4679-B287-52F7B07D803A}" type="presParOf" srcId="{5B4AEF64-28AE-485F-8316-5EC472702409}" destId="{4B28F1C2-05BC-45C3-9269-7CE466037E26}" srcOrd="6" destOrd="0" presId="urn:microsoft.com/office/officeart/2005/8/layout/vList5"/>
    <dgm:cxn modelId="{866D56D5-D91D-491A-B851-7E92B4F3BB95}" type="presParOf" srcId="{4B28F1C2-05BC-45C3-9269-7CE466037E26}" destId="{8E64AB20-F105-400F-8F74-08B70BF50322}" srcOrd="0" destOrd="0" presId="urn:microsoft.com/office/officeart/2005/8/layout/vList5"/>
    <dgm:cxn modelId="{AB6F072F-011C-4B83-AF42-5CCD0A61AFE6}" type="presParOf" srcId="{4B28F1C2-05BC-45C3-9269-7CE466037E26}" destId="{07C64787-2A16-432E-A9E9-C9678F3B7697}" srcOrd="1" destOrd="0" presId="urn:microsoft.com/office/officeart/2005/8/layout/vList5"/>
    <dgm:cxn modelId="{E04F19AE-0206-4CD8-9BC8-658A00C9FEDB}" type="presParOf" srcId="{5B4AEF64-28AE-485F-8316-5EC472702409}" destId="{0F34426D-C1A0-4D72-9913-BAE6F3F4B6F0}" srcOrd="7" destOrd="0" presId="urn:microsoft.com/office/officeart/2005/8/layout/vList5"/>
    <dgm:cxn modelId="{E66353AA-6B7A-477E-B97C-512D5BA2CAD4}" type="presParOf" srcId="{5B4AEF64-28AE-485F-8316-5EC472702409}" destId="{B658F943-F0FE-42EE-B0D1-1847AF1AFE1A}" srcOrd="8" destOrd="0" presId="urn:microsoft.com/office/officeart/2005/8/layout/vList5"/>
    <dgm:cxn modelId="{A4308CEC-5244-46DF-8BC4-30DF53182C51}" type="presParOf" srcId="{B658F943-F0FE-42EE-B0D1-1847AF1AFE1A}" destId="{5CE93F69-8985-4E79-AB79-F77331DDDF29}" srcOrd="0" destOrd="0" presId="urn:microsoft.com/office/officeart/2005/8/layout/vList5"/>
    <dgm:cxn modelId="{657E5045-72A5-42DD-B93F-D695DEB6624B}" type="presParOf" srcId="{B658F943-F0FE-42EE-B0D1-1847AF1AFE1A}" destId="{8E9693D4-37B8-411A-B81B-9FF4FED4D5AC}" srcOrd="1" destOrd="0" presId="urn:microsoft.com/office/officeart/2005/8/layout/vList5"/>
    <dgm:cxn modelId="{CF1921C6-C9A0-4DC4-848D-AA7BC8FF1783}" type="presParOf" srcId="{5B4AEF64-28AE-485F-8316-5EC472702409}" destId="{A467D402-92CD-4BF3-87FF-475BED166A57}" srcOrd="9" destOrd="0" presId="urn:microsoft.com/office/officeart/2005/8/layout/vList5"/>
    <dgm:cxn modelId="{067D9BC7-DE9E-42C1-B43A-D29111BF369C}" type="presParOf" srcId="{5B4AEF64-28AE-485F-8316-5EC472702409}" destId="{5D58E42B-2060-489A-8BD9-92C85736B2EE}" srcOrd="10" destOrd="0" presId="urn:microsoft.com/office/officeart/2005/8/layout/vList5"/>
    <dgm:cxn modelId="{DA70AF37-6C57-4661-8262-ED64BFC82ABF}" type="presParOf" srcId="{5D58E42B-2060-489A-8BD9-92C85736B2EE}" destId="{24C0A0FD-C6B1-479F-931D-3DD94F912BF2}" srcOrd="0" destOrd="0" presId="urn:microsoft.com/office/officeart/2005/8/layout/vList5"/>
    <dgm:cxn modelId="{73EFFCA6-9C7F-43A2-86BF-CEEEBB0193C6}" type="presParOf" srcId="{5D58E42B-2060-489A-8BD9-92C85736B2EE}" destId="{BA1392D3-6B0C-439C-BF9F-5015A177764E}"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C6D1570-5085-4BBE-BBA4-FC27A9482638}"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C6DD763B-FA00-4CCA-96D2-C59D469140A1}" type="pres">
      <dgm:prSet presAssocID="{9C6D1570-5085-4BBE-BBA4-FC27A9482638}" presName="Name0" presStyleCnt="0">
        <dgm:presLayoutVars>
          <dgm:dir/>
          <dgm:animLvl val="lvl"/>
          <dgm:resizeHandles val="exact"/>
        </dgm:presLayoutVars>
      </dgm:prSet>
      <dgm:spPr/>
    </dgm:pt>
  </dgm:ptLst>
  <dgm:cxnLst>
    <dgm:cxn modelId="{ECE90041-3460-4A85-897D-8BABBC7047AA}" type="presOf" srcId="{9C6D1570-5085-4BBE-BBA4-FC27A9482638}" destId="{C6DD763B-FA00-4CCA-96D2-C59D469140A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AD06F05-3903-433B-819B-F96CE91CF596}"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A857E58C-97AE-49CD-B97A-4AE61EDD56C3}">
      <dgm:prSet/>
      <dgm:spPr>
        <a:solidFill>
          <a:schemeClr val="accent3">
            <a:lumMod val="20000"/>
            <a:lumOff val="80000"/>
          </a:schemeClr>
        </a:solidFill>
        <a:ln>
          <a:noFill/>
        </a:ln>
      </dgm:spPr>
      <dgm:t>
        <a:bodyPr/>
        <a:lstStyle/>
        <a:p>
          <a:pPr rtl="0"/>
          <a:r>
            <a:rPr lang="en-US" dirty="0"/>
            <a:t>ASIC/CPU/Mem</a:t>
          </a:r>
        </a:p>
      </dgm:t>
    </dgm:pt>
    <dgm:pt modelId="{7CFB9093-54FB-41EF-8F19-CC73B6679103}" type="parTrans" cxnId="{5A39FCF3-AD21-4C63-B500-12FEC3752B92}">
      <dgm:prSet/>
      <dgm:spPr/>
      <dgm:t>
        <a:bodyPr/>
        <a:lstStyle/>
        <a:p>
          <a:endParaRPr lang="en-US"/>
        </a:p>
      </dgm:t>
    </dgm:pt>
    <dgm:pt modelId="{86CA84AA-D830-417D-BF7F-4979D17CBEAE}" type="sibTrans" cxnId="{5A39FCF3-AD21-4C63-B500-12FEC3752B92}">
      <dgm:prSet/>
      <dgm:spPr/>
      <dgm:t>
        <a:bodyPr/>
        <a:lstStyle/>
        <a:p>
          <a:endParaRPr lang="en-US"/>
        </a:p>
      </dgm:t>
    </dgm:pt>
    <dgm:pt modelId="{7931435D-86CC-4E5F-AEA6-654DD645A9D0}">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1 RU, Width 17.5 Inches, Depth 280 mm</a:t>
          </a:r>
          <a:endParaRPr kumimoji="0" lang="en-US" sz="800" b="0" i="0" u="none" strike="noStrike" kern="1200" cap="none" spc="0" normalizeH="0" baseline="0" dirty="0">
            <a:ln>
              <a:noFill/>
            </a:ln>
            <a:solidFill>
              <a:schemeClr val="tx2"/>
            </a:solidFill>
            <a:effectLst/>
            <a:uLnTx/>
            <a:uFillTx/>
            <a:latin typeface="+mn-lt"/>
            <a:ea typeface="+mn-ea"/>
            <a:cs typeface="+mn-cs"/>
          </a:endParaRPr>
        </a:p>
      </dgm:t>
    </dgm:pt>
    <dgm:pt modelId="{B0381B90-A790-4E10-9BB6-1081D6ED3F9B}" type="parTrans" cxnId="{FD4AC943-CC0C-421B-9E55-E4A36E6FB31B}">
      <dgm:prSet/>
      <dgm:spPr/>
      <dgm:t>
        <a:bodyPr/>
        <a:lstStyle/>
        <a:p>
          <a:endParaRPr lang="en-US"/>
        </a:p>
      </dgm:t>
    </dgm:pt>
    <dgm:pt modelId="{18F1ED80-9C2A-4BD8-861D-545F84CFB19A}" type="sibTrans" cxnId="{FD4AC943-CC0C-421B-9E55-E4A36E6FB31B}">
      <dgm:prSet/>
      <dgm:spPr/>
      <dgm:t>
        <a:bodyPr/>
        <a:lstStyle/>
        <a:p>
          <a:endParaRPr lang="en-US"/>
        </a:p>
      </dgm:t>
    </dgm:pt>
    <dgm:pt modelId="{3BBE5F78-935B-42C9-B573-16AC714B10F1}">
      <dgm:prSet/>
      <dgm:spPr>
        <a:solidFill>
          <a:schemeClr val="accent3">
            <a:lumMod val="20000"/>
            <a:lumOff val="80000"/>
          </a:schemeClr>
        </a:solidFill>
        <a:ln>
          <a:noFill/>
        </a:ln>
      </dgm:spPr>
      <dgm:t>
        <a:bodyPr/>
        <a:lstStyle/>
        <a:p>
          <a:pPr rtl="0"/>
          <a:r>
            <a:rPr lang="en-US" dirty="0"/>
            <a:t>Port Config</a:t>
          </a:r>
        </a:p>
      </dgm:t>
    </dgm:pt>
    <dgm:pt modelId="{EE14023B-C2BA-4331-9C36-5E19183E6AEE}" type="parTrans" cxnId="{C62A1EDA-3826-44A9-9335-C8E7552C4330}">
      <dgm:prSet/>
      <dgm:spPr/>
      <dgm:t>
        <a:bodyPr/>
        <a:lstStyle/>
        <a:p>
          <a:endParaRPr lang="en-US"/>
        </a:p>
      </dgm:t>
    </dgm:pt>
    <dgm:pt modelId="{F495C1DF-00CA-4806-8848-4DB4430BC0E5}" type="sibTrans" cxnId="{C62A1EDA-3826-44A9-9335-C8E7552C4330}">
      <dgm:prSet/>
      <dgm:spPr/>
      <dgm:t>
        <a:bodyPr/>
        <a:lstStyle/>
        <a:p>
          <a:endParaRPr lang="en-US"/>
        </a:p>
      </dgm:t>
    </dgm:pt>
    <dgm:pt modelId="{19AFF552-528C-4877-97A3-12FC6BD54D90}">
      <dgm:prSet custT="1"/>
      <dgm:spPr>
        <a:solidFill>
          <a:srgbClr val="D1E6F7">
            <a:alpha val="90000"/>
          </a:srgbClr>
        </a:solidFill>
        <a:ln>
          <a:noFill/>
        </a:ln>
      </dgm:spPr>
      <dgm:t>
        <a:bodyPr/>
        <a:lstStyle/>
        <a:p>
          <a:pPr rtl="0"/>
          <a:r>
            <a:rPr lang="en-US" sz="800" kern="1200" dirty="0">
              <a:solidFill>
                <a:schemeClr val="tx2"/>
              </a:solidFill>
              <a:latin typeface="+mn-lt"/>
            </a:rPr>
            <a:t>28x10G + 4x100G</a:t>
          </a:r>
          <a:endParaRPr lang="en-US" sz="800" kern="1200" dirty="0">
            <a:solidFill>
              <a:schemeClr val="tx2"/>
            </a:solidFill>
            <a:latin typeface="+mn-lt"/>
            <a:ea typeface="+mn-ea"/>
            <a:cs typeface="+mn-cs"/>
          </a:endParaRPr>
        </a:p>
      </dgm:t>
    </dgm:pt>
    <dgm:pt modelId="{269718FA-B77B-41E9-B6BC-51C9841D86BE}" type="parTrans" cxnId="{309C19EB-8138-496D-9EB7-437788006B10}">
      <dgm:prSet/>
      <dgm:spPr/>
      <dgm:t>
        <a:bodyPr/>
        <a:lstStyle/>
        <a:p>
          <a:endParaRPr lang="en-US"/>
        </a:p>
      </dgm:t>
    </dgm:pt>
    <dgm:pt modelId="{CBC002CF-AA4E-4F12-AA57-C4D942495BB3}" type="sibTrans" cxnId="{309C19EB-8138-496D-9EB7-437788006B10}">
      <dgm:prSet/>
      <dgm:spPr/>
      <dgm:t>
        <a:bodyPr/>
        <a:lstStyle/>
        <a:p>
          <a:endParaRPr lang="en-US"/>
        </a:p>
      </dgm:t>
    </dgm:pt>
    <dgm:pt modelId="{EFE837F0-2D9A-4CDF-A1D4-4A926913B307}">
      <dgm:prSet/>
      <dgm:spPr>
        <a:solidFill>
          <a:schemeClr val="accent3">
            <a:lumMod val="20000"/>
            <a:lumOff val="80000"/>
          </a:schemeClr>
        </a:solidFill>
        <a:ln>
          <a:noFill/>
        </a:ln>
      </dgm:spPr>
      <dgm:t>
        <a:bodyPr/>
        <a:lstStyle/>
        <a:p>
          <a:pPr rtl="0"/>
          <a:r>
            <a:rPr lang="en-US" dirty="0"/>
            <a:t>PSU/Fan</a:t>
          </a:r>
        </a:p>
      </dgm:t>
    </dgm:pt>
    <dgm:pt modelId="{F39B6D33-5DF0-4159-B422-777B81F4DA77}" type="parTrans" cxnId="{CA5F7EB3-BE12-4A94-A8CB-1A7697C6DE1F}">
      <dgm:prSet/>
      <dgm:spPr/>
      <dgm:t>
        <a:bodyPr/>
        <a:lstStyle/>
        <a:p>
          <a:endParaRPr lang="en-US"/>
        </a:p>
      </dgm:t>
    </dgm:pt>
    <dgm:pt modelId="{ECFD24B6-B38D-471B-8241-123E8F706492}" type="sibTrans" cxnId="{CA5F7EB3-BE12-4A94-A8CB-1A7697C6DE1F}">
      <dgm:prSet/>
      <dgm:spPr/>
      <dgm:t>
        <a:bodyPr/>
        <a:lstStyle/>
        <a:p>
          <a:endParaRPr lang="en-US"/>
        </a:p>
      </dgm:t>
    </dgm:pt>
    <dgm:pt modelId="{8E7316BF-1222-45EA-ABE1-78CBE16193B1}">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Font typeface="Arial" panose="020B0604020202020204" pitchFamily="34" charset="0"/>
            <a:buChar char="•"/>
          </a:pPr>
          <a:r>
            <a:rPr lang="en-US" sz="800" kern="1200" dirty="0">
              <a:solidFill>
                <a:schemeClr val="tx2"/>
              </a:solidFill>
              <a:latin typeface="+mn-lt"/>
            </a:rPr>
            <a:t>Fixed PSU, Dual DC /Single AC PSU</a:t>
          </a:r>
          <a:endParaRPr lang="en-US" sz="800" kern="1200" dirty="0">
            <a:solidFill>
              <a:schemeClr val="tx2"/>
            </a:solidFill>
            <a:latin typeface="+mn-lt"/>
            <a:ea typeface="+mn-ea"/>
            <a:cs typeface="+mn-cs"/>
          </a:endParaRPr>
        </a:p>
      </dgm:t>
    </dgm:pt>
    <dgm:pt modelId="{73E5A098-945B-4C78-AD53-C2C174F65149}" type="parTrans" cxnId="{5B239AD3-85FB-4C47-9CAB-2AF559CA73E6}">
      <dgm:prSet/>
      <dgm:spPr/>
      <dgm:t>
        <a:bodyPr/>
        <a:lstStyle/>
        <a:p>
          <a:endParaRPr lang="en-US"/>
        </a:p>
      </dgm:t>
    </dgm:pt>
    <dgm:pt modelId="{2DACA4EF-6F12-46A5-B1F1-21EA4A20873D}" type="sibTrans" cxnId="{5B239AD3-85FB-4C47-9CAB-2AF559CA73E6}">
      <dgm:prSet/>
      <dgm:spPr/>
      <dgm:t>
        <a:bodyPr/>
        <a:lstStyle/>
        <a:p>
          <a:endParaRPr lang="en-US"/>
        </a:p>
      </dgm:t>
    </dgm:pt>
    <dgm:pt modelId="{7EEF4263-4E6E-4004-960E-3E3E9468A3AC}">
      <dgm:prSet/>
      <dgm:spPr>
        <a:solidFill>
          <a:schemeClr val="accent3">
            <a:lumMod val="20000"/>
            <a:lumOff val="80000"/>
          </a:schemeClr>
        </a:solidFill>
        <a:ln>
          <a:noFill/>
        </a:ln>
      </dgm:spPr>
      <dgm:t>
        <a:bodyPr/>
        <a:lstStyle/>
        <a:p>
          <a:pPr rtl="0"/>
          <a:r>
            <a:rPr lang="en-US" dirty="0"/>
            <a:t>Temp Range</a:t>
          </a:r>
        </a:p>
      </dgm:t>
    </dgm:pt>
    <dgm:pt modelId="{7A13DF79-CCAA-4E59-AC08-5B2E4EED69BF}" type="parTrans" cxnId="{E5CF5CDD-012A-4955-AA75-58B4E09FAB96}">
      <dgm:prSet/>
      <dgm:spPr/>
      <dgm:t>
        <a:bodyPr/>
        <a:lstStyle/>
        <a:p>
          <a:endParaRPr lang="en-US"/>
        </a:p>
      </dgm:t>
    </dgm:pt>
    <dgm:pt modelId="{4CE6DE60-F69C-4621-8578-4D44E879034E}" type="sibTrans" cxnId="{E5CF5CDD-012A-4955-AA75-58B4E09FAB96}">
      <dgm:prSet/>
      <dgm:spPr/>
      <dgm:t>
        <a:bodyPr/>
        <a:lstStyle/>
        <a:p>
          <a:endParaRPr lang="en-US"/>
        </a:p>
      </dgm:t>
    </dgm:pt>
    <dgm:pt modelId="{3F619E9B-7592-4D0E-9488-8A5B974A1666}">
      <dgm:prSet custT="1"/>
      <dgm:spPr>
        <a:solidFill>
          <a:srgbClr val="D1E6F7">
            <a:alpha val="90000"/>
          </a:srgbClr>
        </a:solidFill>
        <a:ln>
          <a:noFill/>
        </a:ln>
      </dgm:spPr>
      <dgm:t>
        <a:bodyPr/>
        <a:lstStyle/>
        <a:p>
          <a:pPr rtl="0"/>
          <a:r>
            <a:rPr lang="en-US" sz="800" dirty="0">
              <a:solidFill>
                <a:schemeClr val="tx2"/>
              </a:solidFill>
              <a:latin typeface="+mn-lt"/>
            </a:rPr>
            <a:t>Commercial -0C to +50C</a:t>
          </a:r>
        </a:p>
      </dgm:t>
    </dgm:pt>
    <dgm:pt modelId="{0D2C2944-594A-4519-9F06-1D0E1C1376FF}" type="parTrans" cxnId="{DE7906F5-3B68-4298-876A-FF154F8BB589}">
      <dgm:prSet/>
      <dgm:spPr/>
      <dgm:t>
        <a:bodyPr/>
        <a:lstStyle/>
        <a:p>
          <a:endParaRPr lang="en-US"/>
        </a:p>
      </dgm:t>
    </dgm:pt>
    <dgm:pt modelId="{EA1A8E51-D814-4655-B17C-2C181E2F44C0}" type="sibTrans" cxnId="{DE7906F5-3B68-4298-876A-FF154F8BB589}">
      <dgm:prSet/>
      <dgm:spPr/>
      <dgm:t>
        <a:bodyPr/>
        <a:lstStyle/>
        <a:p>
          <a:endParaRPr lang="en-US"/>
        </a:p>
      </dgm:t>
    </dgm:pt>
    <dgm:pt modelId="{5EA9DA79-28E7-45D4-871A-EF76EE70709D}">
      <dgm:prSet/>
      <dgm:spPr>
        <a:solidFill>
          <a:schemeClr val="accent3">
            <a:lumMod val="20000"/>
            <a:lumOff val="80000"/>
          </a:schemeClr>
        </a:solidFill>
        <a:ln>
          <a:noFill/>
        </a:ln>
      </dgm:spPr>
      <dgm:t>
        <a:bodyPr/>
        <a:lstStyle/>
        <a:p>
          <a:pPr rtl="0"/>
          <a:r>
            <a:rPr lang="en-US" dirty="0"/>
            <a:t>Timing</a:t>
          </a:r>
        </a:p>
      </dgm:t>
    </dgm:pt>
    <dgm:pt modelId="{974B947A-5332-4D17-9DC4-3924DFDB2080}" type="parTrans" cxnId="{C7A1E8A9-7E9B-4846-9A99-9A8E761214B3}">
      <dgm:prSet/>
      <dgm:spPr/>
      <dgm:t>
        <a:bodyPr/>
        <a:lstStyle/>
        <a:p>
          <a:endParaRPr lang="en-US"/>
        </a:p>
      </dgm:t>
    </dgm:pt>
    <dgm:pt modelId="{CF883CA7-B12F-4964-961F-BA435C55BCFC}" type="sibTrans" cxnId="{C7A1E8A9-7E9B-4846-9A99-9A8E761214B3}">
      <dgm:prSet/>
      <dgm:spPr/>
      <dgm:t>
        <a:bodyPr/>
        <a:lstStyle/>
        <a:p>
          <a:endParaRPr lang="en-US"/>
        </a:p>
      </dgm:t>
    </dgm:pt>
    <dgm:pt modelId="{C38B58B5-12D3-4A51-B860-16C18A107601}">
      <dgm:prSet custT="1"/>
      <dgm:spPr>
        <a:solidFill>
          <a:srgbClr val="D1E6F7">
            <a:alpha val="90000"/>
          </a:srgbClr>
        </a:solidFill>
        <a:ln>
          <a:noFill/>
        </a:ln>
      </dgm:spPr>
      <dgm:t>
        <a:bodyPr/>
        <a:lstStyle/>
        <a:p>
          <a:pPr marL="57150" lvl="1" indent="-57150" algn="l" defTabSz="355600" rtl="0">
            <a:lnSpc>
              <a:spcPct val="90000"/>
            </a:lnSpc>
            <a:spcBef>
              <a:spcPct val="0"/>
            </a:spcBef>
            <a:spcAft>
              <a:spcPct val="15000"/>
            </a:spcAft>
            <a:buChar char="•"/>
          </a:pPr>
          <a:r>
            <a:rPr lang="en-US" sz="800" kern="1200" dirty="0">
              <a:solidFill>
                <a:schemeClr val="tx2"/>
              </a:solidFill>
              <a:latin typeface="+mn-lt"/>
            </a:rPr>
            <a:t>1588v2, TOD, BITS, 1PPS, 10MHz, Class-B</a:t>
          </a:r>
          <a:endParaRPr lang="en-US" sz="800" kern="1200" dirty="0">
            <a:solidFill>
              <a:schemeClr val="tx2"/>
            </a:solidFill>
            <a:latin typeface="+mn-lt"/>
            <a:ea typeface="+mn-ea"/>
            <a:cs typeface="+mn-cs"/>
          </a:endParaRPr>
        </a:p>
      </dgm:t>
    </dgm:pt>
    <dgm:pt modelId="{D2454DE5-9BA9-4680-8918-DD86BC2131C0}" type="parTrans" cxnId="{058CD167-1915-429C-BF36-B12F4165BCC1}">
      <dgm:prSet/>
      <dgm:spPr/>
      <dgm:t>
        <a:bodyPr/>
        <a:lstStyle/>
        <a:p>
          <a:endParaRPr lang="en-US"/>
        </a:p>
      </dgm:t>
    </dgm:pt>
    <dgm:pt modelId="{73EEC26C-9C9C-433E-9189-7BE729F08491}" type="sibTrans" cxnId="{058CD167-1915-429C-BF36-B12F4165BCC1}">
      <dgm:prSet/>
      <dgm:spPr/>
      <dgm:t>
        <a:bodyPr/>
        <a:lstStyle/>
        <a:p>
          <a:endParaRPr lang="en-US"/>
        </a:p>
      </dgm:t>
    </dgm:pt>
    <dgm:pt modelId="{1A0A2AA1-69D5-4E14-A15E-0D5DB2762F19}">
      <dgm:prSet/>
      <dgm:spPr>
        <a:solidFill>
          <a:schemeClr val="accent3">
            <a:lumMod val="20000"/>
            <a:lumOff val="80000"/>
          </a:schemeClr>
        </a:solidFill>
        <a:ln>
          <a:noFill/>
        </a:ln>
      </dgm:spPr>
      <dgm:t>
        <a:bodyPr/>
        <a:lstStyle/>
        <a:p>
          <a:pPr rtl="0"/>
          <a:r>
            <a:rPr lang="en-US" dirty="0"/>
            <a:t>Software</a:t>
          </a:r>
        </a:p>
      </dgm:t>
    </dgm:pt>
    <dgm:pt modelId="{9EAEA37A-A80A-4B0B-86C0-F7BC883CD3FA}" type="parTrans" cxnId="{504908DB-3FC9-4C05-9B55-989A070DC9BD}">
      <dgm:prSet/>
      <dgm:spPr/>
      <dgm:t>
        <a:bodyPr/>
        <a:lstStyle/>
        <a:p>
          <a:endParaRPr lang="en-US"/>
        </a:p>
      </dgm:t>
    </dgm:pt>
    <dgm:pt modelId="{1BC57049-2068-4AC0-BFB4-94C5D69D5D48}" type="sibTrans" cxnId="{504908DB-3FC9-4C05-9B55-989A070DC9BD}">
      <dgm:prSet/>
      <dgm:spPr/>
      <dgm:t>
        <a:bodyPr/>
        <a:lstStyle/>
        <a:p>
          <a:endParaRPr lang="en-US"/>
        </a:p>
      </dgm:t>
    </dgm:pt>
    <dgm:pt modelId="{CD757011-5728-4BF4-853F-70E13533E937}">
      <dgm:prSet custT="1"/>
      <dgm:spPr>
        <a:solidFill>
          <a:srgbClr val="D1E6F7">
            <a:alpha val="89804"/>
          </a:srgbClr>
        </a:solidFill>
        <a:ln>
          <a:noFill/>
        </a:ln>
      </dgm:spPr>
      <dgm:t>
        <a:bodyPr/>
        <a:lstStyle/>
        <a:p>
          <a:pPr rtl="0"/>
          <a:r>
            <a:rPr lang="en-US" sz="800" dirty="0">
              <a:solidFill>
                <a:schemeClr val="tx2"/>
              </a:solidFill>
              <a:latin typeface="+mn-lt"/>
            </a:rPr>
            <a:t>FCS  IOS XR 7.0.1</a:t>
          </a:r>
        </a:p>
      </dgm:t>
    </dgm:pt>
    <dgm:pt modelId="{4FA3D885-C227-4859-BFAF-3178421AB4D0}" type="parTrans" cxnId="{D5DBFA3D-7122-43F1-AD34-4F94C6F7E5DE}">
      <dgm:prSet/>
      <dgm:spPr/>
      <dgm:t>
        <a:bodyPr/>
        <a:lstStyle/>
        <a:p>
          <a:endParaRPr lang="en-US"/>
        </a:p>
      </dgm:t>
    </dgm:pt>
    <dgm:pt modelId="{1F91DA92-BB7C-4DFA-AAAA-66381A48E26F}" type="sibTrans" cxnId="{D5DBFA3D-7122-43F1-AD34-4F94C6F7E5DE}">
      <dgm:prSet/>
      <dgm:spPr/>
      <dgm:t>
        <a:bodyPr/>
        <a:lstStyle/>
        <a:p>
          <a:endParaRPr lang="en-US"/>
        </a:p>
      </dgm:t>
    </dgm:pt>
    <dgm:pt modelId="{53D666BE-2E64-4343-84BF-2116BE8B80E6}">
      <dgm:prSet custT="1"/>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chemeClr val="tx2"/>
              </a:solidFill>
              <a:effectLst/>
              <a:uLnTx/>
              <a:uFillTx/>
              <a:latin typeface="+mn-lt"/>
              <a:ea typeface="+mn-ea"/>
              <a:cs typeface="+mn-cs"/>
            </a:rPr>
            <a:t>Q-AX 300G BCOM, Intel </a:t>
          </a:r>
          <a:r>
            <a:rPr kumimoji="0" lang="en-US" sz="800" b="0" i="0" u="none" strike="noStrike" kern="1200" cap="none" spc="0" normalizeH="0" baseline="0" dirty="0" err="1">
              <a:ln>
                <a:noFill/>
              </a:ln>
              <a:solidFill>
                <a:schemeClr val="tx2"/>
              </a:solidFill>
              <a:effectLst/>
              <a:uLnTx/>
              <a:uFillTx/>
              <a:latin typeface="+mn-lt"/>
              <a:ea typeface="+mn-ea"/>
              <a:cs typeface="+mn-cs"/>
            </a:rPr>
            <a:t>Denverton</a:t>
          </a:r>
          <a:r>
            <a:rPr kumimoji="0" lang="en-US" sz="800" b="0" i="0" u="none" strike="noStrike" kern="1200" cap="none" spc="0" normalizeH="0" baseline="0" dirty="0">
              <a:ln>
                <a:noFill/>
              </a:ln>
              <a:solidFill>
                <a:schemeClr val="tx2"/>
              </a:solidFill>
              <a:effectLst/>
              <a:uLnTx/>
              <a:uFillTx/>
              <a:latin typeface="+mn-lt"/>
              <a:ea typeface="+mn-ea"/>
              <a:cs typeface="+mn-cs"/>
            </a:rPr>
            <a:t> 8C 1.7GHz CPU</a:t>
          </a:r>
        </a:p>
      </dgm:t>
    </dgm:pt>
    <dgm:pt modelId="{A0C13E03-BC8D-B74B-8C87-56EBDA2D5877}" type="parTrans" cxnId="{6A021749-50AF-7E48-BE5A-E28F9C51A8EA}">
      <dgm:prSet/>
      <dgm:spPr/>
      <dgm:t>
        <a:bodyPr/>
        <a:lstStyle/>
        <a:p>
          <a:endParaRPr lang="en-US"/>
        </a:p>
      </dgm:t>
    </dgm:pt>
    <dgm:pt modelId="{9B8A88C5-1698-0749-AC1B-0302F4386564}" type="sibTrans" cxnId="{6A021749-50AF-7E48-BE5A-E28F9C51A8EA}">
      <dgm:prSet/>
      <dgm:spPr/>
      <dgm:t>
        <a:bodyPr/>
        <a:lstStyle/>
        <a:p>
          <a:endParaRPr lang="en-US"/>
        </a:p>
      </dgm:t>
    </dgm:pt>
    <dgm:pt modelId="{2FB2FDD1-88E1-2849-B5C1-08BC28DC843C}">
      <dgm:prSet custT="1"/>
      <dgm:spPr/>
      <dgm: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chemeClr val="tx2"/>
              </a:solidFill>
              <a:effectLst/>
              <a:uLnTx/>
              <a:uFillTx/>
              <a:latin typeface="+mn-lt"/>
              <a:ea typeface="+mn-ea"/>
              <a:cs typeface="+mn-cs"/>
            </a:rPr>
            <a:t>8 GB DRAM, 32G eMMC (</a:t>
          </a:r>
          <a:r>
            <a:rPr kumimoji="0" lang="en-IN" sz="800" b="0" i="0" u="none" strike="noStrike" kern="1200" cap="none" spc="0" normalizeH="0" baseline="0" dirty="0">
              <a:ln>
                <a:noFill/>
              </a:ln>
              <a:solidFill>
                <a:schemeClr val="tx2"/>
              </a:solidFill>
              <a:effectLst/>
              <a:uLnTx/>
              <a:uFillTx/>
              <a:latin typeface="+mn-lt"/>
              <a:ea typeface="+mn-ea"/>
              <a:cs typeface="+mn-cs"/>
            </a:rPr>
            <a:t>Embedded Multimedia Card</a:t>
          </a:r>
          <a:endParaRPr kumimoji="0" lang="en-US" sz="800" b="0" i="0" u="none" strike="noStrike" kern="1200" cap="none" spc="0" normalizeH="0" baseline="0" dirty="0">
            <a:ln>
              <a:noFill/>
            </a:ln>
            <a:solidFill>
              <a:schemeClr val="tx2"/>
            </a:solidFill>
            <a:effectLst/>
            <a:uLnTx/>
            <a:uFillTx/>
            <a:latin typeface="+mn-lt"/>
            <a:ea typeface="+mn-ea"/>
            <a:cs typeface="+mn-cs"/>
          </a:endParaRPr>
        </a:p>
      </dgm:t>
    </dgm:pt>
    <dgm:pt modelId="{85AF8E29-3E56-8F4A-AEA0-7AC8D9A13AF9}" type="parTrans" cxnId="{6AD3400E-99C1-3341-B1E6-6CAE34D4D836}">
      <dgm:prSet/>
      <dgm:spPr/>
      <dgm:t>
        <a:bodyPr/>
        <a:lstStyle/>
        <a:p>
          <a:endParaRPr lang="en-US"/>
        </a:p>
      </dgm:t>
    </dgm:pt>
    <dgm:pt modelId="{4F6807FB-D43D-B64B-905B-7BEF705BCB3F}" type="sibTrans" cxnId="{6AD3400E-99C1-3341-B1E6-6CAE34D4D836}">
      <dgm:prSet/>
      <dgm:spPr/>
      <dgm:t>
        <a:bodyPr/>
        <a:lstStyle/>
        <a:p>
          <a:endParaRPr lang="en-US"/>
        </a:p>
      </dgm:t>
    </dgm:pt>
    <dgm:pt modelId="{64088DDB-BFF1-A745-82D4-F5A4DA2D937A}">
      <dgm:prSet custT="1"/>
      <dgm:spPr/>
      <dgm:t>
        <a:bodyPr/>
        <a:lstStyle/>
        <a:p>
          <a:pPr marL="57150" lvl="1" indent="-57150" algn="l" defTabSz="355600">
            <a:lnSpc>
              <a:spcPct val="90000"/>
            </a:lnSpc>
            <a:spcBef>
              <a:spcPct val="0"/>
            </a:spcBef>
            <a:spcAft>
              <a:spcPct val="15000"/>
            </a:spcAft>
            <a:buClrTx/>
            <a:buSzTx/>
            <a:buFont typeface="Arial" panose="020B0604020202020204" pitchFamily="34" charset="0"/>
            <a:buChar char="•"/>
          </a:pPr>
          <a:r>
            <a:rPr lang="en-US" sz="800" kern="1200" dirty="0">
              <a:solidFill>
                <a:schemeClr val="tx2"/>
              </a:solidFill>
              <a:latin typeface="+mn-lt"/>
              <a:ea typeface="+mn-ea"/>
              <a:cs typeface="+mn-cs"/>
            </a:rPr>
            <a:t>Fixed Fans, Front to back airflow</a:t>
          </a:r>
        </a:p>
      </dgm:t>
    </dgm:pt>
    <dgm:pt modelId="{581ED972-C0ED-E440-8371-8ABD04688208}" type="parTrans" cxnId="{CF14B5AB-3585-2540-A18C-A8BEBF520B31}">
      <dgm:prSet/>
      <dgm:spPr/>
      <dgm:t>
        <a:bodyPr/>
        <a:lstStyle/>
        <a:p>
          <a:endParaRPr lang="en-US"/>
        </a:p>
      </dgm:t>
    </dgm:pt>
    <dgm:pt modelId="{BF9766A6-06E4-7640-BCBF-A9A7E8B81536}" type="sibTrans" cxnId="{CF14B5AB-3585-2540-A18C-A8BEBF520B31}">
      <dgm:prSet/>
      <dgm:spPr/>
      <dgm:t>
        <a:bodyPr/>
        <a:lstStyle/>
        <a:p>
          <a:endParaRPr lang="en-US"/>
        </a:p>
      </dgm:t>
    </dgm:pt>
    <dgm:pt modelId="{5B4AEF64-28AE-485F-8316-5EC472702409}" type="pres">
      <dgm:prSet presAssocID="{DAD06F05-3903-433B-819B-F96CE91CF596}" presName="Name0" presStyleCnt="0">
        <dgm:presLayoutVars>
          <dgm:dir/>
          <dgm:animLvl val="lvl"/>
          <dgm:resizeHandles val="exact"/>
        </dgm:presLayoutVars>
      </dgm:prSet>
      <dgm:spPr/>
    </dgm:pt>
    <dgm:pt modelId="{892E7779-DCF7-49DC-B0CB-6BFF0EF6741F}" type="pres">
      <dgm:prSet presAssocID="{A857E58C-97AE-49CD-B97A-4AE61EDD56C3}" presName="linNode" presStyleCnt="0"/>
      <dgm:spPr/>
    </dgm:pt>
    <dgm:pt modelId="{75BDDF79-3035-42C9-A99F-F5B297561CD6}" type="pres">
      <dgm:prSet presAssocID="{A857E58C-97AE-49CD-B97A-4AE61EDD56C3}" presName="parentText" presStyleLbl="node1" presStyleIdx="0" presStyleCnt="6">
        <dgm:presLayoutVars>
          <dgm:chMax val="1"/>
          <dgm:bulletEnabled val="1"/>
        </dgm:presLayoutVars>
      </dgm:prSet>
      <dgm:spPr/>
    </dgm:pt>
    <dgm:pt modelId="{454F4EDA-E589-4A16-85DB-0C9792B930E7}" type="pres">
      <dgm:prSet presAssocID="{A857E58C-97AE-49CD-B97A-4AE61EDD56C3}" presName="descendantText" presStyleLbl="alignAccFollowNode1" presStyleIdx="0" presStyleCnt="6">
        <dgm:presLayoutVars>
          <dgm:bulletEnabled val="1"/>
        </dgm:presLayoutVars>
      </dgm:prSet>
      <dgm:spPr/>
    </dgm:pt>
    <dgm:pt modelId="{81BEC21C-0012-4E95-BB17-9B2AA37A90D4}" type="pres">
      <dgm:prSet presAssocID="{86CA84AA-D830-417D-BF7F-4979D17CBEAE}" presName="sp" presStyleCnt="0"/>
      <dgm:spPr/>
    </dgm:pt>
    <dgm:pt modelId="{3AB861FE-6227-4EE5-A6DA-C65C44CFB581}" type="pres">
      <dgm:prSet presAssocID="{3BBE5F78-935B-42C9-B573-16AC714B10F1}" presName="linNode" presStyleCnt="0"/>
      <dgm:spPr/>
    </dgm:pt>
    <dgm:pt modelId="{46830796-4281-4E9F-8DEE-0DD2DF16825B}" type="pres">
      <dgm:prSet presAssocID="{3BBE5F78-935B-42C9-B573-16AC714B10F1}" presName="parentText" presStyleLbl="node1" presStyleIdx="1" presStyleCnt="6">
        <dgm:presLayoutVars>
          <dgm:chMax val="1"/>
          <dgm:bulletEnabled val="1"/>
        </dgm:presLayoutVars>
      </dgm:prSet>
      <dgm:spPr/>
    </dgm:pt>
    <dgm:pt modelId="{2BDD3F66-042D-48A7-8A12-4EEFBC3BB338}" type="pres">
      <dgm:prSet presAssocID="{3BBE5F78-935B-42C9-B573-16AC714B10F1}" presName="descendantText" presStyleLbl="alignAccFollowNode1" presStyleIdx="1" presStyleCnt="6">
        <dgm:presLayoutVars>
          <dgm:bulletEnabled val="1"/>
        </dgm:presLayoutVars>
      </dgm:prSet>
      <dgm:spPr/>
    </dgm:pt>
    <dgm:pt modelId="{BCFB7EE6-BA37-4E65-98F6-BDF5A4F3F69C}" type="pres">
      <dgm:prSet presAssocID="{F495C1DF-00CA-4806-8848-4DB4430BC0E5}" presName="sp" presStyleCnt="0"/>
      <dgm:spPr/>
    </dgm:pt>
    <dgm:pt modelId="{5D8D81FC-E2E7-467C-9C14-B6D3623F36DF}" type="pres">
      <dgm:prSet presAssocID="{EFE837F0-2D9A-4CDF-A1D4-4A926913B307}" presName="linNode" presStyleCnt="0"/>
      <dgm:spPr/>
    </dgm:pt>
    <dgm:pt modelId="{101019C5-FDD6-4886-90F5-F669DD820F3A}" type="pres">
      <dgm:prSet presAssocID="{EFE837F0-2D9A-4CDF-A1D4-4A926913B307}" presName="parentText" presStyleLbl="node1" presStyleIdx="2" presStyleCnt="6">
        <dgm:presLayoutVars>
          <dgm:chMax val="1"/>
          <dgm:bulletEnabled val="1"/>
        </dgm:presLayoutVars>
      </dgm:prSet>
      <dgm:spPr/>
    </dgm:pt>
    <dgm:pt modelId="{ECB50969-2EBA-4889-BC7D-B884D0866E33}" type="pres">
      <dgm:prSet presAssocID="{EFE837F0-2D9A-4CDF-A1D4-4A926913B307}" presName="descendantText" presStyleLbl="alignAccFollowNode1" presStyleIdx="2" presStyleCnt="6">
        <dgm:presLayoutVars>
          <dgm:bulletEnabled val="1"/>
        </dgm:presLayoutVars>
      </dgm:prSet>
      <dgm:spPr/>
    </dgm:pt>
    <dgm:pt modelId="{99451625-FCC4-4B83-B889-E8DD158ED64F}" type="pres">
      <dgm:prSet presAssocID="{ECFD24B6-B38D-471B-8241-123E8F706492}" presName="sp" presStyleCnt="0"/>
      <dgm:spPr/>
    </dgm:pt>
    <dgm:pt modelId="{4B28F1C2-05BC-45C3-9269-7CE466037E26}" type="pres">
      <dgm:prSet presAssocID="{7EEF4263-4E6E-4004-960E-3E3E9468A3AC}" presName="linNode" presStyleCnt="0"/>
      <dgm:spPr/>
    </dgm:pt>
    <dgm:pt modelId="{8E64AB20-F105-400F-8F74-08B70BF50322}" type="pres">
      <dgm:prSet presAssocID="{7EEF4263-4E6E-4004-960E-3E3E9468A3AC}" presName="parentText" presStyleLbl="node1" presStyleIdx="3" presStyleCnt="6">
        <dgm:presLayoutVars>
          <dgm:chMax val="1"/>
          <dgm:bulletEnabled val="1"/>
        </dgm:presLayoutVars>
      </dgm:prSet>
      <dgm:spPr/>
    </dgm:pt>
    <dgm:pt modelId="{07C64787-2A16-432E-A9E9-C9678F3B7697}" type="pres">
      <dgm:prSet presAssocID="{7EEF4263-4E6E-4004-960E-3E3E9468A3AC}" presName="descendantText" presStyleLbl="alignAccFollowNode1" presStyleIdx="3" presStyleCnt="6">
        <dgm:presLayoutVars>
          <dgm:bulletEnabled val="1"/>
        </dgm:presLayoutVars>
      </dgm:prSet>
      <dgm:spPr/>
    </dgm:pt>
    <dgm:pt modelId="{0F34426D-C1A0-4D72-9913-BAE6F3F4B6F0}" type="pres">
      <dgm:prSet presAssocID="{4CE6DE60-F69C-4621-8578-4D44E879034E}" presName="sp" presStyleCnt="0"/>
      <dgm:spPr/>
    </dgm:pt>
    <dgm:pt modelId="{B658F943-F0FE-42EE-B0D1-1847AF1AFE1A}" type="pres">
      <dgm:prSet presAssocID="{5EA9DA79-28E7-45D4-871A-EF76EE70709D}" presName="linNode" presStyleCnt="0"/>
      <dgm:spPr/>
    </dgm:pt>
    <dgm:pt modelId="{5CE93F69-8985-4E79-AB79-F77331DDDF29}" type="pres">
      <dgm:prSet presAssocID="{5EA9DA79-28E7-45D4-871A-EF76EE70709D}" presName="parentText" presStyleLbl="node1" presStyleIdx="4" presStyleCnt="6">
        <dgm:presLayoutVars>
          <dgm:chMax val="1"/>
          <dgm:bulletEnabled val="1"/>
        </dgm:presLayoutVars>
      </dgm:prSet>
      <dgm:spPr/>
    </dgm:pt>
    <dgm:pt modelId="{8E9693D4-37B8-411A-B81B-9FF4FED4D5AC}" type="pres">
      <dgm:prSet presAssocID="{5EA9DA79-28E7-45D4-871A-EF76EE70709D}" presName="descendantText" presStyleLbl="alignAccFollowNode1" presStyleIdx="4" presStyleCnt="6">
        <dgm:presLayoutVars>
          <dgm:bulletEnabled val="1"/>
        </dgm:presLayoutVars>
      </dgm:prSet>
      <dgm:spPr/>
    </dgm:pt>
    <dgm:pt modelId="{A467D402-92CD-4BF3-87FF-475BED166A57}" type="pres">
      <dgm:prSet presAssocID="{CF883CA7-B12F-4964-961F-BA435C55BCFC}" presName="sp" presStyleCnt="0"/>
      <dgm:spPr/>
    </dgm:pt>
    <dgm:pt modelId="{5D58E42B-2060-489A-8BD9-92C85736B2EE}" type="pres">
      <dgm:prSet presAssocID="{1A0A2AA1-69D5-4E14-A15E-0D5DB2762F19}" presName="linNode" presStyleCnt="0"/>
      <dgm:spPr/>
    </dgm:pt>
    <dgm:pt modelId="{24C0A0FD-C6B1-479F-931D-3DD94F912BF2}" type="pres">
      <dgm:prSet presAssocID="{1A0A2AA1-69D5-4E14-A15E-0D5DB2762F19}" presName="parentText" presStyleLbl="node1" presStyleIdx="5" presStyleCnt="6">
        <dgm:presLayoutVars>
          <dgm:chMax val="1"/>
          <dgm:bulletEnabled val="1"/>
        </dgm:presLayoutVars>
      </dgm:prSet>
      <dgm:spPr/>
    </dgm:pt>
    <dgm:pt modelId="{BA1392D3-6B0C-439C-BF9F-5015A177764E}" type="pres">
      <dgm:prSet presAssocID="{1A0A2AA1-69D5-4E14-A15E-0D5DB2762F19}" presName="descendantText" presStyleLbl="alignAccFollowNode1" presStyleIdx="5" presStyleCnt="6">
        <dgm:presLayoutVars>
          <dgm:bulletEnabled val="1"/>
        </dgm:presLayoutVars>
      </dgm:prSet>
      <dgm:spPr/>
    </dgm:pt>
  </dgm:ptLst>
  <dgm:cxnLst>
    <dgm:cxn modelId="{8E384F03-F82E-4A97-9EAA-D5DA2820E5C9}" type="presOf" srcId="{EFE837F0-2D9A-4CDF-A1D4-4A926913B307}" destId="{101019C5-FDD6-4886-90F5-F669DD820F3A}" srcOrd="0" destOrd="0" presId="urn:microsoft.com/office/officeart/2005/8/layout/vList5"/>
    <dgm:cxn modelId="{6AD3400E-99C1-3341-B1E6-6CAE34D4D836}" srcId="{A857E58C-97AE-49CD-B97A-4AE61EDD56C3}" destId="{2FB2FDD1-88E1-2849-B5C1-08BC28DC843C}" srcOrd="2" destOrd="0" parTransId="{85AF8E29-3E56-8F4A-AEA0-7AC8D9A13AF9}" sibTransId="{4F6807FB-D43D-B64B-905B-7BEF705BCB3F}"/>
    <dgm:cxn modelId="{5A10F72B-B70F-4047-833D-DF0ADBB6CAE9}" type="presOf" srcId="{DAD06F05-3903-433B-819B-F96CE91CF596}" destId="{5B4AEF64-28AE-485F-8316-5EC472702409}" srcOrd="0" destOrd="0" presId="urn:microsoft.com/office/officeart/2005/8/layout/vList5"/>
    <dgm:cxn modelId="{32AF1F3D-5EA1-450F-8B1A-3D70422409A6}" type="presOf" srcId="{7931435D-86CC-4E5F-AEA6-654DD645A9D0}" destId="{454F4EDA-E589-4A16-85DB-0C9792B930E7}" srcOrd="0" destOrd="0" presId="urn:microsoft.com/office/officeart/2005/8/layout/vList5"/>
    <dgm:cxn modelId="{D5DBFA3D-7122-43F1-AD34-4F94C6F7E5DE}" srcId="{1A0A2AA1-69D5-4E14-A15E-0D5DB2762F19}" destId="{CD757011-5728-4BF4-853F-70E13533E937}" srcOrd="0" destOrd="0" parTransId="{4FA3D885-C227-4859-BFAF-3178421AB4D0}" sibTransId="{1F91DA92-BB7C-4DFA-AAAA-66381A48E26F}"/>
    <dgm:cxn modelId="{FD4AC943-CC0C-421B-9E55-E4A36E6FB31B}" srcId="{A857E58C-97AE-49CD-B97A-4AE61EDD56C3}" destId="{7931435D-86CC-4E5F-AEA6-654DD645A9D0}" srcOrd="0" destOrd="0" parTransId="{B0381B90-A790-4E10-9BB6-1081D6ED3F9B}" sibTransId="{18F1ED80-9C2A-4BD8-861D-545F84CFB19A}"/>
    <dgm:cxn modelId="{2E540764-9DC8-4EBC-A694-304529F67E64}" type="presOf" srcId="{1A0A2AA1-69D5-4E14-A15E-0D5DB2762F19}" destId="{24C0A0FD-C6B1-479F-931D-3DD94F912BF2}" srcOrd="0" destOrd="0" presId="urn:microsoft.com/office/officeart/2005/8/layout/vList5"/>
    <dgm:cxn modelId="{058CD167-1915-429C-BF36-B12F4165BCC1}" srcId="{5EA9DA79-28E7-45D4-871A-EF76EE70709D}" destId="{C38B58B5-12D3-4A51-B860-16C18A107601}" srcOrd="0" destOrd="0" parTransId="{D2454DE5-9BA9-4680-8918-DD86BC2131C0}" sibTransId="{73EEC26C-9C9C-433E-9189-7BE729F08491}"/>
    <dgm:cxn modelId="{6A021749-50AF-7E48-BE5A-E28F9C51A8EA}" srcId="{A857E58C-97AE-49CD-B97A-4AE61EDD56C3}" destId="{53D666BE-2E64-4343-84BF-2116BE8B80E6}" srcOrd="1" destOrd="0" parTransId="{A0C13E03-BC8D-B74B-8C87-56EBDA2D5877}" sibTransId="{9B8A88C5-1698-0749-AC1B-0302F4386564}"/>
    <dgm:cxn modelId="{B7434775-3FDA-4409-A75F-790174755D82}" type="presOf" srcId="{5EA9DA79-28E7-45D4-871A-EF76EE70709D}" destId="{5CE93F69-8985-4E79-AB79-F77331DDDF29}" srcOrd="0" destOrd="0" presId="urn:microsoft.com/office/officeart/2005/8/layout/vList5"/>
    <dgm:cxn modelId="{B7EF1B83-D41C-6749-B8A9-15D2A41202DA}" type="presOf" srcId="{2FB2FDD1-88E1-2849-B5C1-08BC28DC843C}" destId="{454F4EDA-E589-4A16-85DB-0C9792B930E7}" srcOrd="0" destOrd="2" presId="urn:microsoft.com/office/officeart/2005/8/layout/vList5"/>
    <dgm:cxn modelId="{742C458A-17DE-8D40-81BD-A71810531290}" type="presOf" srcId="{64088DDB-BFF1-A745-82D4-F5A4DA2D937A}" destId="{ECB50969-2EBA-4889-BC7D-B884D0866E33}" srcOrd="0" destOrd="1" presId="urn:microsoft.com/office/officeart/2005/8/layout/vList5"/>
    <dgm:cxn modelId="{40EC938D-B9A2-452E-9E78-0B9AE66C5785}" type="presOf" srcId="{CD757011-5728-4BF4-853F-70E13533E937}" destId="{BA1392D3-6B0C-439C-BF9F-5015A177764E}" srcOrd="0" destOrd="0" presId="urn:microsoft.com/office/officeart/2005/8/layout/vList5"/>
    <dgm:cxn modelId="{707BDD95-DDEE-4F9A-A68B-9CB0E3FE6F6C}" type="presOf" srcId="{7EEF4263-4E6E-4004-960E-3E3E9468A3AC}" destId="{8E64AB20-F105-400F-8F74-08B70BF50322}" srcOrd="0" destOrd="0" presId="urn:microsoft.com/office/officeart/2005/8/layout/vList5"/>
    <dgm:cxn modelId="{C7A1E8A9-7E9B-4846-9A99-9A8E761214B3}" srcId="{DAD06F05-3903-433B-819B-F96CE91CF596}" destId="{5EA9DA79-28E7-45D4-871A-EF76EE70709D}" srcOrd="4" destOrd="0" parTransId="{974B947A-5332-4D17-9DC4-3924DFDB2080}" sibTransId="{CF883CA7-B12F-4964-961F-BA435C55BCFC}"/>
    <dgm:cxn modelId="{CF14B5AB-3585-2540-A18C-A8BEBF520B31}" srcId="{EFE837F0-2D9A-4CDF-A1D4-4A926913B307}" destId="{64088DDB-BFF1-A745-82D4-F5A4DA2D937A}" srcOrd="1" destOrd="0" parTransId="{581ED972-C0ED-E440-8371-8ABD04688208}" sibTransId="{BF9766A6-06E4-7640-BCBF-A9A7E8B81536}"/>
    <dgm:cxn modelId="{91A8A6B2-9435-4D1F-95FB-BD8A0D2C2514}" type="presOf" srcId="{3F619E9B-7592-4D0E-9488-8A5B974A1666}" destId="{07C64787-2A16-432E-A9E9-C9678F3B7697}" srcOrd="0" destOrd="0" presId="urn:microsoft.com/office/officeart/2005/8/layout/vList5"/>
    <dgm:cxn modelId="{CA5F7EB3-BE12-4A94-A8CB-1A7697C6DE1F}" srcId="{DAD06F05-3903-433B-819B-F96CE91CF596}" destId="{EFE837F0-2D9A-4CDF-A1D4-4A926913B307}" srcOrd="2" destOrd="0" parTransId="{F39B6D33-5DF0-4159-B422-777B81F4DA77}" sibTransId="{ECFD24B6-B38D-471B-8241-123E8F706492}"/>
    <dgm:cxn modelId="{2834DCBD-6FDA-4C39-87B3-BCA93B3FFDAD}" type="presOf" srcId="{19AFF552-528C-4877-97A3-12FC6BD54D90}" destId="{2BDD3F66-042D-48A7-8A12-4EEFBC3BB338}" srcOrd="0" destOrd="0" presId="urn:microsoft.com/office/officeart/2005/8/layout/vList5"/>
    <dgm:cxn modelId="{A661A1CB-7EA3-4F55-AE86-D4B614935AD6}" type="presOf" srcId="{A857E58C-97AE-49CD-B97A-4AE61EDD56C3}" destId="{75BDDF79-3035-42C9-A99F-F5B297561CD6}" srcOrd="0" destOrd="0" presId="urn:microsoft.com/office/officeart/2005/8/layout/vList5"/>
    <dgm:cxn modelId="{5B239AD3-85FB-4C47-9CAB-2AF559CA73E6}" srcId="{EFE837F0-2D9A-4CDF-A1D4-4A926913B307}" destId="{8E7316BF-1222-45EA-ABE1-78CBE16193B1}" srcOrd="0" destOrd="0" parTransId="{73E5A098-945B-4C78-AD53-C2C174F65149}" sibTransId="{2DACA4EF-6F12-46A5-B1F1-21EA4A20873D}"/>
    <dgm:cxn modelId="{C62A1EDA-3826-44A9-9335-C8E7552C4330}" srcId="{DAD06F05-3903-433B-819B-F96CE91CF596}" destId="{3BBE5F78-935B-42C9-B573-16AC714B10F1}" srcOrd="1" destOrd="0" parTransId="{EE14023B-C2BA-4331-9C36-5E19183E6AEE}" sibTransId="{F495C1DF-00CA-4806-8848-4DB4430BC0E5}"/>
    <dgm:cxn modelId="{99C2BADA-930D-49D5-9D80-EB30E8F492D7}" type="presOf" srcId="{C38B58B5-12D3-4A51-B860-16C18A107601}" destId="{8E9693D4-37B8-411A-B81B-9FF4FED4D5AC}" srcOrd="0" destOrd="0" presId="urn:microsoft.com/office/officeart/2005/8/layout/vList5"/>
    <dgm:cxn modelId="{504908DB-3FC9-4C05-9B55-989A070DC9BD}" srcId="{DAD06F05-3903-433B-819B-F96CE91CF596}" destId="{1A0A2AA1-69D5-4E14-A15E-0D5DB2762F19}" srcOrd="5" destOrd="0" parTransId="{9EAEA37A-A80A-4B0B-86C0-F7BC883CD3FA}" sibTransId="{1BC57049-2068-4AC0-BFB4-94C5D69D5D48}"/>
    <dgm:cxn modelId="{E5CF5CDD-012A-4955-AA75-58B4E09FAB96}" srcId="{DAD06F05-3903-433B-819B-F96CE91CF596}" destId="{7EEF4263-4E6E-4004-960E-3E3E9468A3AC}" srcOrd="3" destOrd="0" parTransId="{7A13DF79-CCAA-4E59-AC08-5B2E4EED69BF}" sibTransId="{4CE6DE60-F69C-4621-8578-4D44E879034E}"/>
    <dgm:cxn modelId="{309C19EB-8138-496D-9EB7-437788006B10}" srcId="{3BBE5F78-935B-42C9-B573-16AC714B10F1}" destId="{19AFF552-528C-4877-97A3-12FC6BD54D90}" srcOrd="0" destOrd="0" parTransId="{269718FA-B77B-41E9-B6BC-51C9841D86BE}" sibTransId="{CBC002CF-AA4E-4F12-AA57-C4D942495BB3}"/>
    <dgm:cxn modelId="{F4100BF2-848F-FD40-9356-1426EF0F57D5}" type="presOf" srcId="{53D666BE-2E64-4343-84BF-2116BE8B80E6}" destId="{454F4EDA-E589-4A16-85DB-0C9792B930E7}" srcOrd="0" destOrd="1" presId="urn:microsoft.com/office/officeart/2005/8/layout/vList5"/>
    <dgm:cxn modelId="{5A39FCF3-AD21-4C63-B500-12FEC3752B92}" srcId="{DAD06F05-3903-433B-819B-F96CE91CF596}" destId="{A857E58C-97AE-49CD-B97A-4AE61EDD56C3}" srcOrd="0" destOrd="0" parTransId="{7CFB9093-54FB-41EF-8F19-CC73B6679103}" sibTransId="{86CA84AA-D830-417D-BF7F-4979D17CBEAE}"/>
    <dgm:cxn modelId="{DE7906F5-3B68-4298-876A-FF154F8BB589}" srcId="{7EEF4263-4E6E-4004-960E-3E3E9468A3AC}" destId="{3F619E9B-7592-4D0E-9488-8A5B974A1666}" srcOrd="0" destOrd="0" parTransId="{0D2C2944-594A-4519-9F06-1D0E1C1376FF}" sibTransId="{EA1A8E51-D814-4655-B17C-2C181E2F44C0}"/>
    <dgm:cxn modelId="{79FEF3F5-AAA5-4DB4-9494-28E0A42D7E96}" type="presOf" srcId="{8E7316BF-1222-45EA-ABE1-78CBE16193B1}" destId="{ECB50969-2EBA-4889-BC7D-B884D0866E33}" srcOrd="0" destOrd="0" presId="urn:microsoft.com/office/officeart/2005/8/layout/vList5"/>
    <dgm:cxn modelId="{258C70FE-81C9-46D5-BA41-7C3E7D70C18C}" type="presOf" srcId="{3BBE5F78-935B-42C9-B573-16AC714B10F1}" destId="{46830796-4281-4E9F-8DEE-0DD2DF16825B}" srcOrd="0" destOrd="0" presId="urn:microsoft.com/office/officeart/2005/8/layout/vList5"/>
    <dgm:cxn modelId="{E2FDCCF1-5448-45E8-A7DD-5F4810FC3751}" type="presParOf" srcId="{5B4AEF64-28AE-485F-8316-5EC472702409}" destId="{892E7779-DCF7-49DC-B0CB-6BFF0EF6741F}" srcOrd="0" destOrd="0" presId="urn:microsoft.com/office/officeart/2005/8/layout/vList5"/>
    <dgm:cxn modelId="{92BE393F-3174-4171-8796-AD90E06F3CAA}" type="presParOf" srcId="{892E7779-DCF7-49DC-B0CB-6BFF0EF6741F}" destId="{75BDDF79-3035-42C9-A99F-F5B297561CD6}" srcOrd="0" destOrd="0" presId="urn:microsoft.com/office/officeart/2005/8/layout/vList5"/>
    <dgm:cxn modelId="{490AB15B-4143-40BE-848B-A85A76D6806A}" type="presParOf" srcId="{892E7779-DCF7-49DC-B0CB-6BFF0EF6741F}" destId="{454F4EDA-E589-4A16-85DB-0C9792B930E7}" srcOrd="1" destOrd="0" presId="urn:microsoft.com/office/officeart/2005/8/layout/vList5"/>
    <dgm:cxn modelId="{0BB72D25-0196-4E68-9B94-10AAA9F457C2}" type="presParOf" srcId="{5B4AEF64-28AE-485F-8316-5EC472702409}" destId="{81BEC21C-0012-4E95-BB17-9B2AA37A90D4}" srcOrd="1" destOrd="0" presId="urn:microsoft.com/office/officeart/2005/8/layout/vList5"/>
    <dgm:cxn modelId="{697DB389-629F-4A6B-ADBD-B20531B61827}" type="presParOf" srcId="{5B4AEF64-28AE-485F-8316-5EC472702409}" destId="{3AB861FE-6227-4EE5-A6DA-C65C44CFB581}" srcOrd="2" destOrd="0" presId="urn:microsoft.com/office/officeart/2005/8/layout/vList5"/>
    <dgm:cxn modelId="{1504853D-E578-4EA6-ACDA-A4ED2D3581F9}" type="presParOf" srcId="{3AB861FE-6227-4EE5-A6DA-C65C44CFB581}" destId="{46830796-4281-4E9F-8DEE-0DD2DF16825B}" srcOrd="0" destOrd="0" presId="urn:microsoft.com/office/officeart/2005/8/layout/vList5"/>
    <dgm:cxn modelId="{C434CEBC-991B-426F-90E8-7756F75DA485}" type="presParOf" srcId="{3AB861FE-6227-4EE5-A6DA-C65C44CFB581}" destId="{2BDD3F66-042D-48A7-8A12-4EEFBC3BB338}" srcOrd="1" destOrd="0" presId="urn:microsoft.com/office/officeart/2005/8/layout/vList5"/>
    <dgm:cxn modelId="{A23BCE16-8305-4517-9DA2-E4F487189928}" type="presParOf" srcId="{5B4AEF64-28AE-485F-8316-5EC472702409}" destId="{BCFB7EE6-BA37-4E65-98F6-BDF5A4F3F69C}" srcOrd="3" destOrd="0" presId="urn:microsoft.com/office/officeart/2005/8/layout/vList5"/>
    <dgm:cxn modelId="{8229E0C7-AAE2-42C6-886B-6CA804E09D26}" type="presParOf" srcId="{5B4AEF64-28AE-485F-8316-5EC472702409}" destId="{5D8D81FC-E2E7-467C-9C14-B6D3623F36DF}" srcOrd="4" destOrd="0" presId="urn:microsoft.com/office/officeart/2005/8/layout/vList5"/>
    <dgm:cxn modelId="{DFCFD670-6E16-473D-B9D3-9C1B0C9D0321}" type="presParOf" srcId="{5D8D81FC-E2E7-467C-9C14-B6D3623F36DF}" destId="{101019C5-FDD6-4886-90F5-F669DD820F3A}" srcOrd="0" destOrd="0" presId="urn:microsoft.com/office/officeart/2005/8/layout/vList5"/>
    <dgm:cxn modelId="{865DA2CF-E2F0-4C84-886E-39CEEB0919BE}" type="presParOf" srcId="{5D8D81FC-E2E7-467C-9C14-B6D3623F36DF}" destId="{ECB50969-2EBA-4889-BC7D-B884D0866E33}" srcOrd="1" destOrd="0" presId="urn:microsoft.com/office/officeart/2005/8/layout/vList5"/>
    <dgm:cxn modelId="{324252B4-5A7E-413F-BD97-7E819D6D0F14}" type="presParOf" srcId="{5B4AEF64-28AE-485F-8316-5EC472702409}" destId="{99451625-FCC4-4B83-B889-E8DD158ED64F}" srcOrd="5" destOrd="0" presId="urn:microsoft.com/office/officeart/2005/8/layout/vList5"/>
    <dgm:cxn modelId="{ADAC34F0-3286-4679-B287-52F7B07D803A}" type="presParOf" srcId="{5B4AEF64-28AE-485F-8316-5EC472702409}" destId="{4B28F1C2-05BC-45C3-9269-7CE466037E26}" srcOrd="6" destOrd="0" presId="urn:microsoft.com/office/officeart/2005/8/layout/vList5"/>
    <dgm:cxn modelId="{866D56D5-D91D-491A-B851-7E92B4F3BB95}" type="presParOf" srcId="{4B28F1C2-05BC-45C3-9269-7CE466037E26}" destId="{8E64AB20-F105-400F-8F74-08B70BF50322}" srcOrd="0" destOrd="0" presId="urn:microsoft.com/office/officeart/2005/8/layout/vList5"/>
    <dgm:cxn modelId="{AB6F072F-011C-4B83-AF42-5CCD0A61AFE6}" type="presParOf" srcId="{4B28F1C2-05BC-45C3-9269-7CE466037E26}" destId="{07C64787-2A16-432E-A9E9-C9678F3B7697}" srcOrd="1" destOrd="0" presId="urn:microsoft.com/office/officeart/2005/8/layout/vList5"/>
    <dgm:cxn modelId="{E04F19AE-0206-4CD8-9BC8-658A00C9FEDB}" type="presParOf" srcId="{5B4AEF64-28AE-485F-8316-5EC472702409}" destId="{0F34426D-C1A0-4D72-9913-BAE6F3F4B6F0}" srcOrd="7" destOrd="0" presId="urn:microsoft.com/office/officeart/2005/8/layout/vList5"/>
    <dgm:cxn modelId="{E66353AA-6B7A-477E-B97C-512D5BA2CAD4}" type="presParOf" srcId="{5B4AEF64-28AE-485F-8316-5EC472702409}" destId="{B658F943-F0FE-42EE-B0D1-1847AF1AFE1A}" srcOrd="8" destOrd="0" presId="urn:microsoft.com/office/officeart/2005/8/layout/vList5"/>
    <dgm:cxn modelId="{A4308CEC-5244-46DF-8BC4-30DF53182C51}" type="presParOf" srcId="{B658F943-F0FE-42EE-B0D1-1847AF1AFE1A}" destId="{5CE93F69-8985-4E79-AB79-F77331DDDF29}" srcOrd="0" destOrd="0" presId="urn:microsoft.com/office/officeart/2005/8/layout/vList5"/>
    <dgm:cxn modelId="{657E5045-72A5-42DD-B93F-D695DEB6624B}" type="presParOf" srcId="{B658F943-F0FE-42EE-B0D1-1847AF1AFE1A}" destId="{8E9693D4-37B8-411A-B81B-9FF4FED4D5AC}" srcOrd="1" destOrd="0" presId="urn:microsoft.com/office/officeart/2005/8/layout/vList5"/>
    <dgm:cxn modelId="{CF1921C6-C9A0-4DC4-848D-AA7BC8FF1783}" type="presParOf" srcId="{5B4AEF64-28AE-485F-8316-5EC472702409}" destId="{A467D402-92CD-4BF3-87FF-475BED166A57}" srcOrd="9" destOrd="0" presId="urn:microsoft.com/office/officeart/2005/8/layout/vList5"/>
    <dgm:cxn modelId="{067D9BC7-DE9E-42C1-B43A-D29111BF369C}" type="presParOf" srcId="{5B4AEF64-28AE-485F-8316-5EC472702409}" destId="{5D58E42B-2060-489A-8BD9-92C85736B2EE}" srcOrd="10" destOrd="0" presId="urn:microsoft.com/office/officeart/2005/8/layout/vList5"/>
    <dgm:cxn modelId="{DA70AF37-6C57-4661-8262-ED64BFC82ABF}" type="presParOf" srcId="{5D58E42B-2060-489A-8BD9-92C85736B2EE}" destId="{24C0A0FD-C6B1-479F-931D-3DD94F912BF2}" srcOrd="0" destOrd="0" presId="urn:microsoft.com/office/officeart/2005/8/layout/vList5"/>
    <dgm:cxn modelId="{73EFFCA6-9C7F-43A2-86BF-CEEEBB0193C6}" type="presParOf" srcId="{5D58E42B-2060-489A-8BD9-92C85736B2EE}" destId="{BA1392D3-6B0C-439C-BF9F-5015A177764E}"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C6D1570-5085-4BBE-BBA4-FC27A9482638}"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C6DD763B-FA00-4CCA-96D2-C59D469140A1}" type="pres">
      <dgm:prSet presAssocID="{9C6D1570-5085-4BBE-BBA4-FC27A9482638}" presName="Name0" presStyleCnt="0">
        <dgm:presLayoutVars>
          <dgm:dir/>
          <dgm:animLvl val="lvl"/>
          <dgm:resizeHandles val="exact"/>
        </dgm:presLayoutVars>
      </dgm:prSet>
      <dgm:spPr/>
    </dgm:pt>
  </dgm:ptLst>
  <dgm:cxnLst>
    <dgm:cxn modelId="{ECE90041-3460-4A85-897D-8BABBC7047AA}" type="presOf" srcId="{9C6D1570-5085-4BBE-BBA4-FC27A9482638}" destId="{C6DD763B-FA00-4CCA-96D2-C59D469140A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4F4EDA-E589-4A16-85DB-0C9792B930E7}">
      <dsp:nvSpPr>
        <dsp:cNvPr id="0" name=""/>
        <dsp:cNvSpPr/>
      </dsp:nvSpPr>
      <dsp:spPr>
        <a:xfrm rot="5400000">
          <a:off x="3106889" y="-1282685"/>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1 RU, Width 17.5 Inches, Depth 250 mm</a:t>
          </a:r>
          <a:endParaRPr kumimoji="0" lang="en-US" sz="800" b="0" i="0" u="none" strike="noStrike" kern="1200" cap="none" spc="0" normalizeH="0" baseline="0" dirty="0">
            <a:ln>
              <a:noFill/>
            </a:ln>
            <a:solidFill>
              <a:schemeClr val="tx2"/>
            </a:solidFill>
            <a:effectLst/>
            <a:uLnTx/>
            <a:uFillTx/>
            <a:latin typeface="+mn-lt"/>
            <a:ea typeface="+mn-ea"/>
            <a:cs typeface="+mn-cs"/>
          </a:endParaRP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chemeClr val="tx2"/>
              </a:solidFill>
              <a:effectLst/>
              <a:uLnTx/>
              <a:uFillTx/>
              <a:latin typeface="+mn-lt"/>
              <a:ea typeface="+mn-ea"/>
              <a:cs typeface="+mn-cs"/>
            </a:rPr>
            <a:t>Q-AX 160G BCOM, Intel </a:t>
          </a:r>
          <a:r>
            <a:rPr kumimoji="0" lang="en-US" sz="800" b="0" i="0" u="none" strike="noStrike" kern="1200" cap="none" spc="0" normalizeH="0" baseline="0" dirty="0" err="1">
              <a:ln>
                <a:noFill/>
              </a:ln>
              <a:solidFill>
                <a:schemeClr val="tx2"/>
              </a:solidFill>
              <a:effectLst/>
              <a:uLnTx/>
              <a:uFillTx/>
              <a:latin typeface="+mn-lt"/>
              <a:ea typeface="+mn-ea"/>
              <a:cs typeface="+mn-cs"/>
            </a:rPr>
            <a:t>Denverton</a:t>
          </a:r>
          <a:r>
            <a:rPr kumimoji="0" lang="en-US" sz="800" b="0" i="0" u="none" strike="noStrike" kern="1200" cap="none" spc="0" normalizeH="0" baseline="0" dirty="0">
              <a:ln>
                <a:noFill/>
              </a:ln>
              <a:solidFill>
                <a:schemeClr val="tx2"/>
              </a:solidFill>
              <a:effectLst/>
              <a:uLnTx/>
              <a:uFillTx/>
              <a:latin typeface="+mn-lt"/>
              <a:ea typeface="+mn-ea"/>
              <a:cs typeface="+mn-cs"/>
            </a:rPr>
            <a:t> 4C 1.5GHz CPU</a:t>
          </a: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chemeClr val="tx2"/>
              </a:solidFill>
              <a:effectLst/>
              <a:uLnTx/>
              <a:uFillTx/>
              <a:latin typeface="+mn-lt"/>
              <a:ea typeface="+mn-ea"/>
              <a:cs typeface="+mn-cs"/>
            </a:rPr>
            <a:t>8 GB DRAM, 64G SSD</a:t>
          </a:r>
        </a:p>
      </dsp:txBody>
      <dsp:txXfrm rot="-5400000">
        <a:off x="1766000" y="80551"/>
        <a:ext cx="3117207" cy="413080"/>
      </dsp:txXfrm>
    </dsp:sp>
    <dsp:sp modelId="{75BDDF79-3035-42C9-A99F-F5B297561CD6}">
      <dsp:nvSpPr>
        <dsp:cNvPr id="0" name=""/>
        <dsp:cNvSpPr/>
      </dsp:nvSpPr>
      <dsp:spPr>
        <a:xfrm>
          <a:off x="0" y="982"/>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ASIC/CPU/Mem</a:t>
          </a:r>
        </a:p>
      </dsp:txBody>
      <dsp:txXfrm>
        <a:off x="27933" y="28915"/>
        <a:ext cx="1710133" cy="516352"/>
      </dsp:txXfrm>
    </dsp:sp>
    <dsp:sp modelId="{2BDD3F66-042D-48A7-8A12-4EEFBC3BB338}">
      <dsp:nvSpPr>
        <dsp:cNvPr id="0" name=""/>
        <dsp:cNvSpPr/>
      </dsp:nvSpPr>
      <dsp:spPr>
        <a:xfrm rot="5400000">
          <a:off x="3106889" y="-681855"/>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CA" sz="800" kern="1200" dirty="0">
              <a:solidFill>
                <a:schemeClr val="bg1"/>
              </a:solidFill>
              <a:latin typeface="CiscoSansTT ExtraLight"/>
            </a:rPr>
            <a:t>20x1G+12x10G</a:t>
          </a:r>
          <a:endParaRPr lang="en-US" sz="800" kern="1200" dirty="0">
            <a:solidFill>
              <a:schemeClr val="tx2"/>
            </a:solidFill>
            <a:latin typeface="+mn-lt"/>
            <a:ea typeface="+mn-ea"/>
            <a:cs typeface="+mn-cs"/>
          </a:endParaRPr>
        </a:p>
      </dsp:txBody>
      <dsp:txXfrm rot="-5400000">
        <a:off x="1766000" y="681381"/>
        <a:ext cx="3117207" cy="413080"/>
      </dsp:txXfrm>
    </dsp:sp>
    <dsp:sp modelId="{46830796-4281-4E9F-8DEE-0DD2DF16825B}">
      <dsp:nvSpPr>
        <dsp:cNvPr id="0" name=""/>
        <dsp:cNvSpPr/>
      </dsp:nvSpPr>
      <dsp:spPr>
        <a:xfrm>
          <a:off x="0" y="601812"/>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Port Config</a:t>
          </a:r>
        </a:p>
      </dsp:txBody>
      <dsp:txXfrm>
        <a:off x="27933" y="629745"/>
        <a:ext cx="1710133" cy="516352"/>
      </dsp:txXfrm>
    </dsp:sp>
    <dsp:sp modelId="{ECB50969-2EBA-4889-BC7D-B884D0866E33}">
      <dsp:nvSpPr>
        <dsp:cNvPr id="0" name=""/>
        <dsp:cNvSpPr/>
      </dsp:nvSpPr>
      <dsp:spPr>
        <a:xfrm rot="5400000">
          <a:off x="3106889" y="-81026"/>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Font typeface="Arial" panose="020B0604020202020204" pitchFamily="34" charset="0"/>
            <a:buChar char="•"/>
          </a:pPr>
          <a:r>
            <a:rPr lang="en-US" sz="800" kern="1200" dirty="0">
              <a:solidFill>
                <a:schemeClr val="tx2"/>
              </a:solidFill>
              <a:latin typeface="+mn-lt"/>
            </a:rPr>
            <a:t>Fixed PSU, Dual DC /Single AC PSU</a:t>
          </a:r>
          <a:endParaRPr lang="en-US" sz="800" kern="1200" dirty="0">
            <a:solidFill>
              <a:schemeClr val="tx2"/>
            </a:solidFill>
            <a:latin typeface="+mn-lt"/>
            <a:ea typeface="+mn-ea"/>
            <a:cs typeface="+mn-cs"/>
          </a:endParaRPr>
        </a:p>
        <a:p>
          <a:pPr marL="57150" lvl="1" indent="-57150" algn="l" defTabSz="355600">
            <a:lnSpc>
              <a:spcPct val="90000"/>
            </a:lnSpc>
            <a:spcBef>
              <a:spcPct val="0"/>
            </a:spcBef>
            <a:spcAft>
              <a:spcPct val="15000"/>
            </a:spcAft>
            <a:buClrTx/>
            <a:buSzTx/>
            <a:buFont typeface="Arial" panose="020B0604020202020204" pitchFamily="34" charset="0"/>
            <a:buChar char="•"/>
          </a:pPr>
          <a:r>
            <a:rPr lang="en-US" sz="800" kern="1200" dirty="0">
              <a:solidFill>
                <a:schemeClr val="tx2"/>
              </a:solidFill>
              <a:latin typeface="+mn-lt"/>
              <a:ea typeface="+mn-ea"/>
              <a:cs typeface="+mn-cs"/>
            </a:rPr>
            <a:t>Fixed Fans, Front to back airflow</a:t>
          </a:r>
        </a:p>
      </dsp:txBody>
      <dsp:txXfrm rot="-5400000">
        <a:off x="1766000" y="1282210"/>
        <a:ext cx="3117207" cy="413080"/>
      </dsp:txXfrm>
    </dsp:sp>
    <dsp:sp modelId="{101019C5-FDD6-4886-90F5-F669DD820F3A}">
      <dsp:nvSpPr>
        <dsp:cNvPr id="0" name=""/>
        <dsp:cNvSpPr/>
      </dsp:nvSpPr>
      <dsp:spPr>
        <a:xfrm>
          <a:off x="0" y="1202641"/>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PSU/Fan</a:t>
          </a:r>
        </a:p>
      </dsp:txBody>
      <dsp:txXfrm>
        <a:off x="27933" y="1230574"/>
        <a:ext cx="1710133" cy="516352"/>
      </dsp:txXfrm>
    </dsp:sp>
    <dsp:sp modelId="{07C64787-2A16-432E-A9E9-C9678F3B7697}">
      <dsp:nvSpPr>
        <dsp:cNvPr id="0" name=""/>
        <dsp:cNvSpPr/>
      </dsp:nvSpPr>
      <dsp:spPr>
        <a:xfrm rot="5400000">
          <a:off x="3106889" y="519802"/>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a:solidFill>
                <a:schemeClr val="tx2"/>
              </a:solidFill>
              <a:latin typeface="+mn-lt"/>
            </a:rPr>
            <a:t>Commercial -0C to +50C</a:t>
          </a:r>
        </a:p>
      </dsp:txBody>
      <dsp:txXfrm rot="-5400000">
        <a:off x="1766000" y="1883039"/>
        <a:ext cx="3117207" cy="413080"/>
      </dsp:txXfrm>
    </dsp:sp>
    <dsp:sp modelId="{8E64AB20-F105-400F-8F74-08B70BF50322}">
      <dsp:nvSpPr>
        <dsp:cNvPr id="0" name=""/>
        <dsp:cNvSpPr/>
      </dsp:nvSpPr>
      <dsp:spPr>
        <a:xfrm>
          <a:off x="0" y="1803470"/>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Temp Range</a:t>
          </a:r>
        </a:p>
      </dsp:txBody>
      <dsp:txXfrm>
        <a:off x="27933" y="1831403"/>
        <a:ext cx="1710133" cy="516352"/>
      </dsp:txXfrm>
    </dsp:sp>
    <dsp:sp modelId="{8E9693D4-37B8-411A-B81B-9FF4FED4D5AC}">
      <dsp:nvSpPr>
        <dsp:cNvPr id="0" name=""/>
        <dsp:cNvSpPr/>
      </dsp:nvSpPr>
      <dsp:spPr>
        <a:xfrm rot="5400000">
          <a:off x="3106889" y="1120632"/>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a:solidFill>
                <a:schemeClr val="tx2"/>
              </a:solidFill>
              <a:latin typeface="+mn-lt"/>
            </a:rPr>
            <a:t>1588v2, TOD, BITS, 1PPS, 10MHz, Class-B</a:t>
          </a:r>
          <a:endParaRPr lang="en-US" sz="800" kern="1200" dirty="0">
            <a:solidFill>
              <a:schemeClr val="tx2"/>
            </a:solidFill>
            <a:latin typeface="+mn-lt"/>
            <a:ea typeface="+mn-ea"/>
            <a:cs typeface="+mn-cs"/>
          </a:endParaRPr>
        </a:p>
      </dsp:txBody>
      <dsp:txXfrm rot="-5400000">
        <a:off x="1766000" y="2483869"/>
        <a:ext cx="3117207" cy="413080"/>
      </dsp:txXfrm>
    </dsp:sp>
    <dsp:sp modelId="{5CE93F69-8985-4E79-AB79-F77331DDDF29}">
      <dsp:nvSpPr>
        <dsp:cNvPr id="0" name=""/>
        <dsp:cNvSpPr/>
      </dsp:nvSpPr>
      <dsp:spPr>
        <a:xfrm>
          <a:off x="0" y="2404300"/>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Timing</a:t>
          </a:r>
        </a:p>
      </dsp:txBody>
      <dsp:txXfrm>
        <a:off x="27933" y="2432233"/>
        <a:ext cx="1710133" cy="516352"/>
      </dsp:txXfrm>
    </dsp:sp>
    <dsp:sp modelId="{BA1392D3-6B0C-439C-BF9F-5015A177764E}">
      <dsp:nvSpPr>
        <dsp:cNvPr id="0" name=""/>
        <dsp:cNvSpPr/>
      </dsp:nvSpPr>
      <dsp:spPr>
        <a:xfrm rot="5400000">
          <a:off x="3106889" y="1721461"/>
          <a:ext cx="457774" cy="313955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a:solidFill>
                <a:schemeClr val="tx2"/>
              </a:solidFill>
              <a:latin typeface="+mn-lt"/>
            </a:rPr>
            <a:t>FCS  IOS XR 7.0.1</a:t>
          </a:r>
        </a:p>
      </dsp:txBody>
      <dsp:txXfrm rot="-5400000">
        <a:off x="1766000" y="3084698"/>
        <a:ext cx="3117207" cy="413080"/>
      </dsp:txXfrm>
    </dsp:sp>
    <dsp:sp modelId="{24C0A0FD-C6B1-479F-931D-3DD94F912BF2}">
      <dsp:nvSpPr>
        <dsp:cNvPr id="0" name=""/>
        <dsp:cNvSpPr/>
      </dsp:nvSpPr>
      <dsp:spPr>
        <a:xfrm>
          <a:off x="0" y="3005129"/>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Software</a:t>
          </a:r>
        </a:p>
      </dsp:txBody>
      <dsp:txXfrm>
        <a:off x="27933" y="3033062"/>
        <a:ext cx="1710133" cy="51635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4F4EDA-E589-4A16-85DB-0C9792B930E7}">
      <dsp:nvSpPr>
        <dsp:cNvPr id="0" name=""/>
        <dsp:cNvSpPr/>
      </dsp:nvSpPr>
      <dsp:spPr>
        <a:xfrm rot="5400000">
          <a:off x="2972151" y="-1289922"/>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800 </a:t>
          </a:r>
          <a:r>
            <a:rPr lang="en-US" sz="700" kern="1200" dirty="0" err="1"/>
            <a:t>Gbps</a:t>
          </a:r>
          <a:r>
            <a:rPr lang="en-US" sz="700" kern="1200" dirty="0"/>
            <a:t> BCOM, Intel Broadwell 4C 1.8GHz CPU</a:t>
          </a:r>
        </a:p>
        <a:p>
          <a:pPr marL="57150" lvl="1" indent="-57150" algn="l" defTabSz="311150" rtl="0">
            <a:lnSpc>
              <a:spcPct val="90000"/>
            </a:lnSpc>
            <a:spcBef>
              <a:spcPct val="0"/>
            </a:spcBef>
            <a:spcAft>
              <a:spcPct val="15000"/>
            </a:spcAft>
            <a:buChar char="•"/>
          </a:pPr>
          <a:r>
            <a:rPr lang="en-US" sz="700" kern="1200" dirty="0"/>
            <a:t>32GB RAM, 128G SSD </a:t>
          </a:r>
        </a:p>
      </dsp:txBody>
      <dsp:txXfrm rot="-5400000">
        <a:off x="1645920" y="49666"/>
        <a:ext cx="2912723" cy="246902"/>
      </dsp:txXfrm>
    </dsp:sp>
    <dsp:sp modelId="{75BDDF79-3035-42C9-A99F-F5B297561CD6}">
      <dsp:nvSpPr>
        <dsp:cNvPr id="0" name=""/>
        <dsp:cNvSpPr/>
      </dsp:nvSpPr>
      <dsp:spPr>
        <a:xfrm>
          <a:off x="0" y="2107"/>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ASIC/CPU/Mem</a:t>
          </a:r>
        </a:p>
      </dsp:txBody>
      <dsp:txXfrm>
        <a:off x="16696" y="18803"/>
        <a:ext cx="1612528" cy="308628"/>
      </dsp:txXfrm>
    </dsp:sp>
    <dsp:sp modelId="{2BDD3F66-042D-48A7-8A12-4EEFBC3BB338}">
      <dsp:nvSpPr>
        <dsp:cNvPr id="0" name=""/>
        <dsp:cNvSpPr/>
      </dsp:nvSpPr>
      <dsp:spPr>
        <a:xfrm rot="5400000">
          <a:off x="2972151" y="-930800"/>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Modular. 4 x 100G QSFP28, 40 x 10G SFP+, 96 x 1G CSFP</a:t>
          </a:r>
        </a:p>
      </dsp:txBody>
      <dsp:txXfrm rot="-5400000">
        <a:off x="1645920" y="408788"/>
        <a:ext cx="2912723" cy="246902"/>
      </dsp:txXfrm>
    </dsp:sp>
    <dsp:sp modelId="{46830796-4281-4E9F-8DEE-0DD2DF16825B}">
      <dsp:nvSpPr>
        <dsp:cNvPr id="0" name=""/>
        <dsp:cNvSpPr/>
      </dsp:nvSpPr>
      <dsp:spPr>
        <a:xfrm>
          <a:off x="0" y="361229"/>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a:t>Port Config</a:t>
          </a:r>
        </a:p>
      </dsp:txBody>
      <dsp:txXfrm>
        <a:off x="16696" y="377925"/>
        <a:ext cx="1612528" cy="308628"/>
      </dsp:txXfrm>
    </dsp:sp>
    <dsp:sp modelId="{ECB50969-2EBA-4889-BC7D-B884D0866E33}">
      <dsp:nvSpPr>
        <dsp:cNvPr id="0" name=""/>
        <dsp:cNvSpPr/>
      </dsp:nvSpPr>
      <dsp:spPr>
        <a:xfrm rot="5400000">
          <a:off x="2972151" y="-571678"/>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Modular &amp; redundant PSUs and fans</a:t>
          </a:r>
        </a:p>
        <a:p>
          <a:pPr marL="57150" lvl="1" indent="-57150" algn="l" defTabSz="311150" rtl="0">
            <a:lnSpc>
              <a:spcPct val="90000"/>
            </a:lnSpc>
            <a:spcBef>
              <a:spcPct val="0"/>
            </a:spcBef>
            <a:spcAft>
              <a:spcPct val="15000"/>
            </a:spcAft>
            <a:buChar char="•"/>
          </a:pPr>
          <a:r>
            <a:rPr lang="nl-NL" sz="700" kern="1200" dirty="0"/>
            <a:t>Side-</a:t>
          </a:r>
          <a:r>
            <a:rPr lang="nl-NL" sz="700" kern="1200" dirty="0" err="1"/>
            <a:t>to</a:t>
          </a:r>
          <a:r>
            <a:rPr lang="nl-NL" sz="700" kern="1200" dirty="0"/>
            <a:t>-side </a:t>
          </a:r>
          <a:r>
            <a:rPr lang="nl-NL" sz="700" kern="1200" dirty="0" err="1"/>
            <a:t>airflow</a:t>
          </a:r>
          <a:r>
            <a:rPr lang="nl-NL" sz="700" kern="1200" dirty="0"/>
            <a:t>. Front-</a:t>
          </a:r>
          <a:r>
            <a:rPr lang="nl-NL" sz="700" kern="1200" dirty="0" err="1"/>
            <a:t>to</a:t>
          </a:r>
          <a:r>
            <a:rPr lang="nl-NL" sz="700" kern="1200" dirty="0"/>
            <a:t>-back </a:t>
          </a:r>
          <a:r>
            <a:rPr lang="nl-NL" sz="700" kern="1200" dirty="0" err="1"/>
            <a:t>airflow</a:t>
          </a:r>
          <a:r>
            <a:rPr lang="nl-NL" sz="700" kern="1200" dirty="0"/>
            <a:t> plenum option</a:t>
          </a:r>
          <a:endParaRPr lang="en-US" sz="700" kern="1200" dirty="0"/>
        </a:p>
      </dsp:txBody>
      <dsp:txXfrm rot="-5400000">
        <a:off x="1645920" y="767910"/>
        <a:ext cx="2912723" cy="246902"/>
      </dsp:txXfrm>
    </dsp:sp>
    <dsp:sp modelId="{101019C5-FDD6-4886-90F5-F669DD820F3A}">
      <dsp:nvSpPr>
        <dsp:cNvPr id="0" name=""/>
        <dsp:cNvSpPr/>
      </dsp:nvSpPr>
      <dsp:spPr>
        <a:xfrm>
          <a:off x="0" y="720350"/>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PSU/Fan</a:t>
          </a:r>
        </a:p>
      </dsp:txBody>
      <dsp:txXfrm>
        <a:off x="16696" y="737046"/>
        <a:ext cx="1612528" cy="308628"/>
      </dsp:txXfrm>
    </dsp:sp>
    <dsp:sp modelId="{07C64787-2A16-432E-A9E9-C9678F3B7697}">
      <dsp:nvSpPr>
        <dsp:cNvPr id="0" name=""/>
        <dsp:cNvSpPr/>
      </dsp:nvSpPr>
      <dsp:spPr>
        <a:xfrm rot="5400000">
          <a:off x="2972151" y="-212557"/>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err="1"/>
            <a:t>iTemp</a:t>
          </a:r>
          <a:r>
            <a:rPr lang="en-US" sz="700" kern="1200" dirty="0"/>
            <a:t> 40C to +65C</a:t>
          </a:r>
        </a:p>
        <a:p>
          <a:pPr marL="57150" lvl="1" indent="-57150" algn="l" defTabSz="311150" rtl="0">
            <a:lnSpc>
              <a:spcPct val="90000"/>
            </a:lnSpc>
            <a:spcBef>
              <a:spcPct val="0"/>
            </a:spcBef>
            <a:spcAft>
              <a:spcPct val="15000"/>
            </a:spcAft>
            <a:buChar char="•"/>
          </a:pPr>
          <a:r>
            <a:rPr lang="en-US" sz="700" kern="1200" dirty="0"/>
            <a:t>Conformal coated SKU’s for hot humid conditions</a:t>
          </a:r>
        </a:p>
      </dsp:txBody>
      <dsp:txXfrm rot="-5400000">
        <a:off x="1645920" y="1127031"/>
        <a:ext cx="2912723" cy="246902"/>
      </dsp:txXfrm>
    </dsp:sp>
    <dsp:sp modelId="{8E64AB20-F105-400F-8F74-08B70BF50322}">
      <dsp:nvSpPr>
        <dsp:cNvPr id="0" name=""/>
        <dsp:cNvSpPr/>
      </dsp:nvSpPr>
      <dsp:spPr>
        <a:xfrm>
          <a:off x="0" y="1079472"/>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Temp Range</a:t>
          </a:r>
        </a:p>
      </dsp:txBody>
      <dsp:txXfrm>
        <a:off x="16696" y="1096168"/>
        <a:ext cx="1612528" cy="308628"/>
      </dsp:txXfrm>
    </dsp:sp>
    <dsp:sp modelId="{1659659C-CE82-4BE1-928B-B3C52FC9FD5A}">
      <dsp:nvSpPr>
        <dsp:cNvPr id="0" name=""/>
        <dsp:cNvSpPr/>
      </dsp:nvSpPr>
      <dsp:spPr>
        <a:xfrm rot="5400000">
          <a:off x="2972151" y="146564"/>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1/10G: BX/2BX, SR/LR/ER/ZR/DWDM SFP</a:t>
          </a:r>
        </a:p>
        <a:p>
          <a:pPr marL="57150" lvl="1" indent="-57150" algn="l" defTabSz="311150" rtl="0">
            <a:lnSpc>
              <a:spcPct val="90000"/>
            </a:lnSpc>
            <a:spcBef>
              <a:spcPct val="0"/>
            </a:spcBef>
            <a:spcAft>
              <a:spcPct val="15000"/>
            </a:spcAft>
            <a:buChar char="•"/>
          </a:pPr>
          <a:r>
            <a:rPr lang="en-US" sz="700" kern="1200" dirty="0"/>
            <a:t>40G: SR/LR/LR4L/ER QSFP+, 100G: SR/LR/ER4L QSFP28</a:t>
          </a:r>
        </a:p>
      </dsp:txBody>
      <dsp:txXfrm rot="-5400000">
        <a:off x="1645920" y="1486153"/>
        <a:ext cx="2912723" cy="246902"/>
      </dsp:txXfrm>
    </dsp:sp>
    <dsp:sp modelId="{5776C898-5446-41F9-AB50-6472EDBC184A}">
      <dsp:nvSpPr>
        <dsp:cNvPr id="0" name=""/>
        <dsp:cNvSpPr/>
      </dsp:nvSpPr>
      <dsp:spPr>
        <a:xfrm>
          <a:off x="0" y="1438594"/>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a:t>Optics</a:t>
          </a:r>
          <a:endParaRPr lang="en-US" sz="1400" kern="1200" dirty="0"/>
        </a:p>
      </dsp:txBody>
      <dsp:txXfrm>
        <a:off x="16696" y="1455290"/>
        <a:ext cx="1612528" cy="308628"/>
      </dsp:txXfrm>
    </dsp:sp>
    <dsp:sp modelId="{8E9693D4-37B8-411A-B81B-9FF4FED4D5AC}">
      <dsp:nvSpPr>
        <dsp:cNvPr id="0" name=""/>
        <dsp:cNvSpPr/>
      </dsp:nvSpPr>
      <dsp:spPr>
        <a:xfrm rot="5400000">
          <a:off x="2972151" y="505686"/>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FCS 64 bit IOS XR 6.6.25 (GA, NCS 540, NCS 5500 parity)</a:t>
          </a:r>
        </a:p>
      </dsp:txBody>
      <dsp:txXfrm rot="-5400000">
        <a:off x="1645920" y="1845275"/>
        <a:ext cx="2912723" cy="246902"/>
      </dsp:txXfrm>
    </dsp:sp>
    <dsp:sp modelId="{5CE93F69-8985-4E79-AB79-F77331DDDF29}">
      <dsp:nvSpPr>
        <dsp:cNvPr id="0" name=""/>
        <dsp:cNvSpPr/>
      </dsp:nvSpPr>
      <dsp:spPr>
        <a:xfrm>
          <a:off x="0" y="1797716"/>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a:t>Software </a:t>
          </a:r>
          <a:endParaRPr lang="en-US" sz="1400" kern="1200" dirty="0"/>
        </a:p>
      </dsp:txBody>
      <dsp:txXfrm>
        <a:off x="16696" y="1814412"/>
        <a:ext cx="1612528" cy="308628"/>
      </dsp:txXfrm>
    </dsp:sp>
    <dsp:sp modelId="{BA1392D3-6B0C-439C-BF9F-5015A177764E}">
      <dsp:nvSpPr>
        <dsp:cNvPr id="0" name=""/>
        <dsp:cNvSpPr/>
      </dsp:nvSpPr>
      <dsp:spPr>
        <a:xfrm rot="5400000">
          <a:off x="2972151" y="864808"/>
          <a:ext cx="273616" cy="2926080"/>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1PPS in/out, 10Mhz in/out, </a:t>
          </a:r>
          <a:r>
            <a:rPr lang="en-US" sz="700" kern="1200" dirty="0" err="1"/>
            <a:t>ToD</a:t>
          </a:r>
          <a:r>
            <a:rPr lang="en-US" sz="700" kern="1200" dirty="0"/>
            <a:t>, Internal GNSS, External GNSS</a:t>
          </a:r>
        </a:p>
        <a:p>
          <a:pPr marL="57150" lvl="1" indent="-57150" algn="l" defTabSz="311150" rtl="0">
            <a:lnSpc>
              <a:spcPct val="90000"/>
            </a:lnSpc>
            <a:spcBef>
              <a:spcPct val="0"/>
            </a:spcBef>
            <a:spcAft>
              <a:spcPct val="15000"/>
            </a:spcAft>
            <a:buChar char="•"/>
          </a:pPr>
          <a:r>
            <a:rPr lang="en-US" sz="700" kern="1200" dirty="0" err="1"/>
            <a:t>SyncE</a:t>
          </a:r>
          <a:r>
            <a:rPr lang="en-US" sz="700" kern="1200" dirty="0"/>
            <a:t>, G.8265.1, G.8275.1/2, Class B BC</a:t>
          </a:r>
        </a:p>
      </dsp:txBody>
      <dsp:txXfrm rot="-5400000">
        <a:off x="1645920" y="2204397"/>
        <a:ext cx="2912723" cy="246902"/>
      </dsp:txXfrm>
    </dsp:sp>
    <dsp:sp modelId="{24C0A0FD-C6B1-479F-931D-3DD94F912BF2}">
      <dsp:nvSpPr>
        <dsp:cNvPr id="0" name=""/>
        <dsp:cNvSpPr/>
      </dsp:nvSpPr>
      <dsp:spPr>
        <a:xfrm>
          <a:off x="0" y="2156837"/>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Timing</a:t>
          </a:r>
        </a:p>
      </dsp:txBody>
      <dsp:txXfrm>
        <a:off x="16696" y="2173533"/>
        <a:ext cx="1612528" cy="308628"/>
      </dsp:txXfrm>
    </dsp:sp>
    <dsp:sp modelId="{68C818A9-7C69-46B3-83C5-E9028463F0DA}">
      <dsp:nvSpPr>
        <dsp:cNvPr id="0" name=""/>
        <dsp:cNvSpPr/>
      </dsp:nvSpPr>
      <dsp:spPr>
        <a:xfrm rot="5400000">
          <a:off x="2972151" y="1223929"/>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2M v4/v6 prefixes, 1K VRF, 8K Bridge Domain, 8K VFI, 16K EFP/EVC, 256K MAC, 26K Queues, 10K Policers</a:t>
          </a:r>
        </a:p>
      </dsp:txBody>
      <dsp:txXfrm rot="-5400000">
        <a:off x="1645920" y="2563518"/>
        <a:ext cx="2912723" cy="246902"/>
      </dsp:txXfrm>
    </dsp:sp>
    <dsp:sp modelId="{DBD9D043-BD78-4105-ABCD-AD59034829C1}">
      <dsp:nvSpPr>
        <dsp:cNvPr id="0" name=""/>
        <dsp:cNvSpPr/>
      </dsp:nvSpPr>
      <dsp:spPr>
        <a:xfrm>
          <a:off x="0" y="2515959"/>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Service Scale*</a:t>
          </a:r>
        </a:p>
      </dsp:txBody>
      <dsp:txXfrm>
        <a:off x="16696" y="2532655"/>
        <a:ext cx="1612528" cy="308628"/>
      </dsp:txXfrm>
    </dsp:sp>
    <dsp:sp modelId="{4C774326-18FC-4362-B585-3C2C0D44D334}">
      <dsp:nvSpPr>
        <dsp:cNvPr id="0" name=""/>
        <dsp:cNvSpPr/>
      </dsp:nvSpPr>
      <dsp:spPr>
        <a:xfrm rot="5400000">
          <a:off x="2972151" y="1583051"/>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err="1"/>
            <a:t>Netconf</a:t>
          </a:r>
          <a:r>
            <a:rPr lang="en-US" sz="700" kern="1200" dirty="0"/>
            <a:t> yang, </a:t>
          </a:r>
          <a:r>
            <a:rPr lang="en-US" sz="700" kern="1200" dirty="0" err="1"/>
            <a:t>Restconf</a:t>
          </a:r>
          <a:r>
            <a:rPr lang="en-US" sz="700" kern="1200" dirty="0"/>
            <a:t>, BGP-LS, PCEP</a:t>
          </a:r>
        </a:p>
        <a:p>
          <a:pPr marL="57150" lvl="1" indent="-57150" algn="l" defTabSz="311150" rtl="0">
            <a:lnSpc>
              <a:spcPct val="90000"/>
            </a:lnSpc>
            <a:spcBef>
              <a:spcPct val="0"/>
            </a:spcBef>
            <a:spcAft>
              <a:spcPct val="15000"/>
            </a:spcAft>
            <a:buChar char="•"/>
          </a:pPr>
          <a:r>
            <a:rPr lang="en-US" sz="700" kern="1200" dirty="0"/>
            <a:t>XTC Integration</a:t>
          </a:r>
        </a:p>
      </dsp:txBody>
      <dsp:txXfrm rot="-5400000">
        <a:off x="1645920" y="2922640"/>
        <a:ext cx="2912723" cy="246902"/>
      </dsp:txXfrm>
    </dsp:sp>
    <dsp:sp modelId="{4A4C5A52-1AF1-43F8-890F-A795CB9EE3B8}">
      <dsp:nvSpPr>
        <dsp:cNvPr id="0" name=""/>
        <dsp:cNvSpPr/>
      </dsp:nvSpPr>
      <dsp:spPr>
        <a:xfrm>
          <a:off x="0" y="2875081"/>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Programmability</a:t>
          </a:r>
        </a:p>
      </dsp:txBody>
      <dsp:txXfrm>
        <a:off x="16696" y="2891777"/>
        <a:ext cx="1612528" cy="308628"/>
      </dsp:txXfrm>
    </dsp:sp>
    <dsp:sp modelId="{9A1B36E4-7EC5-42E2-8C6A-D319BB2DEC48}">
      <dsp:nvSpPr>
        <dsp:cNvPr id="0" name=""/>
        <dsp:cNvSpPr/>
      </dsp:nvSpPr>
      <dsp:spPr>
        <a:xfrm rot="5400000">
          <a:off x="2972151" y="1942173"/>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SR, SR-TE, TI-LFA, On Demand Next Hop</a:t>
          </a:r>
        </a:p>
      </dsp:txBody>
      <dsp:txXfrm rot="-5400000">
        <a:off x="1645920" y="3281762"/>
        <a:ext cx="2912723" cy="246902"/>
      </dsp:txXfrm>
    </dsp:sp>
    <dsp:sp modelId="{3472CCEB-485F-471F-9F94-60A4A2D722F4}">
      <dsp:nvSpPr>
        <dsp:cNvPr id="0" name=""/>
        <dsp:cNvSpPr/>
      </dsp:nvSpPr>
      <dsp:spPr>
        <a:xfrm>
          <a:off x="0" y="3234202"/>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Advanced Routing</a:t>
          </a:r>
        </a:p>
      </dsp:txBody>
      <dsp:txXfrm>
        <a:off x="16696" y="3250898"/>
        <a:ext cx="1612528" cy="30862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4F4EDA-E589-4A16-85DB-0C9792B930E7}">
      <dsp:nvSpPr>
        <dsp:cNvPr id="0" name=""/>
        <dsp:cNvSpPr/>
      </dsp:nvSpPr>
      <dsp:spPr>
        <a:xfrm rot="5400000">
          <a:off x="2972151" y="-1289922"/>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800 </a:t>
          </a:r>
          <a:r>
            <a:rPr lang="en-US" sz="700" kern="1200" dirty="0" err="1"/>
            <a:t>Gbps</a:t>
          </a:r>
          <a:r>
            <a:rPr lang="en-US" sz="700" kern="1200" dirty="0"/>
            <a:t> BCOM, Intel Broadwell 4C 1.8GHz CPU</a:t>
          </a:r>
        </a:p>
        <a:p>
          <a:pPr marL="57150" lvl="1" indent="-57150" algn="l" defTabSz="311150" rtl="0">
            <a:lnSpc>
              <a:spcPct val="90000"/>
            </a:lnSpc>
            <a:spcBef>
              <a:spcPct val="0"/>
            </a:spcBef>
            <a:spcAft>
              <a:spcPct val="15000"/>
            </a:spcAft>
            <a:buChar char="•"/>
          </a:pPr>
          <a:r>
            <a:rPr lang="en-US" sz="700" kern="1200" dirty="0"/>
            <a:t>32GB RAM, 128G SSD </a:t>
          </a:r>
        </a:p>
      </dsp:txBody>
      <dsp:txXfrm rot="-5400000">
        <a:off x="1645920" y="49666"/>
        <a:ext cx="2912723" cy="246902"/>
      </dsp:txXfrm>
    </dsp:sp>
    <dsp:sp modelId="{75BDDF79-3035-42C9-A99F-F5B297561CD6}">
      <dsp:nvSpPr>
        <dsp:cNvPr id="0" name=""/>
        <dsp:cNvSpPr/>
      </dsp:nvSpPr>
      <dsp:spPr>
        <a:xfrm>
          <a:off x="0" y="2107"/>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ASIC/CPU/Mem</a:t>
          </a:r>
        </a:p>
      </dsp:txBody>
      <dsp:txXfrm>
        <a:off x="16696" y="18803"/>
        <a:ext cx="1612528" cy="308628"/>
      </dsp:txXfrm>
    </dsp:sp>
    <dsp:sp modelId="{2BDD3F66-042D-48A7-8A12-4EEFBC3BB338}">
      <dsp:nvSpPr>
        <dsp:cNvPr id="0" name=""/>
        <dsp:cNvSpPr/>
      </dsp:nvSpPr>
      <dsp:spPr>
        <a:xfrm rot="5400000">
          <a:off x="2972151" y="-930800"/>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Modular. 4 x 100G QSFP28, 32 x 10G SFP+ or 72 x 1G CSFP</a:t>
          </a:r>
        </a:p>
      </dsp:txBody>
      <dsp:txXfrm rot="-5400000">
        <a:off x="1645920" y="408788"/>
        <a:ext cx="2912723" cy="246902"/>
      </dsp:txXfrm>
    </dsp:sp>
    <dsp:sp modelId="{46830796-4281-4E9F-8DEE-0DD2DF16825B}">
      <dsp:nvSpPr>
        <dsp:cNvPr id="0" name=""/>
        <dsp:cNvSpPr/>
      </dsp:nvSpPr>
      <dsp:spPr>
        <a:xfrm>
          <a:off x="0" y="361229"/>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a:t>Port Config</a:t>
          </a:r>
        </a:p>
      </dsp:txBody>
      <dsp:txXfrm>
        <a:off x="16696" y="377925"/>
        <a:ext cx="1612528" cy="308628"/>
      </dsp:txXfrm>
    </dsp:sp>
    <dsp:sp modelId="{ECB50969-2EBA-4889-BC7D-B884D0866E33}">
      <dsp:nvSpPr>
        <dsp:cNvPr id="0" name=""/>
        <dsp:cNvSpPr/>
      </dsp:nvSpPr>
      <dsp:spPr>
        <a:xfrm rot="5400000">
          <a:off x="2972151" y="-571678"/>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Modular &amp; redundant PSUs and fans</a:t>
          </a:r>
        </a:p>
        <a:p>
          <a:pPr marL="57150" lvl="1" indent="-57150" algn="l" defTabSz="311150" rtl="0">
            <a:lnSpc>
              <a:spcPct val="90000"/>
            </a:lnSpc>
            <a:spcBef>
              <a:spcPct val="0"/>
            </a:spcBef>
            <a:spcAft>
              <a:spcPct val="15000"/>
            </a:spcAft>
            <a:buChar char="•"/>
          </a:pPr>
          <a:r>
            <a:rPr lang="nl-NL" sz="700" kern="1200" dirty="0"/>
            <a:t>Side-</a:t>
          </a:r>
          <a:r>
            <a:rPr lang="nl-NL" sz="700" kern="1200" dirty="0" err="1"/>
            <a:t>to</a:t>
          </a:r>
          <a:r>
            <a:rPr lang="nl-NL" sz="700" kern="1200" dirty="0"/>
            <a:t>-side </a:t>
          </a:r>
          <a:r>
            <a:rPr lang="nl-NL" sz="700" kern="1200" dirty="0" err="1"/>
            <a:t>airflow</a:t>
          </a:r>
          <a:r>
            <a:rPr lang="nl-NL" sz="700" kern="1200" dirty="0"/>
            <a:t>. Front-</a:t>
          </a:r>
          <a:r>
            <a:rPr lang="nl-NL" sz="700" kern="1200" dirty="0" err="1"/>
            <a:t>to</a:t>
          </a:r>
          <a:r>
            <a:rPr lang="nl-NL" sz="700" kern="1200" dirty="0"/>
            <a:t>-back </a:t>
          </a:r>
          <a:r>
            <a:rPr lang="nl-NL" sz="700" kern="1200" dirty="0" err="1"/>
            <a:t>airflow</a:t>
          </a:r>
          <a:r>
            <a:rPr lang="nl-NL" sz="700" kern="1200" dirty="0"/>
            <a:t> plenum option (2RU)</a:t>
          </a:r>
          <a:endParaRPr lang="en-US" sz="700" kern="1200" dirty="0"/>
        </a:p>
      </dsp:txBody>
      <dsp:txXfrm rot="-5400000">
        <a:off x="1645920" y="767910"/>
        <a:ext cx="2912723" cy="246902"/>
      </dsp:txXfrm>
    </dsp:sp>
    <dsp:sp modelId="{101019C5-FDD6-4886-90F5-F669DD820F3A}">
      <dsp:nvSpPr>
        <dsp:cNvPr id="0" name=""/>
        <dsp:cNvSpPr/>
      </dsp:nvSpPr>
      <dsp:spPr>
        <a:xfrm>
          <a:off x="0" y="720350"/>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PSU/Fan</a:t>
          </a:r>
        </a:p>
      </dsp:txBody>
      <dsp:txXfrm>
        <a:off x="16696" y="737046"/>
        <a:ext cx="1612528" cy="308628"/>
      </dsp:txXfrm>
    </dsp:sp>
    <dsp:sp modelId="{07C64787-2A16-432E-A9E9-C9678F3B7697}">
      <dsp:nvSpPr>
        <dsp:cNvPr id="0" name=""/>
        <dsp:cNvSpPr/>
      </dsp:nvSpPr>
      <dsp:spPr>
        <a:xfrm rot="5400000">
          <a:off x="2972151" y="-212557"/>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err="1"/>
            <a:t>iTemp</a:t>
          </a:r>
          <a:r>
            <a:rPr lang="en-US" sz="700" kern="1200" dirty="0"/>
            <a:t> 40C to +65C</a:t>
          </a:r>
        </a:p>
        <a:p>
          <a:pPr marL="57150" lvl="1" indent="-57150" algn="l" defTabSz="311150" rtl="0">
            <a:lnSpc>
              <a:spcPct val="90000"/>
            </a:lnSpc>
            <a:spcBef>
              <a:spcPct val="0"/>
            </a:spcBef>
            <a:spcAft>
              <a:spcPct val="15000"/>
            </a:spcAft>
            <a:buChar char="•"/>
          </a:pPr>
          <a:r>
            <a:rPr lang="en-US" sz="700" kern="1200" dirty="0"/>
            <a:t>Conformal coated SKU’s for hot humid conditions</a:t>
          </a:r>
        </a:p>
      </dsp:txBody>
      <dsp:txXfrm rot="-5400000">
        <a:off x="1645920" y="1127031"/>
        <a:ext cx="2912723" cy="246902"/>
      </dsp:txXfrm>
    </dsp:sp>
    <dsp:sp modelId="{8E64AB20-F105-400F-8F74-08B70BF50322}">
      <dsp:nvSpPr>
        <dsp:cNvPr id="0" name=""/>
        <dsp:cNvSpPr/>
      </dsp:nvSpPr>
      <dsp:spPr>
        <a:xfrm>
          <a:off x="0" y="1079472"/>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Temp Range</a:t>
          </a:r>
        </a:p>
      </dsp:txBody>
      <dsp:txXfrm>
        <a:off x="16696" y="1096168"/>
        <a:ext cx="1612528" cy="308628"/>
      </dsp:txXfrm>
    </dsp:sp>
    <dsp:sp modelId="{1659659C-CE82-4BE1-928B-B3C52FC9FD5A}">
      <dsp:nvSpPr>
        <dsp:cNvPr id="0" name=""/>
        <dsp:cNvSpPr/>
      </dsp:nvSpPr>
      <dsp:spPr>
        <a:xfrm rot="5400000">
          <a:off x="2972151" y="146564"/>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1/10G: BX/2BX, SR/LR/ER/ZR/DWDM SFP</a:t>
          </a:r>
        </a:p>
        <a:p>
          <a:pPr marL="57150" lvl="1" indent="-57150" algn="l" defTabSz="311150" rtl="0">
            <a:lnSpc>
              <a:spcPct val="90000"/>
            </a:lnSpc>
            <a:spcBef>
              <a:spcPct val="0"/>
            </a:spcBef>
            <a:spcAft>
              <a:spcPct val="15000"/>
            </a:spcAft>
            <a:buChar char="•"/>
          </a:pPr>
          <a:r>
            <a:rPr lang="en-US" sz="700" kern="1200" dirty="0"/>
            <a:t>40G: SR/LR/LR4L/ER QSFP+, 100G: SR/LR/ER4L QSFP28</a:t>
          </a:r>
        </a:p>
      </dsp:txBody>
      <dsp:txXfrm rot="-5400000">
        <a:off x="1645920" y="1486153"/>
        <a:ext cx="2912723" cy="246902"/>
      </dsp:txXfrm>
    </dsp:sp>
    <dsp:sp modelId="{5776C898-5446-41F9-AB50-6472EDBC184A}">
      <dsp:nvSpPr>
        <dsp:cNvPr id="0" name=""/>
        <dsp:cNvSpPr/>
      </dsp:nvSpPr>
      <dsp:spPr>
        <a:xfrm>
          <a:off x="0" y="1438594"/>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a:t>Optics</a:t>
          </a:r>
          <a:endParaRPr lang="en-US" sz="1400" kern="1200" dirty="0"/>
        </a:p>
      </dsp:txBody>
      <dsp:txXfrm>
        <a:off x="16696" y="1455290"/>
        <a:ext cx="1612528" cy="308628"/>
      </dsp:txXfrm>
    </dsp:sp>
    <dsp:sp modelId="{8E9693D4-37B8-411A-B81B-9FF4FED4D5AC}">
      <dsp:nvSpPr>
        <dsp:cNvPr id="0" name=""/>
        <dsp:cNvSpPr/>
      </dsp:nvSpPr>
      <dsp:spPr>
        <a:xfrm rot="5400000">
          <a:off x="2972151" y="505686"/>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FCS 64 bit IOS XR 6.6.25  (GA, NCS 540, NCS 5500 parity)</a:t>
          </a:r>
        </a:p>
      </dsp:txBody>
      <dsp:txXfrm rot="-5400000">
        <a:off x="1645920" y="1845275"/>
        <a:ext cx="2912723" cy="246902"/>
      </dsp:txXfrm>
    </dsp:sp>
    <dsp:sp modelId="{5CE93F69-8985-4E79-AB79-F77331DDDF29}">
      <dsp:nvSpPr>
        <dsp:cNvPr id="0" name=""/>
        <dsp:cNvSpPr/>
      </dsp:nvSpPr>
      <dsp:spPr>
        <a:xfrm>
          <a:off x="0" y="1797716"/>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a:t>Software </a:t>
          </a:r>
          <a:endParaRPr lang="en-US" sz="1400" kern="1200" dirty="0"/>
        </a:p>
      </dsp:txBody>
      <dsp:txXfrm>
        <a:off x="16696" y="1814412"/>
        <a:ext cx="1612528" cy="308628"/>
      </dsp:txXfrm>
    </dsp:sp>
    <dsp:sp modelId="{BA1392D3-6B0C-439C-BF9F-5015A177764E}">
      <dsp:nvSpPr>
        <dsp:cNvPr id="0" name=""/>
        <dsp:cNvSpPr/>
      </dsp:nvSpPr>
      <dsp:spPr>
        <a:xfrm rot="5400000">
          <a:off x="2972151" y="864808"/>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1PPS in/out, 10Mhz in/out, </a:t>
          </a:r>
          <a:r>
            <a:rPr lang="en-US" sz="700" kern="1200" dirty="0" err="1"/>
            <a:t>ToD</a:t>
          </a:r>
          <a:r>
            <a:rPr lang="en-US" sz="700" kern="1200" dirty="0"/>
            <a:t>, Internal GNSS, External GNSS</a:t>
          </a:r>
        </a:p>
        <a:p>
          <a:pPr marL="57150" lvl="1" indent="-57150" algn="l" defTabSz="311150" rtl="0">
            <a:lnSpc>
              <a:spcPct val="90000"/>
            </a:lnSpc>
            <a:spcBef>
              <a:spcPct val="0"/>
            </a:spcBef>
            <a:spcAft>
              <a:spcPct val="15000"/>
            </a:spcAft>
            <a:buChar char="•"/>
          </a:pPr>
          <a:r>
            <a:rPr lang="en-US" sz="700" kern="1200" dirty="0" err="1"/>
            <a:t>SyncE</a:t>
          </a:r>
          <a:r>
            <a:rPr lang="en-US" sz="700" kern="1200" dirty="0"/>
            <a:t>, G.8265.1, G.8275.1/2, Class B BC</a:t>
          </a:r>
        </a:p>
      </dsp:txBody>
      <dsp:txXfrm rot="-5400000">
        <a:off x="1645920" y="2204397"/>
        <a:ext cx="2912723" cy="246902"/>
      </dsp:txXfrm>
    </dsp:sp>
    <dsp:sp modelId="{24C0A0FD-C6B1-479F-931D-3DD94F912BF2}">
      <dsp:nvSpPr>
        <dsp:cNvPr id="0" name=""/>
        <dsp:cNvSpPr/>
      </dsp:nvSpPr>
      <dsp:spPr>
        <a:xfrm>
          <a:off x="0" y="2156837"/>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Timing</a:t>
          </a:r>
        </a:p>
      </dsp:txBody>
      <dsp:txXfrm>
        <a:off x="16696" y="2173533"/>
        <a:ext cx="1612528" cy="308628"/>
      </dsp:txXfrm>
    </dsp:sp>
    <dsp:sp modelId="{68C818A9-7C69-46B3-83C5-E9028463F0DA}">
      <dsp:nvSpPr>
        <dsp:cNvPr id="0" name=""/>
        <dsp:cNvSpPr/>
      </dsp:nvSpPr>
      <dsp:spPr>
        <a:xfrm rot="5400000">
          <a:off x="2972151" y="1223929"/>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2M v4/v6 prefixes, 1K VRF, 8K Bridge Doman, 8K VFI, 16K EFP/EVC, 256K MAC, 26K Queues, 10K Policers</a:t>
          </a:r>
        </a:p>
      </dsp:txBody>
      <dsp:txXfrm rot="-5400000">
        <a:off x="1645920" y="2563518"/>
        <a:ext cx="2912723" cy="246902"/>
      </dsp:txXfrm>
    </dsp:sp>
    <dsp:sp modelId="{DBD9D043-BD78-4105-ABCD-AD59034829C1}">
      <dsp:nvSpPr>
        <dsp:cNvPr id="0" name=""/>
        <dsp:cNvSpPr/>
      </dsp:nvSpPr>
      <dsp:spPr>
        <a:xfrm>
          <a:off x="0" y="2515959"/>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Service Scale*</a:t>
          </a:r>
        </a:p>
      </dsp:txBody>
      <dsp:txXfrm>
        <a:off x="16696" y="2532655"/>
        <a:ext cx="1612528" cy="308628"/>
      </dsp:txXfrm>
    </dsp:sp>
    <dsp:sp modelId="{4C774326-18FC-4362-B585-3C2C0D44D334}">
      <dsp:nvSpPr>
        <dsp:cNvPr id="0" name=""/>
        <dsp:cNvSpPr/>
      </dsp:nvSpPr>
      <dsp:spPr>
        <a:xfrm rot="5400000">
          <a:off x="2972151" y="1583051"/>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err="1"/>
            <a:t>Netconf</a:t>
          </a:r>
          <a:r>
            <a:rPr lang="en-US" sz="700" kern="1200" dirty="0"/>
            <a:t> yang, </a:t>
          </a:r>
          <a:r>
            <a:rPr lang="en-US" sz="700" kern="1200" dirty="0" err="1"/>
            <a:t>Restconf</a:t>
          </a:r>
          <a:r>
            <a:rPr lang="en-US" sz="700" kern="1200" dirty="0"/>
            <a:t>, BGP-LS, PCEP</a:t>
          </a:r>
        </a:p>
        <a:p>
          <a:pPr marL="57150" lvl="1" indent="-57150" algn="l" defTabSz="311150" rtl="0">
            <a:lnSpc>
              <a:spcPct val="90000"/>
            </a:lnSpc>
            <a:spcBef>
              <a:spcPct val="0"/>
            </a:spcBef>
            <a:spcAft>
              <a:spcPct val="15000"/>
            </a:spcAft>
            <a:buChar char="•"/>
          </a:pPr>
          <a:r>
            <a:rPr lang="en-US" sz="700" kern="1200" dirty="0"/>
            <a:t>XTC Integration</a:t>
          </a:r>
        </a:p>
      </dsp:txBody>
      <dsp:txXfrm rot="-5400000">
        <a:off x="1645920" y="2922640"/>
        <a:ext cx="2912723" cy="246902"/>
      </dsp:txXfrm>
    </dsp:sp>
    <dsp:sp modelId="{4A4C5A52-1AF1-43F8-890F-A795CB9EE3B8}">
      <dsp:nvSpPr>
        <dsp:cNvPr id="0" name=""/>
        <dsp:cNvSpPr/>
      </dsp:nvSpPr>
      <dsp:spPr>
        <a:xfrm>
          <a:off x="0" y="2875081"/>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Programmability</a:t>
          </a:r>
        </a:p>
      </dsp:txBody>
      <dsp:txXfrm>
        <a:off x="16696" y="2891777"/>
        <a:ext cx="1612528" cy="308628"/>
      </dsp:txXfrm>
    </dsp:sp>
    <dsp:sp modelId="{9A1B36E4-7EC5-42E2-8C6A-D319BB2DEC48}">
      <dsp:nvSpPr>
        <dsp:cNvPr id="0" name=""/>
        <dsp:cNvSpPr/>
      </dsp:nvSpPr>
      <dsp:spPr>
        <a:xfrm rot="5400000">
          <a:off x="2972151" y="1942173"/>
          <a:ext cx="273616" cy="2926080"/>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26670" bIns="13335" numCol="1" spcCol="1270" anchor="ctr" anchorCtr="0">
          <a:noAutofit/>
        </a:bodyPr>
        <a:lstStyle/>
        <a:p>
          <a:pPr marL="57150" lvl="1" indent="-57150" algn="l" defTabSz="311150" rtl="0">
            <a:lnSpc>
              <a:spcPct val="90000"/>
            </a:lnSpc>
            <a:spcBef>
              <a:spcPct val="0"/>
            </a:spcBef>
            <a:spcAft>
              <a:spcPct val="15000"/>
            </a:spcAft>
            <a:buChar char="•"/>
          </a:pPr>
          <a:r>
            <a:rPr lang="en-US" sz="700" kern="1200" dirty="0"/>
            <a:t>SR, SR-TE, TI-LFA, On Demand Next Hop</a:t>
          </a:r>
        </a:p>
      </dsp:txBody>
      <dsp:txXfrm rot="-5400000">
        <a:off x="1645920" y="3281762"/>
        <a:ext cx="2912723" cy="246902"/>
      </dsp:txXfrm>
    </dsp:sp>
    <dsp:sp modelId="{3472CCEB-485F-471F-9F94-60A4A2D722F4}">
      <dsp:nvSpPr>
        <dsp:cNvPr id="0" name=""/>
        <dsp:cNvSpPr/>
      </dsp:nvSpPr>
      <dsp:spPr>
        <a:xfrm>
          <a:off x="0" y="3234202"/>
          <a:ext cx="1645920" cy="342020"/>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en-US" sz="1400" kern="1200" dirty="0"/>
            <a:t>Advanced Routing</a:t>
          </a:r>
        </a:p>
      </dsp:txBody>
      <dsp:txXfrm>
        <a:off x="16696" y="3250898"/>
        <a:ext cx="1612528" cy="3086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4F4EDA-E589-4A16-85DB-0C9792B930E7}">
      <dsp:nvSpPr>
        <dsp:cNvPr id="0" name=""/>
        <dsp:cNvSpPr/>
      </dsp:nvSpPr>
      <dsp:spPr>
        <a:xfrm rot="5400000">
          <a:off x="3130238" y="-1320716"/>
          <a:ext cx="390486" cy="312986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rtl="0">
            <a:lnSpc>
              <a:spcPct val="90000"/>
            </a:lnSpc>
            <a:spcBef>
              <a:spcPct val="0"/>
            </a:spcBef>
            <a:spcAft>
              <a:spcPct val="15000"/>
            </a:spcAft>
            <a:buChar char="•"/>
          </a:pPr>
          <a:r>
            <a:rPr lang="en-US" sz="1000" kern="1200" dirty="0"/>
            <a:t>300 Gbps BCOM, Intel Broadwell 4C 1.8GHz CPU</a:t>
          </a:r>
        </a:p>
      </dsp:txBody>
      <dsp:txXfrm rot="-5400000">
        <a:off x="1760549" y="68035"/>
        <a:ext cx="3110802" cy="352362"/>
      </dsp:txXfrm>
    </dsp:sp>
    <dsp:sp modelId="{75BDDF79-3035-42C9-A99F-F5B297561CD6}">
      <dsp:nvSpPr>
        <dsp:cNvPr id="0" name=""/>
        <dsp:cNvSpPr/>
      </dsp:nvSpPr>
      <dsp:spPr>
        <a:xfrm>
          <a:off x="0" y="161"/>
          <a:ext cx="1760549" cy="48810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solidFill>
                <a:schemeClr val="bg1"/>
              </a:solidFill>
            </a:rPr>
            <a:t>ASIC/CPU/Mem</a:t>
          </a:r>
        </a:p>
      </dsp:txBody>
      <dsp:txXfrm>
        <a:off x="23827" y="23988"/>
        <a:ext cx="1712895" cy="440454"/>
      </dsp:txXfrm>
    </dsp:sp>
    <dsp:sp modelId="{2BDD3F66-042D-48A7-8A12-4EEFBC3BB338}">
      <dsp:nvSpPr>
        <dsp:cNvPr id="0" name=""/>
        <dsp:cNvSpPr/>
      </dsp:nvSpPr>
      <dsp:spPr>
        <a:xfrm rot="5400000">
          <a:off x="3130238" y="-808202"/>
          <a:ext cx="390486" cy="312986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rtl="0">
            <a:lnSpc>
              <a:spcPct val="90000"/>
            </a:lnSpc>
            <a:spcBef>
              <a:spcPct val="0"/>
            </a:spcBef>
            <a:spcAft>
              <a:spcPct val="15000"/>
            </a:spcAft>
            <a:buChar char="•"/>
          </a:pPr>
          <a:r>
            <a:rPr lang="en-US" sz="1000" kern="1200" dirty="0"/>
            <a:t>24x1/10G SFP+, 8x 25G SFP28, 2x100G QSFP28</a:t>
          </a:r>
        </a:p>
        <a:p>
          <a:pPr marL="57150" lvl="1" indent="-57150" algn="l" defTabSz="444500">
            <a:lnSpc>
              <a:spcPct val="90000"/>
            </a:lnSpc>
            <a:spcBef>
              <a:spcPct val="0"/>
            </a:spcBef>
            <a:spcAft>
              <a:spcPct val="15000"/>
            </a:spcAft>
            <a:buChar char="•"/>
          </a:pPr>
          <a:r>
            <a:rPr lang="en-US" sz="1000" kern="1200" dirty="0">
              <a:solidFill>
                <a:schemeClr val="tx1"/>
              </a:solidFill>
            </a:rPr>
            <a:t>DWDM/ZR support on all SFP+ interfaces</a:t>
          </a:r>
          <a:endParaRPr lang="en-US" sz="1000" kern="1200" dirty="0"/>
        </a:p>
      </dsp:txBody>
      <dsp:txXfrm rot="-5400000">
        <a:off x="1760549" y="580549"/>
        <a:ext cx="3110802" cy="352362"/>
      </dsp:txXfrm>
    </dsp:sp>
    <dsp:sp modelId="{46830796-4281-4E9F-8DEE-0DD2DF16825B}">
      <dsp:nvSpPr>
        <dsp:cNvPr id="0" name=""/>
        <dsp:cNvSpPr/>
      </dsp:nvSpPr>
      <dsp:spPr>
        <a:xfrm>
          <a:off x="0" y="512675"/>
          <a:ext cx="1760549" cy="48810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solidFill>
                <a:schemeClr val="bg1"/>
              </a:solidFill>
            </a:rPr>
            <a:t>Port Config</a:t>
          </a:r>
        </a:p>
      </dsp:txBody>
      <dsp:txXfrm>
        <a:off x="23827" y="536502"/>
        <a:ext cx="1712895" cy="440454"/>
      </dsp:txXfrm>
    </dsp:sp>
    <dsp:sp modelId="{ECB50969-2EBA-4889-BC7D-B884D0866E33}">
      <dsp:nvSpPr>
        <dsp:cNvPr id="0" name=""/>
        <dsp:cNvSpPr/>
      </dsp:nvSpPr>
      <dsp:spPr>
        <a:xfrm rot="5400000">
          <a:off x="3130238" y="-295688"/>
          <a:ext cx="390486" cy="312986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rtl="0">
            <a:lnSpc>
              <a:spcPct val="90000"/>
            </a:lnSpc>
            <a:spcBef>
              <a:spcPct val="0"/>
            </a:spcBef>
            <a:spcAft>
              <a:spcPct val="15000"/>
            </a:spcAft>
            <a:buChar char="•"/>
          </a:pPr>
          <a:r>
            <a:rPr lang="en-US" sz="1000" kern="1200"/>
            <a:t>Modular &amp; redundant PSUs and fans</a:t>
          </a:r>
        </a:p>
        <a:p>
          <a:pPr marL="57150" lvl="1" indent="-57150" algn="l" defTabSz="444500" rtl="0">
            <a:lnSpc>
              <a:spcPct val="90000"/>
            </a:lnSpc>
            <a:spcBef>
              <a:spcPct val="0"/>
            </a:spcBef>
            <a:spcAft>
              <a:spcPct val="15000"/>
            </a:spcAft>
            <a:buChar char="•"/>
          </a:pPr>
          <a:r>
            <a:rPr lang="en-US" sz="1000" kern="1200"/>
            <a:t>Front to back airflow</a:t>
          </a:r>
        </a:p>
      </dsp:txBody>
      <dsp:txXfrm rot="-5400000">
        <a:off x="1760549" y="1093063"/>
        <a:ext cx="3110802" cy="352362"/>
      </dsp:txXfrm>
    </dsp:sp>
    <dsp:sp modelId="{101019C5-FDD6-4886-90F5-F669DD820F3A}">
      <dsp:nvSpPr>
        <dsp:cNvPr id="0" name=""/>
        <dsp:cNvSpPr/>
      </dsp:nvSpPr>
      <dsp:spPr>
        <a:xfrm>
          <a:off x="0" y="1025189"/>
          <a:ext cx="1760549" cy="48810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solidFill>
                <a:schemeClr val="bg1"/>
              </a:solidFill>
            </a:rPr>
            <a:t>PSU/Fan</a:t>
          </a:r>
        </a:p>
      </dsp:txBody>
      <dsp:txXfrm>
        <a:off x="23827" y="1049016"/>
        <a:ext cx="1712895" cy="440454"/>
      </dsp:txXfrm>
    </dsp:sp>
    <dsp:sp modelId="{07C64787-2A16-432E-A9E9-C9678F3B7697}">
      <dsp:nvSpPr>
        <dsp:cNvPr id="0" name=""/>
        <dsp:cNvSpPr/>
      </dsp:nvSpPr>
      <dsp:spPr>
        <a:xfrm rot="5400000">
          <a:off x="3130238" y="216825"/>
          <a:ext cx="390486" cy="312986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rtl="0">
            <a:lnSpc>
              <a:spcPct val="90000"/>
            </a:lnSpc>
            <a:spcBef>
              <a:spcPct val="0"/>
            </a:spcBef>
            <a:spcAft>
              <a:spcPct val="15000"/>
            </a:spcAft>
            <a:buChar char="•"/>
          </a:pPr>
          <a:r>
            <a:rPr lang="en-US" sz="1000" kern="1200"/>
            <a:t>iTemp 40C to +70C </a:t>
          </a:r>
        </a:p>
        <a:p>
          <a:pPr marL="57150" lvl="1" indent="-57150" algn="l" defTabSz="444500" rtl="0">
            <a:lnSpc>
              <a:spcPct val="90000"/>
            </a:lnSpc>
            <a:spcBef>
              <a:spcPct val="0"/>
            </a:spcBef>
            <a:spcAft>
              <a:spcPct val="15000"/>
            </a:spcAft>
            <a:buChar char="•"/>
          </a:pPr>
          <a:r>
            <a:rPr lang="en-US" sz="1000" kern="1200"/>
            <a:t>Conformal coated SKU for hot humid conditions</a:t>
          </a:r>
        </a:p>
      </dsp:txBody>
      <dsp:txXfrm rot="-5400000">
        <a:off x="1760549" y="1605576"/>
        <a:ext cx="3110802" cy="352362"/>
      </dsp:txXfrm>
    </dsp:sp>
    <dsp:sp modelId="{8E64AB20-F105-400F-8F74-08B70BF50322}">
      <dsp:nvSpPr>
        <dsp:cNvPr id="0" name=""/>
        <dsp:cNvSpPr/>
      </dsp:nvSpPr>
      <dsp:spPr>
        <a:xfrm>
          <a:off x="0" y="1537703"/>
          <a:ext cx="1760549" cy="48810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solidFill>
                <a:schemeClr val="bg1"/>
              </a:solidFill>
            </a:rPr>
            <a:t>Temp Range</a:t>
          </a:r>
        </a:p>
      </dsp:txBody>
      <dsp:txXfrm>
        <a:off x="23827" y="1561530"/>
        <a:ext cx="1712895" cy="440454"/>
      </dsp:txXfrm>
    </dsp:sp>
    <dsp:sp modelId="{1659659C-CE82-4BE1-928B-B3C52FC9FD5A}">
      <dsp:nvSpPr>
        <dsp:cNvPr id="0" name=""/>
        <dsp:cNvSpPr/>
      </dsp:nvSpPr>
      <dsp:spPr>
        <a:xfrm rot="5400000">
          <a:off x="3130238" y="729339"/>
          <a:ext cx="390486" cy="312986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rtl="0">
            <a:lnSpc>
              <a:spcPct val="90000"/>
            </a:lnSpc>
            <a:spcBef>
              <a:spcPct val="0"/>
            </a:spcBef>
            <a:spcAft>
              <a:spcPct val="15000"/>
            </a:spcAft>
            <a:buChar char="•"/>
          </a:pPr>
          <a:r>
            <a:rPr lang="en-US" sz="1000" kern="1200" dirty="0"/>
            <a:t>1/10G: SR/LR/ER/ZR/DWDM</a:t>
          </a:r>
        </a:p>
        <a:p>
          <a:pPr marL="57150" lvl="1" indent="-57150" algn="l" defTabSz="444500" rtl="0">
            <a:lnSpc>
              <a:spcPct val="90000"/>
            </a:lnSpc>
            <a:spcBef>
              <a:spcPct val="0"/>
            </a:spcBef>
            <a:spcAft>
              <a:spcPct val="15000"/>
            </a:spcAft>
            <a:buChar char="•"/>
          </a:pPr>
          <a:r>
            <a:rPr lang="en-US" sz="1000" kern="1200" dirty="0"/>
            <a:t>25G: SR/LR, 40G: SR/LR/ER, 100G: SR/LR/ER4L</a:t>
          </a:r>
        </a:p>
      </dsp:txBody>
      <dsp:txXfrm rot="-5400000">
        <a:off x="1760549" y="2118090"/>
        <a:ext cx="3110802" cy="352362"/>
      </dsp:txXfrm>
    </dsp:sp>
    <dsp:sp modelId="{5776C898-5446-41F9-AB50-6472EDBC184A}">
      <dsp:nvSpPr>
        <dsp:cNvPr id="0" name=""/>
        <dsp:cNvSpPr/>
      </dsp:nvSpPr>
      <dsp:spPr>
        <a:xfrm>
          <a:off x="0" y="2050217"/>
          <a:ext cx="1760549" cy="48810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solidFill>
                <a:schemeClr val="bg1"/>
              </a:solidFill>
            </a:rPr>
            <a:t>Optics</a:t>
          </a:r>
        </a:p>
      </dsp:txBody>
      <dsp:txXfrm>
        <a:off x="23827" y="2074044"/>
        <a:ext cx="1712895" cy="440454"/>
      </dsp:txXfrm>
    </dsp:sp>
    <dsp:sp modelId="{BA1392D3-6B0C-439C-BF9F-5015A177764E}">
      <dsp:nvSpPr>
        <dsp:cNvPr id="0" name=""/>
        <dsp:cNvSpPr/>
      </dsp:nvSpPr>
      <dsp:spPr>
        <a:xfrm rot="5400000">
          <a:off x="3130238" y="1241853"/>
          <a:ext cx="390486" cy="312986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rtl="0">
            <a:lnSpc>
              <a:spcPct val="90000"/>
            </a:lnSpc>
            <a:spcBef>
              <a:spcPct val="0"/>
            </a:spcBef>
            <a:spcAft>
              <a:spcPct val="15000"/>
            </a:spcAft>
            <a:buChar char="•"/>
          </a:pPr>
          <a:r>
            <a:rPr lang="en-US" sz="1000" kern="1200" dirty="0"/>
            <a:t>1PPS in/out, 10Mhz in/out, </a:t>
          </a:r>
          <a:r>
            <a:rPr lang="en-US" sz="1000" kern="1200" dirty="0" err="1"/>
            <a:t>ToD</a:t>
          </a:r>
          <a:r>
            <a:rPr lang="en-US" sz="1000" kern="1200" dirty="0"/>
            <a:t>, Internal GNSS</a:t>
          </a:r>
        </a:p>
        <a:p>
          <a:pPr marL="57150" lvl="1" indent="-57150" algn="l" defTabSz="444500" rtl="0">
            <a:lnSpc>
              <a:spcPct val="90000"/>
            </a:lnSpc>
            <a:spcBef>
              <a:spcPct val="0"/>
            </a:spcBef>
            <a:spcAft>
              <a:spcPct val="15000"/>
            </a:spcAft>
            <a:buChar char="•"/>
          </a:pPr>
          <a:r>
            <a:rPr lang="en-US" sz="1000" kern="1200" dirty="0" err="1"/>
            <a:t>SyncE</a:t>
          </a:r>
          <a:r>
            <a:rPr lang="en-US" sz="1000" kern="1200" dirty="0"/>
            <a:t>, G.8265.1, G.8275.1/2, Class B BC</a:t>
          </a:r>
        </a:p>
      </dsp:txBody>
      <dsp:txXfrm rot="-5400000">
        <a:off x="1760549" y="2630604"/>
        <a:ext cx="3110802" cy="352362"/>
      </dsp:txXfrm>
    </dsp:sp>
    <dsp:sp modelId="{24C0A0FD-C6B1-479F-931D-3DD94F912BF2}">
      <dsp:nvSpPr>
        <dsp:cNvPr id="0" name=""/>
        <dsp:cNvSpPr/>
      </dsp:nvSpPr>
      <dsp:spPr>
        <a:xfrm>
          <a:off x="0" y="2562731"/>
          <a:ext cx="1760549" cy="48810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solidFill>
                <a:schemeClr val="bg1"/>
              </a:solidFill>
            </a:rPr>
            <a:t>Timing</a:t>
          </a:r>
        </a:p>
      </dsp:txBody>
      <dsp:txXfrm>
        <a:off x="23827" y="2586558"/>
        <a:ext cx="1712895" cy="440454"/>
      </dsp:txXfrm>
    </dsp:sp>
    <dsp:sp modelId="{68C818A9-7C69-46B3-83C5-E9028463F0DA}">
      <dsp:nvSpPr>
        <dsp:cNvPr id="0" name=""/>
        <dsp:cNvSpPr/>
      </dsp:nvSpPr>
      <dsp:spPr>
        <a:xfrm rot="5400000">
          <a:off x="3130238" y="1754367"/>
          <a:ext cx="390486" cy="312986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rtl="0">
            <a:lnSpc>
              <a:spcPct val="90000"/>
            </a:lnSpc>
            <a:spcBef>
              <a:spcPct val="0"/>
            </a:spcBef>
            <a:spcAft>
              <a:spcPct val="15000"/>
            </a:spcAft>
            <a:buChar char="•"/>
          </a:pPr>
          <a:r>
            <a:rPr lang="en-US" sz="1000" kern="1200" dirty="0"/>
            <a:t>256 L3VPN, 2K PWs</a:t>
          </a:r>
        </a:p>
      </dsp:txBody>
      <dsp:txXfrm rot="-5400000">
        <a:off x="1760549" y="3143118"/>
        <a:ext cx="3110802" cy="352362"/>
      </dsp:txXfrm>
    </dsp:sp>
    <dsp:sp modelId="{DBD9D043-BD78-4105-ABCD-AD59034829C1}">
      <dsp:nvSpPr>
        <dsp:cNvPr id="0" name=""/>
        <dsp:cNvSpPr/>
      </dsp:nvSpPr>
      <dsp:spPr>
        <a:xfrm>
          <a:off x="0" y="3075245"/>
          <a:ext cx="1760549" cy="48810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solidFill>
                <a:schemeClr val="bg1"/>
              </a:solidFill>
            </a:rPr>
            <a:t>Service Scale</a:t>
          </a:r>
        </a:p>
      </dsp:txBody>
      <dsp:txXfrm>
        <a:off x="23827" y="3099072"/>
        <a:ext cx="1712895" cy="440454"/>
      </dsp:txXfrm>
    </dsp:sp>
    <dsp:sp modelId="{49C2723C-B03B-4629-9710-5551D1B5F32A}">
      <dsp:nvSpPr>
        <dsp:cNvPr id="0" name=""/>
        <dsp:cNvSpPr/>
      </dsp:nvSpPr>
      <dsp:spPr>
        <a:xfrm rot="5400000">
          <a:off x="3130238" y="2266881"/>
          <a:ext cx="390486" cy="312986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rtl="0">
            <a:lnSpc>
              <a:spcPct val="90000"/>
            </a:lnSpc>
            <a:spcBef>
              <a:spcPct val="0"/>
            </a:spcBef>
            <a:spcAft>
              <a:spcPct val="15000"/>
            </a:spcAft>
            <a:buChar char="•"/>
          </a:pPr>
          <a:r>
            <a:rPr lang="en-US" sz="1000" kern="1200" dirty="0"/>
            <a:t>FCS 64 bit IOS XR 6.5.2</a:t>
          </a:r>
        </a:p>
        <a:p>
          <a:pPr marL="57150" lvl="1" indent="-57150" algn="l" defTabSz="444500" rtl="0">
            <a:lnSpc>
              <a:spcPct val="90000"/>
            </a:lnSpc>
            <a:spcBef>
              <a:spcPct val="0"/>
            </a:spcBef>
            <a:spcAft>
              <a:spcPct val="15000"/>
            </a:spcAft>
            <a:buChar char="•"/>
          </a:pPr>
          <a:r>
            <a:rPr lang="en-US" sz="1000" kern="1200" dirty="0"/>
            <a:t>Full SW feature parity with NCS 5500</a:t>
          </a:r>
        </a:p>
      </dsp:txBody>
      <dsp:txXfrm rot="-5400000">
        <a:off x="1760549" y="3655632"/>
        <a:ext cx="3110802" cy="352362"/>
      </dsp:txXfrm>
    </dsp:sp>
    <dsp:sp modelId="{41746B8C-8FEC-420B-97BC-62C11CFA5A17}">
      <dsp:nvSpPr>
        <dsp:cNvPr id="0" name=""/>
        <dsp:cNvSpPr/>
      </dsp:nvSpPr>
      <dsp:spPr>
        <a:xfrm>
          <a:off x="0" y="3587759"/>
          <a:ext cx="1760549" cy="48810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solidFill>
                <a:schemeClr val="bg1"/>
              </a:solidFill>
            </a:rPr>
            <a:t>Software </a:t>
          </a:r>
        </a:p>
      </dsp:txBody>
      <dsp:txXfrm>
        <a:off x="23827" y="3611586"/>
        <a:ext cx="1712895" cy="4404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4F4EDA-E589-4A16-85DB-0C9792B930E7}">
      <dsp:nvSpPr>
        <dsp:cNvPr id="0" name=""/>
        <dsp:cNvSpPr/>
      </dsp:nvSpPr>
      <dsp:spPr>
        <a:xfrm rot="5400000">
          <a:off x="3106889" y="-1282685"/>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1RU, Width 17.5 Inches, Depth 250 mm</a:t>
          </a:r>
          <a:endParaRPr lang="en-US" sz="800" kern="1200" dirty="0">
            <a:solidFill>
              <a:schemeClr val="tx2"/>
            </a:solidFill>
            <a:latin typeface="+mn-lt"/>
          </a:endParaRP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Q-AX 160G BCOM, </a:t>
          </a:r>
          <a:r>
            <a:rPr kumimoji="0" lang="en-US" sz="800" b="0" i="0" u="none" strike="noStrike" kern="1200" cap="none" spc="0" normalizeH="0" baseline="0" noProof="0" dirty="0">
              <a:ln>
                <a:noFill/>
              </a:ln>
              <a:solidFill>
                <a:schemeClr val="tx2"/>
              </a:solidFill>
              <a:effectLst/>
              <a:uLnTx/>
              <a:uFillTx/>
              <a:latin typeface="+mn-lt"/>
              <a:ea typeface="+mn-ea"/>
              <a:cs typeface="Arial" panose="020B0604020202020204" pitchFamily="34" charset="0"/>
            </a:rPr>
            <a:t>Intel </a:t>
          </a:r>
          <a:r>
            <a:rPr kumimoji="0" lang="en-US" sz="800" b="0" i="0" u="none" strike="noStrike" kern="1200" cap="none" spc="0" normalizeH="0" baseline="0" noProof="0" dirty="0" err="1">
              <a:ln>
                <a:noFill/>
              </a:ln>
              <a:solidFill>
                <a:schemeClr val="tx2"/>
              </a:solidFill>
              <a:effectLst/>
              <a:uLnTx/>
              <a:uFillTx/>
              <a:latin typeface="+mn-lt"/>
              <a:ea typeface="+mn-ea"/>
              <a:cs typeface="Arial" panose="020B0604020202020204" pitchFamily="34" charset="0"/>
            </a:rPr>
            <a:t>Denverton</a:t>
          </a:r>
          <a:r>
            <a:rPr kumimoji="0" lang="en-US" sz="800" b="0" i="0" u="none" strike="noStrike" kern="1200" cap="none" spc="0" normalizeH="0" baseline="0" noProof="0" dirty="0">
              <a:ln>
                <a:noFill/>
              </a:ln>
              <a:solidFill>
                <a:schemeClr val="tx2"/>
              </a:solidFill>
              <a:effectLst/>
              <a:uLnTx/>
              <a:uFillTx/>
              <a:latin typeface="+mn-lt"/>
              <a:ea typeface="+mn-ea"/>
              <a:cs typeface="Arial" panose="020B0604020202020204" pitchFamily="34" charset="0"/>
            </a:rPr>
            <a:t> 4C 1.5GHz CPU</a:t>
          </a:r>
          <a:endParaRPr kumimoji="0" lang="en-US" sz="800" b="0" i="0" u="none" strike="noStrike" kern="1200" cap="none" spc="0" normalizeH="0" baseline="0" noProof="0" dirty="0">
            <a:ln>
              <a:noFill/>
            </a:ln>
            <a:solidFill>
              <a:schemeClr val="tx2"/>
            </a:solidFill>
            <a:effectLst/>
            <a:uLnTx/>
            <a:uFillTx/>
            <a:latin typeface="+mn-lt"/>
            <a:ea typeface="+mn-ea"/>
          </a:endParaRP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8 GB DRAM, 32G eMMC (</a:t>
          </a:r>
          <a:r>
            <a:rPr kumimoji="0" lang="en-IN" sz="800" b="0" i="0" u="none" strike="noStrike" kern="1200" cap="none" spc="0" normalizeH="0" baseline="0" noProof="0" dirty="0">
              <a:ln>
                <a:noFill/>
              </a:ln>
              <a:solidFill>
                <a:schemeClr val="tx2"/>
              </a:solidFill>
              <a:effectLst/>
              <a:uLnTx/>
              <a:uFillTx/>
              <a:latin typeface="+mn-lt"/>
              <a:ea typeface="+mn-ea"/>
              <a:cs typeface="+mn-cs"/>
            </a:rPr>
            <a:t>Embedded Multimedia Card</a:t>
          </a:r>
          <a:endParaRPr kumimoji="0" lang="en-US" sz="800" b="0" i="0" u="none" strike="noStrike" kern="1200" cap="none" spc="0" normalizeH="0" baseline="0" noProof="0" dirty="0">
            <a:ln>
              <a:noFill/>
            </a:ln>
            <a:solidFill>
              <a:schemeClr val="tx2"/>
            </a:solidFill>
            <a:effectLst/>
            <a:uLnTx/>
            <a:uFillTx/>
            <a:latin typeface="+mn-lt"/>
            <a:ea typeface="+mn-ea"/>
            <a:cs typeface="+mn-cs"/>
          </a:endParaRPr>
        </a:p>
      </dsp:txBody>
      <dsp:txXfrm rot="-5400000">
        <a:off x="1766000" y="80551"/>
        <a:ext cx="3117207" cy="413080"/>
      </dsp:txXfrm>
    </dsp:sp>
    <dsp:sp modelId="{75BDDF79-3035-42C9-A99F-F5B297561CD6}">
      <dsp:nvSpPr>
        <dsp:cNvPr id="0" name=""/>
        <dsp:cNvSpPr/>
      </dsp:nvSpPr>
      <dsp:spPr>
        <a:xfrm>
          <a:off x="0" y="982"/>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ASIC/CPU/Mem</a:t>
          </a:r>
        </a:p>
      </dsp:txBody>
      <dsp:txXfrm>
        <a:off x="27933" y="28915"/>
        <a:ext cx="1710133" cy="516352"/>
      </dsp:txXfrm>
    </dsp:sp>
    <dsp:sp modelId="{2BDD3F66-042D-48A7-8A12-4EEFBC3BB338}">
      <dsp:nvSpPr>
        <dsp:cNvPr id="0" name=""/>
        <dsp:cNvSpPr/>
      </dsp:nvSpPr>
      <dsp:spPr>
        <a:xfrm rot="5400000">
          <a:off x="3106889" y="-681855"/>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12x1G SFP + 4x1G Cu + 12x10G </a:t>
          </a:r>
          <a:endParaRPr kumimoji="0" lang="en-US" sz="800" b="0" i="0" u="none" strike="noStrike" kern="1200" cap="none" spc="0" normalizeH="0" baseline="0" dirty="0">
            <a:ln>
              <a:noFill/>
            </a:ln>
            <a:solidFill>
              <a:srgbClr val="005073"/>
            </a:solidFill>
            <a:effectLst/>
            <a:uLnTx/>
            <a:uFillTx/>
            <a:latin typeface="CiscoSansTT ExtraLight"/>
            <a:ea typeface="+mn-ea"/>
            <a:cs typeface="+mn-cs"/>
          </a:endParaRPr>
        </a:p>
      </dsp:txBody>
      <dsp:txXfrm rot="-5400000">
        <a:off x="1766000" y="681381"/>
        <a:ext cx="3117207" cy="413080"/>
      </dsp:txXfrm>
    </dsp:sp>
    <dsp:sp modelId="{46830796-4281-4E9F-8DEE-0DD2DF16825B}">
      <dsp:nvSpPr>
        <dsp:cNvPr id="0" name=""/>
        <dsp:cNvSpPr/>
      </dsp:nvSpPr>
      <dsp:spPr>
        <a:xfrm>
          <a:off x="0" y="601812"/>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Port Config</a:t>
          </a:r>
        </a:p>
      </dsp:txBody>
      <dsp:txXfrm>
        <a:off x="27933" y="629745"/>
        <a:ext cx="1710133" cy="516352"/>
      </dsp:txXfrm>
    </dsp:sp>
    <dsp:sp modelId="{ECB50969-2EBA-4889-BC7D-B884D0866E33}">
      <dsp:nvSpPr>
        <dsp:cNvPr id="0" name=""/>
        <dsp:cNvSpPr/>
      </dsp:nvSpPr>
      <dsp:spPr>
        <a:xfrm rot="5400000">
          <a:off x="3106889" y="-81026"/>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PSU conformal coated, With</a:t>
          </a:r>
          <a:endParaRPr lang="en-US" sz="800" kern="1200" dirty="0">
            <a:solidFill>
              <a:schemeClr val="tx2"/>
            </a:solidFill>
            <a:latin typeface="+mn-lt"/>
          </a:endParaRP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Fixed PSU, Dual DC /Single AC PSU</a:t>
          </a: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Fixed Fans, Side to Side airflow</a:t>
          </a:r>
        </a:p>
      </dsp:txBody>
      <dsp:txXfrm rot="-5400000">
        <a:off x="1766000" y="1282210"/>
        <a:ext cx="3117207" cy="413080"/>
      </dsp:txXfrm>
    </dsp:sp>
    <dsp:sp modelId="{101019C5-FDD6-4886-90F5-F669DD820F3A}">
      <dsp:nvSpPr>
        <dsp:cNvPr id="0" name=""/>
        <dsp:cNvSpPr/>
      </dsp:nvSpPr>
      <dsp:spPr>
        <a:xfrm>
          <a:off x="0" y="1202641"/>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PSU/Fan</a:t>
          </a:r>
        </a:p>
      </dsp:txBody>
      <dsp:txXfrm>
        <a:off x="27933" y="1230574"/>
        <a:ext cx="1710133" cy="516352"/>
      </dsp:txXfrm>
    </dsp:sp>
    <dsp:sp modelId="{07C64787-2A16-432E-A9E9-C9678F3B7697}">
      <dsp:nvSpPr>
        <dsp:cNvPr id="0" name=""/>
        <dsp:cNvSpPr/>
      </dsp:nvSpPr>
      <dsp:spPr>
        <a:xfrm rot="5400000">
          <a:off x="3106889" y="519802"/>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err="1">
              <a:solidFill>
                <a:schemeClr val="tx2"/>
              </a:solidFill>
              <a:latin typeface="+mn-lt"/>
            </a:rPr>
            <a:t>iTemp</a:t>
          </a:r>
          <a:r>
            <a:rPr lang="en-US" sz="800" kern="1200" dirty="0">
              <a:solidFill>
                <a:schemeClr val="tx2"/>
              </a:solidFill>
              <a:latin typeface="+mn-lt"/>
            </a:rPr>
            <a:t> -40C to +70C</a:t>
          </a:r>
        </a:p>
        <a:p>
          <a:pPr marL="57150" lvl="1" indent="-57150" algn="l" defTabSz="355600" rtl="0">
            <a:lnSpc>
              <a:spcPct val="90000"/>
            </a:lnSpc>
            <a:spcBef>
              <a:spcPct val="0"/>
            </a:spcBef>
            <a:spcAft>
              <a:spcPct val="15000"/>
            </a:spcAft>
            <a:buChar char="•"/>
          </a:pPr>
          <a:r>
            <a:rPr lang="en-US" sz="800" kern="1200" dirty="0">
              <a:solidFill>
                <a:schemeClr val="tx2"/>
              </a:solidFill>
              <a:latin typeface="+mn-lt"/>
            </a:rPr>
            <a:t>Conformal coated</a:t>
          </a:r>
        </a:p>
      </dsp:txBody>
      <dsp:txXfrm rot="-5400000">
        <a:off x="1766000" y="1883039"/>
        <a:ext cx="3117207" cy="413080"/>
      </dsp:txXfrm>
    </dsp:sp>
    <dsp:sp modelId="{8E64AB20-F105-400F-8F74-08B70BF50322}">
      <dsp:nvSpPr>
        <dsp:cNvPr id="0" name=""/>
        <dsp:cNvSpPr/>
      </dsp:nvSpPr>
      <dsp:spPr>
        <a:xfrm>
          <a:off x="0" y="1803470"/>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Temp Range</a:t>
          </a:r>
        </a:p>
      </dsp:txBody>
      <dsp:txXfrm>
        <a:off x="27933" y="1831403"/>
        <a:ext cx="1710133" cy="516352"/>
      </dsp:txXfrm>
    </dsp:sp>
    <dsp:sp modelId="{8E9693D4-37B8-411A-B81B-9FF4FED4D5AC}">
      <dsp:nvSpPr>
        <dsp:cNvPr id="0" name=""/>
        <dsp:cNvSpPr/>
      </dsp:nvSpPr>
      <dsp:spPr>
        <a:xfrm rot="5400000">
          <a:off x="3106889" y="1120632"/>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1588/</a:t>
          </a:r>
          <a:r>
            <a:rPr kumimoji="0" lang="en-US" sz="800" b="0" i="0" u="none" strike="noStrike" kern="1200" cap="none" spc="0" normalizeH="0" baseline="0" noProof="0" dirty="0" err="1">
              <a:ln>
                <a:noFill/>
              </a:ln>
              <a:solidFill>
                <a:srgbClr val="005073"/>
              </a:solidFill>
              <a:effectLst/>
              <a:uLnTx/>
              <a:uFillTx/>
              <a:latin typeface="CiscoSansTT ExtraLight"/>
              <a:ea typeface="+mn-ea"/>
              <a:cs typeface="+mn-cs"/>
            </a:rPr>
            <a:t>SyncE</a:t>
          </a: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 GNSS, 1PPS, </a:t>
          </a:r>
          <a:r>
            <a:rPr kumimoji="0" lang="en-US" sz="800" b="0" i="0" u="none" strike="noStrike" kern="1200" cap="none" spc="0" normalizeH="0" baseline="0" noProof="0" dirty="0" err="1">
              <a:ln>
                <a:noFill/>
              </a:ln>
              <a:solidFill>
                <a:srgbClr val="005073"/>
              </a:solidFill>
              <a:effectLst/>
              <a:uLnTx/>
              <a:uFillTx/>
              <a:latin typeface="CiscoSansTT ExtraLight"/>
              <a:ea typeface="+mn-ea"/>
              <a:cs typeface="+mn-cs"/>
            </a:rPr>
            <a:t>ToD</a:t>
          </a: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 10MHz, Class-C</a:t>
          </a:r>
          <a:endParaRPr kumimoji="0" lang="en-US" sz="800" b="0" i="0" u="none" strike="noStrike" kern="1200" cap="none" spc="0" normalizeH="0" baseline="0" dirty="0">
            <a:ln>
              <a:noFill/>
            </a:ln>
            <a:solidFill>
              <a:srgbClr val="005073"/>
            </a:solidFill>
            <a:effectLst/>
            <a:uLnTx/>
            <a:uFillTx/>
            <a:latin typeface="CiscoSansTT ExtraLight"/>
            <a:ea typeface="+mn-ea"/>
            <a:cs typeface="+mn-cs"/>
          </a:endParaRPr>
        </a:p>
      </dsp:txBody>
      <dsp:txXfrm rot="-5400000">
        <a:off x="1766000" y="2483869"/>
        <a:ext cx="3117207" cy="413080"/>
      </dsp:txXfrm>
    </dsp:sp>
    <dsp:sp modelId="{5CE93F69-8985-4E79-AB79-F77331DDDF29}">
      <dsp:nvSpPr>
        <dsp:cNvPr id="0" name=""/>
        <dsp:cNvSpPr/>
      </dsp:nvSpPr>
      <dsp:spPr>
        <a:xfrm>
          <a:off x="0" y="2404300"/>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Timing</a:t>
          </a:r>
        </a:p>
      </dsp:txBody>
      <dsp:txXfrm>
        <a:off x="27933" y="2432233"/>
        <a:ext cx="1710133" cy="516352"/>
      </dsp:txXfrm>
    </dsp:sp>
    <dsp:sp modelId="{BA1392D3-6B0C-439C-BF9F-5015A177764E}">
      <dsp:nvSpPr>
        <dsp:cNvPr id="0" name=""/>
        <dsp:cNvSpPr/>
      </dsp:nvSpPr>
      <dsp:spPr>
        <a:xfrm rot="5400000">
          <a:off x="3106889" y="1721461"/>
          <a:ext cx="457774" cy="313955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rgbClr val="005073"/>
              </a:solidFill>
              <a:effectLst/>
              <a:uLnTx/>
              <a:uFillTx/>
              <a:latin typeface="CiscoSansTT ExtraLight"/>
              <a:ea typeface="+mn-ea"/>
              <a:cs typeface="+mn-cs"/>
            </a:rPr>
            <a:t>FCS  IOS XR 7</a:t>
          </a: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rgbClr val="005073"/>
              </a:solidFill>
              <a:effectLst/>
              <a:uLnTx/>
              <a:uFillTx/>
              <a:latin typeface="CiscoSansTT ExtraLight"/>
              <a:ea typeface="+mn-ea"/>
              <a:cs typeface="+mn-cs"/>
            </a:rPr>
            <a:t>Feature parity with NCS 5500 </a:t>
          </a:r>
          <a:r>
            <a:rPr kumimoji="0" lang="en-US" sz="800" b="0" i="0" u="none" strike="noStrike" kern="1200" cap="none" spc="0" normalizeH="0" baseline="0" dirty="0" err="1">
              <a:ln>
                <a:noFill/>
              </a:ln>
              <a:solidFill>
                <a:srgbClr val="005073"/>
              </a:solidFill>
              <a:effectLst/>
              <a:uLnTx/>
              <a:uFillTx/>
              <a:latin typeface="CiscoSansTT ExtraLight"/>
              <a:ea typeface="+mn-ea"/>
              <a:cs typeface="+mn-cs"/>
            </a:rPr>
            <a:t>upto</a:t>
          </a:r>
          <a:r>
            <a:rPr kumimoji="0" lang="en-US" sz="800" b="0" i="0" u="none" strike="noStrike" kern="1200" cap="none" spc="0" normalizeH="0" baseline="0" dirty="0">
              <a:ln>
                <a:noFill/>
              </a:ln>
              <a:solidFill>
                <a:srgbClr val="005073"/>
              </a:solidFill>
              <a:effectLst/>
              <a:uLnTx/>
              <a:uFillTx/>
              <a:latin typeface="CiscoSansTT ExtraLight"/>
              <a:ea typeface="+mn-ea"/>
              <a:cs typeface="+mn-cs"/>
            </a:rPr>
            <a:t> 6.6.25 release during FCS</a:t>
          </a:r>
        </a:p>
      </dsp:txBody>
      <dsp:txXfrm rot="-5400000">
        <a:off x="1766000" y="3084698"/>
        <a:ext cx="3117207" cy="413080"/>
      </dsp:txXfrm>
    </dsp:sp>
    <dsp:sp modelId="{24C0A0FD-C6B1-479F-931D-3DD94F912BF2}">
      <dsp:nvSpPr>
        <dsp:cNvPr id="0" name=""/>
        <dsp:cNvSpPr/>
      </dsp:nvSpPr>
      <dsp:spPr>
        <a:xfrm>
          <a:off x="0" y="3005129"/>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Software</a:t>
          </a:r>
        </a:p>
      </dsp:txBody>
      <dsp:txXfrm>
        <a:off x="27933" y="3033062"/>
        <a:ext cx="1710133" cy="5163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4F4EDA-E589-4A16-85DB-0C9792B930E7}">
      <dsp:nvSpPr>
        <dsp:cNvPr id="0" name=""/>
        <dsp:cNvSpPr/>
      </dsp:nvSpPr>
      <dsp:spPr>
        <a:xfrm rot="5400000">
          <a:off x="3106889" y="-1282685"/>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rgbClr val="005073"/>
              </a:solidFill>
              <a:effectLst/>
              <a:uLnTx/>
              <a:uFillTx/>
              <a:latin typeface="CiscoSansTT ExtraLight"/>
              <a:ea typeface="+mn-ea"/>
              <a:cs typeface="+mn-cs"/>
            </a:rPr>
            <a:t>1 RU, Width 17.5 Inches, Depth 280 mm</a:t>
          </a:r>
          <a:endParaRPr kumimoji="0" lang="en-US" sz="800" b="0" i="0" u="none" strike="noStrike" kern="1200" cap="none" spc="0" normalizeH="0" baseline="0" dirty="0">
            <a:ln>
              <a:noFill/>
            </a:ln>
            <a:solidFill>
              <a:srgbClr val="005073"/>
            </a:solidFill>
            <a:effectLst/>
            <a:uLnTx/>
            <a:uFillTx/>
            <a:latin typeface="CiscoSansTT ExtraLight"/>
            <a:ea typeface="+mn-ea"/>
            <a:cs typeface="+mn-cs"/>
          </a:endParaRP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rgbClr val="005073"/>
              </a:solidFill>
              <a:effectLst/>
              <a:uLnTx/>
              <a:uFillTx/>
              <a:latin typeface="CiscoSansTT ExtraLight"/>
              <a:ea typeface="+mn-ea"/>
              <a:cs typeface="+mn-cs"/>
            </a:rPr>
            <a:t>Q-AX 300G BCOM, Intel </a:t>
          </a:r>
          <a:r>
            <a:rPr kumimoji="0" lang="en-US" sz="800" b="0" i="0" u="none" strike="noStrike" kern="1200" cap="none" spc="0" normalizeH="0" baseline="0" dirty="0" err="1">
              <a:ln>
                <a:noFill/>
              </a:ln>
              <a:solidFill>
                <a:srgbClr val="005073"/>
              </a:solidFill>
              <a:effectLst/>
              <a:uLnTx/>
              <a:uFillTx/>
              <a:latin typeface="CiscoSansTT ExtraLight"/>
              <a:ea typeface="+mn-ea"/>
              <a:cs typeface="+mn-cs"/>
            </a:rPr>
            <a:t>Denverton</a:t>
          </a:r>
          <a:r>
            <a:rPr kumimoji="0" lang="en-US" sz="800" b="0" i="0" u="none" strike="noStrike" kern="1200" cap="none" spc="0" normalizeH="0" baseline="0" dirty="0">
              <a:ln>
                <a:noFill/>
              </a:ln>
              <a:solidFill>
                <a:srgbClr val="005073"/>
              </a:solidFill>
              <a:effectLst/>
              <a:uLnTx/>
              <a:uFillTx/>
              <a:latin typeface="CiscoSansTT ExtraLight"/>
              <a:ea typeface="+mn-ea"/>
              <a:cs typeface="+mn-cs"/>
            </a:rPr>
            <a:t> 8C 1.7GHz CPU</a:t>
          </a: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rgbClr val="005073"/>
              </a:solidFill>
              <a:effectLst/>
              <a:uLnTx/>
              <a:uFillTx/>
              <a:latin typeface="CiscoSansTT ExtraLight"/>
              <a:ea typeface="+mn-ea"/>
              <a:cs typeface="+mn-cs"/>
            </a:rPr>
            <a:t>8 GB DRAM, 32G eMMC (</a:t>
          </a:r>
          <a:r>
            <a:rPr kumimoji="0" lang="en-IN" sz="800" b="0" i="0" u="none" strike="noStrike" kern="1200" cap="none" spc="0" normalizeH="0" baseline="0" dirty="0">
              <a:ln>
                <a:noFill/>
              </a:ln>
              <a:solidFill>
                <a:srgbClr val="005073"/>
              </a:solidFill>
              <a:effectLst/>
              <a:uLnTx/>
              <a:uFillTx/>
              <a:latin typeface="CiscoSansTT ExtraLight"/>
              <a:ea typeface="+mn-ea"/>
              <a:cs typeface="+mn-cs"/>
            </a:rPr>
            <a:t>Embedded Multimedia Card</a:t>
          </a:r>
          <a:endParaRPr kumimoji="0" lang="en-US" sz="800" b="0" i="0" u="none" strike="noStrike" kern="1200" cap="none" spc="0" normalizeH="0" baseline="0" dirty="0">
            <a:ln>
              <a:noFill/>
            </a:ln>
            <a:solidFill>
              <a:srgbClr val="005073"/>
            </a:solidFill>
            <a:effectLst/>
            <a:uLnTx/>
            <a:uFillTx/>
            <a:latin typeface="CiscoSansTT ExtraLight"/>
            <a:ea typeface="+mn-ea"/>
            <a:cs typeface="+mn-cs"/>
          </a:endParaRPr>
        </a:p>
      </dsp:txBody>
      <dsp:txXfrm rot="-5400000">
        <a:off x="1766000" y="80551"/>
        <a:ext cx="3117207" cy="413080"/>
      </dsp:txXfrm>
    </dsp:sp>
    <dsp:sp modelId="{75BDDF79-3035-42C9-A99F-F5B297561CD6}">
      <dsp:nvSpPr>
        <dsp:cNvPr id="0" name=""/>
        <dsp:cNvSpPr/>
      </dsp:nvSpPr>
      <dsp:spPr>
        <a:xfrm>
          <a:off x="0" y="982"/>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ASIC/CPU/Mem</a:t>
          </a:r>
        </a:p>
      </dsp:txBody>
      <dsp:txXfrm>
        <a:off x="27933" y="28915"/>
        <a:ext cx="1710133" cy="516352"/>
      </dsp:txXfrm>
    </dsp:sp>
    <dsp:sp modelId="{2BDD3F66-042D-48A7-8A12-4EEFBC3BB338}">
      <dsp:nvSpPr>
        <dsp:cNvPr id="0" name=""/>
        <dsp:cNvSpPr/>
      </dsp:nvSpPr>
      <dsp:spPr>
        <a:xfrm rot="5400000">
          <a:off x="3106889" y="-681855"/>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CA" sz="800" kern="1200" dirty="0">
              <a:solidFill>
                <a:schemeClr val="bg1"/>
              </a:solidFill>
              <a:latin typeface="+mn-lt"/>
            </a:rPr>
            <a:t>16x10G+4x1G Cu+8x25G+2x100G</a:t>
          </a:r>
          <a:endParaRPr lang="en-US" sz="800" kern="1200" dirty="0">
            <a:solidFill>
              <a:schemeClr val="tx2"/>
            </a:solidFill>
            <a:latin typeface="+mn-lt"/>
            <a:ea typeface="+mn-ea"/>
            <a:cs typeface="+mn-cs"/>
          </a:endParaRPr>
        </a:p>
      </dsp:txBody>
      <dsp:txXfrm rot="-5400000">
        <a:off x="1766000" y="681381"/>
        <a:ext cx="3117207" cy="413080"/>
      </dsp:txXfrm>
    </dsp:sp>
    <dsp:sp modelId="{46830796-4281-4E9F-8DEE-0DD2DF16825B}">
      <dsp:nvSpPr>
        <dsp:cNvPr id="0" name=""/>
        <dsp:cNvSpPr/>
      </dsp:nvSpPr>
      <dsp:spPr>
        <a:xfrm>
          <a:off x="0" y="601812"/>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Port Config</a:t>
          </a:r>
        </a:p>
      </dsp:txBody>
      <dsp:txXfrm>
        <a:off x="27933" y="629745"/>
        <a:ext cx="1710133" cy="516352"/>
      </dsp:txXfrm>
    </dsp:sp>
    <dsp:sp modelId="{ECB50969-2EBA-4889-BC7D-B884D0866E33}">
      <dsp:nvSpPr>
        <dsp:cNvPr id="0" name=""/>
        <dsp:cNvSpPr/>
      </dsp:nvSpPr>
      <dsp:spPr>
        <a:xfrm rot="5400000">
          <a:off x="3106889" y="-81026"/>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None/>
          </a:pPr>
          <a:endParaRPr lang="en-US" sz="800" kern="1200" dirty="0">
            <a:solidFill>
              <a:schemeClr val="tx2"/>
            </a:solidFill>
            <a:latin typeface="CiscoSansTT Light"/>
            <a:ea typeface="+mn-ea"/>
            <a:cs typeface="+mn-cs"/>
          </a:endParaRPr>
        </a:p>
        <a:p>
          <a:pPr marL="57150" lvl="1" indent="-57150" algn="l" defTabSz="355600" rtl="0">
            <a:lnSpc>
              <a:spcPct val="90000"/>
            </a:lnSpc>
            <a:spcBef>
              <a:spcPct val="0"/>
            </a:spcBef>
            <a:spcAft>
              <a:spcPct val="15000"/>
            </a:spcAft>
            <a:buClrTx/>
            <a:buSzTx/>
            <a:buFont typeface="Arial" panose="020B0604020202020204" pitchFamily="34" charset="0"/>
            <a:buChar char="•"/>
          </a:pPr>
          <a:r>
            <a:rPr lang="en-US" sz="800" kern="1200" noProof="0" dirty="0">
              <a:solidFill>
                <a:srgbClr val="005073"/>
              </a:solidFill>
              <a:latin typeface="CiscoSansTT ExtraLight"/>
              <a:ea typeface="+mn-ea"/>
              <a:cs typeface="+mn-cs"/>
            </a:rPr>
            <a:t>Fixed PSU, Dual DC /Single AC PSU</a:t>
          </a:r>
          <a:endParaRPr lang="en-US" sz="800" kern="1200" dirty="0">
            <a:solidFill>
              <a:srgbClr val="005073"/>
            </a:solidFill>
            <a:latin typeface="CiscoSansTT ExtraLight"/>
            <a:ea typeface="+mn-ea"/>
            <a:cs typeface="+mn-cs"/>
          </a:endParaRPr>
        </a:p>
        <a:p>
          <a:pPr marL="57150" lvl="1" indent="-57150" algn="l" defTabSz="355600" rtl="0">
            <a:lnSpc>
              <a:spcPct val="90000"/>
            </a:lnSpc>
            <a:spcBef>
              <a:spcPct val="0"/>
            </a:spcBef>
            <a:spcAft>
              <a:spcPct val="15000"/>
            </a:spcAft>
            <a:buFont typeface="Arial" panose="020B0604020202020204" pitchFamily="34" charset="0"/>
            <a:buChar char="•"/>
          </a:pPr>
          <a:r>
            <a:rPr lang="en-US" sz="800" kern="1200" dirty="0">
              <a:solidFill>
                <a:srgbClr val="005073"/>
              </a:solidFill>
              <a:latin typeface="CiscoSansTT ExtraLight"/>
              <a:ea typeface="+mn-ea"/>
              <a:cs typeface="+mn-cs"/>
            </a:rPr>
            <a:t>Modular Fan Tray, Side to Side airflow</a:t>
          </a:r>
        </a:p>
      </dsp:txBody>
      <dsp:txXfrm rot="-5400000">
        <a:off x="1766000" y="1282210"/>
        <a:ext cx="3117207" cy="413080"/>
      </dsp:txXfrm>
    </dsp:sp>
    <dsp:sp modelId="{101019C5-FDD6-4886-90F5-F669DD820F3A}">
      <dsp:nvSpPr>
        <dsp:cNvPr id="0" name=""/>
        <dsp:cNvSpPr/>
      </dsp:nvSpPr>
      <dsp:spPr>
        <a:xfrm>
          <a:off x="0" y="1202641"/>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PSU/Fan</a:t>
          </a:r>
        </a:p>
      </dsp:txBody>
      <dsp:txXfrm>
        <a:off x="27933" y="1230574"/>
        <a:ext cx="1710133" cy="516352"/>
      </dsp:txXfrm>
    </dsp:sp>
    <dsp:sp modelId="{07C64787-2A16-432E-A9E9-C9678F3B7697}">
      <dsp:nvSpPr>
        <dsp:cNvPr id="0" name=""/>
        <dsp:cNvSpPr/>
      </dsp:nvSpPr>
      <dsp:spPr>
        <a:xfrm rot="5400000">
          <a:off x="3106889" y="519802"/>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err="1">
              <a:solidFill>
                <a:schemeClr val="tx2"/>
              </a:solidFill>
              <a:latin typeface="+mn-lt"/>
            </a:rPr>
            <a:t>iTemp</a:t>
          </a:r>
          <a:r>
            <a:rPr lang="en-US" sz="800" kern="1200" dirty="0">
              <a:solidFill>
                <a:schemeClr val="tx2"/>
              </a:solidFill>
              <a:latin typeface="+mn-lt"/>
            </a:rPr>
            <a:t> -40C to +70C</a:t>
          </a:r>
        </a:p>
        <a:p>
          <a:pPr marL="57150" lvl="1" indent="-57150" algn="l" defTabSz="355600" rtl="0">
            <a:lnSpc>
              <a:spcPct val="90000"/>
            </a:lnSpc>
            <a:spcBef>
              <a:spcPct val="0"/>
            </a:spcBef>
            <a:spcAft>
              <a:spcPct val="15000"/>
            </a:spcAft>
            <a:buChar char="•"/>
          </a:pPr>
          <a:r>
            <a:rPr lang="en-US" sz="800" kern="1200" dirty="0">
              <a:solidFill>
                <a:schemeClr val="tx2"/>
              </a:solidFill>
              <a:latin typeface="+mn-lt"/>
            </a:rPr>
            <a:t>Conformal coated</a:t>
          </a:r>
        </a:p>
      </dsp:txBody>
      <dsp:txXfrm rot="-5400000">
        <a:off x="1766000" y="1883039"/>
        <a:ext cx="3117207" cy="413080"/>
      </dsp:txXfrm>
    </dsp:sp>
    <dsp:sp modelId="{8E64AB20-F105-400F-8F74-08B70BF50322}">
      <dsp:nvSpPr>
        <dsp:cNvPr id="0" name=""/>
        <dsp:cNvSpPr/>
      </dsp:nvSpPr>
      <dsp:spPr>
        <a:xfrm>
          <a:off x="0" y="1803470"/>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Temp Range</a:t>
          </a:r>
        </a:p>
      </dsp:txBody>
      <dsp:txXfrm>
        <a:off x="27933" y="1831403"/>
        <a:ext cx="1710133" cy="516352"/>
      </dsp:txXfrm>
    </dsp:sp>
    <dsp:sp modelId="{8E9693D4-37B8-411A-B81B-9FF4FED4D5AC}">
      <dsp:nvSpPr>
        <dsp:cNvPr id="0" name=""/>
        <dsp:cNvSpPr/>
      </dsp:nvSpPr>
      <dsp:spPr>
        <a:xfrm rot="5400000">
          <a:off x="3106889" y="1120632"/>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noProof="0" dirty="0">
              <a:solidFill>
                <a:srgbClr val="005073"/>
              </a:solidFill>
              <a:latin typeface="CiscoSansTT Light"/>
              <a:ea typeface="+mn-ea"/>
              <a:cs typeface="+mn-cs"/>
            </a:rPr>
            <a:t>1588/</a:t>
          </a:r>
          <a:r>
            <a:rPr lang="en-US" sz="800" kern="1200" noProof="0" dirty="0" err="1">
              <a:solidFill>
                <a:srgbClr val="005073"/>
              </a:solidFill>
              <a:latin typeface="CiscoSansTT Light"/>
              <a:ea typeface="+mn-ea"/>
              <a:cs typeface="+mn-cs"/>
            </a:rPr>
            <a:t>SyncE</a:t>
          </a:r>
          <a:r>
            <a:rPr lang="en-US" sz="800" kern="1200" noProof="0" dirty="0">
              <a:solidFill>
                <a:srgbClr val="005073"/>
              </a:solidFill>
              <a:latin typeface="CiscoSansTT Light"/>
              <a:ea typeface="+mn-ea"/>
              <a:cs typeface="+mn-cs"/>
            </a:rPr>
            <a:t>, GNSS, 1PPS, </a:t>
          </a:r>
          <a:r>
            <a:rPr lang="en-US" sz="800" kern="1200" noProof="0" dirty="0" err="1">
              <a:solidFill>
                <a:srgbClr val="005073"/>
              </a:solidFill>
              <a:latin typeface="CiscoSansTT Light"/>
              <a:ea typeface="+mn-ea"/>
              <a:cs typeface="+mn-cs"/>
            </a:rPr>
            <a:t>ToD</a:t>
          </a:r>
          <a:r>
            <a:rPr lang="en-US" sz="800" kern="1200" noProof="0" dirty="0">
              <a:solidFill>
                <a:srgbClr val="005073"/>
              </a:solidFill>
              <a:latin typeface="CiscoSansTT Light"/>
              <a:ea typeface="+mn-ea"/>
              <a:cs typeface="+mn-cs"/>
            </a:rPr>
            <a:t>, 10MHz, Class-C</a:t>
          </a:r>
          <a:endParaRPr lang="en-US" sz="800" kern="1200" dirty="0">
            <a:solidFill>
              <a:srgbClr val="005073"/>
            </a:solidFill>
            <a:latin typeface="CiscoSansTT Light"/>
            <a:ea typeface="+mn-ea"/>
            <a:cs typeface="+mn-cs"/>
          </a:endParaRPr>
        </a:p>
      </dsp:txBody>
      <dsp:txXfrm rot="-5400000">
        <a:off x="1766000" y="2483869"/>
        <a:ext cx="3117207" cy="413080"/>
      </dsp:txXfrm>
    </dsp:sp>
    <dsp:sp modelId="{5CE93F69-8985-4E79-AB79-F77331DDDF29}">
      <dsp:nvSpPr>
        <dsp:cNvPr id="0" name=""/>
        <dsp:cNvSpPr/>
      </dsp:nvSpPr>
      <dsp:spPr>
        <a:xfrm>
          <a:off x="0" y="2404300"/>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Timing</a:t>
          </a:r>
        </a:p>
      </dsp:txBody>
      <dsp:txXfrm>
        <a:off x="27933" y="2432233"/>
        <a:ext cx="1710133" cy="516352"/>
      </dsp:txXfrm>
    </dsp:sp>
    <dsp:sp modelId="{BA1392D3-6B0C-439C-BF9F-5015A177764E}">
      <dsp:nvSpPr>
        <dsp:cNvPr id="0" name=""/>
        <dsp:cNvSpPr/>
      </dsp:nvSpPr>
      <dsp:spPr>
        <a:xfrm rot="5400000">
          <a:off x="3106889" y="1721461"/>
          <a:ext cx="457774" cy="313955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a:solidFill>
                <a:schemeClr val="tx2"/>
              </a:solidFill>
            </a:rPr>
            <a:t>FCS  IOS XR 7.0.1</a:t>
          </a:r>
        </a:p>
      </dsp:txBody>
      <dsp:txXfrm rot="-5400000">
        <a:off x="1766000" y="3084698"/>
        <a:ext cx="3117207" cy="413080"/>
      </dsp:txXfrm>
    </dsp:sp>
    <dsp:sp modelId="{24C0A0FD-C6B1-479F-931D-3DD94F912BF2}">
      <dsp:nvSpPr>
        <dsp:cNvPr id="0" name=""/>
        <dsp:cNvSpPr/>
      </dsp:nvSpPr>
      <dsp:spPr>
        <a:xfrm>
          <a:off x="0" y="3005129"/>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Software</a:t>
          </a:r>
        </a:p>
      </dsp:txBody>
      <dsp:txXfrm>
        <a:off x="27933" y="3033062"/>
        <a:ext cx="1710133" cy="51635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4F4EDA-E589-4A16-85DB-0C9792B930E7}">
      <dsp:nvSpPr>
        <dsp:cNvPr id="0" name=""/>
        <dsp:cNvSpPr/>
      </dsp:nvSpPr>
      <dsp:spPr>
        <a:xfrm rot="5400000">
          <a:off x="3106889" y="-1282685"/>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kumimoji="0" lang="en-US" sz="800" b="0" i="0" u="none" strike="noStrike" kern="1200" cap="none" spc="0" normalizeH="0" baseline="0" noProof="0" dirty="0">
              <a:ln>
                <a:noFill/>
              </a:ln>
              <a:solidFill>
                <a:schemeClr val="tx2"/>
              </a:solidFill>
              <a:effectLst/>
              <a:uLnTx/>
              <a:uFillTx/>
              <a:latin typeface="+mn-lt"/>
              <a:ea typeface="+mn-ea"/>
              <a:cs typeface="+mn-cs"/>
            </a:rPr>
            <a:t>1 RU, Width 17.5 Inches, Depth 280 mm</a:t>
          </a:r>
          <a:endParaRPr kumimoji="0" lang="en-US" sz="800" b="0" i="0" u="none" strike="noStrike" kern="1200" cap="none" spc="0" normalizeH="0" baseline="0" dirty="0">
            <a:ln>
              <a:noFill/>
            </a:ln>
            <a:solidFill>
              <a:schemeClr val="tx2"/>
            </a:solidFill>
            <a:effectLst/>
            <a:uLnTx/>
            <a:uFillTx/>
            <a:latin typeface="+mn-lt"/>
            <a:ea typeface="+mn-ea"/>
            <a:cs typeface="+mn-cs"/>
          </a:endParaRP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chemeClr val="tx2"/>
              </a:solidFill>
              <a:effectLst/>
              <a:uLnTx/>
              <a:uFillTx/>
              <a:latin typeface="+mn-lt"/>
              <a:ea typeface="+mn-ea"/>
              <a:cs typeface="+mn-cs"/>
            </a:rPr>
            <a:t>Q-AX 300G BCOM, Intel </a:t>
          </a:r>
          <a:r>
            <a:rPr kumimoji="0" lang="en-US" sz="800" b="0" i="0" u="none" strike="noStrike" kern="1200" cap="none" spc="0" normalizeH="0" baseline="0" dirty="0" err="1">
              <a:ln>
                <a:noFill/>
              </a:ln>
              <a:solidFill>
                <a:schemeClr val="tx2"/>
              </a:solidFill>
              <a:effectLst/>
              <a:uLnTx/>
              <a:uFillTx/>
              <a:latin typeface="+mn-lt"/>
              <a:ea typeface="+mn-ea"/>
              <a:cs typeface="+mn-cs"/>
            </a:rPr>
            <a:t>Denverton</a:t>
          </a:r>
          <a:r>
            <a:rPr kumimoji="0" lang="en-US" sz="800" b="0" i="0" u="none" strike="noStrike" kern="1200" cap="none" spc="0" normalizeH="0" baseline="0" dirty="0">
              <a:ln>
                <a:noFill/>
              </a:ln>
              <a:solidFill>
                <a:schemeClr val="tx2"/>
              </a:solidFill>
              <a:effectLst/>
              <a:uLnTx/>
              <a:uFillTx/>
              <a:latin typeface="+mn-lt"/>
              <a:ea typeface="+mn-ea"/>
              <a:cs typeface="+mn-cs"/>
            </a:rPr>
            <a:t> 8C 1.7GHz CPU</a:t>
          </a:r>
        </a:p>
        <a:p>
          <a:pPr marL="57150" lvl="1" indent="-57150" algn="l" defTabSz="355600" rtl="0">
            <a:lnSpc>
              <a:spcPct val="90000"/>
            </a:lnSpc>
            <a:spcBef>
              <a:spcPct val="0"/>
            </a:spcBef>
            <a:spcAft>
              <a:spcPct val="15000"/>
            </a:spcAft>
            <a:buChar char="•"/>
          </a:pPr>
          <a:r>
            <a:rPr kumimoji="0" lang="en-US" sz="800" b="0" i="0" u="none" strike="noStrike" kern="1200" cap="none" spc="0" normalizeH="0" baseline="0" dirty="0">
              <a:ln>
                <a:noFill/>
              </a:ln>
              <a:solidFill>
                <a:schemeClr val="tx2"/>
              </a:solidFill>
              <a:effectLst/>
              <a:uLnTx/>
              <a:uFillTx/>
              <a:latin typeface="+mn-lt"/>
              <a:ea typeface="+mn-ea"/>
              <a:cs typeface="+mn-cs"/>
            </a:rPr>
            <a:t>8 GB DRAM, 32G eMMC (</a:t>
          </a:r>
          <a:r>
            <a:rPr kumimoji="0" lang="en-IN" sz="800" b="0" i="0" u="none" strike="noStrike" kern="1200" cap="none" spc="0" normalizeH="0" baseline="0" dirty="0">
              <a:ln>
                <a:noFill/>
              </a:ln>
              <a:solidFill>
                <a:schemeClr val="tx2"/>
              </a:solidFill>
              <a:effectLst/>
              <a:uLnTx/>
              <a:uFillTx/>
              <a:latin typeface="+mn-lt"/>
              <a:ea typeface="+mn-ea"/>
              <a:cs typeface="+mn-cs"/>
            </a:rPr>
            <a:t>Embedded Multimedia Card</a:t>
          </a:r>
          <a:endParaRPr kumimoji="0" lang="en-US" sz="800" b="0" i="0" u="none" strike="noStrike" kern="1200" cap="none" spc="0" normalizeH="0" baseline="0" dirty="0">
            <a:ln>
              <a:noFill/>
            </a:ln>
            <a:solidFill>
              <a:schemeClr val="tx2"/>
            </a:solidFill>
            <a:effectLst/>
            <a:uLnTx/>
            <a:uFillTx/>
            <a:latin typeface="+mn-lt"/>
            <a:ea typeface="+mn-ea"/>
            <a:cs typeface="+mn-cs"/>
          </a:endParaRPr>
        </a:p>
      </dsp:txBody>
      <dsp:txXfrm rot="-5400000">
        <a:off x="1766000" y="80551"/>
        <a:ext cx="3117207" cy="413080"/>
      </dsp:txXfrm>
    </dsp:sp>
    <dsp:sp modelId="{75BDDF79-3035-42C9-A99F-F5B297561CD6}">
      <dsp:nvSpPr>
        <dsp:cNvPr id="0" name=""/>
        <dsp:cNvSpPr/>
      </dsp:nvSpPr>
      <dsp:spPr>
        <a:xfrm>
          <a:off x="0" y="982"/>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ASIC/CPU/Mem</a:t>
          </a:r>
        </a:p>
      </dsp:txBody>
      <dsp:txXfrm>
        <a:off x="27933" y="28915"/>
        <a:ext cx="1710133" cy="516352"/>
      </dsp:txXfrm>
    </dsp:sp>
    <dsp:sp modelId="{2BDD3F66-042D-48A7-8A12-4EEFBC3BB338}">
      <dsp:nvSpPr>
        <dsp:cNvPr id="0" name=""/>
        <dsp:cNvSpPr/>
      </dsp:nvSpPr>
      <dsp:spPr>
        <a:xfrm rot="5400000">
          <a:off x="3106889" y="-681855"/>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a:solidFill>
                <a:schemeClr val="tx2"/>
              </a:solidFill>
              <a:latin typeface="+mn-lt"/>
            </a:rPr>
            <a:t>28x10G + 4x100G</a:t>
          </a:r>
          <a:endParaRPr lang="en-US" sz="800" kern="1200" dirty="0">
            <a:solidFill>
              <a:schemeClr val="tx2"/>
            </a:solidFill>
            <a:latin typeface="+mn-lt"/>
            <a:ea typeface="+mn-ea"/>
            <a:cs typeface="+mn-cs"/>
          </a:endParaRPr>
        </a:p>
      </dsp:txBody>
      <dsp:txXfrm rot="-5400000">
        <a:off x="1766000" y="681381"/>
        <a:ext cx="3117207" cy="413080"/>
      </dsp:txXfrm>
    </dsp:sp>
    <dsp:sp modelId="{46830796-4281-4E9F-8DEE-0DD2DF16825B}">
      <dsp:nvSpPr>
        <dsp:cNvPr id="0" name=""/>
        <dsp:cNvSpPr/>
      </dsp:nvSpPr>
      <dsp:spPr>
        <a:xfrm>
          <a:off x="0" y="601812"/>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Port Config</a:t>
          </a:r>
        </a:p>
      </dsp:txBody>
      <dsp:txXfrm>
        <a:off x="27933" y="629745"/>
        <a:ext cx="1710133" cy="516352"/>
      </dsp:txXfrm>
    </dsp:sp>
    <dsp:sp modelId="{ECB50969-2EBA-4889-BC7D-B884D0866E33}">
      <dsp:nvSpPr>
        <dsp:cNvPr id="0" name=""/>
        <dsp:cNvSpPr/>
      </dsp:nvSpPr>
      <dsp:spPr>
        <a:xfrm rot="5400000">
          <a:off x="3106889" y="-81026"/>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Font typeface="Arial" panose="020B0604020202020204" pitchFamily="34" charset="0"/>
            <a:buChar char="•"/>
          </a:pPr>
          <a:r>
            <a:rPr lang="en-US" sz="800" kern="1200" dirty="0">
              <a:solidFill>
                <a:schemeClr val="tx2"/>
              </a:solidFill>
              <a:latin typeface="+mn-lt"/>
            </a:rPr>
            <a:t>Fixed PSU, Dual DC /Single AC PSU</a:t>
          </a:r>
          <a:endParaRPr lang="en-US" sz="800" kern="1200" dirty="0">
            <a:solidFill>
              <a:schemeClr val="tx2"/>
            </a:solidFill>
            <a:latin typeface="+mn-lt"/>
            <a:ea typeface="+mn-ea"/>
            <a:cs typeface="+mn-cs"/>
          </a:endParaRPr>
        </a:p>
        <a:p>
          <a:pPr marL="57150" lvl="1" indent="-57150" algn="l" defTabSz="355600">
            <a:lnSpc>
              <a:spcPct val="90000"/>
            </a:lnSpc>
            <a:spcBef>
              <a:spcPct val="0"/>
            </a:spcBef>
            <a:spcAft>
              <a:spcPct val="15000"/>
            </a:spcAft>
            <a:buClrTx/>
            <a:buSzTx/>
            <a:buFont typeface="Arial" panose="020B0604020202020204" pitchFamily="34" charset="0"/>
            <a:buChar char="•"/>
          </a:pPr>
          <a:r>
            <a:rPr lang="en-US" sz="800" kern="1200" dirty="0">
              <a:solidFill>
                <a:schemeClr val="tx2"/>
              </a:solidFill>
              <a:latin typeface="+mn-lt"/>
              <a:ea typeface="+mn-ea"/>
              <a:cs typeface="+mn-cs"/>
            </a:rPr>
            <a:t>Fixed Fans, Front to back airflow</a:t>
          </a:r>
        </a:p>
      </dsp:txBody>
      <dsp:txXfrm rot="-5400000">
        <a:off x="1766000" y="1282210"/>
        <a:ext cx="3117207" cy="413080"/>
      </dsp:txXfrm>
    </dsp:sp>
    <dsp:sp modelId="{101019C5-FDD6-4886-90F5-F669DD820F3A}">
      <dsp:nvSpPr>
        <dsp:cNvPr id="0" name=""/>
        <dsp:cNvSpPr/>
      </dsp:nvSpPr>
      <dsp:spPr>
        <a:xfrm>
          <a:off x="0" y="1202641"/>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PSU/Fan</a:t>
          </a:r>
        </a:p>
      </dsp:txBody>
      <dsp:txXfrm>
        <a:off x="27933" y="1230574"/>
        <a:ext cx="1710133" cy="516352"/>
      </dsp:txXfrm>
    </dsp:sp>
    <dsp:sp modelId="{07C64787-2A16-432E-A9E9-C9678F3B7697}">
      <dsp:nvSpPr>
        <dsp:cNvPr id="0" name=""/>
        <dsp:cNvSpPr/>
      </dsp:nvSpPr>
      <dsp:spPr>
        <a:xfrm rot="5400000">
          <a:off x="3106889" y="519802"/>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a:solidFill>
                <a:schemeClr val="tx2"/>
              </a:solidFill>
              <a:latin typeface="+mn-lt"/>
            </a:rPr>
            <a:t>Commercial -0C to +50C</a:t>
          </a:r>
        </a:p>
      </dsp:txBody>
      <dsp:txXfrm rot="-5400000">
        <a:off x="1766000" y="1883039"/>
        <a:ext cx="3117207" cy="413080"/>
      </dsp:txXfrm>
    </dsp:sp>
    <dsp:sp modelId="{8E64AB20-F105-400F-8F74-08B70BF50322}">
      <dsp:nvSpPr>
        <dsp:cNvPr id="0" name=""/>
        <dsp:cNvSpPr/>
      </dsp:nvSpPr>
      <dsp:spPr>
        <a:xfrm>
          <a:off x="0" y="1803470"/>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Temp Range</a:t>
          </a:r>
        </a:p>
      </dsp:txBody>
      <dsp:txXfrm>
        <a:off x="27933" y="1831403"/>
        <a:ext cx="1710133" cy="516352"/>
      </dsp:txXfrm>
    </dsp:sp>
    <dsp:sp modelId="{8E9693D4-37B8-411A-B81B-9FF4FED4D5AC}">
      <dsp:nvSpPr>
        <dsp:cNvPr id="0" name=""/>
        <dsp:cNvSpPr/>
      </dsp:nvSpPr>
      <dsp:spPr>
        <a:xfrm rot="5400000">
          <a:off x="3106889" y="1120632"/>
          <a:ext cx="457774" cy="3139554"/>
        </a:xfrm>
        <a:prstGeom prst="round2SameRect">
          <a:avLst/>
        </a:prstGeom>
        <a:solidFill>
          <a:srgbClr val="D1E6F7">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a:solidFill>
                <a:schemeClr val="tx2"/>
              </a:solidFill>
              <a:latin typeface="+mn-lt"/>
            </a:rPr>
            <a:t>1588v2, TOD, BITS, 1PPS, 10MHz, Class-B</a:t>
          </a:r>
          <a:endParaRPr lang="en-US" sz="800" kern="1200" dirty="0">
            <a:solidFill>
              <a:schemeClr val="tx2"/>
            </a:solidFill>
            <a:latin typeface="+mn-lt"/>
            <a:ea typeface="+mn-ea"/>
            <a:cs typeface="+mn-cs"/>
          </a:endParaRPr>
        </a:p>
      </dsp:txBody>
      <dsp:txXfrm rot="-5400000">
        <a:off x="1766000" y="2483869"/>
        <a:ext cx="3117207" cy="413080"/>
      </dsp:txXfrm>
    </dsp:sp>
    <dsp:sp modelId="{5CE93F69-8985-4E79-AB79-F77331DDDF29}">
      <dsp:nvSpPr>
        <dsp:cNvPr id="0" name=""/>
        <dsp:cNvSpPr/>
      </dsp:nvSpPr>
      <dsp:spPr>
        <a:xfrm>
          <a:off x="0" y="2404300"/>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Timing</a:t>
          </a:r>
        </a:p>
      </dsp:txBody>
      <dsp:txXfrm>
        <a:off x="27933" y="2432233"/>
        <a:ext cx="1710133" cy="516352"/>
      </dsp:txXfrm>
    </dsp:sp>
    <dsp:sp modelId="{BA1392D3-6B0C-439C-BF9F-5015A177764E}">
      <dsp:nvSpPr>
        <dsp:cNvPr id="0" name=""/>
        <dsp:cNvSpPr/>
      </dsp:nvSpPr>
      <dsp:spPr>
        <a:xfrm rot="5400000">
          <a:off x="3106889" y="1721461"/>
          <a:ext cx="457774" cy="3139554"/>
        </a:xfrm>
        <a:prstGeom prst="round2SameRect">
          <a:avLst/>
        </a:prstGeom>
        <a:solidFill>
          <a:srgbClr val="D1E6F7">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355600" rtl="0">
            <a:lnSpc>
              <a:spcPct val="90000"/>
            </a:lnSpc>
            <a:spcBef>
              <a:spcPct val="0"/>
            </a:spcBef>
            <a:spcAft>
              <a:spcPct val="15000"/>
            </a:spcAft>
            <a:buChar char="•"/>
          </a:pPr>
          <a:r>
            <a:rPr lang="en-US" sz="800" kern="1200" dirty="0">
              <a:solidFill>
                <a:schemeClr val="tx2"/>
              </a:solidFill>
              <a:latin typeface="+mn-lt"/>
            </a:rPr>
            <a:t>FCS  IOS XR 7.0.1</a:t>
          </a:r>
        </a:p>
      </dsp:txBody>
      <dsp:txXfrm rot="-5400000">
        <a:off x="1766000" y="3084698"/>
        <a:ext cx="3117207" cy="413080"/>
      </dsp:txXfrm>
    </dsp:sp>
    <dsp:sp modelId="{24C0A0FD-C6B1-479F-931D-3DD94F912BF2}">
      <dsp:nvSpPr>
        <dsp:cNvPr id="0" name=""/>
        <dsp:cNvSpPr/>
      </dsp:nvSpPr>
      <dsp:spPr>
        <a:xfrm>
          <a:off x="0" y="3005129"/>
          <a:ext cx="1765999" cy="572218"/>
        </a:xfrm>
        <a:prstGeom prst="roundRect">
          <a:avLst/>
        </a:prstGeom>
        <a:solidFill>
          <a:schemeClr val="accent3">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rtl="0">
            <a:lnSpc>
              <a:spcPct val="90000"/>
            </a:lnSpc>
            <a:spcBef>
              <a:spcPct val="0"/>
            </a:spcBef>
            <a:spcAft>
              <a:spcPct val="35000"/>
            </a:spcAft>
            <a:buNone/>
          </a:pPr>
          <a:r>
            <a:rPr lang="en-US" sz="1500" kern="1200" dirty="0"/>
            <a:t>Software</a:t>
          </a:r>
        </a:p>
      </dsp:txBody>
      <dsp:txXfrm>
        <a:off x="27933" y="3033062"/>
        <a:ext cx="1710133" cy="51635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8/28/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8/28/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cisco.com/c/en/us/about/corporate-strategy-office/acquisitions/luxtera.html" TargetMode="External"/><Relationship Id="rId2" Type="http://schemas.openxmlformats.org/officeDocument/2006/relationships/slide" Target="../slides/slide107.xml"/><Relationship Id="rId1" Type="http://schemas.openxmlformats.org/officeDocument/2006/relationships/notesMaster" Target="../notesMasters/notesMaster1.xml"/><Relationship Id="rId4" Type="http://schemas.openxmlformats.org/officeDocument/2006/relationships/hyperlink" Target="https://www.cisco.com/c/en/us/about/corporate-strategy-office/acquisitions/acacia.html" TargetMode="Externa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a:t>
            </a:fld>
            <a:endParaRPr lang="en-US"/>
          </a:p>
        </p:txBody>
      </p:sp>
    </p:spTree>
    <p:extLst>
      <p:ext uri="{BB962C8B-B14F-4D97-AF65-F5344CB8AC3E}">
        <p14:creationId xmlns:p14="http://schemas.microsoft.com/office/powerpoint/2010/main" val="201106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ufficent</a:t>
            </a:r>
            <a:r>
              <a:rPr lang="en-US" dirty="0"/>
              <a:t> scale for t2 prov for replacing aging 7600</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50C42C-DF06-E743-B684-79704AC44B8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261813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r>
              <a:rPr lang="en-US"/>
              <a:t>Cisco Live 2016</a:t>
            </a:r>
            <a:endParaRPr lang="en-US" dirty="0"/>
          </a:p>
        </p:txBody>
      </p:sp>
      <p:sp>
        <p:nvSpPr>
          <p:cNvPr id="5" name="Date Placeholder 4"/>
          <p:cNvSpPr>
            <a:spLocks noGrp="1"/>
          </p:cNvSpPr>
          <p:nvPr>
            <p:ph type="dt" idx="11"/>
          </p:nvPr>
        </p:nvSpPr>
        <p:spPr/>
        <p:txBody>
          <a:bodyPr/>
          <a:lstStyle/>
          <a:p>
            <a:fld id="{A6083E6F-5979-8641-81E4-77A948C9DA5E}" type="datetime1">
              <a:rPr lang="en-US" smtClean="0"/>
              <a:t>8/28/2020</a:t>
            </a:fld>
            <a:endParaRPr lang="en-US" dirty="0"/>
          </a:p>
        </p:txBody>
      </p:sp>
      <p:sp>
        <p:nvSpPr>
          <p:cNvPr id="6" name="Slide Number Placeholder 5"/>
          <p:cNvSpPr>
            <a:spLocks noGrp="1"/>
          </p:cNvSpPr>
          <p:nvPr>
            <p:ph type="sldNum" sz="quarter" idx="12"/>
          </p:nvPr>
        </p:nvSpPr>
        <p:spPr/>
        <p:txBody>
          <a:bodyPr/>
          <a:lstStyle/>
          <a:p>
            <a:fld id="{0ADFA4A4-C10A-49FC-AF1A-861163FEA0B7}" type="slidenum">
              <a:rPr lang="en-US" smtClean="0"/>
              <a:t>216</a:t>
            </a:fld>
            <a:endParaRPr lang="en-US" dirty="0"/>
          </a:p>
        </p:txBody>
      </p:sp>
    </p:spTree>
    <p:extLst>
      <p:ext uri="{BB962C8B-B14F-4D97-AF65-F5344CB8AC3E}">
        <p14:creationId xmlns:p14="http://schemas.microsoft.com/office/powerpoint/2010/main" val="167606432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Cisco Live 2016</a:t>
            </a:r>
            <a:endParaRPr lang="en-US" dirty="0"/>
          </a:p>
        </p:txBody>
      </p:sp>
      <p:sp>
        <p:nvSpPr>
          <p:cNvPr id="5" name="Date Placeholder 4"/>
          <p:cNvSpPr>
            <a:spLocks noGrp="1"/>
          </p:cNvSpPr>
          <p:nvPr>
            <p:ph type="dt" idx="11"/>
          </p:nvPr>
        </p:nvSpPr>
        <p:spPr/>
        <p:txBody>
          <a:bodyPr/>
          <a:lstStyle/>
          <a:p>
            <a:fld id="{A6083E6F-5979-8641-81E4-77A948C9DA5E}" type="datetime1">
              <a:rPr lang="en-US" smtClean="0"/>
              <a:t>8/28/2020</a:t>
            </a:fld>
            <a:endParaRPr lang="en-US" dirty="0"/>
          </a:p>
        </p:txBody>
      </p:sp>
      <p:sp>
        <p:nvSpPr>
          <p:cNvPr id="6" name="Slide Number Placeholder 5"/>
          <p:cNvSpPr>
            <a:spLocks noGrp="1"/>
          </p:cNvSpPr>
          <p:nvPr>
            <p:ph type="sldNum" sz="quarter" idx="12"/>
          </p:nvPr>
        </p:nvSpPr>
        <p:spPr/>
        <p:txBody>
          <a:bodyPr/>
          <a:lstStyle/>
          <a:p>
            <a:fld id="{0ADFA4A4-C10A-49FC-AF1A-861163FEA0B7}" type="slidenum">
              <a:rPr lang="en-US" smtClean="0"/>
              <a:t>217</a:t>
            </a:fld>
            <a:endParaRPr lang="en-US" dirty="0"/>
          </a:p>
        </p:txBody>
      </p:sp>
    </p:spTree>
    <p:extLst>
      <p:ext uri="{BB962C8B-B14F-4D97-AF65-F5344CB8AC3E}">
        <p14:creationId xmlns:p14="http://schemas.microsoft.com/office/powerpoint/2010/main" val="70125971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Cisco Live 2016</a:t>
            </a:r>
            <a:endParaRPr lang="en-US" dirty="0"/>
          </a:p>
        </p:txBody>
      </p:sp>
      <p:sp>
        <p:nvSpPr>
          <p:cNvPr id="5" name="Date Placeholder 4"/>
          <p:cNvSpPr>
            <a:spLocks noGrp="1"/>
          </p:cNvSpPr>
          <p:nvPr>
            <p:ph type="dt" idx="11"/>
          </p:nvPr>
        </p:nvSpPr>
        <p:spPr/>
        <p:txBody>
          <a:bodyPr/>
          <a:lstStyle/>
          <a:p>
            <a:fld id="{A6083E6F-5979-8641-81E4-77A948C9DA5E}" type="datetime1">
              <a:rPr lang="en-US" smtClean="0"/>
              <a:t>8/28/2020</a:t>
            </a:fld>
            <a:endParaRPr lang="en-US" dirty="0"/>
          </a:p>
        </p:txBody>
      </p:sp>
      <p:sp>
        <p:nvSpPr>
          <p:cNvPr id="6" name="Slide Number Placeholder 5"/>
          <p:cNvSpPr>
            <a:spLocks noGrp="1"/>
          </p:cNvSpPr>
          <p:nvPr>
            <p:ph type="sldNum" sz="quarter" idx="12"/>
          </p:nvPr>
        </p:nvSpPr>
        <p:spPr/>
        <p:txBody>
          <a:bodyPr/>
          <a:lstStyle/>
          <a:p>
            <a:fld id="{0ADFA4A4-C10A-49FC-AF1A-861163FEA0B7}" type="slidenum">
              <a:rPr lang="en-US" smtClean="0"/>
              <a:t>218</a:t>
            </a:fld>
            <a:endParaRPr lang="en-US" dirty="0"/>
          </a:p>
        </p:txBody>
      </p:sp>
    </p:spTree>
    <p:extLst>
      <p:ext uri="{BB962C8B-B14F-4D97-AF65-F5344CB8AC3E}">
        <p14:creationId xmlns:p14="http://schemas.microsoft.com/office/powerpoint/2010/main" val="80062121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slide.</a:t>
            </a:r>
          </a:p>
          <a:p>
            <a:r>
              <a:rPr lang="en-US" dirty="0"/>
              <a:t>Mobile networks are split into domains</a:t>
            </a:r>
          </a:p>
          <a:p>
            <a:r>
              <a:rPr lang="en-US" dirty="0"/>
              <a:t>Aim of network is multi-service. Fixed mobile business consumer etc.</a:t>
            </a:r>
          </a:p>
          <a:p>
            <a:r>
              <a:rPr lang="en-US" dirty="0"/>
              <a:t>Packet infra built on </a:t>
            </a:r>
            <a:r>
              <a:rPr lang="en-US" dirty="0" err="1"/>
              <a:t>fibre</a:t>
            </a:r>
            <a:r>
              <a:rPr lang="en-US" dirty="0"/>
              <a:t> infrastructure. </a:t>
            </a:r>
          </a:p>
          <a:p>
            <a:r>
              <a:rPr lang="en-US" dirty="0"/>
              <a:t>End to end packet.</a:t>
            </a:r>
          </a:p>
          <a:p>
            <a:r>
              <a:rPr lang="en-US" dirty="0"/>
              <a:t>Significant increase in bandwidth and sites</a:t>
            </a:r>
          </a:p>
          <a:p>
            <a:r>
              <a:rPr lang="en-US" dirty="0"/>
              <a:t>Introduction of edge compute.</a:t>
            </a:r>
          </a:p>
          <a:p>
            <a:r>
              <a:rPr lang="en-US" dirty="0"/>
              <a:t>SR underlay.</a:t>
            </a:r>
          </a:p>
          <a:p>
            <a:r>
              <a:rPr lang="en-US" dirty="0"/>
              <a:t>Pretty agnostic to overlay but for mobile will probably be based on BGP based VPNs.</a:t>
            </a:r>
          </a:p>
          <a:p>
            <a:r>
              <a:rPr lang="en-US" dirty="0"/>
              <a:t>Domain level controllers. Transport domain includes FCAP for transport infrastructure, orchestration + PCE </a:t>
            </a:r>
            <a:r>
              <a:rPr lang="en-US" dirty="0" err="1"/>
              <a:t>etc</a:t>
            </a:r>
            <a:r>
              <a:rPr lang="en-US" dirty="0"/>
              <a:t>, </a:t>
            </a:r>
            <a:r>
              <a:rPr lang="en-US" dirty="0" err="1"/>
              <a:t>Compute:NFVO</a:t>
            </a:r>
            <a:r>
              <a:rPr lang="en-US" dirty="0"/>
              <a:t> / ESC, Mobile (MCBU offering) Cisco don’t do all domains for example access which </a:t>
            </a:r>
            <a:r>
              <a:rPr lang="en-US" dirty="0" err="1"/>
              <a:t>si</a:t>
            </a:r>
            <a:r>
              <a:rPr lang="en-US" dirty="0"/>
              <a:t> radio.</a:t>
            </a:r>
          </a:p>
          <a:p>
            <a:endParaRPr lang="en-US" dirty="0"/>
          </a:p>
          <a:p>
            <a:r>
              <a:rPr lang="en-US" dirty="0"/>
              <a:t>Above this are use case controllers. In mobile this is the mobile slice manager which I responsible for end to end provisioning of slices. This is effectively a cross domain orchestrator. Cisco don’t do this function today but it could be envisaged as an NSO FP. </a:t>
            </a:r>
          </a:p>
          <a:p>
            <a:endParaRPr lang="en-US" dirty="0"/>
          </a:p>
          <a:p>
            <a:r>
              <a:rPr lang="en-US" dirty="0"/>
              <a:t>Performance increase - NCS 540, previous version was 64G/System (ASR-920)</a:t>
            </a:r>
          </a:p>
          <a:p>
            <a:r>
              <a:rPr lang="en-US" dirty="0"/>
              <a:t>Performance increase - NCS 560, previous version was 400G/System (ASR-903/907)</a:t>
            </a:r>
          </a:p>
          <a:p>
            <a:r>
              <a:rPr lang="en-US" dirty="0"/>
              <a:t>Performance increase - ASR9000, previous version was 1.2T/slot (12x100GE)</a:t>
            </a:r>
          </a:p>
          <a:p>
            <a:r>
              <a:rPr lang="en-US" dirty="0"/>
              <a:t>Performance increase - NCS 5500, previous version was 3.6T/slot (36x100G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t>Cisco Live 2015</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180788491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Cisco Live 2016</a:t>
            </a:r>
            <a:endParaRPr lang="en-US" dirty="0"/>
          </a:p>
        </p:txBody>
      </p:sp>
      <p:sp>
        <p:nvSpPr>
          <p:cNvPr id="5" name="Date Placeholder 4"/>
          <p:cNvSpPr>
            <a:spLocks noGrp="1"/>
          </p:cNvSpPr>
          <p:nvPr>
            <p:ph type="dt" idx="11"/>
          </p:nvPr>
        </p:nvSpPr>
        <p:spPr/>
        <p:txBody>
          <a:bodyPr/>
          <a:lstStyle/>
          <a:p>
            <a:fld id="{A6083E6F-5979-8641-81E4-77A948C9DA5E}" type="datetime1">
              <a:rPr lang="en-US" smtClean="0"/>
              <a:t>8/28/2020</a:t>
            </a:fld>
            <a:endParaRPr lang="en-US" dirty="0"/>
          </a:p>
        </p:txBody>
      </p:sp>
      <p:sp>
        <p:nvSpPr>
          <p:cNvPr id="6" name="Slide Number Placeholder 5"/>
          <p:cNvSpPr>
            <a:spLocks noGrp="1"/>
          </p:cNvSpPr>
          <p:nvPr>
            <p:ph type="sldNum" sz="quarter" idx="12"/>
          </p:nvPr>
        </p:nvSpPr>
        <p:spPr/>
        <p:txBody>
          <a:bodyPr/>
          <a:lstStyle/>
          <a:p>
            <a:fld id="{0ADFA4A4-C10A-49FC-AF1A-861163FEA0B7}" type="slidenum">
              <a:rPr lang="en-US" smtClean="0"/>
              <a:t>220</a:t>
            </a:fld>
            <a:endParaRPr lang="en-US" dirty="0"/>
          </a:p>
        </p:txBody>
      </p:sp>
    </p:spTree>
    <p:extLst>
      <p:ext uri="{BB962C8B-B14F-4D97-AF65-F5344CB8AC3E}">
        <p14:creationId xmlns:p14="http://schemas.microsoft.com/office/powerpoint/2010/main" val="136985777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22</a:t>
            </a:fld>
            <a:endParaRPr lang="en-US"/>
          </a:p>
        </p:txBody>
      </p:sp>
    </p:spTree>
    <p:extLst>
      <p:ext uri="{BB962C8B-B14F-4D97-AF65-F5344CB8AC3E}">
        <p14:creationId xmlns:p14="http://schemas.microsoft.com/office/powerpoint/2010/main" val="14689940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56842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1046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54653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3111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91898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7266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23170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74325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isco Packet based fronthaul enables convergence of 5G and 4G radio services.</a:t>
            </a:r>
          </a:p>
          <a:p>
            <a:r>
              <a:rPr lang="en-US" dirty="0"/>
              <a:t>It also enables delivery of enterprise services along with radio transport through the use of TSN to protect radio traffic.</a:t>
            </a:r>
          </a:p>
          <a:p>
            <a:r>
              <a:rPr lang="en-US" dirty="0"/>
              <a:t>Packet based fronthaul is cost effective, supports statistical multiplexing of </a:t>
            </a:r>
            <a:r>
              <a:rPr lang="en-US" dirty="0" err="1"/>
              <a:t>eCPRI</a:t>
            </a:r>
            <a:r>
              <a:rPr lang="en-US" dirty="0"/>
              <a:t>/ORAN radios, supports ring topology for radio resiliency, network slicing through E2E SR/BGP VPN</a:t>
            </a:r>
          </a:p>
          <a:p>
            <a:r>
              <a:rPr lang="en-US" dirty="0"/>
              <a:t>E2E will also help with resiliency scenarios in virtual DU and virtual CU </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9</a:t>
            </a:fld>
            <a:endParaRPr lang="en-US"/>
          </a:p>
        </p:txBody>
      </p:sp>
    </p:spTree>
    <p:extLst>
      <p:ext uri="{BB962C8B-B14F-4D97-AF65-F5344CB8AC3E}">
        <p14:creationId xmlns:p14="http://schemas.microsoft.com/office/powerpoint/2010/main" val="2027841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55560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0</a:t>
            </a:fld>
            <a:endParaRPr lang="en-US" dirty="0"/>
          </a:p>
        </p:txBody>
      </p:sp>
    </p:spTree>
    <p:extLst>
      <p:ext uri="{BB962C8B-B14F-4D97-AF65-F5344CB8AC3E}">
        <p14:creationId xmlns:p14="http://schemas.microsoft.com/office/powerpoint/2010/main" val="8371352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4</a:t>
            </a:fld>
            <a:endParaRPr lang="en-US" dirty="0"/>
          </a:p>
        </p:txBody>
      </p:sp>
    </p:spTree>
    <p:extLst>
      <p:ext uri="{BB962C8B-B14F-4D97-AF65-F5344CB8AC3E}">
        <p14:creationId xmlns:p14="http://schemas.microsoft.com/office/powerpoint/2010/main" val="2733800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55</a:t>
            </a:fld>
            <a:endParaRPr lang="en-US"/>
          </a:p>
        </p:txBody>
      </p:sp>
    </p:spTree>
    <p:extLst>
      <p:ext uri="{BB962C8B-B14F-4D97-AF65-F5344CB8AC3E}">
        <p14:creationId xmlns:p14="http://schemas.microsoft.com/office/powerpoint/2010/main" val="37899160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56</a:t>
            </a:fld>
            <a:endParaRPr lang="en-US">
              <a:solidFill>
                <a:prstClr val="black"/>
              </a:solidFill>
            </a:endParaRPr>
          </a:p>
        </p:txBody>
      </p:sp>
    </p:spTree>
    <p:extLst>
      <p:ext uri="{BB962C8B-B14F-4D97-AF65-F5344CB8AC3E}">
        <p14:creationId xmlns:p14="http://schemas.microsoft.com/office/powerpoint/2010/main" val="3621478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57</a:t>
            </a:fld>
            <a:endParaRPr lang="en-US">
              <a:solidFill>
                <a:prstClr val="black"/>
              </a:solidFill>
            </a:endParaRPr>
          </a:p>
        </p:txBody>
      </p:sp>
    </p:spTree>
    <p:extLst>
      <p:ext uri="{BB962C8B-B14F-4D97-AF65-F5344CB8AC3E}">
        <p14:creationId xmlns:p14="http://schemas.microsoft.com/office/powerpoint/2010/main" val="38235544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58</a:t>
            </a:fld>
            <a:endParaRPr lang="en-US">
              <a:solidFill>
                <a:prstClr val="black"/>
              </a:solidFill>
            </a:endParaRPr>
          </a:p>
        </p:txBody>
      </p:sp>
    </p:spTree>
    <p:extLst>
      <p:ext uri="{BB962C8B-B14F-4D97-AF65-F5344CB8AC3E}">
        <p14:creationId xmlns:p14="http://schemas.microsoft.com/office/powerpoint/2010/main" val="16691923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59</a:t>
            </a:fld>
            <a:endParaRPr lang="en-US">
              <a:solidFill>
                <a:prstClr val="black"/>
              </a:solidFill>
            </a:endParaRPr>
          </a:p>
        </p:txBody>
      </p:sp>
    </p:spTree>
    <p:extLst>
      <p:ext uri="{BB962C8B-B14F-4D97-AF65-F5344CB8AC3E}">
        <p14:creationId xmlns:p14="http://schemas.microsoft.com/office/powerpoint/2010/main" val="7635684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60</a:t>
            </a:fld>
            <a:endParaRPr lang="en-US">
              <a:solidFill>
                <a:prstClr val="black"/>
              </a:solidFill>
            </a:endParaRPr>
          </a:p>
        </p:txBody>
      </p:sp>
    </p:spTree>
    <p:extLst>
      <p:ext uri="{BB962C8B-B14F-4D97-AF65-F5344CB8AC3E}">
        <p14:creationId xmlns:p14="http://schemas.microsoft.com/office/powerpoint/2010/main" val="36842088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1</a:t>
            </a:fld>
            <a:endParaRPr lang="en-US" dirty="0"/>
          </a:p>
        </p:txBody>
      </p:sp>
    </p:spTree>
    <p:extLst>
      <p:ext uri="{BB962C8B-B14F-4D97-AF65-F5344CB8AC3E}">
        <p14:creationId xmlns:p14="http://schemas.microsoft.com/office/powerpoint/2010/main" val="20087323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63</a:t>
            </a:fld>
            <a:endParaRPr lang="en-US">
              <a:solidFill>
                <a:prstClr val="black"/>
              </a:solidFill>
            </a:endParaRPr>
          </a:p>
        </p:txBody>
      </p:sp>
    </p:spTree>
    <p:extLst>
      <p:ext uri="{BB962C8B-B14F-4D97-AF65-F5344CB8AC3E}">
        <p14:creationId xmlns:p14="http://schemas.microsoft.com/office/powerpoint/2010/main" val="2107765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62925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64</a:t>
            </a:fld>
            <a:endParaRPr lang="en-US">
              <a:solidFill>
                <a:prstClr val="black"/>
              </a:solidFill>
            </a:endParaRPr>
          </a:p>
        </p:txBody>
      </p:sp>
    </p:spTree>
    <p:extLst>
      <p:ext uri="{BB962C8B-B14F-4D97-AF65-F5344CB8AC3E}">
        <p14:creationId xmlns:p14="http://schemas.microsoft.com/office/powerpoint/2010/main" val="29382384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5</a:t>
            </a:fld>
            <a:endParaRPr lang="en-US"/>
          </a:p>
        </p:txBody>
      </p:sp>
    </p:spTree>
    <p:extLst>
      <p:ext uri="{BB962C8B-B14F-4D97-AF65-F5344CB8AC3E}">
        <p14:creationId xmlns:p14="http://schemas.microsoft.com/office/powerpoint/2010/main" val="12846349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7</a:t>
            </a:fld>
            <a:endParaRPr lang="en-US"/>
          </a:p>
        </p:txBody>
      </p:sp>
    </p:spTree>
    <p:extLst>
      <p:ext uri="{BB962C8B-B14F-4D97-AF65-F5344CB8AC3E}">
        <p14:creationId xmlns:p14="http://schemas.microsoft.com/office/powerpoint/2010/main" val="13719347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solidFill>
                  <a:schemeClr val="bg1"/>
                </a:solidFill>
                <a:latin typeface="+mn-lt"/>
              </a:rPr>
              <a:t>Traditional </a:t>
            </a:r>
          </a:p>
          <a:p>
            <a:endParaRPr lang="en-US" sz="1050" dirty="0">
              <a:solidFill>
                <a:schemeClr val="bg1"/>
              </a:solidFill>
              <a:latin typeface="+mn-lt"/>
            </a:endParaRPr>
          </a:p>
          <a:p>
            <a:r>
              <a:rPr lang="en-US" sz="1050" dirty="0">
                <a:solidFill>
                  <a:schemeClr val="bg1"/>
                </a:solidFill>
                <a:latin typeface="+mn-lt"/>
              </a:rPr>
              <a:t>Multi Layer Network with each layer treated individually</a:t>
            </a:r>
          </a:p>
          <a:p>
            <a:r>
              <a:rPr lang="en-US" sz="1050" dirty="0">
                <a:solidFill>
                  <a:schemeClr val="bg1"/>
                </a:solidFill>
                <a:latin typeface="+mn-lt"/>
              </a:rPr>
              <a:t>IP Layer is Dynamic as is the Transport</a:t>
            </a:r>
          </a:p>
          <a:p>
            <a:pPr marL="344488" lvl="1"/>
            <a:r>
              <a:rPr lang="en-US" sz="900" dirty="0">
                <a:solidFill>
                  <a:schemeClr val="bg1"/>
                </a:solidFill>
                <a:latin typeface="+mn-lt"/>
              </a:rPr>
              <a:t>Adjustable Data Rate, Modulation, Baud Rate and Spectrum</a:t>
            </a:r>
          </a:p>
          <a:p>
            <a:r>
              <a:rPr lang="en-US" sz="1050" dirty="0">
                <a:solidFill>
                  <a:schemeClr val="bg1"/>
                </a:solidFill>
                <a:latin typeface="+mn-lt"/>
              </a:rPr>
              <a:t>Operational Life Cycle Complex</a:t>
            </a:r>
          </a:p>
          <a:p>
            <a:pPr marL="344488" lvl="1"/>
            <a:r>
              <a:rPr lang="en-US" sz="900" dirty="0">
                <a:solidFill>
                  <a:schemeClr val="bg1"/>
                </a:solidFill>
                <a:latin typeface="+mn-lt"/>
              </a:rPr>
              <a:t>Optical / OTN Switching network adds complexity around Planning, Compute and Management</a:t>
            </a:r>
            <a:br>
              <a:rPr lang="en-US" sz="900" dirty="0">
                <a:solidFill>
                  <a:schemeClr val="bg1"/>
                </a:solidFill>
                <a:latin typeface="+mn-lt"/>
              </a:rPr>
            </a:br>
            <a:endParaRPr lang="en-US" sz="700" dirty="0">
              <a:solidFill>
                <a:schemeClr val="bg1"/>
              </a:solidFill>
              <a:latin typeface="+mn-lt"/>
            </a:endParaRPr>
          </a:p>
          <a:p>
            <a:r>
              <a:rPr lang="en-US" dirty="0"/>
              <a:t>IPoEoF</a:t>
            </a:r>
          </a:p>
          <a:p>
            <a:endParaRPr lang="en-US" dirty="0"/>
          </a:p>
          <a:p>
            <a:r>
              <a:rPr lang="en-US" sz="1000" dirty="0">
                <a:solidFill>
                  <a:schemeClr val="bg1"/>
                </a:solidFill>
                <a:latin typeface="+mn-lt"/>
              </a:rPr>
              <a:t>Focus on the Service and not the individual layer</a:t>
            </a:r>
          </a:p>
          <a:p>
            <a:r>
              <a:rPr lang="en-US" sz="1000" dirty="0">
                <a:solidFill>
                  <a:schemeClr val="bg1"/>
                </a:solidFill>
                <a:latin typeface="+mn-lt"/>
              </a:rPr>
              <a:t>Leverage Zero Density Trade off pluggables</a:t>
            </a:r>
          </a:p>
          <a:p>
            <a:pPr lvl="1"/>
            <a:r>
              <a:rPr lang="en-US" sz="900" dirty="0">
                <a:solidFill>
                  <a:schemeClr val="bg1"/>
                </a:solidFill>
                <a:latin typeface="+mn-lt"/>
              </a:rPr>
              <a:t>QSFP-DD 400Gig ZR / ZR+ pluggables</a:t>
            </a:r>
          </a:p>
          <a:p>
            <a:r>
              <a:rPr lang="en-US" sz="1000" dirty="0">
                <a:solidFill>
                  <a:schemeClr val="bg1"/>
                </a:solidFill>
                <a:latin typeface="+mn-lt"/>
              </a:rPr>
              <a:t>Hop to Hop Architecture</a:t>
            </a:r>
          </a:p>
          <a:p>
            <a:pPr lvl="1"/>
            <a:r>
              <a:rPr lang="en-US" sz="900" dirty="0">
                <a:solidFill>
                  <a:schemeClr val="bg1"/>
                </a:solidFill>
                <a:latin typeface="+mn-lt"/>
              </a:rPr>
              <a:t>Eliminating the Optical / OTN Switching complexity</a:t>
            </a:r>
          </a:p>
          <a:p>
            <a:r>
              <a:rPr lang="en-US" sz="1000" dirty="0">
                <a:solidFill>
                  <a:schemeClr val="bg1"/>
                </a:solidFill>
                <a:latin typeface="+mn-lt"/>
              </a:rPr>
              <a:t>Simplify Operational Life Cycle</a:t>
            </a:r>
          </a:p>
          <a:p>
            <a:pPr lvl="1"/>
            <a:r>
              <a:rPr lang="en-US" sz="900" dirty="0">
                <a:solidFill>
                  <a:schemeClr val="bg1"/>
                </a:solidFill>
                <a:latin typeface="+mn-lt"/>
              </a:rPr>
              <a:t>Hop to Hop simplifies Planning, Activation, Management </a:t>
            </a:r>
            <a:endParaRPr lang="en-US" sz="1100" dirty="0">
              <a:solidFill>
                <a:schemeClr val="bg1"/>
              </a:solidFill>
              <a:latin typeface="+mn-lt"/>
            </a:endParaRPr>
          </a:p>
          <a:p>
            <a:endParaRPr lang="en-US" dirty="0"/>
          </a:p>
          <a:p>
            <a:endParaRPr lang="en-US" dirty="0"/>
          </a:p>
          <a:p>
            <a:endParaRPr lang="en-US" dirty="0"/>
          </a:p>
          <a:p>
            <a:endParaRPr lang="en-US" dirty="0"/>
          </a:p>
          <a:p>
            <a:endParaRPr lang="en-US" dirty="0"/>
          </a:p>
          <a:p>
            <a:endParaRPr lang="en-US" dirty="0"/>
          </a:p>
          <a:p>
            <a:endParaRPr lang="en-US" dirty="0"/>
          </a:p>
          <a:p>
            <a:r>
              <a:rPr lang="en-US" dirty="0"/>
              <a:t>Walid’s Notes:</a:t>
            </a:r>
          </a:p>
          <a:p>
            <a:r>
              <a:rPr lang="en-US" sz="1200" kern="1200" dirty="0" err="1">
                <a:solidFill>
                  <a:schemeClr val="tx1"/>
                </a:solidFill>
                <a:effectLst/>
                <a:latin typeface="+mn-lt"/>
                <a:ea typeface="ＭＳ Ｐゴシック" charset="0"/>
                <a:cs typeface="ＭＳ Ｐゴシック" charset="0"/>
              </a:rPr>
              <a:t>IPoEoF</a:t>
            </a:r>
            <a:r>
              <a:rPr lang="en-US" sz="1200" kern="1200" dirty="0">
                <a:solidFill>
                  <a:schemeClr val="tx1"/>
                </a:solidFill>
                <a:effectLst/>
                <a:latin typeface="+mn-lt"/>
                <a:ea typeface="ＭＳ Ｐゴシック" charset="0"/>
                <a:cs typeface="ＭＳ Ｐゴシック" charset="0"/>
              </a:rPr>
              <a:t> vs Traditional provides…</a:t>
            </a:r>
          </a:p>
          <a:p>
            <a:r>
              <a:rPr lang="en-US" sz="1200" kern="1200" dirty="0">
                <a:solidFill>
                  <a:schemeClr val="tx1"/>
                </a:solidFill>
                <a:effectLst/>
                <a:latin typeface="+mn-lt"/>
                <a:ea typeface="ＭＳ Ｐゴシック" charset="0"/>
                <a:cs typeface="ＭＳ Ｐゴシック" charset="0"/>
              </a:rPr>
              <a:t>- Single Management interface with either:</a:t>
            </a:r>
          </a:p>
          <a:p>
            <a:r>
              <a:rPr lang="en-US" sz="1200" kern="1200" dirty="0">
                <a:solidFill>
                  <a:schemeClr val="tx1"/>
                </a:solidFill>
                <a:effectLst/>
                <a:latin typeface="+mn-lt"/>
                <a:ea typeface="ＭＳ Ｐゴシック" charset="0"/>
                <a:cs typeface="ＭＳ Ｐゴシック" charset="0"/>
              </a:rPr>
              <a:t>	- Aggregated view or Disaggregated view depending on the users operational model</a:t>
            </a:r>
          </a:p>
          <a:p>
            <a:r>
              <a:rPr lang="en-US" sz="1200" kern="1200" dirty="0">
                <a:solidFill>
                  <a:schemeClr val="tx1"/>
                </a:solidFill>
                <a:effectLst/>
                <a:latin typeface="+mn-lt"/>
                <a:ea typeface="ＭＳ Ｐゴシック" charset="0"/>
                <a:cs typeface="ＭＳ Ｐゴシック" charset="0"/>
              </a:rPr>
              <a:t>- Planning and Feasibility simplification by eliminating Bypass, network feasibility and all the associated dials (mod schemes, BW, Data Rate, etc..) becomes a simple computational effort</a:t>
            </a:r>
          </a:p>
          <a:p>
            <a:r>
              <a:rPr lang="en-US" sz="1200" kern="1200" dirty="0">
                <a:solidFill>
                  <a:schemeClr val="tx1"/>
                </a:solidFill>
                <a:effectLst/>
                <a:latin typeface="+mn-lt"/>
                <a:ea typeface="ＭＳ Ｐゴシック" charset="0"/>
                <a:cs typeface="ＭＳ Ｐゴシック" charset="0"/>
              </a:rPr>
              <a:t>- Management and Control moves closer to the service breaking existing layer approaches enabling quick service introduction </a:t>
            </a:r>
          </a:p>
          <a:p>
            <a:r>
              <a:rPr lang="en-US" sz="1200" kern="1200" dirty="0">
                <a:solidFill>
                  <a:schemeClr val="tx1"/>
                </a:solidFill>
                <a:effectLst/>
                <a:latin typeface="+mn-lt"/>
                <a:ea typeface="ＭＳ Ｐゴシック" charset="0"/>
                <a:cs typeface="ＭＳ Ｐゴシック" charset="0"/>
              </a:rPr>
              <a:t>- Reduced Power and Footprint as no more need of additional shelves for transponders and multi degree ROADMs that take space and Power</a:t>
            </a:r>
          </a:p>
          <a:p>
            <a:r>
              <a:rPr lang="en-US" sz="1200" kern="1200" dirty="0">
                <a:solidFill>
                  <a:schemeClr val="tx1"/>
                </a:solidFill>
                <a:effectLst/>
                <a:latin typeface="+mn-lt"/>
                <a:ea typeface="ＭＳ Ｐゴシック" charset="0"/>
                <a:cs typeface="ＭＳ Ｐゴシック" charset="0"/>
              </a:rPr>
              <a:t>- Zero Density trade off between grey (traditional Interfaces) and DWDM interfaces based on pluggable technology</a:t>
            </a:r>
          </a:p>
          <a:p>
            <a:r>
              <a:rPr lang="en-US" sz="1200" kern="1200" dirty="0">
                <a:solidFill>
                  <a:schemeClr val="tx1"/>
                </a:solidFill>
                <a:effectLst/>
                <a:latin typeface="+mn-lt"/>
                <a:ea typeface="ＭＳ Ｐゴシック" charset="0"/>
                <a:cs typeface="ＭＳ Ｐゴシック" charset="0"/>
              </a:rPr>
              <a:t>- Sharing of network information which Service is dependent on is enabled</a:t>
            </a:r>
          </a:p>
          <a:p>
            <a:r>
              <a:rPr lang="en-US" sz="1200" kern="1200" dirty="0">
                <a:solidFill>
                  <a:schemeClr val="tx1"/>
                </a:solidFill>
                <a:effectLst/>
                <a:latin typeface="+mn-lt"/>
                <a:ea typeface="ＭＳ Ｐゴシック" charset="0"/>
                <a:cs typeface="ＭＳ Ｐゴシック" charset="0"/>
              </a:rPr>
              <a:t>- Leverages industry efforts to standardize line side interfaces and North and Southbound interfaces and models enabling third party support in the future.</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8</a:t>
            </a:fld>
            <a:endParaRPr lang="en-US"/>
          </a:p>
        </p:txBody>
      </p:sp>
    </p:spTree>
    <p:extLst>
      <p:ext uri="{BB962C8B-B14F-4D97-AF65-F5344CB8AC3E}">
        <p14:creationId xmlns:p14="http://schemas.microsoft.com/office/powerpoint/2010/main" val="42378407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buSzPct val="100000"/>
              <a:buFont typeface="Arial" panose="020B0604020202020204" pitchFamily="34" charset="0"/>
              <a:buChar char="•"/>
            </a:pPr>
            <a:r>
              <a:rPr lang="en-US" sz="1200" b="0" dirty="0">
                <a:solidFill>
                  <a:schemeClr val="tx1">
                    <a:lumMod val="100000"/>
                  </a:schemeClr>
                </a:solidFill>
                <a:latin typeface="Calibri" panose="020F0502020204030204" pitchFamily="34" charset="0"/>
                <a:cs typeface="Calibri" panose="020F0502020204030204" pitchFamily="34" charset="0"/>
              </a:rPr>
              <a:t>Charter of GSSI</a:t>
            </a:r>
          </a:p>
          <a:p>
            <a:pPr marL="171450" indent="-171450">
              <a:spcBef>
                <a:spcPts val="600"/>
              </a:spcBef>
              <a:buSzPct val="100000"/>
              <a:buFont typeface="Arial" panose="020B0604020202020204" pitchFamily="34" charset="0"/>
              <a:buChar char="•"/>
            </a:pPr>
            <a:r>
              <a:rPr lang="en-US" sz="1200" b="0" dirty="0">
                <a:solidFill>
                  <a:schemeClr val="tx1">
                    <a:lumMod val="100000"/>
                  </a:schemeClr>
                </a:solidFill>
                <a:latin typeface="Calibri" panose="020F0502020204030204" pitchFamily="34" charset="0"/>
                <a:cs typeface="Calibri" panose="020F0502020204030204" pitchFamily="34" charset="0"/>
              </a:rPr>
              <a:t>Take a best-practice-based approach to global segment strategy and planning, which builds upon existing capabilities to provide enhanced and centralized services to regional teams</a:t>
            </a:r>
          </a:p>
          <a:p>
            <a:pPr marL="171450" indent="-171450">
              <a:spcBef>
                <a:spcPts val="600"/>
              </a:spcBef>
              <a:buSzPct val="100000"/>
              <a:buFont typeface="Arial" panose="020B0604020202020204" pitchFamily="34" charset="0"/>
              <a:buChar char="•"/>
            </a:pPr>
            <a:r>
              <a:rPr lang="en-US" sz="1200" b="0" dirty="0">
                <a:solidFill>
                  <a:schemeClr val="tx1">
                    <a:lumMod val="100000"/>
                  </a:schemeClr>
                </a:solidFill>
                <a:latin typeface="Calibri" panose="020F0502020204030204" pitchFamily="34" charset="0"/>
                <a:cs typeface="Calibri" panose="020F0502020204030204" pitchFamily="34" charset="0"/>
              </a:rPr>
              <a:t>Deliver global segment definitions, GTM blueprints, metrics / reporting dashboards, training &amp; leadership development, technology solutions</a:t>
            </a:r>
            <a:endParaRPr lang="en-US" sz="1200" b="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2CA178-9CE7-014D-BA43-14F46DEF861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1418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Arial" panose="020B0604020202020204" pitchFamily="34" charset="0"/>
                <a:ea typeface="ＭＳ Ｐゴシック" charset="0"/>
                <a:cs typeface="Arial" panose="020B0604020202020204" pitchFamily="34" charset="0"/>
              </a:rPr>
              <a:t>Our solutions provide you with the power to play the role of disruptor by letting you solve business problems everywhere by bringing analytics wherever those problems exist. We let you do this with leading efficiencies to scale to support massive quantities of data and lower your total cost of ownership—as well as exceptional speed in processing analytics and bringing tested and proven analytics solutions to your business. Let’s talk about each of these points in more detail.</a:t>
            </a:r>
            <a:endParaRPr lang="en-US" sz="900" b="1" kern="1200" baseline="0" dirty="0">
              <a:solidFill>
                <a:schemeClr val="tx1"/>
              </a:solidFill>
              <a:effectLst/>
              <a:latin typeface="+mn-lt"/>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2</a:t>
            </a:fld>
            <a:endParaRPr lang="en-US"/>
          </a:p>
        </p:txBody>
      </p:sp>
    </p:spTree>
    <p:extLst>
      <p:ext uri="{BB962C8B-B14F-4D97-AF65-F5344CB8AC3E}">
        <p14:creationId xmlns:p14="http://schemas.microsoft.com/office/powerpoint/2010/main" val="30967580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4</a:t>
            </a:fld>
            <a:endParaRPr lang="en-US"/>
          </a:p>
        </p:txBody>
      </p:sp>
    </p:spTree>
    <p:extLst>
      <p:ext uri="{BB962C8B-B14F-4D97-AF65-F5344CB8AC3E}">
        <p14:creationId xmlns:p14="http://schemas.microsoft.com/office/powerpoint/2010/main" val="16019828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5</a:t>
            </a:fld>
            <a:endParaRPr lang="en-US"/>
          </a:p>
        </p:txBody>
      </p:sp>
    </p:spTree>
    <p:extLst>
      <p:ext uri="{BB962C8B-B14F-4D97-AF65-F5344CB8AC3E}">
        <p14:creationId xmlns:p14="http://schemas.microsoft.com/office/powerpoint/2010/main" val="8115628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81</a:t>
            </a:fld>
            <a:endParaRPr lang="en-US" dirty="0"/>
          </a:p>
        </p:txBody>
      </p:sp>
    </p:spTree>
    <p:extLst>
      <p:ext uri="{BB962C8B-B14F-4D97-AF65-F5344CB8AC3E}">
        <p14:creationId xmlns:p14="http://schemas.microsoft.com/office/powerpoint/2010/main" val="31754214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C1005-B323-4A04-B0D1-DB577C3C2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125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73164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97</a:t>
            </a:fld>
            <a:endParaRPr lang="en-US" dirty="0"/>
          </a:p>
        </p:txBody>
      </p:sp>
    </p:spTree>
    <p:extLst>
      <p:ext uri="{BB962C8B-B14F-4D97-AF65-F5344CB8AC3E}">
        <p14:creationId xmlns:p14="http://schemas.microsoft.com/office/powerpoint/2010/main" val="13784351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6630" rtl="0" eaLnBrk="1" fontAlgn="auto" latinLnBrk="0" hangingPunct="1">
              <a:lnSpc>
                <a:spcPct val="100000"/>
              </a:lnSpc>
              <a:spcBef>
                <a:spcPts val="0"/>
              </a:spcBef>
              <a:spcAft>
                <a:spcPts val="0"/>
              </a:spcAft>
              <a:buClrTx/>
              <a:buSzTx/>
              <a:buFontTx/>
              <a:buNone/>
              <a:tabLst/>
              <a:defRPr/>
            </a:pPr>
            <a:fld id="{19FF1C65-88E7-4ABE-84D9-34181F6EA8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63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53124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FF1C65-88E7-4ABE-84D9-34181F6EA8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64328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FF1C65-88E7-4ABE-84D9-34181F6EA8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52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75424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01939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ll Gbps is in Half duplex in order to match with Market comparison as all competitors list in Half duplex by default unless or otherwise specified explicitly.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445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ARNING</a:t>
            </a:r>
            <a:r>
              <a:rPr lang="en-US" dirty="0"/>
              <a:t>: Refine from addressing the Custom vs Merchant in ASR9000 product update. Why do want to pitch NCS5500 with Merchant silicon when you have a superior custom silicon? </a:t>
            </a:r>
          </a:p>
          <a:p>
            <a:r>
              <a:rPr lang="en-US" dirty="0"/>
              <a:t>Instead talk about the silicon journey from existing offering 3</a:t>
            </a:r>
            <a:r>
              <a:rPr lang="en-US" baseline="30000" dirty="0"/>
              <a:t>rd</a:t>
            </a:r>
            <a:r>
              <a:rPr lang="en-US" dirty="0"/>
              <a:t> Gen to 5</a:t>
            </a:r>
            <a:r>
              <a:rPr lang="en-US" baseline="30000" dirty="0"/>
              <a:t>th</a:t>
            </a:r>
            <a:r>
              <a:rPr lang="en-US" dirty="0"/>
              <a:t> Gen. </a:t>
            </a:r>
          </a:p>
          <a:p>
            <a:endParaRPr lang="en-US" dirty="0"/>
          </a:p>
          <a:p>
            <a:r>
              <a:rPr lang="en-US" dirty="0"/>
              <a:t>From 1</a:t>
            </a:r>
            <a:r>
              <a:rPr lang="en-US" baseline="30000" dirty="0"/>
              <a:t>st</a:t>
            </a:r>
            <a:r>
              <a:rPr lang="en-US" dirty="0"/>
              <a:t> Gen - 90 nm (15 GE)  / 3</a:t>
            </a:r>
            <a:r>
              <a:rPr lang="en-US" baseline="30000" dirty="0"/>
              <a:t>rd</a:t>
            </a:r>
            <a:r>
              <a:rPr lang="en-US" dirty="0"/>
              <a:t> Gen – 28 nm (240 GE) to 5</a:t>
            </a:r>
            <a:r>
              <a:rPr lang="en-US" baseline="30000" dirty="0"/>
              <a:t>th</a:t>
            </a:r>
            <a:r>
              <a:rPr lang="en-US" dirty="0"/>
              <a:t> Gen - 7 nm (400GE). </a:t>
            </a:r>
          </a:p>
          <a:p>
            <a:endParaRPr lang="en-US" dirty="0"/>
          </a:p>
          <a:p>
            <a:r>
              <a:rPr lang="en-US" dirty="0"/>
              <a:t>4</a:t>
            </a:r>
            <a:r>
              <a:rPr lang="en-US" baseline="30000" dirty="0"/>
              <a:t>th</a:t>
            </a:r>
            <a:r>
              <a:rPr lang="en-US" dirty="0"/>
              <a:t> &amp; 5</a:t>
            </a:r>
            <a:r>
              <a:rPr lang="en-US" baseline="30000" dirty="0"/>
              <a:t>th</a:t>
            </a:r>
            <a:r>
              <a:rPr lang="en-US" dirty="0"/>
              <a:t> Gen are in house chip. </a:t>
            </a:r>
          </a:p>
          <a:p>
            <a:endParaRPr lang="en-US" dirty="0"/>
          </a:p>
          <a:p>
            <a:r>
              <a:rPr lang="en-US" dirty="0"/>
              <a:t>LightSpeed / LSP - Integrated Chip which consists of 4 components - NPU, PHY, TCAM &amp; FIA </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6</a:t>
            </a:fld>
            <a:endParaRPr lang="en-US" dirty="0"/>
          </a:p>
        </p:txBody>
      </p:sp>
    </p:spTree>
    <p:extLst>
      <p:ext uri="{BB962C8B-B14F-4D97-AF65-F5344CB8AC3E}">
        <p14:creationId xmlns:p14="http://schemas.microsoft.com/office/powerpoint/2010/main" val="42444075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Cisco cares about optics? </a:t>
            </a:r>
          </a:p>
          <a:p>
            <a:endParaRPr lang="en-US" dirty="0"/>
          </a:p>
          <a:p>
            <a:r>
              <a:rPr lang="en-US" dirty="0"/>
              <a:t>BoM split </a:t>
            </a:r>
            <a:r>
              <a:rPr lang="en-US" dirty="0" err="1"/>
              <a:t>bwt</a:t>
            </a:r>
            <a:r>
              <a:rPr lang="en-US" dirty="0"/>
              <a:t> port vs optics cost: </a:t>
            </a:r>
          </a:p>
          <a:p>
            <a:r>
              <a:rPr lang="en-US" dirty="0"/>
              <a:t>(Read as speed – pluggable optics vs Port cost in the BoM)</a:t>
            </a:r>
          </a:p>
          <a:p>
            <a:r>
              <a:rPr lang="en-US" dirty="0"/>
              <a:t>10GE - 20%: 80%</a:t>
            </a:r>
          </a:p>
          <a:p>
            <a:r>
              <a:rPr lang="en-US" dirty="0"/>
              <a:t>100GE – 50%: 50%</a:t>
            </a:r>
          </a:p>
          <a:p>
            <a:r>
              <a:rPr lang="en-US" dirty="0"/>
              <a:t>400GE – 80%:20%</a:t>
            </a:r>
          </a:p>
          <a:p>
            <a:endParaRPr lang="en-US" dirty="0"/>
          </a:p>
          <a:p>
            <a:r>
              <a:rPr lang="en-US" dirty="0"/>
              <a:t>Acacia – Brings high Speed Coherent optical innovation for long reach</a:t>
            </a:r>
          </a:p>
          <a:p>
            <a:r>
              <a:rPr lang="en-US" dirty="0" err="1"/>
              <a:t>Luxtera</a:t>
            </a:r>
            <a:r>
              <a:rPr lang="en-US" dirty="0"/>
              <a:t> – Provides access to silicon photonics for short reach in data center &amp; web scale customer</a:t>
            </a:r>
          </a:p>
          <a:p>
            <a:r>
              <a:rPr lang="en-US" dirty="0" err="1"/>
              <a:t>LightWire</a:t>
            </a:r>
            <a:r>
              <a:rPr lang="en-US" dirty="0"/>
              <a:t> – CPAK technology. First to market 100GE in small form factor with build in innovation to attain 10x10GE breakout from day1. </a:t>
            </a:r>
            <a:endParaRPr lang="en-US" u="none" dirty="0">
              <a:solidFill>
                <a:schemeClr val="bg2"/>
              </a:solidFill>
              <a:hlinkClick r:id="rId3">
                <a:extLst>
                  <a:ext uri="{A12FA001-AC4F-418D-AE19-62706E023703}">
                    <ahyp:hlinkClr xmlns:ahyp="http://schemas.microsoft.com/office/drawing/2018/hyperlinkcolor" val="tx"/>
                  </a:ext>
                </a:extLst>
              </a:hlinkClick>
            </a:endParaRPr>
          </a:p>
          <a:p>
            <a:endParaRPr lang="en-US" dirty="0">
              <a:hlinkClick r:id="rId3">
                <a:extLst>
                  <a:ext uri="{A12FA001-AC4F-418D-AE19-62706E023703}">
                    <ahyp:hlinkClr xmlns:ahyp="http://schemas.microsoft.com/office/drawing/2018/hyperlinkcolor" val="tx"/>
                  </a:ext>
                </a:extLst>
              </a:hlinkClick>
            </a:endParaRPr>
          </a:p>
          <a:p>
            <a:r>
              <a:rPr lang="en-US" dirty="0">
                <a:hlinkClick r:id="rId4"/>
              </a:rPr>
              <a:t>Acacia Communications, Inc.</a:t>
            </a:r>
            <a:r>
              <a:rPr lang="en-US" dirty="0"/>
              <a:t> - July 9, 2019</a:t>
            </a:r>
            <a:br>
              <a:rPr lang="en-US" dirty="0"/>
            </a:br>
            <a:r>
              <a:rPr lang="en-US" dirty="0"/>
              <a:t>Acacia Communications is a public fabless semiconductor company based in Maynard, Ma. Acacia develops, manufactures and sells high-speed coherent optical interconnect products that are designed to transform communications networks through improvements in performance, capacity and cost. Cisco is building an industry-leading portfolio of optical, silicon, and software technologies to advance our intent-based networking, and Acacia’s coherent optics technology will build on the strength of that portfolio.</a:t>
            </a:r>
            <a:endParaRPr lang="en-US" dirty="0">
              <a:hlinkClick r:id="" action="ppaction://noaction"/>
            </a:endParaRPr>
          </a:p>
          <a:p>
            <a:endParaRPr lang="en-US" dirty="0">
              <a:hlinkClick r:id="" action="ppaction://noaction"/>
            </a:endParaRPr>
          </a:p>
          <a:p>
            <a:r>
              <a:rPr lang="en-US" dirty="0">
                <a:hlinkClick r:id="" action="ppaction://noaction"/>
              </a:rPr>
              <a:t>Luxtera, Inc.</a:t>
            </a:r>
            <a:r>
              <a:rPr lang="en-US" dirty="0"/>
              <a:t> - December 18, 2018</a:t>
            </a:r>
            <a:br>
              <a:rPr lang="en-US" dirty="0"/>
            </a:br>
            <a:r>
              <a:rPr lang="en-US" dirty="0" err="1"/>
              <a:t>Luxtera</a:t>
            </a:r>
            <a:r>
              <a:rPr lang="en-US" dirty="0"/>
              <a:t> is a semiconductor company that uses silicon photonics to build integrated optics capabilities for </a:t>
            </a:r>
            <a:r>
              <a:rPr lang="en-US" dirty="0" err="1"/>
              <a:t>webscale</a:t>
            </a:r>
            <a:r>
              <a:rPr lang="en-US" dirty="0"/>
              <a:t> and enterprise data centers, service provider market segments, and other customers. </a:t>
            </a:r>
            <a:r>
              <a:rPr lang="en-US" dirty="0" err="1"/>
              <a:t>Luxtera's</a:t>
            </a:r>
            <a:r>
              <a:rPr lang="en-US" dirty="0"/>
              <a:t> technology, design, and manufacturing innovation significantly improves chip scale and performance, while lowering costs. Cisco plans to incorporate </a:t>
            </a:r>
            <a:r>
              <a:rPr lang="en-US" dirty="0" err="1"/>
              <a:t>Luxtera's</a:t>
            </a:r>
            <a:r>
              <a:rPr lang="en-US" dirty="0"/>
              <a:t> technology across its intent-based networking portfolio, spanning enterprise, data center and service provider markets.</a:t>
            </a:r>
            <a:endParaRPr lang="en-US" b="1" dirty="0">
              <a:hlinkClick r:id="" action="ppaction://noaction"/>
            </a:endParaRPr>
          </a:p>
          <a:p>
            <a:endParaRPr lang="en-US" b="1" dirty="0">
              <a:hlinkClick r:id="" action="ppaction://noaction"/>
            </a:endParaRPr>
          </a:p>
          <a:p>
            <a:r>
              <a:rPr lang="en-US" b="1" dirty="0">
                <a:hlinkClick r:id="" action="ppaction://noaction"/>
              </a:rPr>
              <a:t>Lightwire, Inc.</a:t>
            </a:r>
            <a:r>
              <a:rPr lang="en-US" dirty="0"/>
              <a:t> - February 24, 2012</a:t>
            </a:r>
            <a:br>
              <a:rPr lang="en-US" dirty="0"/>
            </a:br>
            <a:r>
              <a:rPr lang="en-US" dirty="0" err="1"/>
              <a:t>Lightwire</a:t>
            </a:r>
            <a:r>
              <a:rPr lang="en-US" dirty="0"/>
              <a:t> develops advanced optical interconnect technology for high-speed networking applications. The acquisition will allow Cisco to deliver cost-effective, high-speed networks with the next generation of optical connectivity, allowing service provider and data center customers to meet the growing demands of video, data, voice, mobility and cloud services.</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7</a:t>
            </a:fld>
            <a:endParaRPr lang="en-US" dirty="0"/>
          </a:p>
        </p:txBody>
      </p:sp>
    </p:spTree>
    <p:extLst>
      <p:ext uri="{BB962C8B-B14F-4D97-AF65-F5344CB8AC3E}">
        <p14:creationId xmlns:p14="http://schemas.microsoft.com/office/powerpoint/2010/main" val="28698172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pPr>
            <a:r>
              <a:rPr lang="en-US" sz="1200" b="0" dirty="0">
                <a:solidFill>
                  <a:schemeClr val="accent1">
                    <a:lumMod val="20000"/>
                    <a:lumOff val="80000"/>
                  </a:schemeClr>
                </a:solidFill>
              </a:rPr>
              <a:t>Hardware</a:t>
            </a:r>
            <a:r>
              <a:rPr lang="en-US" sz="1200" b="0" dirty="0"/>
              <a:t>: enhanced integrity verification, unique cryptographic identity, and strong entropy protect against counterfeit hardware and tampering</a:t>
            </a:r>
          </a:p>
          <a:p>
            <a:pPr>
              <a:spcBef>
                <a:spcPts val="1200"/>
              </a:spcBef>
            </a:pPr>
            <a:r>
              <a:rPr lang="en-US" sz="1200" b="0" dirty="0">
                <a:solidFill>
                  <a:schemeClr val="accent1">
                    <a:lumMod val="20000"/>
                    <a:lumOff val="80000"/>
                  </a:schemeClr>
                </a:solidFill>
              </a:rPr>
              <a:t>Software</a:t>
            </a:r>
            <a:r>
              <a:rPr lang="en-US" sz="1200" b="0" dirty="0"/>
              <a:t>: customer code signing, process-level signature verification, and secure storage prevent boot-kit attacks and malware injection</a:t>
            </a:r>
          </a:p>
          <a:p>
            <a:pPr>
              <a:spcBef>
                <a:spcPts val="1200"/>
              </a:spcBef>
            </a:pPr>
            <a:r>
              <a:rPr lang="en-US" sz="1200" b="0" dirty="0">
                <a:solidFill>
                  <a:schemeClr val="accent1">
                    <a:lumMod val="20000"/>
                    <a:lumOff val="80000"/>
                  </a:schemeClr>
                </a:solidFill>
              </a:rPr>
              <a:t>Runtime Protections</a:t>
            </a:r>
            <a:r>
              <a:rPr lang="en-US" sz="1200" b="0" dirty="0"/>
              <a:t>: SE Linux policy and runtime/cloud-based DDoS protections prevent remote exploits and denial of service</a:t>
            </a:r>
          </a:p>
          <a:p>
            <a:pPr>
              <a:spcBef>
                <a:spcPts val="1200"/>
              </a:spcBef>
            </a:pPr>
            <a:endParaRPr lang="en-US" sz="1200" b="0" dirty="0"/>
          </a:p>
          <a:p>
            <a:pPr>
              <a:spcBef>
                <a:spcPts val="1200"/>
              </a:spcBef>
            </a:pPr>
            <a:endParaRPr lang="en-US" sz="1200" b="0" dirty="0"/>
          </a:p>
          <a:p>
            <a:r>
              <a:rPr lang="en-US" sz="1200" kern="1200" dirty="0">
                <a:solidFill>
                  <a:schemeClr val="tx1"/>
                </a:solidFill>
                <a:effectLst/>
                <a:latin typeface="+mn-lt"/>
                <a:ea typeface="ＭＳ Ｐゴシック" charset="0"/>
                <a:cs typeface="ＭＳ Ｐゴシック" charset="0"/>
              </a:rPr>
              <a:t>Primary talking point:</a:t>
            </a:r>
          </a:p>
          <a:p>
            <a:pPr lvl="0"/>
            <a:r>
              <a:rPr lang="en-US" sz="1200" kern="1200" dirty="0">
                <a:solidFill>
                  <a:schemeClr val="tx1"/>
                </a:solidFill>
                <a:effectLst/>
                <a:latin typeface="+mn-lt"/>
                <a:ea typeface="ＭＳ Ｐゴシック" charset="0"/>
                <a:cs typeface="ＭＳ Ｐゴシック" charset="0"/>
              </a:rPr>
              <a:t>Trusted systems require trusted HARDWARE</a:t>
            </a:r>
          </a:p>
          <a:p>
            <a:pPr lvl="1"/>
            <a:r>
              <a:rPr lang="en-US" sz="1200" kern="1200" dirty="0">
                <a:solidFill>
                  <a:schemeClr val="tx1"/>
                </a:solidFill>
                <a:effectLst/>
                <a:latin typeface="+mn-lt"/>
                <a:ea typeface="ＭＳ Ｐゴシック" charset="0"/>
                <a:cs typeface="+mn-cs"/>
              </a:rPr>
              <a:t>Example:  software cannot effectively control software</a:t>
            </a:r>
          </a:p>
          <a:p>
            <a:pPr lvl="2"/>
            <a:r>
              <a:rPr lang="en-US" sz="1200" kern="1200" dirty="0">
                <a:solidFill>
                  <a:schemeClr val="tx1"/>
                </a:solidFill>
                <a:effectLst/>
                <a:latin typeface="+mn-lt"/>
                <a:ea typeface="ＭＳ Ｐゴシック" charset="0"/>
                <a:cs typeface="+mn-cs"/>
              </a:rPr>
              <a:t>Without a hardware root-of-trust any software can be compromised</a:t>
            </a:r>
          </a:p>
          <a:p>
            <a:pPr lvl="1"/>
            <a:r>
              <a:rPr lang="en-US" sz="1200" kern="1200" dirty="0">
                <a:solidFill>
                  <a:schemeClr val="tx1"/>
                </a:solidFill>
                <a:effectLst/>
                <a:latin typeface="+mn-lt"/>
                <a:ea typeface="ＭＳ Ｐゴシック" charset="0"/>
                <a:cs typeface="+mn-cs"/>
              </a:rPr>
              <a:t>Example:  advanced adversaries will use “boot-kits” to persist even after OS reinstall</a:t>
            </a:r>
          </a:p>
          <a:p>
            <a:r>
              <a:rPr lang="en-US" sz="1200" b="1" kern="1200" dirty="0">
                <a:solidFill>
                  <a:schemeClr val="tx1"/>
                </a:solidFill>
                <a:effectLst/>
                <a:latin typeface="+mn-lt"/>
                <a:ea typeface="ＭＳ Ｐゴシック" charset="0"/>
                <a:cs typeface="ＭＳ Ｐゴシック" charset="0"/>
              </a:rPr>
              <a:t>*** 3</a:t>
            </a:r>
            <a:r>
              <a:rPr lang="en-US" sz="1200" b="1" kern="1200" baseline="30000" dirty="0">
                <a:solidFill>
                  <a:schemeClr val="tx1"/>
                </a:solidFill>
                <a:effectLst/>
                <a:latin typeface="+mn-lt"/>
                <a:ea typeface="ＭＳ Ｐゴシック" charset="0"/>
                <a:cs typeface="ＭＳ Ｐゴシック" charset="0"/>
              </a:rPr>
              <a:t>rd</a:t>
            </a:r>
            <a:r>
              <a:rPr lang="en-US" sz="1200" b="1" kern="1200" dirty="0">
                <a:solidFill>
                  <a:schemeClr val="tx1"/>
                </a:solidFill>
                <a:effectLst/>
                <a:latin typeface="+mn-lt"/>
                <a:ea typeface="ＭＳ Ｐゴシック" charset="0"/>
                <a:cs typeface="ＭＳ Ｐゴシック" charset="0"/>
              </a:rPr>
              <a:t> party hardware (</a:t>
            </a:r>
            <a:r>
              <a:rPr lang="en-US" sz="1200" b="1" kern="1200" dirty="0" err="1">
                <a:solidFill>
                  <a:schemeClr val="tx1"/>
                </a:solidFill>
                <a:effectLst/>
                <a:latin typeface="+mn-lt"/>
                <a:ea typeface="ＭＳ Ｐゴシック" charset="0"/>
                <a:cs typeface="ＭＳ Ｐゴシック" charset="0"/>
              </a:rPr>
              <a:t>whiteboxes</a:t>
            </a:r>
            <a:r>
              <a:rPr lang="en-US" sz="1200" b="1" kern="1200" dirty="0">
                <a:solidFill>
                  <a:schemeClr val="tx1"/>
                </a:solidFill>
                <a:effectLst/>
                <a:latin typeface="+mn-lt"/>
                <a:ea typeface="ＭＳ Ｐゴシック" charset="0"/>
                <a:cs typeface="ＭＳ Ｐゴシック" charset="0"/>
              </a:rPr>
              <a:t> / disaggregated systems) WILL NOT HAVE AN EFFECTIVE HARDWARE-ROOT-of-TRUST</a:t>
            </a:r>
            <a:endParaRPr lang="en-US" sz="1200" kern="1200" dirty="0">
              <a:solidFill>
                <a:schemeClr val="tx1"/>
              </a:solidFill>
              <a:effectLst/>
              <a:latin typeface="+mn-lt"/>
              <a:ea typeface="ＭＳ Ｐゴシック" charset="0"/>
              <a:cs typeface="ＭＳ Ｐゴシック" charset="0"/>
            </a:endParaRPr>
          </a:p>
          <a:p>
            <a:pPr lvl="0"/>
            <a:r>
              <a:rPr lang="en-US" sz="1200" b="1" kern="1200" dirty="0">
                <a:solidFill>
                  <a:schemeClr val="tx1"/>
                </a:solidFill>
                <a:effectLst/>
                <a:latin typeface="+mn-lt"/>
                <a:ea typeface="ＭＳ Ｐゴシック" charset="0"/>
                <a:cs typeface="ＭＳ Ｐゴシック" charset="0"/>
              </a:rPr>
              <a:t>example:  this is why the security model in Apple iOS devices is stronger than Android.  Apple can establish and maintain trust in hardware, but a disaggregated ecosystem CANNOT</a:t>
            </a:r>
            <a:endParaRPr lang="en-US" sz="1200" kern="1200" dirty="0">
              <a:solidFill>
                <a:schemeClr val="tx1"/>
              </a:solidFill>
              <a:effectLst/>
              <a:latin typeface="+mn-lt"/>
              <a:ea typeface="ＭＳ Ｐゴシック" charset="0"/>
              <a:cs typeface="ＭＳ Ｐゴシック" charset="0"/>
            </a:endParaRPr>
          </a:p>
          <a:p>
            <a:pPr lvl="0"/>
            <a:r>
              <a:rPr lang="en-US" sz="1200" kern="1200" dirty="0">
                <a:solidFill>
                  <a:schemeClr val="tx1"/>
                </a:solidFill>
                <a:effectLst/>
                <a:latin typeface="+mn-lt"/>
                <a:ea typeface="ＭＳ Ｐゴシック" charset="0"/>
                <a:cs typeface="ＭＳ Ｐゴシック" charset="0"/>
              </a:rPr>
              <a:t>The hardware establishes a CHAIN OF TRUST</a:t>
            </a:r>
          </a:p>
          <a:p>
            <a:pPr lvl="1"/>
            <a:r>
              <a:rPr lang="en-US" sz="1200" kern="1200" dirty="0">
                <a:solidFill>
                  <a:schemeClr val="tx1"/>
                </a:solidFill>
                <a:effectLst/>
                <a:latin typeface="+mn-lt"/>
                <a:ea typeface="ＭＳ Ｐゴシック" charset="0"/>
                <a:cs typeface="+mn-cs"/>
              </a:rPr>
              <a:t>This chain of trust must pass through the bootloader, to the OS kernel, and then into the OS and services themselves</a:t>
            </a:r>
          </a:p>
          <a:p>
            <a:pPr lvl="0"/>
            <a:r>
              <a:rPr lang="en-US" sz="1200" kern="1200" dirty="0">
                <a:solidFill>
                  <a:schemeClr val="tx1"/>
                </a:solidFill>
                <a:effectLst/>
                <a:latin typeface="+mn-lt"/>
                <a:ea typeface="ＭＳ Ｐゴシック" charset="0"/>
                <a:cs typeface="ＭＳ Ｐゴシック" charset="0"/>
              </a:rPr>
              <a:t>It’s also not enough to just do secure boot</a:t>
            </a:r>
          </a:p>
          <a:p>
            <a:pPr lvl="1"/>
            <a:r>
              <a:rPr lang="en-US" sz="1200" kern="1200" dirty="0">
                <a:solidFill>
                  <a:schemeClr val="tx1"/>
                </a:solidFill>
                <a:effectLst/>
                <a:latin typeface="+mn-lt"/>
                <a:ea typeface="ＭＳ Ｐゴシック" charset="0"/>
                <a:cs typeface="+mn-cs"/>
              </a:rPr>
              <a:t>Exploits happen at runtime.  They can come from anywhere</a:t>
            </a:r>
          </a:p>
          <a:p>
            <a:pPr lvl="0"/>
            <a:r>
              <a:rPr lang="en-US" sz="1200" kern="1200" dirty="0">
                <a:solidFill>
                  <a:schemeClr val="tx1"/>
                </a:solidFill>
                <a:effectLst/>
                <a:latin typeface="+mn-lt"/>
                <a:ea typeface="ＭＳ Ｐゴシック" charset="0"/>
                <a:cs typeface="ＭＳ Ｐゴシック" charset="0"/>
              </a:rPr>
              <a:t>EXPLOITS will ALWAYS happen.</a:t>
            </a:r>
          </a:p>
          <a:p>
            <a:pPr lvl="1"/>
            <a:r>
              <a:rPr lang="en-US" sz="1200" kern="1200" dirty="0">
                <a:solidFill>
                  <a:schemeClr val="tx1"/>
                </a:solidFill>
                <a:effectLst/>
                <a:latin typeface="+mn-lt"/>
                <a:ea typeface="ＭＳ Ｐゴシック" charset="0"/>
                <a:cs typeface="+mn-cs"/>
              </a:rPr>
              <a:t>We will always focus on fixing known vulnerabilities, but its MORE IMPORTANT to harden the OS against modification if an exploit is exercised</a:t>
            </a:r>
          </a:p>
          <a:p>
            <a:pPr lvl="0"/>
            <a:r>
              <a:rPr lang="en-US" sz="1200" kern="1200" dirty="0">
                <a:solidFill>
                  <a:schemeClr val="tx1"/>
                </a:solidFill>
                <a:effectLst/>
                <a:latin typeface="+mn-lt"/>
                <a:ea typeface="ＭＳ Ｐゴシック" charset="0"/>
                <a:cs typeface="ＭＳ Ｐゴシック" charset="0"/>
              </a:rPr>
              <a:t>What do you do to protect yourself?</a:t>
            </a:r>
          </a:p>
          <a:p>
            <a:pPr lvl="1"/>
            <a:r>
              <a:rPr lang="en-US" sz="1200" kern="1200" dirty="0">
                <a:solidFill>
                  <a:schemeClr val="tx1"/>
                </a:solidFill>
                <a:effectLst/>
                <a:latin typeface="+mn-lt"/>
                <a:ea typeface="ＭＳ Ｐゴシック" charset="0"/>
                <a:cs typeface="+mn-cs"/>
              </a:rPr>
              <a:t>HARDEN the OS at runtime</a:t>
            </a:r>
          </a:p>
          <a:p>
            <a:pPr lvl="2"/>
            <a:r>
              <a:rPr lang="en-US" sz="1200" kern="1200" dirty="0">
                <a:solidFill>
                  <a:schemeClr val="tx1"/>
                </a:solidFill>
                <a:effectLst/>
                <a:latin typeface="+mn-lt"/>
                <a:ea typeface="ＭＳ Ｐゴシック" charset="0"/>
                <a:cs typeface="+mn-cs"/>
              </a:rPr>
              <a:t>Prevent the attackers from progressing (ex: privilege escalation) even if they access the system</a:t>
            </a:r>
          </a:p>
          <a:p>
            <a:pPr lvl="1"/>
            <a:r>
              <a:rPr lang="en-US" sz="1200" kern="1200" dirty="0">
                <a:solidFill>
                  <a:schemeClr val="tx1"/>
                </a:solidFill>
                <a:effectLst/>
                <a:latin typeface="+mn-lt"/>
                <a:ea typeface="ＭＳ Ｐゴシック" charset="0"/>
                <a:cs typeface="+mn-cs"/>
              </a:rPr>
              <a:t>VISUALIZE and REPORT on integrity</a:t>
            </a:r>
          </a:p>
          <a:p>
            <a:pPr lvl="2"/>
            <a:r>
              <a:rPr lang="en-US" sz="1200" kern="1200" dirty="0">
                <a:solidFill>
                  <a:schemeClr val="tx1"/>
                </a:solidFill>
                <a:effectLst/>
                <a:latin typeface="+mn-lt"/>
                <a:ea typeface="ＭＳ Ｐゴシック" charset="0"/>
                <a:cs typeface="+mn-cs"/>
              </a:rPr>
              <a:t>KNOW if your systems have been compromised, and provide effective audit and trust posture reporting</a:t>
            </a:r>
          </a:p>
          <a:p>
            <a:pPr>
              <a:spcBef>
                <a:spcPts val="1200"/>
              </a:spcBef>
            </a:pPr>
            <a:endParaRPr lang="en-US" sz="1200" b="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8</a:t>
            </a:fld>
            <a:endParaRPr lang="en-US" dirty="0"/>
          </a:p>
        </p:txBody>
      </p:sp>
    </p:spTree>
    <p:extLst>
      <p:ext uri="{BB962C8B-B14F-4D97-AF65-F5344CB8AC3E}">
        <p14:creationId xmlns:p14="http://schemas.microsoft.com/office/powerpoint/2010/main" val="21708333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1491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9</a:t>
            </a:fld>
            <a:endParaRPr lang="en-US" dirty="0"/>
          </a:p>
        </p:txBody>
      </p:sp>
    </p:spTree>
    <p:extLst>
      <p:ext uri="{BB962C8B-B14F-4D97-AF65-F5344CB8AC3E}">
        <p14:creationId xmlns:p14="http://schemas.microsoft.com/office/powerpoint/2010/main" val="42413794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CiscoSansTT" panose="020B0503020201020303" pitchFamily="34" charset="0"/>
                <a:cs typeface="CiscoSansTT" panose="020B0503020201020303" pitchFamily="34" charset="0"/>
              </a:rPr>
              <a:t>3.2 T target is April 2020 end</a:t>
            </a:r>
          </a:p>
          <a:p>
            <a:r>
              <a:rPr lang="en-US" sz="1050" dirty="0">
                <a:latin typeface="CiscoSansTT" panose="020B0503020201020303" pitchFamily="34" charset="0"/>
                <a:cs typeface="CiscoSansTT" panose="020B0503020201020303" pitchFamily="34" charset="0"/>
              </a:rPr>
              <a:t>2T &amp; .8T combo is May 2020</a:t>
            </a:r>
          </a:p>
          <a:p>
            <a:endParaRPr lang="en-US" sz="1050" dirty="0">
              <a:latin typeface="CiscoSansTT" panose="020B0503020201020303" pitchFamily="34" charset="0"/>
              <a:cs typeface="CiscoSansTT" panose="020B0503020201020303" pitchFamily="34" charset="0"/>
            </a:endParaRPr>
          </a:p>
          <a:p>
            <a:r>
              <a:rPr lang="en-US" sz="1050" dirty="0">
                <a:latin typeface="CiscoSansTT" panose="020B0503020201020303" pitchFamily="34" charset="0"/>
                <a:cs typeface="CiscoSansTT" panose="020B0503020201020303" pitchFamily="34" charset="0"/>
              </a:rPr>
              <a:t>Feature parity with Tomahawk (3</a:t>
            </a:r>
            <a:r>
              <a:rPr lang="en-US" sz="1050" baseline="30000" dirty="0">
                <a:latin typeface="CiscoSansTT" panose="020B0503020201020303" pitchFamily="34" charset="0"/>
                <a:cs typeface="CiscoSansTT" panose="020B0503020201020303" pitchFamily="34" charset="0"/>
              </a:rPr>
              <a:t>rd</a:t>
            </a:r>
            <a:r>
              <a:rPr lang="en-US" sz="1050" dirty="0">
                <a:latin typeface="CiscoSansTT" panose="020B0503020201020303" pitchFamily="34" charset="0"/>
                <a:cs typeface="CiscoSansTT" panose="020B0503020201020303" pitchFamily="34" charset="0"/>
              </a:rPr>
              <a:t> Generation LC) except for BNG on day1. As the new evolution would be cloud based BNG</a:t>
            </a:r>
          </a:p>
          <a:p>
            <a:endParaRPr lang="en-US" sz="1050" dirty="0">
              <a:latin typeface="CiscoSansTT" panose="020B0503020201020303" pitchFamily="34" charset="0"/>
              <a:cs typeface="CiscoSansTT" panose="020B0503020201020303" pitchFamily="34" charset="0"/>
            </a:endParaRPr>
          </a:p>
          <a:p>
            <a:endParaRPr lang="en-US" sz="1050" dirty="0">
              <a:latin typeface="CiscoSansTT" panose="020B0503020201020303" pitchFamily="34" charset="0"/>
              <a:cs typeface="CiscoSansTT" panose="020B0503020201020303" pitchFamily="34" charset="0"/>
            </a:endParaRPr>
          </a:p>
          <a:p>
            <a:endParaRPr lang="en-US" sz="1050" dirty="0">
              <a:latin typeface="CiscoSansTT" panose="020B0503020201020303" pitchFamily="34" charset="0"/>
              <a:cs typeface="CiscoSansTT" panose="020B05030202010203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3B8303-D506-4D91-B744-A48C7604F7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37052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p:cNvSpPr txBox="1">
            <a:spLocks noGrp="1" noChangeArrowheads="1"/>
          </p:cNvSpPr>
          <p:nvPr/>
        </p:nvSpPr>
        <p:spPr bwMode="auto">
          <a:xfrm>
            <a:off x="3970339" y="8829675"/>
            <a:ext cx="3038475" cy="465138"/>
          </a:xfrm>
          <a:prstGeom prst="rect">
            <a:avLst/>
          </a:prstGeom>
          <a:noFill/>
          <a:ln w="9525">
            <a:noFill/>
            <a:miter lim="800000"/>
            <a:headEnd/>
            <a:tailEnd/>
          </a:ln>
        </p:spPr>
        <p:txBody>
          <a:bodyPr lIns="93172" tIns="46587" rIns="93172" bIns="46587" anchor="b"/>
          <a:lstStyle/>
          <a:p>
            <a:pPr algn="r" defTabSz="931811"/>
            <a:fld id="{0B3AA262-A975-4BE6-BBAD-A66E0A6E722E}" type="slidenum">
              <a:rPr lang="en-US" sz="1200">
                <a:ea typeface="ＭＳ Ｐゴシック"/>
                <a:cs typeface="ＭＳ Ｐゴシック"/>
              </a:rPr>
              <a:pPr algn="r" defTabSz="931811"/>
              <a:t>111</a:t>
            </a:fld>
            <a:endParaRPr lang="en-US" sz="1200" dirty="0">
              <a:ea typeface="ＭＳ Ｐゴシック"/>
              <a:cs typeface="ＭＳ Ｐゴシック"/>
            </a:endParaRPr>
          </a:p>
        </p:txBody>
      </p:sp>
      <p:sp>
        <p:nvSpPr>
          <p:cNvPr id="159747" name="Rectangle 2"/>
          <p:cNvSpPr>
            <a:spLocks noGrp="1" noRot="1" noChangeAspect="1" noChangeArrowheads="1" noTextEdit="1"/>
          </p:cNvSpPr>
          <p:nvPr>
            <p:ph type="sldImg"/>
          </p:nvPr>
        </p:nvSpPr>
        <p:spPr>
          <a:xfrm>
            <a:off x="406400" y="696913"/>
            <a:ext cx="6197600" cy="3486150"/>
          </a:xfrm>
          <a:ln/>
        </p:spPr>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3</a:t>
            </a:fld>
            <a:endParaRPr lang="en-US" dirty="0"/>
          </a:p>
        </p:txBody>
      </p:sp>
    </p:spTree>
    <p:extLst>
      <p:ext uri="{BB962C8B-B14F-4D97-AF65-F5344CB8AC3E}">
        <p14:creationId xmlns:p14="http://schemas.microsoft.com/office/powerpoint/2010/main" val="161022968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solidFill>
                  <a:schemeClr val="bg1"/>
                </a:solidFill>
                <a:latin typeface="+mn-lt"/>
              </a:rPr>
              <a:t>Traditional </a:t>
            </a:r>
          </a:p>
          <a:p>
            <a:endParaRPr lang="en-US" sz="1050" dirty="0">
              <a:solidFill>
                <a:schemeClr val="bg1"/>
              </a:solidFill>
              <a:latin typeface="+mn-lt"/>
            </a:endParaRPr>
          </a:p>
          <a:p>
            <a:r>
              <a:rPr lang="en-US" sz="1050" dirty="0">
                <a:solidFill>
                  <a:schemeClr val="bg1"/>
                </a:solidFill>
                <a:latin typeface="+mn-lt"/>
              </a:rPr>
              <a:t>Multi Layer Network with each layer treated individually</a:t>
            </a:r>
          </a:p>
          <a:p>
            <a:r>
              <a:rPr lang="en-US" sz="1050" dirty="0">
                <a:solidFill>
                  <a:schemeClr val="bg1"/>
                </a:solidFill>
                <a:latin typeface="+mn-lt"/>
              </a:rPr>
              <a:t>IP Layer is Dynamic as is the Transport</a:t>
            </a:r>
          </a:p>
          <a:p>
            <a:pPr marL="344488" lvl="1"/>
            <a:r>
              <a:rPr lang="en-US" sz="900" dirty="0">
                <a:solidFill>
                  <a:schemeClr val="bg1"/>
                </a:solidFill>
                <a:latin typeface="+mn-lt"/>
              </a:rPr>
              <a:t>Adjustable Data Rate, Modulation, Baud Rate and Spectrum</a:t>
            </a:r>
          </a:p>
          <a:p>
            <a:r>
              <a:rPr lang="en-US" sz="1050" dirty="0">
                <a:solidFill>
                  <a:schemeClr val="bg1"/>
                </a:solidFill>
                <a:latin typeface="+mn-lt"/>
              </a:rPr>
              <a:t>Operational Life Cycle Complex</a:t>
            </a:r>
          </a:p>
          <a:p>
            <a:pPr marL="344488" lvl="1"/>
            <a:r>
              <a:rPr lang="en-US" sz="900" dirty="0">
                <a:solidFill>
                  <a:schemeClr val="bg1"/>
                </a:solidFill>
                <a:latin typeface="+mn-lt"/>
              </a:rPr>
              <a:t>Optical / OTN Switching network adds complexity around Planning, Compute and Management</a:t>
            </a:r>
            <a:br>
              <a:rPr lang="en-US" sz="900" dirty="0">
                <a:solidFill>
                  <a:schemeClr val="bg1"/>
                </a:solidFill>
                <a:latin typeface="+mn-lt"/>
              </a:rPr>
            </a:br>
            <a:endParaRPr lang="en-US" sz="700" dirty="0">
              <a:solidFill>
                <a:schemeClr val="bg1"/>
              </a:solidFill>
              <a:latin typeface="+mn-lt"/>
            </a:endParaRPr>
          </a:p>
          <a:p>
            <a:r>
              <a:rPr lang="en-US" dirty="0"/>
              <a:t>IPoEoF</a:t>
            </a:r>
          </a:p>
          <a:p>
            <a:endParaRPr lang="en-US" dirty="0"/>
          </a:p>
          <a:p>
            <a:r>
              <a:rPr lang="en-US" sz="1000" dirty="0">
                <a:solidFill>
                  <a:schemeClr val="bg1"/>
                </a:solidFill>
                <a:latin typeface="+mn-lt"/>
              </a:rPr>
              <a:t>Focus on the Service and not the individual layer</a:t>
            </a:r>
          </a:p>
          <a:p>
            <a:r>
              <a:rPr lang="en-US" sz="1000" dirty="0">
                <a:solidFill>
                  <a:schemeClr val="bg1"/>
                </a:solidFill>
                <a:latin typeface="+mn-lt"/>
              </a:rPr>
              <a:t>Leverage Zero Density Trade off pluggables</a:t>
            </a:r>
          </a:p>
          <a:p>
            <a:pPr lvl="1"/>
            <a:r>
              <a:rPr lang="en-US" sz="900" dirty="0">
                <a:solidFill>
                  <a:schemeClr val="bg1"/>
                </a:solidFill>
                <a:latin typeface="+mn-lt"/>
              </a:rPr>
              <a:t>QSFP-DD 400Gig ZR / ZR+ pluggables</a:t>
            </a:r>
          </a:p>
          <a:p>
            <a:r>
              <a:rPr lang="en-US" sz="1000" dirty="0">
                <a:solidFill>
                  <a:schemeClr val="bg1"/>
                </a:solidFill>
                <a:latin typeface="+mn-lt"/>
              </a:rPr>
              <a:t>Hop to Hop Architecture</a:t>
            </a:r>
          </a:p>
          <a:p>
            <a:pPr lvl="1"/>
            <a:r>
              <a:rPr lang="en-US" sz="900" dirty="0">
                <a:solidFill>
                  <a:schemeClr val="bg1"/>
                </a:solidFill>
                <a:latin typeface="+mn-lt"/>
              </a:rPr>
              <a:t>Eliminating the Optical / OTN Switching complexity</a:t>
            </a:r>
          </a:p>
          <a:p>
            <a:r>
              <a:rPr lang="en-US" sz="1000" dirty="0">
                <a:solidFill>
                  <a:schemeClr val="bg1"/>
                </a:solidFill>
                <a:latin typeface="+mn-lt"/>
              </a:rPr>
              <a:t>Simplify Operational Life Cycle</a:t>
            </a:r>
          </a:p>
          <a:p>
            <a:pPr lvl="1"/>
            <a:r>
              <a:rPr lang="en-US" sz="900" dirty="0">
                <a:solidFill>
                  <a:schemeClr val="bg1"/>
                </a:solidFill>
                <a:latin typeface="+mn-lt"/>
              </a:rPr>
              <a:t>Hop to Hop simplifies Planning, Activation, Management </a:t>
            </a:r>
            <a:endParaRPr lang="en-US" sz="1100" dirty="0">
              <a:solidFill>
                <a:schemeClr val="bg1"/>
              </a:solidFill>
              <a:latin typeface="+mn-lt"/>
            </a:endParaRPr>
          </a:p>
          <a:p>
            <a:endParaRPr lang="en-US" dirty="0"/>
          </a:p>
          <a:p>
            <a:endParaRPr lang="en-US" dirty="0"/>
          </a:p>
          <a:p>
            <a:endParaRPr lang="en-US" dirty="0"/>
          </a:p>
          <a:p>
            <a:endParaRPr lang="en-US" dirty="0"/>
          </a:p>
          <a:p>
            <a:endParaRPr lang="en-US" dirty="0"/>
          </a:p>
          <a:p>
            <a:endParaRPr lang="en-US" dirty="0"/>
          </a:p>
          <a:p>
            <a:endParaRPr lang="en-US" dirty="0"/>
          </a:p>
          <a:p>
            <a:r>
              <a:rPr lang="en-US" dirty="0"/>
              <a:t>Walid’s Notes:</a:t>
            </a:r>
          </a:p>
          <a:p>
            <a:r>
              <a:rPr lang="en-US" sz="1200" kern="1200" dirty="0">
                <a:solidFill>
                  <a:schemeClr val="tx1"/>
                </a:solidFill>
                <a:effectLst/>
                <a:latin typeface="+mn-lt"/>
                <a:ea typeface="ＭＳ Ｐゴシック" charset="0"/>
                <a:cs typeface="ＭＳ Ｐゴシック" charset="0"/>
              </a:rPr>
              <a:t>IPoEoF vs Traditional provides…</a:t>
            </a:r>
          </a:p>
          <a:p>
            <a:r>
              <a:rPr lang="en-US" sz="1200" kern="1200" dirty="0">
                <a:solidFill>
                  <a:schemeClr val="tx1"/>
                </a:solidFill>
                <a:effectLst/>
                <a:latin typeface="+mn-lt"/>
                <a:ea typeface="ＭＳ Ｐゴシック" charset="0"/>
                <a:cs typeface="ＭＳ Ｐゴシック" charset="0"/>
              </a:rPr>
              <a:t>- Single Management interface with either:</a:t>
            </a:r>
          </a:p>
          <a:p>
            <a:r>
              <a:rPr lang="en-US" sz="1200" kern="1200" dirty="0">
                <a:solidFill>
                  <a:schemeClr val="tx1"/>
                </a:solidFill>
                <a:effectLst/>
                <a:latin typeface="+mn-lt"/>
                <a:ea typeface="ＭＳ Ｐゴシック" charset="0"/>
                <a:cs typeface="ＭＳ Ｐゴシック" charset="0"/>
              </a:rPr>
              <a:t>	- Aggregated view or Disaggregated view depending on the users operational model</a:t>
            </a:r>
          </a:p>
          <a:p>
            <a:r>
              <a:rPr lang="en-US" sz="1200" kern="1200" dirty="0">
                <a:solidFill>
                  <a:schemeClr val="tx1"/>
                </a:solidFill>
                <a:effectLst/>
                <a:latin typeface="+mn-lt"/>
                <a:ea typeface="ＭＳ Ｐゴシック" charset="0"/>
                <a:cs typeface="ＭＳ Ｐゴシック" charset="0"/>
              </a:rPr>
              <a:t>- Planning and Feasibility simplification by eliminating Bypass, network feasibility and all the associated dials (mod schemes, BW, Data Rate, etc..) becomes a simple computational effort</a:t>
            </a:r>
          </a:p>
          <a:p>
            <a:r>
              <a:rPr lang="en-US" sz="1200" kern="1200" dirty="0">
                <a:solidFill>
                  <a:schemeClr val="tx1"/>
                </a:solidFill>
                <a:effectLst/>
                <a:latin typeface="+mn-lt"/>
                <a:ea typeface="ＭＳ Ｐゴシック" charset="0"/>
                <a:cs typeface="ＭＳ Ｐゴシック" charset="0"/>
              </a:rPr>
              <a:t>- Management and Control moves closer to the service breaking existing layer approaches enabling quick service introduction </a:t>
            </a:r>
          </a:p>
          <a:p>
            <a:r>
              <a:rPr lang="en-US" sz="1200" kern="1200" dirty="0">
                <a:solidFill>
                  <a:schemeClr val="tx1"/>
                </a:solidFill>
                <a:effectLst/>
                <a:latin typeface="+mn-lt"/>
                <a:ea typeface="ＭＳ Ｐゴシック" charset="0"/>
                <a:cs typeface="ＭＳ Ｐゴシック" charset="0"/>
              </a:rPr>
              <a:t>- Reduced Power and Footprint as no more need of additional shelves for transponders and multi degree ROADMs that take space and Power</a:t>
            </a:r>
          </a:p>
          <a:p>
            <a:r>
              <a:rPr lang="en-US" sz="1200" kern="1200" dirty="0">
                <a:solidFill>
                  <a:schemeClr val="tx1"/>
                </a:solidFill>
                <a:effectLst/>
                <a:latin typeface="+mn-lt"/>
                <a:ea typeface="ＭＳ Ｐゴシック" charset="0"/>
                <a:cs typeface="ＭＳ Ｐゴシック" charset="0"/>
              </a:rPr>
              <a:t>- Zero Density trade off between grey (traditional Interfaces) and DWDM interfaces based on pluggable technology</a:t>
            </a:r>
          </a:p>
          <a:p>
            <a:r>
              <a:rPr lang="en-US" sz="1200" kern="1200" dirty="0">
                <a:solidFill>
                  <a:schemeClr val="tx1"/>
                </a:solidFill>
                <a:effectLst/>
                <a:latin typeface="+mn-lt"/>
                <a:ea typeface="ＭＳ Ｐゴシック" charset="0"/>
                <a:cs typeface="ＭＳ Ｐゴシック" charset="0"/>
              </a:rPr>
              <a:t>- Sharing of network information which Service is dependent on is enabled</a:t>
            </a:r>
          </a:p>
          <a:p>
            <a:r>
              <a:rPr lang="en-US" sz="1200" kern="1200" dirty="0">
                <a:solidFill>
                  <a:schemeClr val="tx1"/>
                </a:solidFill>
                <a:effectLst/>
                <a:latin typeface="+mn-lt"/>
                <a:ea typeface="ＭＳ Ｐゴシック" charset="0"/>
                <a:cs typeface="ＭＳ Ｐゴシック" charset="0"/>
              </a:rPr>
              <a:t>- Leverages industry efforts to standardize line side interfaces and North and Southbound interfaces and models enabling third party support in the future.</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5</a:t>
            </a:fld>
            <a:endParaRPr lang="en-US" dirty="0"/>
          </a:p>
        </p:txBody>
      </p:sp>
    </p:spTree>
    <p:extLst>
      <p:ext uri="{BB962C8B-B14F-4D97-AF65-F5344CB8AC3E}">
        <p14:creationId xmlns:p14="http://schemas.microsoft.com/office/powerpoint/2010/main" val="208091500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Arial" panose="020B0604020202020204" pitchFamily="34" charset="0"/>
                <a:ea typeface="ＭＳ Ｐゴシック" charset="0"/>
                <a:cs typeface="Arial" panose="020B0604020202020204" pitchFamily="34" charset="0"/>
              </a:rPr>
              <a:t>Our solutions provide you with the power to play the role of disruptor by letting you solve business problems everywhere by bringing analytics wherever those problems exist. We let you do this with leading efficiencies to scale to support massive quantities of data and lower your total cost of ownership—as well as exceptional speed in processing analytics and bringing tested and proven analytics solutions to your business. Let’s talk about each of these points in more detail.</a:t>
            </a:r>
            <a:endParaRPr lang="en-US" sz="900" b="1" kern="1200" baseline="0" dirty="0">
              <a:solidFill>
                <a:schemeClr val="tx1"/>
              </a:solidFill>
              <a:effectLst/>
              <a:latin typeface="+mn-lt"/>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7</a:t>
            </a:fld>
            <a:endParaRPr lang="en-US" dirty="0"/>
          </a:p>
        </p:txBody>
      </p:sp>
    </p:spTree>
    <p:extLst>
      <p:ext uri="{BB962C8B-B14F-4D97-AF65-F5344CB8AC3E}">
        <p14:creationId xmlns:p14="http://schemas.microsoft.com/office/powerpoint/2010/main" val="29507228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 are:</a:t>
            </a:r>
          </a:p>
          <a:p>
            <a:pPr marL="171450" indent="-171450">
              <a:buFontTx/>
              <a:buChar char="-"/>
            </a:pPr>
            <a:r>
              <a:rPr lang="en-US" b="1" dirty="0"/>
              <a:t>Reduce upfront capital </a:t>
            </a:r>
            <a:r>
              <a:rPr lang="en-US" dirty="0"/>
              <a:t>– Pay-as-you-grow with a 40% minimum fill rate can greatly reduce the initial deployment costs, while providing the ability to add port capacity as your end customers grow</a:t>
            </a:r>
          </a:p>
          <a:p>
            <a:pPr marL="171450" indent="-171450">
              <a:buFontTx/>
              <a:buChar char="-"/>
            </a:pPr>
            <a:r>
              <a:rPr lang="en-US" b="1" dirty="0"/>
              <a:t>Utilize capital efficiently </a:t>
            </a:r>
            <a:r>
              <a:rPr lang="en-US" dirty="0"/>
              <a:t>– resource pooling allows licenses to be shared across the Flexible Consumption Model network. Any node in the FCM network can use available licenses in the network-wide license pool</a:t>
            </a:r>
          </a:p>
          <a:p>
            <a:pPr marL="171450" indent="-171450">
              <a:buFontTx/>
              <a:buChar char="-"/>
            </a:pPr>
            <a:r>
              <a:rPr lang="en-US" b="1" dirty="0"/>
              <a:t>Protect your investment </a:t>
            </a:r>
            <a:r>
              <a:rPr lang="en-US" dirty="0"/>
              <a:t>– a form of investment protection is provided when purchasing the FCM model. Perpetual software right-to-mange licenses can be ported from one generation of hardware to a next-generation hardware.</a:t>
            </a:r>
          </a:p>
          <a:p>
            <a:pPr marL="171450" indent="-171450">
              <a:buFontTx/>
              <a:buChar char="-"/>
            </a:pPr>
            <a:r>
              <a:rPr lang="en-US" b="1" dirty="0"/>
              <a:t>Embedded Automation </a:t>
            </a:r>
            <a:r>
              <a:rPr lang="en-US" dirty="0"/>
              <a:t>– a starter-kit level of Right-to-Manage is provided for EPNM, WAE, and Crosswork. This can be used for deployments and requires a server license to be purchased separately. Customers can then upgrade their FCM Right-to-manage license to “full” RTM manage to unlock more enhanced capabilit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53892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software Suites:</a:t>
            </a:r>
          </a:p>
          <a:p>
            <a:pPr marL="171450" indent="-171450">
              <a:buFontTx/>
              <a:buChar char="-"/>
            </a:pPr>
            <a:r>
              <a:rPr lang="en-US" b="1" dirty="0"/>
              <a:t>Essentials SW Suite </a:t>
            </a:r>
            <a:r>
              <a:rPr lang="en-US" dirty="0"/>
              <a:t>– is required for all “active” ports (in “no-shut”) and supports the IOS-XR transport feature set. This is a “Per capacity” license (e.g., per 100G for the NCS 5500).</a:t>
            </a:r>
          </a:p>
          <a:p>
            <a:pPr marL="171450" indent="-171450">
              <a:buFontTx/>
              <a:buChar char="-"/>
            </a:pPr>
            <a:r>
              <a:rPr lang="en-US" b="1" dirty="0"/>
              <a:t>Advanced SW Suite </a:t>
            </a:r>
            <a:r>
              <a:rPr lang="en-US" dirty="0"/>
              <a:t>– is require when one or more of the “Advanced” features (L2 E-LAN, L3VPN, Segment Routing, Peering Scale, MACSec, Security, and Lindt features are used). This license is stacked on top of the Essentials SW Suite and is also a “per capacity” license (e.g., per 100G for the NCS 5500 and ASR 9000 high-density Ethernet line cards, and per 10G for the NCS 540).</a:t>
            </a:r>
          </a:p>
          <a:p>
            <a:pPr marL="171450" indent="-171450">
              <a:buFontTx/>
              <a:buChar char="-"/>
            </a:pPr>
            <a:endParaRPr lang="en-US" dirty="0"/>
          </a:p>
          <a:p>
            <a:pPr marL="0" indent="0">
              <a:buFontTx/>
              <a:buNone/>
            </a:pPr>
            <a:r>
              <a:rPr lang="en-US" b="1" dirty="0"/>
              <a:t>New additions:</a:t>
            </a:r>
          </a:p>
          <a:p>
            <a:pPr marL="171450" indent="-171450">
              <a:buFontTx/>
              <a:buChar char="-"/>
            </a:pPr>
            <a:r>
              <a:rPr lang="en-US" dirty="0"/>
              <a:t>PW Multihoming includes both EVPN VPWS PW multihoming and MC-LAG with ICCP and PW Multihoming.  </a:t>
            </a:r>
          </a:p>
          <a:p>
            <a:pPr marL="171450" indent="-171450">
              <a:buFontTx/>
              <a:buChar char="-"/>
            </a:pPr>
            <a:r>
              <a:rPr lang="en-US" dirty="0"/>
              <a:t>Traffic Engineering include RSVP TE and SR TE and SR PCE</a:t>
            </a:r>
          </a:p>
          <a:p>
            <a:pPr marL="171450" indent="-171450">
              <a:buFontTx/>
              <a:buChar char="-"/>
            </a:pPr>
            <a:r>
              <a:rPr lang="en-US" dirty="0"/>
              <a:t>Advanced SR includes SR TE and SR PCE and Flex Algo and MPLS Performance Monitoring/Managemen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13807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software Suites:</a:t>
            </a:r>
          </a:p>
          <a:p>
            <a:pPr marL="171450" indent="-171450">
              <a:buFontTx/>
              <a:buChar char="-"/>
            </a:pPr>
            <a:r>
              <a:rPr lang="en-US" b="1" dirty="0"/>
              <a:t>Essentials SW Suite </a:t>
            </a:r>
            <a:r>
              <a:rPr lang="en-US" dirty="0"/>
              <a:t>– is required for all “active” ports (in “no-shut”) and supports the IOS-XR transport feature set. This is a “Per capacity” license (e.g., per 100G for the NCS 5500).</a:t>
            </a:r>
          </a:p>
          <a:p>
            <a:pPr marL="171450" indent="-171450">
              <a:buFontTx/>
              <a:buChar char="-"/>
            </a:pPr>
            <a:r>
              <a:rPr lang="en-US" b="1" dirty="0"/>
              <a:t>Advanced SW Suite </a:t>
            </a:r>
            <a:r>
              <a:rPr lang="en-US" dirty="0"/>
              <a:t>– is require when one or more of the “Advanced” features (L2 E-LAN, L3VPN, Segment Routing, Peering Scale, MACSec, Security, and Lindt features are used). This license is stacked on top of the Essentials SW Suite and is also a “per capacity” license (e.g., per 100G for the NCS 5500 and ASR 9000 high-density Ethernet line cards, and per 10G for the NCS 540).</a:t>
            </a:r>
          </a:p>
          <a:p>
            <a:pPr marL="171450" indent="-171450">
              <a:buFontTx/>
              <a:buChar char="-"/>
            </a:pPr>
            <a:endParaRPr lang="en-US" dirty="0"/>
          </a:p>
          <a:p>
            <a:pPr marL="0" indent="0">
              <a:buFontTx/>
              <a:buNone/>
            </a:pPr>
            <a:r>
              <a:rPr lang="en-US" b="1" dirty="0"/>
              <a:t>New additions:</a:t>
            </a:r>
          </a:p>
          <a:p>
            <a:pPr marL="171450" indent="-171450">
              <a:buFontTx/>
              <a:buChar char="-"/>
            </a:pPr>
            <a:r>
              <a:rPr lang="en-US" dirty="0"/>
              <a:t>PW Multihoming includes both EVPN VPWS PW multihoming and MC-LAG with ICCP and PW Multihoming.  </a:t>
            </a:r>
          </a:p>
          <a:p>
            <a:pPr marL="171450" indent="-171450">
              <a:buFontTx/>
              <a:buChar char="-"/>
            </a:pPr>
            <a:r>
              <a:rPr lang="en-US" dirty="0"/>
              <a:t>Traffic Engineering include RSVP TE and SR TE and SR PCE</a:t>
            </a:r>
          </a:p>
          <a:p>
            <a:pPr marL="171450" indent="-171450">
              <a:buFontTx/>
              <a:buChar char="-"/>
            </a:pPr>
            <a:r>
              <a:rPr lang="en-US" dirty="0"/>
              <a:t>Advanced SR includes SR TE and SR PCE and Flex Algo and MPLS Performance Monitoring/Managemen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1748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1131" y="4343400"/>
            <a:ext cx="6262576" cy="4114800"/>
          </a:xfrm>
        </p:spPr>
        <p:txBody>
          <a:bodyPr/>
          <a:lstStyle/>
          <a:p>
            <a:pPr marL="171450" indent="-171450">
              <a:buFont typeface="Arial" panose="020B0604020202020204" pitchFamily="34" charset="0"/>
              <a:buChar char="•"/>
            </a:pPr>
            <a:r>
              <a:rPr lang="en-US" b="1" dirty="0"/>
              <a:t>What is it? - </a:t>
            </a:r>
            <a:r>
              <a:rPr lang="en-US" dirty="0"/>
              <a:t>The Flexible Consumption model is a new IOS-XR based approach to buying SP Routing products which gives customers the flexibility to manage the capacity in their network. This new approach is based on Cisco’s Smart Licensing solution which simplifies the way licenses are managed network-wide.</a:t>
            </a:r>
          </a:p>
          <a:p>
            <a:endParaRPr lang="en-US" dirty="0"/>
          </a:p>
          <a:p>
            <a:pPr marL="171450" indent="-171450">
              <a:buFont typeface="Arial" panose="020B0604020202020204" pitchFamily="34" charset="0"/>
              <a:buChar char="•"/>
            </a:pPr>
            <a:r>
              <a:rPr lang="en-US" b="1" dirty="0"/>
              <a:t>How does it work? - </a:t>
            </a:r>
            <a:r>
              <a:rPr lang="en-US" dirty="0"/>
              <a:t>The Flexible Consumption model allows customers to initially start with a smaller, minimum fill rate, and then easily add capacity to the network over time as the network grows. Capacity is added to a “network-wide” pool and extra capacity licenses can be used by any Flexible Consumption node in the network that requires additional capacity to meet demand.</a:t>
            </a:r>
          </a:p>
          <a:p>
            <a:endParaRPr lang="en-US" dirty="0"/>
          </a:p>
          <a:p>
            <a:pPr marL="171450" indent="-171450">
              <a:buFont typeface="Arial" panose="020B0604020202020204" pitchFamily="34" charset="0"/>
              <a:buChar char="•"/>
            </a:pPr>
            <a:r>
              <a:rPr lang="en-US" b="1" dirty="0"/>
              <a:t>Why use it? – </a:t>
            </a:r>
            <a:r>
              <a:rPr lang="en-US" dirty="0"/>
              <a:t>There are several benefits including lower upfront costs to customers and network-side license pooling. Software innovation, investment protection through software portability, and an Automation Tool “Starter Kit” are included as part of this new model.</a:t>
            </a:r>
          </a:p>
          <a:p>
            <a:endParaRPr lang="en-US" dirty="0"/>
          </a:p>
          <a:p>
            <a:pPr marL="171450" indent="-171450">
              <a:buFont typeface="Arial" panose="020B0604020202020204" pitchFamily="34" charset="0"/>
              <a:buChar char="•"/>
            </a:pPr>
            <a:r>
              <a:rPr lang="en-US" b="1" dirty="0"/>
              <a:t>Why is it better? – </a:t>
            </a:r>
            <a:r>
              <a:rPr lang="en-US" dirty="0"/>
              <a:t>The Flexible Consumption model includes IOS-XR software innovation to keep your network on the cutting edge with on-going feature development that helps provide differentiated new revenue generating services. Cisco’s Flexible Consumption model goes beyond the basic “per box” level of PAYG that competitors typically offer, and allows for a true “Network-wide” pay-as-you-grow model that also supports software portability for investment protection. Having a “network-wide” view of the network licenses provides more visibility into the network and gives customers the power to quickly move licenses to areas of demand.</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F6C1005-B323-4A04-B0D1-DB577C3C2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6268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62943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a:solidFill>
                  <a:schemeClr val="tx2"/>
                </a:solidFill>
              </a:rPr>
              <a:t>This is what we’re hearing when out speaking with customers:  Service Providers can no longer effectively manage the bandwidth growth demands placed upon their networks by their subscribers.  The analog fiber architectures - as they exist today - are constrained by the limitations of the integrated CMTS / CCAP solutions. They can no longer scale effectively - resulting in repetitive, disruptive and costly upgrade cycles. The goal is a future proof, optimized network</a:t>
            </a:r>
            <a:endParaRPr lang="en-US" b="0" dirty="0"/>
          </a:p>
        </p:txBody>
      </p:sp>
      <p:sp>
        <p:nvSpPr>
          <p:cNvPr id="4" name="Slide Number Placeholder 3"/>
          <p:cNvSpPr>
            <a:spLocks noGrp="1"/>
          </p:cNvSpPr>
          <p:nvPr>
            <p:ph type="sldNum" sz="quarter" idx="5"/>
          </p:nvPr>
        </p:nvSpPr>
        <p:spPr/>
        <p:txBody>
          <a:bodyPr/>
          <a:lstStyle/>
          <a:p>
            <a:fld id="{674B45EA-5C02-4A7C-B121-8AD1FB15525D}" type="slidenum">
              <a:rPr lang="en-US" smtClean="0"/>
              <a:t>127</a:t>
            </a:fld>
            <a:endParaRPr lang="en-US"/>
          </a:p>
        </p:txBody>
      </p:sp>
    </p:spTree>
    <p:extLst>
      <p:ext uri="{BB962C8B-B14F-4D97-AF65-F5344CB8AC3E}">
        <p14:creationId xmlns:p14="http://schemas.microsoft.com/office/powerpoint/2010/main" val="277464915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6101446A-CC88-4564-997C-D572BB6B211F}" type="slidenum">
              <a:rPr lang="en-US"/>
              <a:pPr/>
              <a:t>128</a:t>
            </a:fld>
            <a:endParaRPr lang="en-US"/>
          </a:p>
        </p:txBody>
      </p:sp>
      <p:sp>
        <p:nvSpPr>
          <p:cNvPr id="110594" name="Rectangle 7"/>
          <p:cNvSpPr txBox="1">
            <a:spLocks noGrp="1" noChangeArrowheads="1"/>
          </p:cNvSpPr>
          <p:nvPr/>
        </p:nvSpPr>
        <p:spPr bwMode="auto">
          <a:xfrm>
            <a:off x="3884613" y="8937625"/>
            <a:ext cx="2971800" cy="204788"/>
          </a:xfrm>
          <a:prstGeom prst="rect">
            <a:avLst/>
          </a:prstGeom>
          <a:noFill/>
          <a:ln w="9525">
            <a:noFill/>
            <a:miter lim="800000"/>
            <a:headEnd/>
            <a:tailEnd/>
          </a:ln>
        </p:spPr>
        <p:txBody>
          <a:bodyPr lIns="91435" tIns="45718" rIns="91435" bIns="45718" anchor="b"/>
          <a:lstStyle/>
          <a:p>
            <a:pPr algn="r" eaLnBrk="1" hangingPunct="1">
              <a:lnSpc>
                <a:spcPct val="100000"/>
              </a:lnSpc>
            </a:pPr>
            <a:fld id="{DCBD88E4-3477-4930-B3ED-9A00F0A66712}" type="slidenum">
              <a:rPr lang="en-US" sz="1200"/>
              <a:pPr algn="r" eaLnBrk="1" hangingPunct="1">
                <a:lnSpc>
                  <a:spcPct val="100000"/>
                </a:lnSpc>
              </a:pPr>
              <a:t>128</a:t>
            </a:fld>
            <a:endParaRPr lang="en-US" sz="1200"/>
          </a:p>
        </p:txBody>
      </p:sp>
      <p:sp>
        <p:nvSpPr>
          <p:cNvPr id="110595" name="Rectangle 6"/>
          <p:cNvSpPr>
            <a:spLocks noGrp="1" noRot="1" noChangeAspect="1" noChangeArrowheads="1" noTextEdit="1"/>
          </p:cNvSpPr>
          <p:nvPr>
            <p:ph type="sldImg"/>
          </p:nvPr>
        </p:nvSpPr>
        <p:spPr>
          <a:xfrm>
            <a:off x="703263" y="368300"/>
            <a:ext cx="5451475" cy="3067050"/>
          </a:xfrm>
          <a:ln/>
        </p:spPr>
      </p:sp>
      <p:sp>
        <p:nvSpPr>
          <p:cNvPr id="110596" name="Rectangle 7"/>
          <p:cNvSpPr>
            <a:spLocks noGrp="1" noChangeArrowheads="1"/>
          </p:cNvSpPr>
          <p:nvPr>
            <p:ph type="body" idx="1"/>
          </p:nvPr>
        </p:nvSpPr>
        <p:spPr>
          <a:xfrm>
            <a:off x="300039" y="3452814"/>
            <a:ext cx="6257925" cy="5370512"/>
          </a:xfrm>
        </p:spPr>
        <p:txBody>
          <a:bodyPr lIns="91435" tIns="45718" rIns="91435" bIns="45718"/>
          <a:lstStyle/>
          <a:p>
            <a:endParaRPr lang="en-US"/>
          </a:p>
        </p:txBody>
      </p:sp>
    </p:spTree>
    <p:extLst>
      <p:ext uri="{BB962C8B-B14F-4D97-AF65-F5344CB8AC3E}">
        <p14:creationId xmlns:p14="http://schemas.microsoft.com/office/powerpoint/2010/main" val="18934362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394818E-6223-4997-9CD7-DFC1D29CB347}" type="slidenum">
              <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145410" name="Rectangle 7"/>
          <p:cNvSpPr txBox="1">
            <a:spLocks noGrp="1" noChangeArrowheads="1"/>
          </p:cNvSpPr>
          <p:nvPr/>
        </p:nvSpPr>
        <p:spPr bwMode="auto">
          <a:xfrm>
            <a:off x="3884613" y="8937625"/>
            <a:ext cx="2971800" cy="204788"/>
          </a:xfrm>
          <a:prstGeom prst="rect">
            <a:avLst/>
          </a:prstGeom>
          <a:noFill/>
          <a:ln w="9525">
            <a:noFill/>
            <a:miter lim="800000"/>
            <a:headEnd/>
            <a:tailEnd/>
          </a:ln>
        </p:spPr>
        <p:txBody>
          <a:bodyPr lIns="91435" tIns="45718" rIns="91435" bIns="45718" anchor="b"/>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charset="0"/>
              </a:rPr>
              <a:t>Page </a:t>
            </a:r>
            <a:fld id="{8CF71BCB-8507-4C20-A3DA-CE61A4A20C3E}" type="slidenum">
              <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charset="0"/>
            </a:endParaRPr>
          </a:p>
        </p:txBody>
      </p:sp>
      <p:sp>
        <p:nvSpPr>
          <p:cNvPr id="145411" name="Rectangle 2"/>
          <p:cNvSpPr>
            <a:spLocks noGrp="1" noRot="1" noChangeAspect="1" noChangeArrowheads="1" noTextEdit="1"/>
          </p:cNvSpPr>
          <p:nvPr>
            <p:ph type="sldImg"/>
          </p:nvPr>
        </p:nvSpPr>
        <p:spPr>
          <a:xfrm>
            <a:off x="703263" y="368300"/>
            <a:ext cx="5451475" cy="3067050"/>
          </a:xfrm>
          <a:ln/>
        </p:spPr>
      </p:sp>
      <p:sp>
        <p:nvSpPr>
          <p:cNvPr id="145412" name="Notes Placeholder 4"/>
          <p:cNvSpPr>
            <a:spLocks noGrp="1"/>
          </p:cNvSpPr>
          <p:nvPr>
            <p:ph type="body" sz="quarter" idx="10"/>
          </p:nvPr>
        </p:nvSpPr>
        <p:spPr>
          <a:xfrm>
            <a:off x="300039" y="3452814"/>
            <a:ext cx="6257925" cy="5370512"/>
          </a:xfrm>
        </p:spPr>
        <p:txBody>
          <a:bodyPr lIns="91435" tIns="45718" rIns="91435" bIns="45718"/>
          <a:lstStyle/>
          <a:p>
            <a:r>
              <a:rPr lang="en-US" dirty="0"/>
              <a:t>Pretest</a:t>
            </a:r>
            <a:r>
              <a:rPr lang="en-US" baseline="0" dirty="0"/>
              <a:t> with scale</a:t>
            </a:r>
          </a:p>
          <a:p>
            <a:r>
              <a:rPr lang="en-US" baseline="0" dirty="0"/>
              <a:t>Tested with every phase of deployment, provisioning, monitoring, including AS (best practice, rack and stack, business modeling)</a:t>
            </a:r>
          </a:p>
          <a:p>
            <a:endParaRPr lang="en-US" dirty="0"/>
          </a:p>
        </p:txBody>
      </p:sp>
    </p:spTree>
    <p:extLst>
      <p:ext uri="{BB962C8B-B14F-4D97-AF65-F5344CB8AC3E}">
        <p14:creationId xmlns:p14="http://schemas.microsoft.com/office/powerpoint/2010/main" val="21999459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31</a:t>
            </a:fld>
            <a:endParaRPr lang="en-US"/>
          </a:p>
        </p:txBody>
      </p:sp>
    </p:spTree>
    <p:extLst>
      <p:ext uri="{BB962C8B-B14F-4D97-AF65-F5344CB8AC3E}">
        <p14:creationId xmlns:p14="http://schemas.microsoft.com/office/powerpoint/2010/main" val="10800937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685800" fontAlgn="auto">
              <a:spcBef>
                <a:spcPts val="0"/>
              </a:spcBef>
              <a:spcAft>
                <a:spcPts val="0"/>
              </a:spcAft>
              <a:buFont typeface="Arial" charset="0"/>
              <a:buNone/>
            </a:pPr>
            <a:endParaRPr lang="en-US" sz="1200" dirty="0">
              <a:solidFill>
                <a:srgbClr val="282828"/>
              </a:solidFill>
              <a:latin typeface="CiscoSansTT ExtraLight"/>
              <a:ea typeface=""/>
              <a:cs typeface=""/>
            </a:endParaRPr>
          </a:p>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solidFill>
                  <a:prstClr val="black"/>
                </a:solidFill>
              </a:rPr>
              <a:pPr>
                <a:defRPr/>
              </a:pPr>
              <a:t>132</a:t>
            </a:fld>
            <a:endParaRPr lang="en-US">
              <a:solidFill>
                <a:prstClr val="black"/>
              </a:solidFill>
            </a:endParaRPr>
          </a:p>
        </p:txBody>
      </p:sp>
    </p:spTree>
    <p:extLst>
      <p:ext uri="{BB962C8B-B14F-4D97-AF65-F5344CB8AC3E}">
        <p14:creationId xmlns:p14="http://schemas.microsoft.com/office/powerpoint/2010/main" val="159642433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48568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s now important</a:t>
            </a:r>
            <a:r>
              <a:rPr lang="en-GB" baseline="0" dirty="0"/>
              <a:t> to define what is NFVI</a:t>
            </a:r>
          </a:p>
          <a:p>
            <a:r>
              <a:rPr lang="en-GB" baseline="0" dirty="0"/>
              <a:t>Based on ETSI definition, (</a:t>
            </a:r>
            <a:r>
              <a:rPr lang="en-US" sz="1200" b="0" i="0" kern="1200" dirty="0">
                <a:solidFill>
                  <a:schemeClr val="tx1"/>
                </a:solidFill>
                <a:effectLst/>
                <a:latin typeface="+mn-lt"/>
                <a:ea typeface="ＭＳ Ｐゴシック" charset="0"/>
                <a:cs typeface="ＭＳ Ｐゴシック" charset="0"/>
              </a:rPr>
              <a:t> European Telecommunications Standards Institute)</a:t>
            </a:r>
            <a:endParaRPr lang="en-GB" baseline="0" dirty="0"/>
          </a:p>
          <a:p>
            <a:r>
              <a:rPr lang="en-GB" baseline="0" dirty="0"/>
              <a:t>&lt;click&gt;</a:t>
            </a:r>
          </a:p>
          <a:p>
            <a:endParaRPr lang="en-GB" baseline="0" dirty="0"/>
          </a:p>
          <a:p>
            <a:r>
              <a:rPr lang="en-GB" baseline="0" dirty="0"/>
              <a:t>NFVI </a:t>
            </a:r>
            <a:r>
              <a:rPr lang="en-GB" i="1" baseline="0" dirty="0"/>
              <a:t>is the totality of all hardware and software components that build the environment in which VNFs are deployed</a:t>
            </a:r>
          </a:p>
          <a:p>
            <a:r>
              <a:rPr lang="en-GB" baseline="0" dirty="0"/>
              <a:t>Customers infrastructural requirements go beyond this</a:t>
            </a:r>
          </a:p>
          <a:p>
            <a:r>
              <a:rPr lang="en-GB" baseline="0" dirty="0"/>
              <a:t>&lt;click&gt;</a:t>
            </a:r>
          </a:p>
          <a:p>
            <a:endParaRPr lang="en-GB" baseline="0" dirty="0"/>
          </a:p>
          <a:p>
            <a:pPr marL="0" marR="0" indent="0" algn="l" defTabSz="457200" rtl="0" eaLnBrk="0" fontAlgn="base" latinLnBrk="0" hangingPunct="0">
              <a:lnSpc>
                <a:spcPct val="100000"/>
              </a:lnSpc>
              <a:spcBef>
                <a:spcPct val="30000"/>
              </a:spcBef>
              <a:spcAft>
                <a:spcPct val="0"/>
              </a:spcAft>
              <a:buClrTx/>
              <a:buSzTx/>
              <a:buFontTx/>
              <a:buNone/>
              <a:tabLst/>
              <a:defRPr/>
            </a:pPr>
            <a:r>
              <a:rPr lang="en-GB" baseline="0" dirty="0"/>
              <a:t>They extend that scope to VIM as well. VIM </a:t>
            </a:r>
            <a:r>
              <a:rPr lang="en-GB" sz="1200" i="1" dirty="0">
                <a:solidFill>
                  <a:schemeClr val="bg1">
                    <a:lumMod val="95000"/>
                  </a:schemeClr>
                </a:solidFill>
              </a:rPr>
              <a:t>Controls and manages the NFVI compute, storage, and network resources</a:t>
            </a:r>
          </a:p>
          <a:p>
            <a:r>
              <a:rPr lang="en-GB" baseline="0" dirty="0"/>
              <a:t>The infrastructure is “logically extended” to orchestration and operations</a:t>
            </a:r>
          </a:p>
          <a:p>
            <a:r>
              <a:rPr lang="en-GB" baseline="0" dirty="0"/>
              <a:t>As Cisco we embrace this broader scop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86684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7388"/>
            <a:ext cx="6092825" cy="3427412"/>
          </a:xfrm>
        </p:spPr>
      </p:sp>
      <p:sp>
        <p:nvSpPr>
          <p:cNvPr id="3" name="Notes Placeholder 2"/>
          <p:cNvSpPr>
            <a:spLocks noGrp="1"/>
          </p:cNvSpPr>
          <p:nvPr>
            <p:ph type="body" idx="1"/>
          </p:nvPr>
        </p:nvSpPr>
        <p:spPr/>
        <p:txBody>
          <a:bodyPr/>
          <a:lstStyle/>
          <a:p>
            <a:pPr lvl="0"/>
            <a:endParaRPr lang="en-US" dirty="0">
              <a:latin typeface="Arial"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1005C7-0E8E-5945-B34B-9BABBA519A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646118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7388"/>
            <a:ext cx="6092825" cy="3427412"/>
          </a:xfrm>
        </p:spPr>
      </p:sp>
      <p:sp>
        <p:nvSpPr>
          <p:cNvPr id="3" name="Notes Placeholder 2"/>
          <p:cNvSpPr>
            <a:spLocks noGrp="1"/>
          </p:cNvSpPr>
          <p:nvPr>
            <p:ph type="body" idx="1"/>
          </p:nvPr>
        </p:nvSpPr>
        <p:spPr/>
        <p:txBody>
          <a:bodyPr/>
          <a:lstStyle/>
          <a:p>
            <a:pPr lvl="0"/>
            <a:endParaRPr lang="en-US" dirty="0">
              <a:latin typeface="Arial"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1005C7-0E8E-5945-B34B-9BABBA519A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753696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2923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210814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focused on delivering application agility in the data center. We built a policy driven automation framework, that was centered around application policy profiles – we provided the tools to automate the network, the network services – firewalls, load balancers, etc.. and integrated with cloud automation tools – including </a:t>
            </a:r>
            <a:r>
              <a:rPr lang="en-US" sz="1200" kern="1200" dirty="0" err="1">
                <a:solidFill>
                  <a:schemeClr val="tx1"/>
                </a:solidFill>
                <a:effectLst/>
                <a:latin typeface="+mn-lt"/>
                <a:ea typeface="+mn-ea"/>
                <a:cs typeface="+mn-cs"/>
              </a:rPr>
              <a:t>vrealiz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for cloud autom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se capabilities were initially focused on on=premise infrastructure. We are now extending these capabilities to multiple data centers…bringing them under a single policy automation framework, and allow you to scale your infrastructure, with security. In future, our goal is to deliver these extensions to satellite data centers.. </a:t>
            </a:r>
            <a:r>
              <a:rPr lang="en-US" sz="1200" kern="1200" dirty="0" err="1">
                <a:solidFill>
                  <a:schemeClr val="tx1"/>
                </a:solidFill>
                <a:effectLst/>
                <a:latin typeface="+mn-lt"/>
                <a:ea typeface="+mn-ea"/>
                <a:cs typeface="+mn-cs"/>
              </a:rPr>
              <a:t>ie</a:t>
            </a:r>
            <a:r>
              <a:rPr lang="en-US" sz="1200" kern="1200" dirty="0">
                <a:solidFill>
                  <a:schemeClr val="tx1"/>
                </a:solidFill>
                <a:effectLst/>
                <a:latin typeface="+mn-lt"/>
                <a:ea typeface="+mn-ea"/>
                <a:cs typeface="+mn-cs"/>
              </a:rPr>
              <a:t>. Remote smaller foot print data </a:t>
            </a:r>
            <a:r>
              <a:rPr lang="en-US" sz="1200" kern="1200" dirty="0" err="1">
                <a:solidFill>
                  <a:schemeClr val="tx1"/>
                </a:solidFill>
                <a:effectLst/>
                <a:latin typeface="+mn-lt"/>
                <a:ea typeface="+mn-ea"/>
                <a:cs typeface="+mn-cs"/>
              </a:rPr>
              <a:t>centeres</a:t>
            </a:r>
            <a:r>
              <a:rPr lang="en-US" sz="1200" kern="1200" dirty="0">
                <a:solidFill>
                  <a:schemeClr val="tx1"/>
                </a:solidFill>
                <a:effectLst/>
                <a:latin typeface="+mn-lt"/>
                <a:ea typeface="+mn-ea"/>
                <a:cs typeface="+mn-cs"/>
              </a:rPr>
              <a:t>.. that can be managed with an on-prem instance.. and also to public clou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ustomers are looking to move their next generation apps to public cloud.. we will be delivering capabilities to  enable them to have a consistent posture across their on-prem and public cloud footprin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at in a nut shell is our vision – enable our customers  to extend ACI automation to any location, with security and scale – and provide them deep visibility and analytics into their infrastructure.. No matter where the workload</a:t>
            </a:r>
            <a:r>
              <a:rPr lang="en-US" sz="1200" kern="1200" baseline="0" dirty="0">
                <a:solidFill>
                  <a:schemeClr val="tx1"/>
                </a:solidFill>
                <a:effectLst/>
                <a:latin typeface="+mn-lt"/>
                <a:ea typeface="+mn-ea"/>
                <a:cs typeface="+mn-cs"/>
              </a:rPr>
              <a:t> is.. </a:t>
            </a:r>
            <a:endParaRPr lang="en-US" sz="1200" kern="1200" dirty="0">
              <a:solidFill>
                <a:schemeClr val="tx1"/>
              </a:solidFill>
              <a:effectLst/>
              <a:latin typeface="+mn-lt"/>
              <a:ea typeface="+mn-ea"/>
              <a:cs typeface="+mn-cs"/>
            </a:endParaRPr>
          </a:p>
          <a:p>
            <a:pPr marL="0" marR="0" indent="0" algn="l" defTabSz="914354" rtl="0" eaLnBrk="1" fontAlgn="auto" latinLnBrk="0" hangingPunct="1">
              <a:lnSpc>
                <a:spcPct val="100000"/>
              </a:lnSpc>
              <a:spcBef>
                <a:spcPts val="0"/>
              </a:spcBef>
              <a:spcAft>
                <a:spcPts val="0"/>
              </a:spcAft>
              <a:buClrTx/>
              <a:buSzTx/>
              <a:buFontTx/>
              <a:buNone/>
              <a:tabLst/>
              <a:defRPr/>
            </a:pPr>
            <a:endParaRPr lang="en-US" dirty="0">
              <a:solidFill>
                <a:srgbClr val="005073"/>
              </a:solidFill>
              <a:latin typeface="CiscoSansTT ExtraLigh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377932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D394818E-6223-4997-9CD7-DFC1D29CB347}" type="slidenum">
              <a:rPr lang="en-US">
                <a:solidFill>
                  <a:prstClr val="black"/>
                </a:solidFill>
              </a:rPr>
              <a:pPr/>
              <a:t>145</a:t>
            </a:fld>
            <a:endParaRPr lang="en-US">
              <a:solidFill>
                <a:prstClr val="black"/>
              </a:solidFill>
            </a:endParaRPr>
          </a:p>
        </p:txBody>
      </p:sp>
      <p:sp>
        <p:nvSpPr>
          <p:cNvPr id="145410" name="Rectangle 7"/>
          <p:cNvSpPr txBox="1">
            <a:spLocks noGrp="1" noChangeArrowheads="1"/>
          </p:cNvSpPr>
          <p:nvPr/>
        </p:nvSpPr>
        <p:spPr bwMode="auto">
          <a:xfrm>
            <a:off x="3884613" y="8937625"/>
            <a:ext cx="2971800" cy="204788"/>
          </a:xfrm>
          <a:prstGeom prst="rect">
            <a:avLst/>
          </a:prstGeom>
          <a:noFill/>
          <a:ln w="9525">
            <a:noFill/>
            <a:miter lim="800000"/>
            <a:headEnd/>
            <a:tailEnd/>
          </a:ln>
        </p:spPr>
        <p:txBody>
          <a:bodyPr lIns="91435" tIns="45718" rIns="91435" bIns="45718" anchor="b"/>
          <a:lstStyle/>
          <a:p>
            <a:pPr algn="r" defTabSz="685800" fontAlgn="auto">
              <a:spcBef>
                <a:spcPts val="0"/>
              </a:spcBef>
              <a:spcAft>
                <a:spcPts val="0"/>
              </a:spcAft>
            </a:pPr>
            <a:r>
              <a:rPr lang="en-US" sz="1200">
                <a:solidFill>
                  <a:prstClr val="black"/>
                </a:solidFill>
                <a:latin typeface="Calibri"/>
                <a:ea typeface="+mn-ea"/>
                <a:cs typeface="Arial" charset="0"/>
              </a:rPr>
              <a:t>Page </a:t>
            </a:r>
            <a:fld id="{8CF71BCB-8507-4C20-A3DA-CE61A4A20C3E}" type="slidenum">
              <a:rPr lang="en-US" sz="1200">
                <a:solidFill>
                  <a:prstClr val="black"/>
                </a:solidFill>
                <a:latin typeface="Calibri"/>
                <a:ea typeface="+mn-ea"/>
                <a:cs typeface="Arial" charset="0"/>
              </a:rPr>
              <a:pPr algn="r" defTabSz="685800" fontAlgn="auto">
                <a:spcBef>
                  <a:spcPts val="0"/>
                </a:spcBef>
                <a:spcAft>
                  <a:spcPts val="0"/>
                </a:spcAft>
              </a:pPr>
              <a:t>145</a:t>
            </a:fld>
            <a:endParaRPr lang="en-US" sz="1200">
              <a:solidFill>
                <a:prstClr val="black"/>
              </a:solidFill>
              <a:latin typeface="Calibri"/>
              <a:ea typeface="+mn-ea"/>
              <a:cs typeface="Arial" charset="0"/>
            </a:endParaRPr>
          </a:p>
        </p:txBody>
      </p:sp>
      <p:sp>
        <p:nvSpPr>
          <p:cNvPr id="145411" name="Rectangle 2"/>
          <p:cNvSpPr>
            <a:spLocks noGrp="1" noRot="1" noChangeAspect="1" noChangeArrowheads="1" noTextEdit="1"/>
          </p:cNvSpPr>
          <p:nvPr>
            <p:ph type="sldImg"/>
          </p:nvPr>
        </p:nvSpPr>
        <p:spPr>
          <a:xfrm>
            <a:off x="703263" y="368300"/>
            <a:ext cx="5451475" cy="3067050"/>
          </a:xfrm>
          <a:ln/>
        </p:spPr>
      </p:sp>
      <p:sp>
        <p:nvSpPr>
          <p:cNvPr id="145412" name="Notes Placeholder 4"/>
          <p:cNvSpPr>
            <a:spLocks noGrp="1"/>
          </p:cNvSpPr>
          <p:nvPr>
            <p:ph type="body" sz="quarter" idx="10"/>
          </p:nvPr>
        </p:nvSpPr>
        <p:spPr>
          <a:xfrm>
            <a:off x="300039" y="3452814"/>
            <a:ext cx="6257925" cy="5370512"/>
          </a:xfrm>
        </p:spPr>
        <p:txBody>
          <a:bodyPr lIns="91435" tIns="45718" rIns="91435" bIns="45718"/>
          <a:lstStyle/>
          <a:p>
            <a:endParaRPr lang="en-US" dirty="0"/>
          </a:p>
        </p:txBody>
      </p:sp>
    </p:spTree>
    <p:extLst>
      <p:ext uri="{BB962C8B-B14F-4D97-AF65-F5344CB8AC3E}">
        <p14:creationId xmlns:p14="http://schemas.microsoft.com/office/powerpoint/2010/main" val="41656803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F624574-6AA3-624F-88F2-6C5EE29C8E09}"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6858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183334116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58</a:t>
            </a:fld>
            <a:endParaRPr lang="en-US"/>
          </a:p>
        </p:txBody>
      </p:sp>
    </p:spTree>
    <p:extLst>
      <p:ext uri="{BB962C8B-B14F-4D97-AF65-F5344CB8AC3E}">
        <p14:creationId xmlns:p14="http://schemas.microsoft.com/office/powerpoint/2010/main" val="189655087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65</a:t>
            </a:fld>
            <a:endParaRPr lang="en-US" dirty="0"/>
          </a:p>
        </p:txBody>
      </p:sp>
    </p:spTree>
    <p:extLst>
      <p:ext uri="{BB962C8B-B14F-4D97-AF65-F5344CB8AC3E}">
        <p14:creationId xmlns:p14="http://schemas.microsoft.com/office/powerpoint/2010/main" val="356674265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67</a:t>
            </a:fld>
            <a:endParaRPr lang="en-US" dirty="0"/>
          </a:p>
        </p:txBody>
      </p:sp>
    </p:spTree>
    <p:extLst>
      <p:ext uri="{BB962C8B-B14F-4D97-AF65-F5344CB8AC3E}">
        <p14:creationId xmlns:p14="http://schemas.microsoft.com/office/powerpoint/2010/main" val="415339274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685800" fontAlgn="auto">
              <a:spcBef>
                <a:spcPts val="0"/>
              </a:spcBef>
              <a:spcAft>
                <a:spcPts val="0"/>
              </a:spcAft>
              <a:buFont typeface="Arial" charset="0"/>
              <a:buNone/>
            </a:pPr>
            <a:endParaRPr lang="en-US" sz="1200" dirty="0">
              <a:solidFill>
                <a:srgbClr val="282828"/>
              </a:solidFill>
              <a:latin typeface="CiscoSansTT ExtraLight"/>
              <a:ea typeface=""/>
              <a:cs typeface=""/>
            </a:endParaRPr>
          </a:p>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solidFill>
                  <a:prstClr val="black"/>
                </a:solidFill>
              </a:rPr>
              <a:pPr>
                <a:defRPr/>
              </a:pPr>
              <a:t>168</a:t>
            </a:fld>
            <a:endParaRPr lang="en-US" dirty="0">
              <a:solidFill>
                <a:prstClr val="black"/>
              </a:solidFill>
            </a:endParaRPr>
          </a:p>
        </p:txBody>
      </p:sp>
    </p:spTree>
    <p:extLst>
      <p:ext uri="{BB962C8B-B14F-4D97-AF65-F5344CB8AC3E}">
        <p14:creationId xmlns:p14="http://schemas.microsoft.com/office/powerpoint/2010/main" val="159642433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73</a:t>
            </a:fld>
            <a:endParaRPr lang="en-US" dirty="0"/>
          </a:p>
        </p:txBody>
      </p:sp>
    </p:spTree>
    <p:extLst>
      <p:ext uri="{BB962C8B-B14F-4D97-AF65-F5344CB8AC3E}">
        <p14:creationId xmlns:p14="http://schemas.microsoft.com/office/powerpoint/2010/main" val="375549251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slide.</a:t>
            </a:r>
          </a:p>
          <a:p>
            <a:r>
              <a:rPr lang="en-US" dirty="0"/>
              <a:t>Mobile networks are split into domains</a:t>
            </a:r>
          </a:p>
          <a:p>
            <a:r>
              <a:rPr lang="en-US" dirty="0"/>
              <a:t>Aim of network is multi-service. Fixed mobile business consumer etc.</a:t>
            </a:r>
          </a:p>
          <a:p>
            <a:r>
              <a:rPr lang="en-US" dirty="0"/>
              <a:t>Packet infra built on </a:t>
            </a:r>
            <a:r>
              <a:rPr lang="en-US" dirty="0" err="1"/>
              <a:t>fibre</a:t>
            </a:r>
            <a:r>
              <a:rPr lang="en-US" dirty="0"/>
              <a:t> infrastructure. </a:t>
            </a:r>
          </a:p>
          <a:p>
            <a:r>
              <a:rPr lang="en-US" dirty="0"/>
              <a:t>End to end packet.</a:t>
            </a:r>
          </a:p>
          <a:p>
            <a:r>
              <a:rPr lang="en-US" dirty="0"/>
              <a:t>Significant increase in bandwidth and sites</a:t>
            </a:r>
          </a:p>
          <a:p>
            <a:r>
              <a:rPr lang="en-US" dirty="0"/>
              <a:t>Introduction of edge compute.</a:t>
            </a:r>
          </a:p>
          <a:p>
            <a:r>
              <a:rPr lang="en-US" dirty="0"/>
              <a:t>SR underlay.</a:t>
            </a:r>
          </a:p>
          <a:p>
            <a:r>
              <a:rPr lang="en-US" dirty="0"/>
              <a:t>Pretty agnostic to overlay but for mobile will probably be based on BGP based VPNs.</a:t>
            </a:r>
          </a:p>
          <a:p>
            <a:r>
              <a:rPr lang="en-US" dirty="0"/>
              <a:t>Domain level controllers. Transport domain includes FCAP for transport infrastructure, orchestration + PCE </a:t>
            </a:r>
            <a:r>
              <a:rPr lang="en-US" dirty="0" err="1"/>
              <a:t>etc</a:t>
            </a:r>
            <a:r>
              <a:rPr lang="en-US" dirty="0"/>
              <a:t>, </a:t>
            </a:r>
            <a:r>
              <a:rPr lang="en-US" dirty="0" err="1"/>
              <a:t>Compute:NFVO</a:t>
            </a:r>
            <a:r>
              <a:rPr lang="en-US" dirty="0"/>
              <a:t> / ESC, Mobile (MCBU offering) Cisco don’t do all domains for example access which </a:t>
            </a:r>
            <a:r>
              <a:rPr lang="en-US" dirty="0" err="1"/>
              <a:t>si</a:t>
            </a:r>
            <a:r>
              <a:rPr lang="en-US" dirty="0"/>
              <a:t> radio.</a:t>
            </a:r>
          </a:p>
          <a:p>
            <a:endParaRPr lang="en-US" dirty="0"/>
          </a:p>
          <a:p>
            <a:r>
              <a:rPr lang="en-US" dirty="0"/>
              <a:t>Above this are use case controllers. In mobile this is the mobile slice manager which I responsible for end to end </a:t>
            </a:r>
            <a:r>
              <a:rPr lang="en-US" dirty="0" err="1"/>
              <a:t>provisiuoning</a:t>
            </a:r>
            <a:r>
              <a:rPr lang="en-US" dirty="0"/>
              <a:t> of slices. This is effectively a cross domain orchestrator. Cisco don’t do this function today but it could be envisaged as an NSO FP.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t>Cisco Live 2015</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4132511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GB" sz="1200" kern="1200" dirty="0" err="1">
                <a:solidFill>
                  <a:schemeClr val="tx1"/>
                </a:solidFill>
                <a:effectLst/>
                <a:latin typeface="CiscoSansTT" panose="020B0503020201020303" pitchFamily="34" charset="0"/>
                <a:ea typeface="ＭＳ Ｐゴシック" charset="0"/>
                <a:cs typeface="ＭＳ Ｐゴシック" charset="0"/>
              </a:rPr>
              <a:t>Crosswork</a:t>
            </a:r>
            <a:r>
              <a:rPr lang="en-GB" sz="1200" kern="1200" dirty="0">
                <a:solidFill>
                  <a:schemeClr val="tx1"/>
                </a:solidFill>
                <a:effectLst/>
                <a:latin typeface="CiscoSansTT" panose="020B0503020201020303" pitchFamily="34" charset="0"/>
                <a:ea typeface="ＭＳ Ｐゴシック" charset="0"/>
                <a:cs typeface="ＭＳ Ｐゴシック" charset="0"/>
              </a:rPr>
              <a:t> focus on real-time,  near-real-time close loop enabling intent based remediation and optimization use cases.</a:t>
            </a:r>
            <a:endParaRPr lang="en-US" sz="1200" kern="1200" dirty="0">
              <a:solidFill>
                <a:schemeClr val="tx1"/>
              </a:solidFill>
              <a:effectLst/>
              <a:latin typeface="CiscoSansTT" panose="020B0503020201020303" pitchFamily="34" charset="0"/>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76</a:t>
            </a:fld>
            <a:endParaRPr lang="en-US"/>
          </a:p>
        </p:txBody>
      </p:sp>
    </p:spTree>
    <p:extLst>
      <p:ext uri="{BB962C8B-B14F-4D97-AF65-F5344CB8AC3E}">
        <p14:creationId xmlns:p14="http://schemas.microsoft.com/office/powerpoint/2010/main" val="965725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129832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ott</a:t>
            </a:r>
            <a:endParaRPr lang="en-US" baseline="0" dirty="0"/>
          </a:p>
          <a:p>
            <a:r>
              <a:rPr lang="en-US" baseline="0" dirty="0"/>
              <a:t>Dave</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77</a:t>
            </a:fld>
            <a:endParaRPr lang="en-US"/>
          </a:p>
        </p:txBody>
      </p:sp>
    </p:spTree>
    <p:extLst>
      <p:ext uri="{BB962C8B-B14F-4D97-AF65-F5344CB8AC3E}">
        <p14:creationId xmlns:p14="http://schemas.microsoft.com/office/powerpoint/2010/main" val="57910643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r>
              <a:rPr lang="en-US"/>
              <a:t>Cisco Live 2016</a:t>
            </a:r>
            <a:endParaRPr lang="en-US" dirty="0"/>
          </a:p>
        </p:txBody>
      </p:sp>
      <p:sp>
        <p:nvSpPr>
          <p:cNvPr id="5" name="Date Placeholder 4"/>
          <p:cNvSpPr>
            <a:spLocks noGrp="1"/>
          </p:cNvSpPr>
          <p:nvPr>
            <p:ph type="dt" idx="11"/>
          </p:nvPr>
        </p:nvSpPr>
        <p:spPr/>
        <p:txBody>
          <a:bodyPr/>
          <a:lstStyle/>
          <a:p>
            <a:fld id="{A6083E6F-5979-8641-81E4-77A948C9DA5E}" type="datetime1">
              <a:rPr lang="en-US" smtClean="0"/>
              <a:t>8/28/2020</a:t>
            </a:fld>
            <a:endParaRPr lang="en-US" dirty="0"/>
          </a:p>
        </p:txBody>
      </p:sp>
      <p:sp>
        <p:nvSpPr>
          <p:cNvPr id="6" name="Slide Number Placeholder 5"/>
          <p:cNvSpPr>
            <a:spLocks noGrp="1"/>
          </p:cNvSpPr>
          <p:nvPr>
            <p:ph type="sldNum" sz="quarter" idx="12"/>
          </p:nvPr>
        </p:nvSpPr>
        <p:spPr/>
        <p:txBody>
          <a:bodyPr/>
          <a:lstStyle/>
          <a:p>
            <a:fld id="{0ADFA4A4-C10A-49FC-AF1A-861163FEA0B7}" type="slidenum">
              <a:rPr lang="en-US" smtClean="0"/>
              <a:t>180</a:t>
            </a:fld>
            <a:endParaRPr lang="en-US" dirty="0"/>
          </a:p>
        </p:txBody>
      </p:sp>
    </p:spTree>
    <p:extLst>
      <p:ext uri="{BB962C8B-B14F-4D97-AF65-F5344CB8AC3E}">
        <p14:creationId xmlns:p14="http://schemas.microsoft.com/office/powerpoint/2010/main" val="466061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57410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slide.</a:t>
            </a:r>
          </a:p>
          <a:p>
            <a:r>
              <a:rPr lang="en-US" dirty="0"/>
              <a:t>Mobile networks are split into domains</a:t>
            </a:r>
          </a:p>
          <a:p>
            <a:r>
              <a:rPr lang="en-US" dirty="0"/>
              <a:t>Aim of network is multi-service. Fixed mobile business consumer etc.</a:t>
            </a:r>
          </a:p>
          <a:p>
            <a:r>
              <a:rPr lang="en-US" dirty="0"/>
              <a:t>Packet infra built on </a:t>
            </a:r>
            <a:r>
              <a:rPr lang="en-US" dirty="0" err="1"/>
              <a:t>fibre</a:t>
            </a:r>
            <a:r>
              <a:rPr lang="en-US" dirty="0"/>
              <a:t> infrastructure. </a:t>
            </a:r>
          </a:p>
          <a:p>
            <a:r>
              <a:rPr lang="en-US" dirty="0"/>
              <a:t>End to end packet.</a:t>
            </a:r>
          </a:p>
          <a:p>
            <a:r>
              <a:rPr lang="en-US" dirty="0"/>
              <a:t>Significant increase in bandwidth and sites</a:t>
            </a:r>
          </a:p>
          <a:p>
            <a:r>
              <a:rPr lang="en-US" dirty="0"/>
              <a:t>Introduction of edge compute.</a:t>
            </a:r>
          </a:p>
          <a:p>
            <a:r>
              <a:rPr lang="en-US" dirty="0"/>
              <a:t>SR underlay.</a:t>
            </a:r>
          </a:p>
          <a:p>
            <a:r>
              <a:rPr lang="en-US" dirty="0"/>
              <a:t>Pretty agnostic to overlay but for mobile will probably be based on BGP based VPNs.</a:t>
            </a:r>
          </a:p>
          <a:p>
            <a:r>
              <a:rPr lang="en-US" dirty="0"/>
              <a:t>Domain level controllers. Transport domain includes FCAP for transport infrastructure, orchestration + PCE </a:t>
            </a:r>
            <a:r>
              <a:rPr lang="en-US" dirty="0" err="1"/>
              <a:t>etc</a:t>
            </a:r>
            <a:r>
              <a:rPr lang="en-US" dirty="0"/>
              <a:t>, </a:t>
            </a:r>
            <a:r>
              <a:rPr lang="en-US" dirty="0" err="1"/>
              <a:t>Compute:NFVO</a:t>
            </a:r>
            <a:r>
              <a:rPr lang="en-US" dirty="0"/>
              <a:t> / ESC, Mobile (MCBU offering) Cisco don’t do all domains for example access which </a:t>
            </a:r>
            <a:r>
              <a:rPr lang="en-US" dirty="0" err="1"/>
              <a:t>si</a:t>
            </a:r>
            <a:r>
              <a:rPr lang="en-US" dirty="0"/>
              <a:t> radio.</a:t>
            </a:r>
          </a:p>
          <a:p>
            <a:endParaRPr lang="en-US" dirty="0"/>
          </a:p>
          <a:p>
            <a:r>
              <a:rPr lang="en-US" dirty="0"/>
              <a:t>Above this are use case controllers. In mobile this is the mobile slice manager which I responsible for end to end provisioning of slices. This is effectively a cross domain orchestrator. Cisco don’t do this function today but it could be envisaged as an NSO FP. </a:t>
            </a:r>
          </a:p>
          <a:p>
            <a:endParaRPr lang="en-US" dirty="0"/>
          </a:p>
          <a:p>
            <a:r>
              <a:rPr lang="en-US" dirty="0"/>
              <a:t>Performance increase - NCS 540, previous version was 64G/System (ASR-920)</a:t>
            </a:r>
          </a:p>
          <a:p>
            <a:r>
              <a:rPr lang="en-US" dirty="0"/>
              <a:t>Performance increase - NCS 560, previous version was 400G/System (ASR-903/907)</a:t>
            </a:r>
          </a:p>
          <a:p>
            <a:r>
              <a:rPr lang="en-US" dirty="0"/>
              <a:t>Performance increase - ASR9000, previous version was 1.2T/slot (12x100GE)</a:t>
            </a:r>
          </a:p>
          <a:p>
            <a:r>
              <a:rPr lang="en-US" dirty="0"/>
              <a:t>Performance increase - NCS 5500, previous version was 3.6T/slot (36x100G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t>Cisco Live 2015</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326865540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222543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84</a:t>
            </a:fld>
            <a:endParaRPr lang="en-US"/>
          </a:p>
        </p:txBody>
      </p:sp>
    </p:spTree>
    <p:extLst>
      <p:ext uri="{BB962C8B-B14F-4D97-AF65-F5344CB8AC3E}">
        <p14:creationId xmlns:p14="http://schemas.microsoft.com/office/powerpoint/2010/main" val="337668490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301157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238851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Cisco Live 2016</a:t>
            </a:r>
          </a:p>
        </p:txBody>
      </p:sp>
      <p:sp>
        <p:nvSpPr>
          <p:cNvPr id="5" name="Date Placeholder 4"/>
          <p:cNvSpPr>
            <a:spLocks noGrp="1"/>
          </p:cNvSpPr>
          <p:nvPr>
            <p:ph type="dt" idx="11"/>
          </p:nvPr>
        </p:nvSpPr>
        <p:spPr/>
        <p:txBody>
          <a:bodyPr/>
          <a:lstStyle/>
          <a:p>
            <a:fld id="{A6083E6F-5979-8641-81E4-77A948C9DA5E}" type="datetime1">
              <a:rPr lang="en-US" smtClean="0"/>
              <a:t>8/28/2020</a:t>
            </a:fld>
            <a:endParaRPr lang="en-US" dirty="0"/>
          </a:p>
        </p:txBody>
      </p:sp>
      <p:sp>
        <p:nvSpPr>
          <p:cNvPr id="6" name="Slide Number Placeholder 5"/>
          <p:cNvSpPr>
            <a:spLocks noGrp="1"/>
          </p:cNvSpPr>
          <p:nvPr>
            <p:ph type="sldNum" sz="quarter" idx="12"/>
          </p:nvPr>
        </p:nvSpPr>
        <p:spPr/>
        <p:txBody>
          <a:bodyPr/>
          <a:lstStyle/>
          <a:p>
            <a:fld id="{0ADFA4A4-C10A-49FC-AF1A-861163FEA0B7}" type="slidenum">
              <a:rPr lang="en-US" smtClean="0"/>
              <a:t>194</a:t>
            </a:fld>
            <a:endParaRPr lang="en-US" dirty="0"/>
          </a:p>
        </p:txBody>
      </p:sp>
    </p:spTree>
    <p:extLst>
      <p:ext uri="{BB962C8B-B14F-4D97-AF65-F5344CB8AC3E}">
        <p14:creationId xmlns:p14="http://schemas.microsoft.com/office/powerpoint/2010/main" val="160740724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Cisco has embraced the challenges that networking operators face and has taken massive steps to solve them with IOS XR.  Specifically, IOS XR 7 will serve as an evolutionary step for providers as they implement this in their networks.  To start, IOS XR 7 serves a software anchor point for a wide variety of form factors and implementations that are tailored to meet operator’s unique set of requirements.  These form factors include:</a:t>
            </a:r>
          </a:p>
          <a:p>
            <a:pPr lvl="0"/>
            <a:r>
              <a:rPr lang="en-US" sz="1200" kern="1200" dirty="0">
                <a:solidFill>
                  <a:schemeClr val="tx1"/>
                </a:solidFill>
                <a:effectLst/>
                <a:latin typeface="+mn-lt"/>
                <a:ea typeface="ＭＳ Ｐゴシック" charset="0"/>
                <a:cs typeface="ＭＳ Ｐゴシック" charset="0"/>
              </a:rPr>
              <a:t>VNF (virtual) – IOS </a:t>
            </a:r>
            <a:r>
              <a:rPr lang="en-US" sz="1200" kern="1200" dirty="0" err="1">
                <a:solidFill>
                  <a:schemeClr val="tx1"/>
                </a:solidFill>
                <a:effectLst/>
                <a:latin typeface="+mn-lt"/>
                <a:ea typeface="ＭＳ Ｐゴシック" charset="0"/>
                <a:cs typeface="ＭＳ Ｐゴシック" charset="0"/>
              </a:rPr>
              <a:t>XRv</a:t>
            </a:r>
            <a:r>
              <a:rPr lang="en-US" sz="1200" kern="1200" dirty="0">
                <a:solidFill>
                  <a:schemeClr val="tx1"/>
                </a:solidFill>
                <a:effectLst/>
                <a:latin typeface="+mn-lt"/>
                <a:ea typeface="ＭＳ Ｐゴシック" charset="0"/>
                <a:cs typeface="ＭＳ Ｐゴシック" charset="0"/>
              </a:rPr>
              <a:t> 9000</a:t>
            </a:r>
          </a:p>
          <a:p>
            <a:pPr lvl="0"/>
            <a:r>
              <a:rPr lang="en-US" sz="1200" kern="1200" dirty="0">
                <a:solidFill>
                  <a:schemeClr val="tx1"/>
                </a:solidFill>
                <a:effectLst/>
                <a:latin typeface="+mn-lt"/>
                <a:ea typeface="ＭＳ Ｐゴシック" charset="0"/>
                <a:cs typeface="ＭＳ Ｐゴシック" charset="0"/>
              </a:rPr>
              <a:t>Disaggregated 3</a:t>
            </a:r>
            <a:r>
              <a:rPr lang="en-US" sz="1200" kern="1200" baseline="30000" dirty="0">
                <a:solidFill>
                  <a:schemeClr val="tx1"/>
                </a:solidFill>
                <a:effectLst/>
                <a:latin typeface="+mn-lt"/>
                <a:ea typeface="ＭＳ Ｐゴシック" charset="0"/>
                <a:cs typeface="ＭＳ Ｐゴシック" charset="0"/>
              </a:rPr>
              <a:t>rd</a:t>
            </a:r>
            <a:r>
              <a:rPr lang="en-US" sz="1200" kern="1200" dirty="0">
                <a:solidFill>
                  <a:schemeClr val="tx1"/>
                </a:solidFill>
                <a:effectLst/>
                <a:latin typeface="+mn-lt"/>
                <a:ea typeface="ＭＳ Ｐゴシック" charset="0"/>
                <a:cs typeface="ＭＳ Ｐゴシック" charset="0"/>
              </a:rPr>
              <a:t> party Hardware – IOS XR Software Only offer</a:t>
            </a:r>
          </a:p>
          <a:p>
            <a:pPr lvl="0"/>
            <a:r>
              <a:rPr lang="en-US" sz="1200" kern="1200" dirty="0">
                <a:solidFill>
                  <a:schemeClr val="tx1"/>
                </a:solidFill>
                <a:effectLst/>
                <a:latin typeface="+mn-lt"/>
                <a:ea typeface="ＭＳ Ｐゴシック" charset="0"/>
                <a:cs typeface="ＭＳ Ｐゴシック" charset="0"/>
              </a:rPr>
              <a:t>Integrated Merchant Silicon Platforms – NCS 5000, 5500, 5xx</a:t>
            </a:r>
          </a:p>
          <a:p>
            <a:pPr lvl="0"/>
            <a:r>
              <a:rPr lang="en-US" sz="1200" kern="1200" dirty="0">
                <a:solidFill>
                  <a:schemeClr val="tx1"/>
                </a:solidFill>
                <a:effectLst/>
                <a:latin typeface="+mn-lt"/>
                <a:ea typeface="ＭＳ Ｐゴシック" charset="0"/>
                <a:cs typeface="ＭＳ Ｐゴシック" charset="0"/>
              </a:rPr>
              <a:t>Integrated Custom Silicon Platforms – ASR 9000, NCS 6000, NCS 4200</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Each of these implementations are designed to address a unique set of considerations that an operator may need to solve for.  The common thread is that the same IOS XR with the same tooling, APIs, model driven programmability and control plane is used for all of these implementation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58295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25973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slide.</a:t>
            </a:r>
          </a:p>
          <a:p>
            <a:r>
              <a:rPr lang="en-US" dirty="0"/>
              <a:t>Mobile networks are split into domains</a:t>
            </a:r>
          </a:p>
          <a:p>
            <a:r>
              <a:rPr lang="en-US" dirty="0"/>
              <a:t>Aim of network is multi-service. Fixed mobile business consumer etc.</a:t>
            </a:r>
          </a:p>
          <a:p>
            <a:r>
              <a:rPr lang="en-US" dirty="0"/>
              <a:t>Packet infra built on </a:t>
            </a:r>
            <a:r>
              <a:rPr lang="en-US" dirty="0" err="1"/>
              <a:t>fibre</a:t>
            </a:r>
            <a:r>
              <a:rPr lang="en-US" dirty="0"/>
              <a:t> infrastructure. </a:t>
            </a:r>
          </a:p>
          <a:p>
            <a:r>
              <a:rPr lang="en-US" dirty="0"/>
              <a:t>End to end packet.</a:t>
            </a:r>
          </a:p>
          <a:p>
            <a:r>
              <a:rPr lang="en-US" dirty="0"/>
              <a:t>Significant increase in bandwidth and sites</a:t>
            </a:r>
          </a:p>
          <a:p>
            <a:r>
              <a:rPr lang="en-US" dirty="0"/>
              <a:t>Introduction of edge compute.</a:t>
            </a:r>
          </a:p>
          <a:p>
            <a:r>
              <a:rPr lang="en-US" dirty="0"/>
              <a:t>SR underlay.</a:t>
            </a:r>
          </a:p>
          <a:p>
            <a:r>
              <a:rPr lang="en-US" dirty="0"/>
              <a:t>Pretty agnostic to overlay but for mobile will probably be based on BGP based VPNs.</a:t>
            </a:r>
          </a:p>
          <a:p>
            <a:r>
              <a:rPr lang="en-US" dirty="0"/>
              <a:t>Domain level controllers. Transport domain includes FCAP for transport infrastructure, orchestration + PCE </a:t>
            </a:r>
            <a:r>
              <a:rPr lang="en-US" dirty="0" err="1"/>
              <a:t>etc</a:t>
            </a:r>
            <a:r>
              <a:rPr lang="en-US" dirty="0"/>
              <a:t>, </a:t>
            </a:r>
            <a:r>
              <a:rPr lang="en-US" dirty="0" err="1"/>
              <a:t>Compute:NFVO</a:t>
            </a:r>
            <a:r>
              <a:rPr lang="en-US" dirty="0"/>
              <a:t> / ESC, Mobile (MCBU offering) Cisco don’t do all domains for example access which </a:t>
            </a:r>
            <a:r>
              <a:rPr lang="en-US" dirty="0" err="1"/>
              <a:t>si</a:t>
            </a:r>
            <a:r>
              <a:rPr lang="en-US" dirty="0"/>
              <a:t> radio.</a:t>
            </a:r>
          </a:p>
          <a:p>
            <a:endParaRPr lang="en-US" dirty="0"/>
          </a:p>
          <a:p>
            <a:r>
              <a:rPr lang="en-US" dirty="0"/>
              <a:t>Above this are use case controllers. In mobile this is the mobile slice manager which I responsible for end to end </a:t>
            </a:r>
            <a:r>
              <a:rPr lang="en-US" dirty="0" err="1"/>
              <a:t>provisiuoning</a:t>
            </a:r>
            <a:r>
              <a:rPr lang="en-US" dirty="0"/>
              <a:t> of slices. This is effectively a cross domain orchestrator. Cisco don’t do this function today but it could be envisaged as an NSO FP.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t>Cisco Live 2015</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83645269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slide.</a:t>
            </a:r>
          </a:p>
          <a:p>
            <a:r>
              <a:rPr lang="en-US" dirty="0"/>
              <a:t>Mobile networks are split into domains</a:t>
            </a:r>
          </a:p>
          <a:p>
            <a:r>
              <a:rPr lang="en-US" dirty="0"/>
              <a:t>Aim of network is multi-service. Fixed mobile business consumer etc.</a:t>
            </a:r>
          </a:p>
          <a:p>
            <a:r>
              <a:rPr lang="en-US" dirty="0"/>
              <a:t>Packet infra built on </a:t>
            </a:r>
            <a:r>
              <a:rPr lang="en-US" dirty="0" err="1"/>
              <a:t>fibre</a:t>
            </a:r>
            <a:r>
              <a:rPr lang="en-US" dirty="0"/>
              <a:t> infrastructure. </a:t>
            </a:r>
          </a:p>
          <a:p>
            <a:r>
              <a:rPr lang="en-US" dirty="0"/>
              <a:t>End to end packet.</a:t>
            </a:r>
          </a:p>
          <a:p>
            <a:r>
              <a:rPr lang="en-US" dirty="0"/>
              <a:t>Significant increase in bandwidth and sites</a:t>
            </a:r>
          </a:p>
          <a:p>
            <a:r>
              <a:rPr lang="en-US" dirty="0"/>
              <a:t>Introduction of edge compute.</a:t>
            </a:r>
          </a:p>
          <a:p>
            <a:r>
              <a:rPr lang="en-US" dirty="0"/>
              <a:t>SR underlay.</a:t>
            </a:r>
          </a:p>
          <a:p>
            <a:r>
              <a:rPr lang="en-US" dirty="0"/>
              <a:t>Pretty agnostic to overlay but for mobile will probably be based on BGP based VPNs.</a:t>
            </a:r>
          </a:p>
          <a:p>
            <a:r>
              <a:rPr lang="en-US" dirty="0"/>
              <a:t>Domain level controllers. Transport domain includes FCAP for transport infrastructure, orchestration + PCE </a:t>
            </a:r>
            <a:r>
              <a:rPr lang="en-US" dirty="0" err="1"/>
              <a:t>etc</a:t>
            </a:r>
            <a:r>
              <a:rPr lang="en-US" dirty="0"/>
              <a:t>, </a:t>
            </a:r>
            <a:r>
              <a:rPr lang="en-US" dirty="0" err="1"/>
              <a:t>Compute:NFVO</a:t>
            </a:r>
            <a:r>
              <a:rPr lang="en-US" dirty="0"/>
              <a:t> / ESC, Mobile (MCBU offering) Cisco don’t do all domains for example access which </a:t>
            </a:r>
            <a:r>
              <a:rPr lang="en-US" dirty="0" err="1"/>
              <a:t>si</a:t>
            </a:r>
            <a:r>
              <a:rPr lang="en-US" dirty="0"/>
              <a:t> radio.</a:t>
            </a:r>
          </a:p>
          <a:p>
            <a:endParaRPr lang="en-US" dirty="0"/>
          </a:p>
          <a:p>
            <a:r>
              <a:rPr lang="en-US" dirty="0"/>
              <a:t>Above this are use case controllers. In mobile this is the mobile slice manager which I responsible for end to end </a:t>
            </a:r>
            <a:r>
              <a:rPr lang="en-US" dirty="0" err="1"/>
              <a:t>provisiuoning</a:t>
            </a:r>
            <a:r>
              <a:rPr lang="en-US" dirty="0"/>
              <a:t> of slices. This is effectively a cross domain orchestrator. Cisco don’t do this function today but it could be envisaged as an NSO FP.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t>Cisco Live 2015</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235290186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02</a:t>
            </a:fld>
            <a:endParaRPr lang="en-US"/>
          </a:p>
        </p:txBody>
      </p:sp>
    </p:spTree>
    <p:extLst>
      <p:ext uri="{BB962C8B-B14F-4D97-AF65-F5344CB8AC3E}">
        <p14:creationId xmlns:p14="http://schemas.microsoft.com/office/powerpoint/2010/main" val="228796042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Segment routing has emerged a key transformative innovation being driven by Cisco into standardization bodies.  Segment Routing delivers on a number of key differentiators starting with the ability to drive new revenue in the transport.  Segment routing is application aware and provide differentiated services with a custom SR TE policy architecture that can driven with or without a controller.  This application awareness can also be used to program stateless service chaining without any new protocols.</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You can monitor health within the segment routing transport network using data path validation that validates the actual path the data plane would follow.  Not only can the path be followed and validated to be operational but it can also be characterized in terms of latency and jitter.  These measurements can be correlated with application requirements to ensure application health through a segment routing transport network.</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Segment routing is built to be ultra resilient and deliver on the ever increasing stringent SLAs that applications require.  Using TI LFA, sub-50ms can be ensured regardless of the network architecture using segment routing.  Additionally, provisions have been taken to ensure that micro loops don’t present themselves after a failure in the network and </a:t>
            </a:r>
            <a:r>
              <a:rPr lang="en-US" sz="1200" kern="1200" dirty="0" err="1">
                <a:solidFill>
                  <a:schemeClr val="tx1"/>
                </a:solidFill>
                <a:effectLst/>
                <a:latin typeface="+mn-lt"/>
                <a:ea typeface="ＭＳ Ｐゴシック" charset="0"/>
                <a:cs typeface="ＭＳ Ｐゴシック" charset="0"/>
              </a:rPr>
              <a:t>reconvergence</a:t>
            </a:r>
            <a:r>
              <a:rPr lang="en-US" sz="1200" kern="1200" dirty="0">
                <a:solidFill>
                  <a:schemeClr val="tx1"/>
                </a:solidFill>
                <a:effectLst/>
                <a:latin typeface="+mn-lt"/>
                <a:ea typeface="ＭＳ Ｐゴシック" charset="0"/>
                <a:cs typeface="ＭＳ Ｐゴシック" charset="0"/>
              </a:rPr>
              <a:t> is happening.</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Finally, segment routing is built to operate in a brownfield environment and allow the network operator to realize coexistence and ultimately seamless deployment of segment routing.  This possibility and the value segment</a:t>
            </a:r>
            <a:r>
              <a:rPr lang="en-US" sz="1200" kern="1200" baseline="0" dirty="0">
                <a:solidFill>
                  <a:schemeClr val="tx1"/>
                </a:solidFill>
                <a:effectLst/>
                <a:latin typeface="+mn-lt"/>
                <a:ea typeface="ＭＳ Ｐゴシック" charset="0"/>
                <a:cs typeface="ＭＳ Ｐゴシック" charset="0"/>
              </a:rPr>
              <a:t> routing drives certainly supports the notion that 60% of Service Providers plat to have SR deployed by the end of CY19.</a:t>
            </a:r>
          </a:p>
          <a:p>
            <a:endParaRPr lang="en-US" sz="1200" kern="1200" baseline="0" dirty="0">
              <a:solidFill>
                <a:schemeClr val="tx1"/>
              </a:solidFill>
              <a:effectLst/>
              <a:latin typeface="+mn-lt"/>
              <a:ea typeface="ＭＳ Ｐゴシック" charset="0"/>
              <a:cs typeface="ＭＳ Ｐゴシック" charset="0"/>
            </a:endParaRPr>
          </a:p>
          <a:p>
            <a:endParaRPr lang="en-US" sz="1200" kern="1200" dirty="0">
              <a:solidFill>
                <a:schemeClr val="tx1"/>
              </a:solidFill>
              <a:effectLst/>
              <a:latin typeface="+mn-lt"/>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840468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The transformation of the operational environment for service providers surround IOS XR continues to evolve.  A few key advancements are captured on this slide.</a:t>
            </a:r>
          </a:p>
          <a:p>
            <a:r>
              <a:rPr lang="en-US" sz="1200" kern="1200" dirty="0">
                <a:solidFill>
                  <a:schemeClr val="tx1"/>
                </a:solidFill>
                <a:effectLst/>
                <a:latin typeface="+mn-lt"/>
                <a:ea typeface="ＭＳ Ｐゴシック" charset="0"/>
                <a:cs typeface="ＭＳ Ｐゴシック" charset="0"/>
              </a:rPr>
              <a:t> </a:t>
            </a:r>
          </a:p>
          <a:p>
            <a:pPr lvl="0"/>
            <a:r>
              <a:rPr lang="en-US" sz="1200" kern="1200" dirty="0">
                <a:solidFill>
                  <a:schemeClr val="tx1"/>
                </a:solidFill>
                <a:effectLst/>
                <a:latin typeface="+mn-lt"/>
                <a:ea typeface="ＭＳ Ｐゴシック" charset="0"/>
                <a:cs typeface="ＭＳ Ｐゴシック" charset="0"/>
              </a:rPr>
              <a:t>Flexible Packaging</a:t>
            </a:r>
          </a:p>
          <a:p>
            <a:r>
              <a:rPr lang="en-US" sz="1200" kern="1200" dirty="0">
                <a:solidFill>
                  <a:schemeClr val="tx1"/>
                </a:solidFill>
                <a:effectLst/>
                <a:latin typeface="+mn-lt"/>
                <a:ea typeface="ＭＳ Ｐゴシック" charset="0"/>
                <a:cs typeface="ＭＳ Ｐゴシック" charset="0"/>
              </a:rPr>
              <a:t>IOS XR has always been packaged to include all components into a single ISO.  With IOS XR 7, we are enabling the ability to have two new options.  First, the addition of a thin ISO that is built for fixed, small form factor systems has been added.  This ISO allows a cost optimized system to take advantage of the IOS XR codebase but not be burdened with specific code that is designed for larger scale, </a:t>
            </a:r>
            <a:r>
              <a:rPr lang="en-US" sz="1200" kern="1200" dirty="0" err="1">
                <a:solidFill>
                  <a:schemeClr val="tx1"/>
                </a:solidFill>
                <a:effectLst/>
                <a:latin typeface="+mn-lt"/>
                <a:ea typeface="ＭＳ Ｐゴシック" charset="0"/>
                <a:cs typeface="ＭＳ Ｐゴシック" charset="0"/>
              </a:rPr>
              <a:t>multichassis</a:t>
            </a:r>
            <a:r>
              <a:rPr lang="en-US" sz="1200" kern="1200" dirty="0">
                <a:solidFill>
                  <a:schemeClr val="tx1"/>
                </a:solidFill>
                <a:effectLst/>
                <a:latin typeface="+mn-lt"/>
                <a:ea typeface="ＭＳ Ｐゴシック" charset="0"/>
                <a:cs typeface="ＭＳ Ｐゴシック" charset="0"/>
              </a:rPr>
              <a:t> systems.  This thin ISO also potentially allows for faster boots of the operating system on these small form factor systems.</a:t>
            </a:r>
          </a:p>
          <a:p>
            <a:r>
              <a:rPr lang="en-US" sz="1200" kern="1200" dirty="0">
                <a:solidFill>
                  <a:schemeClr val="tx1"/>
                </a:solidFill>
                <a:effectLst/>
                <a:latin typeface="+mn-lt"/>
                <a:ea typeface="ＭＳ Ｐゴシック" charset="0"/>
                <a:cs typeface="ＭＳ Ｐゴシック" charset="0"/>
              </a:rPr>
              <a:t> </a:t>
            </a:r>
          </a:p>
          <a:p>
            <a:pPr lvl="0"/>
            <a:r>
              <a:rPr lang="en-US" sz="1200" kern="1200" dirty="0">
                <a:solidFill>
                  <a:schemeClr val="tx1"/>
                </a:solidFill>
                <a:effectLst/>
                <a:latin typeface="+mn-lt"/>
                <a:ea typeface="ＭＳ Ｐゴシック" charset="0"/>
                <a:cs typeface="ＭＳ Ｐゴシック" charset="0"/>
              </a:rPr>
              <a:t>Simplified Install</a:t>
            </a:r>
          </a:p>
          <a:p>
            <a:r>
              <a:rPr lang="en-US" sz="1200" kern="1200" dirty="0">
                <a:solidFill>
                  <a:schemeClr val="tx1"/>
                </a:solidFill>
                <a:effectLst/>
                <a:latin typeface="+mn-lt"/>
                <a:ea typeface="ＭＳ Ｐゴシック" charset="0"/>
                <a:cs typeface="ＭＳ Ｐゴシック" charset="0"/>
              </a:rPr>
              <a:t>The install process has been enhanced to provide a new optional way of installing IOS XR on a system.  A server like install has been enabled using a model based yang install process that leverages yum.  The addition of an atomic install where the complete install of IOS XR is completed and validated is also a new option that has been added to IOS XR install process.  Lastly, model based yang telemetry has been added where one can optionally track the status of the install and feed that back into a automated process.</a:t>
            </a:r>
          </a:p>
          <a:p>
            <a:r>
              <a:rPr lang="en-US" sz="1200" kern="1200" dirty="0">
                <a:solidFill>
                  <a:schemeClr val="tx1"/>
                </a:solidFill>
                <a:effectLst/>
                <a:latin typeface="+mn-lt"/>
                <a:ea typeface="ＭＳ Ｐゴシック" charset="0"/>
                <a:cs typeface="ＭＳ Ｐゴシック" charset="0"/>
              </a:rPr>
              <a:t> </a:t>
            </a:r>
          </a:p>
          <a:p>
            <a:pPr lvl="0"/>
            <a:r>
              <a:rPr lang="en-US" sz="1200" kern="1200" dirty="0">
                <a:solidFill>
                  <a:schemeClr val="tx1"/>
                </a:solidFill>
                <a:effectLst/>
                <a:latin typeface="+mn-lt"/>
                <a:ea typeface="ＭＳ Ｐゴシック" charset="0"/>
                <a:cs typeface="ＭＳ Ｐゴシック" charset="0"/>
              </a:rPr>
              <a:t>Programmability Tools</a:t>
            </a:r>
          </a:p>
          <a:p>
            <a:r>
              <a:rPr lang="en-US" sz="1200" kern="1200" dirty="0">
                <a:solidFill>
                  <a:schemeClr val="tx1"/>
                </a:solidFill>
                <a:effectLst/>
                <a:latin typeface="+mn-lt"/>
                <a:ea typeface="ＭＳ Ｐゴシック" charset="0"/>
                <a:cs typeface="ＭＳ Ｐゴシック" charset="0"/>
              </a:rPr>
              <a:t>Finally, a new set of programmability tools have been enabled and optimized to work with IOS XR.  Cisco NSO is a multivendor tool that drives predictable operational realities for operators.  This is a well documented tool and IOS XR continues to work with this in a seamless fashion.  </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YDK is a Cisco started, open sourced tool for the development community to simplify programming of yang models in a simplified manner.  This YDK community has grown exponentially and has resulted in 16 releases and over 1000 commits over the past 18 months since open sourcing.  Open sourcing is easy, developing a community and adding new code from the community is the hard part.</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Finally, yang suite is a new tool that is designed to abstract some of the developer complexity of programming python or yang for your traditional network operator.  This new tool is just scratching the surface but is already being trialed by several leading provider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607920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dates are calendar year</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09</a:t>
            </a:fld>
            <a:endParaRPr lang="en-US"/>
          </a:p>
        </p:txBody>
      </p:sp>
    </p:spTree>
    <p:extLst>
      <p:ext uri="{BB962C8B-B14F-4D97-AF65-F5344CB8AC3E}">
        <p14:creationId xmlns:p14="http://schemas.microsoft.com/office/powerpoint/2010/main" val="31558540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498634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22254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13</a:t>
            </a:fld>
            <a:endParaRPr lang="en-US"/>
          </a:p>
        </p:txBody>
      </p:sp>
    </p:spTree>
    <p:extLst>
      <p:ext uri="{BB962C8B-B14F-4D97-AF65-F5344CB8AC3E}">
        <p14:creationId xmlns:p14="http://schemas.microsoft.com/office/powerpoint/2010/main" val="354871663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5741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316443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08803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896724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254563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3699458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tx2"/>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tx2"/>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tx2"/>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tx2"/>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tx2"/>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US"/>
              <a:t>Click to edit Master title style</a:t>
            </a:r>
            <a:endParaRPr lang="en-GB"/>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00519972"/>
      </p:ext>
    </p:extLst>
  </p:cSld>
  <p:clrMapOvr>
    <a:masterClrMapping/>
  </p:clrMapOvr>
  <p:extLst>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5568354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tx2"/>
                </a:solidFill>
                <a:latin typeface="+mn-lt"/>
                <a:ea typeface="ＭＳ Ｐゴシック" charset="0"/>
                <a:cs typeface="CiscoSans"/>
              </a:defRPr>
            </a:lvl1pPr>
            <a:lvl2pPr marL="228600" indent="-114300">
              <a:buClr>
                <a:schemeClr val="tx2"/>
              </a:buClr>
              <a:buSzPct val="60000"/>
              <a:defRPr sz="2000">
                <a:solidFill>
                  <a:schemeClr val="tx2"/>
                </a:solidFill>
              </a:defRPr>
            </a:lvl2pPr>
            <a:lvl3pPr marL="342900" indent="-114300">
              <a:buClr>
                <a:schemeClr val="tx2"/>
              </a:buClr>
              <a:buSzPct val="60000"/>
              <a:defRPr sz="1800">
                <a:solidFill>
                  <a:schemeClr val="tx2"/>
                </a:solidFill>
              </a:defRPr>
            </a:lvl3pPr>
            <a:lvl4pPr marL="457200" indent="-123825">
              <a:buClr>
                <a:schemeClr val="tx2"/>
              </a:buClr>
              <a:buSzPct val="60000"/>
              <a:defRPr sz="1600">
                <a:solidFill>
                  <a:schemeClr val="tx2"/>
                </a:solidFill>
              </a:defRPr>
            </a:lvl4pPr>
            <a:lvl5pPr marL="574675" indent="-117475">
              <a:buClr>
                <a:schemeClr val="tx2"/>
              </a:buClr>
              <a:buSzPct val="6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77055128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1333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39482647"/>
      </p:ext>
    </p:extLst>
  </p:cSld>
  <p:clrMapOvr>
    <a:masterClrMapping/>
  </p:clrMapOvr>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5763"/>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4276462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88446552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3818087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01836755"/>
      </p:ext>
    </p:extLst>
  </p:cSld>
  <p:clrMapOvr>
    <a:masterClrMapping/>
  </p:clrMapOvr>
  <p:extLst>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9137871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96"/>
            <a:ext cx="359666" cy="274637"/>
          </a:xfrm>
          <a:prstGeom prst="rect">
            <a:avLst/>
          </a:prstGeom>
        </p:spPr>
        <p:txBody>
          <a:bodyPr vert="horz" lIns="91426" tIns="45713" rIns="91426" bIns="45713"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40" y="4946904"/>
            <a:ext cx="716863" cy="154518"/>
          </a:xfrm>
          <a:prstGeom prst="rect">
            <a:avLst/>
          </a:prstGeom>
          <a:noFill/>
          <a:ln w="9525">
            <a:noFill/>
            <a:miter lim="800000"/>
            <a:headEnd/>
            <a:tailEnd/>
          </a:ln>
          <a:effectLst/>
        </p:spPr>
        <p:txBody>
          <a:bodyPr wrap="square" lIns="61576" tIns="30791" rIns="61576" bIns="30791" anchor="b">
            <a:spAutoFit/>
          </a:bodyPr>
          <a:lstStyle>
            <a:lvl1pPr algn="l">
              <a:defRPr lang="en-US" sz="600" dirty="0">
                <a:solidFill>
                  <a:srgbClr val="000000"/>
                </a:solidFill>
                <a:cs typeface="CiscoSans Thin"/>
              </a:defRPr>
            </a:lvl1pPr>
          </a:lstStyle>
          <a:p>
            <a:pPr defTabSz="610639"/>
            <a:r>
              <a:rPr>
                <a:ea typeface="ＭＳ Ｐゴシック" charset="0"/>
              </a:rPr>
              <a:t>BRKSPG-2120</a:t>
            </a:r>
          </a:p>
        </p:txBody>
      </p:sp>
      <p:sp>
        <p:nvSpPr>
          <p:cNvPr id="11" name="Title 1"/>
          <p:cNvSpPr>
            <a:spLocks noGrp="1"/>
          </p:cNvSpPr>
          <p:nvPr>
            <p:ph type="title"/>
          </p:nvPr>
        </p:nvSpPr>
        <p:spPr>
          <a:xfrm>
            <a:off x="356616" y="217715"/>
            <a:ext cx="8513064" cy="765432"/>
          </a:xfrm>
        </p:spPr>
        <p:txBody>
          <a:bodyPr/>
          <a:lstStyle/>
          <a:p>
            <a:r>
              <a:rPr lang="en-US"/>
              <a:t>Click to edit Master title style</a:t>
            </a:r>
            <a:endParaRPr lang="en-US" dirty="0"/>
          </a:p>
        </p:txBody>
      </p:sp>
    </p:spTree>
    <p:extLst>
      <p:ext uri="{BB962C8B-B14F-4D97-AF65-F5344CB8AC3E}">
        <p14:creationId xmlns:p14="http://schemas.microsoft.com/office/powerpoint/2010/main" val="3162544278"/>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28650" y="1369219"/>
            <a:ext cx="78867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8718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MAIN-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34613"/>
            <a:ext cx="8277344" cy="3168210"/>
          </a:xfrm>
          <a:prstGeom prst="rect">
            <a:avLst/>
          </a:prstGeom>
        </p:spPr>
        <p:txBody>
          <a:bodyPr lIns="91420" tIns="45710" rIns="91420" bIns="45710">
            <a:noAutofit/>
          </a:bodyPr>
          <a:lstStyle>
            <a:lvl1pPr marL="230183" indent="-176209">
              <a:lnSpc>
                <a:spcPts val="1600"/>
              </a:lnSpc>
              <a:spcBef>
                <a:spcPts val="1110"/>
              </a:spcBef>
              <a:buClr>
                <a:schemeClr val="tx1"/>
              </a:buClr>
              <a:buSzPct val="80000"/>
              <a:buFont typeface="Arial" panose="020B0604020202020204" pitchFamily="34" charset="0"/>
              <a:buChar char="•"/>
              <a:defRPr sz="1800" b="0" i="0">
                <a:solidFill>
                  <a:schemeClr val="bg1">
                    <a:lumMod val="50000"/>
                  </a:schemeClr>
                </a:solidFill>
                <a:latin typeface="+mn-lt"/>
                <a:cs typeface="CiscoSans ExtraLight"/>
              </a:defRPr>
            </a:lvl1pPr>
            <a:lvl2pPr marL="457189" indent="-112710">
              <a:lnSpc>
                <a:spcPts val="1600"/>
              </a:lnSpc>
              <a:spcBef>
                <a:spcPts val="450"/>
              </a:spcBef>
              <a:buClr>
                <a:schemeClr val="tx1"/>
              </a:buClr>
              <a:buSzPct val="80000"/>
              <a:buFontTx/>
              <a:buNone/>
              <a:defRPr sz="1400" b="0" i="0">
                <a:solidFill>
                  <a:schemeClr val="bg1">
                    <a:lumMod val="50000"/>
                  </a:schemeClr>
                </a:solidFill>
                <a:latin typeface="+mn-lt"/>
                <a:cs typeface="CiscoSans ExtraLight"/>
              </a:defRPr>
            </a:lvl2pPr>
            <a:lvl3pPr marL="228594" indent="57149">
              <a:buClr>
                <a:schemeClr val="tx1"/>
              </a:buClr>
              <a:buSzPct val="80000"/>
              <a:buFontTx/>
              <a:buNone/>
              <a:defRPr sz="1400" b="0" i="0">
                <a:solidFill>
                  <a:srgbClr val="FF0000"/>
                </a:solidFill>
                <a:latin typeface="+mn-lt"/>
                <a:cs typeface="CiscoSans ExtraLight"/>
              </a:defRPr>
            </a:lvl3pPr>
            <a:lvl4pPr marL="344479" indent="0">
              <a:lnSpc>
                <a:spcPts val="1600"/>
              </a:lnSpc>
              <a:buClr>
                <a:schemeClr val="tx1"/>
              </a:buClr>
              <a:buSzPct val="80000"/>
              <a:buFontTx/>
              <a:buNone/>
              <a:defRPr sz="1200" b="0" i="0">
                <a:solidFill>
                  <a:schemeClr val="bg1">
                    <a:lumMod val="50000"/>
                  </a:schemeClr>
                </a:solidFill>
                <a:latin typeface="+mn-lt"/>
                <a:cs typeface="CiscoSans ExtraLight"/>
              </a:defRPr>
            </a:lvl4pPr>
            <a:lvl5pPr marL="800080" indent="-171446">
              <a:lnSpc>
                <a:spcPts val="1600"/>
              </a:lnSpc>
              <a:buClr>
                <a:schemeClr val="tx1"/>
              </a:buClr>
              <a:buSzPct val="80000"/>
              <a:buFont typeface="Arial" panose="020B0604020202020204" pitchFamily="34" charset="0"/>
              <a:buChar char="•"/>
              <a:tabLst>
                <a:tab pos="685783" algn="l"/>
              </a:tabLst>
              <a:defRPr sz="1200" b="0" i="0">
                <a:solidFill>
                  <a:schemeClr val="bg1">
                    <a:lumMod val="50000"/>
                  </a:schemeClr>
                </a:solidFill>
                <a:latin typeface="+mn-lt"/>
                <a:cs typeface="CiscoSans ExtraLight"/>
              </a:defRPr>
            </a:lvl5pPr>
            <a:lvl6pPr marL="692394" indent="0">
              <a:buFontTx/>
              <a:buNone/>
              <a:defRPr i="1"/>
            </a:lvl6pPr>
          </a:lstStyle>
          <a:p>
            <a:pPr lvl="0"/>
            <a:r>
              <a:rPr lang="en-GB"/>
              <a:t>First level</a:t>
            </a:r>
          </a:p>
          <a:p>
            <a:pPr lvl="1"/>
            <a:r>
              <a:rPr lang="en-GB"/>
              <a:t>Second level</a:t>
            </a:r>
          </a:p>
        </p:txBody>
      </p:sp>
      <p:sp>
        <p:nvSpPr>
          <p:cNvPr id="6" name="Title Placeholder 5"/>
          <p:cNvSpPr>
            <a:spLocks noGrp="1"/>
          </p:cNvSpPr>
          <p:nvPr>
            <p:ph type="title"/>
          </p:nvPr>
        </p:nvSpPr>
        <p:spPr bwMode="auto">
          <a:xfrm>
            <a:off x="437766" y="228139"/>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427687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925" y="218947"/>
            <a:ext cx="8513064" cy="765432"/>
          </a:xfrm>
        </p:spPr>
        <p:txBody>
          <a:bodyPr/>
          <a:lstStyle>
            <a:lvl1pPr>
              <a:defRPr baseline="0"/>
            </a:lvl1pPr>
          </a:lstStyle>
          <a:p>
            <a:r>
              <a:rPr lang="en-US"/>
              <a:t>Click to edit Master title style</a:t>
            </a:r>
            <a:endParaRPr lang="en-US" dirty="0"/>
          </a:p>
        </p:txBody>
      </p:sp>
      <p:sp>
        <p:nvSpPr>
          <p:cNvPr id="5" name="Content Placeholder 4"/>
          <p:cNvSpPr>
            <a:spLocks noGrp="1"/>
          </p:cNvSpPr>
          <p:nvPr>
            <p:ph sz="quarter" idx="11"/>
          </p:nvPr>
        </p:nvSpPr>
        <p:spPr>
          <a:xfrm>
            <a:off x="352925" y="1077913"/>
            <a:ext cx="8513064" cy="3398837"/>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Tree>
    <p:extLst>
      <p:ext uri="{BB962C8B-B14F-4D97-AF65-F5344CB8AC3E}">
        <p14:creationId xmlns:p14="http://schemas.microsoft.com/office/powerpoint/2010/main" val="209031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opulation Density">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F6DF5EE2-F943-4792-904B-2AABB245EA6B}"/>
              </a:ext>
            </a:extLst>
          </p:cNvPr>
          <p:cNvPicPr>
            <a:picLocks noChangeAspect="1"/>
          </p:cNvPicPr>
          <p:nvPr userDrawn="1"/>
        </p:nvPicPr>
        <p:blipFill rotWithShape="1">
          <a:blip r:embed="rId2"/>
          <a:srcRect l="5785" t="6477" r="1187" b="6086"/>
          <a:stretch/>
        </p:blipFill>
        <p:spPr>
          <a:xfrm>
            <a:off x="2345700" y="0"/>
            <a:ext cx="6798299" cy="5143499"/>
          </a:xfrm>
          <a:prstGeom prst="rect">
            <a:avLst/>
          </a:prstGeom>
        </p:spPr>
      </p:pic>
      <p:grpSp>
        <p:nvGrpSpPr>
          <p:cNvPr id="40" name="Group 39">
            <a:extLst>
              <a:ext uri="{FF2B5EF4-FFF2-40B4-BE49-F238E27FC236}">
                <a16:creationId xmlns:a16="http://schemas.microsoft.com/office/drawing/2014/main" id="{04128EEA-1639-439F-A1E7-61DF9D1B0635}"/>
              </a:ext>
            </a:extLst>
          </p:cNvPr>
          <p:cNvGrpSpPr/>
          <p:nvPr userDrawn="1"/>
        </p:nvGrpSpPr>
        <p:grpSpPr>
          <a:xfrm>
            <a:off x="90338" y="304844"/>
            <a:ext cx="2227335" cy="3397420"/>
            <a:chOff x="90338" y="304844"/>
            <a:chExt cx="2227335" cy="3397420"/>
          </a:xfrm>
        </p:grpSpPr>
        <p:grpSp>
          <p:nvGrpSpPr>
            <p:cNvPr id="41" name="Group 40">
              <a:extLst>
                <a:ext uri="{FF2B5EF4-FFF2-40B4-BE49-F238E27FC236}">
                  <a16:creationId xmlns:a16="http://schemas.microsoft.com/office/drawing/2014/main" id="{C1A7BE7B-F354-44CA-80D3-378EC96EF406}"/>
                </a:ext>
              </a:extLst>
            </p:cNvPr>
            <p:cNvGrpSpPr/>
            <p:nvPr/>
          </p:nvGrpSpPr>
          <p:grpSpPr>
            <a:xfrm>
              <a:off x="93692" y="337116"/>
              <a:ext cx="304786" cy="304788"/>
              <a:chOff x="4083769" y="2552776"/>
              <a:chExt cx="529089" cy="529089"/>
            </a:xfrm>
          </p:grpSpPr>
          <p:sp>
            <p:nvSpPr>
              <p:cNvPr id="95" name="Oval 94">
                <a:extLst>
                  <a:ext uri="{FF2B5EF4-FFF2-40B4-BE49-F238E27FC236}">
                    <a16:creationId xmlns:a16="http://schemas.microsoft.com/office/drawing/2014/main" id="{6AA8FF20-AD84-46B3-9B77-BE50F4AE1632}"/>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6" name="Freeform: Shape 298">
                <a:extLst>
                  <a:ext uri="{FF2B5EF4-FFF2-40B4-BE49-F238E27FC236}">
                    <a16:creationId xmlns:a16="http://schemas.microsoft.com/office/drawing/2014/main" id="{26EA9FAA-3E84-4B02-98DB-333CA1BEB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7" name="Freeform: Shape 299">
                <a:extLst>
                  <a:ext uri="{FF2B5EF4-FFF2-40B4-BE49-F238E27FC236}">
                    <a16:creationId xmlns:a16="http://schemas.microsoft.com/office/drawing/2014/main" id="{50CE65A8-6382-4179-BCA1-8A89007C18F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8" name="Freeform: Shape 301">
                <a:extLst>
                  <a:ext uri="{FF2B5EF4-FFF2-40B4-BE49-F238E27FC236}">
                    <a16:creationId xmlns:a16="http://schemas.microsoft.com/office/drawing/2014/main" id="{E1D853D6-C0A7-474E-8936-3377DB122BB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302">
                <a:extLst>
                  <a:ext uri="{FF2B5EF4-FFF2-40B4-BE49-F238E27FC236}">
                    <a16:creationId xmlns:a16="http://schemas.microsoft.com/office/drawing/2014/main" id="{7B96462C-570D-4072-B0C7-7D5DA02B8D4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2" name="TextBox 41">
              <a:extLst>
                <a:ext uri="{FF2B5EF4-FFF2-40B4-BE49-F238E27FC236}">
                  <a16:creationId xmlns:a16="http://schemas.microsoft.com/office/drawing/2014/main" id="{EE798585-C4D9-40B7-A94A-9BA3A29EF247}"/>
                </a:ext>
              </a:extLst>
            </p:cNvPr>
            <p:cNvSpPr txBox="1"/>
            <p:nvPr/>
          </p:nvSpPr>
          <p:spPr>
            <a:xfrm>
              <a:off x="400160" y="304844"/>
              <a:ext cx="1160895" cy="369332"/>
            </a:xfrm>
            <a:prstGeom prst="rect">
              <a:avLst/>
            </a:prstGeom>
            <a:noFill/>
          </p:spPr>
          <p:txBody>
            <a:bodyPr wrap="none" rtlCol="0">
              <a:spAutoFit/>
            </a:bodyPr>
            <a:lstStyle/>
            <a:p>
              <a:pPr defTabSz="457189"/>
              <a:r>
                <a:rPr lang="en-ZA" dirty="0">
                  <a:solidFill>
                    <a:srgbClr val="282828"/>
                  </a:solidFill>
                  <a:latin typeface="CiscoSansTT ExtraLight"/>
                </a:rPr>
                <a:t>Core Site</a:t>
              </a:r>
            </a:p>
          </p:txBody>
        </p:sp>
        <p:grpSp>
          <p:nvGrpSpPr>
            <p:cNvPr id="43" name="Group 42">
              <a:extLst>
                <a:ext uri="{FF2B5EF4-FFF2-40B4-BE49-F238E27FC236}">
                  <a16:creationId xmlns:a16="http://schemas.microsoft.com/office/drawing/2014/main" id="{8DAD449B-305C-4F9D-9622-3939A01F50E8}"/>
                </a:ext>
              </a:extLst>
            </p:cNvPr>
            <p:cNvGrpSpPr/>
            <p:nvPr/>
          </p:nvGrpSpPr>
          <p:grpSpPr>
            <a:xfrm>
              <a:off x="93692" y="776476"/>
              <a:ext cx="304786" cy="304788"/>
              <a:chOff x="4083769" y="2552776"/>
              <a:chExt cx="529089" cy="529089"/>
            </a:xfrm>
          </p:grpSpPr>
          <p:sp>
            <p:nvSpPr>
              <p:cNvPr id="90" name="Oval 89">
                <a:extLst>
                  <a:ext uri="{FF2B5EF4-FFF2-40B4-BE49-F238E27FC236}">
                    <a16:creationId xmlns:a16="http://schemas.microsoft.com/office/drawing/2014/main" id="{634899CF-CA69-47E6-B00C-9BD80B17FD9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1" name="Freeform: Shape 298">
                <a:extLst>
                  <a:ext uri="{FF2B5EF4-FFF2-40B4-BE49-F238E27FC236}">
                    <a16:creationId xmlns:a16="http://schemas.microsoft.com/office/drawing/2014/main" id="{ADCE3579-2B18-4E90-AF68-8B7633DC7E3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2" name="Freeform: Shape 299">
                <a:extLst>
                  <a:ext uri="{FF2B5EF4-FFF2-40B4-BE49-F238E27FC236}">
                    <a16:creationId xmlns:a16="http://schemas.microsoft.com/office/drawing/2014/main" id="{08BA0E62-FC5D-4064-A02C-64BE9BDDCD9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3" name="Freeform: Shape 301">
                <a:extLst>
                  <a:ext uri="{FF2B5EF4-FFF2-40B4-BE49-F238E27FC236}">
                    <a16:creationId xmlns:a16="http://schemas.microsoft.com/office/drawing/2014/main" id="{BB1A6FD8-6B3E-4E0E-962E-F4166FAC24F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4" name="Freeform: Shape 302">
                <a:extLst>
                  <a:ext uri="{FF2B5EF4-FFF2-40B4-BE49-F238E27FC236}">
                    <a16:creationId xmlns:a16="http://schemas.microsoft.com/office/drawing/2014/main" id="{1FC0ECB1-95A4-478C-8E82-E25C4B85AC0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4" name="TextBox 43">
              <a:extLst>
                <a:ext uri="{FF2B5EF4-FFF2-40B4-BE49-F238E27FC236}">
                  <a16:creationId xmlns:a16="http://schemas.microsoft.com/office/drawing/2014/main" id="{399E100A-F3D3-473E-B051-3E4178DE98DF}"/>
                </a:ext>
              </a:extLst>
            </p:cNvPr>
            <p:cNvSpPr txBox="1"/>
            <p:nvPr/>
          </p:nvSpPr>
          <p:spPr>
            <a:xfrm>
              <a:off x="400160" y="737428"/>
              <a:ext cx="1917513" cy="369332"/>
            </a:xfrm>
            <a:prstGeom prst="rect">
              <a:avLst/>
            </a:prstGeom>
            <a:noFill/>
          </p:spPr>
          <p:txBody>
            <a:bodyPr wrap="none" rtlCol="0">
              <a:spAutoFit/>
            </a:bodyPr>
            <a:lstStyle/>
            <a:p>
              <a:pPr defTabSz="457189"/>
              <a:r>
                <a:rPr lang="en-ZA" dirty="0">
                  <a:solidFill>
                    <a:srgbClr val="282828"/>
                  </a:solidFill>
                  <a:latin typeface="CiscoSansTT ExtraLight"/>
                </a:rPr>
                <a:t>Aggregation Site</a:t>
              </a:r>
            </a:p>
          </p:txBody>
        </p:sp>
        <p:grpSp>
          <p:nvGrpSpPr>
            <p:cNvPr id="45" name="Group 44">
              <a:extLst>
                <a:ext uri="{FF2B5EF4-FFF2-40B4-BE49-F238E27FC236}">
                  <a16:creationId xmlns:a16="http://schemas.microsoft.com/office/drawing/2014/main" id="{F8302330-FADE-4DF7-8899-AD1DB1EB88D0}"/>
                </a:ext>
              </a:extLst>
            </p:cNvPr>
            <p:cNvGrpSpPr/>
            <p:nvPr/>
          </p:nvGrpSpPr>
          <p:grpSpPr>
            <a:xfrm>
              <a:off x="93692" y="1215836"/>
              <a:ext cx="304786" cy="304788"/>
              <a:chOff x="4083769" y="2552776"/>
              <a:chExt cx="529089" cy="529089"/>
            </a:xfrm>
          </p:grpSpPr>
          <p:sp>
            <p:nvSpPr>
              <p:cNvPr id="85" name="Oval 84">
                <a:extLst>
                  <a:ext uri="{FF2B5EF4-FFF2-40B4-BE49-F238E27FC236}">
                    <a16:creationId xmlns:a16="http://schemas.microsoft.com/office/drawing/2014/main" id="{5AFE2ACA-056D-442B-B935-CAA3F22EA2D6}"/>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86" name="Freeform: Shape 298">
                <a:extLst>
                  <a:ext uri="{FF2B5EF4-FFF2-40B4-BE49-F238E27FC236}">
                    <a16:creationId xmlns:a16="http://schemas.microsoft.com/office/drawing/2014/main" id="{2EE19290-D5B8-484D-9665-1FDCA91B91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7" name="Freeform: Shape 299">
                <a:extLst>
                  <a:ext uri="{FF2B5EF4-FFF2-40B4-BE49-F238E27FC236}">
                    <a16:creationId xmlns:a16="http://schemas.microsoft.com/office/drawing/2014/main" id="{9A4B0274-8843-450C-B860-A9992A78DD1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8" name="Freeform: Shape 301">
                <a:extLst>
                  <a:ext uri="{FF2B5EF4-FFF2-40B4-BE49-F238E27FC236}">
                    <a16:creationId xmlns:a16="http://schemas.microsoft.com/office/drawing/2014/main" id="{AED8C134-236F-4D91-AB86-AB412F3D90F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9" name="Freeform: Shape 302">
                <a:extLst>
                  <a:ext uri="{FF2B5EF4-FFF2-40B4-BE49-F238E27FC236}">
                    <a16:creationId xmlns:a16="http://schemas.microsoft.com/office/drawing/2014/main" id="{807DE252-B477-4B57-91F7-38BCCC87469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 name="TextBox 45">
              <a:extLst>
                <a:ext uri="{FF2B5EF4-FFF2-40B4-BE49-F238E27FC236}">
                  <a16:creationId xmlns:a16="http://schemas.microsoft.com/office/drawing/2014/main" id="{AB13F17A-EF8E-4D84-8407-31987F44428B}"/>
                </a:ext>
              </a:extLst>
            </p:cNvPr>
            <p:cNvSpPr txBox="1"/>
            <p:nvPr/>
          </p:nvSpPr>
          <p:spPr>
            <a:xfrm>
              <a:off x="400160" y="1170012"/>
              <a:ext cx="1552028" cy="369332"/>
            </a:xfrm>
            <a:prstGeom prst="rect">
              <a:avLst/>
            </a:prstGeom>
            <a:noFill/>
          </p:spPr>
          <p:txBody>
            <a:bodyPr wrap="none" rtlCol="0">
              <a:spAutoFit/>
            </a:bodyPr>
            <a:lstStyle/>
            <a:p>
              <a:pPr defTabSz="457189"/>
              <a:r>
                <a:rPr lang="en-ZA" dirty="0">
                  <a:solidFill>
                    <a:srgbClr val="282828"/>
                  </a:solidFill>
                  <a:latin typeface="CiscoSansTT ExtraLight"/>
                </a:rPr>
                <a:t>Pre-</a:t>
              </a:r>
              <a:r>
                <a:rPr lang="en-ZA" dirty="0" err="1">
                  <a:solidFill>
                    <a:srgbClr val="282828"/>
                  </a:solidFill>
                  <a:latin typeface="CiscoSansTT ExtraLight"/>
                </a:rPr>
                <a:t>Agg</a:t>
              </a:r>
              <a:r>
                <a:rPr lang="en-ZA" dirty="0">
                  <a:solidFill>
                    <a:srgbClr val="282828"/>
                  </a:solidFill>
                  <a:latin typeface="CiscoSansTT ExtraLight"/>
                </a:rPr>
                <a:t> Site</a:t>
              </a:r>
            </a:p>
          </p:txBody>
        </p:sp>
        <p:grpSp>
          <p:nvGrpSpPr>
            <p:cNvPr id="47" name="Group 46">
              <a:extLst>
                <a:ext uri="{FF2B5EF4-FFF2-40B4-BE49-F238E27FC236}">
                  <a16:creationId xmlns:a16="http://schemas.microsoft.com/office/drawing/2014/main" id="{4CEEBA06-3F66-4CDC-940A-B35F44FEEDB5}"/>
                </a:ext>
              </a:extLst>
            </p:cNvPr>
            <p:cNvGrpSpPr/>
            <p:nvPr/>
          </p:nvGrpSpPr>
          <p:grpSpPr>
            <a:xfrm>
              <a:off x="90338" y="2101266"/>
              <a:ext cx="311495" cy="311498"/>
              <a:chOff x="4083769" y="2552776"/>
              <a:chExt cx="529089" cy="529089"/>
            </a:xfrm>
          </p:grpSpPr>
          <p:sp>
            <p:nvSpPr>
              <p:cNvPr id="80" name="Oval 79">
                <a:extLst>
                  <a:ext uri="{FF2B5EF4-FFF2-40B4-BE49-F238E27FC236}">
                    <a16:creationId xmlns:a16="http://schemas.microsoft.com/office/drawing/2014/main" id="{AB600958-AD1E-47A1-8FF9-A73026284403}"/>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81" name="Freeform: Shape 298">
                <a:extLst>
                  <a:ext uri="{FF2B5EF4-FFF2-40B4-BE49-F238E27FC236}">
                    <a16:creationId xmlns:a16="http://schemas.microsoft.com/office/drawing/2014/main" id="{464955FC-E1F0-4408-935D-DDB6281D6F9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2" name="Freeform: Shape 299">
                <a:extLst>
                  <a:ext uri="{FF2B5EF4-FFF2-40B4-BE49-F238E27FC236}">
                    <a16:creationId xmlns:a16="http://schemas.microsoft.com/office/drawing/2014/main" id="{01DEB283-3560-4BD6-BEAB-3009AE58E9B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3" name="Freeform: Shape 301">
                <a:extLst>
                  <a:ext uri="{FF2B5EF4-FFF2-40B4-BE49-F238E27FC236}">
                    <a16:creationId xmlns:a16="http://schemas.microsoft.com/office/drawing/2014/main" id="{560CEDCF-65EE-451D-A02A-1C3E25426C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4" name="Freeform: Shape 302">
                <a:extLst>
                  <a:ext uri="{FF2B5EF4-FFF2-40B4-BE49-F238E27FC236}">
                    <a16:creationId xmlns:a16="http://schemas.microsoft.com/office/drawing/2014/main" id="{06F51962-1978-409A-9897-34D9F6CADE6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8" name="TextBox 47">
              <a:extLst>
                <a:ext uri="{FF2B5EF4-FFF2-40B4-BE49-F238E27FC236}">
                  <a16:creationId xmlns:a16="http://schemas.microsoft.com/office/drawing/2014/main" id="{71A8C815-B6C1-4989-A9ED-CCFAEFF20D7A}"/>
                </a:ext>
              </a:extLst>
            </p:cNvPr>
            <p:cNvSpPr txBox="1"/>
            <p:nvPr/>
          </p:nvSpPr>
          <p:spPr>
            <a:xfrm>
              <a:off x="400160" y="2035180"/>
              <a:ext cx="1447832" cy="369332"/>
            </a:xfrm>
            <a:prstGeom prst="rect">
              <a:avLst/>
            </a:prstGeom>
            <a:noFill/>
          </p:spPr>
          <p:txBody>
            <a:bodyPr wrap="none" rtlCol="0">
              <a:spAutoFit/>
            </a:bodyPr>
            <a:lstStyle/>
            <a:p>
              <a:pPr defTabSz="457189"/>
              <a:r>
                <a:rPr lang="en-ZA" dirty="0">
                  <a:solidFill>
                    <a:srgbClr val="282828"/>
                  </a:solidFill>
                  <a:latin typeface="CiscoSansTT ExtraLight"/>
                </a:rPr>
                <a:t>Peering Site</a:t>
              </a:r>
            </a:p>
          </p:txBody>
        </p:sp>
        <p:grpSp>
          <p:nvGrpSpPr>
            <p:cNvPr id="49" name="Group 48">
              <a:extLst>
                <a:ext uri="{FF2B5EF4-FFF2-40B4-BE49-F238E27FC236}">
                  <a16:creationId xmlns:a16="http://schemas.microsoft.com/office/drawing/2014/main" id="{3402D5BD-2442-4269-AA0E-1F9D9B095B70}"/>
                </a:ext>
              </a:extLst>
            </p:cNvPr>
            <p:cNvGrpSpPr/>
            <p:nvPr/>
          </p:nvGrpSpPr>
          <p:grpSpPr>
            <a:xfrm>
              <a:off x="90338" y="1655196"/>
              <a:ext cx="311495" cy="311498"/>
              <a:chOff x="4083769" y="2552776"/>
              <a:chExt cx="529089" cy="529089"/>
            </a:xfrm>
          </p:grpSpPr>
          <p:sp>
            <p:nvSpPr>
              <p:cNvPr id="75" name="Oval 74">
                <a:extLst>
                  <a:ext uri="{FF2B5EF4-FFF2-40B4-BE49-F238E27FC236}">
                    <a16:creationId xmlns:a16="http://schemas.microsoft.com/office/drawing/2014/main" id="{72DBB2C1-8FCD-4CD9-9CE6-90244074CBAE}"/>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76" name="Freeform: Shape 298">
                <a:extLst>
                  <a:ext uri="{FF2B5EF4-FFF2-40B4-BE49-F238E27FC236}">
                    <a16:creationId xmlns:a16="http://schemas.microsoft.com/office/drawing/2014/main" id="{6F564BB5-EF65-46CC-A163-9682028EDF1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7" name="Freeform: Shape 299">
                <a:extLst>
                  <a:ext uri="{FF2B5EF4-FFF2-40B4-BE49-F238E27FC236}">
                    <a16:creationId xmlns:a16="http://schemas.microsoft.com/office/drawing/2014/main" id="{A6B7CFA6-D9D0-45ED-81FA-DA493E36DC7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8" name="Freeform: Shape 301">
                <a:extLst>
                  <a:ext uri="{FF2B5EF4-FFF2-40B4-BE49-F238E27FC236}">
                    <a16:creationId xmlns:a16="http://schemas.microsoft.com/office/drawing/2014/main" id="{3339974D-5FB0-4476-9D5A-A79F627AB26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9" name="Freeform: Shape 302">
                <a:extLst>
                  <a:ext uri="{FF2B5EF4-FFF2-40B4-BE49-F238E27FC236}">
                    <a16:creationId xmlns:a16="http://schemas.microsoft.com/office/drawing/2014/main" id="{1A38129A-DCB4-413F-AE5C-42823B3FA8E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 name="TextBox 49">
              <a:extLst>
                <a:ext uri="{FF2B5EF4-FFF2-40B4-BE49-F238E27FC236}">
                  <a16:creationId xmlns:a16="http://schemas.microsoft.com/office/drawing/2014/main" id="{57549E29-4EF2-4EA7-809A-6D922E20B046}"/>
                </a:ext>
              </a:extLst>
            </p:cNvPr>
            <p:cNvSpPr txBox="1"/>
            <p:nvPr/>
          </p:nvSpPr>
          <p:spPr>
            <a:xfrm>
              <a:off x="400160" y="1602596"/>
              <a:ext cx="1415772" cy="369332"/>
            </a:xfrm>
            <a:prstGeom prst="rect">
              <a:avLst/>
            </a:prstGeom>
            <a:noFill/>
          </p:spPr>
          <p:txBody>
            <a:bodyPr wrap="none" rtlCol="0">
              <a:spAutoFit/>
            </a:bodyPr>
            <a:lstStyle/>
            <a:p>
              <a:pPr defTabSz="457189"/>
              <a:r>
                <a:rPr lang="en-ZA" dirty="0">
                  <a:solidFill>
                    <a:srgbClr val="282828"/>
                  </a:solidFill>
                  <a:latin typeface="CiscoSansTT ExtraLight"/>
                </a:rPr>
                <a:t>Access Site</a:t>
              </a:r>
            </a:p>
          </p:txBody>
        </p:sp>
        <p:sp>
          <p:nvSpPr>
            <p:cNvPr id="51" name="TextBox 50">
              <a:extLst>
                <a:ext uri="{FF2B5EF4-FFF2-40B4-BE49-F238E27FC236}">
                  <a16:creationId xmlns:a16="http://schemas.microsoft.com/office/drawing/2014/main" id="{D1ECDF73-1B58-4DF7-8678-EEF9977E96EE}"/>
                </a:ext>
              </a:extLst>
            </p:cNvPr>
            <p:cNvSpPr txBox="1"/>
            <p:nvPr/>
          </p:nvSpPr>
          <p:spPr>
            <a:xfrm>
              <a:off x="400160" y="2467764"/>
              <a:ext cx="1412566" cy="369332"/>
            </a:xfrm>
            <a:prstGeom prst="rect">
              <a:avLst/>
            </a:prstGeom>
            <a:noFill/>
          </p:spPr>
          <p:txBody>
            <a:bodyPr wrap="none" rtlCol="0">
              <a:spAutoFit/>
            </a:bodyPr>
            <a:lstStyle/>
            <a:p>
              <a:pPr defTabSz="457189"/>
              <a:r>
                <a:rPr lang="en-ZA" dirty="0">
                  <a:solidFill>
                    <a:srgbClr val="282828"/>
                  </a:solidFill>
                  <a:latin typeface="CiscoSansTT ExtraLight"/>
                </a:rPr>
                <a:t>National DC</a:t>
              </a:r>
            </a:p>
          </p:txBody>
        </p:sp>
        <p:sp>
          <p:nvSpPr>
            <p:cNvPr id="52" name="TextBox 51">
              <a:extLst>
                <a:ext uri="{FF2B5EF4-FFF2-40B4-BE49-F238E27FC236}">
                  <a16:creationId xmlns:a16="http://schemas.microsoft.com/office/drawing/2014/main" id="{CE67C141-9392-4F6F-B39B-698B91AE4D7F}"/>
                </a:ext>
              </a:extLst>
            </p:cNvPr>
            <p:cNvSpPr txBox="1"/>
            <p:nvPr/>
          </p:nvSpPr>
          <p:spPr>
            <a:xfrm>
              <a:off x="400160" y="2900348"/>
              <a:ext cx="1468672" cy="369332"/>
            </a:xfrm>
            <a:prstGeom prst="rect">
              <a:avLst/>
            </a:prstGeom>
            <a:noFill/>
          </p:spPr>
          <p:txBody>
            <a:bodyPr wrap="none" rtlCol="0">
              <a:spAutoFit/>
            </a:bodyPr>
            <a:lstStyle/>
            <a:p>
              <a:pPr defTabSz="457189"/>
              <a:r>
                <a:rPr lang="en-ZA" dirty="0">
                  <a:solidFill>
                    <a:srgbClr val="282828"/>
                  </a:solidFill>
                  <a:latin typeface="CiscoSansTT ExtraLight"/>
                </a:rPr>
                <a:t>Regional DC</a:t>
              </a:r>
            </a:p>
          </p:txBody>
        </p:sp>
        <p:sp>
          <p:nvSpPr>
            <p:cNvPr id="53" name="TextBox 52">
              <a:extLst>
                <a:ext uri="{FF2B5EF4-FFF2-40B4-BE49-F238E27FC236}">
                  <a16:creationId xmlns:a16="http://schemas.microsoft.com/office/drawing/2014/main" id="{68EB8EC7-7272-4982-BFB8-B3479705CB15}"/>
                </a:ext>
              </a:extLst>
            </p:cNvPr>
            <p:cNvSpPr txBox="1"/>
            <p:nvPr/>
          </p:nvSpPr>
          <p:spPr>
            <a:xfrm>
              <a:off x="400160" y="3332932"/>
              <a:ext cx="1067921" cy="369332"/>
            </a:xfrm>
            <a:prstGeom prst="rect">
              <a:avLst/>
            </a:prstGeom>
            <a:noFill/>
          </p:spPr>
          <p:txBody>
            <a:bodyPr wrap="none" rtlCol="0">
              <a:spAutoFit/>
            </a:bodyPr>
            <a:lstStyle/>
            <a:p>
              <a:pPr defTabSz="457189"/>
              <a:r>
                <a:rPr lang="en-ZA" dirty="0">
                  <a:solidFill>
                    <a:srgbClr val="282828"/>
                  </a:solidFill>
                  <a:latin typeface="CiscoSansTT ExtraLight"/>
                </a:rPr>
                <a:t>MEC DC</a:t>
              </a:r>
            </a:p>
          </p:txBody>
        </p:sp>
        <p:grpSp>
          <p:nvGrpSpPr>
            <p:cNvPr id="54" name="Group 53">
              <a:extLst>
                <a:ext uri="{FF2B5EF4-FFF2-40B4-BE49-F238E27FC236}">
                  <a16:creationId xmlns:a16="http://schemas.microsoft.com/office/drawing/2014/main" id="{6CA0CB01-20CF-4485-BA23-9F5E53A25122}"/>
                </a:ext>
              </a:extLst>
            </p:cNvPr>
            <p:cNvGrpSpPr/>
            <p:nvPr/>
          </p:nvGrpSpPr>
          <p:grpSpPr>
            <a:xfrm>
              <a:off x="131974" y="2547336"/>
              <a:ext cx="228222" cy="280447"/>
              <a:chOff x="5491466" y="2617008"/>
              <a:chExt cx="228222" cy="409591"/>
            </a:xfrm>
          </p:grpSpPr>
          <p:sp>
            <p:nvSpPr>
              <p:cNvPr id="69" name="Freeform 195">
                <a:extLst>
                  <a:ext uri="{FF2B5EF4-FFF2-40B4-BE49-F238E27FC236}">
                    <a16:creationId xmlns:a16="http://schemas.microsoft.com/office/drawing/2014/main" id="{D9922B1B-797C-499B-9CFF-2B339CAD8AFE}"/>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3">
                  <a:lumMod val="75000"/>
                </a:schemeClr>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0" name="Line 196">
                <a:extLst>
                  <a:ext uri="{FF2B5EF4-FFF2-40B4-BE49-F238E27FC236}">
                    <a16:creationId xmlns:a16="http://schemas.microsoft.com/office/drawing/2014/main" id="{BD7B98B9-00B0-4313-BE0A-DD17AABB8651}"/>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1" name="Line 197">
                <a:extLst>
                  <a:ext uri="{FF2B5EF4-FFF2-40B4-BE49-F238E27FC236}">
                    <a16:creationId xmlns:a16="http://schemas.microsoft.com/office/drawing/2014/main" id="{C0A9D888-28FF-480E-AF36-B14DCB78C6C1}"/>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2" name="Line 198">
                <a:extLst>
                  <a:ext uri="{FF2B5EF4-FFF2-40B4-BE49-F238E27FC236}">
                    <a16:creationId xmlns:a16="http://schemas.microsoft.com/office/drawing/2014/main" id="{B3FD8C60-6CC1-4D48-901B-1791356A0EE8}"/>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3" name="Line 199">
                <a:extLst>
                  <a:ext uri="{FF2B5EF4-FFF2-40B4-BE49-F238E27FC236}">
                    <a16:creationId xmlns:a16="http://schemas.microsoft.com/office/drawing/2014/main" id="{ECEF94C5-69DB-4DFA-9A22-253F2F643636}"/>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4" name="Line 200">
                <a:extLst>
                  <a:ext uri="{FF2B5EF4-FFF2-40B4-BE49-F238E27FC236}">
                    <a16:creationId xmlns:a16="http://schemas.microsoft.com/office/drawing/2014/main" id="{CFB8567E-C85F-498E-9B56-1F00D2FC2A4C}"/>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5" name="Group 54">
              <a:extLst>
                <a:ext uri="{FF2B5EF4-FFF2-40B4-BE49-F238E27FC236}">
                  <a16:creationId xmlns:a16="http://schemas.microsoft.com/office/drawing/2014/main" id="{57B58371-A633-4FFD-82ED-2BEB1E7305E4}"/>
                </a:ext>
              </a:extLst>
            </p:cNvPr>
            <p:cNvGrpSpPr/>
            <p:nvPr/>
          </p:nvGrpSpPr>
          <p:grpSpPr>
            <a:xfrm>
              <a:off x="131974" y="2962355"/>
              <a:ext cx="228222" cy="280447"/>
              <a:chOff x="5491466" y="2617008"/>
              <a:chExt cx="228222" cy="409591"/>
            </a:xfrm>
          </p:grpSpPr>
          <p:sp>
            <p:nvSpPr>
              <p:cNvPr id="63" name="Freeform 195">
                <a:extLst>
                  <a:ext uri="{FF2B5EF4-FFF2-40B4-BE49-F238E27FC236}">
                    <a16:creationId xmlns:a16="http://schemas.microsoft.com/office/drawing/2014/main" id="{BB376545-0EF4-4691-BA9A-C943E5C818E5}"/>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 name="Line 196">
                <a:extLst>
                  <a:ext uri="{FF2B5EF4-FFF2-40B4-BE49-F238E27FC236}">
                    <a16:creationId xmlns:a16="http://schemas.microsoft.com/office/drawing/2014/main" id="{C7C54488-E07C-40CB-8F2F-B5186C569A9A}"/>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 name="Line 197">
                <a:extLst>
                  <a:ext uri="{FF2B5EF4-FFF2-40B4-BE49-F238E27FC236}">
                    <a16:creationId xmlns:a16="http://schemas.microsoft.com/office/drawing/2014/main" id="{AB646717-1579-4880-AC1D-F004E21C1E1C}"/>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 name="Line 198">
                <a:extLst>
                  <a:ext uri="{FF2B5EF4-FFF2-40B4-BE49-F238E27FC236}">
                    <a16:creationId xmlns:a16="http://schemas.microsoft.com/office/drawing/2014/main" id="{4E5C4E3A-AFD2-4319-9961-31738E087EFE}"/>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7" name="Line 199">
                <a:extLst>
                  <a:ext uri="{FF2B5EF4-FFF2-40B4-BE49-F238E27FC236}">
                    <a16:creationId xmlns:a16="http://schemas.microsoft.com/office/drawing/2014/main" id="{8806E772-1D43-4067-A1C0-09F01CDC43C6}"/>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8" name="Line 200">
                <a:extLst>
                  <a:ext uri="{FF2B5EF4-FFF2-40B4-BE49-F238E27FC236}">
                    <a16:creationId xmlns:a16="http://schemas.microsoft.com/office/drawing/2014/main" id="{70F67C09-C52A-46A2-B50C-497AF272EE6C}"/>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6" name="Group 55">
              <a:extLst>
                <a:ext uri="{FF2B5EF4-FFF2-40B4-BE49-F238E27FC236}">
                  <a16:creationId xmlns:a16="http://schemas.microsoft.com/office/drawing/2014/main" id="{616D1074-62BF-408E-A423-539C1B63A439}"/>
                </a:ext>
              </a:extLst>
            </p:cNvPr>
            <p:cNvGrpSpPr/>
            <p:nvPr/>
          </p:nvGrpSpPr>
          <p:grpSpPr>
            <a:xfrm>
              <a:off x="131974" y="3377375"/>
              <a:ext cx="228222" cy="280447"/>
              <a:chOff x="5491466" y="2617008"/>
              <a:chExt cx="228222" cy="409591"/>
            </a:xfrm>
          </p:grpSpPr>
          <p:sp>
            <p:nvSpPr>
              <p:cNvPr id="57" name="Freeform 195">
                <a:extLst>
                  <a:ext uri="{FF2B5EF4-FFF2-40B4-BE49-F238E27FC236}">
                    <a16:creationId xmlns:a16="http://schemas.microsoft.com/office/drawing/2014/main" id="{9BA8DFD2-6875-4890-8B85-8EBCDF477100}"/>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 name="Line 196">
                <a:extLst>
                  <a:ext uri="{FF2B5EF4-FFF2-40B4-BE49-F238E27FC236}">
                    <a16:creationId xmlns:a16="http://schemas.microsoft.com/office/drawing/2014/main" id="{BFF904ED-59F0-4CBC-8F0D-2314DCD1F039}"/>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 name="Line 197">
                <a:extLst>
                  <a:ext uri="{FF2B5EF4-FFF2-40B4-BE49-F238E27FC236}">
                    <a16:creationId xmlns:a16="http://schemas.microsoft.com/office/drawing/2014/main" id="{0405504C-EEC1-43C7-9AB0-FBF19FA7D4B6}"/>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 name="Line 198">
                <a:extLst>
                  <a:ext uri="{FF2B5EF4-FFF2-40B4-BE49-F238E27FC236}">
                    <a16:creationId xmlns:a16="http://schemas.microsoft.com/office/drawing/2014/main" id="{2CDA111D-2417-44FF-9836-163DD5B77831}"/>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1" name="Line 199">
                <a:extLst>
                  <a:ext uri="{FF2B5EF4-FFF2-40B4-BE49-F238E27FC236}">
                    <a16:creationId xmlns:a16="http://schemas.microsoft.com/office/drawing/2014/main" id="{38FE7A8F-DEB1-4D58-B669-10B0DBF26660}"/>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2" name="Line 200">
                <a:extLst>
                  <a:ext uri="{FF2B5EF4-FFF2-40B4-BE49-F238E27FC236}">
                    <a16:creationId xmlns:a16="http://schemas.microsoft.com/office/drawing/2014/main" id="{50A953C1-A0A3-44FD-BDF3-B325C1252467}"/>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Tree>
    <p:extLst>
      <p:ext uri="{BB962C8B-B14F-4D97-AF65-F5344CB8AC3E}">
        <p14:creationId xmlns:p14="http://schemas.microsoft.com/office/powerpoint/2010/main" val="15349727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thiopia Map">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2323B12-E32E-4298-B636-D47E76A2A7AB}"/>
              </a:ext>
            </a:extLst>
          </p:cNvPr>
          <p:cNvGrpSpPr/>
          <p:nvPr userDrawn="1"/>
        </p:nvGrpSpPr>
        <p:grpSpPr>
          <a:xfrm>
            <a:off x="90338" y="304844"/>
            <a:ext cx="2227335" cy="3397420"/>
            <a:chOff x="90338" y="304844"/>
            <a:chExt cx="2227335" cy="3397420"/>
          </a:xfrm>
        </p:grpSpPr>
        <p:grpSp>
          <p:nvGrpSpPr>
            <p:cNvPr id="41" name="Group 40">
              <a:extLst>
                <a:ext uri="{FF2B5EF4-FFF2-40B4-BE49-F238E27FC236}">
                  <a16:creationId xmlns:a16="http://schemas.microsoft.com/office/drawing/2014/main" id="{C1A7BE7B-F354-44CA-80D3-378EC96EF406}"/>
                </a:ext>
              </a:extLst>
            </p:cNvPr>
            <p:cNvGrpSpPr/>
            <p:nvPr/>
          </p:nvGrpSpPr>
          <p:grpSpPr>
            <a:xfrm>
              <a:off x="93692" y="337116"/>
              <a:ext cx="304786" cy="304788"/>
              <a:chOff x="4083769" y="2552776"/>
              <a:chExt cx="529089" cy="529089"/>
            </a:xfrm>
          </p:grpSpPr>
          <p:sp>
            <p:nvSpPr>
              <p:cNvPr id="95" name="Oval 94">
                <a:extLst>
                  <a:ext uri="{FF2B5EF4-FFF2-40B4-BE49-F238E27FC236}">
                    <a16:creationId xmlns:a16="http://schemas.microsoft.com/office/drawing/2014/main" id="{6AA8FF20-AD84-46B3-9B77-BE50F4AE1632}"/>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6" name="Freeform: Shape 298">
                <a:extLst>
                  <a:ext uri="{FF2B5EF4-FFF2-40B4-BE49-F238E27FC236}">
                    <a16:creationId xmlns:a16="http://schemas.microsoft.com/office/drawing/2014/main" id="{26EA9FAA-3E84-4B02-98DB-333CA1BEB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7" name="Freeform: Shape 299">
                <a:extLst>
                  <a:ext uri="{FF2B5EF4-FFF2-40B4-BE49-F238E27FC236}">
                    <a16:creationId xmlns:a16="http://schemas.microsoft.com/office/drawing/2014/main" id="{50CE65A8-6382-4179-BCA1-8A89007C18F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8" name="Freeform: Shape 301">
                <a:extLst>
                  <a:ext uri="{FF2B5EF4-FFF2-40B4-BE49-F238E27FC236}">
                    <a16:creationId xmlns:a16="http://schemas.microsoft.com/office/drawing/2014/main" id="{E1D853D6-C0A7-474E-8936-3377DB122BB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302">
                <a:extLst>
                  <a:ext uri="{FF2B5EF4-FFF2-40B4-BE49-F238E27FC236}">
                    <a16:creationId xmlns:a16="http://schemas.microsoft.com/office/drawing/2014/main" id="{7B96462C-570D-4072-B0C7-7D5DA02B8D4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2" name="TextBox 41">
              <a:extLst>
                <a:ext uri="{FF2B5EF4-FFF2-40B4-BE49-F238E27FC236}">
                  <a16:creationId xmlns:a16="http://schemas.microsoft.com/office/drawing/2014/main" id="{EE798585-C4D9-40B7-A94A-9BA3A29EF247}"/>
                </a:ext>
              </a:extLst>
            </p:cNvPr>
            <p:cNvSpPr txBox="1"/>
            <p:nvPr/>
          </p:nvSpPr>
          <p:spPr>
            <a:xfrm>
              <a:off x="400160" y="304844"/>
              <a:ext cx="1160895" cy="369332"/>
            </a:xfrm>
            <a:prstGeom prst="rect">
              <a:avLst/>
            </a:prstGeom>
            <a:noFill/>
          </p:spPr>
          <p:txBody>
            <a:bodyPr wrap="none" rtlCol="0">
              <a:spAutoFit/>
            </a:bodyPr>
            <a:lstStyle/>
            <a:p>
              <a:pPr defTabSz="457189"/>
              <a:r>
                <a:rPr lang="en-ZA" dirty="0">
                  <a:solidFill>
                    <a:srgbClr val="282828"/>
                  </a:solidFill>
                  <a:latin typeface="CiscoSansTT ExtraLight"/>
                </a:rPr>
                <a:t>Core Site</a:t>
              </a:r>
            </a:p>
          </p:txBody>
        </p:sp>
        <p:grpSp>
          <p:nvGrpSpPr>
            <p:cNvPr id="43" name="Group 42">
              <a:extLst>
                <a:ext uri="{FF2B5EF4-FFF2-40B4-BE49-F238E27FC236}">
                  <a16:creationId xmlns:a16="http://schemas.microsoft.com/office/drawing/2014/main" id="{8DAD449B-305C-4F9D-9622-3939A01F50E8}"/>
                </a:ext>
              </a:extLst>
            </p:cNvPr>
            <p:cNvGrpSpPr/>
            <p:nvPr/>
          </p:nvGrpSpPr>
          <p:grpSpPr>
            <a:xfrm>
              <a:off x="93692" y="776476"/>
              <a:ext cx="304786" cy="304788"/>
              <a:chOff x="4083769" y="2552776"/>
              <a:chExt cx="529089" cy="529089"/>
            </a:xfrm>
          </p:grpSpPr>
          <p:sp>
            <p:nvSpPr>
              <p:cNvPr id="90" name="Oval 89">
                <a:extLst>
                  <a:ext uri="{FF2B5EF4-FFF2-40B4-BE49-F238E27FC236}">
                    <a16:creationId xmlns:a16="http://schemas.microsoft.com/office/drawing/2014/main" id="{634899CF-CA69-47E6-B00C-9BD80B17FD9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1" name="Freeform: Shape 298">
                <a:extLst>
                  <a:ext uri="{FF2B5EF4-FFF2-40B4-BE49-F238E27FC236}">
                    <a16:creationId xmlns:a16="http://schemas.microsoft.com/office/drawing/2014/main" id="{ADCE3579-2B18-4E90-AF68-8B7633DC7E3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2" name="Freeform: Shape 299">
                <a:extLst>
                  <a:ext uri="{FF2B5EF4-FFF2-40B4-BE49-F238E27FC236}">
                    <a16:creationId xmlns:a16="http://schemas.microsoft.com/office/drawing/2014/main" id="{08BA0E62-FC5D-4064-A02C-64BE9BDDCD9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3" name="Freeform: Shape 301">
                <a:extLst>
                  <a:ext uri="{FF2B5EF4-FFF2-40B4-BE49-F238E27FC236}">
                    <a16:creationId xmlns:a16="http://schemas.microsoft.com/office/drawing/2014/main" id="{BB1A6FD8-6B3E-4E0E-962E-F4166FAC24F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4" name="Freeform: Shape 302">
                <a:extLst>
                  <a:ext uri="{FF2B5EF4-FFF2-40B4-BE49-F238E27FC236}">
                    <a16:creationId xmlns:a16="http://schemas.microsoft.com/office/drawing/2014/main" id="{1FC0ECB1-95A4-478C-8E82-E25C4B85AC0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4" name="TextBox 43">
              <a:extLst>
                <a:ext uri="{FF2B5EF4-FFF2-40B4-BE49-F238E27FC236}">
                  <a16:creationId xmlns:a16="http://schemas.microsoft.com/office/drawing/2014/main" id="{399E100A-F3D3-473E-B051-3E4178DE98DF}"/>
                </a:ext>
              </a:extLst>
            </p:cNvPr>
            <p:cNvSpPr txBox="1"/>
            <p:nvPr/>
          </p:nvSpPr>
          <p:spPr>
            <a:xfrm>
              <a:off x="400160" y="737428"/>
              <a:ext cx="1917513" cy="369332"/>
            </a:xfrm>
            <a:prstGeom prst="rect">
              <a:avLst/>
            </a:prstGeom>
            <a:noFill/>
          </p:spPr>
          <p:txBody>
            <a:bodyPr wrap="none" rtlCol="0">
              <a:spAutoFit/>
            </a:bodyPr>
            <a:lstStyle/>
            <a:p>
              <a:pPr defTabSz="457189"/>
              <a:r>
                <a:rPr lang="en-ZA" dirty="0">
                  <a:solidFill>
                    <a:srgbClr val="282828"/>
                  </a:solidFill>
                  <a:latin typeface="CiscoSansTT ExtraLight"/>
                </a:rPr>
                <a:t>Aggregation Site</a:t>
              </a:r>
            </a:p>
          </p:txBody>
        </p:sp>
        <p:grpSp>
          <p:nvGrpSpPr>
            <p:cNvPr id="45" name="Group 44">
              <a:extLst>
                <a:ext uri="{FF2B5EF4-FFF2-40B4-BE49-F238E27FC236}">
                  <a16:creationId xmlns:a16="http://schemas.microsoft.com/office/drawing/2014/main" id="{F8302330-FADE-4DF7-8899-AD1DB1EB88D0}"/>
                </a:ext>
              </a:extLst>
            </p:cNvPr>
            <p:cNvGrpSpPr/>
            <p:nvPr/>
          </p:nvGrpSpPr>
          <p:grpSpPr>
            <a:xfrm>
              <a:off x="93692" y="1215836"/>
              <a:ext cx="304786" cy="304788"/>
              <a:chOff x="4083769" y="2552776"/>
              <a:chExt cx="529089" cy="529089"/>
            </a:xfrm>
          </p:grpSpPr>
          <p:sp>
            <p:nvSpPr>
              <p:cNvPr id="85" name="Oval 84">
                <a:extLst>
                  <a:ext uri="{FF2B5EF4-FFF2-40B4-BE49-F238E27FC236}">
                    <a16:creationId xmlns:a16="http://schemas.microsoft.com/office/drawing/2014/main" id="{5AFE2ACA-056D-442B-B935-CAA3F22EA2D6}"/>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86" name="Freeform: Shape 298">
                <a:extLst>
                  <a:ext uri="{FF2B5EF4-FFF2-40B4-BE49-F238E27FC236}">
                    <a16:creationId xmlns:a16="http://schemas.microsoft.com/office/drawing/2014/main" id="{2EE19290-D5B8-484D-9665-1FDCA91B91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7" name="Freeform: Shape 299">
                <a:extLst>
                  <a:ext uri="{FF2B5EF4-FFF2-40B4-BE49-F238E27FC236}">
                    <a16:creationId xmlns:a16="http://schemas.microsoft.com/office/drawing/2014/main" id="{9A4B0274-8843-450C-B860-A9992A78DD1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8" name="Freeform: Shape 301">
                <a:extLst>
                  <a:ext uri="{FF2B5EF4-FFF2-40B4-BE49-F238E27FC236}">
                    <a16:creationId xmlns:a16="http://schemas.microsoft.com/office/drawing/2014/main" id="{AED8C134-236F-4D91-AB86-AB412F3D90F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9" name="Freeform: Shape 302">
                <a:extLst>
                  <a:ext uri="{FF2B5EF4-FFF2-40B4-BE49-F238E27FC236}">
                    <a16:creationId xmlns:a16="http://schemas.microsoft.com/office/drawing/2014/main" id="{807DE252-B477-4B57-91F7-38BCCC87469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 name="TextBox 45">
              <a:extLst>
                <a:ext uri="{FF2B5EF4-FFF2-40B4-BE49-F238E27FC236}">
                  <a16:creationId xmlns:a16="http://schemas.microsoft.com/office/drawing/2014/main" id="{AB13F17A-EF8E-4D84-8407-31987F44428B}"/>
                </a:ext>
              </a:extLst>
            </p:cNvPr>
            <p:cNvSpPr txBox="1"/>
            <p:nvPr/>
          </p:nvSpPr>
          <p:spPr>
            <a:xfrm>
              <a:off x="400160" y="1170012"/>
              <a:ext cx="1552028" cy="369332"/>
            </a:xfrm>
            <a:prstGeom prst="rect">
              <a:avLst/>
            </a:prstGeom>
            <a:noFill/>
          </p:spPr>
          <p:txBody>
            <a:bodyPr wrap="none" rtlCol="0">
              <a:spAutoFit/>
            </a:bodyPr>
            <a:lstStyle/>
            <a:p>
              <a:pPr defTabSz="457189"/>
              <a:r>
                <a:rPr lang="en-ZA" dirty="0">
                  <a:solidFill>
                    <a:srgbClr val="282828"/>
                  </a:solidFill>
                  <a:latin typeface="CiscoSansTT ExtraLight"/>
                </a:rPr>
                <a:t>Pre-</a:t>
              </a:r>
              <a:r>
                <a:rPr lang="en-ZA" dirty="0" err="1">
                  <a:solidFill>
                    <a:srgbClr val="282828"/>
                  </a:solidFill>
                  <a:latin typeface="CiscoSansTT ExtraLight"/>
                </a:rPr>
                <a:t>Agg</a:t>
              </a:r>
              <a:r>
                <a:rPr lang="en-ZA" dirty="0">
                  <a:solidFill>
                    <a:srgbClr val="282828"/>
                  </a:solidFill>
                  <a:latin typeface="CiscoSansTT ExtraLight"/>
                </a:rPr>
                <a:t> Site</a:t>
              </a:r>
            </a:p>
          </p:txBody>
        </p:sp>
        <p:grpSp>
          <p:nvGrpSpPr>
            <p:cNvPr id="47" name="Group 46">
              <a:extLst>
                <a:ext uri="{FF2B5EF4-FFF2-40B4-BE49-F238E27FC236}">
                  <a16:creationId xmlns:a16="http://schemas.microsoft.com/office/drawing/2014/main" id="{4CEEBA06-3F66-4CDC-940A-B35F44FEEDB5}"/>
                </a:ext>
              </a:extLst>
            </p:cNvPr>
            <p:cNvGrpSpPr/>
            <p:nvPr/>
          </p:nvGrpSpPr>
          <p:grpSpPr>
            <a:xfrm>
              <a:off x="90338" y="2101266"/>
              <a:ext cx="311495" cy="311498"/>
              <a:chOff x="4083769" y="2552776"/>
              <a:chExt cx="529089" cy="529089"/>
            </a:xfrm>
          </p:grpSpPr>
          <p:sp>
            <p:nvSpPr>
              <p:cNvPr id="80" name="Oval 79">
                <a:extLst>
                  <a:ext uri="{FF2B5EF4-FFF2-40B4-BE49-F238E27FC236}">
                    <a16:creationId xmlns:a16="http://schemas.microsoft.com/office/drawing/2014/main" id="{AB600958-AD1E-47A1-8FF9-A73026284403}"/>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81" name="Freeform: Shape 298">
                <a:extLst>
                  <a:ext uri="{FF2B5EF4-FFF2-40B4-BE49-F238E27FC236}">
                    <a16:creationId xmlns:a16="http://schemas.microsoft.com/office/drawing/2014/main" id="{464955FC-E1F0-4408-935D-DDB6281D6F9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2" name="Freeform: Shape 299">
                <a:extLst>
                  <a:ext uri="{FF2B5EF4-FFF2-40B4-BE49-F238E27FC236}">
                    <a16:creationId xmlns:a16="http://schemas.microsoft.com/office/drawing/2014/main" id="{01DEB283-3560-4BD6-BEAB-3009AE58E9B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3" name="Freeform: Shape 301">
                <a:extLst>
                  <a:ext uri="{FF2B5EF4-FFF2-40B4-BE49-F238E27FC236}">
                    <a16:creationId xmlns:a16="http://schemas.microsoft.com/office/drawing/2014/main" id="{560CEDCF-65EE-451D-A02A-1C3E25426C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84" name="Freeform: Shape 302">
                <a:extLst>
                  <a:ext uri="{FF2B5EF4-FFF2-40B4-BE49-F238E27FC236}">
                    <a16:creationId xmlns:a16="http://schemas.microsoft.com/office/drawing/2014/main" id="{06F51962-1978-409A-9897-34D9F6CADE6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8" name="TextBox 47">
              <a:extLst>
                <a:ext uri="{FF2B5EF4-FFF2-40B4-BE49-F238E27FC236}">
                  <a16:creationId xmlns:a16="http://schemas.microsoft.com/office/drawing/2014/main" id="{71A8C815-B6C1-4989-A9ED-CCFAEFF20D7A}"/>
                </a:ext>
              </a:extLst>
            </p:cNvPr>
            <p:cNvSpPr txBox="1"/>
            <p:nvPr/>
          </p:nvSpPr>
          <p:spPr>
            <a:xfrm>
              <a:off x="400160" y="2035180"/>
              <a:ext cx="1447832" cy="369332"/>
            </a:xfrm>
            <a:prstGeom prst="rect">
              <a:avLst/>
            </a:prstGeom>
            <a:noFill/>
          </p:spPr>
          <p:txBody>
            <a:bodyPr wrap="none" rtlCol="0">
              <a:spAutoFit/>
            </a:bodyPr>
            <a:lstStyle/>
            <a:p>
              <a:pPr defTabSz="457189"/>
              <a:r>
                <a:rPr lang="en-ZA" dirty="0">
                  <a:solidFill>
                    <a:srgbClr val="282828"/>
                  </a:solidFill>
                  <a:latin typeface="CiscoSansTT ExtraLight"/>
                </a:rPr>
                <a:t>Peering Site</a:t>
              </a:r>
            </a:p>
          </p:txBody>
        </p:sp>
        <p:grpSp>
          <p:nvGrpSpPr>
            <p:cNvPr id="49" name="Group 48">
              <a:extLst>
                <a:ext uri="{FF2B5EF4-FFF2-40B4-BE49-F238E27FC236}">
                  <a16:creationId xmlns:a16="http://schemas.microsoft.com/office/drawing/2014/main" id="{3402D5BD-2442-4269-AA0E-1F9D9B095B70}"/>
                </a:ext>
              </a:extLst>
            </p:cNvPr>
            <p:cNvGrpSpPr/>
            <p:nvPr/>
          </p:nvGrpSpPr>
          <p:grpSpPr>
            <a:xfrm>
              <a:off x="90338" y="1655196"/>
              <a:ext cx="311495" cy="311498"/>
              <a:chOff x="4083769" y="2552776"/>
              <a:chExt cx="529089" cy="529089"/>
            </a:xfrm>
          </p:grpSpPr>
          <p:sp>
            <p:nvSpPr>
              <p:cNvPr id="75" name="Oval 74">
                <a:extLst>
                  <a:ext uri="{FF2B5EF4-FFF2-40B4-BE49-F238E27FC236}">
                    <a16:creationId xmlns:a16="http://schemas.microsoft.com/office/drawing/2014/main" id="{72DBB2C1-8FCD-4CD9-9CE6-90244074CBAE}"/>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76" name="Freeform: Shape 298">
                <a:extLst>
                  <a:ext uri="{FF2B5EF4-FFF2-40B4-BE49-F238E27FC236}">
                    <a16:creationId xmlns:a16="http://schemas.microsoft.com/office/drawing/2014/main" id="{6F564BB5-EF65-46CC-A163-9682028EDF1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7" name="Freeform: Shape 299">
                <a:extLst>
                  <a:ext uri="{FF2B5EF4-FFF2-40B4-BE49-F238E27FC236}">
                    <a16:creationId xmlns:a16="http://schemas.microsoft.com/office/drawing/2014/main" id="{A6B7CFA6-D9D0-45ED-81FA-DA493E36DC7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8" name="Freeform: Shape 301">
                <a:extLst>
                  <a:ext uri="{FF2B5EF4-FFF2-40B4-BE49-F238E27FC236}">
                    <a16:creationId xmlns:a16="http://schemas.microsoft.com/office/drawing/2014/main" id="{3339974D-5FB0-4476-9D5A-A79F627AB26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9" name="Freeform: Shape 302">
                <a:extLst>
                  <a:ext uri="{FF2B5EF4-FFF2-40B4-BE49-F238E27FC236}">
                    <a16:creationId xmlns:a16="http://schemas.microsoft.com/office/drawing/2014/main" id="{1A38129A-DCB4-413F-AE5C-42823B3FA8E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 name="TextBox 49">
              <a:extLst>
                <a:ext uri="{FF2B5EF4-FFF2-40B4-BE49-F238E27FC236}">
                  <a16:creationId xmlns:a16="http://schemas.microsoft.com/office/drawing/2014/main" id="{57549E29-4EF2-4EA7-809A-6D922E20B046}"/>
                </a:ext>
              </a:extLst>
            </p:cNvPr>
            <p:cNvSpPr txBox="1"/>
            <p:nvPr/>
          </p:nvSpPr>
          <p:spPr>
            <a:xfrm>
              <a:off x="400160" y="1602596"/>
              <a:ext cx="1415772" cy="369332"/>
            </a:xfrm>
            <a:prstGeom prst="rect">
              <a:avLst/>
            </a:prstGeom>
            <a:noFill/>
          </p:spPr>
          <p:txBody>
            <a:bodyPr wrap="none" rtlCol="0">
              <a:spAutoFit/>
            </a:bodyPr>
            <a:lstStyle/>
            <a:p>
              <a:pPr defTabSz="457189"/>
              <a:r>
                <a:rPr lang="en-ZA" dirty="0">
                  <a:solidFill>
                    <a:srgbClr val="282828"/>
                  </a:solidFill>
                  <a:latin typeface="CiscoSansTT ExtraLight"/>
                </a:rPr>
                <a:t>Access Site</a:t>
              </a:r>
            </a:p>
          </p:txBody>
        </p:sp>
        <p:sp>
          <p:nvSpPr>
            <p:cNvPr id="51" name="TextBox 50">
              <a:extLst>
                <a:ext uri="{FF2B5EF4-FFF2-40B4-BE49-F238E27FC236}">
                  <a16:creationId xmlns:a16="http://schemas.microsoft.com/office/drawing/2014/main" id="{D1ECDF73-1B58-4DF7-8678-EEF9977E96EE}"/>
                </a:ext>
              </a:extLst>
            </p:cNvPr>
            <p:cNvSpPr txBox="1"/>
            <p:nvPr/>
          </p:nvSpPr>
          <p:spPr>
            <a:xfrm>
              <a:off x="400160" y="2467764"/>
              <a:ext cx="1412566" cy="369332"/>
            </a:xfrm>
            <a:prstGeom prst="rect">
              <a:avLst/>
            </a:prstGeom>
            <a:noFill/>
          </p:spPr>
          <p:txBody>
            <a:bodyPr wrap="none" rtlCol="0">
              <a:spAutoFit/>
            </a:bodyPr>
            <a:lstStyle/>
            <a:p>
              <a:pPr defTabSz="457189"/>
              <a:r>
                <a:rPr lang="en-ZA" dirty="0">
                  <a:solidFill>
                    <a:srgbClr val="282828"/>
                  </a:solidFill>
                  <a:latin typeface="CiscoSansTT ExtraLight"/>
                </a:rPr>
                <a:t>National DC</a:t>
              </a:r>
            </a:p>
          </p:txBody>
        </p:sp>
        <p:sp>
          <p:nvSpPr>
            <p:cNvPr id="52" name="TextBox 51">
              <a:extLst>
                <a:ext uri="{FF2B5EF4-FFF2-40B4-BE49-F238E27FC236}">
                  <a16:creationId xmlns:a16="http://schemas.microsoft.com/office/drawing/2014/main" id="{CE67C141-9392-4F6F-B39B-698B91AE4D7F}"/>
                </a:ext>
              </a:extLst>
            </p:cNvPr>
            <p:cNvSpPr txBox="1"/>
            <p:nvPr/>
          </p:nvSpPr>
          <p:spPr>
            <a:xfrm>
              <a:off x="400160" y="2900348"/>
              <a:ext cx="1468672" cy="369332"/>
            </a:xfrm>
            <a:prstGeom prst="rect">
              <a:avLst/>
            </a:prstGeom>
            <a:noFill/>
          </p:spPr>
          <p:txBody>
            <a:bodyPr wrap="none" rtlCol="0">
              <a:spAutoFit/>
            </a:bodyPr>
            <a:lstStyle/>
            <a:p>
              <a:pPr defTabSz="457189"/>
              <a:r>
                <a:rPr lang="en-ZA" dirty="0">
                  <a:solidFill>
                    <a:srgbClr val="282828"/>
                  </a:solidFill>
                  <a:latin typeface="CiscoSansTT ExtraLight"/>
                </a:rPr>
                <a:t>Regional DC</a:t>
              </a:r>
            </a:p>
          </p:txBody>
        </p:sp>
        <p:sp>
          <p:nvSpPr>
            <p:cNvPr id="53" name="TextBox 52">
              <a:extLst>
                <a:ext uri="{FF2B5EF4-FFF2-40B4-BE49-F238E27FC236}">
                  <a16:creationId xmlns:a16="http://schemas.microsoft.com/office/drawing/2014/main" id="{68EB8EC7-7272-4982-BFB8-B3479705CB15}"/>
                </a:ext>
              </a:extLst>
            </p:cNvPr>
            <p:cNvSpPr txBox="1"/>
            <p:nvPr/>
          </p:nvSpPr>
          <p:spPr>
            <a:xfrm>
              <a:off x="400160" y="3332932"/>
              <a:ext cx="1067921" cy="369332"/>
            </a:xfrm>
            <a:prstGeom prst="rect">
              <a:avLst/>
            </a:prstGeom>
            <a:noFill/>
          </p:spPr>
          <p:txBody>
            <a:bodyPr wrap="none" rtlCol="0">
              <a:spAutoFit/>
            </a:bodyPr>
            <a:lstStyle/>
            <a:p>
              <a:pPr defTabSz="457189"/>
              <a:r>
                <a:rPr lang="en-ZA" dirty="0">
                  <a:solidFill>
                    <a:srgbClr val="282828"/>
                  </a:solidFill>
                  <a:latin typeface="CiscoSansTT ExtraLight"/>
                </a:rPr>
                <a:t>MEC DC</a:t>
              </a:r>
            </a:p>
          </p:txBody>
        </p:sp>
        <p:grpSp>
          <p:nvGrpSpPr>
            <p:cNvPr id="54" name="Group 53">
              <a:extLst>
                <a:ext uri="{FF2B5EF4-FFF2-40B4-BE49-F238E27FC236}">
                  <a16:creationId xmlns:a16="http://schemas.microsoft.com/office/drawing/2014/main" id="{6CA0CB01-20CF-4485-BA23-9F5E53A25122}"/>
                </a:ext>
              </a:extLst>
            </p:cNvPr>
            <p:cNvGrpSpPr/>
            <p:nvPr/>
          </p:nvGrpSpPr>
          <p:grpSpPr>
            <a:xfrm>
              <a:off x="131974" y="2547336"/>
              <a:ext cx="228222" cy="280447"/>
              <a:chOff x="5491466" y="2617008"/>
              <a:chExt cx="228222" cy="409591"/>
            </a:xfrm>
          </p:grpSpPr>
          <p:sp>
            <p:nvSpPr>
              <p:cNvPr id="69" name="Freeform 195">
                <a:extLst>
                  <a:ext uri="{FF2B5EF4-FFF2-40B4-BE49-F238E27FC236}">
                    <a16:creationId xmlns:a16="http://schemas.microsoft.com/office/drawing/2014/main" id="{D9922B1B-797C-499B-9CFF-2B339CAD8AFE}"/>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3">
                  <a:lumMod val="75000"/>
                </a:schemeClr>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0" name="Line 196">
                <a:extLst>
                  <a:ext uri="{FF2B5EF4-FFF2-40B4-BE49-F238E27FC236}">
                    <a16:creationId xmlns:a16="http://schemas.microsoft.com/office/drawing/2014/main" id="{BD7B98B9-00B0-4313-BE0A-DD17AABB8651}"/>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1" name="Line 197">
                <a:extLst>
                  <a:ext uri="{FF2B5EF4-FFF2-40B4-BE49-F238E27FC236}">
                    <a16:creationId xmlns:a16="http://schemas.microsoft.com/office/drawing/2014/main" id="{C0A9D888-28FF-480E-AF36-B14DCB78C6C1}"/>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2" name="Line 198">
                <a:extLst>
                  <a:ext uri="{FF2B5EF4-FFF2-40B4-BE49-F238E27FC236}">
                    <a16:creationId xmlns:a16="http://schemas.microsoft.com/office/drawing/2014/main" id="{B3FD8C60-6CC1-4D48-901B-1791356A0EE8}"/>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3" name="Line 199">
                <a:extLst>
                  <a:ext uri="{FF2B5EF4-FFF2-40B4-BE49-F238E27FC236}">
                    <a16:creationId xmlns:a16="http://schemas.microsoft.com/office/drawing/2014/main" id="{ECEF94C5-69DB-4DFA-9A22-253F2F643636}"/>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4" name="Line 200">
                <a:extLst>
                  <a:ext uri="{FF2B5EF4-FFF2-40B4-BE49-F238E27FC236}">
                    <a16:creationId xmlns:a16="http://schemas.microsoft.com/office/drawing/2014/main" id="{CFB8567E-C85F-498E-9B56-1F00D2FC2A4C}"/>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5" name="Group 54">
              <a:extLst>
                <a:ext uri="{FF2B5EF4-FFF2-40B4-BE49-F238E27FC236}">
                  <a16:creationId xmlns:a16="http://schemas.microsoft.com/office/drawing/2014/main" id="{57B58371-A633-4FFD-82ED-2BEB1E7305E4}"/>
                </a:ext>
              </a:extLst>
            </p:cNvPr>
            <p:cNvGrpSpPr/>
            <p:nvPr/>
          </p:nvGrpSpPr>
          <p:grpSpPr>
            <a:xfrm>
              <a:off x="131974" y="2962355"/>
              <a:ext cx="228222" cy="280447"/>
              <a:chOff x="5491466" y="2617008"/>
              <a:chExt cx="228222" cy="409591"/>
            </a:xfrm>
          </p:grpSpPr>
          <p:sp>
            <p:nvSpPr>
              <p:cNvPr id="63" name="Freeform 195">
                <a:extLst>
                  <a:ext uri="{FF2B5EF4-FFF2-40B4-BE49-F238E27FC236}">
                    <a16:creationId xmlns:a16="http://schemas.microsoft.com/office/drawing/2014/main" id="{BB376545-0EF4-4691-BA9A-C943E5C818E5}"/>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 name="Line 196">
                <a:extLst>
                  <a:ext uri="{FF2B5EF4-FFF2-40B4-BE49-F238E27FC236}">
                    <a16:creationId xmlns:a16="http://schemas.microsoft.com/office/drawing/2014/main" id="{C7C54488-E07C-40CB-8F2F-B5186C569A9A}"/>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 name="Line 197">
                <a:extLst>
                  <a:ext uri="{FF2B5EF4-FFF2-40B4-BE49-F238E27FC236}">
                    <a16:creationId xmlns:a16="http://schemas.microsoft.com/office/drawing/2014/main" id="{AB646717-1579-4880-AC1D-F004E21C1E1C}"/>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 name="Line 198">
                <a:extLst>
                  <a:ext uri="{FF2B5EF4-FFF2-40B4-BE49-F238E27FC236}">
                    <a16:creationId xmlns:a16="http://schemas.microsoft.com/office/drawing/2014/main" id="{4E5C4E3A-AFD2-4319-9961-31738E087EFE}"/>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7" name="Line 199">
                <a:extLst>
                  <a:ext uri="{FF2B5EF4-FFF2-40B4-BE49-F238E27FC236}">
                    <a16:creationId xmlns:a16="http://schemas.microsoft.com/office/drawing/2014/main" id="{8806E772-1D43-4067-A1C0-09F01CDC43C6}"/>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8" name="Line 200">
                <a:extLst>
                  <a:ext uri="{FF2B5EF4-FFF2-40B4-BE49-F238E27FC236}">
                    <a16:creationId xmlns:a16="http://schemas.microsoft.com/office/drawing/2014/main" id="{70F67C09-C52A-46A2-B50C-497AF272EE6C}"/>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6" name="Group 55">
              <a:extLst>
                <a:ext uri="{FF2B5EF4-FFF2-40B4-BE49-F238E27FC236}">
                  <a16:creationId xmlns:a16="http://schemas.microsoft.com/office/drawing/2014/main" id="{616D1074-62BF-408E-A423-539C1B63A439}"/>
                </a:ext>
              </a:extLst>
            </p:cNvPr>
            <p:cNvGrpSpPr/>
            <p:nvPr/>
          </p:nvGrpSpPr>
          <p:grpSpPr>
            <a:xfrm>
              <a:off x="131974" y="3377375"/>
              <a:ext cx="228222" cy="280447"/>
              <a:chOff x="5491466" y="2617008"/>
              <a:chExt cx="228222" cy="409591"/>
            </a:xfrm>
          </p:grpSpPr>
          <p:sp>
            <p:nvSpPr>
              <p:cNvPr id="57" name="Freeform 195">
                <a:extLst>
                  <a:ext uri="{FF2B5EF4-FFF2-40B4-BE49-F238E27FC236}">
                    <a16:creationId xmlns:a16="http://schemas.microsoft.com/office/drawing/2014/main" id="{9BA8DFD2-6875-4890-8B85-8EBCDF477100}"/>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 name="Line 196">
                <a:extLst>
                  <a:ext uri="{FF2B5EF4-FFF2-40B4-BE49-F238E27FC236}">
                    <a16:creationId xmlns:a16="http://schemas.microsoft.com/office/drawing/2014/main" id="{BFF904ED-59F0-4CBC-8F0D-2314DCD1F039}"/>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 name="Line 197">
                <a:extLst>
                  <a:ext uri="{FF2B5EF4-FFF2-40B4-BE49-F238E27FC236}">
                    <a16:creationId xmlns:a16="http://schemas.microsoft.com/office/drawing/2014/main" id="{0405504C-EEC1-43C7-9AB0-FBF19FA7D4B6}"/>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 name="Line 198">
                <a:extLst>
                  <a:ext uri="{FF2B5EF4-FFF2-40B4-BE49-F238E27FC236}">
                    <a16:creationId xmlns:a16="http://schemas.microsoft.com/office/drawing/2014/main" id="{2CDA111D-2417-44FF-9836-163DD5B77831}"/>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1" name="Line 199">
                <a:extLst>
                  <a:ext uri="{FF2B5EF4-FFF2-40B4-BE49-F238E27FC236}">
                    <a16:creationId xmlns:a16="http://schemas.microsoft.com/office/drawing/2014/main" id="{38FE7A8F-DEB1-4D58-B669-10B0DBF26660}"/>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2" name="Line 200">
                <a:extLst>
                  <a:ext uri="{FF2B5EF4-FFF2-40B4-BE49-F238E27FC236}">
                    <a16:creationId xmlns:a16="http://schemas.microsoft.com/office/drawing/2014/main" id="{50A953C1-A0A3-44FD-BDF3-B325C1252467}"/>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pic>
        <p:nvPicPr>
          <p:cNvPr id="100" name="Picture 99">
            <a:extLst>
              <a:ext uri="{FF2B5EF4-FFF2-40B4-BE49-F238E27FC236}">
                <a16:creationId xmlns:a16="http://schemas.microsoft.com/office/drawing/2014/main" id="{3BD66435-CDB4-453E-B777-80D2ADFDFBB5}"/>
              </a:ext>
            </a:extLst>
          </p:cNvPr>
          <p:cNvPicPr>
            <a:picLocks noChangeAspect="1"/>
          </p:cNvPicPr>
          <p:nvPr userDrawn="1"/>
        </p:nvPicPr>
        <p:blipFill>
          <a:blip r:embed="rId2"/>
          <a:stretch>
            <a:fillRect/>
          </a:stretch>
        </p:blipFill>
        <p:spPr>
          <a:xfrm>
            <a:off x="2368680" y="5128"/>
            <a:ext cx="6775321" cy="5143500"/>
          </a:xfrm>
          <a:prstGeom prst="rect">
            <a:avLst/>
          </a:prstGeom>
        </p:spPr>
      </p:pic>
    </p:spTree>
    <p:extLst>
      <p:ext uri="{BB962C8B-B14F-4D97-AF65-F5344CB8AC3E}">
        <p14:creationId xmlns:p14="http://schemas.microsoft.com/office/powerpoint/2010/main" val="23572641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6" name="Title 1"/>
          <p:cNvSpPr>
            <a:spLocks noGrp="1"/>
          </p:cNvSpPr>
          <p:nvPr>
            <p:ph type="title"/>
          </p:nvPr>
        </p:nvSpPr>
        <p:spPr>
          <a:xfrm>
            <a:off x="443996" y="192024"/>
            <a:ext cx="8266113" cy="434974"/>
          </a:xfrm>
        </p:spPr>
        <p:txBody>
          <a:bodyPr anchor="b" anchorCtr="0"/>
          <a:lstStyle>
            <a:lvl1pPr marL="6251" indent="-6251" algn="l" defTabSz="457200" rtl="0" eaLnBrk="0" fontAlgn="base" hangingPunct="0">
              <a:lnSpc>
                <a:spcPct val="80000"/>
              </a:lnSpc>
              <a:spcBef>
                <a:spcPct val="0"/>
              </a:spcBef>
              <a:spcAft>
                <a:spcPct val="0"/>
              </a:spcAft>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dirty="0"/>
              <a:t>Click to edit Master title style</a:t>
            </a:r>
          </a:p>
        </p:txBody>
      </p:sp>
      <p:sp>
        <p:nvSpPr>
          <p:cNvPr id="21"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4"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7643643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MAIN-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086506"/>
            <a:ext cx="8277344" cy="3168210"/>
          </a:xfrm>
          <a:prstGeom prst="rect">
            <a:avLst/>
          </a:prstGeom>
        </p:spPr>
        <p:txBody>
          <a:bodyPr lIns="91418" tIns="45709" rIns="91418" bIns="45709">
            <a:noAutofit/>
          </a:bodyPr>
          <a:lstStyle>
            <a:lvl1pPr marL="230183" indent="-176209">
              <a:lnSpc>
                <a:spcPts val="1600"/>
              </a:lnSpc>
              <a:spcBef>
                <a:spcPts val="1110"/>
              </a:spcBef>
              <a:buClr>
                <a:schemeClr val="tx1"/>
              </a:buClr>
              <a:buSzPct val="80000"/>
              <a:buFont typeface="Arial" panose="020B0604020202020204" pitchFamily="34" charset="0"/>
              <a:buChar char="•"/>
              <a:defRPr sz="1800" b="0" i="0">
                <a:solidFill>
                  <a:schemeClr val="bg1">
                    <a:lumMod val="50000"/>
                  </a:schemeClr>
                </a:solidFill>
                <a:latin typeface="CiscoSansTT" panose="020B0503020201020303" pitchFamily="34" charset="0"/>
                <a:cs typeface="CiscoSansTT" panose="020B0503020201020303" pitchFamily="34" charset="0"/>
              </a:defRPr>
            </a:lvl1pPr>
            <a:lvl2pPr marL="457189" indent="-112710">
              <a:lnSpc>
                <a:spcPts val="1600"/>
              </a:lnSpc>
              <a:spcBef>
                <a:spcPts val="450"/>
              </a:spcBef>
              <a:buClr>
                <a:schemeClr val="tx1"/>
              </a:buClr>
              <a:buSzPct val="80000"/>
              <a:buFontTx/>
              <a:buNone/>
              <a:defRPr sz="1400" b="0" i="0">
                <a:solidFill>
                  <a:schemeClr val="bg1">
                    <a:lumMod val="50000"/>
                  </a:schemeClr>
                </a:solidFill>
                <a:latin typeface="CiscoSansTT" panose="020B0503020201020303" pitchFamily="34" charset="0"/>
                <a:cs typeface="CiscoSansTT" panose="020B0503020201020303" pitchFamily="34" charset="0"/>
              </a:defRPr>
            </a:lvl2pPr>
            <a:lvl3pPr marL="228594" indent="57149">
              <a:buClr>
                <a:schemeClr val="tx1"/>
              </a:buClr>
              <a:buSzPct val="80000"/>
              <a:buFontTx/>
              <a:buNone/>
              <a:defRPr sz="1400" b="0" i="0">
                <a:solidFill>
                  <a:srgbClr val="FF0000"/>
                </a:solidFill>
                <a:latin typeface="+mn-lt"/>
                <a:cs typeface="CiscoSans ExtraLight"/>
              </a:defRPr>
            </a:lvl3pPr>
            <a:lvl4pPr marL="344479" indent="0">
              <a:lnSpc>
                <a:spcPts val="1600"/>
              </a:lnSpc>
              <a:buClr>
                <a:schemeClr val="tx1"/>
              </a:buClr>
              <a:buSzPct val="80000"/>
              <a:buFontTx/>
              <a:buNone/>
              <a:defRPr sz="1200" b="0" i="0">
                <a:solidFill>
                  <a:schemeClr val="bg1">
                    <a:lumMod val="50000"/>
                  </a:schemeClr>
                </a:solidFill>
                <a:latin typeface="+mn-lt"/>
                <a:cs typeface="CiscoSans ExtraLight"/>
              </a:defRPr>
            </a:lvl4pPr>
            <a:lvl5pPr marL="800080" indent="-171446">
              <a:lnSpc>
                <a:spcPts val="1600"/>
              </a:lnSpc>
              <a:buClr>
                <a:schemeClr val="tx1"/>
              </a:buClr>
              <a:buSzPct val="80000"/>
              <a:buFont typeface="Arial" panose="020B0604020202020204" pitchFamily="34" charset="0"/>
              <a:buChar char="•"/>
              <a:tabLst>
                <a:tab pos="685783" algn="l"/>
              </a:tabLst>
              <a:defRPr sz="1200" b="0" i="0">
                <a:solidFill>
                  <a:schemeClr val="bg1">
                    <a:lumMod val="50000"/>
                  </a:schemeClr>
                </a:solidFill>
                <a:latin typeface="+mn-lt"/>
                <a:cs typeface="CiscoSans ExtraLight"/>
              </a:defRPr>
            </a:lvl5pPr>
            <a:lvl6pPr marL="692394" indent="0">
              <a:buFontTx/>
              <a:buNone/>
              <a:defRPr i="1"/>
            </a:lvl6pPr>
          </a:lstStyle>
          <a:p>
            <a:pPr lvl="0"/>
            <a:r>
              <a:rPr lang="en-GB"/>
              <a:t>First level</a:t>
            </a:r>
          </a:p>
          <a:p>
            <a:pPr lvl="1"/>
            <a:r>
              <a:rPr lang="en-GB"/>
              <a:t>Second level</a:t>
            </a:r>
          </a:p>
        </p:txBody>
      </p:sp>
      <p:sp>
        <p:nvSpPr>
          <p:cNvPr id="5" name="Title Placeholder 5">
            <a:extLst>
              <a:ext uri="{FF2B5EF4-FFF2-40B4-BE49-F238E27FC236}">
                <a16:creationId xmlns:a16="http://schemas.microsoft.com/office/drawing/2014/main" id="{3C9048FE-6F8B-D646-B53D-30EE8D796783}"/>
              </a:ext>
            </a:extLst>
          </p:cNvPr>
          <p:cNvSpPr>
            <a:spLocks noGrp="1"/>
          </p:cNvSpPr>
          <p:nvPr>
            <p:ph type="title" hasCustomPrompt="1"/>
          </p:nvPr>
        </p:nvSpPr>
        <p:spPr bwMode="auto">
          <a:xfrm>
            <a:off x="437766" y="247650"/>
            <a:ext cx="8345488" cy="49302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lvl1pPr>
              <a:defRPr>
                <a:latin typeface="CiscoSansTT" panose="020B0503020201020303" pitchFamily="34" charset="0"/>
                <a:cs typeface="CiscoSansTT" panose="020B0503020201020303" pitchFamily="34" charset="0"/>
              </a:defRPr>
            </a:lvl1pPr>
          </a:lstStyle>
          <a:p>
            <a:pPr lvl="0"/>
            <a:r>
              <a:rPr lang="en-US"/>
              <a:t>Two-Line Title</a:t>
            </a:r>
            <a:endParaRPr lang="en-GB"/>
          </a:p>
        </p:txBody>
      </p:sp>
      <p:sp>
        <p:nvSpPr>
          <p:cNvPr id="7" name="Espace réservé du contenu 6">
            <a:extLst>
              <a:ext uri="{FF2B5EF4-FFF2-40B4-BE49-F238E27FC236}">
                <a16:creationId xmlns:a16="http://schemas.microsoft.com/office/drawing/2014/main" id="{E819E0A6-B13D-9B45-8508-0C4C36144334}"/>
              </a:ext>
            </a:extLst>
          </p:cNvPr>
          <p:cNvSpPr>
            <a:spLocks noGrp="1"/>
          </p:cNvSpPr>
          <p:nvPr>
            <p:ph sz="quarter" idx="11" hasCustomPrompt="1"/>
          </p:nvPr>
        </p:nvSpPr>
        <p:spPr>
          <a:xfrm>
            <a:off x="570688" y="631118"/>
            <a:ext cx="8212949" cy="438150"/>
          </a:xfrm>
          <a:prstGeom prst="rect">
            <a:avLst/>
          </a:prstGeom>
        </p:spPr>
        <p:txBody>
          <a:bodyPr/>
          <a:lstStyle>
            <a:lvl1pPr marL="0" indent="0">
              <a:buNone/>
              <a:defRPr sz="1600" b="0" i="0" baseline="0">
                <a:latin typeface="CiscoSansTT Regular" panose="020B0503020201020303" pitchFamily="34" charset="0"/>
              </a:defRPr>
            </a:lvl1pPr>
          </a:lstStyle>
          <a:p>
            <a:r>
              <a:rPr lang="en-US"/>
              <a:t>Sub-Title</a:t>
            </a:r>
            <a:endParaRPr lang="fr-FR"/>
          </a:p>
        </p:txBody>
      </p:sp>
    </p:spTree>
    <p:extLst>
      <p:ext uri="{BB962C8B-B14F-4D97-AF65-F5344CB8AC3E}">
        <p14:creationId xmlns:p14="http://schemas.microsoft.com/office/powerpoint/2010/main" val="2178575562"/>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Overview">
    <p:spTree>
      <p:nvGrpSpPr>
        <p:cNvPr id="1" name=""/>
        <p:cNvGrpSpPr/>
        <p:nvPr/>
      </p:nvGrpSpPr>
      <p:grpSpPr>
        <a:xfrm>
          <a:off x="0" y="0"/>
          <a:ext cx="0" cy="0"/>
          <a:chOff x="0" y="0"/>
          <a:chExt cx="0" cy="0"/>
        </a:xfrm>
      </p:grpSpPr>
      <p:sp>
        <p:nvSpPr>
          <p:cNvPr id="3" name="Title 2"/>
          <p:cNvSpPr>
            <a:spLocks noGrp="1"/>
          </p:cNvSpPr>
          <p:nvPr>
            <p:ph type="title"/>
          </p:nvPr>
        </p:nvSpPr>
        <p:spPr>
          <a:xfrm>
            <a:off x="355272" y="753713"/>
            <a:ext cx="7886700" cy="551899"/>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0972045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4589302"/>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
        <p:nvSpPr>
          <p:cNvPr id="2" name="Rectangle 1"/>
          <p:cNvSpPr/>
          <p:nvPr userDrawn="1"/>
        </p:nvSpPr>
        <p:spPr>
          <a:xfrm>
            <a:off x="437767" y="4681183"/>
            <a:ext cx="3035589" cy="286603"/>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a:solidFill>
                <a:srgbClr val="005073"/>
              </a:solidFill>
            </a:endParaRPr>
          </a:p>
        </p:txBody>
      </p:sp>
    </p:spTree>
    <p:extLst>
      <p:ext uri="{BB962C8B-B14F-4D97-AF65-F5344CB8AC3E}">
        <p14:creationId xmlns:p14="http://schemas.microsoft.com/office/powerpoint/2010/main" val="14009576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0277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17" indent="-117469">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11" indent="-114294">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05" indent="-114294">
              <a:buClr>
                <a:schemeClr val="tx2"/>
              </a:buClr>
              <a:buSzPct val="60000"/>
              <a:buFont typeface="Arial"/>
              <a:buChar char="•"/>
              <a:defRPr sz="1600" b="0" i="0">
                <a:solidFill>
                  <a:schemeClr val="bg1"/>
                </a:solidFill>
                <a:latin typeface="+mn-lt"/>
                <a:ea typeface="CiscoSansTT Thin" charset="0"/>
                <a:cs typeface="CiscoSansTT Thin" charset="0"/>
              </a:defRPr>
            </a:lvl3pPr>
            <a:lvl4pPr marL="517499" indent="-114294">
              <a:buClr>
                <a:schemeClr val="tx2"/>
              </a:buClr>
              <a:buSzPct val="60000"/>
              <a:buFont typeface="Arial"/>
              <a:buChar char="•"/>
              <a:defRPr sz="1400" b="0" i="0">
                <a:solidFill>
                  <a:schemeClr val="bg1"/>
                </a:solidFill>
                <a:latin typeface="+mn-lt"/>
                <a:ea typeface="CiscoSansTT Thin" charset="0"/>
                <a:cs typeface="CiscoSansTT Thin" charset="0"/>
              </a:defRPr>
            </a:lvl4pPr>
            <a:lvl5pPr marL="631793" indent="-114294">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8" y="341315"/>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6"/>
            <a:ext cx="3568392"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01209515"/>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099897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96"/>
            <a:ext cx="359666" cy="274637"/>
          </a:xfrm>
          <a:prstGeom prst="rect">
            <a:avLst/>
          </a:prstGeom>
        </p:spPr>
        <p:txBody>
          <a:bodyPr vert="horz" lIns="91426" tIns="45713" rIns="91426" bIns="45713"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40" y="4946904"/>
            <a:ext cx="716863" cy="154518"/>
          </a:xfrm>
          <a:prstGeom prst="rect">
            <a:avLst/>
          </a:prstGeom>
          <a:noFill/>
          <a:ln w="9525">
            <a:noFill/>
            <a:miter lim="800000"/>
            <a:headEnd/>
            <a:tailEnd/>
          </a:ln>
          <a:effectLst/>
        </p:spPr>
        <p:txBody>
          <a:bodyPr wrap="square" lIns="61576" tIns="30791" rIns="61576" bIns="30791" anchor="b">
            <a:spAutoFit/>
          </a:bodyPr>
          <a:lstStyle>
            <a:lvl1pPr algn="l">
              <a:defRPr lang="en-US" sz="600" dirty="0">
                <a:solidFill>
                  <a:srgbClr val="000000"/>
                </a:solidFill>
                <a:cs typeface="CiscoSans Thin"/>
              </a:defRPr>
            </a:lvl1pPr>
          </a:lstStyle>
          <a:p>
            <a:pPr defTabSz="610639"/>
            <a:r>
              <a:rPr>
                <a:ea typeface="ＭＳ Ｐゴシック" charset="0"/>
              </a:rPr>
              <a:t>BRKSPG-2120</a:t>
            </a:r>
          </a:p>
        </p:txBody>
      </p:sp>
      <p:sp>
        <p:nvSpPr>
          <p:cNvPr id="11" name="Title 1"/>
          <p:cNvSpPr>
            <a:spLocks noGrp="1"/>
          </p:cNvSpPr>
          <p:nvPr>
            <p:ph type="title"/>
          </p:nvPr>
        </p:nvSpPr>
        <p:spPr>
          <a:xfrm>
            <a:off x="356616" y="217715"/>
            <a:ext cx="8513064" cy="765432"/>
          </a:xfrm>
        </p:spPr>
        <p:txBody>
          <a:bodyPr/>
          <a:lstStyle/>
          <a:p>
            <a:r>
              <a:rPr lang="en-US"/>
              <a:t>Click to edit Master title style</a:t>
            </a:r>
            <a:endParaRPr lang="en-US" dirty="0"/>
          </a:p>
        </p:txBody>
      </p:sp>
    </p:spTree>
    <p:extLst>
      <p:ext uri="{BB962C8B-B14F-4D97-AF65-F5344CB8AC3E}">
        <p14:creationId xmlns:p14="http://schemas.microsoft.com/office/powerpoint/2010/main" val="2190857685"/>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788" indent="-223680">
              <a:lnSpc>
                <a:spcPct val="95000"/>
              </a:lnSpc>
              <a:spcBef>
                <a:spcPts val="1110"/>
              </a:spcBef>
              <a:buClr>
                <a:schemeClr val="tx2"/>
              </a:buClr>
              <a:buSzPct val="80000"/>
              <a:buFont typeface="Arial"/>
              <a:buChar char="•"/>
              <a:defRPr sz="3698" b="0" i="0">
                <a:solidFill>
                  <a:schemeClr val="tx2"/>
                </a:solidFill>
                <a:latin typeface="+mn-lt"/>
                <a:cs typeface="CiscoSans ExtraLight"/>
              </a:defRPr>
            </a:lvl1pPr>
            <a:lvl2pPr marL="507641" indent="-215747">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185" indent="-171329">
              <a:buClr>
                <a:schemeClr val="tx1"/>
              </a:buClr>
              <a:buSzPct val="80000"/>
              <a:buFont typeface="Arial"/>
              <a:buChar char="•"/>
              <a:defRPr sz="1600" b="0" i="0">
                <a:solidFill>
                  <a:srgbClr val="676767"/>
                </a:solidFill>
                <a:latin typeface="+mn-lt"/>
                <a:cs typeface="CiscoSans ExtraLight"/>
              </a:defRPr>
            </a:lvl3pPr>
            <a:lvl4pPr marL="910580" indent="-171329">
              <a:buClr>
                <a:schemeClr val="tx1"/>
              </a:buClr>
              <a:buSzPct val="80000"/>
              <a:buFont typeface="Arial"/>
              <a:buChar char="•"/>
              <a:defRPr sz="1400" b="0" i="0">
                <a:solidFill>
                  <a:srgbClr val="676767"/>
                </a:solidFill>
                <a:latin typeface="+mn-lt"/>
                <a:cs typeface="CiscoSans ExtraLight"/>
              </a:defRPr>
            </a:lvl4pPr>
            <a:lvl5pPr marL="1081910" indent="-168156">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530740067"/>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6984398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75000"/>
                </a:schemeClr>
              </a:solidFill>
            </a:endParaRPr>
          </a:p>
        </p:txBody>
      </p:sp>
    </p:spTree>
    <p:extLst>
      <p:ext uri="{BB962C8B-B14F-4D97-AF65-F5344CB8AC3E}">
        <p14:creationId xmlns:p14="http://schemas.microsoft.com/office/powerpoint/2010/main" val="25201667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4815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8409911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6611081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5287824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Edit Master text styles</a:t>
            </a:r>
          </a:p>
        </p:txBody>
      </p:sp>
    </p:spTree>
    <p:extLst>
      <p:ext uri="{BB962C8B-B14F-4D97-AF65-F5344CB8AC3E}">
        <p14:creationId xmlns:p14="http://schemas.microsoft.com/office/powerpoint/2010/main" val="33179048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Edit Master text styles</a:t>
            </a:r>
          </a:p>
        </p:txBody>
      </p:sp>
    </p:spTree>
    <p:extLst>
      <p:ext uri="{BB962C8B-B14F-4D97-AF65-F5344CB8AC3E}">
        <p14:creationId xmlns:p14="http://schemas.microsoft.com/office/powerpoint/2010/main" val="3377951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619484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437334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0613465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9798708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2199003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4884084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2606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9413516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6672207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20897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US"/>
              <a:t>Click to edit Master title style</a:t>
            </a:r>
            <a:endParaRPr lang="en-GB"/>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052948026"/>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3" y="3911435"/>
            <a:ext cx="8139112" cy="525016"/>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9349644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987512977"/>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14320579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5638074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3201003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12284803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15245510"/>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85577130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35592042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986395" y="4938386"/>
            <a:ext cx="589260" cy="131443"/>
          </a:xfrm>
          <a:prstGeom prst="rect">
            <a:avLst/>
          </a:prstGeom>
          <a:noFill/>
          <a:ln w="9525">
            <a:noFill/>
            <a:miter lim="800000"/>
            <a:headEnd/>
            <a:tailEnd/>
          </a:ln>
          <a:effectLst/>
        </p:spPr>
        <p:txBody>
          <a:bodyPr wrap="none" lIns="61593" tIns="30796" rIns="61593" bIns="30796" anchor="b">
            <a:spAutoFit/>
          </a:bodyPr>
          <a:lstStyle/>
          <a:p>
            <a:pPr algn="r" defTabSz="610791"/>
            <a:r>
              <a:rPr lang="en-US" sz="450" dirty="0">
                <a:solidFill>
                  <a:srgbClr val="C0C0C0"/>
                </a:solidFill>
                <a:latin typeface="Arial"/>
              </a:rPr>
              <a:t>Cisco Confidential</a:t>
            </a:r>
          </a:p>
        </p:txBody>
      </p:sp>
      <p:sp>
        <p:nvSpPr>
          <p:cNvPr id="6" name="Rectangle 7"/>
          <p:cNvSpPr>
            <a:spLocks noChangeArrowheads="1"/>
          </p:cNvSpPr>
          <p:nvPr userDrawn="1"/>
        </p:nvSpPr>
        <p:spPr bwMode="ltGray">
          <a:xfrm>
            <a:off x="8705493" y="4935308"/>
            <a:ext cx="194921" cy="131443"/>
          </a:xfrm>
          <a:prstGeom prst="rect">
            <a:avLst/>
          </a:prstGeom>
          <a:noFill/>
          <a:ln w="9525" algn="ctr">
            <a:noFill/>
            <a:miter lim="800000"/>
            <a:headEnd/>
            <a:tailEnd/>
          </a:ln>
          <a:effectLst/>
        </p:spPr>
        <p:txBody>
          <a:bodyPr wrap="none" lIns="61593" tIns="30796" rIns="61593" bIns="30796" anchor="b">
            <a:spAutoFit/>
          </a:bodyPr>
          <a:lstStyle/>
          <a:p>
            <a:pPr algn="r" defTabSz="610791"/>
            <a:fld id="{DFCF27A5-1A5B-48D3-A060-2758FFBB1ADD}" type="slidenum">
              <a:rPr lang="en-US" sz="450">
                <a:solidFill>
                  <a:srgbClr val="C0C0C0"/>
                </a:solidFill>
                <a:latin typeface="Arial"/>
              </a:rPr>
              <a:pPr algn="r" defTabSz="610791"/>
              <a:t>‹#›</a:t>
            </a:fld>
            <a:endParaRPr lang="en-US" sz="450" dirty="0">
              <a:solidFill>
                <a:srgbClr val="C0C0C0"/>
              </a:solidFill>
              <a:latin typeface="Arial"/>
            </a:endParaRPr>
          </a:p>
        </p:txBody>
      </p:sp>
    </p:spTree>
    <p:extLst>
      <p:ext uri="{BB962C8B-B14F-4D97-AF65-F5344CB8AC3E}">
        <p14:creationId xmlns:p14="http://schemas.microsoft.com/office/powerpoint/2010/main" val="2489916522"/>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230052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71407915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theme" Target="../theme/theme2.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theme" Target="../theme/theme3.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19  Cisco and/or its affiliates. All rights reserved.   Cisco Confidential</a:t>
            </a:r>
          </a:p>
        </p:txBody>
      </p:sp>
    </p:spTree>
  </p:cSld>
  <p:clrMap bg1="lt1" tx1="dk1" bg2="lt2" tx2="dk2" accent1="accent1" accent2="accent2" accent3="accent3" accent4="accent4" accent5="accent5" accent6="accent6" hlink="hlink" folHlink="folHlink"/>
  <p:sldLayoutIdLst>
    <p:sldLayoutId id="2147483874" r:id="rId1"/>
    <p:sldLayoutId id="2147483876" r:id="rId2"/>
    <p:sldLayoutId id="2147484013" r:id="rId3"/>
    <p:sldLayoutId id="2147483982" r:id="rId4"/>
    <p:sldLayoutId id="2147484014" r:id="rId5"/>
    <p:sldLayoutId id="2147483978" r:id="rId6"/>
    <p:sldLayoutId id="2147483979" r:id="rId7"/>
    <p:sldLayoutId id="2147483980" r:id="rId8"/>
    <p:sldLayoutId id="2147483981" r:id="rId9"/>
    <p:sldLayoutId id="2147483879" r:id="rId10"/>
    <p:sldLayoutId id="2147483976" r:id="rId11"/>
    <p:sldLayoutId id="2147483885" r:id="rId12"/>
    <p:sldLayoutId id="2147484011" r:id="rId13"/>
    <p:sldLayoutId id="2147483985" r:id="rId14"/>
    <p:sldLayoutId id="2147483986" r:id="rId15"/>
    <p:sldLayoutId id="2147484012" r:id="rId16"/>
    <p:sldLayoutId id="2147483969" r:id="rId17"/>
    <p:sldLayoutId id="2147483968" r:id="rId18"/>
    <p:sldLayoutId id="2147483973" r:id="rId19"/>
    <p:sldLayoutId id="2147483967" r:id="rId20"/>
    <p:sldLayoutId id="2147483970" r:id="rId21"/>
    <p:sldLayoutId id="2147483987" r:id="rId22"/>
    <p:sldLayoutId id="2147483983" r:id="rId23"/>
    <p:sldLayoutId id="2147483971" r:id="rId24"/>
    <p:sldLayoutId id="2147483972" r:id="rId25"/>
    <p:sldLayoutId id="2147483897" r:id="rId26"/>
    <p:sldLayoutId id="2147484015" r:id="rId27"/>
    <p:sldLayoutId id="2147484020" r:id="rId28"/>
    <p:sldLayoutId id="2147484021" r:id="rId29"/>
    <p:sldLayoutId id="2147484022" r:id="rId30"/>
    <p:sldLayoutId id="2147484059" r:id="rId31"/>
    <p:sldLayoutId id="2147484060" r:id="rId32"/>
    <p:sldLayoutId id="2147484023" r:id="rId33"/>
    <p:sldLayoutId id="2147484024" r:id="rId34"/>
    <p:sldLayoutId id="2147484029" r:id="rId35"/>
    <p:sldLayoutId id="2147484058" r:id="rId36"/>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eaLnBrk="1" fontAlgn="auto" hangingPunct="1">
              <a:spcBef>
                <a:spcPts val="0"/>
              </a:spcBef>
              <a:spcAft>
                <a:spcPts val="0"/>
              </a:spcAft>
              <a:defRPr/>
            </a:pPr>
            <a:r>
              <a:rPr lang="en-US" sz="600" spc="20">
                <a:solidFill>
                  <a:srgbClr val="FFFFFF">
                    <a:lumMod val="65000"/>
                  </a:srgbClr>
                </a:solidFill>
                <a:latin typeface="CiscoSansTT ExtraLight"/>
                <a:ea typeface=""/>
                <a:cs typeface="CiscoSans Thin"/>
              </a:rPr>
              <a:t>© 2017  Cisco and/or its affiliates. All rights reserved.   Cisco Confidential</a:t>
            </a:r>
          </a:p>
        </p:txBody>
      </p:sp>
    </p:spTree>
    <p:extLst>
      <p:ext uri="{BB962C8B-B14F-4D97-AF65-F5344CB8AC3E}">
        <p14:creationId xmlns:p14="http://schemas.microsoft.com/office/powerpoint/2010/main" val="3012828327"/>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6" r:id="rId4"/>
    <p:sldLayoutId id="2147484027" r:id="rId5"/>
    <p:sldLayoutId id="2147484028" r:id="rId6"/>
  </p:sldLayoutIdLst>
  <p:txStyles>
    <p:title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43034425"/>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 id="2147484055" r:id="rId25"/>
    <p:sldLayoutId id="2147484056" r:id="rId26"/>
    <p:sldLayoutId id="2147484057" r:id="rId27"/>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3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36.emf"/><Relationship Id="rId5" Type="http://schemas.openxmlformats.org/officeDocument/2006/relationships/oleObject" Target="../embeddings/oleObject4.bin"/><Relationship Id="rId4" Type="http://schemas.openxmlformats.org/officeDocument/2006/relationships/notesSlide" Target="../notesSlides/notesSlide44.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38.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36.emf"/><Relationship Id="rId5" Type="http://schemas.openxmlformats.org/officeDocument/2006/relationships/oleObject" Target="../embeddings/oleObject5.bin"/><Relationship Id="rId4" Type="http://schemas.openxmlformats.org/officeDocument/2006/relationships/notesSlide" Target="../notesSlides/notesSlide45.xml"/></Relationships>
</file>

<file path=ppt/slides/_rels/slide103.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9.png"/><Relationship Id="rId7" Type="http://schemas.openxmlformats.org/officeDocument/2006/relationships/image" Target="../media/image143.png"/><Relationship Id="rId12" Type="http://schemas.openxmlformats.org/officeDocument/2006/relationships/image" Target="../media/image148.png"/><Relationship Id="rId2" Type="http://schemas.openxmlformats.org/officeDocument/2006/relationships/notesSlide" Target="../notesSlides/notesSlide46.xml"/><Relationship Id="rId1" Type="http://schemas.openxmlformats.org/officeDocument/2006/relationships/slideLayout" Target="../slideLayouts/slideLayout12.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41.png"/><Relationship Id="rId10" Type="http://schemas.openxmlformats.org/officeDocument/2006/relationships/image" Target="../media/image146.png"/><Relationship Id="rId4" Type="http://schemas.openxmlformats.org/officeDocument/2006/relationships/image" Target="../media/image140.png"/><Relationship Id="rId9" Type="http://schemas.openxmlformats.org/officeDocument/2006/relationships/image" Target="../media/image145.png"/></Relationships>
</file>

<file path=ppt/slides/_rels/slide104.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153.png"/><Relationship Id="rId2" Type="http://schemas.openxmlformats.org/officeDocument/2006/relationships/image" Target="../media/image149.jpeg"/><Relationship Id="rId1" Type="http://schemas.openxmlformats.org/officeDocument/2006/relationships/slideLayout" Target="../slideLayouts/slideLayout12.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s>
</file>

<file path=ppt/slides/_rels/slide105.xml.rels><?xml version="1.0" encoding="UTF-8" standalone="yes"?>
<Relationships xmlns="http://schemas.openxmlformats.org/package/2006/relationships"><Relationship Id="rId2" Type="http://schemas.openxmlformats.org/officeDocument/2006/relationships/image" Target="../media/image154.gif"/><Relationship Id="rId1" Type="http://schemas.openxmlformats.org/officeDocument/2006/relationships/slideLayout" Target="../slideLayouts/slideLayout13.xml"/></Relationships>
</file>

<file path=ppt/slides/_rels/slide106.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107.xml.rels><?xml version="1.0" encoding="UTF-8" standalone="yes"?>
<Relationships xmlns="http://schemas.openxmlformats.org/package/2006/relationships"><Relationship Id="rId3" Type="http://schemas.openxmlformats.org/officeDocument/2006/relationships/image" Target="../media/image156.jpg"/><Relationship Id="rId2" Type="http://schemas.openxmlformats.org/officeDocument/2006/relationships/notesSlide" Target="../notesSlides/notesSlide48.xml"/><Relationship Id="rId1" Type="http://schemas.openxmlformats.org/officeDocument/2006/relationships/slideLayout" Target="../slideLayouts/slideLayout17.xml"/><Relationship Id="rId6" Type="http://schemas.openxmlformats.org/officeDocument/2006/relationships/image" Target="../media/image159.png"/><Relationship Id="rId5" Type="http://schemas.openxmlformats.org/officeDocument/2006/relationships/image" Target="../media/image158.jpeg"/><Relationship Id="rId4" Type="http://schemas.openxmlformats.org/officeDocument/2006/relationships/image" Target="../media/image157.jpeg"/></Relationships>
</file>

<file path=ppt/slides/_rels/slide108.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49.xml"/><Relationship Id="rId1" Type="http://schemas.openxmlformats.org/officeDocument/2006/relationships/slideLayout" Target="../slideLayouts/slideLayout17.xml"/><Relationship Id="rId4" Type="http://schemas.openxmlformats.org/officeDocument/2006/relationships/image" Target="../media/image161.wmf"/></Relationships>
</file>

<file path=ppt/slides/_rels/slide109.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62.png"/><Relationship Id="rId7" Type="http://schemas.openxmlformats.org/officeDocument/2006/relationships/image" Target="../media/image164.png"/><Relationship Id="rId2" Type="http://schemas.openxmlformats.org/officeDocument/2006/relationships/notesSlide" Target="../notesSlides/notesSlide50.xml"/><Relationship Id="rId1" Type="http://schemas.openxmlformats.org/officeDocument/2006/relationships/slideLayout" Target="../slideLayouts/slideLayout17.xml"/><Relationship Id="rId6" Type="http://schemas.microsoft.com/office/2007/relationships/hdphoto" Target="../media/hdphoto5.wdp"/><Relationship Id="rId5" Type="http://schemas.openxmlformats.org/officeDocument/2006/relationships/image" Target="../media/image163.png"/><Relationship Id="rId4" Type="http://schemas.microsoft.com/office/2007/relationships/hdphoto" Target="../media/hdphoto4.wdp"/></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0.png"/><Relationship Id="rId5" Type="http://schemas.openxmlformats.org/officeDocument/2006/relationships/image" Target="../media/image9.wmf"/><Relationship Id="rId4" Type="http://schemas.openxmlformats.org/officeDocument/2006/relationships/image" Target="../media/image8.png"/></Relationships>
</file>

<file path=ppt/slides/_rels/slide11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51.xml"/><Relationship Id="rId1" Type="http://schemas.openxmlformats.org/officeDocument/2006/relationships/slideLayout" Target="../slideLayouts/slideLayout10.xml"/><Relationship Id="rId4" Type="http://schemas.openxmlformats.org/officeDocument/2006/relationships/image" Target="../media/image166.png"/></Relationships>
</file>

<file path=ppt/slides/_rels/slide111.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52.xml"/><Relationship Id="rId1" Type="http://schemas.openxmlformats.org/officeDocument/2006/relationships/slideLayout" Target="../slideLayouts/slideLayout3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11.xml"/><Relationship Id="rId7" Type="http://schemas.openxmlformats.org/officeDocument/2006/relationships/image" Target="../media/image26.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60.png"/><Relationship Id="rId5" Type="http://schemas.openxmlformats.org/officeDocument/2006/relationships/notesSlide" Target="../notesSlides/notesSlide53.xml"/><Relationship Id="rId10" Type="http://schemas.openxmlformats.org/officeDocument/2006/relationships/image" Target="../media/image59.png"/><Relationship Id="rId4" Type="http://schemas.openxmlformats.org/officeDocument/2006/relationships/slideLayout" Target="../slideLayouts/slideLayout12.xml"/><Relationship Id="rId9" Type="http://schemas.openxmlformats.org/officeDocument/2006/relationships/image" Target="../media/image58.png"/></Relationships>
</file>

<file path=ppt/slides/_rels/slide114.xml.rels><?xml version="1.0" encoding="UTF-8" standalone="yes"?>
<Relationships xmlns="http://schemas.openxmlformats.org/package/2006/relationships"><Relationship Id="rId3" Type="http://schemas.openxmlformats.org/officeDocument/2006/relationships/image" Target="../media/image13.jpg"/><Relationship Id="rId7" Type="http://schemas.openxmlformats.org/officeDocument/2006/relationships/image" Target="../media/image62.emf"/><Relationship Id="rId2" Type="http://schemas.openxmlformats.org/officeDocument/2006/relationships/image" Target="../media/image12.jpg"/><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15.png"/><Relationship Id="rId4" Type="http://schemas.openxmlformats.org/officeDocument/2006/relationships/image" Target="../media/image14.png"/></Relationships>
</file>

<file path=ppt/slides/_rels/slide115.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tags" Target="../tags/tag13.xml"/><Relationship Id="rId7" Type="http://schemas.openxmlformats.org/officeDocument/2006/relationships/image" Target="../media/image26.emf"/><Relationship Id="rId12" Type="http://schemas.openxmlformats.org/officeDocument/2006/relationships/image" Target="../media/image72.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71.wmf"/><Relationship Id="rId5" Type="http://schemas.openxmlformats.org/officeDocument/2006/relationships/notesSlide" Target="../notesSlides/notesSlide54.xml"/><Relationship Id="rId10" Type="http://schemas.openxmlformats.org/officeDocument/2006/relationships/image" Target="../media/image70.png"/><Relationship Id="rId4" Type="http://schemas.openxmlformats.org/officeDocument/2006/relationships/slideLayout" Target="../slideLayouts/slideLayout12.xml"/><Relationship Id="rId9" Type="http://schemas.openxmlformats.org/officeDocument/2006/relationships/image" Target="../media/image69.emf"/><Relationship Id="rId14" Type="http://schemas.openxmlformats.org/officeDocument/2006/relationships/image" Target="../media/image74.png"/></Relationships>
</file>

<file path=ppt/slides/_rels/slide11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20.xml.rels><?xml version="1.0" encoding="UTF-8" standalone="yes"?>
<Relationships xmlns="http://schemas.openxmlformats.org/package/2006/relationships"><Relationship Id="rId3" Type="http://schemas.openxmlformats.org/officeDocument/2006/relationships/image" Target="../media/image168.emf"/><Relationship Id="rId2" Type="http://schemas.openxmlformats.org/officeDocument/2006/relationships/notesSlide" Target="../notesSlides/notesSlide56.xml"/><Relationship Id="rId1" Type="http://schemas.openxmlformats.org/officeDocument/2006/relationships/slideLayout" Target="../slideLayouts/slideLayout59.xml"/><Relationship Id="rId6" Type="http://schemas.microsoft.com/office/2007/relationships/hdphoto" Target="../media/hdphoto7.wdp"/><Relationship Id="rId5" Type="http://schemas.openxmlformats.org/officeDocument/2006/relationships/image" Target="../media/image170.png"/><Relationship Id="rId4" Type="http://schemas.openxmlformats.org/officeDocument/2006/relationships/image" Target="../media/image169.png"/></Relationships>
</file>

<file path=ppt/slides/_rels/slide12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7.xml"/><Relationship Id="rId1" Type="http://schemas.openxmlformats.org/officeDocument/2006/relationships/slideLayout" Target="../slideLayouts/slideLayout54.xml"/></Relationships>
</file>

<file path=ppt/slides/_rels/slide12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8.xml"/><Relationship Id="rId1" Type="http://schemas.openxmlformats.org/officeDocument/2006/relationships/slideLayout" Target="../slideLayouts/slideLayout54.xml"/></Relationships>
</file>

<file path=ppt/slides/_rels/slide12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9.xml"/><Relationship Id="rId1" Type="http://schemas.openxmlformats.org/officeDocument/2006/relationships/slideLayout" Target="../slideLayouts/slideLayout54.xml"/><Relationship Id="rId5" Type="http://schemas.openxmlformats.org/officeDocument/2006/relationships/image" Target="../media/image173.png"/><Relationship Id="rId4" Type="http://schemas.openxmlformats.org/officeDocument/2006/relationships/image" Target="../media/image172.emf"/></Relationships>
</file>

<file path=ppt/slides/_rels/slide12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54.xml"/><Relationship Id="rId5" Type="http://schemas.openxmlformats.org/officeDocument/2006/relationships/image" Target="../media/image15.png"/><Relationship Id="rId4" Type="http://schemas.openxmlformats.org/officeDocument/2006/relationships/image" Target="../media/image14.png"/></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5.png"/><Relationship Id="rId1" Type="http://schemas.openxmlformats.org/officeDocument/2006/relationships/slideLayout" Target="../slideLayouts/slideLayout12.xml"/><Relationship Id="rId5" Type="http://schemas.openxmlformats.org/officeDocument/2006/relationships/image" Target="../media/image14.png"/><Relationship Id="rId4" Type="http://schemas.openxmlformats.org/officeDocument/2006/relationships/image" Target="../media/image13.jpg"/></Relationships>
</file>

<file path=ppt/slides/_rels/slide127.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3.jpeg"/><Relationship Id="rId3" Type="http://schemas.openxmlformats.org/officeDocument/2006/relationships/image" Target="../media/image174.png"/><Relationship Id="rId7" Type="http://schemas.openxmlformats.org/officeDocument/2006/relationships/image" Target="../media/image177.png"/><Relationship Id="rId12" Type="http://schemas.openxmlformats.org/officeDocument/2006/relationships/image" Target="../media/image182.png"/><Relationship Id="rId2" Type="http://schemas.openxmlformats.org/officeDocument/2006/relationships/notesSlide" Target="../notesSlides/notesSlide60.xml"/><Relationship Id="rId1" Type="http://schemas.openxmlformats.org/officeDocument/2006/relationships/slideLayout" Target="../slideLayouts/slideLayout12.xml"/><Relationship Id="rId6" Type="http://schemas.openxmlformats.org/officeDocument/2006/relationships/image" Target="../media/image176.png"/><Relationship Id="rId11" Type="http://schemas.openxmlformats.org/officeDocument/2006/relationships/image" Target="../media/image181.png"/><Relationship Id="rId5" Type="http://schemas.openxmlformats.org/officeDocument/2006/relationships/image" Target="../media/image175.png"/><Relationship Id="rId10" Type="http://schemas.openxmlformats.org/officeDocument/2006/relationships/image" Target="../media/image180.png"/><Relationship Id="rId4" Type="http://schemas.openxmlformats.org/officeDocument/2006/relationships/hyperlink" Target="https://commons.wikimedia.org/wiki/File:AWS_Simple_Icons_Non-Service_Specific_Corporate_Data_Center.svg" TargetMode="External"/><Relationship Id="rId9" Type="http://schemas.openxmlformats.org/officeDocument/2006/relationships/image" Target="../media/image179.jpeg"/><Relationship Id="rId14" Type="http://schemas.openxmlformats.org/officeDocument/2006/relationships/image" Target="../media/image184.png"/></Relationships>
</file>

<file path=ppt/slides/_rels/slide128.xml.rels><?xml version="1.0" encoding="UTF-8" standalone="yes"?>
<Relationships xmlns="http://schemas.openxmlformats.org/package/2006/relationships"><Relationship Id="rId8" Type="http://schemas.openxmlformats.org/officeDocument/2006/relationships/image" Target="../media/image179.jpeg"/><Relationship Id="rId13" Type="http://schemas.openxmlformats.org/officeDocument/2006/relationships/image" Target="../media/image184.png"/><Relationship Id="rId3" Type="http://schemas.openxmlformats.org/officeDocument/2006/relationships/notesSlide" Target="../notesSlides/notesSlide61.xml"/><Relationship Id="rId7" Type="http://schemas.openxmlformats.org/officeDocument/2006/relationships/image" Target="../media/image178.png"/><Relationship Id="rId12" Type="http://schemas.openxmlformats.org/officeDocument/2006/relationships/image" Target="../media/image183.jpe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177.png"/><Relationship Id="rId11" Type="http://schemas.openxmlformats.org/officeDocument/2006/relationships/image" Target="../media/image182.png"/><Relationship Id="rId5" Type="http://schemas.openxmlformats.org/officeDocument/2006/relationships/image" Target="../media/image176.png"/><Relationship Id="rId10" Type="http://schemas.openxmlformats.org/officeDocument/2006/relationships/image" Target="../media/image181.png"/><Relationship Id="rId4" Type="http://schemas.openxmlformats.org/officeDocument/2006/relationships/image" Target="../media/image175.png"/><Relationship Id="rId9" Type="http://schemas.openxmlformats.org/officeDocument/2006/relationships/image" Target="../media/image180.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2.xml"/><Relationship Id="rId1" Type="http://schemas.openxmlformats.org/officeDocument/2006/relationships/tags" Target="../tags/tag15.xml"/><Relationship Id="rId4" Type="http://schemas.openxmlformats.org/officeDocument/2006/relationships/image" Target="../media/image185.png"/></Relationships>
</file>

<file path=ppt/slides/_rels/slide131.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63.xml"/><Relationship Id="rId1" Type="http://schemas.openxmlformats.org/officeDocument/2006/relationships/slideLayout" Target="../slideLayouts/slideLayout12.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187.png"/></Relationships>
</file>

<file path=ppt/slides/_rels/slide132.xml.rels><?xml version="1.0" encoding="UTF-8" standalone="yes"?>
<Relationships xmlns="http://schemas.openxmlformats.org/package/2006/relationships"><Relationship Id="rId3" Type="http://schemas.openxmlformats.org/officeDocument/2006/relationships/image" Target="../media/image190.tiff"/><Relationship Id="rId2" Type="http://schemas.openxmlformats.org/officeDocument/2006/relationships/notesSlide" Target="../notesSlides/notesSlide64.xml"/><Relationship Id="rId1" Type="http://schemas.openxmlformats.org/officeDocument/2006/relationships/slideLayout" Target="../slideLayouts/slideLayout10.xml"/><Relationship Id="rId4" Type="http://schemas.openxmlformats.org/officeDocument/2006/relationships/image" Target="../media/image191.tiff"/></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5.png"/><Relationship Id="rId1" Type="http://schemas.openxmlformats.org/officeDocument/2006/relationships/slideLayout" Target="../slideLayouts/slideLayout12.xml"/><Relationship Id="rId5" Type="http://schemas.openxmlformats.org/officeDocument/2006/relationships/image" Target="../media/image14.png"/><Relationship Id="rId4" Type="http://schemas.openxmlformats.org/officeDocument/2006/relationships/image" Target="../media/image13.jpg"/></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0.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4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67.xml"/><Relationship Id="rId1" Type="http://schemas.openxmlformats.org/officeDocument/2006/relationships/slideLayout" Target="../slideLayouts/slideLayout37.xml"/></Relationships>
</file>

<file path=ppt/slides/_rels/slide14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68.xml"/><Relationship Id="rId1" Type="http://schemas.openxmlformats.org/officeDocument/2006/relationships/slideLayout" Target="../slideLayouts/slideLayout37.xml"/><Relationship Id="rId4" Type="http://schemas.openxmlformats.org/officeDocument/2006/relationships/image" Target="../media/image192.png"/></Relationships>
</file>

<file path=ppt/slides/_rels/slide142.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92.png"/><Relationship Id="rId2" Type="http://schemas.openxmlformats.org/officeDocument/2006/relationships/notesSlide" Target="../notesSlides/notesSlide69.xml"/><Relationship Id="rId1" Type="http://schemas.openxmlformats.org/officeDocument/2006/relationships/slideLayout" Target="../slideLayouts/slideLayout37.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_rels/slide143.xml.rels><?xml version="1.0" encoding="UTF-8" standalone="yes"?>
<Relationships xmlns="http://schemas.openxmlformats.org/package/2006/relationships"><Relationship Id="rId2" Type="http://schemas.openxmlformats.org/officeDocument/2006/relationships/image" Target="../media/image198.tiff"/><Relationship Id="rId1" Type="http://schemas.openxmlformats.org/officeDocument/2006/relationships/slideLayout" Target="../slideLayouts/slideLayout37.xml"/></Relationships>
</file>

<file path=ppt/slides/_rels/slide144.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199.png"/><Relationship Id="rId7" Type="http://schemas.openxmlformats.org/officeDocument/2006/relationships/image" Target="../media/image202.png"/><Relationship Id="rId2" Type="http://schemas.openxmlformats.org/officeDocument/2006/relationships/notesSlide" Target="../notesSlides/notesSlide70.xml"/><Relationship Id="rId1" Type="http://schemas.openxmlformats.org/officeDocument/2006/relationships/slideLayout" Target="../slideLayouts/slideLayout37.xml"/><Relationship Id="rId6" Type="http://schemas.openxmlformats.org/officeDocument/2006/relationships/image" Target="../media/image201.png"/><Relationship Id="rId5" Type="http://schemas.openxmlformats.org/officeDocument/2006/relationships/image" Target="../media/image200.png"/><Relationship Id="rId4" Type="http://schemas.openxmlformats.org/officeDocument/2006/relationships/image" Target="../media/image58.png"/></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37.xml"/><Relationship Id="rId1" Type="http://schemas.openxmlformats.org/officeDocument/2006/relationships/tags" Target="../tags/tag16.xml"/></Relationships>
</file>

<file path=ppt/slides/_rels/slide146.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72.xml"/><Relationship Id="rId1" Type="http://schemas.openxmlformats.org/officeDocument/2006/relationships/slideLayout" Target="../slideLayouts/slideLayout40.xml"/><Relationship Id="rId5" Type="http://schemas.microsoft.com/office/2007/relationships/hdphoto" Target="../media/hdphoto8.wdp"/><Relationship Id="rId4" Type="http://schemas.openxmlformats.org/officeDocument/2006/relationships/image" Target="../media/image205.png"/></Relationships>
</file>

<file path=ppt/slides/_rels/slide147.xml.rels><?xml version="1.0" encoding="UTF-8" standalone="yes"?>
<Relationships xmlns="http://schemas.openxmlformats.org/package/2006/relationships"><Relationship Id="rId2" Type="http://schemas.openxmlformats.org/officeDocument/2006/relationships/image" Target="../media/image206.tiff"/><Relationship Id="rId1" Type="http://schemas.openxmlformats.org/officeDocument/2006/relationships/slideLayout" Target="../slideLayouts/slideLayout37.xml"/></Relationships>
</file>

<file path=ppt/slides/_rels/slide148.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42.xml"/></Relationships>
</file>

<file path=ppt/slides/_rels/slide149.xml.rels><?xml version="1.0" encoding="UTF-8" standalone="yes"?>
<Relationships xmlns="http://schemas.openxmlformats.org/package/2006/relationships"><Relationship Id="rId2" Type="http://schemas.openxmlformats.org/officeDocument/2006/relationships/image" Target="../media/image208.tiff"/><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8" Type="http://schemas.openxmlformats.org/officeDocument/2006/relationships/hyperlink" Target="https://www.google.com/maps/?q=11.13333,39.63333" TargetMode="External"/><Relationship Id="rId3" Type="http://schemas.openxmlformats.org/officeDocument/2006/relationships/hyperlink" Target="https://www.google.com/maps/?q=9.59306,41.86611" TargetMode="External"/><Relationship Id="rId7" Type="http://schemas.openxmlformats.org/officeDocument/2006/relationships/hyperlink" Target="https://www.google.com/maps/?q=12.6,37.46667" TargetMode="External"/><Relationship Id="rId2" Type="http://schemas.openxmlformats.org/officeDocument/2006/relationships/hyperlink" Target="https://www.google.com/maps/?q=9.02497,38.74689" TargetMode="External"/><Relationship Id="rId1" Type="http://schemas.openxmlformats.org/officeDocument/2006/relationships/slideLayout" Target="../slideLayouts/slideLayout30.xml"/><Relationship Id="rId6" Type="http://schemas.openxmlformats.org/officeDocument/2006/relationships/hyperlink" Target="https://www.google.com/maps/?q=11.59364,37.39077" TargetMode="External"/><Relationship Id="rId5" Type="http://schemas.openxmlformats.org/officeDocument/2006/relationships/hyperlink" Target="https://www.google.com/maps/?q=8.55,39.26667" TargetMode="External"/><Relationship Id="rId10" Type="http://schemas.openxmlformats.org/officeDocument/2006/relationships/hyperlink" Target="https://www.google.com/maps/?q=7.67344,36.83441" TargetMode="External"/><Relationship Id="rId4" Type="http://schemas.openxmlformats.org/officeDocument/2006/relationships/hyperlink" Target="https://www.google.com/maps/?q=13.49667,39.47528" TargetMode="External"/><Relationship Id="rId9" Type="http://schemas.openxmlformats.org/officeDocument/2006/relationships/hyperlink" Target="https://www.google.com/maps/?q=7.06205,38.47635" TargetMode="External"/></Relationships>
</file>

<file path=ppt/slides/_rels/slide150.xml.rels><?xml version="1.0" encoding="UTF-8" standalone="yes"?>
<Relationships xmlns="http://schemas.openxmlformats.org/package/2006/relationships"><Relationship Id="rId3" Type="http://schemas.openxmlformats.org/officeDocument/2006/relationships/package" Target="../embeddings/Microsoft_Visio_Drawing11111111.vsdx"/><Relationship Id="rId2" Type="http://schemas.openxmlformats.org/officeDocument/2006/relationships/slideLayout" Target="../slideLayouts/slideLayout37.xml"/><Relationship Id="rId1" Type="http://schemas.openxmlformats.org/officeDocument/2006/relationships/vmlDrawing" Target="../drawings/vmlDrawing8.vml"/><Relationship Id="rId4" Type="http://schemas.openxmlformats.org/officeDocument/2006/relationships/image" Target="../media/image209.emf"/></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4.xml.rels><?xml version="1.0" encoding="UTF-8" standalone="yes"?>
<Relationships xmlns="http://schemas.openxmlformats.org/package/2006/relationships"><Relationship Id="rId3" Type="http://schemas.openxmlformats.org/officeDocument/2006/relationships/image" Target="../media/image211.png"/><Relationship Id="rId7" Type="http://schemas.openxmlformats.org/officeDocument/2006/relationships/image" Target="../media/image215.png"/><Relationship Id="rId2" Type="http://schemas.openxmlformats.org/officeDocument/2006/relationships/image" Target="../media/image210.png"/><Relationship Id="rId1" Type="http://schemas.openxmlformats.org/officeDocument/2006/relationships/slideLayout" Target="../slideLayouts/slideLayout12.xml"/><Relationship Id="rId6" Type="http://schemas.openxmlformats.org/officeDocument/2006/relationships/image" Target="../media/image214.png"/><Relationship Id="rId5" Type="http://schemas.openxmlformats.org/officeDocument/2006/relationships/image" Target="../media/image213.png"/><Relationship Id="rId4" Type="http://schemas.openxmlformats.org/officeDocument/2006/relationships/image" Target="../media/image212.png"/></Relationships>
</file>

<file path=ppt/slides/_rels/slide155.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image" Target="../media/image214.png"/><Relationship Id="rId1" Type="http://schemas.openxmlformats.org/officeDocument/2006/relationships/slideLayout" Target="../slideLayouts/slideLayout12.xml"/><Relationship Id="rId4" Type="http://schemas.openxmlformats.org/officeDocument/2006/relationships/image" Target="../media/image212.png"/></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2.xml"/></Relationships>
</file>

<file path=ppt/slides/_rels/slide159.xml.rels><?xml version="1.0" encoding="UTF-8" standalone="yes"?>
<Relationships xmlns="http://schemas.openxmlformats.org/package/2006/relationships"><Relationship Id="rId2" Type="http://schemas.openxmlformats.org/officeDocument/2006/relationships/image" Target="../media/image216.emf"/><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21.tiff"/><Relationship Id="rId3" Type="http://schemas.openxmlformats.org/officeDocument/2006/relationships/image" Target="../media/image17.jpeg"/><Relationship Id="rId7"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png"/></Relationships>
</file>

<file path=ppt/slides/_rels/slide16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12.xml"/></Relationships>
</file>

<file path=ppt/slides/_rels/slide1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19.png"/><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g"/></Relationships>
</file>

<file path=ppt/slides/_rels/slide162.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12.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65.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74.xml"/><Relationship Id="rId1" Type="http://schemas.openxmlformats.org/officeDocument/2006/relationships/slideLayout" Target="../slideLayouts/slideLayout17.xml"/><Relationship Id="rId4" Type="http://schemas.openxmlformats.org/officeDocument/2006/relationships/image" Target="../media/image222.jpeg"/></Relationships>
</file>

<file path=ppt/slides/_rels/slide166.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12.xml"/></Relationships>
</file>

<file path=ppt/slides/_rels/slide167.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75.xml"/><Relationship Id="rId1" Type="http://schemas.openxmlformats.org/officeDocument/2006/relationships/slideLayout" Target="../slideLayouts/slideLayout12.xml"/></Relationships>
</file>

<file path=ppt/slides/_rels/slide168.xml.rels><?xml version="1.0" encoding="UTF-8" standalone="yes"?>
<Relationships xmlns="http://schemas.openxmlformats.org/package/2006/relationships"><Relationship Id="rId3" Type="http://schemas.openxmlformats.org/officeDocument/2006/relationships/image" Target="../media/image190.tiff"/><Relationship Id="rId2" Type="http://schemas.openxmlformats.org/officeDocument/2006/relationships/notesSlide" Target="../notesSlides/notesSlide76.xml"/><Relationship Id="rId1" Type="http://schemas.openxmlformats.org/officeDocument/2006/relationships/slideLayout" Target="../slideLayouts/slideLayout10.xml"/><Relationship Id="rId4" Type="http://schemas.openxmlformats.org/officeDocument/2006/relationships/image" Target="../media/image191.tiff"/></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17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7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7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73.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77.xml"/><Relationship Id="rId1" Type="http://schemas.openxmlformats.org/officeDocument/2006/relationships/slideLayout" Target="../slideLayouts/slideLayout18.xml"/><Relationship Id="rId4" Type="http://schemas.openxmlformats.org/officeDocument/2006/relationships/image" Target="../media/image226.png"/></Relationships>
</file>

<file path=ppt/slides/_rels/slide17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75.xml.rels><?xml version="1.0" encoding="UTF-8" standalone="yes"?>
<Relationships xmlns="http://schemas.openxmlformats.org/package/2006/relationships"><Relationship Id="rId3" Type="http://schemas.openxmlformats.org/officeDocument/2006/relationships/image" Target="../media/image227.emf"/><Relationship Id="rId7" Type="http://schemas.openxmlformats.org/officeDocument/2006/relationships/image" Target="../media/image231.png"/><Relationship Id="rId2" Type="http://schemas.openxmlformats.org/officeDocument/2006/relationships/notesSlide" Target="../notesSlides/notesSlide78.xml"/><Relationship Id="rId1" Type="http://schemas.openxmlformats.org/officeDocument/2006/relationships/slideLayout" Target="../slideLayouts/slideLayout12.xml"/><Relationship Id="rId6" Type="http://schemas.openxmlformats.org/officeDocument/2006/relationships/image" Target="../media/image230.tiff"/><Relationship Id="rId5" Type="http://schemas.openxmlformats.org/officeDocument/2006/relationships/image" Target="../media/image229.png"/><Relationship Id="rId4" Type="http://schemas.openxmlformats.org/officeDocument/2006/relationships/image" Target="../media/image228.png"/></Relationships>
</file>

<file path=ppt/slides/_rels/slide176.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image" Target="../media/image232.png"/><Relationship Id="rId7" Type="http://schemas.openxmlformats.org/officeDocument/2006/relationships/image" Target="../media/image236.png"/><Relationship Id="rId2" Type="http://schemas.openxmlformats.org/officeDocument/2006/relationships/notesSlide" Target="../notesSlides/notesSlide79.xml"/><Relationship Id="rId1" Type="http://schemas.openxmlformats.org/officeDocument/2006/relationships/slideLayout" Target="../slideLayouts/slideLayout12.xml"/><Relationship Id="rId6" Type="http://schemas.openxmlformats.org/officeDocument/2006/relationships/image" Target="../media/image235.png"/><Relationship Id="rId5" Type="http://schemas.openxmlformats.org/officeDocument/2006/relationships/image" Target="../media/image234.png"/><Relationship Id="rId4" Type="http://schemas.openxmlformats.org/officeDocument/2006/relationships/image" Target="../media/image233.png"/><Relationship Id="rId9" Type="http://schemas.openxmlformats.org/officeDocument/2006/relationships/image" Target="../media/image238.png"/></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2.xml"/></Relationships>
</file>

<file path=ppt/slides/_rels/slide178.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image" Target="../media/image239.png"/><Relationship Id="rId1" Type="http://schemas.openxmlformats.org/officeDocument/2006/relationships/slideLayout" Target="../slideLayouts/slideLayout12.xml"/><Relationship Id="rId4" Type="http://schemas.openxmlformats.org/officeDocument/2006/relationships/image" Target="../media/image241.png"/></Relationships>
</file>

<file path=ppt/slides/_rels/slide17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26.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0.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notesSlide" Target="../notesSlides/notesSlide81.xml"/><Relationship Id="rId1" Type="http://schemas.openxmlformats.org/officeDocument/2006/relationships/slideLayout" Target="../slideLayouts/slideLayout12.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 Id="rId9" Type="http://schemas.openxmlformats.org/officeDocument/2006/relationships/image" Target="../media/image248.png"/></Relationships>
</file>

<file path=ppt/slides/_rels/slide181.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82.xml"/><Relationship Id="rId1" Type="http://schemas.openxmlformats.org/officeDocument/2006/relationships/slideLayout" Target="../slideLayouts/slideLayout12.xml"/><Relationship Id="rId5" Type="http://schemas.openxmlformats.org/officeDocument/2006/relationships/image" Target="../media/image251.png"/><Relationship Id="rId4" Type="http://schemas.openxmlformats.org/officeDocument/2006/relationships/image" Target="../media/image250.jpeg"/></Relationships>
</file>

<file path=ppt/slides/_rels/slide182.xml.rels><?xml version="1.0" encoding="UTF-8" standalone="yes"?>
<Relationships xmlns="http://schemas.openxmlformats.org/package/2006/relationships"><Relationship Id="rId8" Type="http://schemas.openxmlformats.org/officeDocument/2006/relationships/image" Target="../media/image253.png"/><Relationship Id="rId3" Type="http://schemas.openxmlformats.org/officeDocument/2006/relationships/image" Target="../media/image228.png"/><Relationship Id="rId7" Type="http://schemas.openxmlformats.org/officeDocument/2006/relationships/image" Target="../media/image252.png"/><Relationship Id="rId2" Type="http://schemas.openxmlformats.org/officeDocument/2006/relationships/notesSlide" Target="../notesSlides/notesSlide83.xml"/><Relationship Id="rId1" Type="http://schemas.openxmlformats.org/officeDocument/2006/relationships/slideLayout" Target="../slideLayouts/slideLayout12.xml"/><Relationship Id="rId6" Type="http://schemas.openxmlformats.org/officeDocument/2006/relationships/image" Target="../media/image14.png"/><Relationship Id="rId5" Type="http://schemas.openxmlformats.org/officeDocument/2006/relationships/image" Target="../media/image13.jpg"/><Relationship Id="rId10" Type="http://schemas.openxmlformats.org/officeDocument/2006/relationships/image" Target="../media/image255.png"/><Relationship Id="rId4" Type="http://schemas.openxmlformats.org/officeDocument/2006/relationships/image" Target="../media/image12.jpg"/><Relationship Id="rId9" Type="http://schemas.openxmlformats.org/officeDocument/2006/relationships/image" Target="../media/image254.png"/></Relationships>
</file>

<file path=ppt/slides/_rels/slide183.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56.wmf"/><Relationship Id="rId7" Type="http://schemas.openxmlformats.org/officeDocument/2006/relationships/image" Target="../media/image260.png"/><Relationship Id="rId2" Type="http://schemas.openxmlformats.org/officeDocument/2006/relationships/notesSlide" Target="../notesSlides/notesSlide84.xml"/><Relationship Id="rId1" Type="http://schemas.openxmlformats.org/officeDocument/2006/relationships/slideLayout" Target="../slideLayouts/slideLayout12.xml"/><Relationship Id="rId6" Type="http://schemas.openxmlformats.org/officeDocument/2006/relationships/image" Target="../media/image259.png"/><Relationship Id="rId5" Type="http://schemas.openxmlformats.org/officeDocument/2006/relationships/image" Target="../media/image258.png"/><Relationship Id="rId4" Type="http://schemas.openxmlformats.org/officeDocument/2006/relationships/image" Target="../media/image257.png"/></Relationships>
</file>

<file path=ppt/slides/_rels/slide184.xml.rels><?xml version="1.0" encoding="UTF-8" standalone="yes"?>
<Relationships xmlns="http://schemas.openxmlformats.org/package/2006/relationships"><Relationship Id="rId3" Type="http://schemas.openxmlformats.org/officeDocument/2006/relationships/image" Target="../media/image262.tiff"/><Relationship Id="rId2" Type="http://schemas.openxmlformats.org/officeDocument/2006/relationships/notesSlide" Target="../notesSlides/notesSlide85.xml"/><Relationship Id="rId1" Type="http://schemas.openxmlformats.org/officeDocument/2006/relationships/slideLayout" Target="../slideLayouts/slideLayout12.xml"/></Relationships>
</file>

<file path=ppt/slides/_rels/slide1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6.xml"/><Relationship Id="rId1" Type="http://schemas.openxmlformats.org/officeDocument/2006/relationships/slideLayout" Target="../slideLayouts/slideLayout30.xml"/><Relationship Id="rId4" Type="http://schemas.openxmlformats.org/officeDocument/2006/relationships/image" Target="../media/image24.png"/></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1.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30.xml"/></Relationships>
</file>

<file path=ppt/slides/_rels/slide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7.xml"/><Relationship Id="rId1" Type="http://schemas.openxmlformats.org/officeDocument/2006/relationships/slideLayout" Target="../slideLayouts/slideLayout30.xml"/><Relationship Id="rId4" Type="http://schemas.openxmlformats.org/officeDocument/2006/relationships/image" Target="../media/image24.png"/></Relationships>
</file>

<file path=ppt/slides/_rels/slide193.xml.rels><?xml version="1.0" encoding="UTF-8" standalone="yes"?>
<Relationships xmlns="http://schemas.openxmlformats.org/package/2006/relationships"><Relationship Id="rId8" Type="http://schemas.openxmlformats.org/officeDocument/2006/relationships/image" Target="../media/image269.png"/><Relationship Id="rId13" Type="http://schemas.openxmlformats.org/officeDocument/2006/relationships/image" Target="../media/image274.jpeg"/><Relationship Id="rId18" Type="http://schemas.openxmlformats.org/officeDocument/2006/relationships/image" Target="../media/image279.png"/><Relationship Id="rId3" Type="http://schemas.microsoft.com/office/2007/relationships/hdphoto" Target="../media/hdphoto9.wdp"/><Relationship Id="rId21" Type="http://schemas.openxmlformats.org/officeDocument/2006/relationships/image" Target="../media/image282.png"/><Relationship Id="rId7" Type="http://schemas.openxmlformats.org/officeDocument/2006/relationships/image" Target="../media/image268.png"/><Relationship Id="rId12" Type="http://schemas.openxmlformats.org/officeDocument/2006/relationships/image" Target="../media/image273.tiff"/><Relationship Id="rId17" Type="http://schemas.openxmlformats.org/officeDocument/2006/relationships/image" Target="../media/image278.png"/><Relationship Id="rId2" Type="http://schemas.openxmlformats.org/officeDocument/2006/relationships/image" Target="../media/image264.png"/><Relationship Id="rId16" Type="http://schemas.openxmlformats.org/officeDocument/2006/relationships/image" Target="../media/image277.png"/><Relationship Id="rId20" Type="http://schemas.openxmlformats.org/officeDocument/2006/relationships/image" Target="../media/image281.jpeg"/><Relationship Id="rId1" Type="http://schemas.openxmlformats.org/officeDocument/2006/relationships/slideLayout" Target="../slideLayouts/slideLayout27.xml"/><Relationship Id="rId6" Type="http://schemas.openxmlformats.org/officeDocument/2006/relationships/image" Target="../media/image267.png"/><Relationship Id="rId11" Type="http://schemas.openxmlformats.org/officeDocument/2006/relationships/image" Target="../media/image272.tiff"/><Relationship Id="rId5" Type="http://schemas.openxmlformats.org/officeDocument/2006/relationships/image" Target="../media/image266.emf"/><Relationship Id="rId15" Type="http://schemas.openxmlformats.org/officeDocument/2006/relationships/image" Target="../media/image276.jpeg"/><Relationship Id="rId10" Type="http://schemas.openxmlformats.org/officeDocument/2006/relationships/image" Target="../media/image271.png"/><Relationship Id="rId19" Type="http://schemas.openxmlformats.org/officeDocument/2006/relationships/image" Target="../media/image280.png"/><Relationship Id="rId4" Type="http://schemas.openxmlformats.org/officeDocument/2006/relationships/image" Target="../media/image265.jpeg"/><Relationship Id="rId9" Type="http://schemas.openxmlformats.org/officeDocument/2006/relationships/image" Target="../media/image270.jpeg"/><Relationship Id="rId14" Type="http://schemas.openxmlformats.org/officeDocument/2006/relationships/image" Target="../media/image275.jpeg"/></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2.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96.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89.xml"/><Relationship Id="rId1" Type="http://schemas.openxmlformats.org/officeDocument/2006/relationships/slideLayout" Target="../slideLayouts/slideLayout27.xml"/><Relationship Id="rId6" Type="http://schemas.openxmlformats.org/officeDocument/2006/relationships/image" Target="../media/image286.png"/><Relationship Id="rId5" Type="http://schemas.openxmlformats.org/officeDocument/2006/relationships/image" Target="../media/image285.png"/><Relationship Id="rId4" Type="http://schemas.openxmlformats.org/officeDocument/2006/relationships/image" Target="../media/image284.png"/></Relationships>
</file>

<file path=ppt/slides/_rels/slide197.xml.rels><?xml version="1.0" encoding="UTF-8" standalone="yes"?>
<Relationships xmlns="http://schemas.openxmlformats.org/package/2006/relationships"><Relationship Id="rId8" Type="http://schemas.openxmlformats.org/officeDocument/2006/relationships/image" Target="../media/image293.png"/><Relationship Id="rId13" Type="http://schemas.openxmlformats.org/officeDocument/2006/relationships/image" Target="../media/image298.png"/><Relationship Id="rId3" Type="http://schemas.openxmlformats.org/officeDocument/2006/relationships/image" Target="../media/image288.png"/><Relationship Id="rId7" Type="http://schemas.openxmlformats.org/officeDocument/2006/relationships/image" Target="../media/image292.png"/><Relationship Id="rId12" Type="http://schemas.openxmlformats.org/officeDocument/2006/relationships/image" Target="../media/image297.png"/><Relationship Id="rId2" Type="http://schemas.openxmlformats.org/officeDocument/2006/relationships/image" Target="../media/image287.png"/><Relationship Id="rId1" Type="http://schemas.openxmlformats.org/officeDocument/2006/relationships/slideLayout" Target="../slideLayouts/slideLayout12.xml"/><Relationship Id="rId6" Type="http://schemas.openxmlformats.org/officeDocument/2006/relationships/image" Target="../media/image291.png"/><Relationship Id="rId11" Type="http://schemas.openxmlformats.org/officeDocument/2006/relationships/image" Target="../media/image296.png"/><Relationship Id="rId5" Type="http://schemas.openxmlformats.org/officeDocument/2006/relationships/image" Target="../media/image290.png"/><Relationship Id="rId10" Type="http://schemas.openxmlformats.org/officeDocument/2006/relationships/image" Target="../media/image295.png"/><Relationship Id="rId4" Type="http://schemas.openxmlformats.org/officeDocument/2006/relationships/image" Target="../media/image289.png"/><Relationship Id="rId9" Type="http://schemas.openxmlformats.org/officeDocument/2006/relationships/image" Target="../media/image294.png"/></Relationships>
</file>

<file path=ppt/slides/_rels/slide198.xml.rels><?xml version="1.0" encoding="UTF-8" standalone="yes"?>
<Relationships xmlns="http://schemas.openxmlformats.org/package/2006/relationships"><Relationship Id="rId8" Type="http://schemas.openxmlformats.org/officeDocument/2006/relationships/image" Target="../media/image304.png"/><Relationship Id="rId13" Type="http://schemas.openxmlformats.org/officeDocument/2006/relationships/image" Target="../media/image308.png"/><Relationship Id="rId3" Type="http://schemas.openxmlformats.org/officeDocument/2006/relationships/image" Target="../media/image299.png"/><Relationship Id="rId7" Type="http://schemas.openxmlformats.org/officeDocument/2006/relationships/image" Target="../media/image303.png"/><Relationship Id="rId12" Type="http://schemas.openxmlformats.org/officeDocument/2006/relationships/image" Target="../media/image307.png"/><Relationship Id="rId2" Type="http://schemas.openxmlformats.org/officeDocument/2006/relationships/notesSlide" Target="../notesSlides/notesSlide90.xml"/><Relationship Id="rId1" Type="http://schemas.openxmlformats.org/officeDocument/2006/relationships/slideLayout" Target="../slideLayouts/slideLayout27.xml"/><Relationship Id="rId6" Type="http://schemas.openxmlformats.org/officeDocument/2006/relationships/image" Target="../media/image302.png"/><Relationship Id="rId11" Type="http://schemas.openxmlformats.org/officeDocument/2006/relationships/image" Target="../media/image306.png"/><Relationship Id="rId5" Type="http://schemas.openxmlformats.org/officeDocument/2006/relationships/image" Target="../media/image301.png"/><Relationship Id="rId15" Type="http://schemas.openxmlformats.org/officeDocument/2006/relationships/image" Target="../media/image310.png"/><Relationship Id="rId10" Type="http://schemas.openxmlformats.org/officeDocument/2006/relationships/image" Target="../media/image305.png"/><Relationship Id="rId4" Type="http://schemas.openxmlformats.org/officeDocument/2006/relationships/image" Target="../media/image300.png"/><Relationship Id="rId9" Type="http://schemas.microsoft.com/office/2007/relationships/hdphoto" Target="../media/hdphoto10.wdp"/><Relationship Id="rId14" Type="http://schemas.openxmlformats.org/officeDocument/2006/relationships/image" Target="../media/image309.png"/></Relationships>
</file>

<file path=ppt/slides/_rels/slide19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20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311.png"/><Relationship Id="rId4" Type="http://schemas.openxmlformats.org/officeDocument/2006/relationships/image" Target="../media/image14.png"/></Relationships>
</file>

<file path=ppt/slides/_rels/slide201.xml.rels><?xml version="1.0" encoding="UTF-8" standalone="yes"?>
<Relationships xmlns="http://schemas.openxmlformats.org/package/2006/relationships"><Relationship Id="rId8" Type="http://schemas.openxmlformats.org/officeDocument/2006/relationships/image" Target="../media/image315.png"/><Relationship Id="rId3" Type="http://schemas.openxmlformats.org/officeDocument/2006/relationships/image" Target="../media/image12.jpg"/><Relationship Id="rId7" Type="http://schemas.openxmlformats.org/officeDocument/2006/relationships/image" Target="../media/image314.png"/><Relationship Id="rId2" Type="http://schemas.openxmlformats.org/officeDocument/2006/relationships/notesSlide" Target="../notesSlides/notesSlide91.xml"/><Relationship Id="rId1" Type="http://schemas.openxmlformats.org/officeDocument/2006/relationships/slideLayout" Target="../slideLayouts/slideLayout12.xml"/><Relationship Id="rId6" Type="http://schemas.openxmlformats.org/officeDocument/2006/relationships/image" Target="../media/image313.png"/><Relationship Id="rId5" Type="http://schemas.openxmlformats.org/officeDocument/2006/relationships/image" Target="../media/image312.png"/><Relationship Id="rId4" Type="http://schemas.openxmlformats.org/officeDocument/2006/relationships/image" Target="../media/image13.jpg"/><Relationship Id="rId9" Type="http://schemas.openxmlformats.org/officeDocument/2006/relationships/image" Target="../media/image316.png"/></Relationships>
</file>

<file path=ppt/slides/_rels/slide202.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92.xml"/><Relationship Id="rId1" Type="http://schemas.openxmlformats.org/officeDocument/2006/relationships/slideLayout" Target="../slideLayouts/slideLayout12.xml"/><Relationship Id="rId5" Type="http://schemas.openxmlformats.org/officeDocument/2006/relationships/image" Target="../media/image318.png"/><Relationship Id="rId4" Type="http://schemas.openxmlformats.org/officeDocument/2006/relationships/image" Target="../media/image317.png"/></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5.xml.rels><?xml version="1.0" encoding="UTF-8" standalone="yes"?>
<Relationships xmlns="http://schemas.openxmlformats.org/package/2006/relationships"><Relationship Id="rId8" Type="http://schemas.microsoft.com/office/2007/relationships/hdphoto" Target="../media/hdphoto12.wdp"/><Relationship Id="rId13" Type="http://schemas.openxmlformats.org/officeDocument/2006/relationships/image" Target="../media/image328.png"/><Relationship Id="rId18" Type="http://schemas.openxmlformats.org/officeDocument/2006/relationships/image" Target="../media/image333.png"/><Relationship Id="rId3" Type="http://schemas.openxmlformats.org/officeDocument/2006/relationships/image" Target="../media/image320.png"/><Relationship Id="rId7" Type="http://schemas.openxmlformats.org/officeDocument/2006/relationships/image" Target="../media/image323.png"/><Relationship Id="rId12" Type="http://schemas.openxmlformats.org/officeDocument/2006/relationships/image" Target="../media/image327.png"/><Relationship Id="rId17" Type="http://schemas.openxmlformats.org/officeDocument/2006/relationships/image" Target="../media/image332.png"/><Relationship Id="rId2" Type="http://schemas.openxmlformats.org/officeDocument/2006/relationships/image" Target="../media/image319.png"/><Relationship Id="rId16" Type="http://schemas.openxmlformats.org/officeDocument/2006/relationships/image" Target="../media/image331.png"/><Relationship Id="rId1" Type="http://schemas.openxmlformats.org/officeDocument/2006/relationships/slideLayout" Target="../slideLayouts/slideLayout12.xml"/><Relationship Id="rId6" Type="http://schemas.microsoft.com/office/2007/relationships/hdphoto" Target="../media/hdphoto11.wdp"/><Relationship Id="rId11" Type="http://schemas.openxmlformats.org/officeDocument/2006/relationships/image" Target="../media/image326.png"/><Relationship Id="rId5" Type="http://schemas.openxmlformats.org/officeDocument/2006/relationships/image" Target="../media/image322.png"/><Relationship Id="rId15" Type="http://schemas.openxmlformats.org/officeDocument/2006/relationships/image" Target="../media/image330.png"/><Relationship Id="rId10" Type="http://schemas.openxmlformats.org/officeDocument/2006/relationships/image" Target="../media/image325.png"/><Relationship Id="rId19" Type="http://schemas.openxmlformats.org/officeDocument/2006/relationships/image" Target="../media/image334.png"/><Relationship Id="rId4" Type="http://schemas.openxmlformats.org/officeDocument/2006/relationships/image" Target="../media/image321.png"/><Relationship Id="rId9" Type="http://schemas.openxmlformats.org/officeDocument/2006/relationships/image" Target="../media/image324.png"/><Relationship Id="rId14" Type="http://schemas.openxmlformats.org/officeDocument/2006/relationships/image" Target="../media/image329.png"/></Relationships>
</file>

<file path=ppt/slides/_rels/slide2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207.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93.xml"/><Relationship Id="rId1" Type="http://schemas.openxmlformats.org/officeDocument/2006/relationships/slideLayout" Target="../slideLayouts/slideLayout12.xml"/></Relationships>
</file>

<file path=ppt/slides/_rels/slide208.xml.rels><?xml version="1.0" encoding="UTF-8" standalone="yes"?>
<Relationships xmlns="http://schemas.openxmlformats.org/package/2006/relationships"><Relationship Id="rId8" Type="http://schemas.openxmlformats.org/officeDocument/2006/relationships/image" Target="../media/image339.png"/><Relationship Id="rId3" Type="http://schemas.openxmlformats.org/officeDocument/2006/relationships/image" Target="../media/image336.png"/><Relationship Id="rId7" Type="http://schemas.microsoft.com/office/2007/relationships/hdphoto" Target="../media/hdphoto14.wdp"/><Relationship Id="rId2" Type="http://schemas.openxmlformats.org/officeDocument/2006/relationships/notesSlide" Target="../notesSlides/notesSlide94.xml"/><Relationship Id="rId1" Type="http://schemas.openxmlformats.org/officeDocument/2006/relationships/slideLayout" Target="../slideLayouts/slideLayout12.xml"/><Relationship Id="rId6" Type="http://schemas.openxmlformats.org/officeDocument/2006/relationships/image" Target="../media/image338.png"/><Relationship Id="rId11" Type="http://schemas.microsoft.com/office/2007/relationships/hdphoto" Target="../media/hdphoto15.wdp"/><Relationship Id="rId5" Type="http://schemas.openxmlformats.org/officeDocument/2006/relationships/image" Target="../media/image337.png"/><Relationship Id="rId10" Type="http://schemas.openxmlformats.org/officeDocument/2006/relationships/image" Target="../media/image341.png"/><Relationship Id="rId4" Type="http://schemas.microsoft.com/office/2007/relationships/hdphoto" Target="../media/hdphoto13.wdp"/><Relationship Id="rId9" Type="http://schemas.openxmlformats.org/officeDocument/2006/relationships/image" Target="../media/image340.emf"/></Relationships>
</file>

<file path=ppt/slides/_rels/slide209.xml.rels><?xml version="1.0" encoding="UTF-8" standalone="yes"?>
<Relationships xmlns="http://schemas.openxmlformats.org/package/2006/relationships"><Relationship Id="rId8" Type="http://schemas.openxmlformats.org/officeDocument/2006/relationships/image" Target="../media/image347.png"/><Relationship Id="rId3" Type="http://schemas.openxmlformats.org/officeDocument/2006/relationships/image" Target="../media/image342.png"/><Relationship Id="rId7" Type="http://schemas.openxmlformats.org/officeDocument/2006/relationships/image" Target="../media/image346.png"/><Relationship Id="rId12" Type="http://schemas.openxmlformats.org/officeDocument/2006/relationships/image" Target="../media/image350.png"/><Relationship Id="rId2" Type="http://schemas.openxmlformats.org/officeDocument/2006/relationships/notesSlide" Target="../notesSlides/notesSlide95.xml"/><Relationship Id="rId1" Type="http://schemas.openxmlformats.org/officeDocument/2006/relationships/slideLayout" Target="../slideLayouts/slideLayout29.xml"/><Relationship Id="rId6" Type="http://schemas.openxmlformats.org/officeDocument/2006/relationships/image" Target="../media/image345.png"/><Relationship Id="rId11" Type="http://schemas.openxmlformats.org/officeDocument/2006/relationships/image" Target="../media/image349.png"/><Relationship Id="rId5" Type="http://schemas.openxmlformats.org/officeDocument/2006/relationships/image" Target="../media/image344.png"/><Relationship Id="rId10" Type="http://schemas.openxmlformats.org/officeDocument/2006/relationships/image" Target="../media/image348.png"/><Relationship Id="rId4" Type="http://schemas.openxmlformats.org/officeDocument/2006/relationships/image" Target="../media/image343.png"/><Relationship Id="rId9" Type="http://schemas.openxmlformats.org/officeDocument/2006/relationships/image" Target="../media/image130.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0.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image" Target="../media/image351.png"/><Relationship Id="rId1" Type="http://schemas.openxmlformats.org/officeDocument/2006/relationships/slideLayout" Target="../slideLayouts/slideLayout12.xml"/><Relationship Id="rId6" Type="http://schemas.openxmlformats.org/officeDocument/2006/relationships/image" Target="../media/image355.png"/><Relationship Id="rId5" Type="http://schemas.openxmlformats.org/officeDocument/2006/relationships/image" Target="../media/image354.png"/><Relationship Id="rId4" Type="http://schemas.openxmlformats.org/officeDocument/2006/relationships/image" Target="../media/image353.png"/></Relationships>
</file>

<file path=ppt/slides/_rels/slide211.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96.xml"/><Relationship Id="rId1" Type="http://schemas.openxmlformats.org/officeDocument/2006/relationships/slideLayout" Target="../slideLayouts/slideLayout12.xml"/></Relationships>
</file>

<file path=ppt/slides/_rels/slide21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56.wmf"/><Relationship Id="rId7" Type="http://schemas.openxmlformats.org/officeDocument/2006/relationships/image" Target="../media/image260.png"/><Relationship Id="rId2" Type="http://schemas.openxmlformats.org/officeDocument/2006/relationships/notesSlide" Target="../notesSlides/notesSlide97.xml"/><Relationship Id="rId1" Type="http://schemas.openxmlformats.org/officeDocument/2006/relationships/slideLayout" Target="../slideLayouts/slideLayout12.xml"/><Relationship Id="rId6" Type="http://schemas.openxmlformats.org/officeDocument/2006/relationships/image" Target="../media/image259.png"/><Relationship Id="rId5" Type="http://schemas.openxmlformats.org/officeDocument/2006/relationships/image" Target="../media/image258.png"/><Relationship Id="rId4" Type="http://schemas.openxmlformats.org/officeDocument/2006/relationships/image" Target="../media/image257.png"/></Relationships>
</file>

<file path=ppt/slides/_rels/slide213.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98.xml"/><Relationship Id="rId1" Type="http://schemas.openxmlformats.org/officeDocument/2006/relationships/slideLayout" Target="../slideLayouts/slideLayout10.xml"/><Relationship Id="rId4" Type="http://schemas.openxmlformats.org/officeDocument/2006/relationships/image" Target="../media/image188.png"/></Relationships>
</file>

<file path=ppt/slides/_rels/slide214.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99.xml"/><Relationship Id="rId1" Type="http://schemas.openxmlformats.org/officeDocument/2006/relationships/slideLayout" Target="../slideLayouts/slideLayout12.xml"/><Relationship Id="rId5" Type="http://schemas.openxmlformats.org/officeDocument/2006/relationships/image" Target="../media/image251.png"/><Relationship Id="rId4" Type="http://schemas.openxmlformats.org/officeDocument/2006/relationships/image" Target="../media/image250.jpeg"/></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6.xml.rels><?xml version="1.0" encoding="UTF-8" standalone="yes"?>
<Relationships xmlns="http://schemas.openxmlformats.org/package/2006/relationships"><Relationship Id="rId3" Type="http://schemas.openxmlformats.org/officeDocument/2006/relationships/slide" Target="slide217.xml"/><Relationship Id="rId2" Type="http://schemas.openxmlformats.org/officeDocument/2006/relationships/notesSlide" Target="../notesSlides/notesSlide100.xml"/><Relationship Id="rId1" Type="http://schemas.openxmlformats.org/officeDocument/2006/relationships/slideLayout" Target="../slideLayouts/slideLayout30.xml"/><Relationship Id="rId6" Type="http://schemas.openxmlformats.org/officeDocument/2006/relationships/image" Target="../media/image359.png"/><Relationship Id="rId5" Type="http://schemas.openxmlformats.org/officeDocument/2006/relationships/image" Target="../media/image358.png"/><Relationship Id="rId4" Type="http://schemas.openxmlformats.org/officeDocument/2006/relationships/image" Target="../media/image357.tiff"/></Relationships>
</file>

<file path=ppt/slides/_rels/slide217.xml.rels><?xml version="1.0" encoding="UTF-8" standalone="yes"?>
<Relationships xmlns="http://schemas.openxmlformats.org/package/2006/relationships"><Relationship Id="rId8" Type="http://schemas.openxmlformats.org/officeDocument/2006/relationships/slide" Target="slide217.xml"/><Relationship Id="rId3" Type="http://schemas.openxmlformats.org/officeDocument/2006/relationships/image" Target="../media/image357.tiff"/><Relationship Id="rId7" Type="http://schemas.openxmlformats.org/officeDocument/2006/relationships/image" Target="../media/image189.png"/><Relationship Id="rId2" Type="http://schemas.openxmlformats.org/officeDocument/2006/relationships/notesSlide" Target="../notesSlides/notesSlide101.xml"/><Relationship Id="rId1" Type="http://schemas.openxmlformats.org/officeDocument/2006/relationships/slideLayout" Target="../slideLayouts/slideLayout30.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s>
</file>

<file path=ppt/slides/_rels/slide218.xml.rels><?xml version="1.0" encoding="UTF-8" standalone="yes"?>
<Relationships xmlns="http://schemas.openxmlformats.org/package/2006/relationships"><Relationship Id="rId3" Type="http://schemas.openxmlformats.org/officeDocument/2006/relationships/image" Target="../media/image357.tiff"/><Relationship Id="rId2" Type="http://schemas.openxmlformats.org/officeDocument/2006/relationships/notesSlide" Target="../notesSlides/notesSlide102.xml"/><Relationship Id="rId1" Type="http://schemas.openxmlformats.org/officeDocument/2006/relationships/slideLayout" Target="../slideLayouts/slideLayout30.xml"/><Relationship Id="rId6" Type="http://schemas.openxmlformats.org/officeDocument/2006/relationships/image" Target="../media/image361.png"/><Relationship Id="rId5" Type="http://schemas.openxmlformats.org/officeDocument/2006/relationships/image" Target="../media/image360.png"/><Relationship Id="rId4" Type="http://schemas.openxmlformats.org/officeDocument/2006/relationships/slide" Target="slide217.xml"/></Relationships>
</file>

<file path=ppt/slides/_rels/slide219.xml.rels><?xml version="1.0" encoding="UTF-8" standalone="yes"?>
<Relationships xmlns="http://schemas.openxmlformats.org/package/2006/relationships"><Relationship Id="rId8" Type="http://schemas.openxmlformats.org/officeDocument/2006/relationships/image" Target="../media/image253.png"/><Relationship Id="rId3" Type="http://schemas.openxmlformats.org/officeDocument/2006/relationships/image" Target="../media/image228.png"/><Relationship Id="rId7" Type="http://schemas.openxmlformats.org/officeDocument/2006/relationships/image" Target="../media/image252.png"/><Relationship Id="rId2" Type="http://schemas.openxmlformats.org/officeDocument/2006/relationships/notesSlide" Target="../notesSlides/notesSlide103.xml"/><Relationship Id="rId1" Type="http://schemas.openxmlformats.org/officeDocument/2006/relationships/slideLayout" Target="../slideLayouts/slideLayout12.xml"/><Relationship Id="rId6" Type="http://schemas.openxmlformats.org/officeDocument/2006/relationships/image" Target="../media/image14.png"/><Relationship Id="rId5" Type="http://schemas.openxmlformats.org/officeDocument/2006/relationships/image" Target="../media/image13.jpg"/><Relationship Id="rId10" Type="http://schemas.openxmlformats.org/officeDocument/2006/relationships/image" Target="../media/image255.png"/><Relationship Id="rId4" Type="http://schemas.openxmlformats.org/officeDocument/2006/relationships/image" Target="../media/image12.jpg"/><Relationship Id="rId9" Type="http://schemas.openxmlformats.org/officeDocument/2006/relationships/image" Target="../media/image25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220.xml.rels><?xml version="1.0" encoding="UTF-8" standalone="yes"?>
<Relationships xmlns="http://schemas.openxmlformats.org/package/2006/relationships"><Relationship Id="rId8" Type="http://schemas.openxmlformats.org/officeDocument/2006/relationships/image" Target="../media/image367.png"/><Relationship Id="rId3" Type="http://schemas.openxmlformats.org/officeDocument/2006/relationships/image" Target="../media/image362.tiff"/><Relationship Id="rId7" Type="http://schemas.openxmlformats.org/officeDocument/2006/relationships/image" Target="../media/image366.png"/><Relationship Id="rId2" Type="http://schemas.openxmlformats.org/officeDocument/2006/relationships/notesSlide" Target="../notesSlides/notesSlide104.xml"/><Relationship Id="rId1" Type="http://schemas.openxmlformats.org/officeDocument/2006/relationships/slideLayout" Target="../slideLayouts/slideLayout30.xml"/><Relationship Id="rId6" Type="http://schemas.openxmlformats.org/officeDocument/2006/relationships/image" Target="../media/image365.png"/><Relationship Id="rId5" Type="http://schemas.openxmlformats.org/officeDocument/2006/relationships/image" Target="../media/image364.png"/><Relationship Id="rId10" Type="http://schemas.openxmlformats.org/officeDocument/2006/relationships/image" Target="../media/image369.png"/><Relationship Id="rId4" Type="http://schemas.openxmlformats.org/officeDocument/2006/relationships/image" Target="../media/image363.png"/><Relationship Id="rId9" Type="http://schemas.openxmlformats.org/officeDocument/2006/relationships/image" Target="../media/image368.png"/></Relationships>
</file>

<file path=ppt/slides/_rels/slide2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0.xml"/></Relationships>
</file>

<file path=ppt/slides/_rels/slide222.xml.rels><?xml version="1.0" encoding="UTF-8" standalone="yes"?>
<Relationships xmlns="http://schemas.openxmlformats.org/package/2006/relationships"><Relationship Id="rId3" Type="http://schemas.openxmlformats.org/officeDocument/2006/relationships/image" Target="../media/image370.png"/><Relationship Id="rId2" Type="http://schemas.openxmlformats.org/officeDocument/2006/relationships/notesSlide" Target="../notesSlides/notesSlide105.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8" Type="http://schemas.openxmlformats.org/officeDocument/2006/relationships/image" Target="../media/image27.wmf"/><Relationship Id="rId13" Type="http://schemas.openxmlformats.org/officeDocument/2006/relationships/image" Target="../media/image32.emf"/><Relationship Id="rId3" Type="http://schemas.openxmlformats.org/officeDocument/2006/relationships/tags" Target="../tags/tag3.xml"/><Relationship Id="rId7" Type="http://schemas.openxmlformats.org/officeDocument/2006/relationships/image" Target="../media/image26.emf"/><Relationship Id="rId12" Type="http://schemas.openxmlformats.org/officeDocument/2006/relationships/image" Target="../media/image31.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0.png"/><Relationship Id="rId5" Type="http://schemas.openxmlformats.org/officeDocument/2006/relationships/notesSlide" Target="../notesSlides/notesSlide19.xml"/><Relationship Id="rId10" Type="http://schemas.openxmlformats.org/officeDocument/2006/relationships/image" Target="../media/image29.png"/><Relationship Id="rId4" Type="http://schemas.openxmlformats.org/officeDocument/2006/relationships/slideLayout" Target="../slideLayouts/slideLayout12.xml"/><Relationship Id="rId9" Type="http://schemas.openxmlformats.org/officeDocument/2006/relationships/image" Target="../media/image28.w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18.xml"/><Relationship Id="rId4" Type="http://schemas.openxmlformats.org/officeDocument/2006/relationships/image" Target="../media/image34.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18.xml"/><Relationship Id="rId4" Type="http://schemas.openxmlformats.org/officeDocument/2006/relationships/image" Target="../media/image34.png"/></Relationships>
</file>

<file path=ppt/slides/_rels/slide5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Layout" Target="../diagrams/layout2.xml"/><Relationship Id="rId3" Type="http://schemas.openxmlformats.org/officeDocument/2006/relationships/image" Target="../media/image36.jpeg"/><Relationship Id="rId7" Type="http://schemas.openxmlformats.org/officeDocument/2006/relationships/diagramQuickStyle" Target="../diagrams/quickStyle1.xml"/><Relationship Id="rId12" Type="http://schemas.openxmlformats.org/officeDocument/2006/relationships/diagramData" Target="../diagrams/data2.xml"/><Relationship Id="rId2" Type="http://schemas.openxmlformats.org/officeDocument/2006/relationships/notesSlide" Target="../notesSlides/notesSlide23.xml"/><Relationship Id="rId16" Type="http://schemas.microsoft.com/office/2007/relationships/diagramDrawing" Target="../diagrams/drawing2.xml"/><Relationship Id="rId1" Type="http://schemas.openxmlformats.org/officeDocument/2006/relationships/slideLayout" Target="../slideLayouts/slideLayout33.xml"/><Relationship Id="rId6" Type="http://schemas.openxmlformats.org/officeDocument/2006/relationships/diagramLayout" Target="../diagrams/layout1.xml"/><Relationship Id="rId11" Type="http://schemas.openxmlformats.org/officeDocument/2006/relationships/image" Target="../media/image39.png"/><Relationship Id="rId5" Type="http://schemas.openxmlformats.org/officeDocument/2006/relationships/diagramData" Target="../diagrams/data1.xml"/><Relationship Id="rId15" Type="http://schemas.openxmlformats.org/officeDocument/2006/relationships/diagramColors" Target="../diagrams/colors2.xml"/><Relationship Id="rId10" Type="http://schemas.openxmlformats.org/officeDocument/2006/relationships/image" Target="../media/image38.emf"/><Relationship Id="rId4" Type="http://schemas.openxmlformats.org/officeDocument/2006/relationships/image" Target="../media/image37.jpeg"/><Relationship Id="rId9" Type="http://schemas.microsoft.com/office/2007/relationships/diagramDrawing" Target="../diagrams/drawing1.xml"/><Relationship Id="rId14" Type="http://schemas.openxmlformats.org/officeDocument/2006/relationships/diagramQuickStyle" Target="../diagrams/quickStyle2.xml"/></Relationships>
</file>

<file path=ppt/slides/_rels/slide57.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40.jpeg"/><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24.xml"/><Relationship Id="rId1" Type="http://schemas.openxmlformats.org/officeDocument/2006/relationships/slideLayout" Target="../slideLayouts/slideLayout29.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image" Target="../media/image41.jpeg"/></Relationships>
</file>

<file path=ppt/slides/_rels/slide58.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image" Target="../media/image42.jpeg"/><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25.xml"/><Relationship Id="rId1" Type="http://schemas.openxmlformats.org/officeDocument/2006/relationships/slideLayout" Target="../slideLayouts/slideLayout29.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image" Target="../media/image43.jpeg"/></Relationships>
</file>

<file path=ppt/slides/_rels/slide59.xml.rels><?xml version="1.0" encoding="UTF-8" standalone="yes"?>
<Relationships xmlns="http://schemas.openxmlformats.org/package/2006/relationships"><Relationship Id="rId8" Type="http://schemas.openxmlformats.org/officeDocument/2006/relationships/diagramData" Target="../diagrams/data8.xml"/><Relationship Id="rId13" Type="http://schemas.openxmlformats.org/officeDocument/2006/relationships/image" Target="../media/image44.jpeg"/><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26.xml"/><Relationship Id="rId1" Type="http://schemas.openxmlformats.org/officeDocument/2006/relationships/slideLayout" Target="../slideLayouts/slideLayout29.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 Id="rId14" Type="http://schemas.openxmlformats.org/officeDocument/2006/relationships/image" Target="../media/image45.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image" Target="../media/image46.jpeg"/><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27.xml"/><Relationship Id="rId1" Type="http://schemas.openxmlformats.org/officeDocument/2006/relationships/slideLayout" Target="../slideLayouts/slideLayout2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 Id="rId14" Type="http://schemas.openxmlformats.org/officeDocument/2006/relationships/image" Target="../media/image47.jpeg"/></Relationships>
</file>

<file path=ppt/slides/_rels/slide6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18.xml"/><Relationship Id="rId4" Type="http://schemas.openxmlformats.org/officeDocument/2006/relationships/image" Target="../media/image33.png"/></Relationships>
</file>

<file path=ppt/slides/_rels/slide6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12.xml"/><Relationship Id="rId5" Type="http://schemas.openxmlformats.org/officeDocument/2006/relationships/image" Target="../media/image51.png"/><Relationship Id="rId4" Type="http://schemas.openxmlformats.org/officeDocument/2006/relationships/image" Target="../media/image50.jpeg"/></Relationships>
</file>

<file path=ppt/slides/_rels/slide63.xml.rels><?xml version="1.0" encoding="UTF-8" standalone="yes"?>
<Relationships xmlns="http://schemas.openxmlformats.org/package/2006/relationships"><Relationship Id="rId8" Type="http://schemas.openxmlformats.org/officeDocument/2006/relationships/diagramData" Target="../diagrams/data12.xml"/><Relationship Id="rId13" Type="http://schemas.openxmlformats.org/officeDocument/2006/relationships/image" Target="../media/image48.jpeg"/><Relationship Id="rId3" Type="http://schemas.openxmlformats.org/officeDocument/2006/relationships/diagramData" Target="../diagrams/data11.xml"/><Relationship Id="rId7" Type="http://schemas.microsoft.com/office/2007/relationships/diagramDrawing" Target="../diagrams/drawing11.xml"/><Relationship Id="rId12" Type="http://schemas.microsoft.com/office/2007/relationships/diagramDrawing" Target="../diagrams/drawing12.xml"/><Relationship Id="rId2" Type="http://schemas.openxmlformats.org/officeDocument/2006/relationships/notesSlide" Target="../notesSlides/notesSlide29.xml"/><Relationship Id="rId16" Type="http://schemas.openxmlformats.org/officeDocument/2006/relationships/image" Target="../media/image53.jpeg"/><Relationship Id="rId1" Type="http://schemas.openxmlformats.org/officeDocument/2006/relationships/slideLayout" Target="../slideLayouts/slideLayout29.xml"/><Relationship Id="rId6" Type="http://schemas.openxmlformats.org/officeDocument/2006/relationships/diagramColors" Target="../diagrams/colors11.xml"/><Relationship Id="rId11" Type="http://schemas.openxmlformats.org/officeDocument/2006/relationships/diagramColors" Target="../diagrams/colors12.xml"/><Relationship Id="rId5" Type="http://schemas.openxmlformats.org/officeDocument/2006/relationships/diagramQuickStyle" Target="../diagrams/quickStyle11.xml"/><Relationship Id="rId15" Type="http://schemas.openxmlformats.org/officeDocument/2006/relationships/image" Target="../media/image52.png"/><Relationship Id="rId10" Type="http://schemas.openxmlformats.org/officeDocument/2006/relationships/diagramQuickStyle" Target="../diagrams/quickStyle12.xml"/><Relationship Id="rId4" Type="http://schemas.openxmlformats.org/officeDocument/2006/relationships/diagramLayout" Target="../diagrams/layout11.xml"/><Relationship Id="rId9" Type="http://schemas.openxmlformats.org/officeDocument/2006/relationships/diagramLayout" Target="../diagrams/layout12.xml"/><Relationship Id="rId14" Type="http://schemas.openxmlformats.org/officeDocument/2006/relationships/image" Target="../media/image50.jpeg"/></Relationships>
</file>

<file path=ppt/slides/_rels/slide64.xml.rels><?xml version="1.0" encoding="UTF-8" standalone="yes"?>
<Relationships xmlns="http://schemas.openxmlformats.org/package/2006/relationships"><Relationship Id="rId8" Type="http://schemas.openxmlformats.org/officeDocument/2006/relationships/diagramData" Target="../diagrams/data14.xml"/><Relationship Id="rId13" Type="http://schemas.openxmlformats.org/officeDocument/2006/relationships/image" Target="../media/image54.jpeg"/><Relationship Id="rId3" Type="http://schemas.openxmlformats.org/officeDocument/2006/relationships/diagramData" Target="../diagrams/data13.xml"/><Relationship Id="rId7" Type="http://schemas.microsoft.com/office/2007/relationships/diagramDrawing" Target="../diagrams/drawing13.xml"/><Relationship Id="rId12" Type="http://schemas.microsoft.com/office/2007/relationships/diagramDrawing" Target="../diagrams/drawing14.xml"/><Relationship Id="rId2" Type="http://schemas.openxmlformats.org/officeDocument/2006/relationships/notesSlide" Target="../notesSlides/notesSlide30.xml"/><Relationship Id="rId1" Type="http://schemas.openxmlformats.org/officeDocument/2006/relationships/slideLayout" Target="../slideLayouts/slideLayout29.xml"/><Relationship Id="rId6" Type="http://schemas.openxmlformats.org/officeDocument/2006/relationships/diagramColors" Target="../diagrams/colors13.xml"/><Relationship Id="rId11" Type="http://schemas.openxmlformats.org/officeDocument/2006/relationships/diagramColors" Target="../diagrams/colors14.xml"/><Relationship Id="rId5" Type="http://schemas.openxmlformats.org/officeDocument/2006/relationships/diagramQuickStyle" Target="../diagrams/quickStyle13.xml"/><Relationship Id="rId15" Type="http://schemas.openxmlformats.org/officeDocument/2006/relationships/image" Target="../media/image56.png"/><Relationship Id="rId10" Type="http://schemas.openxmlformats.org/officeDocument/2006/relationships/diagramQuickStyle" Target="../diagrams/quickStyle14.xml"/><Relationship Id="rId4" Type="http://schemas.openxmlformats.org/officeDocument/2006/relationships/diagramLayout" Target="../diagrams/layout13.xml"/><Relationship Id="rId9" Type="http://schemas.openxmlformats.org/officeDocument/2006/relationships/diagramLayout" Target="../diagrams/layout14.xml"/><Relationship Id="rId14" Type="http://schemas.openxmlformats.org/officeDocument/2006/relationships/image" Target="../media/image55.jpeg"/></Relationships>
</file>

<file path=ppt/slides/_rels/slide6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5.xml"/><Relationship Id="rId7" Type="http://schemas.openxmlformats.org/officeDocument/2006/relationships/image" Target="../media/image2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60.png"/><Relationship Id="rId5" Type="http://schemas.openxmlformats.org/officeDocument/2006/relationships/notesSlide" Target="../notesSlides/notesSlide31.xml"/><Relationship Id="rId10" Type="http://schemas.openxmlformats.org/officeDocument/2006/relationships/image" Target="../media/image59.png"/><Relationship Id="rId4" Type="http://schemas.openxmlformats.org/officeDocument/2006/relationships/slideLayout" Target="../slideLayouts/slideLayout12.xml"/><Relationship Id="rId9" Type="http://schemas.openxmlformats.org/officeDocument/2006/relationships/image" Target="../media/image58.png"/></Relationships>
</file>

<file path=ppt/slides/_rels/slide66.xml.rels><?xml version="1.0" encoding="UTF-8" standalone="yes"?>
<Relationships xmlns="http://schemas.openxmlformats.org/package/2006/relationships"><Relationship Id="rId3" Type="http://schemas.openxmlformats.org/officeDocument/2006/relationships/image" Target="../media/image13.jpg"/><Relationship Id="rId7" Type="http://schemas.openxmlformats.org/officeDocument/2006/relationships/image" Target="../media/image62.emf"/><Relationship Id="rId2" Type="http://schemas.openxmlformats.org/officeDocument/2006/relationships/image" Target="../media/image12.jpg"/><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15.png"/><Relationship Id="rId4" Type="http://schemas.openxmlformats.org/officeDocument/2006/relationships/image" Target="../media/image14.png"/></Relationships>
</file>

<file path=ppt/slides/_rels/slide67.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10.xml"/><Relationship Id="rId6" Type="http://schemas.openxmlformats.org/officeDocument/2006/relationships/image" Target="../media/image66.png"/><Relationship Id="rId5" Type="http://schemas.openxmlformats.org/officeDocument/2006/relationships/image" Target="../media/image65.emf"/><Relationship Id="rId4" Type="http://schemas.openxmlformats.org/officeDocument/2006/relationships/image" Target="../media/image64.png"/></Relationships>
</file>

<file path=ppt/slides/_rels/slide68.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tags" Target="../tags/tag7.xml"/><Relationship Id="rId7" Type="http://schemas.openxmlformats.org/officeDocument/2006/relationships/image" Target="../media/image26.emf"/><Relationship Id="rId12" Type="http://schemas.openxmlformats.org/officeDocument/2006/relationships/image" Target="../media/image7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71.wmf"/><Relationship Id="rId5" Type="http://schemas.openxmlformats.org/officeDocument/2006/relationships/notesSlide" Target="../notesSlides/notesSlide33.xml"/><Relationship Id="rId10" Type="http://schemas.openxmlformats.org/officeDocument/2006/relationships/image" Target="../media/image70.png"/><Relationship Id="rId4" Type="http://schemas.openxmlformats.org/officeDocument/2006/relationships/slideLayout" Target="../slideLayouts/slideLayout12.xml"/><Relationship Id="rId9" Type="http://schemas.openxmlformats.org/officeDocument/2006/relationships/image" Target="../media/image69.emf"/><Relationship Id="rId14" Type="http://schemas.openxmlformats.org/officeDocument/2006/relationships/image" Target="../media/image74.png"/></Relationships>
</file>

<file path=ppt/slides/_rels/slide6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35.xml"/><Relationship Id="rId4" Type="http://schemas.openxmlformats.org/officeDocument/2006/relationships/image" Target="../media/image7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2.xml"/><Relationship Id="rId4" Type="http://schemas.openxmlformats.org/officeDocument/2006/relationships/image" Target="../media/image80.png"/></Relationships>
</file>

<file path=ppt/slides/_rels/slide7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81.jpeg"/><Relationship Id="rId7" Type="http://schemas.openxmlformats.org/officeDocument/2006/relationships/image" Target="../media/image85.png"/><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82.jpeg"/></Relationships>
</file>

<file path=ppt/slides/_rels/slide7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85.png"/><Relationship Id="rId4" Type="http://schemas.openxmlformats.org/officeDocument/2006/relationships/image" Target="../media/image87.jpeg"/></Relationships>
</file>

<file path=ppt/slides/_rels/slide76.xml.rels><?xml version="1.0" encoding="UTF-8" standalone="yes"?>
<Relationships xmlns="http://schemas.openxmlformats.org/package/2006/relationships"><Relationship Id="rId8" Type="http://schemas.openxmlformats.org/officeDocument/2006/relationships/hyperlink" Target="https://salesconnect.cisco.com/#/program/PAGE-10295" TargetMode="External"/><Relationship Id="rId3" Type="http://schemas.openxmlformats.org/officeDocument/2006/relationships/image" Target="../media/image89.png"/><Relationship Id="rId7" Type="http://schemas.openxmlformats.org/officeDocument/2006/relationships/image" Target="../media/image92.wmf"/><Relationship Id="rId2" Type="http://schemas.openxmlformats.org/officeDocument/2006/relationships/image" Target="../media/image88.png"/><Relationship Id="rId1" Type="http://schemas.openxmlformats.org/officeDocument/2006/relationships/slideLayout" Target="../slideLayouts/slideLayout35.xml"/><Relationship Id="rId6" Type="http://schemas.openxmlformats.org/officeDocument/2006/relationships/image" Target="../media/image18.png"/><Relationship Id="rId5" Type="http://schemas.openxmlformats.org/officeDocument/2006/relationships/image" Target="../media/image91.png"/><Relationship Id="rId4" Type="http://schemas.openxmlformats.org/officeDocument/2006/relationships/image" Target="../media/image90.png"/><Relationship Id="rId9" Type="http://schemas.openxmlformats.org/officeDocument/2006/relationships/hyperlink" Target="https://salesconnect.cisco.com/#/program/PAGE-10321"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8.tiff"/><Relationship Id="rId2" Type="http://schemas.openxmlformats.org/officeDocument/2006/relationships/image" Target="../media/image93.png"/><Relationship Id="rId1" Type="http://schemas.openxmlformats.org/officeDocument/2006/relationships/slideLayout" Target="../slideLayouts/slideLayout35.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7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5.xml"/><Relationship Id="rId5" Type="http://schemas.openxmlformats.org/officeDocument/2006/relationships/image" Target="../media/image96.png"/><Relationship Id="rId4" Type="http://schemas.openxmlformats.org/officeDocument/2006/relationships/image" Target="../media/image95.png"/></Relationships>
</file>

<file path=ppt/slides/_rels/slide79.xml.rels><?xml version="1.0" encoding="UTF-8" standalone="yes"?>
<Relationships xmlns="http://schemas.openxmlformats.org/package/2006/relationships"><Relationship Id="rId3" Type="http://schemas.openxmlformats.org/officeDocument/2006/relationships/image" Target="../media/image98.tiff"/><Relationship Id="rId2" Type="http://schemas.openxmlformats.org/officeDocument/2006/relationships/image" Target="../media/image97.png"/><Relationship Id="rId1" Type="http://schemas.openxmlformats.org/officeDocument/2006/relationships/slideLayout" Target="../slideLayouts/slideLayout35.xml"/><Relationship Id="rId4" Type="http://schemas.openxmlformats.org/officeDocument/2006/relationships/image" Target="../media/image9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81.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103.png"/><Relationship Id="rId2" Type="http://schemas.openxmlformats.org/officeDocument/2006/relationships/notesSlide" Target="../notesSlides/notesSlide38.xml"/><Relationship Id="rId1" Type="http://schemas.openxmlformats.org/officeDocument/2006/relationships/slideLayout" Target="../slideLayouts/slideLayout18.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8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9.xml"/><Relationship Id="rId1" Type="http://schemas.openxmlformats.org/officeDocument/2006/relationships/slideLayout" Target="../slideLayouts/slideLayout12.xml"/><Relationship Id="rId5" Type="http://schemas.openxmlformats.org/officeDocument/2006/relationships/image" Target="../media/image106.png"/><Relationship Id="rId4" Type="http://schemas.openxmlformats.org/officeDocument/2006/relationships/image" Target="../media/image105.png"/></Relationships>
</file>

<file path=ppt/slides/_rels/slide8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34.xml"/><Relationship Id="rId5" Type="http://schemas.openxmlformats.org/officeDocument/2006/relationships/image" Target="../media/image110.png"/><Relationship Id="rId4" Type="http://schemas.openxmlformats.org/officeDocument/2006/relationships/image" Target="../media/image109.jpeg"/></Relationships>
</file>

<file path=ppt/slides/_rels/slide84.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9.xml"/></Relationships>
</file>

<file path=ppt/slides/_rels/slide8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29.xml"/></Relationships>
</file>

<file path=ppt/slides/_rels/slide8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29.xml"/></Relationships>
</file>

<file path=ppt/slides/_rels/slide87.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34.xml"/></Relationships>
</file>

<file path=ppt/slides/_rels/slide8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9.xml"/></Relationships>
</file>

<file path=ppt/slides/_rels/slide89.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9.xml"/></Relationships>
</file>

<file path=ppt/slides/_rels/slide91.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29.xml"/></Relationships>
</file>

<file path=ppt/slides/_rels/slide92.xml.rels><?xml version="1.0" encoding="UTF-8" standalone="yes"?>
<Relationships xmlns="http://schemas.openxmlformats.org/package/2006/relationships"><Relationship Id="rId2" Type="http://schemas.openxmlformats.org/officeDocument/2006/relationships/image" Target="../media/image118.tiff"/><Relationship Id="rId1" Type="http://schemas.openxmlformats.org/officeDocument/2006/relationships/slideLayout" Target="../slideLayouts/slideLayout29.xml"/></Relationships>
</file>

<file path=ppt/slides/_rels/slide9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29.xml"/></Relationships>
</file>

<file path=ppt/slides/_rels/slide9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21.png"/><Relationship Id="rId1" Type="http://schemas.openxmlformats.org/officeDocument/2006/relationships/slideLayout" Target="../slideLayouts/slideLayout29.xml"/></Relationships>
</file>

<file path=ppt/slides/_rels/slide9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27.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96.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8.png"/><Relationship Id="rId7" Type="http://schemas.openxmlformats.org/officeDocument/2006/relationships/image" Target="../media/image131.png"/><Relationship Id="rId2" Type="http://schemas.openxmlformats.org/officeDocument/2006/relationships/image" Target="../media/image127.png"/><Relationship Id="rId1" Type="http://schemas.openxmlformats.org/officeDocument/2006/relationships/slideLayout" Target="../slideLayouts/slideLayout27.xml"/><Relationship Id="rId6" Type="http://schemas.openxmlformats.org/officeDocument/2006/relationships/image" Target="../media/image130.emf"/><Relationship Id="rId5" Type="http://schemas.microsoft.com/office/2007/relationships/hdphoto" Target="../media/hdphoto3.wdp"/><Relationship Id="rId4" Type="http://schemas.openxmlformats.org/officeDocument/2006/relationships/image" Target="../media/image129.png"/></Relationships>
</file>

<file path=ppt/slides/_rels/slide97.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103.png"/><Relationship Id="rId2" Type="http://schemas.openxmlformats.org/officeDocument/2006/relationships/notesSlide" Target="../notesSlides/notesSlide40.xml"/><Relationship Id="rId1" Type="http://schemas.openxmlformats.org/officeDocument/2006/relationships/slideLayout" Target="../slideLayouts/slideLayout18.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9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a:t>Vodacom South Africa</a:t>
            </a:r>
          </a:p>
        </p:txBody>
      </p:sp>
      <p:sp>
        <p:nvSpPr>
          <p:cNvPr id="3" name="Text Placeholder 2"/>
          <p:cNvSpPr>
            <a:spLocks noGrp="1"/>
          </p:cNvSpPr>
          <p:nvPr>
            <p:ph type="body" sz="quarter" idx="11"/>
          </p:nvPr>
        </p:nvSpPr>
        <p:spPr/>
        <p:txBody>
          <a:bodyPr/>
          <a:lstStyle/>
          <a:p>
            <a:r>
              <a:rPr lang="en-US" dirty="0"/>
              <a:t>Cisco Account Team South Africa</a:t>
            </a:r>
          </a:p>
        </p:txBody>
      </p:sp>
      <p:sp>
        <p:nvSpPr>
          <p:cNvPr id="4" name="Text Placeholder 3"/>
          <p:cNvSpPr>
            <a:spLocks noGrp="1"/>
          </p:cNvSpPr>
          <p:nvPr>
            <p:ph type="body" sz="quarter" idx="12"/>
          </p:nvPr>
        </p:nvSpPr>
        <p:spPr>
          <a:xfrm>
            <a:off x="469496" y="4348762"/>
            <a:ext cx="7037805" cy="288131"/>
          </a:xfrm>
        </p:spPr>
        <p:txBody>
          <a:bodyPr/>
          <a:lstStyle/>
          <a:p>
            <a:r>
              <a:rPr lang="en-US" dirty="0"/>
              <a:t>September 2019</a:t>
            </a:r>
          </a:p>
        </p:txBody>
      </p:sp>
      <p:sp>
        <p:nvSpPr>
          <p:cNvPr id="5" name="Text Placeholder 4"/>
          <p:cNvSpPr>
            <a:spLocks noGrp="1"/>
          </p:cNvSpPr>
          <p:nvPr>
            <p:ph type="body" sz="quarter" idx="13"/>
          </p:nvPr>
        </p:nvSpPr>
        <p:spPr/>
        <p:txBody>
          <a:bodyPr/>
          <a:lstStyle/>
          <a:p>
            <a:r>
              <a:rPr lang="en-US" dirty="0"/>
              <a:t>Greenfields Network Design</a:t>
            </a:r>
          </a:p>
        </p:txBody>
      </p:sp>
      <p:sp>
        <p:nvSpPr>
          <p:cNvPr id="6" name="Title 5"/>
          <p:cNvSpPr>
            <a:spLocks noGrp="1"/>
          </p:cNvSpPr>
          <p:nvPr>
            <p:ph type="ctrTitle"/>
          </p:nvPr>
        </p:nvSpPr>
        <p:spPr/>
        <p:txBody>
          <a:bodyPr/>
          <a:lstStyle/>
          <a:p>
            <a:r>
              <a:rPr lang="en-US" dirty="0"/>
              <a:t>Vodacom Architecture for Ethiopia</a:t>
            </a:r>
          </a:p>
        </p:txBody>
      </p:sp>
    </p:spTree>
    <p:extLst>
      <p:ext uri="{BB962C8B-B14F-4D97-AF65-F5344CB8AC3E}">
        <p14:creationId xmlns:p14="http://schemas.microsoft.com/office/powerpoint/2010/main" val="194163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87CF19-CECB-4F04-9ECC-5D9B9F483809}"/>
              </a:ext>
            </a:extLst>
          </p:cNvPr>
          <p:cNvSpPr>
            <a:spLocks noGrp="1"/>
          </p:cNvSpPr>
          <p:nvPr>
            <p:ph type="ctrTitle"/>
          </p:nvPr>
        </p:nvSpPr>
        <p:spPr/>
        <p:txBody>
          <a:bodyPr/>
          <a:lstStyle/>
          <a:p>
            <a:r>
              <a:rPr lang="en-ZA" dirty="0"/>
              <a:t>Business Value of Cisco</a:t>
            </a:r>
          </a:p>
        </p:txBody>
      </p:sp>
    </p:spTree>
    <p:extLst>
      <p:ext uri="{BB962C8B-B14F-4D97-AF65-F5344CB8AC3E}">
        <p14:creationId xmlns:p14="http://schemas.microsoft.com/office/powerpoint/2010/main" val="28845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8273" y="11723"/>
            <a:ext cx="6891456" cy="580744"/>
          </a:xfrm>
        </p:spPr>
        <p:txBody>
          <a:bodyPr vert="horz" wrap="square" lIns="73287" tIns="40699" rIns="73287" bIns="40699" numCol="1" rtlCol="0" anchor="b" anchorCtr="0" compatLnSpc="1">
            <a:prstTxWarp prst="textNoShape">
              <a:avLst/>
            </a:prstTxWarp>
            <a:noAutofit/>
          </a:bodyPr>
          <a:lstStyle/>
          <a:p>
            <a:pPr defTabSz="814411"/>
            <a:r>
              <a:rPr lang="en-US" dirty="0">
                <a:latin typeface="+mn-lt"/>
                <a:cs typeface="Arial" panose="020B0604020202020204" pitchFamily="34" charset="0"/>
              </a:rPr>
              <a:t>Cisco ASR 9922 Summary</a:t>
            </a:r>
          </a:p>
        </p:txBody>
      </p:sp>
      <p:graphicFrame>
        <p:nvGraphicFramePr>
          <p:cNvPr id="4" name="Table 3"/>
          <p:cNvGraphicFramePr>
            <a:graphicFrameLocks noGrp="1"/>
          </p:cNvGraphicFramePr>
          <p:nvPr/>
        </p:nvGraphicFramePr>
        <p:xfrm>
          <a:off x="458274" y="580566"/>
          <a:ext cx="6057547" cy="4443291"/>
        </p:xfrm>
        <a:graphic>
          <a:graphicData uri="http://schemas.openxmlformats.org/drawingml/2006/table">
            <a:tbl>
              <a:tblPr firstRow="1" bandRow="1">
                <a:tableStyleId>{5C22544A-7EE6-4342-B048-85BDC9FD1C3A}</a:tableStyleId>
              </a:tblPr>
              <a:tblGrid>
                <a:gridCol w="1297044">
                  <a:extLst>
                    <a:ext uri="{9D8B030D-6E8A-4147-A177-3AD203B41FA5}">
                      <a16:colId xmlns:a16="http://schemas.microsoft.com/office/drawing/2014/main" val="20000"/>
                    </a:ext>
                  </a:extLst>
                </a:gridCol>
                <a:gridCol w="4760503">
                  <a:extLst>
                    <a:ext uri="{9D8B030D-6E8A-4147-A177-3AD203B41FA5}">
                      <a16:colId xmlns:a16="http://schemas.microsoft.com/office/drawing/2014/main" val="20001"/>
                    </a:ext>
                  </a:extLst>
                </a:gridCol>
              </a:tblGrid>
              <a:tr h="251460">
                <a:tc>
                  <a:txBody>
                    <a:bodyPr/>
                    <a:lstStyle/>
                    <a:p>
                      <a:pPr algn="ctr"/>
                      <a:r>
                        <a:rPr lang="en-US" sz="1200" dirty="0"/>
                        <a:t>Features</a:t>
                      </a:r>
                      <a:endParaRPr lang="en-US" sz="1200" dirty="0">
                        <a:solidFill>
                          <a:schemeClr val="tx1"/>
                        </a:solidFill>
                        <a:latin typeface="+mn-lt"/>
                      </a:endParaRPr>
                    </a:p>
                  </a:txBody>
                  <a:tcPr marL="91416" marR="91416" marT="34290" marB="34290" anchor="ctr"/>
                </a:tc>
                <a:tc>
                  <a:txBody>
                    <a:bodyPr/>
                    <a:lstStyle/>
                    <a:p>
                      <a:r>
                        <a:rPr lang="en-US" sz="1200" dirty="0"/>
                        <a:t>Description</a:t>
                      </a:r>
                      <a:endParaRPr lang="en-US" sz="1200" dirty="0">
                        <a:solidFill>
                          <a:schemeClr val="tx1"/>
                        </a:solidFill>
                        <a:latin typeface="+mn-lt"/>
                      </a:endParaRPr>
                    </a:p>
                  </a:txBody>
                  <a:tcPr marL="91416" marR="91416" marT="34290" marB="34290" anchor="ctr"/>
                </a:tc>
                <a:extLst>
                  <a:ext uri="{0D108BD9-81ED-4DB2-BD59-A6C34878D82A}">
                    <a16:rowId xmlns:a16="http://schemas.microsoft.com/office/drawing/2014/main" val="10000"/>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Total Capacity</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gt;160T</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1"/>
                  </a:ext>
                </a:extLst>
              </a:tr>
              <a:tr h="30782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Capacity per Slot</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gt;4T</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2"/>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Slots</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22 slots:</a:t>
                      </a:r>
                      <a:r>
                        <a:rPr lang="en-US" sz="1100" baseline="0" dirty="0">
                          <a:solidFill>
                            <a:schemeClr val="tx2"/>
                          </a:solidFill>
                        </a:rPr>
                        <a:t> </a:t>
                      </a:r>
                      <a:r>
                        <a:rPr lang="en-US" sz="1100" dirty="0">
                          <a:solidFill>
                            <a:schemeClr val="tx2"/>
                          </a:solidFill>
                        </a:rPr>
                        <a:t>20 Line</a:t>
                      </a:r>
                      <a:r>
                        <a:rPr lang="en-US" sz="1100" baseline="0" dirty="0">
                          <a:solidFill>
                            <a:schemeClr val="tx2"/>
                          </a:solidFill>
                        </a:rPr>
                        <a:t> cards, 2 RP, plus 7 SFC</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3"/>
                  </a:ext>
                </a:extLst>
              </a:tr>
              <a:tr h="240030">
                <a:tc>
                  <a:txBody>
                    <a:bodyPr/>
                    <a:lstStyle/>
                    <a:p>
                      <a:pPr algn="ctr"/>
                      <a:r>
                        <a:rPr lang="en-US" sz="1100" dirty="0">
                          <a:solidFill>
                            <a:schemeClr val="tx2"/>
                          </a:solidFill>
                        </a:rPr>
                        <a:t>Rack Size</a:t>
                      </a:r>
                      <a:endParaRPr lang="en-US" sz="1100" b="1" dirty="0">
                        <a:solidFill>
                          <a:schemeClr val="tx2"/>
                        </a:solidFill>
                        <a:latin typeface="+mn-lt"/>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44 RU (Full Rack),</a:t>
                      </a:r>
                      <a:r>
                        <a:rPr lang="en-US" sz="1100" baseline="0" dirty="0">
                          <a:solidFill>
                            <a:schemeClr val="tx2"/>
                          </a:solidFill>
                        </a:rPr>
                        <a:t> </a:t>
                      </a:r>
                      <a:r>
                        <a:rPr lang="en-US" sz="1100" dirty="0">
                          <a:solidFill>
                            <a:schemeClr val="tx2"/>
                          </a:solidFill>
                        </a:rPr>
                        <a:t>1956 x 445 x 799 mm (H x W x D) </a:t>
                      </a:r>
                    </a:p>
                  </a:txBody>
                  <a:tcPr marL="91416" marR="91416" marT="34290" marB="34290" anchor="ctr"/>
                </a:tc>
                <a:extLst>
                  <a:ext uri="{0D108BD9-81ED-4DB2-BD59-A6C34878D82A}">
                    <a16:rowId xmlns:a16="http://schemas.microsoft.com/office/drawing/2014/main" val="10004"/>
                  </a:ext>
                </a:extLst>
              </a:tr>
              <a:tr h="582930">
                <a:tc>
                  <a:txBody>
                    <a:bodyPr/>
                    <a:lstStyle/>
                    <a:p>
                      <a:pPr algn="ctr"/>
                      <a:r>
                        <a:rPr lang="en-US" sz="1100" baseline="0" dirty="0">
                          <a:solidFill>
                            <a:schemeClr val="tx2"/>
                          </a:solidFill>
                        </a:rPr>
                        <a:t>Power</a:t>
                      </a:r>
                      <a:endParaRPr lang="en-US" sz="1100" b="1" baseline="0" dirty="0">
                        <a:solidFill>
                          <a:schemeClr val="tx2"/>
                        </a:solidFill>
                        <a:latin typeface="+mn-lt"/>
                      </a:endParaRPr>
                    </a:p>
                  </a:txBody>
                  <a:tcPr marL="91416" marR="91416"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u="none" dirty="0">
                          <a:solidFill>
                            <a:schemeClr val="tx2"/>
                          </a:solidFill>
                        </a:rPr>
                        <a:t>4 Power Trays</a:t>
                      </a:r>
                    </a:p>
                    <a:p>
                      <a:pPr marL="342886" marR="0" lvl="1" indent="0" algn="l" defTabSz="914400" rtl="0" eaLnBrk="1" fontAlgn="auto" latinLnBrk="0" hangingPunct="1">
                        <a:lnSpc>
                          <a:spcPct val="100000"/>
                        </a:lnSpc>
                        <a:spcBef>
                          <a:spcPts val="0"/>
                        </a:spcBef>
                        <a:spcAft>
                          <a:spcPts val="0"/>
                        </a:spcAft>
                        <a:buClrTx/>
                        <a:buSzTx/>
                        <a:buFontTx/>
                        <a:buNone/>
                        <a:tabLst/>
                        <a:defRPr/>
                      </a:pPr>
                      <a:r>
                        <a:rPr lang="en-US" sz="1100" u="none" dirty="0">
                          <a:solidFill>
                            <a:schemeClr val="tx2"/>
                          </a:solidFill>
                        </a:rPr>
                        <a:t>Version</a:t>
                      </a:r>
                      <a:r>
                        <a:rPr lang="en-US" sz="1100" u="none" baseline="0" dirty="0">
                          <a:solidFill>
                            <a:schemeClr val="tx2"/>
                          </a:solidFill>
                        </a:rPr>
                        <a:t> 2</a:t>
                      </a:r>
                      <a:r>
                        <a:rPr lang="en-US" sz="1100" baseline="0" dirty="0">
                          <a:solidFill>
                            <a:schemeClr val="tx2"/>
                          </a:solidFill>
                        </a:rPr>
                        <a:t>:  </a:t>
                      </a:r>
                      <a:r>
                        <a:rPr lang="en-US" sz="900" dirty="0">
                          <a:solidFill>
                            <a:schemeClr val="tx2"/>
                          </a:solidFill>
                        </a:rPr>
                        <a:t>2.1 KW DC / 3.0 KW AC supplies (16/system)</a:t>
                      </a:r>
                    </a:p>
                    <a:p>
                      <a:pPr marL="342886" marR="0" lvl="1" indent="0" algn="l" defTabSz="914400" rtl="0" eaLnBrk="1" fontAlgn="auto" latinLnBrk="0" hangingPunct="1">
                        <a:lnSpc>
                          <a:spcPct val="100000"/>
                        </a:lnSpc>
                        <a:spcBef>
                          <a:spcPts val="0"/>
                        </a:spcBef>
                        <a:spcAft>
                          <a:spcPts val="0"/>
                        </a:spcAft>
                        <a:buClrTx/>
                        <a:buSzTx/>
                        <a:buFontTx/>
                        <a:buNone/>
                        <a:tabLst/>
                        <a:defRPr/>
                      </a:pPr>
                      <a:r>
                        <a:rPr lang="en-US" sz="1100" u="none" dirty="0">
                          <a:solidFill>
                            <a:schemeClr val="tx2"/>
                          </a:solidFill>
                        </a:rPr>
                        <a:t>Version 3</a:t>
                      </a:r>
                      <a:r>
                        <a:rPr lang="en-US" sz="1100" dirty="0">
                          <a:solidFill>
                            <a:schemeClr val="tx2"/>
                          </a:solidFill>
                        </a:rPr>
                        <a:t>:  </a:t>
                      </a:r>
                      <a:r>
                        <a:rPr lang="en-US" sz="900" dirty="0">
                          <a:solidFill>
                            <a:schemeClr val="tx2"/>
                          </a:solidFill>
                        </a:rPr>
                        <a:t>4.4 KW DC / 6.0 KW AC supplies (16</a:t>
                      </a:r>
                      <a:r>
                        <a:rPr lang="en-US" sz="900" baseline="0" dirty="0">
                          <a:solidFill>
                            <a:schemeClr val="tx2"/>
                          </a:solidFill>
                        </a:rPr>
                        <a:t> DC/system, 12 AC/system)</a:t>
                      </a:r>
                      <a:endParaRPr lang="en-US" sz="9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5"/>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Fan</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4 Fan Trays,</a:t>
                      </a:r>
                      <a:r>
                        <a:rPr lang="en-US" sz="1100" baseline="0" dirty="0">
                          <a:solidFill>
                            <a:schemeClr val="tx2"/>
                          </a:solidFill>
                        </a:rPr>
                        <a:t> </a:t>
                      </a:r>
                      <a:r>
                        <a:rPr lang="en-US" sz="1100" dirty="0">
                          <a:solidFill>
                            <a:schemeClr val="tx2"/>
                          </a:solidFill>
                        </a:rPr>
                        <a:t>Front-to-back airflow</a:t>
                      </a:r>
                      <a:endParaRPr lang="en-US" sz="1100" baseline="0" dirty="0">
                        <a:solidFill>
                          <a:schemeClr val="tx2"/>
                        </a:solidFill>
                        <a:latin typeface="+mn-lt"/>
                      </a:endParaRPr>
                    </a:p>
                  </a:txBody>
                  <a:tcPr marL="91416" marR="91416" marT="34290" marB="34290" anchor="ctr"/>
                </a:tc>
                <a:extLst>
                  <a:ext uri="{0D108BD9-81ED-4DB2-BD59-A6C34878D82A}">
                    <a16:rowId xmlns:a16="http://schemas.microsoft.com/office/drawing/2014/main" val="10006"/>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RP</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RP1, RP2, RP3, 1+1 RP redundancy</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7"/>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Fabric (SFC)</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6+1 fabric redundancy</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8"/>
                  </a:ext>
                </a:extLst>
              </a:tr>
              <a:tr h="14401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Line cards</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High Density Fixed</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  100G: 4X100GE, 8X100GE,12X100GE, 16X100G, 32X100G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  10G: 24X10GE-1G, 48X10GE-1G</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Modular</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MOD200, MOD400</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  MPAs: 20xGE, 4x10G, 8x10G, 2x40G, 1x100G, 20x10G, 2x100G</a:t>
                      </a:r>
                      <a:br>
                        <a:rPr lang="en-US" sz="1100" baseline="0" dirty="0">
                          <a:solidFill>
                            <a:schemeClr val="tx2"/>
                          </a:solidFill>
                        </a:rPr>
                      </a:br>
                      <a:r>
                        <a:rPr lang="en-US" sz="1100" baseline="0" dirty="0">
                          <a:solidFill>
                            <a:schemeClr val="tx2"/>
                          </a:solidFill>
                        </a:rPr>
                        <a:t>Low Density Fixed</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  40x1GE, 4x10G+16x1GE</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Service Card:  Virtualized Service Module (VSM)</a:t>
                      </a:r>
                      <a:endParaRPr lang="en-US" sz="1100" baseline="0" dirty="0">
                        <a:solidFill>
                          <a:schemeClr val="tx2"/>
                        </a:solidFill>
                        <a:latin typeface="+mn-lt"/>
                      </a:endParaRPr>
                    </a:p>
                  </a:txBody>
                  <a:tcPr marL="91416" marR="91416" marT="34290" marB="34290" anchor="ctr"/>
                </a:tc>
                <a:extLst>
                  <a:ext uri="{0D108BD9-81ED-4DB2-BD59-A6C34878D82A}">
                    <a16:rowId xmlns:a16="http://schemas.microsoft.com/office/drawing/2014/main" val="10009"/>
                  </a:ext>
                </a:extLst>
              </a:tr>
              <a:tr h="42071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Bandwidth</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2"/>
                          </a:solidFill>
                        </a:rPr>
                        <a:t>SFC2:       1.6 </a:t>
                      </a:r>
                      <a:r>
                        <a:rPr lang="en-US" sz="1000" baseline="0" dirty="0" err="1">
                          <a:solidFill>
                            <a:schemeClr val="tx2"/>
                          </a:solidFill>
                        </a:rPr>
                        <a:t>Tbps</a:t>
                      </a:r>
                      <a:r>
                        <a:rPr lang="en-US" sz="1000" baseline="0" dirty="0">
                          <a:solidFill>
                            <a:schemeClr val="tx2"/>
                          </a:solidFill>
                        </a:rPr>
                        <a:t>/slo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2"/>
                          </a:solidFill>
                        </a:rPr>
                        <a:t>SFC3:        4.2Tbps per slot</a:t>
                      </a:r>
                      <a:endParaRPr lang="en-US" sz="10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10"/>
                  </a:ext>
                </a:extLst>
              </a:tr>
            </a:tbl>
          </a:graphicData>
        </a:graphic>
      </p:graphicFrame>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68962" y="280550"/>
            <a:ext cx="1652854" cy="4560855"/>
          </a:xfrm>
          <a:prstGeom prst="rect">
            <a:avLst/>
          </a:prstGeom>
        </p:spPr>
      </p:pic>
    </p:spTree>
    <p:extLst>
      <p:ext uri="{BB962C8B-B14F-4D97-AF65-F5344CB8AC3E}">
        <p14:creationId xmlns:p14="http://schemas.microsoft.com/office/powerpoint/2010/main" val="774579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a:effectLst/>
        </p:spPr>
        <p:txBody>
          <a:bodyPr/>
          <a:lstStyle/>
          <a:p>
            <a:pPr defTabSz="814411"/>
            <a:r>
              <a:rPr lang="en-US" dirty="0">
                <a:latin typeface="+mn-lt"/>
                <a:cs typeface="Arial" panose="020B0604020202020204" pitchFamily="34" charset="0"/>
              </a:rPr>
              <a:t>Cisco ASR 9010 Overview</a:t>
            </a:r>
          </a:p>
        </p:txBody>
      </p:sp>
      <p:graphicFrame>
        <p:nvGraphicFramePr>
          <p:cNvPr id="16" name="Table 15"/>
          <p:cNvGraphicFramePr>
            <a:graphicFrameLocks noGrp="1"/>
          </p:cNvGraphicFramePr>
          <p:nvPr/>
        </p:nvGraphicFramePr>
        <p:xfrm>
          <a:off x="549276" y="1085343"/>
          <a:ext cx="5165725" cy="3439248"/>
        </p:xfrm>
        <a:graphic>
          <a:graphicData uri="http://schemas.openxmlformats.org/drawingml/2006/table">
            <a:tbl>
              <a:tblPr firstRow="1" bandRow="1">
                <a:tableStyleId>{5C22544A-7EE6-4342-B048-85BDC9FD1C3A}</a:tableStyleId>
              </a:tblPr>
              <a:tblGrid>
                <a:gridCol w="1348777">
                  <a:extLst>
                    <a:ext uri="{9D8B030D-6E8A-4147-A177-3AD203B41FA5}">
                      <a16:colId xmlns:a16="http://schemas.microsoft.com/office/drawing/2014/main" val="20000"/>
                    </a:ext>
                  </a:extLst>
                </a:gridCol>
                <a:gridCol w="3816948">
                  <a:extLst>
                    <a:ext uri="{9D8B030D-6E8A-4147-A177-3AD203B41FA5}">
                      <a16:colId xmlns:a16="http://schemas.microsoft.com/office/drawing/2014/main" val="20001"/>
                    </a:ext>
                  </a:extLst>
                </a:gridCol>
              </a:tblGrid>
              <a:tr h="254917">
                <a:tc>
                  <a:txBody>
                    <a:bodyPr/>
                    <a:lstStyle/>
                    <a:p>
                      <a:pPr algn="ctr"/>
                      <a:r>
                        <a:rPr lang="en-US" sz="1000" dirty="0"/>
                        <a:t>Feature</a:t>
                      </a:r>
                      <a:endParaRPr lang="en-US" sz="1000" dirty="0">
                        <a:solidFill>
                          <a:schemeClr val="bg2"/>
                        </a:solidFill>
                        <a:latin typeface="+mn-lt"/>
                      </a:endParaRPr>
                    </a:p>
                  </a:txBody>
                  <a:tcPr marL="91416" marR="91416" marT="18288" marB="18288" anchor="ctr"/>
                </a:tc>
                <a:tc>
                  <a:txBody>
                    <a:bodyPr/>
                    <a:lstStyle/>
                    <a:p>
                      <a:r>
                        <a:rPr lang="en-US" sz="1000" dirty="0"/>
                        <a:t>Description</a:t>
                      </a:r>
                      <a:endParaRPr lang="en-US" sz="1000" dirty="0">
                        <a:solidFill>
                          <a:schemeClr val="bg2"/>
                        </a:solidFill>
                        <a:latin typeface="+mn-lt"/>
                      </a:endParaRPr>
                    </a:p>
                  </a:txBody>
                  <a:tcPr marL="91416" marR="91416" marT="18288" marB="18288" anchor="ctr"/>
                </a:tc>
                <a:extLst>
                  <a:ext uri="{0D108BD9-81ED-4DB2-BD59-A6C34878D82A}">
                    <a16:rowId xmlns:a16="http://schemas.microsoft.com/office/drawing/2014/main" val="10000"/>
                  </a:ext>
                </a:extLst>
              </a:tr>
              <a:tr h="2369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Total Capacity</a:t>
                      </a:r>
                      <a:endParaRPr lang="en-US" sz="800" dirty="0">
                        <a:solidFill>
                          <a:schemeClr val="tx2"/>
                        </a:solidFill>
                        <a:latin typeface="+mn-lt"/>
                        <a:cs typeface="Arial" pitchFamily="34" charset="0"/>
                      </a:endParaRPr>
                    </a:p>
                  </a:txBody>
                  <a:tcPr marL="121888" marR="121888" anchor="ctr"/>
                </a:tc>
                <a:tc>
                  <a:txBody>
                    <a:bodyPr/>
                    <a:lstStyle/>
                    <a:p>
                      <a:pPr marL="0" marR="0" indent="0" algn="l" rtl="0" eaLnBrk="1" fontAlgn="auto" latinLnBrk="0" hangingPunct="1">
                        <a:spcBef>
                          <a:spcPts val="0"/>
                        </a:spcBef>
                        <a:spcAft>
                          <a:spcPts val="0"/>
                        </a:spcAft>
                      </a:pPr>
                      <a:r>
                        <a:rPr lang="en-US" sz="800" u="none" strike="noStrike" kern="1200" dirty="0">
                          <a:solidFill>
                            <a:schemeClr val="tx2"/>
                          </a:solidFill>
                          <a:effectLst/>
                        </a:rPr>
                        <a:t>14 </a:t>
                      </a:r>
                      <a:r>
                        <a:rPr lang="en-US" sz="800" u="none" strike="noStrike" kern="1200" dirty="0" err="1">
                          <a:solidFill>
                            <a:schemeClr val="tx2"/>
                          </a:solidFill>
                          <a:effectLst/>
                        </a:rPr>
                        <a:t>Tbps</a:t>
                      </a:r>
                      <a:endParaRPr lang="en-US" sz="800" b="0" i="0" u="none" strike="noStrike" dirty="0">
                        <a:solidFill>
                          <a:schemeClr val="tx2"/>
                        </a:solidFill>
                        <a:effectLst/>
                        <a:latin typeface="+mn-lt"/>
                      </a:endParaRPr>
                    </a:p>
                  </a:txBody>
                  <a:tcPr marL="121920" marR="121920" anchor="ctr"/>
                </a:tc>
                <a:extLst>
                  <a:ext uri="{0D108BD9-81ED-4DB2-BD59-A6C34878D82A}">
                    <a16:rowId xmlns:a16="http://schemas.microsoft.com/office/drawing/2014/main" val="10001"/>
                  </a:ext>
                </a:extLst>
              </a:tr>
              <a:tr h="2369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Capacity per Slot</a:t>
                      </a:r>
                      <a:endParaRPr lang="en-US" sz="800" dirty="0">
                        <a:solidFill>
                          <a:schemeClr val="tx2"/>
                        </a:solidFill>
                        <a:latin typeface="+mn-lt"/>
                        <a:cs typeface="Arial" pitchFamily="34" charset="0"/>
                      </a:endParaRPr>
                    </a:p>
                  </a:txBody>
                  <a:tcPr marL="121888" marR="121888" anchor="ctr"/>
                </a:tc>
                <a:tc>
                  <a:txBody>
                    <a:bodyPr/>
                    <a:lstStyle/>
                    <a:p>
                      <a:pPr marL="0" marR="0" indent="0" algn="l" rtl="0" eaLnBrk="1" fontAlgn="auto" latinLnBrk="0" hangingPunct="1">
                        <a:spcBef>
                          <a:spcPts val="0"/>
                        </a:spcBef>
                        <a:spcAft>
                          <a:spcPts val="0"/>
                        </a:spcAft>
                      </a:pPr>
                      <a:r>
                        <a:rPr lang="en-US" sz="800" u="none" strike="noStrike" kern="1200" dirty="0">
                          <a:solidFill>
                            <a:schemeClr val="tx2"/>
                          </a:solidFill>
                          <a:effectLst/>
                        </a:rPr>
                        <a:t>1.8T/Slot (with</a:t>
                      </a:r>
                      <a:r>
                        <a:rPr lang="en-US" sz="800" u="none" strike="noStrike" kern="1200" baseline="0" dirty="0">
                          <a:solidFill>
                            <a:schemeClr val="tx2"/>
                          </a:solidFill>
                          <a:effectLst/>
                        </a:rPr>
                        <a:t> dual RSPs)</a:t>
                      </a:r>
                      <a:endParaRPr lang="en-US" sz="800" b="0" i="0" u="none" strike="noStrike" dirty="0">
                        <a:solidFill>
                          <a:schemeClr val="tx2"/>
                        </a:solidFill>
                        <a:effectLst/>
                        <a:latin typeface="+mn-lt"/>
                      </a:endParaRPr>
                    </a:p>
                  </a:txBody>
                  <a:tcPr marL="121920" marR="121920" anchor="ctr"/>
                </a:tc>
                <a:extLst>
                  <a:ext uri="{0D108BD9-81ED-4DB2-BD59-A6C34878D82A}">
                    <a16:rowId xmlns:a16="http://schemas.microsoft.com/office/drawing/2014/main" val="10002"/>
                  </a:ext>
                </a:extLst>
              </a:tr>
              <a:tr h="2369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Slots</a:t>
                      </a:r>
                      <a:endParaRPr lang="en-US" sz="800" dirty="0">
                        <a:solidFill>
                          <a:schemeClr val="tx2"/>
                        </a:solidFill>
                        <a:latin typeface="+mn-lt"/>
                        <a:cs typeface="Arial" pitchFamily="34" charset="0"/>
                      </a:endParaRPr>
                    </a:p>
                  </a:txBody>
                  <a:tcPr marL="121888" marR="121888" anchor="ctr"/>
                </a:tc>
                <a:tc>
                  <a:txBody>
                    <a:bodyPr/>
                    <a:lstStyle/>
                    <a:p>
                      <a:pPr marL="0" marR="0" indent="0" algn="l" rtl="0" eaLnBrk="1" fontAlgn="auto" latinLnBrk="0" hangingPunct="1">
                        <a:spcBef>
                          <a:spcPts val="0"/>
                        </a:spcBef>
                        <a:spcAft>
                          <a:spcPts val="0"/>
                        </a:spcAft>
                      </a:pPr>
                      <a:r>
                        <a:rPr lang="en-US" sz="800" u="none" strike="noStrike" kern="1200" dirty="0">
                          <a:solidFill>
                            <a:schemeClr val="tx2"/>
                          </a:solidFill>
                          <a:effectLst/>
                        </a:rPr>
                        <a:t>10 slots: 8 Line</a:t>
                      </a:r>
                      <a:r>
                        <a:rPr lang="en-US" sz="800" u="none" strike="noStrike" kern="1200" baseline="0" dirty="0">
                          <a:solidFill>
                            <a:schemeClr val="tx2"/>
                          </a:solidFill>
                          <a:effectLst/>
                        </a:rPr>
                        <a:t> cards, 2 RSPs</a:t>
                      </a:r>
                      <a:endParaRPr lang="en-US" sz="800" b="0" i="0" u="none" strike="noStrike" dirty="0">
                        <a:solidFill>
                          <a:schemeClr val="tx2"/>
                        </a:solidFill>
                        <a:effectLst/>
                        <a:latin typeface="+mn-lt"/>
                      </a:endParaRPr>
                    </a:p>
                  </a:txBody>
                  <a:tcPr marL="121920" marR="121920" anchor="ctr"/>
                </a:tc>
                <a:extLst>
                  <a:ext uri="{0D108BD9-81ED-4DB2-BD59-A6C34878D82A}">
                    <a16:rowId xmlns:a16="http://schemas.microsoft.com/office/drawing/2014/main" val="10003"/>
                  </a:ext>
                </a:extLst>
              </a:tr>
              <a:tr h="236942">
                <a:tc>
                  <a:txBody>
                    <a:bodyPr/>
                    <a:lstStyle/>
                    <a:p>
                      <a:pPr algn="ctr"/>
                      <a:r>
                        <a:rPr lang="en-US" sz="800" dirty="0">
                          <a:solidFill>
                            <a:schemeClr val="tx2"/>
                          </a:solidFill>
                        </a:rPr>
                        <a:t>Rack Size</a:t>
                      </a:r>
                      <a:endParaRPr lang="en-US" sz="800" dirty="0">
                        <a:solidFill>
                          <a:schemeClr val="tx2"/>
                        </a:solidFill>
                        <a:latin typeface="+mn-lt"/>
                      </a:endParaRPr>
                    </a:p>
                  </a:txBody>
                  <a:tcPr marL="121888" marR="121888" anchor="ctr"/>
                </a:tc>
                <a:tc>
                  <a:txBody>
                    <a:bodyPr/>
                    <a:lstStyle/>
                    <a:p>
                      <a:pPr marL="0" marR="0" indent="0" algn="l" rtl="0" eaLnBrk="1" fontAlgn="auto" latinLnBrk="0" hangingPunct="1">
                        <a:spcBef>
                          <a:spcPts val="0"/>
                        </a:spcBef>
                        <a:spcAft>
                          <a:spcPts val="0"/>
                        </a:spcAft>
                      </a:pPr>
                      <a:r>
                        <a:rPr lang="en-US" sz="800" u="none" strike="noStrike" kern="1200" dirty="0">
                          <a:solidFill>
                            <a:schemeClr val="tx2"/>
                          </a:solidFill>
                          <a:effectLst/>
                        </a:rPr>
                        <a:t>21 RU</a:t>
                      </a:r>
                      <a:endParaRPr lang="en-US" sz="800" b="0" i="0" u="none" strike="noStrike" dirty="0">
                        <a:solidFill>
                          <a:schemeClr val="tx2"/>
                        </a:solidFill>
                        <a:effectLst/>
                        <a:latin typeface="+mn-lt"/>
                      </a:endParaRPr>
                    </a:p>
                  </a:txBody>
                  <a:tcPr marL="121920" marR="121920" anchor="ctr"/>
                </a:tc>
                <a:extLst>
                  <a:ext uri="{0D108BD9-81ED-4DB2-BD59-A6C34878D82A}">
                    <a16:rowId xmlns:a16="http://schemas.microsoft.com/office/drawing/2014/main" val="10004"/>
                  </a:ext>
                </a:extLst>
              </a:tr>
              <a:tr h="375839">
                <a:tc>
                  <a:txBody>
                    <a:bodyPr/>
                    <a:lstStyle/>
                    <a:p>
                      <a:pPr algn="ctr"/>
                      <a:r>
                        <a:rPr lang="en-US" sz="800" baseline="0" dirty="0">
                          <a:solidFill>
                            <a:schemeClr val="tx2"/>
                          </a:solidFill>
                        </a:rPr>
                        <a:t>Power</a:t>
                      </a:r>
                      <a:endParaRPr lang="en-US" sz="800" baseline="0" dirty="0">
                        <a:solidFill>
                          <a:schemeClr val="tx2"/>
                        </a:solidFill>
                        <a:latin typeface="+mn-lt"/>
                      </a:endParaRPr>
                    </a:p>
                  </a:txBody>
                  <a:tcPr marL="121888" marR="121888" anchor="ctr"/>
                </a:tc>
                <a:tc>
                  <a:txBody>
                    <a:bodyPr/>
                    <a:lstStyle/>
                    <a:p>
                      <a:pPr marL="0" marR="0" indent="0" algn="l" rtl="0" eaLnBrk="1" fontAlgn="auto" latinLnBrk="0" hangingPunct="1">
                        <a:spcBef>
                          <a:spcPts val="0"/>
                        </a:spcBef>
                        <a:spcAft>
                          <a:spcPts val="0"/>
                        </a:spcAft>
                      </a:pPr>
                      <a:r>
                        <a:rPr lang="en-US" sz="800" u="none" strike="noStrike" kern="1200" dirty="0">
                          <a:solidFill>
                            <a:schemeClr val="tx2"/>
                          </a:solidFill>
                          <a:effectLst/>
                        </a:rPr>
                        <a:t>Version</a:t>
                      </a:r>
                      <a:r>
                        <a:rPr lang="en-US" sz="800" u="none" strike="noStrike" kern="1200" baseline="0" dirty="0">
                          <a:solidFill>
                            <a:schemeClr val="tx2"/>
                          </a:solidFill>
                          <a:effectLst/>
                        </a:rPr>
                        <a:t> 2:  </a:t>
                      </a:r>
                      <a:r>
                        <a:rPr lang="en-US" sz="800" u="none" strike="noStrike" kern="1200" dirty="0">
                          <a:solidFill>
                            <a:schemeClr val="tx2"/>
                          </a:solidFill>
                          <a:effectLst/>
                        </a:rPr>
                        <a:t>2.1 KW DC / 3.0 KW AC supplies (8/system)</a:t>
                      </a:r>
                      <a:endParaRPr lang="en-US" sz="800" u="none" strike="noStrike" dirty="0">
                        <a:solidFill>
                          <a:schemeClr val="tx2"/>
                        </a:solidFill>
                        <a:effectLst/>
                      </a:endParaRPr>
                    </a:p>
                    <a:p>
                      <a:pPr marL="0" marR="0" indent="0" algn="l" rtl="0" eaLnBrk="1" fontAlgn="auto" latinLnBrk="0" hangingPunct="1">
                        <a:spcBef>
                          <a:spcPts val="0"/>
                        </a:spcBef>
                        <a:spcAft>
                          <a:spcPts val="0"/>
                        </a:spcAft>
                      </a:pPr>
                      <a:r>
                        <a:rPr lang="en-US" sz="800" u="none" strike="noStrike" kern="1200" dirty="0">
                          <a:solidFill>
                            <a:schemeClr val="tx2"/>
                          </a:solidFill>
                          <a:effectLst/>
                        </a:rPr>
                        <a:t>Version 3:  4.4 KW DC / 6.0 KW AC supplies (8</a:t>
                      </a:r>
                      <a:r>
                        <a:rPr lang="en-US" sz="800" u="none" strike="noStrike" kern="1200" baseline="0" dirty="0">
                          <a:solidFill>
                            <a:schemeClr val="tx2"/>
                          </a:solidFill>
                          <a:effectLst/>
                        </a:rPr>
                        <a:t> (DC), 6 (AC)/system)</a:t>
                      </a:r>
                      <a:endParaRPr lang="en-US" sz="800" b="0" i="0" u="none" strike="noStrike" dirty="0">
                        <a:solidFill>
                          <a:schemeClr val="tx2"/>
                        </a:solidFill>
                        <a:effectLst/>
                        <a:latin typeface="+mn-lt"/>
                      </a:endParaRPr>
                    </a:p>
                  </a:txBody>
                  <a:tcPr marL="121920" marR="121920" anchor="ctr"/>
                </a:tc>
                <a:extLst>
                  <a:ext uri="{0D108BD9-81ED-4DB2-BD59-A6C34878D82A}">
                    <a16:rowId xmlns:a16="http://schemas.microsoft.com/office/drawing/2014/main" val="10005"/>
                  </a:ext>
                </a:extLst>
              </a:tr>
              <a:tr h="2369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Fan</a:t>
                      </a:r>
                      <a:endParaRPr lang="en-US" sz="800" dirty="0">
                        <a:solidFill>
                          <a:schemeClr val="tx2"/>
                        </a:solidFill>
                        <a:latin typeface="+mn-lt"/>
                        <a:cs typeface="Arial" pitchFamily="34" charset="0"/>
                      </a:endParaRPr>
                    </a:p>
                  </a:txBody>
                  <a:tcPr marL="121888" marR="121888" anchor="ctr"/>
                </a:tc>
                <a:tc>
                  <a:txBody>
                    <a:bodyPr/>
                    <a:lstStyle/>
                    <a:p>
                      <a:pPr marL="0" marR="0" indent="0" algn="l" rtl="0" eaLnBrk="1" fontAlgn="auto" latinLnBrk="0" hangingPunct="1">
                        <a:spcBef>
                          <a:spcPts val="0"/>
                        </a:spcBef>
                        <a:spcAft>
                          <a:spcPts val="0"/>
                        </a:spcAft>
                      </a:pPr>
                      <a:r>
                        <a:rPr lang="en-US" sz="800" u="none" strike="noStrike" kern="1200" dirty="0">
                          <a:solidFill>
                            <a:schemeClr val="tx2"/>
                          </a:solidFill>
                          <a:effectLst/>
                        </a:rPr>
                        <a:t>2 Fan Tray,</a:t>
                      </a:r>
                      <a:r>
                        <a:rPr lang="en-US" sz="800" u="none" strike="noStrike" kern="1200" baseline="0" dirty="0">
                          <a:solidFill>
                            <a:schemeClr val="tx2"/>
                          </a:solidFill>
                          <a:effectLst/>
                        </a:rPr>
                        <a:t> </a:t>
                      </a:r>
                      <a:r>
                        <a:rPr lang="en-US" sz="800" u="none" strike="noStrike" kern="1200" dirty="0">
                          <a:solidFill>
                            <a:schemeClr val="tx2"/>
                          </a:solidFill>
                          <a:effectLst/>
                        </a:rPr>
                        <a:t>Front-to-Back Airflow</a:t>
                      </a:r>
                      <a:endParaRPr lang="en-US" sz="800" b="0" i="0" u="none" strike="noStrike" dirty="0">
                        <a:solidFill>
                          <a:schemeClr val="tx2"/>
                        </a:solidFill>
                        <a:effectLst/>
                        <a:latin typeface="+mn-lt"/>
                      </a:endParaRPr>
                    </a:p>
                  </a:txBody>
                  <a:tcPr marL="121920" marR="121920" anchor="ctr"/>
                </a:tc>
                <a:extLst>
                  <a:ext uri="{0D108BD9-81ED-4DB2-BD59-A6C34878D82A}">
                    <a16:rowId xmlns:a16="http://schemas.microsoft.com/office/drawing/2014/main" val="10006"/>
                  </a:ext>
                </a:extLst>
              </a:tr>
              <a:tr h="2369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RSP</a:t>
                      </a:r>
                      <a:endParaRPr lang="en-US" sz="800" dirty="0">
                        <a:solidFill>
                          <a:schemeClr val="tx2"/>
                        </a:solidFill>
                        <a:latin typeface="+mn-lt"/>
                        <a:cs typeface="Arial" pitchFamily="34" charset="0"/>
                      </a:endParaRPr>
                    </a:p>
                  </a:txBody>
                  <a:tcPr marL="121888" marR="121888" anchor="ctr"/>
                </a:tc>
                <a:tc>
                  <a:txBody>
                    <a:bodyPr/>
                    <a:lstStyle/>
                    <a:p>
                      <a:pPr marL="0" marR="0" indent="0" algn="l" rtl="0" eaLnBrk="1" fontAlgn="auto" latinLnBrk="0" hangingPunct="1">
                        <a:spcBef>
                          <a:spcPts val="0"/>
                        </a:spcBef>
                        <a:spcAft>
                          <a:spcPts val="0"/>
                        </a:spcAft>
                      </a:pPr>
                      <a:r>
                        <a:rPr lang="en-US" sz="800" u="none" strike="noStrike" kern="1200" dirty="0">
                          <a:solidFill>
                            <a:schemeClr val="tx2"/>
                          </a:solidFill>
                          <a:effectLst/>
                        </a:rPr>
                        <a:t>RSP440, RSP880, RSP5, 1+1 redundancy</a:t>
                      </a:r>
                      <a:endParaRPr lang="en-US" sz="800" b="0" i="0" u="none" strike="noStrike" dirty="0">
                        <a:solidFill>
                          <a:schemeClr val="tx2"/>
                        </a:solidFill>
                        <a:effectLst/>
                        <a:latin typeface="+mn-lt"/>
                      </a:endParaRPr>
                    </a:p>
                  </a:txBody>
                  <a:tcPr marL="121920" marR="121920" anchor="ctr"/>
                </a:tc>
                <a:extLst>
                  <a:ext uri="{0D108BD9-81ED-4DB2-BD59-A6C34878D82A}">
                    <a16:rowId xmlns:a16="http://schemas.microsoft.com/office/drawing/2014/main" val="10007"/>
                  </a:ext>
                </a:extLst>
              </a:tr>
              <a:tr h="1386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Line cards</a:t>
                      </a:r>
                      <a:endParaRPr lang="en-US" sz="800" dirty="0">
                        <a:solidFill>
                          <a:schemeClr val="tx2"/>
                        </a:solidFill>
                        <a:latin typeface="+mn-lt"/>
                        <a:cs typeface="Arial" pitchFamily="34" charset="0"/>
                      </a:endParaRPr>
                    </a:p>
                  </a:txBody>
                  <a:tcPr marL="121888" marR="121888" anchor="ctr"/>
                </a:tc>
                <a:tc>
                  <a:txBody>
                    <a:bodyPr/>
                    <a:lstStyle/>
                    <a:p>
                      <a:pPr marL="0" marR="0" indent="0" algn="l" rtl="0" eaLnBrk="1" fontAlgn="auto" latinLnBrk="0" hangingPunct="1">
                        <a:spcBef>
                          <a:spcPts val="0"/>
                        </a:spcBef>
                        <a:spcAft>
                          <a:spcPts val="0"/>
                        </a:spcAft>
                      </a:pPr>
                      <a:r>
                        <a:rPr lang="en-US" sz="800" u="none" strike="noStrike" kern="1200" baseline="0" dirty="0">
                          <a:solidFill>
                            <a:schemeClr val="tx2"/>
                          </a:solidFill>
                          <a:effectLst/>
                        </a:rPr>
                        <a:t>High Density Fixed</a:t>
                      </a:r>
                      <a:endParaRPr lang="en-US" sz="800" u="none" strike="noStrike" dirty="0">
                        <a:solidFill>
                          <a:schemeClr val="tx2"/>
                        </a:solidFill>
                        <a:effectLst/>
                      </a:endParaRPr>
                    </a:p>
                    <a:p>
                      <a:pPr marL="0" marR="0" indent="0" algn="l" rtl="0" eaLnBrk="1" fontAlgn="auto" latinLnBrk="0" hangingPunct="1">
                        <a:spcBef>
                          <a:spcPts val="0"/>
                        </a:spcBef>
                        <a:spcAft>
                          <a:spcPts val="0"/>
                        </a:spcAft>
                      </a:pPr>
                      <a:r>
                        <a:rPr lang="en-US" sz="800" u="none" strike="noStrike" kern="1200" baseline="0" dirty="0">
                          <a:solidFill>
                            <a:schemeClr val="tx2"/>
                          </a:solidFill>
                          <a:effectLst/>
                        </a:rPr>
                        <a:t>  100G: 4X100GE, 8X100GE, 16X100GE  </a:t>
                      </a:r>
                      <a:endParaRPr lang="en-US" sz="800" u="none" strike="noStrike" dirty="0">
                        <a:solidFill>
                          <a:schemeClr val="tx2"/>
                        </a:solidFill>
                        <a:effectLst/>
                      </a:endParaRPr>
                    </a:p>
                    <a:p>
                      <a:pPr marL="0" marR="0" indent="0" algn="l" rtl="0" eaLnBrk="1" fontAlgn="auto" latinLnBrk="0" hangingPunct="1">
                        <a:spcBef>
                          <a:spcPts val="0"/>
                        </a:spcBef>
                        <a:spcAft>
                          <a:spcPts val="0"/>
                        </a:spcAft>
                      </a:pPr>
                      <a:r>
                        <a:rPr lang="en-US" sz="800" u="none" strike="noStrike" kern="1200" baseline="0" dirty="0">
                          <a:solidFill>
                            <a:schemeClr val="tx2"/>
                          </a:solidFill>
                          <a:effectLst/>
                        </a:rPr>
                        <a:t>  10G: 24X10GE, 36X10GE </a:t>
                      </a:r>
                      <a:endParaRPr lang="en-US" sz="800" u="none" strike="noStrike" dirty="0">
                        <a:solidFill>
                          <a:schemeClr val="tx2"/>
                        </a:solidFill>
                        <a:effectLst/>
                      </a:endParaRPr>
                    </a:p>
                    <a:p>
                      <a:pPr marL="0" marR="0" indent="0" algn="l" rtl="0" eaLnBrk="1" fontAlgn="auto" latinLnBrk="0" hangingPunct="1">
                        <a:spcBef>
                          <a:spcPts val="0"/>
                        </a:spcBef>
                        <a:spcAft>
                          <a:spcPts val="0"/>
                        </a:spcAft>
                      </a:pPr>
                      <a:r>
                        <a:rPr lang="en-US" sz="800" u="none" strike="noStrike" kern="1200" baseline="0" dirty="0">
                          <a:solidFill>
                            <a:schemeClr val="tx2"/>
                          </a:solidFill>
                          <a:effectLst/>
                        </a:rPr>
                        <a:t>Modular</a:t>
                      </a:r>
                      <a:endParaRPr lang="en-US" sz="800" u="none" strike="noStrike" dirty="0">
                        <a:solidFill>
                          <a:schemeClr val="tx2"/>
                        </a:solidFill>
                        <a:effectLst/>
                      </a:endParaRPr>
                    </a:p>
                    <a:p>
                      <a:pPr marL="0" marR="0" indent="0" algn="l" rtl="0" eaLnBrk="1" fontAlgn="auto" latinLnBrk="0" hangingPunct="1">
                        <a:spcBef>
                          <a:spcPts val="0"/>
                        </a:spcBef>
                        <a:spcAft>
                          <a:spcPts val="0"/>
                        </a:spcAft>
                      </a:pPr>
                      <a:r>
                        <a:rPr lang="en-US" sz="800" u="none" strike="noStrike" kern="1200" baseline="0" dirty="0">
                          <a:solidFill>
                            <a:schemeClr val="tx2"/>
                          </a:solidFill>
                          <a:effectLst/>
                        </a:rPr>
                        <a:t>  MOD200, MOD400</a:t>
                      </a:r>
                      <a:endParaRPr lang="en-US" sz="800" u="none" strike="noStrike" dirty="0">
                        <a:solidFill>
                          <a:schemeClr val="tx2"/>
                        </a:solidFill>
                        <a:effectLst/>
                      </a:endParaRPr>
                    </a:p>
                    <a:p>
                      <a:pPr marL="0" marR="0" indent="0" algn="l" rtl="0" eaLnBrk="1" fontAlgn="auto" latinLnBrk="0" hangingPunct="1">
                        <a:spcBef>
                          <a:spcPts val="0"/>
                        </a:spcBef>
                        <a:spcAft>
                          <a:spcPts val="0"/>
                        </a:spcAft>
                      </a:pPr>
                      <a:r>
                        <a:rPr lang="en-US" sz="800" u="none" strike="noStrike" kern="1200" baseline="0" dirty="0">
                          <a:solidFill>
                            <a:schemeClr val="tx2"/>
                          </a:solidFill>
                          <a:effectLst/>
                        </a:rPr>
                        <a:t>  MPAs: 20xGE, 4x10G, 8x10G, 2x40G, 1x100G, 20x10G, 2x100G</a:t>
                      </a:r>
                      <a:br>
                        <a:rPr lang="en-US" sz="800" u="none" strike="noStrike" kern="1200" baseline="0" dirty="0">
                          <a:solidFill>
                            <a:schemeClr val="tx2"/>
                          </a:solidFill>
                          <a:effectLst/>
                        </a:rPr>
                      </a:br>
                      <a:r>
                        <a:rPr lang="en-US" sz="800" u="none" strike="noStrike" kern="1200" baseline="0" dirty="0">
                          <a:solidFill>
                            <a:schemeClr val="tx2"/>
                          </a:solidFill>
                          <a:effectLst/>
                        </a:rPr>
                        <a:t>Low Density Fixed</a:t>
                      </a:r>
                      <a:endParaRPr lang="en-US" sz="800" u="none" strike="noStrike" dirty="0">
                        <a:solidFill>
                          <a:schemeClr val="tx2"/>
                        </a:solidFill>
                        <a:effectLst/>
                      </a:endParaRPr>
                    </a:p>
                    <a:p>
                      <a:pPr marL="0" marR="0" indent="0" algn="l" rtl="0" eaLnBrk="1" fontAlgn="auto" latinLnBrk="0" hangingPunct="1">
                        <a:spcBef>
                          <a:spcPts val="0"/>
                        </a:spcBef>
                        <a:spcAft>
                          <a:spcPts val="0"/>
                        </a:spcAft>
                      </a:pPr>
                      <a:r>
                        <a:rPr lang="en-US" sz="800" u="none" strike="noStrike" kern="1200" baseline="0" dirty="0">
                          <a:solidFill>
                            <a:schemeClr val="tx2"/>
                          </a:solidFill>
                          <a:effectLst/>
                        </a:rPr>
                        <a:t>  40x1GE, 4x10G+16x1GE</a:t>
                      </a:r>
                      <a:endParaRPr lang="en-US" sz="800" u="none" strike="noStrike" dirty="0">
                        <a:solidFill>
                          <a:schemeClr val="tx2"/>
                        </a:solidFill>
                        <a:effectLst/>
                      </a:endParaRPr>
                    </a:p>
                    <a:p>
                      <a:pPr marL="0" marR="0" indent="0" algn="l" rtl="0" eaLnBrk="1" fontAlgn="auto" latinLnBrk="0" hangingPunct="1">
                        <a:spcBef>
                          <a:spcPts val="0"/>
                        </a:spcBef>
                        <a:spcAft>
                          <a:spcPts val="0"/>
                        </a:spcAft>
                      </a:pPr>
                      <a:r>
                        <a:rPr lang="en-US" sz="800" u="none" strike="noStrike" kern="1200" baseline="0" dirty="0">
                          <a:solidFill>
                            <a:schemeClr val="tx2"/>
                          </a:solidFill>
                          <a:effectLst/>
                        </a:rPr>
                        <a:t>TDM/Legacy Interfaces: SIP-700 (POS, Channelized SPAs)</a:t>
                      </a:r>
                      <a:endParaRPr lang="en-US" sz="800" u="none" strike="noStrike" dirty="0">
                        <a:solidFill>
                          <a:schemeClr val="tx2"/>
                        </a:solidFill>
                        <a:effectLst/>
                      </a:endParaRPr>
                    </a:p>
                    <a:p>
                      <a:pPr marL="0" marR="0" indent="0" algn="l" rtl="0" eaLnBrk="1" fontAlgn="auto" latinLnBrk="0" hangingPunct="1">
                        <a:spcBef>
                          <a:spcPts val="0"/>
                        </a:spcBef>
                        <a:spcAft>
                          <a:spcPts val="0"/>
                        </a:spcAft>
                      </a:pPr>
                      <a:r>
                        <a:rPr lang="en-US" sz="800" u="none" strike="noStrike" kern="1200" baseline="0" dirty="0">
                          <a:solidFill>
                            <a:schemeClr val="tx2"/>
                          </a:solidFill>
                          <a:effectLst/>
                        </a:rPr>
                        <a:t>Service Card:  Virtualized Service Module (VSM)</a:t>
                      </a:r>
                      <a:endParaRPr lang="en-US" sz="800" b="0" i="0" u="none" strike="noStrike" dirty="0">
                        <a:solidFill>
                          <a:schemeClr val="tx2"/>
                        </a:solidFill>
                        <a:effectLst/>
                        <a:latin typeface="+mn-lt"/>
                      </a:endParaRPr>
                    </a:p>
                  </a:txBody>
                  <a:tcPr marL="121920" marR="121920" anchor="ctr"/>
                </a:tc>
                <a:extLst>
                  <a:ext uri="{0D108BD9-81ED-4DB2-BD59-A6C34878D82A}">
                    <a16:rowId xmlns:a16="http://schemas.microsoft.com/office/drawing/2014/main" val="10008"/>
                  </a:ext>
                </a:extLst>
              </a:tr>
            </a:tbl>
          </a:graphicData>
        </a:graphic>
      </p:graphicFrame>
      <p:pic>
        <p:nvPicPr>
          <p:cNvPr id="7" name="Picture 6" descr="KI020535.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066196" y="1566905"/>
            <a:ext cx="2225261" cy="2781576"/>
          </a:xfrm>
          <a:prstGeom prst="rect">
            <a:avLst/>
          </a:prstGeom>
          <a:noFill/>
          <a:ln>
            <a:noFill/>
          </a:ln>
        </p:spPr>
      </p:pic>
    </p:spTree>
    <p:extLst>
      <p:ext uri="{BB962C8B-B14F-4D97-AF65-F5344CB8AC3E}">
        <p14:creationId xmlns:p14="http://schemas.microsoft.com/office/powerpoint/2010/main" val="14765509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a:effectLst/>
        </p:spPr>
        <p:txBody>
          <a:bodyPr/>
          <a:lstStyle/>
          <a:p>
            <a:pPr defTabSz="814411"/>
            <a:r>
              <a:rPr lang="en-US" dirty="0">
                <a:latin typeface="+mn-lt"/>
                <a:cs typeface="Arial" panose="020B0604020202020204" pitchFamily="34" charset="0"/>
              </a:rPr>
              <a:t>Cisco ASR 9006 Overview</a:t>
            </a:r>
          </a:p>
        </p:txBody>
      </p:sp>
      <p:graphicFrame>
        <p:nvGraphicFramePr>
          <p:cNvPr id="16" name="Table 15"/>
          <p:cNvGraphicFramePr>
            <a:graphicFrameLocks noGrp="1"/>
          </p:cNvGraphicFramePr>
          <p:nvPr/>
        </p:nvGraphicFramePr>
        <p:xfrm>
          <a:off x="549276" y="1085344"/>
          <a:ext cx="5165725" cy="3552826"/>
        </p:xfrm>
        <a:graphic>
          <a:graphicData uri="http://schemas.openxmlformats.org/drawingml/2006/table">
            <a:tbl>
              <a:tblPr firstRow="1" bandRow="1">
                <a:tableStyleId>{5C22544A-7EE6-4342-B048-85BDC9FD1C3A}</a:tableStyleId>
              </a:tblPr>
              <a:tblGrid>
                <a:gridCol w="1348777">
                  <a:extLst>
                    <a:ext uri="{9D8B030D-6E8A-4147-A177-3AD203B41FA5}">
                      <a16:colId xmlns:a16="http://schemas.microsoft.com/office/drawing/2014/main" val="20000"/>
                    </a:ext>
                  </a:extLst>
                </a:gridCol>
                <a:gridCol w="3816948">
                  <a:extLst>
                    <a:ext uri="{9D8B030D-6E8A-4147-A177-3AD203B41FA5}">
                      <a16:colId xmlns:a16="http://schemas.microsoft.com/office/drawing/2014/main" val="20001"/>
                    </a:ext>
                  </a:extLst>
                </a:gridCol>
              </a:tblGrid>
              <a:tr h="254917">
                <a:tc>
                  <a:txBody>
                    <a:bodyPr/>
                    <a:lstStyle/>
                    <a:p>
                      <a:pPr algn="ctr"/>
                      <a:r>
                        <a:rPr lang="en-US" sz="1000" dirty="0"/>
                        <a:t>Feature</a:t>
                      </a:r>
                      <a:endParaRPr lang="en-US" sz="1000" dirty="0">
                        <a:solidFill>
                          <a:schemeClr val="bg2"/>
                        </a:solidFill>
                        <a:latin typeface="+mn-lt"/>
                      </a:endParaRPr>
                    </a:p>
                  </a:txBody>
                  <a:tcPr marL="91416" marR="91416" marT="18288" marB="18288" anchor="ctr"/>
                </a:tc>
                <a:tc>
                  <a:txBody>
                    <a:bodyPr/>
                    <a:lstStyle/>
                    <a:p>
                      <a:r>
                        <a:rPr lang="en-US" sz="1000" dirty="0"/>
                        <a:t>Description</a:t>
                      </a:r>
                      <a:endParaRPr lang="en-US" sz="1000" dirty="0">
                        <a:solidFill>
                          <a:schemeClr val="bg2"/>
                        </a:solidFill>
                        <a:latin typeface="+mn-lt"/>
                      </a:endParaRPr>
                    </a:p>
                  </a:txBody>
                  <a:tcPr marL="91416" marR="91416" marT="18288" marB="18288" anchor="ctr"/>
                </a:tc>
                <a:extLst>
                  <a:ext uri="{0D108BD9-81ED-4DB2-BD59-A6C34878D82A}">
                    <a16:rowId xmlns:a16="http://schemas.microsoft.com/office/drawing/2014/main" val="10000"/>
                  </a:ext>
                </a:extLst>
              </a:tr>
              <a:tr h="2369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Total Capacity</a:t>
                      </a:r>
                      <a:endParaRPr lang="en-US" sz="800" dirty="0">
                        <a:solidFill>
                          <a:schemeClr val="tx2"/>
                        </a:solidFill>
                        <a:latin typeface="+mn-lt"/>
                        <a:cs typeface="Arial" pitchFamily="34" charset="0"/>
                      </a:endParaRPr>
                    </a:p>
                  </a:txBody>
                  <a:tcPr marL="121888" marR="121888"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7 </a:t>
                      </a:r>
                      <a:r>
                        <a:rPr lang="en-US" sz="800" dirty="0" err="1">
                          <a:solidFill>
                            <a:schemeClr val="tx2"/>
                          </a:solidFill>
                        </a:rPr>
                        <a:t>Tbps</a:t>
                      </a:r>
                      <a:endParaRPr lang="en-US" sz="800" dirty="0">
                        <a:solidFill>
                          <a:schemeClr val="tx2"/>
                        </a:solidFill>
                        <a:latin typeface="+mn-lt"/>
                        <a:cs typeface="Arial" pitchFamily="34" charset="0"/>
                      </a:endParaRPr>
                    </a:p>
                  </a:txBody>
                  <a:tcPr marL="121888" marR="121888" anchor="ctr"/>
                </a:tc>
                <a:extLst>
                  <a:ext uri="{0D108BD9-81ED-4DB2-BD59-A6C34878D82A}">
                    <a16:rowId xmlns:a16="http://schemas.microsoft.com/office/drawing/2014/main" val="10001"/>
                  </a:ext>
                </a:extLst>
              </a:tr>
              <a:tr h="2369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Capacity per Slot</a:t>
                      </a:r>
                      <a:endParaRPr lang="en-US" sz="800" dirty="0">
                        <a:solidFill>
                          <a:schemeClr val="tx2"/>
                        </a:solidFill>
                        <a:latin typeface="+mn-lt"/>
                        <a:cs typeface="Arial" pitchFamily="34" charset="0"/>
                      </a:endParaRPr>
                    </a:p>
                  </a:txBody>
                  <a:tcPr marL="121888" marR="121888"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1.8T/Slot (with</a:t>
                      </a:r>
                      <a:r>
                        <a:rPr lang="en-US" sz="800" baseline="0" dirty="0">
                          <a:solidFill>
                            <a:schemeClr val="tx2"/>
                          </a:solidFill>
                        </a:rPr>
                        <a:t> dual RSPs)</a:t>
                      </a:r>
                      <a:endParaRPr lang="en-US" sz="800" dirty="0">
                        <a:solidFill>
                          <a:schemeClr val="tx2"/>
                        </a:solidFill>
                        <a:latin typeface="+mn-lt"/>
                        <a:cs typeface="Arial" pitchFamily="34" charset="0"/>
                      </a:endParaRPr>
                    </a:p>
                  </a:txBody>
                  <a:tcPr marL="121888" marR="121888" anchor="ctr"/>
                </a:tc>
                <a:extLst>
                  <a:ext uri="{0D108BD9-81ED-4DB2-BD59-A6C34878D82A}">
                    <a16:rowId xmlns:a16="http://schemas.microsoft.com/office/drawing/2014/main" val="10002"/>
                  </a:ext>
                </a:extLst>
              </a:tr>
              <a:tr h="2369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Slots</a:t>
                      </a:r>
                      <a:endParaRPr lang="en-US" sz="800" dirty="0">
                        <a:solidFill>
                          <a:schemeClr val="tx2"/>
                        </a:solidFill>
                        <a:latin typeface="+mn-lt"/>
                        <a:cs typeface="Arial" pitchFamily="34" charset="0"/>
                      </a:endParaRPr>
                    </a:p>
                  </a:txBody>
                  <a:tcPr marL="121888" marR="121888"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6 slots: 4 Line</a:t>
                      </a:r>
                      <a:r>
                        <a:rPr lang="en-US" sz="800" baseline="0" dirty="0">
                          <a:solidFill>
                            <a:schemeClr val="tx2"/>
                          </a:solidFill>
                        </a:rPr>
                        <a:t> cards, 2 RSPs</a:t>
                      </a:r>
                      <a:endParaRPr lang="en-US" sz="800" dirty="0">
                        <a:solidFill>
                          <a:schemeClr val="tx2"/>
                        </a:solidFill>
                        <a:latin typeface="+mn-lt"/>
                        <a:cs typeface="Arial" pitchFamily="34" charset="0"/>
                      </a:endParaRPr>
                    </a:p>
                  </a:txBody>
                  <a:tcPr marL="121888" marR="121888" anchor="ctr"/>
                </a:tc>
                <a:extLst>
                  <a:ext uri="{0D108BD9-81ED-4DB2-BD59-A6C34878D82A}">
                    <a16:rowId xmlns:a16="http://schemas.microsoft.com/office/drawing/2014/main" val="10003"/>
                  </a:ext>
                </a:extLst>
              </a:tr>
              <a:tr h="236942">
                <a:tc>
                  <a:txBody>
                    <a:bodyPr/>
                    <a:lstStyle/>
                    <a:p>
                      <a:pPr algn="ctr"/>
                      <a:r>
                        <a:rPr lang="en-US" sz="800" dirty="0">
                          <a:solidFill>
                            <a:schemeClr val="tx2"/>
                          </a:solidFill>
                        </a:rPr>
                        <a:t>Rack Size</a:t>
                      </a:r>
                      <a:endParaRPr lang="en-US" sz="800" dirty="0">
                        <a:solidFill>
                          <a:schemeClr val="tx2"/>
                        </a:solidFill>
                        <a:latin typeface="+mn-lt"/>
                      </a:endParaRPr>
                    </a:p>
                  </a:txBody>
                  <a:tcPr marL="121888" marR="121888"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10 RU</a:t>
                      </a:r>
                    </a:p>
                  </a:txBody>
                  <a:tcPr marL="121888" marR="121888" anchor="ctr"/>
                </a:tc>
                <a:extLst>
                  <a:ext uri="{0D108BD9-81ED-4DB2-BD59-A6C34878D82A}">
                    <a16:rowId xmlns:a16="http://schemas.microsoft.com/office/drawing/2014/main" val="10004"/>
                  </a:ext>
                </a:extLst>
              </a:tr>
              <a:tr h="375839">
                <a:tc>
                  <a:txBody>
                    <a:bodyPr/>
                    <a:lstStyle/>
                    <a:p>
                      <a:pPr algn="ctr"/>
                      <a:r>
                        <a:rPr lang="en-US" sz="800" baseline="0" dirty="0">
                          <a:solidFill>
                            <a:schemeClr val="tx2"/>
                          </a:solidFill>
                        </a:rPr>
                        <a:t>Power</a:t>
                      </a:r>
                      <a:endParaRPr lang="en-US" sz="800" baseline="0" dirty="0">
                        <a:solidFill>
                          <a:schemeClr val="tx2"/>
                        </a:solidFill>
                        <a:latin typeface="+mn-lt"/>
                      </a:endParaRPr>
                    </a:p>
                  </a:txBody>
                  <a:tcPr marL="121888" marR="121888"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2"/>
                          </a:solidFill>
                        </a:rPr>
                        <a:t>Version</a:t>
                      </a:r>
                      <a:r>
                        <a:rPr lang="en-US" sz="800" u="none" baseline="0" dirty="0">
                          <a:solidFill>
                            <a:schemeClr val="tx2"/>
                          </a:solidFill>
                        </a:rPr>
                        <a:t> 2</a:t>
                      </a:r>
                      <a:r>
                        <a:rPr lang="en-US" sz="800" baseline="0" dirty="0">
                          <a:solidFill>
                            <a:schemeClr val="tx2"/>
                          </a:solidFill>
                        </a:rPr>
                        <a:t>:  </a:t>
                      </a:r>
                      <a:r>
                        <a:rPr lang="en-US" sz="800" dirty="0">
                          <a:solidFill>
                            <a:schemeClr val="tx2"/>
                          </a:solidFill>
                        </a:rPr>
                        <a:t>2.1 KW DC / 3.0 KW AC supplies (4/system)</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2"/>
                          </a:solidFill>
                        </a:rPr>
                        <a:t>Version 3</a:t>
                      </a:r>
                      <a:r>
                        <a:rPr lang="en-US" sz="800" dirty="0">
                          <a:solidFill>
                            <a:schemeClr val="tx2"/>
                          </a:solidFill>
                        </a:rPr>
                        <a:t>:  4.4 KW DC / 6.0 KW AC supplies (4</a:t>
                      </a:r>
                      <a:r>
                        <a:rPr lang="en-US" sz="800" baseline="0" dirty="0">
                          <a:solidFill>
                            <a:schemeClr val="tx2"/>
                          </a:solidFill>
                        </a:rPr>
                        <a:t> (DC), 3 (AC)/system)</a:t>
                      </a:r>
                      <a:endParaRPr lang="en-US" sz="800" dirty="0">
                        <a:solidFill>
                          <a:schemeClr val="tx2"/>
                        </a:solidFill>
                        <a:latin typeface="+mn-lt"/>
                        <a:cs typeface="Arial" pitchFamily="34" charset="0"/>
                      </a:endParaRPr>
                    </a:p>
                  </a:txBody>
                  <a:tcPr marL="121888" marR="121888" anchor="ctr"/>
                </a:tc>
                <a:extLst>
                  <a:ext uri="{0D108BD9-81ED-4DB2-BD59-A6C34878D82A}">
                    <a16:rowId xmlns:a16="http://schemas.microsoft.com/office/drawing/2014/main" val="10005"/>
                  </a:ext>
                </a:extLst>
              </a:tr>
              <a:tr h="3505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Fan</a:t>
                      </a:r>
                      <a:endParaRPr lang="en-US" sz="800" dirty="0">
                        <a:solidFill>
                          <a:schemeClr val="tx2"/>
                        </a:solidFill>
                        <a:latin typeface="+mn-lt"/>
                        <a:cs typeface="Arial" pitchFamily="34" charset="0"/>
                      </a:endParaRPr>
                    </a:p>
                  </a:txBody>
                  <a:tcPr marL="121888" marR="121888"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2 Fan Tray,</a:t>
                      </a:r>
                      <a:r>
                        <a:rPr lang="en-US" sz="800" baseline="0" dirty="0">
                          <a:solidFill>
                            <a:schemeClr val="tx2"/>
                          </a:solidFill>
                        </a:rPr>
                        <a:t> </a:t>
                      </a:r>
                      <a:r>
                        <a:rPr lang="en-US" sz="800" dirty="0">
                          <a:solidFill>
                            <a:schemeClr val="tx2"/>
                          </a:solidFill>
                        </a:rPr>
                        <a:t>Side-to-Back Airflow (optional baffle for Front-to-Back</a:t>
                      </a:r>
                      <a:r>
                        <a:rPr lang="en-US" sz="800" baseline="0" dirty="0">
                          <a:solidFill>
                            <a:schemeClr val="tx2"/>
                          </a:solidFill>
                        </a:rPr>
                        <a:t> Airflow)</a:t>
                      </a:r>
                      <a:endParaRPr lang="en-US" sz="800" baseline="0" dirty="0">
                        <a:solidFill>
                          <a:schemeClr val="tx2"/>
                        </a:solidFill>
                        <a:latin typeface="+mn-lt"/>
                      </a:endParaRPr>
                    </a:p>
                  </a:txBody>
                  <a:tcPr marL="121888" marR="121888" anchor="ctr"/>
                </a:tc>
                <a:extLst>
                  <a:ext uri="{0D108BD9-81ED-4DB2-BD59-A6C34878D82A}">
                    <a16:rowId xmlns:a16="http://schemas.microsoft.com/office/drawing/2014/main" val="10006"/>
                  </a:ext>
                </a:extLst>
              </a:tr>
              <a:tr h="2369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RSP</a:t>
                      </a:r>
                      <a:endParaRPr lang="en-US" sz="800" dirty="0">
                        <a:solidFill>
                          <a:schemeClr val="tx2"/>
                        </a:solidFill>
                        <a:latin typeface="+mn-lt"/>
                        <a:cs typeface="Arial" pitchFamily="34" charset="0"/>
                      </a:endParaRPr>
                    </a:p>
                  </a:txBody>
                  <a:tcPr marL="121888" marR="121888"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RSP440, RSP880-LT, RSP880, RSP5, 1+1 redundancy</a:t>
                      </a:r>
                      <a:endParaRPr lang="en-US" sz="800" dirty="0">
                        <a:solidFill>
                          <a:schemeClr val="tx2"/>
                        </a:solidFill>
                        <a:latin typeface="+mn-lt"/>
                        <a:cs typeface="Arial" pitchFamily="34" charset="0"/>
                      </a:endParaRPr>
                    </a:p>
                  </a:txBody>
                  <a:tcPr marL="121888" marR="121888" anchor="ctr"/>
                </a:tc>
                <a:extLst>
                  <a:ext uri="{0D108BD9-81ED-4DB2-BD59-A6C34878D82A}">
                    <a16:rowId xmlns:a16="http://schemas.microsoft.com/office/drawing/2014/main" val="10007"/>
                  </a:ext>
                </a:extLst>
              </a:tr>
              <a:tr h="1386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2"/>
                          </a:solidFill>
                        </a:rPr>
                        <a:t>Line cards</a:t>
                      </a:r>
                      <a:endParaRPr lang="en-US" sz="800" dirty="0">
                        <a:solidFill>
                          <a:schemeClr val="tx2"/>
                        </a:solidFill>
                        <a:latin typeface="+mn-lt"/>
                        <a:cs typeface="Arial" pitchFamily="34" charset="0"/>
                      </a:endParaRPr>
                    </a:p>
                  </a:txBody>
                  <a:tcPr marL="121888" marR="121888"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a:solidFill>
                            <a:schemeClr val="tx2"/>
                          </a:solidFill>
                        </a:rPr>
                        <a:t>High Density Fixed</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a:solidFill>
                            <a:schemeClr val="tx2"/>
                          </a:solidFill>
                        </a:rPr>
                        <a:t>  100G: 4X100GE, 8X100GE, 16X100GE  </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a:solidFill>
                            <a:schemeClr val="tx2"/>
                          </a:solidFill>
                        </a:rPr>
                        <a:t>  10G: 24X10GE, 36X10GE </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a:solidFill>
                            <a:schemeClr val="tx2"/>
                          </a:solidFill>
                        </a:rPr>
                        <a:t>Modular</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a:solidFill>
                            <a:schemeClr val="tx2"/>
                          </a:solidFill>
                        </a:rPr>
                        <a:t>  MOD200, MOD400</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a:solidFill>
                            <a:schemeClr val="tx2"/>
                          </a:solidFill>
                        </a:rPr>
                        <a:t>  MPAs: 20xGE, 4x10G, 8x10G, 2x40G, 1x100G, 20x10G, 2x100G</a:t>
                      </a:r>
                      <a:br>
                        <a:rPr lang="en-US" sz="800" baseline="0" dirty="0">
                          <a:solidFill>
                            <a:schemeClr val="tx2"/>
                          </a:solidFill>
                        </a:rPr>
                      </a:br>
                      <a:r>
                        <a:rPr lang="en-US" sz="800" baseline="0" dirty="0">
                          <a:solidFill>
                            <a:schemeClr val="tx2"/>
                          </a:solidFill>
                        </a:rPr>
                        <a:t>Low Density Fixed</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a:solidFill>
                            <a:schemeClr val="tx2"/>
                          </a:solidFill>
                        </a:rPr>
                        <a:t>  40x1GE, 4x10G+16x1GE</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a:solidFill>
                            <a:schemeClr val="tx2"/>
                          </a:solidFill>
                        </a:rPr>
                        <a:t>TDM/Legacy Interfaces: SIP-700 (POS, Channelized SPAs)</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a:solidFill>
                            <a:schemeClr val="tx2"/>
                          </a:solidFill>
                        </a:rPr>
                        <a:t>Service Card:  Virtualized Service Module (VSM)</a:t>
                      </a:r>
                      <a:endParaRPr lang="en-US" sz="800" baseline="0" dirty="0">
                        <a:solidFill>
                          <a:schemeClr val="tx2"/>
                        </a:solidFill>
                        <a:latin typeface="+mn-lt"/>
                      </a:endParaRPr>
                    </a:p>
                  </a:txBody>
                  <a:tcPr marL="121888" marR="121888" anchor="ctr"/>
                </a:tc>
                <a:extLst>
                  <a:ext uri="{0D108BD9-81ED-4DB2-BD59-A6C34878D82A}">
                    <a16:rowId xmlns:a16="http://schemas.microsoft.com/office/drawing/2014/main" val="10008"/>
                  </a:ext>
                </a:extLst>
              </a:tr>
            </a:tbl>
          </a:graphicData>
        </a:graphic>
      </p:graphicFrame>
      <p:pic>
        <p:nvPicPr>
          <p:cNvPr id="6" name="Picture 5" descr="KI020525.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16142" y="1439149"/>
            <a:ext cx="3560061" cy="2848051"/>
          </a:xfrm>
          <a:prstGeom prst="rect">
            <a:avLst/>
          </a:prstGeom>
          <a:noFill/>
          <a:ln>
            <a:noFill/>
          </a:ln>
        </p:spPr>
      </p:pic>
    </p:spTree>
    <p:extLst>
      <p:ext uri="{BB962C8B-B14F-4D97-AF65-F5344CB8AC3E}">
        <p14:creationId xmlns:p14="http://schemas.microsoft.com/office/powerpoint/2010/main" val="3596025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8" name="Table 27"/>
          <p:cNvGraphicFramePr>
            <a:graphicFrameLocks noGrp="1"/>
          </p:cNvGraphicFramePr>
          <p:nvPr/>
        </p:nvGraphicFramePr>
        <p:xfrm>
          <a:off x="434327" y="941200"/>
          <a:ext cx="8234697" cy="3707237"/>
        </p:xfrm>
        <a:graphic>
          <a:graphicData uri="http://schemas.openxmlformats.org/drawingml/2006/table">
            <a:tbl>
              <a:tblPr firstRow="1" bandRow="1">
                <a:tableStyleId>{5940675A-B579-460E-94D1-54222C63F5DA}</a:tableStyleId>
              </a:tblPr>
              <a:tblGrid>
                <a:gridCol w="2426208">
                  <a:extLst>
                    <a:ext uri="{9D8B030D-6E8A-4147-A177-3AD203B41FA5}">
                      <a16:colId xmlns:a16="http://schemas.microsoft.com/office/drawing/2014/main" val="20000"/>
                    </a:ext>
                  </a:extLst>
                </a:gridCol>
                <a:gridCol w="3063590">
                  <a:extLst>
                    <a:ext uri="{9D8B030D-6E8A-4147-A177-3AD203B41FA5}">
                      <a16:colId xmlns:a16="http://schemas.microsoft.com/office/drawing/2014/main" val="20001"/>
                    </a:ext>
                  </a:extLst>
                </a:gridCol>
                <a:gridCol w="2744899">
                  <a:extLst>
                    <a:ext uri="{9D8B030D-6E8A-4147-A177-3AD203B41FA5}">
                      <a16:colId xmlns:a16="http://schemas.microsoft.com/office/drawing/2014/main" val="20002"/>
                    </a:ext>
                  </a:extLst>
                </a:gridCol>
              </a:tblGrid>
              <a:tr h="487680">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1300" b="1" dirty="0">
                          <a:solidFill>
                            <a:schemeClr val="bg2"/>
                          </a:solidFill>
                        </a:rPr>
                        <a:t>Compact</a:t>
                      </a:r>
                      <a:r>
                        <a:rPr lang="en-US" sz="1300" b="1" baseline="0" dirty="0">
                          <a:solidFill>
                            <a:schemeClr val="bg2"/>
                          </a:solidFill>
                        </a:rPr>
                        <a:t> &amp;</a:t>
                      </a:r>
                      <a:r>
                        <a:rPr lang="en-US" sz="1300" b="1" dirty="0">
                          <a:solidFill>
                            <a:schemeClr val="bg2"/>
                          </a:solidFill>
                        </a:rPr>
                        <a:t> Powerful</a:t>
                      </a:r>
                    </a:p>
                    <a:p>
                      <a:pPr marL="0" marR="0" indent="0" algn="ctr" defTabSz="685777" rtl="0" eaLnBrk="1" fontAlgn="auto" latinLnBrk="0" hangingPunct="1">
                        <a:lnSpc>
                          <a:spcPct val="100000"/>
                        </a:lnSpc>
                        <a:spcBef>
                          <a:spcPts val="0"/>
                        </a:spcBef>
                        <a:spcAft>
                          <a:spcPts val="0"/>
                        </a:spcAft>
                        <a:buClrTx/>
                        <a:buSzTx/>
                        <a:buFontTx/>
                        <a:buNone/>
                        <a:tabLst/>
                        <a:defRPr/>
                      </a:pPr>
                      <a:r>
                        <a:rPr lang="en-US" sz="1300" b="1" dirty="0">
                          <a:solidFill>
                            <a:schemeClr val="bg2"/>
                          </a:solidFill>
                        </a:rPr>
                        <a:t>Access / Aggregation</a:t>
                      </a:r>
                    </a:p>
                  </a:txBody>
                  <a:tcPr anchor="ctr">
                    <a:solidFill>
                      <a:schemeClr val="accent1"/>
                    </a:solid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1300" b="1" dirty="0">
                          <a:solidFill>
                            <a:schemeClr val="bg2"/>
                          </a:solidFill>
                        </a:rPr>
                        <a:t>Flexible Service Edge</a:t>
                      </a:r>
                    </a:p>
                  </a:txBody>
                  <a:tcPr anchor="ctr">
                    <a:solidFill>
                      <a:schemeClr val="accent1"/>
                    </a:solid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1300" b="1" dirty="0">
                          <a:solidFill>
                            <a:schemeClr val="bg2"/>
                          </a:solidFill>
                        </a:rPr>
                        <a:t>High Density Service Edge </a:t>
                      </a:r>
                    </a:p>
                    <a:p>
                      <a:pPr marL="0" marR="0" indent="0" algn="ctr" defTabSz="685777" rtl="0" eaLnBrk="1" fontAlgn="auto" latinLnBrk="0" hangingPunct="1">
                        <a:lnSpc>
                          <a:spcPct val="100000"/>
                        </a:lnSpc>
                        <a:spcBef>
                          <a:spcPts val="0"/>
                        </a:spcBef>
                        <a:spcAft>
                          <a:spcPts val="0"/>
                        </a:spcAft>
                        <a:buClrTx/>
                        <a:buSzTx/>
                        <a:buFontTx/>
                        <a:buNone/>
                        <a:tabLst/>
                        <a:defRPr/>
                      </a:pPr>
                      <a:r>
                        <a:rPr lang="en-US" sz="1300" b="1" dirty="0">
                          <a:solidFill>
                            <a:schemeClr val="bg2"/>
                          </a:solidFill>
                        </a:rPr>
                        <a:t>and Core</a:t>
                      </a:r>
                    </a:p>
                  </a:txBody>
                  <a:tcPr anchor="ctr">
                    <a:solidFill>
                      <a:schemeClr val="accent1"/>
                    </a:solidFill>
                  </a:tcPr>
                </a:tc>
                <a:extLst>
                  <a:ext uri="{0D108BD9-81ED-4DB2-BD59-A6C34878D82A}">
                    <a16:rowId xmlns:a16="http://schemas.microsoft.com/office/drawing/2014/main" val="10000"/>
                  </a:ext>
                </a:extLst>
              </a:tr>
              <a:tr h="3219557">
                <a:tc>
                  <a:txBody>
                    <a:bodyPr/>
                    <a:lstStyle/>
                    <a:p>
                      <a:pPr marL="168275" indent="-168275" defTabSz="814388">
                        <a:lnSpc>
                          <a:spcPct val="95000"/>
                        </a:lnSpc>
                        <a:spcBef>
                          <a:spcPts val="600"/>
                        </a:spcBef>
                        <a:buClr>
                          <a:srgbClr val="3D3D3D"/>
                        </a:buClr>
                        <a:buFont typeface="Arial" pitchFamily="34" charset="0"/>
                        <a:buChar char="•"/>
                      </a:pPr>
                      <a:r>
                        <a:rPr lang="en-US" sz="1200" b="0" dirty="0">
                          <a:solidFill>
                            <a:schemeClr val="tx1"/>
                          </a:solidFill>
                        </a:rPr>
                        <a:t>Small footprint with full IOS-XR</a:t>
                      </a:r>
                      <a:r>
                        <a:rPr lang="en-US" sz="1200" b="0" baseline="0" dirty="0">
                          <a:solidFill>
                            <a:schemeClr val="tx1"/>
                          </a:solidFill>
                        </a:rPr>
                        <a:t> </a:t>
                      </a:r>
                      <a:r>
                        <a:rPr lang="en-US" sz="1200" b="0" dirty="0">
                          <a:solidFill>
                            <a:schemeClr val="tx1"/>
                          </a:solidFill>
                        </a:rPr>
                        <a:t>for distributed environments</a:t>
                      </a:r>
                    </a:p>
                    <a:p>
                      <a:endParaRPr lang="en-US" sz="1800" b="0" dirty="0">
                        <a:solidFill>
                          <a:srgbClr val="4D4D4C"/>
                        </a:solidFill>
                      </a:endParaRPr>
                    </a:p>
                  </a:txBody>
                  <a:tcPr/>
                </a:tc>
                <a:tc>
                  <a:txBody>
                    <a:bodyPr/>
                    <a:lstStyle/>
                    <a:p>
                      <a:pPr marL="168275" indent="-168275" defTabSz="814388">
                        <a:lnSpc>
                          <a:spcPct val="95000"/>
                        </a:lnSpc>
                        <a:spcBef>
                          <a:spcPts val="600"/>
                        </a:spcBef>
                        <a:buClr>
                          <a:srgbClr val="3D3D3D"/>
                        </a:buClr>
                        <a:buFont typeface="Arial" pitchFamily="34" charset="0"/>
                        <a:buChar char="•"/>
                      </a:pPr>
                      <a:r>
                        <a:rPr lang="en-US" sz="1200" b="0" dirty="0">
                          <a:solidFill>
                            <a:schemeClr val="tx1"/>
                          </a:solidFill>
                        </a:rPr>
                        <a:t>Optimized for ESE and MSE with high M-D scale</a:t>
                      </a:r>
                      <a:r>
                        <a:rPr lang="en-US" sz="1200" b="0" baseline="0" dirty="0">
                          <a:solidFill>
                            <a:schemeClr val="tx1"/>
                          </a:solidFill>
                        </a:rPr>
                        <a:t> </a:t>
                      </a:r>
                      <a:r>
                        <a:rPr lang="en-US" sz="1200" b="0" dirty="0">
                          <a:solidFill>
                            <a:schemeClr val="tx1"/>
                          </a:solidFill>
                        </a:rPr>
                        <a:t>for medium to large sites</a:t>
                      </a:r>
                    </a:p>
                    <a:p>
                      <a:endParaRPr lang="en-US" sz="1800" b="0" dirty="0">
                        <a:solidFill>
                          <a:srgbClr val="4D4D4C"/>
                        </a:solidFill>
                      </a:endParaRPr>
                    </a:p>
                  </a:txBody>
                  <a:tcPr/>
                </a:tc>
                <a:tc>
                  <a:txBody>
                    <a:bodyPr/>
                    <a:lstStyle/>
                    <a:p>
                      <a:pPr marL="168275" indent="-168275" defTabSz="814388">
                        <a:lnSpc>
                          <a:spcPct val="95000"/>
                        </a:lnSpc>
                        <a:spcBef>
                          <a:spcPts val="600"/>
                        </a:spcBef>
                        <a:buClr>
                          <a:srgbClr val="3D3D3D"/>
                        </a:buClr>
                        <a:buFont typeface="Arial" pitchFamily="34" charset="0"/>
                        <a:buChar char="•"/>
                      </a:pPr>
                      <a:r>
                        <a:rPr lang="en-US" sz="1200" b="0" dirty="0">
                          <a:solidFill>
                            <a:schemeClr val="tx1"/>
                          </a:solidFill>
                        </a:rPr>
                        <a:t>Scalable, ultra high density service routers</a:t>
                      </a:r>
                      <a:r>
                        <a:rPr lang="en-US" sz="1200" b="0" baseline="0" dirty="0">
                          <a:solidFill>
                            <a:schemeClr val="tx1"/>
                          </a:solidFill>
                        </a:rPr>
                        <a:t> </a:t>
                      </a:r>
                      <a:r>
                        <a:rPr lang="en-US" sz="1200" b="0" dirty="0">
                          <a:solidFill>
                            <a:schemeClr val="tx1"/>
                          </a:solidFill>
                        </a:rPr>
                        <a:t>for large, high-growth sites</a:t>
                      </a:r>
                    </a:p>
                    <a:p>
                      <a:endParaRPr lang="en-US" sz="1800" b="0" dirty="0">
                        <a:solidFill>
                          <a:srgbClr val="4D4D4C"/>
                        </a:solidFill>
                      </a:endParaRPr>
                    </a:p>
                  </a:txBody>
                  <a:tcPr/>
                </a:tc>
                <a:extLst>
                  <a:ext uri="{0D108BD9-81ED-4DB2-BD59-A6C34878D82A}">
                    <a16:rowId xmlns:a16="http://schemas.microsoft.com/office/drawing/2014/main" val="10001"/>
                  </a:ext>
                </a:extLst>
              </a:tr>
            </a:tbl>
          </a:graphicData>
        </a:graphic>
      </p:graphicFrame>
      <p:sp>
        <p:nvSpPr>
          <p:cNvPr id="49" name="Left-Right Arrow 48"/>
          <p:cNvSpPr/>
          <p:nvPr/>
        </p:nvSpPr>
        <p:spPr>
          <a:xfrm>
            <a:off x="478548" y="1966219"/>
            <a:ext cx="8117413" cy="365167"/>
          </a:xfrm>
          <a:prstGeom prst="leftRightArrow">
            <a:avLst/>
          </a:prstGeom>
          <a:solidFill>
            <a:schemeClr val="accent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439" tIns="34220" rIns="68439" bIns="34220" rtlCol="0" anchor="ctr"/>
          <a:lstStyle/>
          <a:p>
            <a:pPr algn="ctr" defTabSz="684432">
              <a:defRPr/>
            </a:pPr>
            <a:r>
              <a:rPr lang="en-US" sz="1200" b="1" dirty="0">
                <a:solidFill>
                  <a:srgbClr val="4D4D4C"/>
                </a:solidFill>
              </a:rPr>
              <a:t>One Platform, One OS, One Family</a:t>
            </a:r>
          </a:p>
        </p:txBody>
      </p:sp>
      <p:pic>
        <p:nvPicPr>
          <p:cNvPr id="3" name="Picture 2"/>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62002" y="3930705"/>
            <a:ext cx="778415" cy="312466"/>
          </a:xfrm>
          <a:prstGeom prst="rect">
            <a:avLst/>
          </a:prstGeom>
          <a:ln>
            <a:noFill/>
          </a:ln>
        </p:spPr>
      </p:pic>
      <p:pic>
        <p:nvPicPr>
          <p:cNvPr id="4" name="Picture 20" descr="LKI020500.png"/>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bwMode="auto">
          <a:xfrm>
            <a:off x="2985629" y="3524939"/>
            <a:ext cx="713889" cy="713526"/>
          </a:xfrm>
          <a:prstGeom prst="rect">
            <a:avLst/>
          </a:prstGeom>
          <a:noFill/>
          <a:ln w="9525">
            <a:noFill/>
            <a:miter lim="800000"/>
            <a:headEnd/>
            <a:tailEnd/>
          </a:ln>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7461029" y="2358542"/>
            <a:ext cx="665249" cy="1876155"/>
          </a:xfrm>
          <a:prstGeom prst="rect">
            <a:avLst/>
          </a:prstGeom>
        </p:spPr>
      </p:pic>
      <p:pic>
        <p:nvPicPr>
          <p:cNvPr id="8" name="Picture 7" descr="KN42009.png"/>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flipH="1">
            <a:off x="1788160" y="3721242"/>
            <a:ext cx="852378" cy="565008"/>
          </a:xfrm>
          <a:prstGeom prst="rect">
            <a:avLst/>
          </a:prstGeom>
        </p:spPr>
      </p:pic>
      <p:sp>
        <p:nvSpPr>
          <p:cNvPr id="9" name="Text Box 7"/>
          <p:cNvSpPr txBox="1">
            <a:spLocks noChangeArrowheads="1"/>
          </p:cNvSpPr>
          <p:nvPr/>
        </p:nvSpPr>
        <p:spPr bwMode="auto">
          <a:xfrm rot="5400000" flipV="1">
            <a:off x="1017191" y="3840867"/>
            <a:ext cx="268127" cy="778415"/>
          </a:xfrm>
          <a:prstGeom prst="rect">
            <a:avLst/>
          </a:prstGeom>
          <a:noFill/>
          <a:ln w="9525">
            <a:noFill/>
            <a:miter lim="800000"/>
            <a:headEnd/>
            <a:tailEnd/>
          </a:ln>
        </p:spPr>
        <p:txBody>
          <a:bodyPr vert="eaVert" lIns="72890" tIns="36444" rIns="72890" bIns="36444" anchor="t"/>
          <a:lstStyle/>
          <a:p>
            <a:pPr algn="ctr" defTabSz="684432" eaLnBrk="0" hangingPunct="0">
              <a:lnSpc>
                <a:spcPct val="150000"/>
              </a:lnSpc>
              <a:defRPr/>
            </a:pPr>
            <a:r>
              <a:rPr lang="en-US" sz="1100" b="1" dirty="0">
                <a:latin typeface="+mn-lt"/>
                <a:ea typeface="ＭＳ Ｐゴシック" pitchFamily="-109" charset="-128"/>
                <a:cs typeface="ＭＳ Ｐゴシック" pitchFamily="-109" charset="-128"/>
              </a:rPr>
              <a:t>Fixed 2RU</a:t>
            </a:r>
          </a:p>
          <a:p>
            <a:pPr algn="ctr" defTabSz="684432" eaLnBrk="0" hangingPunct="0">
              <a:lnSpc>
                <a:spcPct val="150000"/>
              </a:lnSpc>
              <a:defRPr/>
            </a:pPr>
            <a:r>
              <a:rPr lang="en-US" sz="800" b="1" dirty="0">
                <a:latin typeface="+mn-lt"/>
                <a:ea typeface="ＭＳ Ｐゴシック" pitchFamily="-109" charset="-128"/>
                <a:cs typeface="ＭＳ Ｐゴシック" pitchFamily="-109" charset="-128"/>
              </a:rPr>
              <a:t>240 Gbps</a:t>
            </a:r>
          </a:p>
        </p:txBody>
      </p:sp>
      <p:cxnSp>
        <p:nvCxnSpPr>
          <p:cNvPr id="10" name="Straight Connector 9"/>
          <p:cNvCxnSpPr/>
          <p:nvPr/>
        </p:nvCxnSpPr>
        <p:spPr>
          <a:xfrm>
            <a:off x="842221" y="4404286"/>
            <a:ext cx="5867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Box 7"/>
          <p:cNvSpPr txBox="1">
            <a:spLocks noChangeArrowheads="1"/>
          </p:cNvSpPr>
          <p:nvPr/>
        </p:nvSpPr>
        <p:spPr bwMode="auto">
          <a:xfrm rot="5400000" flipV="1">
            <a:off x="2108494" y="3853307"/>
            <a:ext cx="259600" cy="804488"/>
          </a:xfrm>
          <a:prstGeom prst="rect">
            <a:avLst/>
          </a:prstGeom>
          <a:noFill/>
          <a:ln w="9525">
            <a:noFill/>
            <a:miter lim="800000"/>
            <a:headEnd/>
            <a:tailEnd/>
          </a:ln>
        </p:spPr>
        <p:txBody>
          <a:bodyPr vert="eaVert" lIns="72890" tIns="36444" rIns="72890" bIns="36444" anchor="t"/>
          <a:lstStyle/>
          <a:p>
            <a:pPr algn="ctr" defTabSz="684432" eaLnBrk="0" hangingPunct="0">
              <a:lnSpc>
                <a:spcPct val="150000"/>
              </a:lnSpc>
              <a:defRPr/>
            </a:pPr>
            <a:r>
              <a:rPr lang="en-US" sz="1100" b="1" dirty="0">
                <a:latin typeface="+mn-lt"/>
                <a:ea typeface="ＭＳ Ｐゴシック" pitchFamily="-109" charset="-128"/>
                <a:cs typeface="ＭＳ Ｐゴシック" pitchFamily="-109" charset="-128"/>
              </a:rPr>
              <a:t>2 LC/6RU</a:t>
            </a:r>
          </a:p>
          <a:p>
            <a:pPr algn="ctr" defTabSz="684432" eaLnBrk="0" hangingPunct="0">
              <a:lnSpc>
                <a:spcPct val="150000"/>
              </a:lnSpc>
              <a:defRPr/>
            </a:pPr>
            <a:r>
              <a:rPr lang="en-US" sz="800" b="1" dirty="0">
                <a:latin typeface="+mn-lt"/>
                <a:ea typeface="ＭＳ Ｐゴシック" pitchFamily="-109" charset="-128"/>
                <a:cs typeface="ＭＳ Ｐゴシック" pitchFamily="-109" charset="-128"/>
              </a:rPr>
              <a:t>16 Tbps</a:t>
            </a:r>
          </a:p>
        </p:txBody>
      </p:sp>
      <p:cxnSp>
        <p:nvCxnSpPr>
          <p:cNvPr id="12" name="Straight Connector 11"/>
          <p:cNvCxnSpPr/>
          <p:nvPr/>
        </p:nvCxnSpPr>
        <p:spPr>
          <a:xfrm>
            <a:off x="1887811" y="4407605"/>
            <a:ext cx="548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Box 7"/>
          <p:cNvSpPr txBox="1">
            <a:spLocks noChangeArrowheads="1"/>
          </p:cNvSpPr>
          <p:nvPr/>
        </p:nvSpPr>
        <p:spPr bwMode="auto">
          <a:xfrm rot="5400000" flipV="1">
            <a:off x="4844698" y="3801539"/>
            <a:ext cx="262388" cy="823989"/>
          </a:xfrm>
          <a:prstGeom prst="rect">
            <a:avLst/>
          </a:prstGeom>
          <a:noFill/>
          <a:ln w="9525">
            <a:noFill/>
            <a:miter lim="800000"/>
            <a:headEnd/>
            <a:tailEnd/>
          </a:ln>
        </p:spPr>
        <p:txBody>
          <a:bodyPr vert="eaVert" lIns="72890" tIns="36444" rIns="72890" bIns="36444" anchor="t"/>
          <a:lstStyle/>
          <a:p>
            <a:pPr algn="ctr" defTabSz="684432" eaLnBrk="0" hangingPunct="0">
              <a:lnSpc>
                <a:spcPct val="150000"/>
              </a:lnSpc>
              <a:defRPr/>
            </a:pPr>
            <a:r>
              <a:rPr lang="en-US" sz="1100" b="1" dirty="0">
                <a:latin typeface="+mn-lt"/>
                <a:ea typeface="ＭＳ Ｐゴシック" pitchFamily="-109" charset="-128"/>
                <a:cs typeface="ＭＳ Ｐゴシック" pitchFamily="-109" charset="-128"/>
              </a:rPr>
              <a:t>8 LC/21RU</a:t>
            </a:r>
          </a:p>
          <a:p>
            <a:pPr algn="ctr" defTabSz="684432" eaLnBrk="0" hangingPunct="0">
              <a:lnSpc>
                <a:spcPct val="150000"/>
              </a:lnSpc>
              <a:defRPr/>
            </a:pPr>
            <a:r>
              <a:rPr lang="en-US" sz="800" b="1" dirty="0">
                <a:latin typeface="+mn-lt"/>
                <a:ea typeface="ＭＳ Ｐゴシック" pitchFamily="-109" charset="-128"/>
                <a:cs typeface="ＭＳ Ｐゴシック" pitchFamily="-109" charset="-128"/>
              </a:rPr>
              <a:t>14 Tbps</a:t>
            </a:r>
          </a:p>
        </p:txBody>
      </p:sp>
      <p:cxnSp>
        <p:nvCxnSpPr>
          <p:cNvPr id="14" name="Straight Connector 13"/>
          <p:cNvCxnSpPr/>
          <p:nvPr/>
        </p:nvCxnSpPr>
        <p:spPr>
          <a:xfrm>
            <a:off x="4701569" y="4414930"/>
            <a:ext cx="548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Box 7"/>
          <p:cNvSpPr txBox="1">
            <a:spLocks noChangeArrowheads="1"/>
          </p:cNvSpPr>
          <p:nvPr/>
        </p:nvSpPr>
        <p:spPr bwMode="auto">
          <a:xfrm rot="5400000" flipV="1">
            <a:off x="6862567" y="3727449"/>
            <a:ext cx="250128" cy="971530"/>
          </a:xfrm>
          <a:prstGeom prst="rect">
            <a:avLst/>
          </a:prstGeom>
          <a:noFill/>
          <a:ln w="9525">
            <a:noFill/>
            <a:miter lim="800000"/>
            <a:headEnd/>
            <a:tailEnd/>
          </a:ln>
        </p:spPr>
        <p:txBody>
          <a:bodyPr vert="eaVert" lIns="72890" tIns="36444" rIns="72890" bIns="36444" anchor="t"/>
          <a:lstStyle/>
          <a:p>
            <a:pPr algn="ctr" defTabSz="684432" eaLnBrk="0" hangingPunct="0">
              <a:lnSpc>
                <a:spcPct val="150000"/>
              </a:lnSpc>
              <a:defRPr/>
            </a:pPr>
            <a:r>
              <a:rPr lang="en-US" sz="1100" b="1" dirty="0">
                <a:latin typeface="+mn-lt"/>
                <a:ea typeface="ＭＳ Ｐゴシック" pitchFamily="-109" charset="-128"/>
                <a:cs typeface="ＭＳ Ｐゴシック" pitchFamily="-109" charset="-128"/>
              </a:rPr>
              <a:t>10 LC/30RU</a:t>
            </a:r>
          </a:p>
          <a:p>
            <a:pPr algn="ctr" defTabSz="684432" eaLnBrk="0" hangingPunct="0">
              <a:lnSpc>
                <a:spcPct val="150000"/>
              </a:lnSpc>
              <a:defRPr/>
            </a:pPr>
            <a:r>
              <a:rPr lang="en-US" sz="800" b="1" dirty="0">
                <a:latin typeface="+mn-lt"/>
                <a:ea typeface="ＭＳ Ｐゴシック" pitchFamily="-109" charset="-128"/>
                <a:cs typeface="ＭＳ Ｐゴシック" pitchFamily="-109" charset="-128"/>
              </a:rPr>
              <a:t>80 </a:t>
            </a:r>
            <a:r>
              <a:rPr lang="en-US" sz="800" b="1" dirty="0" err="1">
                <a:latin typeface="+mn-lt"/>
                <a:ea typeface="ＭＳ Ｐゴシック" pitchFamily="-109" charset="-128"/>
                <a:cs typeface="ＭＳ Ｐゴシック" pitchFamily="-109" charset="-128"/>
              </a:rPr>
              <a:t>Tbps</a:t>
            </a:r>
            <a:endParaRPr lang="en-US" sz="800" b="1" dirty="0">
              <a:latin typeface="+mn-lt"/>
              <a:ea typeface="ＭＳ Ｐゴシック" pitchFamily="-109" charset="-128"/>
              <a:cs typeface="ＭＳ Ｐゴシック" pitchFamily="-109" charset="-128"/>
            </a:endParaRPr>
          </a:p>
        </p:txBody>
      </p:sp>
      <p:cxnSp>
        <p:nvCxnSpPr>
          <p:cNvPr id="16" name="Straight Connector 15"/>
          <p:cNvCxnSpPr/>
          <p:nvPr/>
        </p:nvCxnSpPr>
        <p:spPr>
          <a:xfrm>
            <a:off x="6670059" y="4420336"/>
            <a:ext cx="548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Box 7"/>
          <p:cNvSpPr txBox="1">
            <a:spLocks noChangeArrowheads="1"/>
          </p:cNvSpPr>
          <p:nvPr/>
        </p:nvSpPr>
        <p:spPr bwMode="auto">
          <a:xfrm rot="5400000" flipV="1">
            <a:off x="7710870" y="3775409"/>
            <a:ext cx="257449" cy="896835"/>
          </a:xfrm>
          <a:prstGeom prst="rect">
            <a:avLst/>
          </a:prstGeom>
          <a:noFill/>
          <a:ln w="9525">
            <a:noFill/>
            <a:miter lim="800000"/>
            <a:headEnd/>
            <a:tailEnd/>
          </a:ln>
        </p:spPr>
        <p:txBody>
          <a:bodyPr vert="eaVert" lIns="72890" tIns="36444" rIns="72890" bIns="36444" anchor="t"/>
          <a:lstStyle/>
          <a:p>
            <a:pPr algn="ctr" defTabSz="684432" eaLnBrk="0" hangingPunct="0">
              <a:lnSpc>
                <a:spcPct val="150000"/>
              </a:lnSpc>
              <a:defRPr/>
            </a:pPr>
            <a:r>
              <a:rPr lang="en-US" sz="1100" b="1" dirty="0">
                <a:latin typeface="+mn-lt"/>
                <a:ea typeface="ＭＳ Ｐゴシック" pitchFamily="-109" charset="-128"/>
                <a:cs typeface="ＭＳ Ｐゴシック" pitchFamily="-109" charset="-128"/>
              </a:rPr>
              <a:t>20 LC/44RU</a:t>
            </a:r>
          </a:p>
          <a:p>
            <a:pPr algn="ctr" defTabSz="684432" eaLnBrk="0" hangingPunct="0">
              <a:lnSpc>
                <a:spcPct val="150000"/>
              </a:lnSpc>
              <a:defRPr/>
            </a:pPr>
            <a:r>
              <a:rPr lang="en-US" sz="800" b="1" dirty="0">
                <a:latin typeface="+mn-lt"/>
                <a:ea typeface="ＭＳ Ｐゴシック" pitchFamily="-109" charset="-128"/>
                <a:cs typeface="ＭＳ Ｐゴシック" pitchFamily="-109" charset="-128"/>
              </a:rPr>
              <a:t>160 </a:t>
            </a:r>
            <a:r>
              <a:rPr lang="en-US" sz="800" b="1" dirty="0" err="1">
                <a:latin typeface="+mn-lt"/>
                <a:ea typeface="ＭＳ Ｐゴシック" pitchFamily="-109" charset="-128"/>
                <a:cs typeface="ＭＳ Ｐゴシック" pitchFamily="-109" charset="-128"/>
              </a:rPr>
              <a:t>Tbps</a:t>
            </a:r>
            <a:endParaRPr lang="en-US" sz="800" b="1" dirty="0">
              <a:latin typeface="+mn-lt"/>
              <a:ea typeface="ＭＳ Ｐゴシック" pitchFamily="-109" charset="-128"/>
              <a:cs typeface="ＭＳ Ｐゴシック" pitchFamily="-109" charset="-128"/>
            </a:endParaRPr>
          </a:p>
        </p:txBody>
      </p:sp>
      <p:cxnSp>
        <p:nvCxnSpPr>
          <p:cNvPr id="18" name="Straight Connector 17"/>
          <p:cNvCxnSpPr/>
          <p:nvPr/>
        </p:nvCxnSpPr>
        <p:spPr>
          <a:xfrm>
            <a:off x="7567166" y="4405480"/>
            <a:ext cx="548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Box 7"/>
          <p:cNvSpPr txBox="1">
            <a:spLocks noChangeArrowheads="1"/>
          </p:cNvSpPr>
          <p:nvPr/>
        </p:nvSpPr>
        <p:spPr bwMode="auto">
          <a:xfrm rot="5400000" flipV="1">
            <a:off x="3213894" y="3818543"/>
            <a:ext cx="257447" cy="810480"/>
          </a:xfrm>
          <a:prstGeom prst="rect">
            <a:avLst/>
          </a:prstGeom>
          <a:noFill/>
          <a:ln w="9525">
            <a:noFill/>
            <a:miter lim="800000"/>
            <a:headEnd/>
            <a:tailEnd/>
          </a:ln>
        </p:spPr>
        <p:txBody>
          <a:bodyPr vert="eaVert" lIns="72890" tIns="36444" rIns="72890" bIns="36444" anchor="t"/>
          <a:lstStyle/>
          <a:p>
            <a:pPr algn="ctr" defTabSz="684432" eaLnBrk="0" hangingPunct="0">
              <a:lnSpc>
                <a:spcPct val="150000"/>
              </a:lnSpc>
              <a:defRPr/>
            </a:pPr>
            <a:r>
              <a:rPr lang="en-US" sz="1100" b="1" dirty="0">
                <a:latin typeface="+mn-lt"/>
                <a:ea typeface="ＭＳ Ｐゴシック" pitchFamily="-109" charset="-128"/>
                <a:cs typeface="ＭＳ Ｐゴシック" pitchFamily="-109" charset="-128"/>
              </a:rPr>
              <a:t>4 LC/10RU</a:t>
            </a:r>
          </a:p>
          <a:p>
            <a:pPr algn="ctr" defTabSz="684432" eaLnBrk="0" hangingPunct="0">
              <a:lnSpc>
                <a:spcPct val="150000"/>
              </a:lnSpc>
              <a:defRPr/>
            </a:pPr>
            <a:r>
              <a:rPr lang="en-US" sz="800" b="1" dirty="0">
                <a:latin typeface="+mn-lt"/>
                <a:ea typeface="ＭＳ Ｐゴシック" pitchFamily="-109" charset="-128"/>
                <a:cs typeface="ＭＳ Ｐゴシック" pitchFamily="-109" charset="-128"/>
              </a:rPr>
              <a:t>7 Tbps</a:t>
            </a:r>
          </a:p>
        </p:txBody>
      </p:sp>
      <p:cxnSp>
        <p:nvCxnSpPr>
          <p:cNvPr id="20" name="Straight Connector 19"/>
          <p:cNvCxnSpPr/>
          <p:nvPr/>
        </p:nvCxnSpPr>
        <p:spPr>
          <a:xfrm>
            <a:off x="3068251" y="4407606"/>
            <a:ext cx="548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ectangle 25"/>
          <p:cNvSpPr>
            <a:spLocks noChangeArrowheads="1"/>
          </p:cNvSpPr>
          <p:nvPr/>
        </p:nvSpPr>
        <p:spPr bwMode="auto">
          <a:xfrm>
            <a:off x="1645696" y="3553355"/>
            <a:ext cx="1166844" cy="236630"/>
          </a:xfrm>
          <a:prstGeom prst="rect">
            <a:avLst/>
          </a:prstGeom>
          <a:noFill/>
          <a:ln w="9525">
            <a:noFill/>
            <a:miter lim="800000"/>
            <a:headEnd/>
            <a:tailEnd/>
          </a:ln>
        </p:spPr>
        <p:txBody>
          <a:bodyPr lIns="81989" tIns="40971" rIns="81989" bIns="40971">
            <a:spAutoFit/>
          </a:bodyPr>
          <a:lstStyle/>
          <a:p>
            <a:pPr algn="ctr" defTabSz="812818">
              <a:spcBef>
                <a:spcPct val="50000"/>
              </a:spcBef>
              <a:defRPr/>
            </a:pPr>
            <a:r>
              <a:rPr lang="en-US" sz="1000" b="1" dirty="0">
                <a:latin typeface="+mn-lt"/>
              </a:rPr>
              <a:t>ASR 9904</a:t>
            </a:r>
          </a:p>
        </p:txBody>
      </p:sp>
      <p:sp>
        <p:nvSpPr>
          <p:cNvPr id="22" name="Rectangle 25"/>
          <p:cNvSpPr>
            <a:spLocks noChangeArrowheads="1"/>
          </p:cNvSpPr>
          <p:nvPr/>
        </p:nvSpPr>
        <p:spPr bwMode="auto">
          <a:xfrm>
            <a:off x="762002" y="3756842"/>
            <a:ext cx="778415" cy="236630"/>
          </a:xfrm>
          <a:prstGeom prst="rect">
            <a:avLst/>
          </a:prstGeom>
          <a:noFill/>
          <a:ln w="9525">
            <a:noFill/>
            <a:miter lim="800000"/>
            <a:headEnd/>
            <a:tailEnd/>
          </a:ln>
        </p:spPr>
        <p:txBody>
          <a:bodyPr wrap="square" lIns="81989" tIns="40971" rIns="81989" bIns="40971">
            <a:spAutoFit/>
          </a:bodyPr>
          <a:lstStyle/>
          <a:p>
            <a:pPr algn="ctr" defTabSz="812818">
              <a:spcBef>
                <a:spcPct val="50000"/>
              </a:spcBef>
              <a:defRPr/>
            </a:pPr>
            <a:r>
              <a:rPr lang="en-US" sz="1000" b="1" dirty="0">
                <a:latin typeface="+mn-lt"/>
              </a:rPr>
              <a:t>ASR 9001</a:t>
            </a:r>
          </a:p>
        </p:txBody>
      </p:sp>
      <p:sp>
        <p:nvSpPr>
          <p:cNvPr id="23" name="Rectangle 25"/>
          <p:cNvSpPr>
            <a:spLocks noChangeArrowheads="1"/>
          </p:cNvSpPr>
          <p:nvPr/>
        </p:nvSpPr>
        <p:spPr bwMode="auto">
          <a:xfrm>
            <a:off x="2937333" y="3309644"/>
            <a:ext cx="810481" cy="236630"/>
          </a:xfrm>
          <a:prstGeom prst="rect">
            <a:avLst/>
          </a:prstGeom>
          <a:noFill/>
          <a:ln w="9525">
            <a:noFill/>
            <a:miter lim="800000"/>
            <a:headEnd/>
            <a:tailEnd/>
          </a:ln>
        </p:spPr>
        <p:txBody>
          <a:bodyPr wrap="square" lIns="81989" tIns="40971" rIns="81989" bIns="40971">
            <a:spAutoFit/>
          </a:bodyPr>
          <a:lstStyle/>
          <a:p>
            <a:pPr algn="ctr" defTabSz="812818">
              <a:spcBef>
                <a:spcPct val="50000"/>
              </a:spcBef>
              <a:defRPr/>
            </a:pPr>
            <a:r>
              <a:rPr lang="en-US" sz="1000" b="1" dirty="0">
                <a:latin typeface="+mn-lt"/>
              </a:rPr>
              <a:t>ASR 9006</a:t>
            </a:r>
          </a:p>
        </p:txBody>
      </p:sp>
      <p:sp>
        <p:nvSpPr>
          <p:cNvPr id="24" name="Rectangle 25"/>
          <p:cNvSpPr>
            <a:spLocks noChangeArrowheads="1"/>
          </p:cNvSpPr>
          <p:nvPr/>
        </p:nvSpPr>
        <p:spPr bwMode="auto">
          <a:xfrm>
            <a:off x="4392469" y="2854334"/>
            <a:ext cx="1166844" cy="236630"/>
          </a:xfrm>
          <a:prstGeom prst="rect">
            <a:avLst/>
          </a:prstGeom>
          <a:noFill/>
          <a:ln w="9525">
            <a:noFill/>
            <a:miter lim="800000"/>
            <a:headEnd/>
            <a:tailEnd/>
          </a:ln>
        </p:spPr>
        <p:txBody>
          <a:bodyPr lIns="81989" tIns="40971" rIns="81989" bIns="40971">
            <a:spAutoFit/>
          </a:bodyPr>
          <a:lstStyle/>
          <a:p>
            <a:pPr algn="ctr" defTabSz="812818">
              <a:spcBef>
                <a:spcPct val="50000"/>
              </a:spcBef>
              <a:defRPr/>
            </a:pPr>
            <a:r>
              <a:rPr lang="en-US" sz="1000" b="1" dirty="0">
                <a:latin typeface="+mn-lt"/>
              </a:rPr>
              <a:t>ASR 9010</a:t>
            </a:r>
          </a:p>
        </p:txBody>
      </p:sp>
      <p:sp>
        <p:nvSpPr>
          <p:cNvPr id="25" name="Rectangle 25"/>
          <p:cNvSpPr>
            <a:spLocks noChangeArrowheads="1"/>
          </p:cNvSpPr>
          <p:nvPr/>
        </p:nvSpPr>
        <p:spPr bwMode="auto">
          <a:xfrm>
            <a:off x="6317990" y="2466683"/>
            <a:ext cx="1166844" cy="236630"/>
          </a:xfrm>
          <a:prstGeom prst="rect">
            <a:avLst/>
          </a:prstGeom>
          <a:noFill/>
          <a:ln w="9525">
            <a:noFill/>
            <a:miter lim="800000"/>
            <a:headEnd/>
            <a:tailEnd/>
          </a:ln>
        </p:spPr>
        <p:txBody>
          <a:bodyPr lIns="81989" tIns="40971" rIns="81989" bIns="40971">
            <a:spAutoFit/>
          </a:bodyPr>
          <a:lstStyle/>
          <a:p>
            <a:pPr algn="ctr" defTabSz="812818">
              <a:spcBef>
                <a:spcPct val="50000"/>
              </a:spcBef>
              <a:defRPr/>
            </a:pPr>
            <a:r>
              <a:rPr lang="en-US" sz="1000" b="1" dirty="0">
                <a:latin typeface="+mn-lt"/>
              </a:rPr>
              <a:t>ASR 9912</a:t>
            </a:r>
          </a:p>
        </p:txBody>
      </p:sp>
      <p:sp>
        <p:nvSpPr>
          <p:cNvPr id="26" name="Rectangle 25"/>
          <p:cNvSpPr>
            <a:spLocks noChangeArrowheads="1"/>
          </p:cNvSpPr>
          <p:nvPr/>
        </p:nvSpPr>
        <p:spPr bwMode="auto">
          <a:xfrm>
            <a:off x="7210383" y="2195258"/>
            <a:ext cx="1166844" cy="236630"/>
          </a:xfrm>
          <a:prstGeom prst="rect">
            <a:avLst/>
          </a:prstGeom>
          <a:noFill/>
          <a:ln w="9525">
            <a:noFill/>
            <a:miter lim="800000"/>
            <a:headEnd/>
            <a:tailEnd/>
          </a:ln>
        </p:spPr>
        <p:txBody>
          <a:bodyPr lIns="81989" tIns="40971" rIns="81989" bIns="40971">
            <a:spAutoFit/>
          </a:bodyPr>
          <a:lstStyle/>
          <a:p>
            <a:pPr algn="ctr" defTabSz="812818">
              <a:spcBef>
                <a:spcPct val="50000"/>
              </a:spcBef>
              <a:defRPr/>
            </a:pPr>
            <a:r>
              <a:rPr lang="en-US" sz="1000" b="1" dirty="0">
                <a:latin typeface="+mn-lt"/>
              </a:rPr>
              <a:t>ASR 9922</a:t>
            </a:r>
          </a:p>
        </p:txBody>
      </p:sp>
      <p:sp>
        <p:nvSpPr>
          <p:cNvPr id="31" name="Text Box 45"/>
          <p:cNvSpPr txBox="1">
            <a:spLocks noChangeArrowheads="1"/>
          </p:cNvSpPr>
          <p:nvPr/>
        </p:nvSpPr>
        <p:spPr bwMode="auto">
          <a:xfrm>
            <a:off x="407811" y="4663027"/>
            <a:ext cx="1079500" cy="228600"/>
          </a:xfrm>
          <a:prstGeom prst="rect">
            <a:avLst/>
          </a:prstGeom>
          <a:solidFill>
            <a:schemeClr val="accent4">
              <a:lumMod val="20000"/>
              <a:lumOff val="80000"/>
              <a:alpha val="50195"/>
            </a:schemeClr>
          </a:solidFill>
          <a:ln w="9525" algn="ctr">
            <a:noFill/>
            <a:miter lim="800000"/>
            <a:headEnd/>
            <a:tailEnd/>
          </a:ln>
          <a:effectLst>
            <a:prstShdw prst="shdw17" dist="17961" dir="2700000">
              <a:srgbClr val="161617">
                <a:alpha val="50000"/>
              </a:srgbClr>
            </a:prstShdw>
          </a:effectLst>
        </p:spPr>
        <p:txBody>
          <a:bodyPr lIns="0" tIns="54774" rIns="0" bIns="63873" anchor="ctr" anchorCtr="1"/>
          <a:lstStyle/>
          <a:p>
            <a:pPr algn="ctr" defTabSz="812818" eaLnBrk="0" hangingPunct="0">
              <a:lnSpc>
                <a:spcPct val="90000"/>
              </a:lnSpc>
              <a:defRPr/>
            </a:pPr>
            <a:r>
              <a:rPr lang="en-US" sz="1400" dirty="0">
                <a:solidFill>
                  <a:srgbClr val="7030A0"/>
                </a:solidFill>
                <a:latin typeface="+mn-lt"/>
                <a:ea typeface="ＭＳ Ｐゴシック" pitchFamily="34" charset="-128"/>
              </a:rPr>
              <a:t>MSE</a:t>
            </a:r>
          </a:p>
        </p:txBody>
      </p:sp>
      <p:sp>
        <p:nvSpPr>
          <p:cNvPr id="32" name="Text Box 46"/>
          <p:cNvSpPr txBox="1">
            <a:spLocks noChangeArrowheads="1"/>
          </p:cNvSpPr>
          <p:nvPr/>
        </p:nvSpPr>
        <p:spPr bwMode="auto">
          <a:xfrm>
            <a:off x="1566862" y="4663027"/>
            <a:ext cx="1081088" cy="228600"/>
          </a:xfrm>
          <a:prstGeom prst="rect">
            <a:avLst/>
          </a:prstGeom>
          <a:solidFill>
            <a:schemeClr val="accent4">
              <a:lumMod val="20000"/>
              <a:lumOff val="80000"/>
              <a:alpha val="50195"/>
            </a:schemeClr>
          </a:solidFill>
          <a:ln w="9525" algn="ctr">
            <a:noFill/>
            <a:miter lim="800000"/>
            <a:headEnd/>
            <a:tailEnd/>
          </a:ln>
          <a:effectLst>
            <a:prstShdw prst="shdw17" dist="17961" dir="2700000">
              <a:srgbClr val="161617">
                <a:alpha val="50000"/>
              </a:srgbClr>
            </a:prstShdw>
          </a:effectLst>
        </p:spPr>
        <p:txBody>
          <a:bodyPr lIns="0" tIns="54774" rIns="0" bIns="63873" anchor="ctr" anchorCtr="1"/>
          <a:lstStyle/>
          <a:p>
            <a:pPr algn="ctr" defTabSz="812818" eaLnBrk="0" hangingPunct="0">
              <a:lnSpc>
                <a:spcPct val="90000"/>
              </a:lnSpc>
              <a:defRPr/>
            </a:pPr>
            <a:r>
              <a:rPr lang="en-US" sz="1400" dirty="0">
                <a:solidFill>
                  <a:srgbClr val="7030A0"/>
                </a:solidFill>
                <a:latin typeface="+mn-lt"/>
                <a:ea typeface="ＭＳ Ｐゴシック" pitchFamily="34" charset="-128"/>
              </a:rPr>
              <a:t>E-MSE</a:t>
            </a:r>
          </a:p>
        </p:txBody>
      </p:sp>
      <p:sp>
        <p:nvSpPr>
          <p:cNvPr id="33" name="Text Box 47"/>
          <p:cNvSpPr txBox="1">
            <a:spLocks noChangeArrowheads="1"/>
          </p:cNvSpPr>
          <p:nvPr/>
        </p:nvSpPr>
        <p:spPr bwMode="auto">
          <a:xfrm>
            <a:off x="2693188" y="4669194"/>
            <a:ext cx="1363484" cy="228600"/>
          </a:xfrm>
          <a:prstGeom prst="rect">
            <a:avLst/>
          </a:prstGeom>
          <a:solidFill>
            <a:schemeClr val="accent4">
              <a:lumMod val="20000"/>
              <a:lumOff val="80000"/>
              <a:alpha val="50195"/>
            </a:schemeClr>
          </a:solidFill>
          <a:ln w="9525" algn="ctr">
            <a:noFill/>
            <a:miter lim="800000"/>
            <a:headEnd/>
            <a:tailEnd/>
          </a:ln>
          <a:effectLst>
            <a:prstShdw prst="shdw17" dist="17961" dir="2700000">
              <a:srgbClr val="161617">
                <a:alpha val="50000"/>
              </a:srgbClr>
            </a:prstShdw>
          </a:effectLst>
        </p:spPr>
        <p:txBody>
          <a:bodyPr lIns="0" tIns="54774" rIns="0" bIns="63873" anchor="ctr" anchorCtr="1"/>
          <a:lstStyle/>
          <a:p>
            <a:pPr algn="ctr" defTabSz="812818" eaLnBrk="0" hangingPunct="0">
              <a:lnSpc>
                <a:spcPct val="90000"/>
              </a:lnSpc>
              <a:defRPr/>
            </a:pPr>
            <a:r>
              <a:rPr lang="en-US" sz="1400" dirty="0">
                <a:solidFill>
                  <a:srgbClr val="7030A0"/>
                </a:solidFill>
                <a:latin typeface="+mn-lt"/>
                <a:ea typeface="ＭＳ Ｐゴシック" pitchFamily="34" charset="-128"/>
              </a:rPr>
              <a:t>Peering</a:t>
            </a:r>
          </a:p>
        </p:txBody>
      </p:sp>
      <p:sp>
        <p:nvSpPr>
          <p:cNvPr id="34" name="Text Box 48"/>
          <p:cNvSpPr txBox="1">
            <a:spLocks noChangeArrowheads="1"/>
          </p:cNvSpPr>
          <p:nvPr/>
        </p:nvSpPr>
        <p:spPr bwMode="auto">
          <a:xfrm>
            <a:off x="4092986" y="4663027"/>
            <a:ext cx="1081087" cy="228600"/>
          </a:xfrm>
          <a:prstGeom prst="rect">
            <a:avLst/>
          </a:prstGeom>
          <a:solidFill>
            <a:schemeClr val="accent4">
              <a:lumMod val="20000"/>
              <a:lumOff val="80000"/>
              <a:alpha val="50195"/>
            </a:schemeClr>
          </a:solidFill>
          <a:ln w="9525" algn="ctr">
            <a:noFill/>
            <a:miter lim="800000"/>
            <a:headEnd/>
            <a:tailEnd/>
          </a:ln>
          <a:effectLst>
            <a:prstShdw prst="shdw17" dist="17961" dir="2700000">
              <a:srgbClr val="161617">
                <a:alpha val="50000"/>
              </a:srgbClr>
            </a:prstShdw>
          </a:effectLst>
        </p:spPr>
        <p:txBody>
          <a:bodyPr lIns="0" tIns="54774" rIns="0" bIns="63873" anchor="ctr" anchorCtr="1"/>
          <a:lstStyle/>
          <a:p>
            <a:pPr algn="ctr" defTabSz="812818" eaLnBrk="0" hangingPunct="0">
              <a:lnSpc>
                <a:spcPct val="90000"/>
              </a:lnSpc>
              <a:defRPr/>
            </a:pPr>
            <a:r>
              <a:rPr lang="en-US" sz="1400" dirty="0">
                <a:solidFill>
                  <a:srgbClr val="7030A0"/>
                </a:solidFill>
                <a:latin typeface="+mn-lt"/>
                <a:ea typeface="ＭＳ Ｐゴシック" pitchFamily="34" charset="-128"/>
              </a:rPr>
              <a:t>P/PE</a:t>
            </a:r>
          </a:p>
        </p:txBody>
      </p:sp>
      <p:sp>
        <p:nvSpPr>
          <p:cNvPr id="36" name="Text Box 50"/>
          <p:cNvSpPr txBox="1">
            <a:spLocks noChangeArrowheads="1"/>
          </p:cNvSpPr>
          <p:nvPr/>
        </p:nvSpPr>
        <p:spPr bwMode="auto">
          <a:xfrm>
            <a:off x="6392308" y="4663027"/>
            <a:ext cx="1081088" cy="228600"/>
          </a:xfrm>
          <a:prstGeom prst="rect">
            <a:avLst/>
          </a:prstGeom>
          <a:solidFill>
            <a:schemeClr val="accent4">
              <a:lumMod val="20000"/>
              <a:lumOff val="80000"/>
              <a:alpha val="50195"/>
            </a:schemeClr>
          </a:solidFill>
          <a:ln w="9525" algn="ctr">
            <a:noFill/>
            <a:miter lim="800000"/>
            <a:headEnd/>
            <a:tailEnd/>
          </a:ln>
          <a:effectLst>
            <a:prstShdw prst="shdw17" dist="17961" dir="2700000">
              <a:srgbClr val="161617">
                <a:alpha val="50000"/>
              </a:srgbClr>
            </a:prstShdw>
          </a:effectLst>
        </p:spPr>
        <p:txBody>
          <a:bodyPr lIns="0" tIns="54774" rIns="0" bIns="63873" anchor="ctr" anchorCtr="1"/>
          <a:lstStyle/>
          <a:p>
            <a:pPr algn="ctr" defTabSz="812818" eaLnBrk="0" hangingPunct="0">
              <a:lnSpc>
                <a:spcPct val="90000"/>
              </a:lnSpc>
              <a:defRPr/>
            </a:pPr>
            <a:r>
              <a:rPr lang="en-US" sz="1400" dirty="0">
                <a:solidFill>
                  <a:srgbClr val="7030A0"/>
                </a:solidFill>
                <a:latin typeface="+mn-lt"/>
                <a:ea typeface="ＭＳ Ｐゴシック" pitchFamily="34" charset="-128"/>
              </a:rPr>
              <a:t>Mobility</a:t>
            </a:r>
          </a:p>
        </p:txBody>
      </p:sp>
      <p:sp>
        <p:nvSpPr>
          <p:cNvPr id="37" name="Text Box 51"/>
          <p:cNvSpPr txBox="1">
            <a:spLocks noChangeArrowheads="1"/>
          </p:cNvSpPr>
          <p:nvPr/>
        </p:nvSpPr>
        <p:spPr bwMode="auto">
          <a:xfrm>
            <a:off x="7589526" y="4663027"/>
            <a:ext cx="1079500" cy="228600"/>
          </a:xfrm>
          <a:prstGeom prst="rect">
            <a:avLst/>
          </a:prstGeom>
          <a:solidFill>
            <a:schemeClr val="accent4">
              <a:lumMod val="20000"/>
              <a:lumOff val="80000"/>
              <a:alpha val="50195"/>
            </a:schemeClr>
          </a:solidFill>
          <a:ln w="9525" algn="ctr">
            <a:noFill/>
            <a:miter lim="800000"/>
            <a:headEnd/>
            <a:tailEnd/>
          </a:ln>
          <a:effectLst>
            <a:prstShdw prst="shdw17" dist="17961" dir="2700000">
              <a:srgbClr val="161617">
                <a:alpha val="50000"/>
              </a:srgbClr>
            </a:prstShdw>
          </a:effectLst>
        </p:spPr>
        <p:txBody>
          <a:bodyPr lIns="0" tIns="54774" rIns="0" bIns="63873" anchor="ctr" anchorCtr="1"/>
          <a:lstStyle/>
          <a:p>
            <a:pPr algn="ctr" defTabSz="812818" eaLnBrk="0" hangingPunct="0">
              <a:lnSpc>
                <a:spcPct val="90000"/>
              </a:lnSpc>
              <a:defRPr/>
            </a:pPr>
            <a:r>
              <a:rPr lang="en-US" sz="1400">
                <a:solidFill>
                  <a:srgbClr val="7030A0"/>
                </a:solidFill>
                <a:latin typeface="+mn-lt"/>
                <a:ea typeface="ＭＳ Ｐゴシック" pitchFamily="34" charset="-128"/>
              </a:rPr>
              <a:t>Broadband</a:t>
            </a:r>
          </a:p>
        </p:txBody>
      </p:sp>
      <p:sp>
        <p:nvSpPr>
          <p:cNvPr id="38" name="Title 1"/>
          <p:cNvSpPr>
            <a:spLocks noGrp="1"/>
          </p:cNvSpPr>
          <p:nvPr>
            <p:ph type="title"/>
          </p:nvPr>
        </p:nvSpPr>
        <p:spPr>
          <a:xfrm>
            <a:off x="478548" y="241081"/>
            <a:ext cx="8233113" cy="477277"/>
          </a:xfrm>
        </p:spPr>
        <p:txBody>
          <a:bodyPr vert="horz" wrap="square" lIns="73330" tIns="40723" rIns="73330" bIns="40723" numCol="1" rtlCol="0" anchor="b" anchorCtr="0" compatLnSpc="1">
            <a:prstTxWarp prst="textNoShape">
              <a:avLst/>
            </a:prstTxWarp>
            <a:noAutofit/>
          </a:bodyPr>
          <a:lstStyle/>
          <a:p>
            <a:pPr defTabSz="814703"/>
            <a:r>
              <a:rPr lang="en-US" spc="-89" dirty="0">
                <a:latin typeface="+mn-lt"/>
              </a:rPr>
              <a:t>Cisco ASR 9000 portfolio</a:t>
            </a:r>
          </a:p>
        </p:txBody>
      </p:sp>
      <p:sp>
        <p:nvSpPr>
          <p:cNvPr id="41" name="Rectangle 25"/>
          <p:cNvSpPr>
            <a:spLocks noChangeArrowheads="1"/>
          </p:cNvSpPr>
          <p:nvPr/>
        </p:nvSpPr>
        <p:spPr bwMode="auto">
          <a:xfrm>
            <a:off x="598022" y="2289213"/>
            <a:ext cx="2245005" cy="267408"/>
          </a:xfrm>
          <a:prstGeom prst="rect">
            <a:avLst/>
          </a:prstGeom>
          <a:noFill/>
          <a:ln w="9525">
            <a:noFill/>
            <a:miter lim="800000"/>
            <a:headEnd/>
            <a:tailEnd/>
          </a:ln>
        </p:spPr>
        <p:txBody>
          <a:bodyPr wrap="square" lIns="81989" tIns="40971" rIns="81989" bIns="40971">
            <a:spAutoFit/>
          </a:bodyPr>
          <a:lstStyle/>
          <a:p>
            <a:pPr algn="ctr" defTabSz="812818">
              <a:spcBef>
                <a:spcPct val="50000"/>
              </a:spcBef>
              <a:defRPr/>
            </a:pPr>
            <a:r>
              <a:rPr lang="en-US" sz="1200" b="1" dirty="0" err="1">
                <a:latin typeface="+mn-lt"/>
              </a:rPr>
              <a:t>nV</a:t>
            </a:r>
            <a:r>
              <a:rPr lang="en-US" sz="1200" b="1" dirty="0">
                <a:latin typeface="+mn-lt"/>
              </a:rPr>
              <a:t> Satellite </a:t>
            </a:r>
            <a:endParaRPr lang="en-US" sz="1000" b="1" dirty="0">
              <a:latin typeface="+mn-lt"/>
            </a:endParaRPr>
          </a:p>
        </p:txBody>
      </p:sp>
      <p:pic>
        <p:nvPicPr>
          <p:cNvPr id="43" name="Picture 1"/>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a:stretch/>
        </p:blipFill>
        <p:spPr bwMode="auto">
          <a:xfrm>
            <a:off x="1274839" y="2401265"/>
            <a:ext cx="954279" cy="358468"/>
          </a:xfrm>
          <a:prstGeom prst="rect">
            <a:avLst/>
          </a:prstGeom>
          <a:noFill/>
          <a:ln w="9525">
            <a:noFill/>
            <a:miter lim="800000"/>
            <a:headEnd/>
            <a:tailEnd/>
          </a:ln>
          <a:effectLst/>
        </p:spPr>
      </p:pic>
      <p:sp>
        <p:nvSpPr>
          <p:cNvPr id="35" name="Text Box 49"/>
          <p:cNvSpPr txBox="1">
            <a:spLocks noChangeArrowheads="1"/>
          </p:cNvSpPr>
          <p:nvPr/>
        </p:nvSpPr>
        <p:spPr bwMode="auto">
          <a:xfrm>
            <a:off x="5232138" y="4653299"/>
            <a:ext cx="1081087" cy="228600"/>
          </a:xfrm>
          <a:prstGeom prst="rect">
            <a:avLst/>
          </a:prstGeom>
          <a:solidFill>
            <a:schemeClr val="accent4">
              <a:lumMod val="20000"/>
              <a:lumOff val="80000"/>
              <a:alpha val="50195"/>
            </a:schemeClr>
          </a:solidFill>
          <a:ln w="9525" algn="ctr">
            <a:noFill/>
            <a:miter lim="800000"/>
            <a:headEnd/>
            <a:tailEnd/>
          </a:ln>
          <a:effectLst>
            <a:prstShdw prst="shdw17" dist="17961" dir="2700000">
              <a:srgbClr val="161617">
                <a:alpha val="50000"/>
              </a:srgbClr>
            </a:prstShdw>
          </a:effectLst>
        </p:spPr>
        <p:txBody>
          <a:bodyPr lIns="0" tIns="54774" rIns="0" bIns="63873" anchor="ctr" anchorCtr="1"/>
          <a:lstStyle/>
          <a:p>
            <a:pPr algn="ctr" defTabSz="812818" eaLnBrk="0" hangingPunct="0">
              <a:lnSpc>
                <a:spcPct val="90000"/>
              </a:lnSpc>
              <a:defRPr/>
            </a:pPr>
            <a:r>
              <a:rPr lang="en-US" sz="1400">
                <a:solidFill>
                  <a:srgbClr val="7030A0"/>
                </a:solidFill>
                <a:latin typeface="+mn-lt"/>
                <a:ea typeface="ＭＳ Ｐゴシック" pitchFamily="34" charset="-128"/>
              </a:rPr>
              <a:t>CE</a:t>
            </a:r>
          </a:p>
        </p:txBody>
      </p:sp>
      <p:sp>
        <p:nvSpPr>
          <p:cNvPr id="51" name="Text Box 7"/>
          <p:cNvSpPr txBox="1">
            <a:spLocks noChangeArrowheads="1"/>
          </p:cNvSpPr>
          <p:nvPr/>
        </p:nvSpPr>
        <p:spPr bwMode="auto">
          <a:xfrm rot="5400000" flipV="1">
            <a:off x="5774858" y="3806368"/>
            <a:ext cx="247689" cy="829040"/>
          </a:xfrm>
          <a:prstGeom prst="rect">
            <a:avLst/>
          </a:prstGeom>
          <a:noFill/>
          <a:ln w="9525">
            <a:noFill/>
            <a:miter lim="800000"/>
            <a:headEnd/>
            <a:tailEnd/>
          </a:ln>
        </p:spPr>
        <p:txBody>
          <a:bodyPr vert="eaVert" lIns="54688" tIns="27344" rIns="54688" bIns="27344" anchor="t"/>
          <a:lstStyle/>
          <a:p>
            <a:pPr algn="ctr" defTabSz="684432" eaLnBrk="0" hangingPunct="0">
              <a:lnSpc>
                <a:spcPct val="150000"/>
              </a:lnSpc>
              <a:defRPr/>
            </a:pPr>
            <a:r>
              <a:rPr lang="en-US" sz="1100" b="1" dirty="0">
                <a:latin typeface="+mn-lt"/>
                <a:ea typeface="ＭＳ Ｐゴシック" pitchFamily="-109" charset="-128"/>
                <a:cs typeface="ＭＳ Ｐゴシック" pitchFamily="-109" charset="-128"/>
              </a:rPr>
              <a:t>8 LC/21RU</a:t>
            </a:r>
          </a:p>
          <a:p>
            <a:pPr algn="ctr" defTabSz="684432" eaLnBrk="0" hangingPunct="0">
              <a:lnSpc>
                <a:spcPct val="150000"/>
              </a:lnSpc>
              <a:defRPr/>
            </a:pPr>
            <a:r>
              <a:rPr lang="en-US" sz="800" b="1" dirty="0">
                <a:latin typeface="+mn-lt"/>
                <a:ea typeface="ＭＳ Ｐゴシック" pitchFamily="-109" charset="-128"/>
                <a:cs typeface="ＭＳ Ｐゴシック" pitchFamily="-109" charset="-128"/>
              </a:rPr>
              <a:t>64 Tbps</a:t>
            </a:r>
          </a:p>
        </p:txBody>
      </p:sp>
      <p:sp>
        <p:nvSpPr>
          <p:cNvPr id="53" name="Rectangle 25"/>
          <p:cNvSpPr>
            <a:spLocks noChangeArrowheads="1"/>
          </p:cNvSpPr>
          <p:nvPr/>
        </p:nvSpPr>
        <p:spPr bwMode="auto">
          <a:xfrm>
            <a:off x="5509552" y="2848436"/>
            <a:ext cx="815375" cy="215957"/>
          </a:xfrm>
          <a:prstGeom prst="rect">
            <a:avLst/>
          </a:prstGeom>
          <a:noFill/>
          <a:ln w="9525">
            <a:noFill/>
            <a:miter lim="800000"/>
            <a:headEnd/>
            <a:tailEnd/>
          </a:ln>
        </p:spPr>
        <p:txBody>
          <a:bodyPr wrap="square" lIns="61469" tIns="30734" rIns="61469" bIns="30734" anchor="t">
            <a:spAutoFit/>
          </a:bodyPr>
          <a:lstStyle/>
          <a:p>
            <a:pPr algn="ctr" defTabSz="812818">
              <a:spcBef>
                <a:spcPct val="50000"/>
              </a:spcBef>
              <a:defRPr/>
            </a:pPr>
            <a:r>
              <a:rPr lang="en-US" sz="1000" b="1" dirty="0">
                <a:latin typeface="+mn-lt"/>
              </a:rPr>
              <a:t>ASR 9910</a:t>
            </a:r>
          </a:p>
        </p:txBody>
      </p:sp>
      <p:pic>
        <p:nvPicPr>
          <p:cNvPr id="48" name="Picture 4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299996" y="2636324"/>
            <a:ext cx="1280059" cy="1599657"/>
          </a:xfrm>
          <a:prstGeom prst="rect">
            <a:avLst/>
          </a:prstGeom>
        </p:spPr>
      </p:pic>
      <p:pic>
        <p:nvPicPr>
          <p:cNvPr id="27" name="Picture 26"/>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4681132" y="3053231"/>
            <a:ext cx="706799" cy="1163387"/>
          </a:xfrm>
          <a:prstGeom prst="rect">
            <a:avLst/>
          </a:prstGeom>
        </p:spPr>
      </p:pic>
      <p:pic>
        <p:nvPicPr>
          <p:cNvPr id="1026" name="Picture 2" descr="C:\Users\abedoyan\Documents\Data-abedoyan\ASR9K\ASR 9910 - Shockwave\ASR 9910 Professional Photos\ASR9910-FrontView.png"/>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5471095" y="3044124"/>
            <a:ext cx="936451" cy="1170562"/>
          </a:xfrm>
          <a:prstGeom prst="rect">
            <a:avLst/>
          </a:prstGeom>
          <a:noFill/>
          <a:extLst>
            <a:ext uri="{909E8E84-426E-40dd-AFC4-6F175D3DCCD1}">
              <a14:hiddenFill xmlns:a14="http://schemas.microsoft.com/office/drawing/2010/main" xmlns="">
                <a:solidFill>
                  <a:srgbClr val="FFFFFF"/>
                </a:solidFill>
              </a14:hiddenFill>
            </a:ext>
          </a:extLst>
        </p:spPr>
      </p:pic>
      <p:sp>
        <p:nvSpPr>
          <p:cNvPr id="46" name="Text Box 7"/>
          <p:cNvSpPr txBox="1">
            <a:spLocks noChangeArrowheads="1"/>
          </p:cNvSpPr>
          <p:nvPr/>
        </p:nvSpPr>
        <p:spPr bwMode="auto">
          <a:xfrm rot="5400000" flipV="1">
            <a:off x="4044474" y="3826163"/>
            <a:ext cx="257447" cy="810480"/>
          </a:xfrm>
          <a:prstGeom prst="rect">
            <a:avLst/>
          </a:prstGeom>
          <a:noFill/>
          <a:ln w="9525">
            <a:noFill/>
            <a:miter lim="800000"/>
            <a:headEnd/>
            <a:tailEnd/>
          </a:ln>
        </p:spPr>
        <p:txBody>
          <a:bodyPr vert="eaVert" lIns="72890" tIns="36444" rIns="72890" bIns="36444" anchor="t"/>
          <a:lstStyle/>
          <a:p>
            <a:pPr algn="ctr" defTabSz="684432" eaLnBrk="0" hangingPunct="0">
              <a:lnSpc>
                <a:spcPct val="150000"/>
              </a:lnSpc>
              <a:defRPr/>
            </a:pPr>
            <a:r>
              <a:rPr lang="en-US" sz="1100" b="1" dirty="0">
                <a:latin typeface="+mn-lt"/>
                <a:ea typeface="ＭＳ Ｐゴシック" pitchFamily="-109" charset="-128"/>
                <a:cs typeface="ＭＳ Ｐゴシック" pitchFamily="-109" charset="-128"/>
              </a:rPr>
              <a:t>4 LC/14RU</a:t>
            </a:r>
          </a:p>
          <a:p>
            <a:pPr algn="ctr" defTabSz="684432" eaLnBrk="0" hangingPunct="0">
              <a:lnSpc>
                <a:spcPct val="150000"/>
              </a:lnSpc>
              <a:defRPr/>
            </a:pPr>
            <a:r>
              <a:rPr lang="en-US" sz="800" b="1" dirty="0">
                <a:latin typeface="+mn-lt"/>
                <a:ea typeface="ＭＳ Ｐゴシック" pitchFamily="-109" charset="-128"/>
                <a:cs typeface="ＭＳ Ｐゴシック" pitchFamily="-109" charset="-128"/>
              </a:rPr>
              <a:t>32 Tbps</a:t>
            </a:r>
          </a:p>
        </p:txBody>
      </p:sp>
      <p:cxnSp>
        <p:nvCxnSpPr>
          <p:cNvPr id="47" name="Straight Connector 46"/>
          <p:cNvCxnSpPr/>
          <p:nvPr/>
        </p:nvCxnSpPr>
        <p:spPr>
          <a:xfrm>
            <a:off x="3898831" y="4415226"/>
            <a:ext cx="548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25"/>
          <p:cNvSpPr>
            <a:spLocks noChangeArrowheads="1"/>
          </p:cNvSpPr>
          <p:nvPr/>
        </p:nvSpPr>
        <p:spPr bwMode="auto">
          <a:xfrm>
            <a:off x="3681072" y="3083126"/>
            <a:ext cx="987934" cy="236630"/>
          </a:xfrm>
          <a:prstGeom prst="rect">
            <a:avLst/>
          </a:prstGeom>
          <a:noFill/>
          <a:ln w="9525">
            <a:noFill/>
            <a:miter lim="800000"/>
            <a:headEnd/>
            <a:tailEnd/>
          </a:ln>
        </p:spPr>
        <p:txBody>
          <a:bodyPr wrap="square" lIns="81989" tIns="40971" rIns="81989" bIns="40971">
            <a:spAutoFit/>
          </a:bodyPr>
          <a:lstStyle/>
          <a:p>
            <a:pPr algn="ctr" defTabSz="812818">
              <a:spcBef>
                <a:spcPct val="50000"/>
              </a:spcBef>
              <a:defRPr/>
            </a:pPr>
            <a:r>
              <a:rPr lang="en-US" sz="1000" b="1" dirty="0">
                <a:latin typeface="+mn-lt"/>
              </a:rPr>
              <a:t>ASR 9906</a:t>
            </a:r>
            <a:endParaRPr lang="en-US" sz="900" b="1" dirty="0">
              <a:latin typeface="+mn-lt"/>
            </a:endParaRPr>
          </a:p>
        </p:txBody>
      </p:sp>
      <p:sp>
        <p:nvSpPr>
          <p:cNvPr id="57" name="Rectangle 56"/>
          <p:cNvSpPr/>
          <p:nvPr/>
        </p:nvSpPr>
        <p:spPr>
          <a:xfrm>
            <a:off x="3813681" y="3456469"/>
            <a:ext cx="657167" cy="676487"/>
          </a:xfrm>
          <a:prstGeom prst="rect">
            <a:avLst/>
          </a:prstGeom>
          <a:solidFill>
            <a:srgbClr val="FFFFFF">
              <a:alpha val="78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457" tIns="34229" rIns="68457" bIns="34229" rtlCol="0" anchor="ctr"/>
          <a:lstStyle/>
          <a:p>
            <a:pPr algn="ctr" defTabSz="684432">
              <a:defRPr/>
            </a:pPr>
            <a:endParaRPr lang="en-US" sz="1400" dirty="0">
              <a:solidFill>
                <a:srgbClr val="4D4D4C"/>
              </a:solidFill>
            </a:endParaRPr>
          </a:p>
        </p:txBody>
      </p:sp>
      <p:cxnSp>
        <p:nvCxnSpPr>
          <p:cNvPr id="59" name="Straight Connector 58"/>
          <p:cNvCxnSpPr/>
          <p:nvPr/>
        </p:nvCxnSpPr>
        <p:spPr>
          <a:xfrm>
            <a:off x="5600729" y="4422550"/>
            <a:ext cx="548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tangle 25"/>
          <p:cNvSpPr>
            <a:spLocks noChangeArrowheads="1"/>
          </p:cNvSpPr>
          <p:nvPr/>
        </p:nvSpPr>
        <p:spPr bwMode="auto">
          <a:xfrm>
            <a:off x="481007" y="3090964"/>
            <a:ext cx="1360361" cy="236630"/>
          </a:xfrm>
          <a:prstGeom prst="rect">
            <a:avLst/>
          </a:prstGeom>
          <a:noFill/>
          <a:ln w="9525">
            <a:noFill/>
            <a:miter lim="800000"/>
            <a:headEnd/>
            <a:tailEnd/>
          </a:ln>
        </p:spPr>
        <p:txBody>
          <a:bodyPr wrap="square" lIns="81989" tIns="40971" rIns="81989" bIns="40971">
            <a:spAutoFit/>
          </a:bodyPr>
          <a:lstStyle/>
          <a:p>
            <a:pPr algn="ctr" defTabSz="812818">
              <a:spcBef>
                <a:spcPct val="50000"/>
              </a:spcBef>
              <a:defRPr/>
            </a:pPr>
            <a:r>
              <a:rPr lang="en-US" sz="1000" b="1" dirty="0">
                <a:latin typeface="+mn-lt"/>
              </a:rPr>
              <a:t>ASR 9901</a:t>
            </a:r>
          </a:p>
        </p:txBody>
      </p:sp>
      <p:pic>
        <p:nvPicPr>
          <p:cNvPr id="50" name="Picture 49"/>
          <p:cNvPicPr>
            <a:picLocks noChangeAspect="1"/>
          </p:cNvPicPr>
          <p:nvPr/>
        </p:nvPicPr>
        <p:blipFill>
          <a:blip r:embed="rId11"/>
          <a:stretch>
            <a:fillRect/>
          </a:stretch>
        </p:blipFill>
        <p:spPr>
          <a:xfrm>
            <a:off x="726915" y="3305341"/>
            <a:ext cx="857341" cy="233430"/>
          </a:xfrm>
          <a:prstGeom prst="rect">
            <a:avLst/>
          </a:prstGeom>
          <a:effectLst/>
        </p:spPr>
      </p:pic>
      <p:pic>
        <p:nvPicPr>
          <p:cNvPr id="55" name="Picture 2">
            <a:extLst>
              <a:ext uri="{FF2B5EF4-FFF2-40B4-BE49-F238E27FC236}">
                <a16:creationId xmlns:a16="http://schemas.microsoft.com/office/drawing/2014/main" id="{67995564-D804-E14A-9874-C5C12406BE9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73805" y="3336527"/>
            <a:ext cx="669920" cy="929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TextBox 51">
            <a:extLst>
              <a:ext uri="{FF2B5EF4-FFF2-40B4-BE49-F238E27FC236}">
                <a16:creationId xmlns:a16="http://schemas.microsoft.com/office/drawing/2014/main" id="{64F4184A-FF9B-0445-83B7-658C8A3FB632}"/>
              </a:ext>
            </a:extLst>
          </p:cNvPr>
          <p:cNvSpPr txBox="1"/>
          <p:nvPr/>
        </p:nvSpPr>
        <p:spPr>
          <a:xfrm>
            <a:off x="809770" y="3529288"/>
            <a:ext cx="710604" cy="215436"/>
          </a:xfrm>
          <a:prstGeom prst="rect">
            <a:avLst/>
          </a:prstGeom>
          <a:noFill/>
        </p:spPr>
        <p:txBody>
          <a:bodyPr wrap="square" lIns="91432" tIns="45716" rIns="91432" bIns="45716" rtlCol="0">
            <a:spAutoFit/>
          </a:bodyPr>
          <a:lstStyle/>
          <a:p>
            <a:pPr defTabSz="685104"/>
            <a:r>
              <a:rPr lang="en-US" sz="800" b="1" dirty="0">
                <a:solidFill>
                  <a:schemeClr val="tx1">
                    <a:lumMod val="90000"/>
                    <a:lumOff val="10000"/>
                  </a:schemeClr>
                </a:solidFill>
                <a:latin typeface="+mn-lt"/>
              </a:rPr>
              <a:t>912 Gbps</a:t>
            </a:r>
          </a:p>
        </p:txBody>
      </p:sp>
    </p:spTree>
    <p:extLst>
      <p:ext uri="{BB962C8B-B14F-4D97-AF65-F5344CB8AC3E}">
        <p14:creationId xmlns:p14="http://schemas.microsoft.com/office/powerpoint/2010/main" val="3864652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2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38842" y="155570"/>
            <a:ext cx="8343315" cy="731647"/>
          </a:xfrm>
        </p:spPr>
        <p:txBody>
          <a:bodyPr/>
          <a:lstStyle/>
          <a:p>
            <a:r>
              <a:rPr lang="en-US" sz="2700" dirty="0">
                <a:latin typeface="+mn-lt"/>
                <a:cs typeface="Arial" panose="020B0604020202020204" pitchFamily="34" charset="0"/>
              </a:rPr>
              <a:t>ASR 9000 Series Built to Last</a:t>
            </a:r>
            <a:br>
              <a:rPr lang="en-US" dirty="0">
                <a:latin typeface="+mn-lt"/>
              </a:rPr>
            </a:br>
            <a:r>
              <a:rPr lang="en-US" sz="1800" dirty="0">
                <a:latin typeface="+mn-lt"/>
                <a:cs typeface="Arial" panose="020B0604020202020204" pitchFamily="34" charset="0"/>
              </a:rPr>
              <a:t>80x capacity increase in ten years; 95% power reduction/G</a:t>
            </a:r>
            <a:endParaRPr lang="en-US" sz="1799" dirty="0">
              <a:latin typeface="+mn-lt"/>
              <a:cs typeface="Arial" panose="020B0604020202020204" pitchFamily="34" charset="0"/>
            </a:endParaRPr>
          </a:p>
        </p:txBody>
      </p:sp>
      <p:grpSp>
        <p:nvGrpSpPr>
          <p:cNvPr id="17" name="Group 16"/>
          <p:cNvGrpSpPr/>
          <p:nvPr/>
        </p:nvGrpSpPr>
        <p:grpSpPr>
          <a:xfrm>
            <a:off x="585601" y="971892"/>
            <a:ext cx="8557211" cy="3933473"/>
            <a:chOff x="963670" y="1073150"/>
            <a:chExt cx="7759437" cy="3566765"/>
          </a:xfrm>
        </p:grpSpPr>
        <p:grpSp>
          <p:nvGrpSpPr>
            <p:cNvPr id="18" name="Group 17"/>
            <p:cNvGrpSpPr/>
            <p:nvPr/>
          </p:nvGrpSpPr>
          <p:grpSpPr>
            <a:xfrm>
              <a:off x="1057155" y="1073150"/>
              <a:ext cx="7665952" cy="3566765"/>
              <a:chOff x="2420455" y="2523864"/>
              <a:chExt cx="7665952" cy="3566765"/>
            </a:xfrm>
          </p:grpSpPr>
          <p:sp>
            <p:nvSpPr>
              <p:cNvPr id="25" name="Up Arrow 24"/>
              <p:cNvSpPr/>
              <p:nvPr/>
            </p:nvSpPr>
            <p:spPr>
              <a:xfrm>
                <a:off x="2420455" y="2523864"/>
                <a:ext cx="625033" cy="3205604"/>
              </a:xfrm>
              <a:prstGeom prst="up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4"/>
                <a:endParaRPr lang="en-US" sz="1799" dirty="0">
                  <a:solidFill>
                    <a:srgbClr val="005073"/>
                  </a:solidFill>
                </a:endParaRPr>
              </a:p>
            </p:txBody>
          </p:sp>
          <p:sp>
            <p:nvSpPr>
              <p:cNvPr id="26" name="Up Arrow 25"/>
              <p:cNvSpPr/>
              <p:nvPr/>
            </p:nvSpPr>
            <p:spPr>
              <a:xfrm rot="5400000">
                <a:off x="6019404" y="2023627"/>
                <a:ext cx="625033" cy="7508972"/>
              </a:xfrm>
              <a:prstGeom prst="up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4"/>
                <a:endParaRPr lang="en-US" sz="1799" dirty="0">
                  <a:solidFill>
                    <a:srgbClr val="005073"/>
                  </a:solidFill>
                </a:endParaRPr>
              </a:p>
            </p:txBody>
          </p:sp>
        </p:grpSp>
        <p:sp>
          <p:nvSpPr>
            <p:cNvPr id="19" name="TextBox 18"/>
            <p:cNvSpPr txBox="1"/>
            <p:nvPr/>
          </p:nvSpPr>
          <p:spPr>
            <a:xfrm rot="16200000">
              <a:off x="-384054" y="2703516"/>
              <a:ext cx="2918690" cy="223241"/>
            </a:xfrm>
            <a:prstGeom prst="rect">
              <a:avLst/>
            </a:prstGeom>
            <a:noFill/>
          </p:spPr>
          <p:txBody>
            <a:bodyPr wrap="square" lIns="91412" tIns="45706" rIns="91412" bIns="45706" rtlCol="0">
              <a:spAutoFit/>
            </a:bodyPr>
            <a:lstStyle/>
            <a:p>
              <a:pPr algn="ctr" defTabSz="457064"/>
              <a:r>
                <a:rPr lang="en-US" sz="1000" dirty="0">
                  <a:solidFill>
                    <a:srgbClr val="005073"/>
                  </a:solidFill>
                  <a:latin typeface="+mn-lt"/>
                </a:rPr>
                <a:t>Full Duplex, Line Rate Capacity (</a:t>
              </a:r>
              <a:r>
                <a:rPr lang="en-US" sz="1000" dirty="0" err="1">
                  <a:solidFill>
                    <a:srgbClr val="005073"/>
                  </a:solidFill>
                  <a:latin typeface="+mn-lt"/>
                </a:rPr>
                <a:t>Tbps</a:t>
              </a:r>
              <a:r>
                <a:rPr lang="en-US" sz="1000" dirty="0">
                  <a:solidFill>
                    <a:srgbClr val="005073"/>
                  </a:solidFill>
                  <a:latin typeface="+mn-lt"/>
                </a:rPr>
                <a:t>)</a:t>
              </a:r>
            </a:p>
          </p:txBody>
        </p:sp>
      </p:grpSp>
      <p:sp>
        <p:nvSpPr>
          <p:cNvPr id="27" name="TextBox 26"/>
          <p:cNvSpPr txBox="1"/>
          <p:nvPr/>
        </p:nvSpPr>
        <p:spPr>
          <a:xfrm>
            <a:off x="1316642" y="4437490"/>
            <a:ext cx="510336" cy="253887"/>
          </a:xfrm>
          <a:prstGeom prst="rect">
            <a:avLst/>
          </a:prstGeom>
          <a:noFill/>
          <a:ln>
            <a:noFill/>
          </a:ln>
        </p:spPr>
        <p:txBody>
          <a:bodyPr wrap="none" lIns="68550" tIns="34276" rIns="68550" bIns="34276" rtlCol="0">
            <a:spAutoFit/>
          </a:bodyPr>
          <a:lstStyle/>
          <a:p>
            <a:pPr defTabSz="685537"/>
            <a:r>
              <a:rPr lang="en-US" sz="1200" dirty="0">
                <a:solidFill>
                  <a:srgbClr val="005073"/>
                </a:solidFill>
                <a:latin typeface="+mn-lt"/>
              </a:rPr>
              <a:t>2009</a:t>
            </a:r>
          </a:p>
        </p:txBody>
      </p:sp>
      <p:sp>
        <p:nvSpPr>
          <p:cNvPr id="28" name="TextBox 27"/>
          <p:cNvSpPr txBox="1"/>
          <p:nvPr/>
        </p:nvSpPr>
        <p:spPr>
          <a:xfrm>
            <a:off x="3441912" y="4437490"/>
            <a:ext cx="510336" cy="253887"/>
          </a:xfrm>
          <a:prstGeom prst="rect">
            <a:avLst/>
          </a:prstGeom>
          <a:noFill/>
          <a:ln>
            <a:noFill/>
          </a:ln>
        </p:spPr>
        <p:txBody>
          <a:bodyPr wrap="none" lIns="68550" tIns="34276" rIns="68550" bIns="34276" rtlCol="0">
            <a:spAutoFit/>
          </a:bodyPr>
          <a:lstStyle/>
          <a:p>
            <a:pPr defTabSz="685537"/>
            <a:r>
              <a:rPr lang="en-US" sz="1200" dirty="0">
                <a:solidFill>
                  <a:srgbClr val="005073"/>
                </a:solidFill>
                <a:latin typeface="+mn-lt"/>
              </a:rPr>
              <a:t>2012</a:t>
            </a:r>
          </a:p>
        </p:txBody>
      </p:sp>
      <p:sp>
        <p:nvSpPr>
          <p:cNvPr id="29" name="TextBox 28"/>
          <p:cNvSpPr txBox="1"/>
          <p:nvPr/>
        </p:nvSpPr>
        <p:spPr>
          <a:xfrm>
            <a:off x="5567182" y="4437490"/>
            <a:ext cx="510336" cy="253887"/>
          </a:xfrm>
          <a:prstGeom prst="rect">
            <a:avLst/>
          </a:prstGeom>
          <a:noFill/>
          <a:ln>
            <a:noFill/>
          </a:ln>
        </p:spPr>
        <p:txBody>
          <a:bodyPr wrap="none" lIns="68550" tIns="34276" rIns="68550" bIns="34276" rtlCol="0">
            <a:spAutoFit/>
          </a:bodyPr>
          <a:lstStyle/>
          <a:p>
            <a:pPr defTabSz="685537"/>
            <a:r>
              <a:rPr lang="en-US" sz="1200" dirty="0">
                <a:solidFill>
                  <a:srgbClr val="005073"/>
                </a:solidFill>
                <a:latin typeface="+mn-lt"/>
              </a:rPr>
              <a:t>2015</a:t>
            </a:r>
          </a:p>
        </p:txBody>
      </p:sp>
      <p:sp>
        <p:nvSpPr>
          <p:cNvPr id="30" name="TextBox 29"/>
          <p:cNvSpPr txBox="1"/>
          <p:nvPr/>
        </p:nvSpPr>
        <p:spPr>
          <a:xfrm>
            <a:off x="7362529" y="4415092"/>
            <a:ext cx="510336" cy="253887"/>
          </a:xfrm>
          <a:prstGeom prst="rect">
            <a:avLst/>
          </a:prstGeom>
          <a:noFill/>
          <a:ln>
            <a:noFill/>
          </a:ln>
        </p:spPr>
        <p:txBody>
          <a:bodyPr wrap="none" lIns="68550" tIns="34276" rIns="68550" bIns="34276" rtlCol="0">
            <a:spAutoFit/>
          </a:bodyPr>
          <a:lstStyle/>
          <a:p>
            <a:pPr defTabSz="685537"/>
            <a:r>
              <a:rPr lang="en-US" sz="1200" dirty="0">
                <a:solidFill>
                  <a:srgbClr val="005073"/>
                </a:solidFill>
                <a:latin typeface="+mn-lt"/>
              </a:rPr>
              <a:t>2018</a:t>
            </a:r>
          </a:p>
        </p:txBody>
      </p:sp>
      <p:sp>
        <p:nvSpPr>
          <p:cNvPr id="31" name="TextBox 30"/>
          <p:cNvSpPr txBox="1"/>
          <p:nvPr/>
        </p:nvSpPr>
        <p:spPr>
          <a:xfrm>
            <a:off x="827515" y="1208337"/>
            <a:ext cx="417361" cy="253887"/>
          </a:xfrm>
          <a:prstGeom prst="rect">
            <a:avLst/>
          </a:prstGeom>
          <a:noFill/>
        </p:spPr>
        <p:txBody>
          <a:bodyPr wrap="none" lIns="68550" tIns="34276" rIns="68550" bIns="34276" rtlCol="0">
            <a:spAutoFit/>
          </a:bodyPr>
          <a:lstStyle/>
          <a:p>
            <a:pPr algn="ctr" defTabSz="685537"/>
            <a:r>
              <a:rPr lang="en-US" sz="1200" dirty="0">
                <a:solidFill>
                  <a:srgbClr val="005073"/>
                </a:solidFill>
                <a:latin typeface="+mn-lt"/>
              </a:rPr>
              <a:t>100</a:t>
            </a:r>
          </a:p>
        </p:txBody>
      </p:sp>
      <p:sp>
        <p:nvSpPr>
          <p:cNvPr id="32" name="TextBox 31"/>
          <p:cNvSpPr txBox="1"/>
          <p:nvPr/>
        </p:nvSpPr>
        <p:spPr>
          <a:xfrm>
            <a:off x="920489" y="3220195"/>
            <a:ext cx="231413" cy="253887"/>
          </a:xfrm>
          <a:prstGeom prst="rect">
            <a:avLst/>
          </a:prstGeom>
          <a:noFill/>
        </p:spPr>
        <p:txBody>
          <a:bodyPr wrap="none" lIns="68550" tIns="34276" rIns="68550" bIns="34276" rtlCol="0">
            <a:spAutoFit/>
          </a:bodyPr>
          <a:lstStyle/>
          <a:p>
            <a:pPr algn="ctr" defTabSz="685537"/>
            <a:r>
              <a:rPr lang="en-US" sz="1200" dirty="0">
                <a:solidFill>
                  <a:srgbClr val="005073"/>
                </a:solidFill>
                <a:latin typeface="+mn-lt"/>
              </a:rPr>
              <a:t>7</a:t>
            </a:r>
          </a:p>
        </p:txBody>
      </p:sp>
      <p:sp>
        <p:nvSpPr>
          <p:cNvPr id="33" name="TextBox 32"/>
          <p:cNvSpPr txBox="1"/>
          <p:nvPr/>
        </p:nvSpPr>
        <p:spPr>
          <a:xfrm>
            <a:off x="920489" y="3890814"/>
            <a:ext cx="231413" cy="253887"/>
          </a:xfrm>
          <a:prstGeom prst="rect">
            <a:avLst/>
          </a:prstGeom>
          <a:noFill/>
        </p:spPr>
        <p:txBody>
          <a:bodyPr wrap="none" lIns="68550" tIns="34276" rIns="68550" bIns="34276" rtlCol="0">
            <a:spAutoFit/>
          </a:bodyPr>
          <a:lstStyle/>
          <a:p>
            <a:pPr algn="ctr" defTabSz="685537"/>
            <a:r>
              <a:rPr lang="en-US" sz="1200" dirty="0">
                <a:solidFill>
                  <a:srgbClr val="005073"/>
                </a:solidFill>
                <a:latin typeface="+mn-lt"/>
              </a:rPr>
              <a:t>1</a:t>
            </a:r>
          </a:p>
        </p:txBody>
      </p:sp>
      <p:sp>
        <p:nvSpPr>
          <p:cNvPr id="34" name="TextBox 33"/>
          <p:cNvSpPr txBox="1"/>
          <p:nvPr/>
        </p:nvSpPr>
        <p:spPr>
          <a:xfrm>
            <a:off x="874001" y="2549576"/>
            <a:ext cx="324387" cy="253887"/>
          </a:xfrm>
          <a:prstGeom prst="rect">
            <a:avLst/>
          </a:prstGeom>
          <a:noFill/>
        </p:spPr>
        <p:txBody>
          <a:bodyPr wrap="none" lIns="68550" tIns="34276" rIns="68550" bIns="34276" rtlCol="0">
            <a:spAutoFit/>
          </a:bodyPr>
          <a:lstStyle/>
          <a:p>
            <a:pPr algn="ctr" defTabSz="685537"/>
            <a:r>
              <a:rPr lang="en-US" sz="1200" dirty="0">
                <a:solidFill>
                  <a:srgbClr val="005073"/>
                </a:solidFill>
                <a:latin typeface="+mn-lt"/>
              </a:rPr>
              <a:t>16</a:t>
            </a:r>
          </a:p>
        </p:txBody>
      </p:sp>
      <p:sp>
        <p:nvSpPr>
          <p:cNvPr id="35" name="TextBox 34"/>
          <p:cNvSpPr txBox="1"/>
          <p:nvPr/>
        </p:nvSpPr>
        <p:spPr>
          <a:xfrm>
            <a:off x="874001" y="1878956"/>
            <a:ext cx="324387" cy="253887"/>
          </a:xfrm>
          <a:prstGeom prst="rect">
            <a:avLst/>
          </a:prstGeom>
          <a:noFill/>
        </p:spPr>
        <p:txBody>
          <a:bodyPr wrap="none" lIns="68550" tIns="34276" rIns="68550" bIns="34276" rtlCol="0">
            <a:spAutoFit/>
          </a:bodyPr>
          <a:lstStyle/>
          <a:p>
            <a:pPr algn="ctr" defTabSz="685537"/>
            <a:r>
              <a:rPr lang="en-US" sz="1200" dirty="0">
                <a:solidFill>
                  <a:srgbClr val="005073"/>
                </a:solidFill>
                <a:latin typeface="+mn-lt"/>
              </a:rPr>
              <a:t>32</a:t>
            </a:r>
          </a:p>
        </p:txBody>
      </p:sp>
      <p:sp>
        <p:nvSpPr>
          <p:cNvPr id="37" name="Right Arrow 36"/>
          <p:cNvSpPr/>
          <p:nvPr/>
        </p:nvSpPr>
        <p:spPr>
          <a:xfrm rot="20276789">
            <a:off x="973185" y="1409489"/>
            <a:ext cx="7583202" cy="1963321"/>
          </a:xfrm>
          <a:custGeom>
            <a:avLst/>
            <a:gdLst>
              <a:gd name="connsiteX0" fmla="*/ 0 w 5864973"/>
              <a:gd name="connsiteY0" fmla="*/ 431761 h 2191012"/>
              <a:gd name="connsiteX1" fmla="*/ 4769467 w 5864973"/>
              <a:gd name="connsiteY1" fmla="*/ 431761 h 2191012"/>
              <a:gd name="connsiteX2" fmla="*/ 4769467 w 5864973"/>
              <a:gd name="connsiteY2" fmla="*/ 0 h 2191012"/>
              <a:gd name="connsiteX3" fmla="*/ 5864973 w 5864973"/>
              <a:gd name="connsiteY3" fmla="*/ 1095506 h 2191012"/>
              <a:gd name="connsiteX4" fmla="*/ 4769467 w 5864973"/>
              <a:gd name="connsiteY4" fmla="*/ 2191012 h 2191012"/>
              <a:gd name="connsiteX5" fmla="*/ 4769467 w 5864973"/>
              <a:gd name="connsiteY5" fmla="*/ 1759251 h 2191012"/>
              <a:gd name="connsiteX6" fmla="*/ 0 w 5864973"/>
              <a:gd name="connsiteY6" fmla="*/ 1759251 h 2191012"/>
              <a:gd name="connsiteX7" fmla="*/ 0 w 5864973"/>
              <a:gd name="connsiteY7" fmla="*/ 431761 h 2191012"/>
              <a:gd name="connsiteX0" fmla="*/ 8721 w 5873694"/>
              <a:gd name="connsiteY0" fmla="*/ 431761 h 2191012"/>
              <a:gd name="connsiteX1" fmla="*/ 4778188 w 5873694"/>
              <a:gd name="connsiteY1" fmla="*/ 431761 h 2191012"/>
              <a:gd name="connsiteX2" fmla="*/ 4778188 w 5873694"/>
              <a:gd name="connsiteY2" fmla="*/ 0 h 2191012"/>
              <a:gd name="connsiteX3" fmla="*/ 5873694 w 5873694"/>
              <a:gd name="connsiteY3" fmla="*/ 1095506 h 2191012"/>
              <a:gd name="connsiteX4" fmla="*/ 4778188 w 5873694"/>
              <a:gd name="connsiteY4" fmla="*/ 2191012 h 2191012"/>
              <a:gd name="connsiteX5" fmla="*/ 4778188 w 5873694"/>
              <a:gd name="connsiteY5" fmla="*/ 1759251 h 2191012"/>
              <a:gd name="connsiteX6" fmla="*/ 8721 w 5873694"/>
              <a:gd name="connsiteY6" fmla="*/ 1759251 h 2191012"/>
              <a:gd name="connsiteX7" fmla="*/ 0 w 5873694"/>
              <a:gd name="connsiteY7" fmla="*/ 1081542 h 2191012"/>
              <a:gd name="connsiteX8" fmla="*/ 8721 w 5873694"/>
              <a:gd name="connsiteY8" fmla="*/ 431761 h 2191012"/>
              <a:gd name="connsiteX0" fmla="*/ 8721 w 5873694"/>
              <a:gd name="connsiteY0" fmla="*/ 431761 h 2191012"/>
              <a:gd name="connsiteX1" fmla="*/ 4778188 w 5873694"/>
              <a:gd name="connsiteY1" fmla="*/ 431761 h 2191012"/>
              <a:gd name="connsiteX2" fmla="*/ 4778188 w 5873694"/>
              <a:gd name="connsiteY2" fmla="*/ 0 h 2191012"/>
              <a:gd name="connsiteX3" fmla="*/ 5873694 w 5873694"/>
              <a:gd name="connsiteY3" fmla="*/ 1095506 h 2191012"/>
              <a:gd name="connsiteX4" fmla="*/ 4778188 w 5873694"/>
              <a:gd name="connsiteY4" fmla="*/ 2191012 h 2191012"/>
              <a:gd name="connsiteX5" fmla="*/ 4778188 w 5873694"/>
              <a:gd name="connsiteY5" fmla="*/ 1759251 h 2191012"/>
              <a:gd name="connsiteX6" fmla="*/ 0 w 5873694"/>
              <a:gd name="connsiteY6" fmla="*/ 1081542 h 2191012"/>
              <a:gd name="connsiteX7" fmla="*/ 8721 w 5873694"/>
              <a:gd name="connsiteY7" fmla="*/ 431761 h 2191012"/>
              <a:gd name="connsiteX0" fmla="*/ 0 w 5873694"/>
              <a:gd name="connsiteY0" fmla="*/ 1081542 h 2191012"/>
              <a:gd name="connsiteX1" fmla="*/ 4778188 w 5873694"/>
              <a:gd name="connsiteY1" fmla="*/ 431761 h 2191012"/>
              <a:gd name="connsiteX2" fmla="*/ 4778188 w 5873694"/>
              <a:gd name="connsiteY2" fmla="*/ 0 h 2191012"/>
              <a:gd name="connsiteX3" fmla="*/ 5873694 w 5873694"/>
              <a:gd name="connsiteY3" fmla="*/ 1095506 h 2191012"/>
              <a:gd name="connsiteX4" fmla="*/ 4778188 w 5873694"/>
              <a:gd name="connsiteY4" fmla="*/ 2191012 h 2191012"/>
              <a:gd name="connsiteX5" fmla="*/ 4778188 w 5873694"/>
              <a:gd name="connsiteY5" fmla="*/ 1759251 h 2191012"/>
              <a:gd name="connsiteX6" fmla="*/ 0 w 5873694"/>
              <a:gd name="connsiteY6" fmla="*/ 1081542 h 2191012"/>
              <a:gd name="connsiteX0" fmla="*/ 0 w 7540635"/>
              <a:gd name="connsiteY0" fmla="*/ 1147752 h 2191012"/>
              <a:gd name="connsiteX1" fmla="*/ 6445129 w 7540635"/>
              <a:gd name="connsiteY1" fmla="*/ 431761 h 2191012"/>
              <a:gd name="connsiteX2" fmla="*/ 6445129 w 7540635"/>
              <a:gd name="connsiteY2" fmla="*/ 0 h 2191012"/>
              <a:gd name="connsiteX3" fmla="*/ 7540635 w 7540635"/>
              <a:gd name="connsiteY3" fmla="*/ 1095506 h 2191012"/>
              <a:gd name="connsiteX4" fmla="*/ 6445129 w 7540635"/>
              <a:gd name="connsiteY4" fmla="*/ 2191012 h 2191012"/>
              <a:gd name="connsiteX5" fmla="*/ 6445129 w 7540635"/>
              <a:gd name="connsiteY5" fmla="*/ 1759251 h 2191012"/>
              <a:gd name="connsiteX6" fmla="*/ 0 w 7540635"/>
              <a:gd name="connsiteY6" fmla="*/ 1147752 h 2191012"/>
              <a:gd name="connsiteX0" fmla="*/ 0 w 7540635"/>
              <a:gd name="connsiteY0" fmla="*/ 1147752 h 2191012"/>
              <a:gd name="connsiteX1" fmla="*/ 6445129 w 7540635"/>
              <a:gd name="connsiteY1" fmla="*/ 431761 h 2191012"/>
              <a:gd name="connsiteX2" fmla="*/ 6445129 w 7540635"/>
              <a:gd name="connsiteY2" fmla="*/ 0 h 2191012"/>
              <a:gd name="connsiteX3" fmla="*/ 7540635 w 7540635"/>
              <a:gd name="connsiteY3" fmla="*/ 1095506 h 2191012"/>
              <a:gd name="connsiteX4" fmla="*/ 6445129 w 7540635"/>
              <a:gd name="connsiteY4" fmla="*/ 2191012 h 2191012"/>
              <a:gd name="connsiteX5" fmla="*/ 6445129 w 7540635"/>
              <a:gd name="connsiteY5" fmla="*/ 1759251 h 2191012"/>
              <a:gd name="connsiteX6" fmla="*/ 0 w 7540635"/>
              <a:gd name="connsiteY6" fmla="*/ 1147752 h 2191012"/>
              <a:gd name="connsiteX0" fmla="*/ 0 w 7540635"/>
              <a:gd name="connsiteY0" fmla="*/ 1147752 h 2191012"/>
              <a:gd name="connsiteX1" fmla="*/ 6445129 w 7540635"/>
              <a:gd name="connsiteY1" fmla="*/ 431761 h 2191012"/>
              <a:gd name="connsiteX2" fmla="*/ 6445129 w 7540635"/>
              <a:gd name="connsiteY2" fmla="*/ 0 h 2191012"/>
              <a:gd name="connsiteX3" fmla="*/ 7540635 w 7540635"/>
              <a:gd name="connsiteY3" fmla="*/ 1095506 h 2191012"/>
              <a:gd name="connsiteX4" fmla="*/ 6445129 w 7540635"/>
              <a:gd name="connsiteY4" fmla="*/ 2191012 h 2191012"/>
              <a:gd name="connsiteX5" fmla="*/ 6445129 w 7540635"/>
              <a:gd name="connsiteY5" fmla="*/ 1759251 h 2191012"/>
              <a:gd name="connsiteX6" fmla="*/ 0 w 7540635"/>
              <a:gd name="connsiteY6" fmla="*/ 1147752 h 2191012"/>
              <a:gd name="connsiteX0" fmla="*/ 0 w 7540635"/>
              <a:gd name="connsiteY0" fmla="*/ 1147752 h 2191012"/>
              <a:gd name="connsiteX1" fmla="*/ 6445129 w 7540635"/>
              <a:gd name="connsiteY1" fmla="*/ 431761 h 2191012"/>
              <a:gd name="connsiteX2" fmla="*/ 6445129 w 7540635"/>
              <a:gd name="connsiteY2" fmla="*/ 0 h 2191012"/>
              <a:gd name="connsiteX3" fmla="*/ 7540635 w 7540635"/>
              <a:gd name="connsiteY3" fmla="*/ 1095506 h 2191012"/>
              <a:gd name="connsiteX4" fmla="*/ 6445129 w 7540635"/>
              <a:gd name="connsiteY4" fmla="*/ 2191012 h 2191012"/>
              <a:gd name="connsiteX5" fmla="*/ 6445129 w 7540635"/>
              <a:gd name="connsiteY5" fmla="*/ 1759251 h 2191012"/>
              <a:gd name="connsiteX6" fmla="*/ 0 w 7540635"/>
              <a:gd name="connsiteY6" fmla="*/ 1147752 h 2191012"/>
              <a:gd name="connsiteX0" fmla="*/ 0 w 7540635"/>
              <a:gd name="connsiteY0" fmla="*/ 1147752 h 2191012"/>
              <a:gd name="connsiteX1" fmla="*/ 6445129 w 7540635"/>
              <a:gd name="connsiteY1" fmla="*/ 431761 h 2191012"/>
              <a:gd name="connsiteX2" fmla="*/ 6445129 w 7540635"/>
              <a:gd name="connsiteY2" fmla="*/ 0 h 2191012"/>
              <a:gd name="connsiteX3" fmla="*/ 7540635 w 7540635"/>
              <a:gd name="connsiteY3" fmla="*/ 1095506 h 2191012"/>
              <a:gd name="connsiteX4" fmla="*/ 6445129 w 7540635"/>
              <a:gd name="connsiteY4" fmla="*/ 2191012 h 2191012"/>
              <a:gd name="connsiteX5" fmla="*/ 6445129 w 7540635"/>
              <a:gd name="connsiteY5" fmla="*/ 1759251 h 2191012"/>
              <a:gd name="connsiteX6" fmla="*/ 0 w 7540635"/>
              <a:gd name="connsiteY6" fmla="*/ 1147752 h 2191012"/>
              <a:gd name="connsiteX0" fmla="*/ 0 w 7592508"/>
              <a:gd name="connsiteY0" fmla="*/ 1147752 h 2191012"/>
              <a:gd name="connsiteX1" fmla="*/ 6445129 w 7592508"/>
              <a:gd name="connsiteY1" fmla="*/ 431761 h 2191012"/>
              <a:gd name="connsiteX2" fmla="*/ 6445129 w 7592508"/>
              <a:gd name="connsiteY2" fmla="*/ 0 h 2191012"/>
              <a:gd name="connsiteX3" fmla="*/ 7592508 w 7592508"/>
              <a:gd name="connsiteY3" fmla="*/ 858878 h 2191012"/>
              <a:gd name="connsiteX4" fmla="*/ 6445129 w 7592508"/>
              <a:gd name="connsiteY4" fmla="*/ 2191012 h 2191012"/>
              <a:gd name="connsiteX5" fmla="*/ 6445129 w 7592508"/>
              <a:gd name="connsiteY5" fmla="*/ 1759251 h 2191012"/>
              <a:gd name="connsiteX6" fmla="*/ 0 w 7592508"/>
              <a:gd name="connsiteY6" fmla="*/ 1147752 h 219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2508" h="2191012">
                <a:moveTo>
                  <a:pt x="0" y="1147752"/>
                </a:moveTo>
                <a:cubicBezTo>
                  <a:pt x="2619090" y="1344856"/>
                  <a:pt x="4361313" y="991926"/>
                  <a:pt x="6445129" y="431761"/>
                </a:cubicBezTo>
                <a:lnTo>
                  <a:pt x="6445129" y="0"/>
                </a:lnTo>
                <a:lnTo>
                  <a:pt x="7592508" y="858878"/>
                </a:lnTo>
                <a:lnTo>
                  <a:pt x="6445129" y="2191012"/>
                </a:lnTo>
                <a:lnTo>
                  <a:pt x="6445129" y="1759251"/>
                </a:lnTo>
                <a:cubicBezTo>
                  <a:pt x="4277269" y="1805167"/>
                  <a:pt x="3401477" y="1934640"/>
                  <a:pt x="0" y="1147752"/>
                </a:cubicBez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4"/>
            <a:endParaRPr lang="en-US" sz="1799" dirty="0">
              <a:solidFill>
                <a:srgbClr val="005073"/>
              </a:solidFill>
            </a:endParaRPr>
          </a:p>
        </p:txBody>
      </p:sp>
      <p:grpSp>
        <p:nvGrpSpPr>
          <p:cNvPr id="60" name="Group 59"/>
          <p:cNvGrpSpPr/>
          <p:nvPr/>
        </p:nvGrpSpPr>
        <p:grpSpPr>
          <a:xfrm>
            <a:off x="1569647" y="2976946"/>
            <a:ext cx="549459" cy="803894"/>
            <a:chOff x="1568863" y="3006176"/>
            <a:chExt cx="549602" cy="804104"/>
          </a:xfrm>
        </p:grpSpPr>
        <p:pic>
          <p:nvPicPr>
            <p:cNvPr id="38" name="Picture 1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648123" y="3224423"/>
              <a:ext cx="395843" cy="585857"/>
            </a:xfrm>
            <a:prstGeom prst="rect">
              <a:avLst/>
            </a:prstGeom>
            <a:noFill/>
            <a:ln w="9525">
              <a:noFill/>
              <a:miter lim="800000"/>
              <a:headEnd/>
              <a:tailEnd/>
            </a:ln>
          </p:spPr>
        </p:pic>
        <p:sp>
          <p:nvSpPr>
            <p:cNvPr id="43" name="TextBox 42"/>
            <p:cNvSpPr txBox="1"/>
            <p:nvPr/>
          </p:nvSpPr>
          <p:spPr>
            <a:xfrm>
              <a:off x="1568863" y="3006176"/>
              <a:ext cx="549602" cy="223176"/>
            </a:xfrm>
            <a:prstGeom prst="rect">
              <a:avLst/>
            </a:prstGeom>
            <a:noFill/>
            <a:effectLst/>
          </p:spPr>
          <p:style>
            <a:lnRef idx="0">
              <a:schemeClr val="accent6"/>
            </a:lnRef>
            <a:fillRef idx="3">
              <a:schemeClr val="accent6"/>
            </a:fillRef>
            <a:effectRef idx="3">
              <a:schemeClr val="accent6"/>
            </a:effectRef>
            <a:fontRef idx="minor">
              <a:schemeClr val="lt1"/>
            </a:fontRef>
          </p:style>
          <p:txBody>
            <a:bodyPr wrap="square" lIns="68559" tIns="34280" rIns="68559" bIns="34280" rtlCol="0">
              <a:spAutoFit/>
            </a:bodyPr>
            <a:lstStyle/>
            <a:p>
              <a:pPr algn="ctr" defTabSz="685537"/>
              <a:r>
                <a:rPr lang="en-US" sz="1000" b="1" dirty="0">
                  <a:solidFill>
                    <a:srgbClr val="005073"/>
                  </a:solidFill>
                </a:rPr>
                <a:t>9006</a:t>
              </a:r>
            </a:p>
          </p:txBody>
        </p:sp>
      </p:grpSp>
      <p:grpSp>
        <p:nvGrpSpPr>
          <p:cNvPr id="59" name="Group 58"/>
          <p:cNvGrpSpPr/>
          <p:nvPr/>
        </p:nvGrpSpPr>
        <p:grpSpPr>
          <a:xfrm>
            <a:off x="2313033" y="2781881"/>
            <a:ext cx="471276" cy="944335"/>
            <a:chOff x="2312444" y="2636331"/>
            <a:chExt cx="471399" cy="944581"/>
          </a:xfrm>
        </p:grpSpPr>
        <p:pic>
          <p:nvPicPr>
            <p:cNvPr id="40" name="Picture 39"/>
            <p:cNvPicPr>
              <a:picLocks noChangeAspect="1"/>
            </p:cNvPicPr>
            <p:nvPr/>
          </p:nvPicPr>
          <p:blipFill rotWithShape="1">
            <a:blip r:embed="rId3" cstate="print">
              <a:extLst>
                <a:ext uri="{28A0092B-C50C-407E-A947-70E740481C1C}">
                  <a14:useLocalDpi xmlns:a14="http://schemas.microsoft.com/office/drawing/2010/main" val="0"/>
                </a:ext>
              </a:extLst>
            </a:blip>
            <a:srcRect r="15207"/>
            <a:stretch/>
          </p:blipFill>
          <p:spPr>
            <a:xfrm>
              <a:off x="2348094" y="2822850"/>
              <a:ext cx="390408" cy="758062"/>
            </a:xfrm>
            <a:prstGeom prst="rect">
              <a:avLst/>
            </a:prstGeom>
          </p:spPr>
        </p:pic>
        <p:sp>
          <p:nvSpPr>
            <p:cNvPr id="44" name="TextBox 43"/>
            <p:cNvSpPr txBox="1"/>
            <p:nvPr/>
          </p:nvSpPr>
          <p:spPr>
            <a:xfrm>
              <a:off x="2312444" y="2636331"/>
              <a:ext cx="471399" cy="223176"/>
            </a:xfrm>
            <a:prstGeom prst="rect">
              <a:avLst/>
            </a:prstGeom>
            <a:noFill/>
            <a:effectLst/>
          </p:spPr>
          <p:style>
            <a:lnRef idx="0">
              <a:schemeClr val="accent6"/>
            </a:lnRef>
            <a:fillRef idx="3">
              <a:schemeClr val="accent6"/>
            </a:fillRef>
            <a:effectRef idx="3">
              <a:schemeClr val="accent6"/>
            </a:effectRef>
            <a:fontRef idx="minor">
              <a:schemeClr val="lt1"/>
            </a:fontRef>
          </p:style>
          <p:txBody>
            <a:bodyPr wrap="square" lIns="68559" tIns="34280" rIns="68559" bIns="34280" rtlCol="0">
              <a:spAutoFit/>
            </a:bodyPr>
            <a:lstStyle/>
            <a:p>
              <a:pPr algn="ctr" defTabSz="685537"/>
              <a:r>
                <a:rPr lang="en-US" sz="1000" b="1" dirty="0">
                  <a:solidFill>
                    <a:srgbClr val="005073"/>
                  </a:solidFill>
                </a:rPr>
                <a:t>9010</a:t>
              </a:r>
            </a:p>
          </p:txBody>
        </p:sp>
      </p:grpSp>
      <p:grpSp>
        <p:nvGrpSpPr>
          <p:cNvPr id="58" name="Group 57"/>
          <p:cNvGrpSpPr/>
          <p:nvPr/>
        </p:nvGrpSpPr>
        <p:grpSpPr>
          <a:xfrm>
            <a:off x="3557106" y="1770065"/>
            <a:ext cx="599863" cy="1529971"/>
            <a:chOff x="3556839" y="1490299"/>
            <a:chExt cx="600019" cy="1530369"/>
          </a:xfrm>
        </p:grpSpPr>
        <p:pic>
          <p:nvPicPr>
            <p:cNvPr id="39" name="Picture 3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56839" y="1664106"/>
              <a:ext cx="600019" cy="1356562"/>
            </a:xfrm>
            <a:prstGeom prst="rect">
              <a:avLst/>
            </a:prstGeom>
          </p:spPr>
        </p:pic>
        <p:sp>
          <p:nvSpPr>
            <p:cNvPr id="45" name="TextBox 44"/>
            <p:cNvSpPr txBox="1"/>
            <p:nvPr/>
          </p:nvSpPr>
          <p:spPr>
            <a:xfrm>
              <a:off x="3584380" y="1490299"/>
              <a:ext cx="510975" cy="223176"/>
            </a:xfrm>
            <a:prstGeom prst="rect">
              <a:avLst/>
            </a:prstGeom>
            <a:noFill/>
            <a:effectLst/>
          </p:spPr>
          <p:style>
            <a:lnRef idx="0">
              <a:schemeClr val="accent6"/>
            </a:lnRef>
            <a:fillRef idx="3">
              <a:schemeClr val="accent6"/>
            </a:fillRef>
            <a:effectRef idx="3">
              <a:schemeClr val="accent6"/>
            </a:effectRef>
            <a:fontRef idx="minor">
              <a:schemeClr val="lt1"/>
            </a:fontRef>
          </p:style>
          <p:txBody>
            <a:bodyPr wrap="square" lIns="68559" tIns="34280" rIns="68559" bIns="34280" rtlCol="0">
              <a:spAutoFit/>
            </a:bodyPr>
            <a:lstStyle/>
            <a:p>
              <a:pPr algn="ctr" defTabSz="685537"/>
              <a:r>
                <a:rPr lang="en-US" sz="1000" b="1" dirty="0">
                  <a:solidFill>
                    <a:srgbClr val="005073"/>
                  </a:solidFill>
                </a:rPr>
                <a:t>9922</a:t>
              </a:r>
            </a:p>
          </p:txBody>
        </p:sp>
      </p:grpSp>
      <p:grpSp>
        <p:nvGrpSpPr>
          <p:cNvPr id="57" name="Group 56"/>
          <p:cNvGrpSpPr/>
          <p:nvPr/>
        </p:nvGrpSpPr>
        <p:grpSpPr>
          <a:xfrm>
            <a:off x="4365315" y="1673183"/>
            <a:ext cx="788995" cy="1178154"/>
            <a:chOff x="4365259" y="1370097"/>
            <a:chExt cx="789200" cy="1178461"/>
          </a:xfrm>
        </p:grpSpPr>
        <p:pic>
          <p:nvPicPr>
            <p:cNvPr id="41"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65259" y="1562057"/>
              <a:ext cx="789200" cy="986501"/>
            </a:xfrm>
            <a:prstGeom prst="rect">
              <a:avLst/>
            </a:prstGeom>
          </p:spPr>
        </p:pic>
        <p:sp>
          <p:nvSpPr>
            <p:cNvPr id="46" name="TextBox 45"/>
            <p:cNvSpPr txBox="1"/>
            <p:nvPr/>
          </p:nvSpPr>
          <p:spPr>
            <a:xfrm>
              <a:off x="4520692" y="1370097"/>
              <a:ext cx="475662" cy="223176"/>
            </a:xfrm>
            <a:prstGeom prst="rect">
              <a:avLst/>
            </a:prstGeom>
            <a:noFill/>
            <a:effectLst/>
          </p:spPr>
          <p:style>
            <a:lnRef idx="0">
              <a:schemeClr val="accent6"/>
            </a:lnRef>
            <a:fillRef idx="3">
              <a:schemeClr val="accent6"/>
            </a:fillRef>
            <a:effectRef idx="3">
              <a:schemeClr val="accent6"/>
            </a:effectRef>
            <a:fontRef idx="minor">
              <a:schemeClr val="lt1"/>
            </a:fontRef>
          </p:style>
          <p:txBody>
            <a:bodyPr wrap="square" lIns="68559" tIns="34280" rIns="68559" bIns="34280" rtlCol="0">
              <a:spAutoFit/>
            </a:bodyPr>
            <a:lstStyle/>
            <a:p>
              <a:pPr algn="ctr" defTabSz="685537"/>
              <a:r>
                <a:rPr lang="en-US" sz="1000" b="1" dirty="0">
                  <a:solidFill>
                    <a:srgbClr val="005073"/>
                  </a:solidFill>
                </a:rPr>
                <a:t>9912</a:t>
              </a:r>
            </a:p>
          </p:txBody>
        </p:sp>
      </p:grpSp>
      <p:grpSp>
        <p:nvGrpSpPr>
          <p:cNvPr id="56" name="Group 55"/>
          <p:cNvGrpSpPr/>
          <p:nvPr/>
        </p:nvGrpSpPr>
        <p:grpSpPr>
          <a:xfrm>
            <a:off x="5021179" y="2047930"/>
            <a:ext cx="503150" cy="508373"/>
            <a:chOff x="5005772" y="1782239"/>
            <a:chExt cx="503281" cy="508505"/>
          </a:xfrm>
        </p:grpSpPr>
        <p:pic>
          <p:nvPicPr>
            <p:cNvPr id="42" name="Picture 41" descr="KN42009.png"/>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flipH="1">
              <a:off x="5005772" y="1960350"/>
              <a:ext cx="498306" cy="330394"/>
            </a:xfrm>
            <a:prstGeom prst="rect">
              <a:avLst/>
            </a:prstGeom>
          </p:spPr>
        </p:pic>
        <p:sp>
          <p:nvSpPr>
            <p:cNvPr id="47" name="TextBox 46"/>
            <p:cNvSpPr txBox="1"/>
            <p:nvPr/>
          </p:nvSpPr>
          <p:spPr>
            <a:xfrm>
              <a:off x="5007445" y="1782239"/>
              <a:ext cx="501608" cy="223176"/>
            </a:xfrm>
            <a:prstGeom prst="rect">
              <a:avLst/>
            </a:prstGeom>
            <a:noFill/>
            <a:effectLst/>
          </p:spPr>
          <p:style>
            <a:lnRef idx="0">
              <a:schemeClr val="accent6"/>
            </a:lnRef>
            <a:fillRef idx="3">
              <a:schemeClr val="accent6"/>
            </a:fillRef>
            <a:effectRef idx="3">
              <a:schemeClr val="accent6"/>
            </a:effectRef>
            <a:fontRef idx="minor">
              <a:schemeClr val="lt1"/>
            </a:fontRef>
          </p:style>
          <p:txBody>
            <a:bodyPr wrap="square" lIns="68559" tIns="34280" rIns="68559" bIns="34280" rtlCol="0">
              <a:spAutoFit/>
            </a:bodyPr>
            <a:lstStyle/>
            <a:p>
              <a:pPr algn="ctr" defTabSz="685537"/>
              <a:r>
                <a:rPr lang="en-US" sz="1000" b="1" dirty="0">
                  <a:solidFill>
                    <a:srgbClr val="005073"/>
                  </a:solidFill>
                </a:rPr>
                <a:t>9904</a:t>
              </a:r>
            </a:p>
          </p:txBody>
        </p:sp>
      </p:grpSp>
      <p:grpSp>
        <p:nvGrpSpPr>
          <p:cNvPr id="54" name="Group 53"/>
          <p:cNvGrpSpPr/>
          <p:nvPr/>
        </p:nvGrpSpPr>
        <p:grpSpPr>
          <a:xfrm>
            <a:off x="6006246" y="1110038"/>
            <a:ext cx="531599" cy="1072477"/>
            <a:chOff x="6349095" y="814317"/>
            <a:chExt cx="531737" cy="1072756"/>
          </a:xfrm>
        </p:grpSpPr>
        <p:pic>
          <p:nvPicPr>
            <p:cNvPr id="48" name="Picture 47" descr="Shockwave_front.png"/>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61372" y="1015321"/>
              <a:ext cx="487028" cy="871752"/>
            </a:xfrm>
            <a:prstGeom prst="rect">
              <a:avLst/>
            </a:prstGeom>
          </p:spPr>
        </p:pic>
        <p:sp>
          <p:nvSpPr>
            <p:cNvPr id="49" name="TextBox 48"/>
            <p:cNvSpPr txBox="1"/>
            <p:nvPr/>
          </p:nvSpPr>
          <p:spPr>
            <a:xfrm>
              <a:off x="6349095" y="814317"/>
              <a:ext cx="531737" cy="223176"/>
            </a:xfrm>
            <a:prstGeom prst="rect">
              <a:avLst/>
            </a:prstGeom>
            <a:noFill/>
            <a:effectLst/>
          </p:spPr>
          <p:style>
            <a:lnRef idx="0">
              <a:schemeClr val="accent6"/>
            </a:lnRef>
            <a:fillRef idx="3">
              <a:schemeClr val="accent6"/>
            </a:fillRef>
            <a:effectRef idx="3">
              <a:schemeClr val="accent6"/>
            </a:effectRef>
            <a:fontRef idx="minor">
              <a:schemeClr val="lt1"/>
            </a:fontRef>
          </p:style>
          <p:txBody>
            <a:bodyPr wrap="square" lIns="68559" tIns="34280" rIns="68559" bIns="34280" rtlCol="0">
              <a:spAutoFit/>
            </a:bodyPr>
            <a:lstStyle/>
            <a:p>
              <a:pPr algn="ctr" defTabSz="685537"/>
              <a:r>
                <a:rPr lang="en-US" sz="1000" b="1" dirty="0">
                  <a:solidFill>
                    <a:srgbClr val="005073"/>
                  </a:solidFill>
                </a:rPr>
                <a:t>9910</a:t>
              </a:r>
            </a:p>
          </p:txBody>
        </p:sp>
      </p:grpSp>
      <p:grpSp>
        <p:nvGrpSpPr>
          <p:cNvPr id="55" name="Group 54"/>
          <p:cNvGrpSpPr/>
          <p:nvPr/>
        </p:nvGrpSpPr>
        <p:grpSpPr>
          <a:xfrm>
            <a:off x="6691325" y="916133"/>
            <a:ext cx="506815" cy="798072"/>
            <a:chOff x="7034352" y="806738"/>
            <a:chExt cx="506947" cy="798280"/>
          </a:xfrm>
        </p:grpSpPr>
        <p:pic>
          <p:nvPicPr>
            <p:cNvPr id="50" name="Picture 1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83911" y="1019161"/>
              <a:ext cx="395843" cy="585857"/>
            </a:xfrm>
            <a:prstGeom prst="rect">
              <a:avLst/>
            </a:prstGeom>
            <a:noFill/>
            <a:ln w="9525">
              <a:noFill/>
              <a:miter lim="800000"/>
              <a:headEnd/>
              <a:tailEnd/>
            </a:ln>
          </p:spPr>
        </p:pic>
        <p:sp>
          <p:nvSpPr>
            <p:cNvPr id="51" name="TextBox 50"/>
            <p:cNvSpPr txBox="1"/>
            <p:nvPr/>
          </p:nvSpPr>
          <p:spPr>
            <a:xfrm>
              <a:off x="7034352" y="806738"/>
              <a:ext cx="506947" cy="223176"/>
            </a:xfrm>
            <a:prstGeom prst="rect">
              <a:avLst/>
            </a:prstGeom>
            <a:noFill/>
            <a:effectLst/>
          </p:spPr>
          <p:style>
            <a:lnRef idx="0">
              <a:schemeClr val="accent6"/>
            </a:lnRef>
            <a:fillRef idx="3">
              <a:schemeClr val="accent6"/>
            </a:fillRef>
            <a:effectRef idx="3">
              <a:schemeClr val="accent6"/>
            </a:effectRef>
            <a:fontRef idx="minor">
              <a:schemeClr val="lt1"/>
            </a:fontRef>
          </p:style>
          <p:txBody>
            <a:bodyPr wrap="square" lIns="68559" tIns="34280" rIns="68559" bIns="34280" rtlCol="0">
              <a:spAutoFit/>
            </a:bodyPr>
            <a:lstStyle/>
            <a:p>
              <a:pPr algn="ctr" defTabSz="685537"/>
              <a:r>
                <a:rPr lang="en-US" sz="1000" b="1" dirty="0">
                  <a:solidFill>
                    <a:srgbClr val="005073"/>
                  </a:solidFill>
                </a:rPr>
                <a:t>9906</a:t>
              </a:r>
            </a:p>
          </p:txBody>
        </p:sp>
      </p:grpSp>
      <p:sp>
        <p:nvSpPr>
          <p:cNvPr id="72" name="TextBox 71"/>
          <p:cNvSpPr txBox="1"/>
          <p:nvPr/>
        </p:nvSpPr>
        <p:spPr>
          <a:xfrm>
            <a:off x="2620711" y="3743263"/>
            <a:ext cx="705902" cy="230804"/>
          </a:xfrm>
          <a:prstGeom prst="rect">
            <a:avLst/>
          </a:prstGeom>
          <a:noFill/>
        </p:spPr>
        <p:txBody>
          <a:bodyPr wrap="none" lIns="68550" tIns="34276" rIns="68550" bIns="34276" rtlCol="0">
            <a:spAutoFit/>
          </a:bodyPr>
          <a:lstStyle/>
          <a:p>
            <a:pPr defTabSz="685537"/>
            <a:r>
              <a:rPr lang="en-US" sz="1050" b="1" dirty="0">
                <a:solidFill>
                  <a:schemeClr val="tx2"/>
                </a:solidFill>
                <a:latin typeface="+mn-lt"/>
              </a:rPr>
              <a:t>80G/slot </a:t>
            </a:r>
          </a:p>
        </p:txBody>
      </p:sp>
      <p:sp>
        <p:nvSpPr>
          <p:cNvPr id="73" name="TextBox 72"/>
          <p:cNvSpPr txBox="1"/>
          <p:nvPr/>
        </p:nvSpPr>
        <p:spPr>
          <a:xfrm>
            <a:off x="3826673" y="3429710"/>
            <a:ext cx="744374" cy="230804"/>
          </a:xfrm>
          <a:prstGeom prst="rect">
            <a:avLst/>
          </a:prstGeom>
          <a:noFill/>
        </p:spPr>
        <p:txBody>
          <a:bodyPr wrap="none" lIns="68550" tIns="34276" rIns="68550" bIns="34276" rtlCol="0">
            <a:spAutoFit/>
          </a:bodyPr>
          <a:lstStyle/>
          <a:p>
            <a:pPr defTabSz="685537"/>
            <a:r>
              <a:rPr lang="en-US" sz="1050" b="1" dirty="0">
                <a:solidFill>
                  <a:schemeClr val="tx2"/>
                </a:solidFill>
                <a:latin typeface="+mn-lt"/>
              </a:rPr>
              <a:t>360G/slot</a:t>
            </a:r>
          </a:p>
        </p:txBody>
      </p:sp>
      <p:sp>
        <p:nvSpPr>
          <p:cNvPr id="74" name="TextBox 73"/>
          <p:cNvSpPr txBox="1"/>
          <p:nvPr/>
        </p:nvSpPr>
        <p:spPr>
          <a:xfrm>
            <a:off x="5621676" y="2926414"/>
            <a:ext cx="744374" cy="230804"/>
          </a:xfrm>
          <a:prstGeom prst="rect">
            <a:avLst/>
          </a:prstGeom>
          <a:noFill/>
        </p:spPr>
        <p:txBody>
          <a:bodyPr wrap="none" lIns="68550" tIns="34276" rIns="68550" bIns="34276" rtlCol="0">
            <a:spAutoFit/>
          </a:bodyPr>
          <a:lstStyle/>
          <a:p>
            <a:pPr defTabSz="685537"/>
            <a:r>
              <a:rPr lang="en-US" sz="1050" b="1" dirty="0">
                <a:solidFill>
                  <a:schemeClr val="tx2"/>
                </a:solidFill>
                <a:latin typeface="+mn-lt"/>
              </a:rPr>
              <a:t>800G/slot</a:t>
            </a:r>
          </a:p>
        </p:txBody>
      </p:sp>
      <p:sp>
        <p:nvSpPr>
          <p:cNvPr id="75" name="TextBox 74"/>
          <p:cNvSpPr txBox="1"/>
          <p:nvPr/>
        </p:nvSpPr>
        <p:spPr>
          <a:xfrm>
            <a:off x="1530653" y="4034698"/>
            <a:ext cx="1347015" cy="376998"/>
          </a:xfrm>
          <a:prstGeom prst="rect">
            <a:avLst/>
          </a:prstGeom>
          <a:noFill/>
          <a:ln>
            <a:noFill/>
          </a:ln>
        </p:spPr>
        <p:txBody>
          <a:bodyPr wrap="square" lIns="68550" tIns="34276" rIns="68550" bIns="34276" rtlCol="0">
            <a:spAutoFit/>
          </a:bodyPr>
          <a:lstStyle/>
          <a:p>
            <a:pPr marL="128526" indent="-128526" defTabSz="685537">
              <a:buFont typeface="Arial" pitchFamily="34" charset="0"/>
              <a:buChar char="•"/>
            </a:pPr>
            <a:r>
              <a:rPr lang="en-US" sz="1000" dirty="0">
                <a:latin typeface="+mn-lt"/>
              </a:rPr>
              <a:t>10 Watts/</a:t>
            </a:r>
            <a:r>
              <a:rPr lang="en-US" sz="1000" dirty="0" err="1">
                <a:latin typeface="+mn-lt"/>
              </a:rPr>
              <a:t>Gbps</a:t>
            </a:r>
            <a:endParaRPr lang="en-US" sz="1000" dirty="0">
              <a:latin typeface="+mn-lt"/>
            </a:endParaRPr>
          </a:p>
          <a:p>
            <a:pPr marL="128526" indent="-128526" defTabSz="685537">
              <a:buFont typeface="Arial" pitchFamily="34" charset="0"/>
              <a:buChar char="•"/>
            </a:pPr>
            <a:r>
              <a:rPr lang="en-US" sz="1000" dirty="0">
                <a:latin typeface="+mn-lt"/>
              </a:rPr>
              <a:t>32 x 10G/chassis</a:t>
            </a:r>
          </a:p>
        </p:txBody>
      </p:sp>
      <p:sp>
        <p:nvSpPr>
          <p:cNvPr id="76" name="TextBox 75"/>
          <p:cNvSpPr txBox="1"/>
          <p:nvPr/>
        </p:nvSpPr>
        <p:spPr>
          <a:xfrm>
            <a:off x="3962006" y="3676498"/>
            <a:ext cx="1745745" cy="530886"/>
          </a:xfrm>
          <a:prstGeom prst="rect">
            <a:avLst/>
          </a:prstGeom>
          <a:noFill/>
          <a:ln>
            <a:noFill/>
          </a:ln>
        </p:spPr>
        <p:txBody>
          <a:bodyPr wrap="square" lIns="68550" tIns="34276" rIns="68550" bIns="34276" rtlCol="0">
            <a:spAutoFit/>
          </a:bodyPr>
          <a:lstStyle/>
          <a:p>
            <a:pPr marL="128526" indent="-128526" defTabSz="685537">
              <a:buFont typeface="Arial" pitchFamily="34" charset="0"/>
              <a:buChar char="•"/>
            </a:pPr>
            <a:r>
              <a:rPr lang="en-US" sz="1000" dirty="0">
                <a:latin typeface="+mn-lt"/>
              </a:rPr>
              <a:t>2.5 Watts/</a:t>
            </a:r>
            <a:r>
              <a:rPr lang="en-US" sz="1000" dirty="0" err="1">
                <a:latin typeface="+mn-lt"/>
              </a:rPr>
              <a:t>Gbps</a:t>
            </a:r>
            <a:endParaRPr lang="en-US" sz="1000" dirty="0">
              <a:latin typeface="+mn-lt"/>
            </a:endParaRPr>
          </a:p>
          <a:p>
            <a:pPr marL="128526" indent="-128526" defTabSz="685537">
              <a:buFont typeface="Arial" pitchFamily="34" charset="0"/>
              <a:buChar char="•"/>
            </a:pPr>
            <a:r>
              <a:rPr lang="en-US" sz="1000" dirty="0">
                <a:latin typeface="+mn-lt"/>
              </a:rPr>
              <a:t>720 x10G/chassis</a:t>
            </a:r>
          </a:p>
          <a:p>
            <a:pPr marL="128526" indent="-128526" defTabSz="685537">
              <a:buFont typeface="Arial" pitchFamily="34" charset="0"/>
              <a:buChar char="•"/>
            </a:pPr>
            <a:r>
              <a:rPr lang="en-US" sz="1000" dirty="0">
                <a:latin typeface="+mn-lt"/>
              </a:rPr>
              <a:t>40 x 100G/chassis</a:t>
            </a:r>
          </a:p>
        </p:txBody>
      </p:sp>
      <p:sp>
        <p:nvSpPr>
          <p:cNvPr id="77" name="TextBox 76"/>
          <p:cNvSpPr txBox="1"/>
          <p:nvPr/>
        </p:nvSpPr>
        <p:spPr>
          <a:xfrm>
            <a:off x="5536615" y="3177870"/>
            <a:ext cx="1802204" cy="530886"/>
          </a:xfrm>
          <a:prstGeom prst="rect">
            <a:avLst/>
          </a:prstGeom>
          <a:noFill/>
          <a:ln>
            <a:noFill/>
          </a:ln>
        </p:spPr>
        <p:txBody>
          <a:bodyPr wrap="square" lIns="68550" tIns="34276" rIns="68550" bIns="34276" rtlCol="0">
            <a:spAutoFit/>
          </a:bodyPr>
          <a:lstStyle/>
          <a:p>
            <a:pPr marL="128526" indent="-128526" defTabSz="685537">
              <a:buFont typeface="Arial" pitchFamily="34" charset="0"/>
              <a:buChar char="•"/>
            </a:pPr>
            <a:r>
              <a:rPr lang="en-US" sz="1000" dirty="0">
                <a:latin typeface="+mn-lt"/>
              </a:rPr>
              <a:t>1.5 Watts/Gbps</a:t>
            </a:r>
          </a:p>
          <a:p>
            <a:pPr marL="128526" indent="-128526" defTabSz="685537">
              <a:buFont typeface="Arial" pitchFamily="34" charset="0"/>
              <a:buChar char="•"/>
            </a:pPr>
            <a:r>
              <a:rPr lang="en-US" sz="1000" dirty="0">
                <a:latin typeface="+mn-lt"/>
              </a:rPr>
              <a:t>160 x 100G/chassis</a:t>
            </a:r>
          </a:p>
          <a:p>
            <a:pPr marL="128526" indent="-128526" defTabSz="685537">
              <a:buFont typeface="Arial" pitchFamily="34" charset="0"/>
              <a:buChar char="•"/>
            </a:pPr>
            <a:r>
              <a:rPr lang="en-US" sz="1000" dirty="0">
                <a:latin typeface="+mn-lt"/>
              </a:rPr>
              <a:t>1600 x 10G/chassis </a:t>
            </a:r>
          </a:p>
        </p:txBody>
      </p:sp>
      <p:sp>
        <p:nvSpPr>
          <p:cNvPr id="78" name="TextBox 77"/>
          <p:cNvSpPr txBox="1"/>
          <p:nvPr/>
        </p:nvSpPr>
        <p:spPr>
          <a:xfrm>
            <a:off x="7393339" y="2334396"/>
            <a:ext cx="720329" cy="230804"/>
          </a:xfrm>
          <a:prstGeom prst="rect">
            <a:avLst/>
          </a:prstGeom>
          <a:noFill/>
        </p:spPr>
        <p:txBody>
          <a:bodyPr wrap="none" lIns="68550" tIns="34276" rIns="68550" bIns="34276" rtlCol="0">
            <a:spAutoFit/>
          </a:bodyPr>
          <a:lstStyle/>
          <a:p>
            <a:pPr defTabSz="685537"/>
            <a:r>
              <a:rPr lang="en-US" sz="1050" b="1" dirty="0">
                <a:solidFill>
                  <a:schemeClr val="tx2"/>
                </a:solidFill>
                <a:latin typeface="+mn-lt"/>
              </a:rPr>
              <a:t>3.2T/slot </a:t>
            </a:r>
          </a:p>
        </p:txBody>
      </p:sp>
      <p:sp>
        <p:nvSpPr>
          <p:cNvPr id="79" name="TextBox 78"/>
          <p:cNvSpPr txBox="1"/>
          <p:nvPr/>
        </p:nvSpPr>
        <p:spPr>
          <a:xfrm>
            <a:off x="1511468" y="3820049"/>
            <a:ext cx="705902" cy="230804"/>
          </a:xfrm>
          <a:prstGeom prst="rect">
            <a:avLst/>
          </a:prstGeom>
          <a:noFill/>
          <a:ln>
            <a:solidFill>
              <a:schemeClr val="bg1"/>
            </a:solidFill>
          </a:ln>
        </p:spPr>
        <p:txBody>
          <a:bodyPr wrap="none" lIns="68550" tIns="34276" rIns="68550" bIns="34276" rtlCol="0">
            <a:spAutoFit/>
          </a:bodyPr>
          <a:lstStyle/>
          <a:p>
            <a:pPr defTabSz="685537"/>
            <a:r>
              <a:rPr lang="en-US" sz="1050" b="1" dirty="0">
                <a:solidFill>
                  <a:schemeClr val="tx2"/>
                </a:solidFill>
                <a:latin typeface="+mn-lt"/>
              </a:rPr>
              <a:t>40G/slot </a:t>
            </a:r>
          </a:p>
        </p:txBody>
      </p:sp>
      <p:sp>
        <p:nvSpPr>
          <p:cNvPr id="80" name="TextBox 79"/>
          <p:cNvSpPr txBox="1"/>
          <p:nvPr/>
        </p:nvSpPr>
        <p:spPr>
          <a:xfrm>
            <a:off x="2806192" y="3982075"/>
            <a:ext cx="1392632" cy="376998"/>
          </a:xfrm>
          <a:prstGeom prst="rect">
            <a:avLst/>
          </a:prstGeom>
          <a:noFill/>
          <a:ln>
            <a:noFill/>
          </a:ln>
        </p:spPr>
        <p:txBody>
          <a:bodyPr wrap="square" lIns="68550" tIns="34276" rIns="68550" bIns="34276" rtlCol="0">
            <a:spAutoFit/>
          </a:bodyPr>
          <a:lstStyle/>
          <a:p>
            <a:pPr marL="128526" indent="-128526" defTabSz="685537">
              <a:buFont typeface="Arial" pitchFamily="34" charset="0"/>
              <a:buChar char="•"/>
            </a:pPr>
            <a:r>
              <a:rPr lang="en-US" sz="1000" dirty="0">
                <a:latin typeface="+mn-lt"/>
              </a:rPr>
              <a:t>8 Watts/</a:t>
            </a:r>
            <a:r>
              <a:rPr lang="en-US" sz="1000" dirty="0" err="1">
                <a:latin typeface="+mn-lt"/>
              </a:rPr>
              <a:t>Gbps</a:t>
            </a:r>
            <a:endParaRPr lang="en-US" sz="1000" dirty="0">
              <a:latin typeface="+mn-lt"/>
            </a:endParaRPr>
          </a:p>
          <a:p>
            <a:pPr marL="128526" indent="-128526" defTabSz="685537">
              <a:buFont typeface="Arial" pitchFamily="34" charset="0"/>
              <a:buChar char="•"/>
            </a:pPr>
            <a:r>
              <a:rPr lang="en-US" sz="1000" dirty="0">
                <a:latin typeface="+mn-lt"/>
              </a:rPr>
              <a:t>64 x 10G/chassis</a:t>
            </a:r>
          </a:p>
        </p:txBody>
      </p:sp>
      <p:sp>
        <p:nvSpPr>
          <p:cNvPr id="81" name="TextBox 80"/>
          <p:cNvSpPr txBox="1"/>
          <p:nvPr/>
        </p:nvSpPr>
        <p:spPr>
          <a:xfrm>
            <a:off x="6495646" y="2413937"/>
            <a:ext cx="683460" cy="230804"/>
          </a:xfrm>
          <a:prstGeom prst="rect">
            <a:avLst/>
          </a:prstGeom>
          <a:noFill/>
        </p:spPr>
        <p:txBody>
          <a:bodyPr wrap="none" lIns="68550" tIns="34276" rIns="68550" bIns="34276" rtlCol="0">
            <a:spAutoFit/>
          </a:bodyPr>
          <a:lstStyle/>
          <a:p>
            <a:pPr defTabSz="685537"/>
            <a:r>
              <a:rPr lang="en-US" sz="1050" b="1" dirty="0">
                <a:solidFill>
                  <a:schemeClr val="tx2"/>
                </a:solidFill>
                <a:latin typeface="+mn-lt"/>
              </a:rPr>
              <a:t>1.2T/slot</a:t>
            </a:r>
          </a:p>
        </p:txBody>
      </p:sp>
      <p:sp>
        <p:nvSpPr>
          <p:cNvPr id="82" name="TextBox 81"/>
          <p:cNvSpPr txBox="1"/>
          <p:nvPr/>
        </p:nvSpPr>
        <p:spPr>
          <a:xfrm>
            <a:off x="7375697" y="2616908"/>
            <a:ext cx="1767114" cy="530886"/>
          </a:xfrm>
          <a:prstGeom prst="rect">
            <a:avLst/>
          </a:prstGeom>
          <a:noFill/>
          <a:ln>
            <a:noFill/>
          </a:ln>
        </p:spPr>
        <p:txBody>
          <a:bodyPr wrap="square" lIns="68550" tIns="34276" rIns="68550" bIns="34276" rtlCol="0">
            <a:spAutoFit/>
          </a:bodyPr>
          <a:lstStyle/>
          <a:p>
            <a:pPr marL="128526" indent="-128526" defTabSz="685537">
              <a:buFont typeface="Arial" pitchFamily="34" charset="0"/>
              <a:buChar char="•"/>
            </a:pPr>
            <a:r>
              <a:rPr lang="en-US" sz="1000" dirty="0">
                <a:latin typeface="+mn-lt"/>
              </a:rPr>
              <a:t>0.5 Watts/Gbps</a:t>
            </a:r>
          </a:p>
          <a:p>
            <a:pPr marL="128526" indent="-128526" defTabSz="685537">
              <a:buFont typeface="Arial" pitchFamily="34" charset="0"/>
              <a:buChar char="•"/>
            </a:pPr>
            <a:r>
              <a:rPr lang="en-US" sz="1000" dirty="0">
                <a:latin typeface="+mn-lt"/>
              </a:rPr>
              <a:t>640 x 100G/chassis</a:t>
            </a:r>
          </a:p>
          <a:p>
            <a:pPr marL="128526" indent="-128526" defTabSz="685537">
              <a:buFont typeface="Arial" pitchFamily="34" charset="0"/>
              <a:buChar char="•"/>
            </a:pPr>
            <a:r>
              <a:rPr lang="en-US" sz="1000" dirty="0">
                <a:latin typeface="+mn-lt"/>
              </a:rPr>
              <a:t>1600 x 10G /chassis</a:t>
            </a:r>
          </a:p>
        </p:txBody>
      </p:sp>
      <p:sp>
        <p:nvSpPr>
          <p:cNvPr id="52" name="TextBox 51"/>
          <p:cNvSpPr txBox="1"/>
          <p:nvPr/>
        </p:nvSpPr>
        <p:spPr>
          <a:xfrm>
            <a:off x="8062641" y="4415092"/>
            <a:ext cx="510336" cy="253887"/>
          </a:xfrm>
          <a:prstGeom prst="rect">
            <a:avLst/>
          </a:prstGeom>
          <a:noFill/>
          <a:ln>
            <a:noFill/>
          </a:ln>
        </p:spPr>
        <p:txBody>
          <a:bodyPr wrap="none" lIns="68550" tIns="34276" rIns="68550" bIns="34276" rtlCol="0">
            <a:spAutoFit/>
          </a:bodyPr>
          <a:lstStyle/>
          <a:p>
            <a:pPr defTabSz="685537"/>
            <a:r>
              <a:rPr lang="en-US" sz="1200" dirty="0">
                <a:solidFill>
                  <a:srgbClr val="005073"/>
                </a:solidFill>
                <a:latin typeface="+mn-lt"/>
              </a:rPr>
              <a:t>2020</a:t>
            </a:r>
          </a:p>
        </p:txBody>
      </p:sp>
      <p:sp>
        <p:nvSpPr>
          <p:cNvPr id="53" name="TextBox 52"/>
          <p:cNvSpPr txBox="1"/>
          <p:nvPr/>
        </p:nvSpPr>
        <p:spPr>
          <a:xfrm>
            <a:off x="8087669" y="1152638"/>
            <a:ext cx="608119" cy="230804"/>
          </a:xfrm>
          <a:prstGeom prst="rect">
            <a:avLst/>
          </a:prstGeom>
          <a:noFill/>
        </p:spPr>
        <p:txBody>
          <a:bodyPr wrap="none" lIns="68550" tIns="34276" rIns="68550" bIns="34276" rtlCol="0">
            <a:spAutoFit/>
          </a:bodyPr>
          <a:lstStyle/>
          <a:p>
            <a:pPr defTabSz="685537"/>
            <a:r>
              <a:rPr lang="en-US" sz="1050" b="1" dirty="0">
                <a:solidFill>
                  <a:schemeClr val="tx2"/>
                </a:solidFill>
                <a:latin typeface="+mn-lt"/>
              </a:rPr>
              <a:t>4T/slot </a:t>
            </a:r>
          </a:p>
        </p:txBody>
      </p:sp>
      <p:sp>
        <p:nvSpPr>
          <p:cNvPr id="61" name="TextBox 60"/>
          <p:cNvSpPr txBox="1"/>
          <p:nvPr/>
        </p:nvSpPr>
        <p:spPr>
          <a:xfrm>
            <a:off x="7804666" y="1484684"/>
            <a:ext cx="1472500" cy="376998"/>
          </a:xfrm>
          <a:prstGeom prst="rect">
            <a:avLst/>
          </a:prstGeom>
          <a:noFill/>
          <a:ln>
            <a:noFill/>
          </a:ln>
        </p:spPr>
        <p:txBody>
          <a:bodyPr wrap="square" lIns="68550" tIns="34276" rIns="68550" bIns="34276" rtlCol="0">
            <a:spAutoFit/>
          </a:bodyPr>
          <a:lstStyle/>
          <a:p>
            <a:pPr marL="128526" indent="-128526" defTabSz="685537">
              <a:buFont typeface="Arial" pitchFamily="34" charset="0"/>
              <a:buChar char="•"/>
            </a:pPr>
            <a:r>
              <a:rPr lang="en-US" sz="1000" dirty="0">
                <a:latin typeface="+mn-lt"/>
              </a:rPr>
              <a:t>0.4 Watts/Gbps</a:t>
            </a:r>
          </a:p>
          <a:p>
            <a:pPr marL="128526" indent="-128526" defTabSz="685537">
              <a:buFont typeface="Arial" pitchFamily="34" charset="0"/>
              <a:buChar char="•"/>
            </a:pPr>
            <a:r>
              <a:rPr lang="en-US" sz="1000" dirty="0">
                <a:latin typeface="+mn-lt"/>
              </a:rPr>
              <a:t>800 x 100G/chassis</a:t>
            </a:r>
          </a:p>
        </p:txBody>
      </p:sp>
    </p:spTree>
    <p:extLst>
      <p:ext uri="{BB962C8B-B14F-4D97-AF65-F5344CB8AC3E}">
        <p14:creationId xmlns:p14="http://schemas.microsoft.com/office/powerpoint/2010/main" val="14103567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rapezoid 78">
            <a:extLst>
              <a:ext uri="{FF2B5EF4-FFF2-40B4-BE49-F238E27FC236}">
                <a16:creationId xmlns:a16="http://schemas.microsoft.com/office/drawing/2014/main" id="{B008FDF2-DB1B-A142-96A6-F314C8BE7DD4}"/>
              </a:ext>
            </a:extLst>
          </p:cNvPr>
          <p:cNvSpPr/>
          <p:nvPr/>
        </p:nvSpPr>
        <p:spPr>
          <a:xfrm>
            <a:off x="933562" y="3173709"/>
            <a:ext cx="7358028" cy="704300"/>
          </a:xfrm>
          <a:prstGeom prst="trapezoid">
            <a:avLst>
              <a:gd name="adj" fmla="val 390785"/>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reeform 2">
            <a:extLst>
              <a:ext uri="{FF2B5EF4-FFF2-40B4-BE49-F238E27FC236}">
                <a16:creationId xmlns:a16="http://schemas.microsoft.com/office/drawing/2014/main" id="{F9BDC313-D33B-CC49-ABFE-E09635036C27}"/>
              </a:ext>
            </a:extLst>
          </p:cNvPr>
          <p:cNvSpPr/>
          <p:nvPr/>
        </p:nvSpPr>
        <p:spPr>
          <a:xfrm rot="18962983">
            <a:off x="3079832" y="2019006"/>
            <a:ext cx="698103" cy="416950"/>
          </a:xfrm>
          <a:custGeom>
            <a:avLst/>
            <a:gdLst>
              <a:gd name="connsiteX0" fmla="*/ 28049 w 723666"/>
              <a:gd name="connsiteY0" fmla="*/ 521712 h 521712"/>
              <a:gd name="connsiteX1" fmla="*/ 723666 w 723666"/>
              <a:gd name="connsiteY1" fmla="*/ 78537 h 521712"/>
              <a:gd name="connsiteX2" fmla="*/ 0 w 723666"/>
              <a:gd name="connsiteY2" fmla="*/ 0 h 521712"/>
              <a:gd name="connsiteX3" fmla="*/ 28049 w 723666"/>
              <a:gd name="connsiteY3" fmla="*/ 521712 h 521712"/>
              <a:gd name="connsiteX0" fmla="*/ 28049 w 723666"/>
              <a:gd name="connsiteY0" fmla="*/ 524562 h 524562"/>
              <a:gd name="connsiteX1" fmla="*/ 723666 w 723666"/>
              <a:gd name="connsiteY1" fmla="*/ 81387 h 524562"/>
              <a:gd name="connsiteX2" fmla="*/ 0 w 723666"/>
              <a:gd name="connsiteY2" fmla="*/ 2850 h 524562"/>
              <a:gd name="connsiteX3" fmla="*/ 28049 w 723666"/>
              <a:gd name="connsiteY3" fmla="*/ 524562 h 524562"/>
              <a:gd name="connsiteX0" fmla="*/ 28049 w 723666"/>
              <a:gd name="connsiteY0" fmla="*/ 549323 h 549323"/>
              <a:gd name="connsiteX1" fmla="*/ 723666 w 723666"/>
              <a:gd name="connsiteY1" fmla="*/ 106148 h 549323"/>
              <a:gd name="connsiteX2" fmla="*/ 0 w 723666"/>
              <a:gd name="connsiteY2" fmla="*/ 27611 h 549323"/>
              <a:gd name="connsiteX3" fmla="*/ 28049 w 723666"/>
              <a:gd name="connsiteY3" fmla="*/ 549323 h 549323"/>
              <a:gd name="connsiteX0" fmla="*/ 116229 w 811846"/>
              <a:gd name="connsiteY0" fmla="*/ 549323 h 549323"/>
              <a:gd name="connsiteX1" fmla="*/ 811846 w 811846"/>
              <a:gd name="connsiteY1" fmla="*/ 106148 h 549323"/>
              <a:gd name="connsiteX2" fmla="*/ 88180 w 811846"/>
              <a:gd name="connsiteY2" fmla="*/ 27611 h 549323"/>
              <a:gd name="connsiteX3" fmla="*/ 116229 w 811846"/>
              <a:gd name="connsiteY3" fmla="*/ 549323 h 549323"/>
              <a:gd name="connsiteX0" fmla="*/ 128707 w 824324"/>
              <a:gd name="connsiteY0" fmla="*/ 549323 h 549323"/>
              <a:gd name="connsiteX1" fmla="*/ 824324 w 824324"/>
              <a:gd name="connsiteY1" fmla="*/ 106148 h 549323"/>
              <a:gd name="connsiteX2" fmla="*/ 100658 w 824324"/>
              <a:gd name="connsiteY2" fmla="*/ 27611 h 549323"/>
              <a:gd name="connsiteX3" fmla="*/ 128707 w 824324"/>
              <a:gd name="connsiteY3" fmla="*/ 549323 h 549323"/>
              <a:gd name="connsiteX0" fmla="*/ 119856 w 815473"/>
              <a:gd name="connsiteY0" fmla="*/ 549323 h 549323"/>
              <a:gd name="connsiteX1" fmla="*/ 815473 w 815473"/>
              <a:gd name="connsiteY1" fmla="*/ 106148 h 549323"/>
              <a:gd name="connsiteX2" fmla="*/ 91807 w 815473"/>
              <a:gd name="connsiteY2" fmla="*/ 27611 h 549323"/>
              <a:gd name="connsiteX3" fmla="*/ 119856 w 815473"/>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06597"/>
              <a:gd name="connsiteY0" fmla="*/ 547509 h 547509"/>
              <a:gd name="connsiteX1" fmla="*/ 806597 w 806597"/>
              <a:gd name="connsiteY1" fmla="*/ 109331 h 547509"/>
              <a:gd name="connsiteX2" fmla="*/ 99586 w 806597"/>
              <a:gd name="connsiteY2" fmla="*/ 25797 h 547509"/>
              <a:gd name="connsiteX3" fmla="*/ 127635 w 806597"/>
              <a:gd name="connsiteY3" fmla="*/ 547509 h 547509"/>
              <a:gd name="connsiteX0" fmla="*/ 127635 w 798269"/>
              <a:gd name="connsiteY0" fmla="*/ 544748 h 544748"/>
              <a:gd name="connsiteX1" fmla="*/ 798269 w 798269"/>
              <a:gd name="connsiteY1" fmla="*/ 114898 h 544748"/>
              <a:gd name="connsiteX2" fmla="*/ 99586 w 798269"/>
              <a:gd name="connsiteY2" fmla="*/ 23036 h 544748"/>
              <a:gd name="connsiteX3" fmla="*/ 127635 w 798269"/>
              <a:gd name="connsiteY3" fmla="*/ 544748 h 544748"/>
              <a:gd name="connsiteX0" fmla="*/ 127635 w 816590"/>
              <a:gd name="connsiteY0" fmla="*/ 545273 h 545273"/>
              <a:gd name="connsiteX1" fmla="*/ 816590 w 816590"/>
              <a:gd name="connsiteY1" fmla="*/ 113758 h 545273"/>
              <a:gd name="connsiteX2" fmla="*/ 99586 w 816590"/>
              <a:gd name="connsiteY2" fmla="*/ 23561 h 545273"/>
              <a:gd name="connsiteX3" fmla="*/ 127635 w 816590"/>
              <a:gd name="connsiteY3" fmla="*/ 545273 h 545273"/>
              <a:gd name="connsiteX0" fmla="*/ 127635 w 816590"/>
              <a:gd name="connsiteY0" fmla="*/ 545273 h 545273"/>
              <a:gd name="connsiteX1" fmla="*/ 816590 w 816590"/>
              <a:gd name="connsiteY1" fmla="*/ 113758 h 545273"/>
              <a:gd name="connsiteX2" fmla="*/ 99586 w 816590"/>
              <a:gd name="connsiteY2" fmla="*/ 23561 h 545273"/>
              <a:gd name="connsiteX3" fmla="*/ 127635 w 816590"/>
              <a:gd name="connsiteY3" fmla="*/ 545273 h 545273"/>
              <a:gd name="connsiteX0" fmla="*/ 127635 w 816590"/>
              <a:gd name="connsiteY0" fmla="*/ 545273 h 545273"/>
              <a:gd name="connsiteX1" fmla="*/ 816590 w 816590"/>
              <a:gd name="connsiteY1" fmla="*/ 113758 h 545273"/>
              <a:gd name="connsiteX2" fmla="*/ 99586 w 816590"/>
              <a:gd name="connsiteY2" fmla="*/ 23561 h 545273"/>
              <a:gd name="connsiteX3" fmla="*/ 127635 w 816590"/>
              <a:gd name="connsiteY3" fmla="*/ 545273 h 545273"/>
              <a:gd name="connsiteX0" fmla="*/ 125047 w 814002"/>
              <a:gd name="connsiteY0" fmla="*/ 530996 h 530996"/>
              <a:gd name="connsiteX1" fmla="*/ 814002 w 814002"/>
              <a:gd name="connsiteY1" fmla="*/ 99481 h 530996"/>
              <a:gd name="connsiteX2" fmla="*/ 100880 w 814002"/>
              <a:gd name="connsiteY2" fmla="*/ 32084 h 530996"/>
              <a:gd name="connsiteX3" fmla="*/ 125047 w 814002"/>
              <a:gd name="connsiteY3" fmla="*/ 530996 h 530996"/>
              <a:gd name="connsiteX0" fmla="*/ 151854 w 840809"/>
              <a:gd name="connsiteY0" fmla="*/ 502183 h 502183"/>
              <a:gd name="connsiteX1" fmla="*/ 840809 w 840809"/>
              <a:gd name="connsiteY1" fmla="*/ 70668 h 502183"/>
              <a:gd name="connsiteX2" fmla="*/ 89224 w 840809"/>
              <a:gd name="connsiteY2" fmla="*/ 69166 h 502183"/>
              <a:gd name="connsiteX3" fmla="*/ 151854 w 840809"/>
              <a:gd name="connsiteY3" fmla="*/ 502183 h 502183"/>
            </a:gdLst>
            <a:ahLst/>
            <a:cxnLst>
              <a:cxn ang="0">
                <a:pos x="connsiteX0" y="connsiteY0"/>
              </a:cxn>
              <a:cxn ang="0">
                <a:pos x="connsiteX1" y="connsiteY1"/>
              </a:cxn>
              <a:cxn ang="0">
                <a:pos x="connsiteX2" y="connsiteY2"/>
              </a:cxn>
              <a:cxn ang="0">
                <a:pos x="connsiteX3" y="connsiteY3"/>
              </a:cxn>
            </a:cxnLst>
            <a:rect l="l" t="t" r="r" b="b"/>
            <a:pathLst>
              <a:path w="840809" h="502183">
                <a:moveTo>
                  <a:pt x="151854" y="502183"/>
                </a:moveTo>
                <a:cubicBezTo>
                  <a:pt x="460776" y="223265"/>
                  <a:pt x="530159" y="213850"/>
                  <a:pt x="840809" y="70668"/>
                </a:cubicBezTo>
                <a:cubicBezTo>
                  <a:pt x="565929" y="-67707"/>
                  <a:pt x="218250" y="33637"/>
                  <a:pt x="89224" y="69166"/>
                </a:cubicBezTo>
                <a:cubicBezTo>
                  <a:pt x="-100223" y="261555"/>
                  <a:pt x="56424" y="419088"/>
                  <a:pt x="151854" y="502183"/>
                </a:cubicBezTo>
                <a:close/>
              </a:path>
            </a:pathLst>
          </a:custGeom>
          <a:solidFill>
            <a:schemeClr val="accent1">
              <a:lumMod val="75000"/>
            </a:schemeClr>
          </a:solidFill>
          <a:ln w="25400" cap="flat" cmpd="sng" algn="ctr">
            <a:noFill/>
            <a:prstDash val="solid"/>
          </a:ln>
          <a:effectLst/>
        </p:spPr>
        <p:txBody>
          <a:bodyPr rtlCol="0" anchor="ctr"/>
          <a:lstStyle/>
          <a:p>
            <a:pPr algn="ctr" defTabSz="914378">
              <a:defRPr/>
            </a:pPr>
            <a:endParaRPr lang="en-US" kern="0" dirty="0">
              <a:solidFill>
                <a:srgbClr val="005073"/>
              </a:solidFill>
              <a:latin typeface="+mn-lt"/>
            </a:endParaRPr>
          </a:p>
        </p:txBody>
      </p:sp>
      <p:sp>
        <p:nvSpPr>
          <p:cNvPr id="4" name="Freeform 3">
            <a:extLst>
              <a:ext uri="{FF2B5EF4-FFF2-40B4-BE49-F238E27FC236}">
                <a16:creationId xmlns:a16="http://schemas.microsoft.com/office/drawing/2014/main" id="{63CE5E73-DB04-E044-9A25-4E232A23A3DE}"/>
              </a:ext>
            </a:extLst>
          </p:cNvPr>
          <p:cNvSpPr/>
          <p:nvPr/>
        </p:nvSpPr>
        <p:spPr>
          <a:xfrm rot="3797944">
            <a:off x="4783934" y="1239261"/>
            <a:ext cx="698103" cy="416950"/>
          </a:xfrm>
          <a:custGeom>
            <a:avLst/>
            <a:gdLst>
              <a:gd name="connsiteX0" fmla="*/ 28049 w 723666"/>
              <a:gd name="connsiteY0" fmla="*/ 521712 h 521712"/>
              <a:gd name="connsiteX1" fmla="*/ 723666 w 723666"/>
              <a:gd name="connsiteY1" fmla="*/ 78537 h 521712"/>
              <a:gd name="connsiteX2" fmla="*/ 0 w 723666"/>
              <a:gd name="connsiteY2" fmla="*/ 0 h 521712"/>
              <a:gd name="connsiteX3" fmla="*/ 28049 w 723666"/>
              <a:gd name="connsiteY3" fmla="*/ 521712 h 521712"/>
              <a:gd name="connsiteX0" fmla="*/ 28049 w 723666"/>
              <a:gd name="connsiteY0" fmla="*/ 524562 h 524562"/>
              <a:gd name="connsiteX1" fmla="*/ 723666 w 723666"/>
              <a:gd name="connsiteY1" fmla="*/ 81387 h 524562"/>
              <a:gd name="connsiteX2" fmla="*/ 0 w 723666"/>
              <a:gd name="connsiteY2" fmla="*/ 2850 h 524562"/>
              <a:gd name="connsiteX3" fmla="*/ 28049 w 723666"/>
              <a:gd name="connsiteY3" fmla="*/ 524562 h 524562"/>
              <a:gd name="connsiteX0" fmla="*/ 28049 w 723666"/>
              <a:gd name="connsiteY0" fmla="*/ 549323 h 549323"/>
              <a:gd name="connsiteX1" fmla="*/ 723666 w 723666"/>
              <a:gd name="connsiteY1" fmla="*/ 106148 h 549323"/>
              <a:gd name="connsiteX2" fmla="*/ 0 w 723666"/>
              <a:gd name="connsiteY2" fmla="*/ 27611 h 549323"/>
              <a:gd name="connsiteX3" fmla="*/ 28049 w 723666"/>
              <a:gd name="connsiteY3" fmla="*/ 549323 h 549323"/>
              <a:gd name="connsiteX0" fmla="*/ 116229 w 811846"/>
              <a:gd name="connsiteY0" fmla="*/ 549323 h 549323"/>
              <a:gd name="connsiteX1" fmla="*/ 811846 w 811846"/>
              <a:gd name="connsiteY1" fmla="*/ 106148 h 549323"/>
              <a:gd name="connsiteX2" fmla="*/ 88180 w 811846"/>
              <a:gd name="connsiteY2" fmla="*/ 27611 h 549323"/>
              <a:gd name="connsiteX3" fmla="*/ 116229 w 811846"/>
              <a:gd name="connsiteY3" fmla="*/ 549323 h 549323"/>
              <a:gd name="connsiteX0" fmla="*/ 128707 w 824324"/>
              <a:gd name="connsiteY0" fmla="*/ 549323 h 549323"/>
              <a:gd name="connsiteX1" fmla="*/ 824324 w 824324"/>
              <a:gd name="connsiteY1" fmla="*/ 106148 h 549323"/>
              <a:gd name="connsiteX2" fmla="*/ 100658 w 824324"/>
              <a:gd name="connsiteY2" fmla="*/ 27611 h 549323"/>
              <a:gd name="connsiteX3" fmla="*/ 128707 w 824324"/>
              <a:gd name="connsiteY3" fmla="*/ 549323 h 549323"/>
              <a:gd name="connsiteX0" fmla="*/ 119856 w 815473"/>
              <a:gd name="connsiteY0" fmla="*/ 549323 h 549323"/>
              <a:gd name="connsiteX1" fmla="*/ 815473 w 815473"/>
              <a:gd name="connsiteY1" fmla="*/ 106148 h 549323"/>
              <a:gd name="connsiteX2" fmla="*/ 91807 w 815473"/>
              <a:gd name="connsiteY2" fmla="*/ 27611 h 549323"/>
              <a:gd name="connsiteX3" fmla="*/ 119856 w 815473"/>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23252"/>
              <a:gd name="connsiteY0" fmla="*/ 549323 h 549323"/>
              <a:gd name="connsiteX1" fmla="*/ 823252 w 823252"/>
              <a:gd name="connsiteY1" fmla="*/ 106148 h 549323"/>
              <a:gd name="connsiteX2" fmla="*/ 99586 w 823252"/>
              <a:gd name="connsiteY2" fmla="*/ 27611 h 549323"/>
              <a:gd name="connsiteX3" fmla="*/ 127635 w 823252"/>
              <a:gd name="connsiteY3" fmla="*/ 549323 h 549323"/>
              <a:gd name="connsiteX0" fmla="*/ 127635 w 806597"/>
              <a:gd name="connsiteY0" fmla="*/ 547509 h 547509"/>
              <a:gd name="connsiteX1" fmla="*/ 806597 w 806597"/>
              <a:gd name="connsiteY1" fmla="*/ 109331 h 547509"/>
              <a:gd name="connsiteX2" fmla="*/ 99586 w 806597"/>
              <a:gd name="connsiteY2" fmla="*/ 25797 h 547509"/>
              <a:gd name="connsiteX3" fmla="*/ 127635 w 806597"/>
              <a:gd name="connsiteY3" fmla="*/ 547509 h 547509"/>
              <a:gd name="connsiteX0" fmla="*/ 127635 w 798269"/>
              <a:gd name="connsiteY0" fmla="*/ 544748 h 544748"/>
              <a:gd name="connsiteX1" fmla="*/ 798269 w 798269"/>
              <a:gd name="connsiteY1" fmla="*/ 114898 h 544748"/>
              <a:gd name="connsiteX2" fmla="*/ 99586 w 798269"/>
              <a:gd name="connsiteY2" fmla="*/ 23036 h 544748"/>
              <a:gd name="connsiteX3" fmla="*/ 127635 w 798269"/>
              <a:gd name="connsiteY3" fmla="*/ 544748 h 544748"/>
              <a:gd name="connsiteX0" fmla="*/ 127635 w 816590"/>
              <a:gd name="connsiteY0" fmla="*/ 545273 h 545273"/>
              <a:gd name="connsiteX1" fmla="*/ 816590 w 816590"/>
              <a:gd name="connsiteY1" fmla="*/ 113758 h 545273"/>
              <a:gd name="connsiteX2" fmla="*/ 99586 w 816590"/>
              <a:gd name="connsiteY2" fmla="*/ 23561 h 545273"/>
              <a:gd name="connsiteX3" fmla="*/ 127635 w 816590"/>
              <a:gd name="connsiteY3" fmla="*/ 545273 h 545273"/>
              <a:gd name="connsiteX0" fmla="*/ 127635 w 816590"/>
              <a:gd name="connsiteY0" fmla="*/ 545273 h 545273"/>
              <a:gd name="connsiteX1" fmla="*/ 816590 w 816590"/>
              <a:gd name="connsiteY1" fmla="*/ 113758 h 545273"/>
              <a:gd name="connsiteX2" fmla="*/ 99586 w 816590"/>
              <a:gd name="connsiteY2" fmla="*/ 23561 h 545273"/>
              <a:gd name="connsiteX3" fmla="*/ 127635 w 816590"/>
              <a:gd name="connsiteY3" fmla="*/ 545273 h 545273"/>
              <a:gd name="connsiteX0" fmla="*/ 127635 w 816590"/>
              <a:gd name="connsiteY0" fmla="*/ 545273 h 545273"/>
              <a:gd name="connsiteX1" fmla="*/ 816590 w 816590"/>
              <a:gd name="connsiteY1" fmla="*/ 113758 h 545273"/>
              <a:gd name="connsiteX2" fmla="*/ 99586 w 816590"/>
              <a:gd name="connsiteY2" fmla="*/ 23561 h 545273"/>
              <a:gd name="connsiteX3" fmla="*/ 127635 w 816590"/>
              <a:gd name="connsiteY3" fmla="*/ 545273 h 545273"/>
              <a:gd name="connsiteX0" fmla="*/ 125047 w 814002"/>
              <a:gd name="connsiteY0" fmla="*/ 530996 h 530996"/>
              <a:gd name="connsiteX1" fmla="*/ 814002 w 814002"/>
              <a:gd name="connsiteY1" fmla="*/ 99481 h 530996"/>
              <a:gd name="connsiteX2" fmla="*/ 100880 w 814002"/>
              <a:gd name="connsiteY2" fmla="*/ 32084 h 530996"/>
              <a:gd name="connsiteX3" fmla="*/ 125047 w 814002"/>
              <a:gd name="connsiteY3" fmla="*/ 530996 h 530996"/>
              <a:gd name="connsiteX0" fmla="*/ 151854 w 840809"/>
              <a:gd name="connsiteY0" fmla="*/ 502183 h 502183"/>
              <a:gd name="connsiteX1" fmla="*/ 840809 w 840809"/>
              <a:gd name="connsiteY1" fmla="*/ 70668 h 502183"/>
              <a:gd name="connsiteX2" fmla="*/ 89224 w 840809"/>
              <a:gd name="connsiteY2" fmla="*/ 69166 h 502183"/>
              <a:gd name="connsiteX3" fmla="*/ 151854 w 840809"/>
              <a:gd name="connsiteY3" fmla="*/ 502183 h 502183"/>
            </a:gdLst>
            <a:ahLst/>
            <a:cxnLst>
              <a:cxn ang="0">
                <a:pos x="connsiteX0" y="connsiteY0"/>
              </a:cxn>
              <a:cxn ang="0">
                <a:pos x="connsiteX1" y="connsiteY1"/>
              </a:cxn>
              <a:cxn ang="0">
                <a:pos x="connsiteX2" y="connsiteY2"/>
              </a:cxn>
              <a:cxn ang="0">
                <a:pos x="connsiteX3" y="connsiteY3"/>
              </a:cxn>
            </a:cxnLst>
            <a:rect l="l" t="t" r="r" b="b"/>
            <a:pathLst>
              <a:path w="840809" h="502183">
                <a:moveTo>
                  <a:pt x="151854" y="502183"/>
                </a:moveTo>
                <a:cubicBezTo>
                  <a:pt x="460776" y="223265"/>
                  <a:pt x="530159" y="213850"/>
                  <a:pt x="840809" y="70668"/>
                </a:cubicBezTo>
                <a:cubicBezTo>
                  <a:pt x="565929" y="-67707"/>
                  <a:pt x="218250" y="33637"/>
                  <a:pt x="89224" y="69166"/>
                </a:cubicBezTo>
                <a:cubicBezTo>
                  <a:pt x="-100223" y="261555"/>
                  <a:pt x="56424" y="419088"/>
                  <a:pt x="151854" y="502183"/>
                </a:cubicBezTo>
                <a:close/>
              </a:path>
            </a:pathLst>
          </a:custGeom>
          <a:solidFill>
            <a:srgbClr val="6EBE4A">
              <a:lumMod val="75000"/>
            </a:srgbClr>
          </a:solidFill>
          <a:ln w="25400" cap="flat" cmpd="sng" algn="ctr">
            <a:noFill/>
            <a:prstDash val="solid"/>
          </a:ln>
          <a:effectLst/>
        </p:spPr>
        <p:txBody>
          <a:bodyPr rtlCol="0" anchor="ctr"/>
          <a:lstStyle/>
          <a:p>
            <a:pPr algn="ctr" defTabSz="914378">
              <a:defRPr/>
            </a:pPr>
            <a:endParaRPr lang="en-US" kern="0" dirty="0">
              <a:solidFill>
                <a:srgbClr val="005073"/>
              </a:solidFill>
              <a:latin typeface="+mn-lt"/>
            </a:endParaRPr>
          </a:p>
        </p:txBody>
      </p:sp>
      <p:pic>
        <p:nvPicPr>
          <p:cNvPr id="6" name="Picture 5">
            <a:extLst>
              <a:ext uri="{FF2B5EF4-FFF2-40B4-BE49-F238E27FC236}">
                <a16:creationId xmlns:a16="http://schemas.microsoft.com/office/drawing/2014/main" id="{6C010348-08A8-0441-96B8-17C38B14AA74}"/>
              </a:ext>
            </a:extLst>
          </p:cNvPr>
          <p:cNvPicPr>
            <a:picLocks noChangeAspect="1"/>
          </p:cNvPicPr>
          <p:nvPr/>
        </p:nvPicPr>
        <p:blipFill rotWithShape="1">
          <a:blip r:embed="rId2">
            <a:extLst>
              <a:ext uri="{28A0092B-C50C-407E-A947-70E740481C1C}">
                <a14:useLocalDpi xmlns:a14="http://schemas.microsoft.com/office/drawing/2010/main" val="0"/>
              </a:ext>
            </a:extLst>
          </a:blip>
          <a:srcRect l="47308" t="5210" r="5008" b="3901"/>
          <a:stretch/>
        </p:blipFill>
        <p:spPr>
          <a:xfrm>
            <a:off x="3277497" y="1094428"/>
            <a:ext cx="2606552" cy="2597058"/>
          </a:xfrm>
          <a:prstGeom prst="ellipse">
            <a:avLst/>
          </a:prstGeom>
          <a:ln>
            <a:noFill/>
          </a:ln>
          <a:effectLst>
            <a:softEdge rad="127000"/>
          </a:effectLst>
        </p:spPr>
      </p:pic>
      <p:sp>
        <p:nvSpPr>
          <p:cNvPr id="7" name="Freeform 6">
            <a:extLst>
              <a:ext uri="{FF2B5EF4-FFF2-40B4-BE49-F238E27FC236}">
                <a16:creationId xmlns:a16="http://schemas.microsoft.com/office/drawing/2014/main" id="{DFECB2FA-0593-A044-B048-D21AC3660674}"/>
              </a:ext>
            </a:extLst>
          </p:cNvPr>
          <p:cNvSpPr/>
          <p:nvPr/>
        </p:nvSpPr>
        <p:spPr>
          <a:xfrm rot="21347096">
            <a:off x="3578037" y="1343551"/>
            <a:ext cx="2347546" cy="592015"/>
          </a:xfrm>
          <a:custGeom>
            <a:avLst/>
            <a:gdLst>
              <a:gd name="connsiteX0" fmla="*/ 0 w 2347546"/>
              <a:gd name="connsiteY0" fmla="*/ 0 h 592015"/>
              <a:gd name="connsiteX1" fmla="*/ 2347546 w 2347546"/>
              <a:gd name="connsiteY1" fmla="*/ 592015 h 592015"/>
            </a:gdLst>
            <a:ahLst/>
            <a:cxnLst>
              <a:cxn ang="0">
                <a:pos x="connsiteX0" y="connsiteY0"/>
              </a:cxn>
              <a:cxn ang="0">
                <a:pos x="connsiteX1" y="connsiteY1"/>
              </a:cxn>
            </a:cxnLst>
            <a:rect l="l" t="t" r="r" b="b"/>
            <a:pathLst>
              <a:path w="2347546" h="592015">
                <a:moveTo>
                  <a:pt x="0" y="0"/>
                </a:moveTo>
                <a:lnTo>
                  <a:pt x="2347546" y="592015"/>
                </a:lnTo>
              </a:path>
            </a:pathLst>
          </a:custGeom>
          <a:noFill/>
          <a:ln w="25400" cap="flat" cmpd="sng" algn="ctr">
            <a:noFill/>
            <a:prstDash val="solid"/>
          </a:ln>
          <a:effectLst/>
        </p:spPr>
        <p:txBody>
          <a:bodyPr rtlCol="0" anchor="ctr"/>
          <a:lstStyle/>
          <a:p>
            <a:pPr algn="ctr" defTabSz="914378">
              <a:defRPr/>
            </a:pPr>
            <a:endParaRPr lang="en-US" kern="0">
              <a:solidFill>
                <a:srgbClr val="005073"/>
              </a:solidFill>
              <a:latin typeface="+mn-lt"/>
            </a:endParaRPr>
          </a:p>
        </p:txBody>
      </p:sp>
      <p:sp>
        <p:nvSpPr>
          <p:cNvPr id="9" name="Freeform 8">
            <a:extLst>
              <a:ext uri="{FF2B5EF4-FFF2-40B4-BE49-F238E27FC236}">
                <a16:creationId xmlns:a16="http://schemas.microsoft.com/office/drawing/2014/main" id="{AE4620DD-AA71-9843-B398-C689CCC13FF6}"/>
              </a:ext>
            </a:extLst>
          </p:cNvPr>
          <p:cNvSpPr/>
          <p:nvPr/>
        </p:nvSpPr>
        <p:spPr>
          <a:xfrm rot="17929761">
            <a:off x="2920176" y="1147406"/>
            <a:ext cx="1866046" cy="1152243"/>
          </a:xfrm>
          <a:custGeom>
            <a:avLst/>
            <a:gdLst>
              <a:gd name="connsiteX0" fmla="*/ 0 w 2358998"/>
              <a:gd name="connsiteY0" fmla="*/ 0 h 891348"/>
              <a:gd name="connsiteX1" fmla="*/ 1383126 w 2358998"/>
              <a:gd name="connsiteY1" fmla="*/ 891348 h 891348"/>
              <a:gd name="connsiteX2" fmla="*/ 2358998 w 2358998"/>
              <a:gd name="connsiteY2" fmla="*/ 560934 h 891348"/>
              <a:gd name="connsiteX3" fmla="*/ 0 w 2358998"/>
              <a:gd name="connsiteY3" fmla="*/ 0 h 891348"/>
              <a:gd name="connsiteX0" fmla="*/ 0 w 2358998"/>
              <a:gd name="connsiteY0" fmla="*/ 74370 h 965718"/>
              <a:gd name="connsiteX1" fmla="*/ 1383126 w 2358998"/>
              <a:gd name="connsiteY1" fmla="*/ 965718 h 965718"/>
              <a:gd name="connsiteX2" fmla="*/ 2358998 w 2358998"/>
              <a:gd name="connsiteY2" fmla="*/ 635304 h 965718"/>
              <a:gd name="connsiteX3" fmla="*/ 0 w 2358998"/>
              <a:gd name="connsiteY3" fmla="*/ 74370 h 96571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456630"/>
              <a:gd name="connsiteX1" fmla="*/ 1237075 w 2358998"/>
              <a:gd name="connsiteY1" fmla="*/ 1456630 h 1456630"/>
              <a:gd name="connsiteX2" fmla="*/ 2358998 w 2358998"/>
              <a:gd name="connsiteY2" fmla="*/ 902952 h 1456630"/>
              <a:gd name="connsiteX3" fmla="*/ 0 w 2358998"/>
              <a:gd name="connsiteY3" fmla="*/ 342018 h 1456630"/>
              <a:gd name="connsiteX0" fmla="*/ 0 w 2358998"/>
              <a:gd name="connsiteY0" fmla="*/ 342018 h 1456630"/>
              <a:gd name="connsiteX1" fmla="*/ 1237075 w 2358998"/>
              <a:gd name="connsiteY1" fmla="*/ 1456630 h 1456630"/>
              <a:gd name="connsiteX2" fmla="*/ 2358998 w 2358998"/>
              <a:gd name="connsiteY2" fmla="*/ 902952 h 1456630"/>
              <a:gd name="connsiteX3" fmla="*/ 0 w 2358998"/>
              <a:gd name="connsiteY3" fmla="*/ 342018 h 1456630"/>
            </a:gdLst>
            <a:ahLst/>
            <a:cxnLst>
              <a:cxn ang="0">
                <a:pos x="connsiteX0" y="connsiteY0"/>
              </a:cxn>
              <a:cxn ang="0">
                <a:pos x="connsiteX1" y="connsiteY1"/>
              </a:cxn>
              <a:cxn ang="0">
                <a:pos x="connsiteX2" y="connsiteY2"/>
              </a:cxn>
              <a:cxn ang="0">
                <a:pos x="connsiteX3" y="connsiteY3"/>
              </a:cxn>
            </a:cxnLst>
            <a:rect l="l" t="t" r="r" b="b"/>
            <a:pathLst>
              <a:path w="2358998" h="1456630">
                <a:moveTo>
                  <a:pt x="0" y="342018"/>
                </a:moveTo>
                <a:cubicBezTo>
                  <a:pt x="814507" y="366351"/>
                  <a:pt x="1053924" y="637193"/>
                  <a:pt x="1237075" y="1456630"/>
                </a:cubicBezTo>
                <a:cubicBezTo>
                  <a:pt x="1508578" y="1200496"/>
                  <a:pt x="1845448" y="878619"/>
                  <a:pt x="2358998" y="902952"/>
                </a:cubicBezTo>
                <a:cubicBezTo>
                  <a:pt x="1872342" y="-221478"/>
                  <a:pt x="494340" y="-154883"/>
                  <a:pt x="0" y="342018"/>
                </a:cubicBezTo>
                <a:close/>
              </a:path>
            </a:pathLst>
          </a:custGeom>
          <a:solidFill>
            <a:schemeClr val="accent1"/>
          </a:solidFill>
          <a:ln w="25400" cap="flat" cmpd="sng" algn="ctr">
            <a:noFill/>
            <a:prstDash val="solid"/>
          </a:ln>
          <a:effectLst/>
        </p:spPr>
        <p:txBody>
          <a:bodyPr rtlCol="0" anchor="ctr"/>
          <a:lstStyle/>
          <a:p>
            <a:pPr algn="ctr" defTabSz="914378">
              <a:defRPr/>
            </a:pPr>
            <a:endParaRPr lang="en-US" kern="0" dirty="0">
              <a:solidFill>
                <a:srgbClr val="005073"/>
              </a:solidFill>
              <a:latin typeface="+mn-lt"/>
            </a:endParaRPr>
          </a:p>
        </p:txBody>
      </p:sp>
      <p:sp>
        <p:nvSpPr>
          <p:cNvPr id="11" name="Freeform 10">
            <a:extLst>
              <a:ext uri="{FF2B5EF4-FFF2-40B4-BE49-F238E27FC236}">
                <a16:creationId xmlns:a16="http://schemas.microsoft.com/office/drawing/2014/main" id="{86FD4929-2073-874A-AB29-4AFE67D848A6}"/>
              </a:ext>
            </a:extLst>
          </p:cNvPr>
          <p:cNvSpPr/>
          <p:nvPr/>
        </p:nvSpPr>
        <p:spPr>
          <a:xfrm rot="2892180">
            <a:off x="4496597" y="1436492"/>
            <a:ext cx="1866046" cy="1152243"/>
          </a:xfrm>
          <a:custGeom>
            <a:avLst/>
            <a:gdLst>
              <a:gd name="connsiteX0" fmla="*/ 0 w 2358998"/>
              <a:gd name="connsiteY0" fmla="*/ 0 h 891348"/>
              <a:gd name="connsiteX1" fmla="*/ 1383126 w 2358998"/>
              <a:gd name="connsiteY1" fmla="*/ 891348 h 891348"/>
              <a:gd name="connsiteX2" fmla="*/ 2358998 w 2358998"/>
              <a:gd name="connsiteY2" fmla="*/ 560934 h 891348"/>
              <a:gd name="connsiteX3" fmla="*/ 0 w 2358998"/>
              <a:gd name="connsiteY3" fmla="*/ 0 h 891348"/>
              <a:gd name="connsiteX0" fmla="*/ 0 w 2358998"/>
              <a:gd name="connsiteY0" fmla="*/ 74370 h 965718"/>
              <a:gd name="connsiteX1" fmla="*/ 1383126 w 2358998"/>
              <a:gd name="connsiteY1" fmla="*/ 965718 h 965718"/>
              <a:gd name="connsiteX2" fmla="*/ 2358998 w 2358998"/>
              <a:gd name="connsiteY2" fmla="*/ 635304 h 965718"/>
              <a:gd name="connsiteX3" fmla="*/ 0 w 2358998"/>
              <a:gd name="connsiteY3" fmla="*/ 74370 h 96571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19310 h 1210658"/>
              <a:gd name="connsiteX1" fmla="*/ 1383126 w 2358998"/>
              <a:gd name="connsiteY1" fmla="*/ 1210658 h 1210658"/>
              <a:gd name="connsiteX2" fmla="*/ 2358998 w 2358998"/>
              <a:gd name="connsiteY2" fmla="*/ 880244 h 1210658"/>
              <a:gd name="connsiteX3" fmla="*/ 0 w 2358998"/>
              <a:gd name="connsiteY3" fmla="*/ 319310 h 1210658"/>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233366"/>
              <a:gd name="connsiteX1" fmla="*/ 1383126 w 2358998"/>
              <a:gd name="connsiteY1" fmla="*/ 1233366 h 1233366"/>
              <a:gd name="connsiteX2" fmla="*/ 2358998 w 2358998"/>
              <a:gd name="connsiteY2" fmla="*/ 902952 h 1233366"/>
              <a:gd name="connsiteX3" fmla="*/ 0 w 2358998"/>
              <a:gd name="connsiteY3" fmla="*/ 342018 h 1233366"/>
              <a:gd name="connsiteX0" fmla="*/ 0 w 2358998"/>
              <a:gd name="connsiteY0" fmla="*/ 342018 h 1456630"/>
              <a:gd name="connsiteX1" fmla="*/ 1237075 w 2358998"/>
              <a:gd name="connsiteY1" fmla="*/ 1456630 h 1456630"/>
              <a:gd name="connsiteX2" fmla="*/ 2358998 w 2358998"/>
              <a:gd name="connsiteY2" fmla="*/ 902952 h 1456630"/>
              <a:gd name="connsiteX3" fmla="*/ 0 w 2358998"/>
              <a:gd name="connsiteY3" fmla="*/ 342018 h 1456630"/>
              <a:gd name="connsiteX0" fmla="*/ 0 w 2358998"/>
              <a:gd name="connsiteY0" fmla="*/ 342018 h 1456630"/>
              <a:gd name="connsiteX1" fmla="*/ 1237075 w 2358998"/>
              <a:gd name="connsiteY1" fmla="*/ 1456630 h 1456630"/>
              <a:gd name="connsiteX2" fmla="*/ 2358998 w 2358998"/>
              <a:gd name="connsiteY2" fmla="*/ 902952 h 1456630"/>
              <a:gd name="connsiteX3" fmla="*/ 0 w 2358998"/>
              <a:gd name="connsiteY3" fmla="*/ 342018 h 1456630"/>
            </a:gdLst>
            <a:ahLst/>
            <a:cxnLst>
              <a:cxn ang="0">
                <a:pos x="connsiteX0" y="connsiteY0"/>
              </a:cxn>
              <a:cxn ang="0">
                <a:pos x="connsiteX1" y="connsiteY1"/>
              </a:cxn>
              <a:cxn ang="0">
                <a:pos x="connsiteX2" y="connsiteY2"/>
              </a:cxn>
              <a:cxn ang="0">
                <a:pos x="connsiteX3" y="connsiteY3"/>
              </a:cxn>
            </a:cxnLst>
            <a:rect l="l" t="t" r="r" b="b"/>
            <a:pathLst>
              <a:path w="2358998" h="1456630">
                <a:moveTo>
                  <a:pt x="0" y="342018"/>
                </a:moveTo>
                <a:cubicBezTo>
                  <a:pt x="814507" y="366351"/>
                  <a:pt x="1053924" y="637193"/>
                  <a:pt x="1237075" y="1456630"/>
                </a:cubicBezTo>
                <a:cubicBezTo>
                  <a:pt x="1508578" y="1200496"/>
                  <a:pt x="1845448" y="878619"/>
                  <a:pt x="2358998" y="902952"/>
                </a:cubicBezTo>
                <a:cubicBezTo>
                  <a:pt x="1872342" y="-221478"/>
                  <a:pt x="494340" y="-154883"/>
                  <a:pt x="0" y="342018"/>
                </a:cubicBezTo>
                <a:close/>
              </a:path>
            </a:pathLst>
          </a:custGeom>
          <a:solidFill>
            <a:schemeClr val="accent2"/>
          </a:solidFill>
          <a:ln w="25400" cap="flat" cmpd="sng" algn="ctr">
            <a:noFill/>
            <a:prstDash val="solid"/>
          </a:ln>
          <a:effectLst/>
        </p:spPr>
        <p:txBody>
          <a:bodyPr rtlCol="0" anchor="ctr"/>
          <a:lstStyle/>
          <a:p>
            <a:pPr algn="ctr" defTabSz="914378">
              <a:defRPr/>
            </a:pPr>
            <a:endParaRPr lang="en-US" kern="0" dirty="0">
              <a:solidFill>
                <a:srgbClr val="005073"/>
              </a:solidFill>
              <a:latin typeface="+mn-lt"/>
            </a:endParaRPr>
          </a:p>
        </p:txBody>
      </p:sp>
      <p:cxnSp>
        <p:nvCxnSpPr>
          <p:cNvPr id="12" name="Straight Connector 11">
            <a:extLst>
              <a:ext uri="{FF2B5EF4-FFF2-40B4-BE49-F238E27FC236}">
                <a16:creationId xmlns:a16="http://schemas.microsoft.com/office/drawing/2014/main" id="{A8E25C79-C2CA-3448-9B20-B74FCD16EC51}"/>
              </a:ext>
            </a:extLst>
          </p:cNvPr>
          <p:cNvCxnSpPr/>
          <p:nvPr/>
        </p:nvCxnSpPr>
        <p:spPr>
          <a:xfrm>
            <a:off x="5664592" y="1459136"/>
            <a:ext cx="2469150" cy="0"/>
          </a:xfrm>
          <a:prstGeom prst="line">
            <a:avLst/>
          </a:prstGeom>
          <a:ln w="9525">
            <a:solidFill>
              <a:schemeClr val="accent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0EC07CD-044F-764F-905E-5F9B01DCC4AE}"/>
              </a:ext>
            </a:extLst>
          </p:cNvPr>
          <p:cNvCxnSpPr/>
          <p:nvPr/>
        </p:nvCxnSpPr>
        <p:spPr>
          <a:xfrm flipH="1">
            <a:off x="901758" y="1444698"/>
            <a:ext cx="2469150" cy="0"/>
          </a:xfrm>
          <a:prstGeom prst="line">
            <a:avLst/>
          </a:prstGeom>
          <a:ln w="9525">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A7866F4-311A-524E-ACAB-9E7F27C8CABD}"/>
              </a:ext>
            </a:extLst>
          </p:cNvPr>
          <p:cNvSpPr/>
          <p:nvPr/>
        </p:nvSpPr>
        <p:spPr>
          <a:xfrm>
            <a:off x="6017692" y="1010593"/>
            <a:ext cx="2120947" cy="2239074"/>
          </a:xfrm>
          <a:prstGeom prst="rect">
            <a:avLst/>
          </a:prstGeom>
          <a:noFill/>
        </p:spPr>
        <p:txBody>
          <a:bodyPr wrap="square">
            <a:spAutoFit/>
          </a:bodyPr>
          <a:lstStyle/>
          <a:p>
            <a:pPr algn="r" defTabSz="914378">
              <a:defRPr/>
            </a:pPr>
            <a:r>
              <a:rPr lang="en-US" sz="2400" kern="0" dirty="0">
                <a:solidFill>
                  <a:schemeClr val="accent2"/>
                </a:solidFill>
                <a:latin typeface="+mn-lt"/>
                <a:cs typeface="Arial" panose="020B0604020202020204" pitchFamily="34" charset="0"/>
              </a:rPr>
              <a:t>Features</a:t>
            </a:r>
          </a:p>
          <a:p>
            <a:pPr marL="0" lvl="1" algn="r" defTabSz="610669" eaLnBrk="0" hangingPunct="0">
              <a:buClr>
                <a:schemeClr val="bg1"/>
              </a:buClr>
              <a:buSzPct val="100000"/>
            </a:pPr>
            <a:endParaRPr lang="en-US" sz="1050" dirty="0">
              <a:solidFill>
                <a:schemeClr val="bg1"/>
              </a:solidFill>
              <a:latin typeface="+mn-lt"/>
            </a:endParaRPr>
          </a:p>
          <a:p>
            <a:pPr marL="0" lvl="1" algn="r" defTabSz="610669" eaLnBrk="0" hangingPunct="0">
              <a:buClr>
                <a:schemeClr val="bg1"/>
              </a:buClr>
              <a:buSzPct val="100000"/>
            </a:pPr>
            <a:r>
              <a:rPr lang="en-US" sz="1050" dirty="0">
                <a:latin typeface="+mn-lt"/>
              </a:rPr>
              <a:t>Architecture simplification with Segment Routing and EVPN</a:t>
            </a:r>
          </a:p>
          <a:p>
            <a:pPr marL="0" lvl="1" algn="r" defTabSz="610669" eaLnBrk="0" hangingPunct="0">
              <a:buClr>
                <a:schemeClr val="bg1"/>
              </a:buClr>
              <a:buSzPct val="100000"/>
            </a:pPr>
            <a:endParaRPr lang="en-US" sz="1050" dirty="0">
              <a:latin typeface="+mn-lt"/>
            </a:endParaRPr>
          </a:p>
          <a:p>
            <a:pPr marL="0" lvl="1" algn="r" defTabSz="610669" eaLnBrk="0" hangingPunct="0">
              <a:buClr>
                <a:schemeClr val="bg1"/>
              </a:buClr>
              <a:buSzPct val="100000"/>
            </a:pPr>
            <a:r>
              <a:rPr lang="en-US" sz="1050" dirty="0">
                <a:latin typeface="+mn-lt"/>
              </a:rPr>
              <a:t>Closed-loop automation with programmability and telemetry</a:t>
            </a:r>
          </a:p>
          <a:p>
            <a:pPr marL="0" lvl="1" algn="r" defTabSz="610669" eaLnBrk="0" hangingPunct="0">
              <a:buClr>
                <a:schemeClr val="bg1"/>
              </a:buClr>
              <a:buSzPct val="100000"/>
            </a:pPr>
            <a:endParaRPr lang="en-US" sz="1050" dirty="0">
              <a:latin typeface="+mn-lt"/>
            </a:endParaRPr>
          </a:p>
          <a:p>
            <a:pPr marL="0" lvl="1" algn="r" defTabSz="610669" eaLnBrk="0" hangingPunct="0">
              <a:buClr>
                <a:schemeClr val="bg1"/>
              </a:buClr>
              <a:buSzPct val="100000"/>
            </a:pPr>
            <a:r>
              <a:rPr lang="en-US" sz="1050" dirty="0">
                <a:latin typeface="+mn-lt"/>
              </a:rPr>
              <a:t>5G-readiness with timing and network slicing support</a:t>
            </a:r>
          </a:p>
          <a:p>
            <a:pPr marL="0" lvl="1" algn="r" defTabSz="610669" eaLnBrk="0" hangingPunct="0">
              <a:buClr>
                <a:schemeClr val="bg1"/>
              </a:buClr>
              <a:buSzPct val="100000"/>
            </a:pPr>
            <a:endParaRPr lang="en-US" sz="1050" dirty="0">
              <a:latin typeface="+mn-lt"/>
            </a:endParaRPr>
          </a:p>
          <a:p>
            <a:pPr marL="0" lvl="1" algn="r" defTabSz="610669" eaLnBrk="0" hangingPunct="0">
              <a:buClr>
                <a:schemeClr val="bg1"/>
              </a:buClr>
              <a:buSzPct val="100000"/>
            </a:pPr>
            <a:r>
              <a:rPr lang="en-US" sz="1050" dirty="0">
                <a:latin typeface="+mn-lt"/>
              </a:rPr>
              <a:t>Automated DDoS mitigation </a:t>
            </a:r>
          </a:p>
        </p:txBody>
      </p:sp>
      <p:sp>
        <p:nvSpPr>
          <p:cNvPr id="18" name="Rectangle 17">
            <a:extLst>
              <a:ext uri="{FF2B5EF4-FFF2-40B4-BE49-F238E27FC236}">
                <a16:creationId xmlns:a16="http://schemas.microsoft.com/office/drawing/2014/main" id="{E27F0ABC-6EA9-3641-BFAC-6A3A3B258B09}"/>
              </a:ext>
            </a:extLst>
          </p:cNvPr>
          <p:cNvSpPr/>
          <p:nvPr/>
        </p:nvSpPr>
        <p:spPr>
          <a:xfrm>
            <a:off x="915540" y="1010594"/>
            <a:ext cx="2120947" cy="2069797"/>
          </a:xfrm>
          <a:prstGeom prst="rect">
            <a:avLst/>
          </a:prstGeom>
        </p:spPr>
        <p:txBody>
          <a:bodyPr wrap="square">
            <a:spAutoFit/>
          </a:bodyPr>
          <a:lstStyle/>
          <a:p>
            <a:pPr defTabSz="914378">
              <a:defRPr/>
            </a:pPr>
            <a:r>
              <a:rPr lang="en-US" sz="2400" kern="0" dirty="0">
                <a:solidFill>
                  <a:schemeClr val="accent1"/>
                </a:solidFill>
                <a:latin typeface="+mn-lt"/>
                <a:cs typeface="Arial" panose="020B0604020202020204" pitchFamily="34" charset="0"/>
              </a:rPr>
              <a:t>Scale</a:t>
            </a:r>
          </a:p>
          <a:p>
            <a:pPr marL="0" lvl="1" defTabSz="610669" eaLnBrk="0" hangingPunct="0">
              <a:buClr>
                <a:schemeClr val="bg1"/>
              </a:buClr>
              <a:buSzPct val="100000"/>
            </a:pPr>
            <a:endParaRPr lang="en-US" sz="1050" dirty="0">
              <a:solidFill>
                <a:schemeClr val="bg1"/>
              </a:solidFill>
              <a:latin typeface="+mn-lt"/>
            </a:endParaRPr>
          </a:p>
          <a:p>
            <a:pPr marL="0" lvl="1" defTabSz="610669" eaLnBrk="0" hangingPunct="0">
              <a:buClr>
                <a:schemeClr val="bg1"/>
              </a:buClr>
              <a:buSzPct val="100000"/>
            </a:pPr>
            <a:r>
              <a:rPr lang="en-US" sz="1050" dirty="0">
                <a:latin typeface="+mn-lt"/>
              </a:rPr>
              <a:t>80x capacity increase per system over 11 years</a:t>
            </a:r>
          </a:p>
          <a:p>
            <a:pPr marL="0" lvl="1" defTabSz="610669" eaLnBrk="0" hangingPunct="0">
              <a:buClr>
                <a:schemeClr val="bg1"/>
              </a:buClr>
              <a:buSzPct val="100000"/>
            </a:pPr>
            <a:endParaRPr lang="en-US" sz="1050" dirty="0">
              <a:latin typeface="+mn-lt"/>
            </a:endParaRPr>
          </a:p>
          <a:p>
            <a:pPr marL="0" lvl="1" defTabSz="610669" eaLnBrk="0" hangingPunct="0">
              <a:buClr>
                <a:schemeClr val="bg1"/>
              </a:buClr>
              <a:buSzPct val="100000"/>
            </a:pPr>
            <a:r>
              <a:rPr lang="en-US" sz="1050" dirty="0">
                <a:latin typeface="+mn-lt"/>
              </a:rPr>
              <a:t>400GE-ready</a:t>
            </a:r>
          </a:p>
          <a:p>
            <a:pPr marL="0" lvl="1" defTabSz="610669" eaLnBrk="0" hangingPunct="0">
              <a:buClr>
                <a:schemeClr val="bg1"/>
              </a:buClr>
              <a:buSzPct val="100000"/>
            </a:pPr>
            <a:endParaRPr lang="en-US" sz="1050" dirty="0">
              <a:latin typeface="+mn-lt"/>
              <a:ea typeface="MS PGothic" pitchFamily="34" charset="-128"/>
            </a:endParaRPr>
          </a:p>
          <a:p>
            <a:pPr marL="0" lvl="1" defTabSz="610669" eaLnBrk="0" hangingPunct="0">
              <a:buClr>
                <a:schemeClr val="bg1"/>
              </a:buClr>
              <a:buSzPct val="100000"/>
            </a:pPr>
            <a:r>
              <a:rPr lang="en-US" sz="1050" dirty="0">
                <a:latin typeface="+mn-lt"/>
                <a:ea typeface="MS PGothic" pitchFamily="34" charset="-128"/>
              </a:rPr>
              <a:t>Ultra high control plane scale with 64-bit IOS XR</a:t>
            </a:r>
          </a:p>
          <a:p>
            <a:pPr marL="342892" lvl="1" indent="-342892">
              <a:spcBef>
                <a:spcPts val="1200"/>
              </a:spcBef>
            </a:pPr>
            <a:r>
              <a:rPr lang="en-US" sz="1050" dirty="0">
                <a:latin typeface="+mn-lt"/>
                <a:ea typeface="MS PGothic" pitchFamily="34" charset="-128"/>
              </a:rPr>
              <a:t>IPv6 scale and performance</a:t>
            </a:r>
          </a:p>
        </p:txBody>
      </p:sp>
      <p:sp>
        <p:nvSpPr>
          <p:cNvPr id="44" name="Title 1">
            <a:extLst>
              <a:ext uri="{FF2B5EF4-FFF2-40B4-BE49-F238E27FC236}">
                <a16:creationId xmlns:a16="http://schemas.microsoft.com/office/drawing/2014/main" id="{5395AD4E-8D10-0A4D-8324-BDC6409C9E2B}"/>
              </a:ext>
            </a:extLst>
          </p:cNvPr>
          <p:cNvSpPr txBox="1">
            <a:spLocks/>
          </p:cNvSpPr>
          <p:nvPr/>
        </p:nvSpPr>
        <p:spPr>
          <a:xfrm>
            <a:off x="437766" y="341314"/>
            <a:ext cx="8345488" cy="731837"/>
          </a:xfrm>
          <a:prstGeom prst="rect">
            <a:avLst/>
          </a:prstGeom>
        </p:spPr>
        <p:txBody>
          <a:bodyPr/>
          <a:lst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fr-FR" dirty="0">
                <a:latin typeface="+mn-lt"/>
              </a:rPr>
              <a:t>ASR 9000 </a:t>
            </a:r>
            <a:r>
              <a:rPr lang="fr-FR" dirty="0" err="1">
                <a:latin typeface="+mn-lt"/>
              </a:rPr>
              <a:t>Engineered</a:t>
            </a:r>
            <a:r>
              <a:rPr lang="fr-FR" dirty="0">
                <a:latin typeface="+mn-lt"/>
              </a:rPr>
              <a:t> for New Architectures</a:t>
            </a:r>
          </a:p>
        </p:txBody>
      </p:sp>
      <p:grpSp>
        <p:nvGrpSpPr>
          <p:cNvPr id="47" name="Group 46">
            <a:extLst>
              <a:ext uri="{FF2B5EF4-FFF2-40B4-BE49-F238E27FC236}">
                <a16:creationId xmlns:a16="http://schemas.microsoft.com/office/drawing/2014/main" id="{C3C2FCA9-1841-7146-8EB9-AF817D4C494F}"/>
              </a:ext>
            </a:extLst>
          </p:cNvPr>
          <p:cNvGrpSpPr/>
          <p:nvPr/>
        </p:nvGrpSpPr>
        <p:grpSpPr>
          <a:xfrm>
            <a:off x="3553823" y="1196444"/>
            <a:ext cx="623667" cy="547203"/>
            <a:chOff x="533400" y="1249870"/>
            <a:chExt cx="828675" cy="727076"/>
          </a:xfrm>
          <a:solidFill>
            <a:schemeClr val="bg2"/>
          </a:solidFill>
        </p:grpSpPr>
        <p:sp>
          <p:nvSpPr>
            <p:cNvPr id="48" name="Freeform 5">
              <a:extLst>
                <a:ext uri="{FF2B5EF4-FFF2-40B4-BE49-F238E27FC236}">
                  <a16:creationId xmlns:a16="http://schemas.microsoft.com/office/drawing/2014/main" id="{B1A00F40-2C28-8646-8206-59B75358C6AC}"/>
                </a:ext>
              </a:extLst>
            </p:cNvPr>
            <p:cNvSpPr>
              <a:spLocks/>
            </p:cNvSpPr>
            <p:nvPr/>
          </p:nvSpPr>
          <p:spPr bwMode="auto">
            <a:xfrm>
              <a:off x="871538" y="1551495"/>
              <a:ext cx="152400" cy="201613"/>
            </a:xfrm>
            <a:custGeom>
              <a:avLst/>
              <a:gdLst>
                <a:gd name="T0" fmla="*/ 58 w 78"/>
                <a:gd name="T1" fmla="*/ 105 h 105"/>
                <a:gd name="T2" fmla="*/ 20 w 78"/>
                <a:gd name="T3" fmla="*/ 105 h 105"/>
                <a:gd name="T4" fmla="*/ 0 w 78"/>
                <a:gd name="T5" fmla="*/ 85 h 105"/>
                <a:gd name="T6" fmla="*/ 0 w 78"/>
                <a:gd name="T7" fmla="*/ 20 h 105"/>
                <a:gd name="T8" fmla="*/ 20 w 78"/>
                <a:gd name="T9" fmla="*/ 0 h 105"/>
                <a:gd name="T10" fmla="*/ 58 w 78"/>
                <a:gd name="T11" fmla="*/ 0 h 105"/>
                <a:gd name="T12" fmla="*/ 78 w 78"/>
                <a:gd name="T13" fmla="*/ 20 h 105"/>
                <a:gd name="T14" fmla="*/ 78 w 78"/>
                <a:gd name="T15" fmla="*/ 85 h 105"/>
                <a:gd name="T16" fmla="*/ 58 w 78"/>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05">
                  <a:moveTo>
                    <a:pt x="58" y="105"/>
                  </a:moveTo>
                  <a:cubicBezTo>
                    <a:pt x="20" y="105"/>
                    <a:pt x="20" y="105"/>
                    <a:pt x="20" y="105"/>
                  </a:cubicBezTo>
                  <a:cubicBezTo>
                    <a:pt x="9" y="105"/>
                    <a:pt x="0" y="96"/>
                    <a:pt x="0" y="85"/>
                  </a:cubicBezTo>
                  <a:cubicBezTo>
                    <a:pt x="0" y="20"/>
                    <a:pt x="0" y="20"/>
                    <a:pt x="0" y="20"/>
                  </a:cubicBezTo>
                  <a:cubicBezTo>
                    <a:pt x="0" y="9"/>
                    <a:pt x="9" y="0"/>
                    <a:pt x="20" y="0"/>
                  </a:cubicBezTo>
                  <a:cubicBezTo>
                    <a:pt x="58" y="0"/>
                    <a:pt x="58" y="0"/>
                    <a:pt x="58" y="0"/>
                  </a:cubicBezTo>
                  <a:cubicBezTo>
                    <a:pt x="69" y="0"/>
                    <a:pt x="78" y="9"/>
                    <a:pt x="78" y="20"/>
                  </a:cubicBezTo>
                  <a:cubicBezTo>
                    <a:pt x="78" y="85"/>
                    <a:pt x="78" y="85"/>
                    <a:pt x="78" y="85"/>
                  </a:cubicBezTo>
                  <a:cubicBezTo>
                    <a:pt x="78" y="96"/>
                    <a:pt x="69" y="105"/>
                    <a:pt x="58" y="10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9" name="Oval 6">
              <a:extLst>
                <a:ext uri="{FF2B5EF4-FFF2-40B4-BE49-F238E27FC236}">
                  <a16:creationId xmlns:a16="http://schemas.microsoft.com/office/drawing/2014/main" id="{624D764F-DB83-B141-9A5E-DCFC0E1C9240}"/>
                </a:ext>
              </a:extLst>
            </p:cNvPr>
            <p:cNvSpPr>
              <a:spLocks noChangeArrowheads="1"/>
            </p:cNvSpPr>
            <p:nvPr/>
          </p:nvSpPr>
          <p:spPr bwMode="auto">
            <a:xfrm>
              <a:off x="903288" y="1422908"/>
              <a:ext cx="92075" cy="9048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0" name="Freeform 7">
              <a:extLst>
                <a:ext uri="{FF2B5EF4-FFF2-40B4-BE49-F238E27FC236}">
                  <a16:creationId xmlns:a16="http://schemas.microsoft.com/office/drawing/2014/main" id="{B3CD8071-50F7-974E-90DF-32F53F29DA38}"/>
                </a:ext>
              </a:extLst>
            </p:cNvPr>
            <p:cNvSpPr>
              <a:spLocks/>
            </p:cNvSpPr>
            <p:nvPr/>
          </p:nvSpPr>
          <p:spPr bwMode="auto">
            <a:xfrm>
              <a:off x="712788" y="1249870"/>
              <a:ext cx="106363" cy="100013"/>
            </a:xfrm>
            <a:custGeom>
              <a:avLst/>
              <a:gdLst>
                <a:gd name="T0" fmla="*/ 47 w 54"/>
                <a:gd name="T1" fmla="*/ 15 h 53"/>
                <a:gd name="T2" fmla="*/ 39 w 54"/>
                <a:gd name="T3" fmla="*/ 47 h 53"/>
                <a:gd name="T4" fmla="*/ 7 w 54"/>
                <a:gd name="T5" fmla="*/ 38 h 53"/>
                <a:gd name="T6" fmla="*/ 15 w 54"/>
                <a:gd name="T7" fmla="*/ 6 h 53"/>
                <a:gd name="T8" fmla="*/ 47 w 54"/>
                <a:gd name="T9" fmla="*/ 15 h 53"/>
              </a:gdLst>
              <a:ahLst/>
              <a:cxnLst>
                <a:cxn ang="0">
                  <a:pos x="T0" y="T1"/>
                </a:cxn>
                <a:cxn ang="0">
                  <a:pos x="T2" y="T3"/>
                </a:cxn>
                <a:cxn ang="0">
                  <a:pos x="T4" y="T5"/>
                </a:cxn>
                <a:cxn ang="0">
                  <a:pos x="T6" y="T7"/>
                </a:cxn>
                <a:cxn ang="0">
                  <a:pos x="T8" y="T9"/>
                </a:cxn>
              </a:cxnLst>
              <a:rect l="0" t="0" r="r" b="b"/>
              <a:pathLst>
                <a:path w="54" h="53">
                  <a:moveTo>
                    <a:pt x="47" y="15"/>
                  </a:moveTo>
                  <a:cubicBezTo>
                    <a:pt x="54" y="26"/>
                    <a:pt x="50" y="40"/>
                    <a:pt x="39" y="47"/>
                  </a:cubicBezTo>
                  <a:cubicBezTo>
                    <a:pt x="27" y="53"/>
                    <a:pt x="13" y="50"/>
                    <a:pt x="7" y="38"/>
                  </a:cubicBezTo>
                  <a:cubicBezTo>
                    <a:pt x="0" y="27"/>
                    <a:pt x="4" y="13"/>
                    <a:pt x="15" y="6"/>
                  </a:cubicBezTo>
                  <a:cubicBezTo>
                    <a:pt x="26" y="0"/>
                    <a:pt x="41" y="3"/>
                    <a:pt x="47"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1" name="Freeform 8">
              <a:extLst>
                <a:ext uri="{FF2B5EF4-FFF2-40B4-BE49-F238E27FC236}">
                  <a16:creationId xmlns:a16="http://schemas.microsoft.com/office/drawing/2014/main" id="{05DE12E8-A7FA-344B-80E3-9791E7EB3F7E}"/>
                </a:ext>
              </a:extLst>
            </p:cNvPr>
            <p:cNvSpPr>
              <a:spLocks/>
            </p:cNvSpPr>
            <p:nvPr/>
          </p:nvSpPr>
          <p:spPr bwMode="auto">
            <a:xfrm>
              <a:off x="793750" y="1359408"/>
              <a:ext cx="42863" cy="44450"/>
            </a:xfrm>
            <a:custGeom>
              <a:avLst/>
              <a:gdLst>
                <a:gd name="T0" fmla="*/ 16 w 22"/>
                <a:gd name="T1" fmla="*/ 20 h 23"/>
                <a:gd name="T2" fmla="*/ 2 w 22"/>
                <a:gd name="T3" fmla="*/ 17 h 23"/>
                <a:gd name="T4" fmla="*/ 6 w 22"/>
                <a:gd name="T5" fmla="*/ 3 h 23"/>
                <a:gd name="T6" fmla="*/ 19 w 22"/>
                <a:gd name="T7" fmla="*/ 7 h 23"/>
                <a:gd name="T8" fmla="*/ 19 w 22"/>
                <a:gd name="T9" fmla="*/ 7 h 23"/>
                <a:gd name="T10" fmla="*/ 1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16" y="20"/>
                  </a:moveTo>
                  <a:cubicBezTo>
                    <a:pt x="11" y="23"/>
                    <a:pt x="5" y="22"/>
                    <a:pt x="2" y="17"/>
                  </a:cubicBezTo>
                  <a:cubicBezTo>
                    <a:pt x="0" y="12"/>
                    <a:pt x="1" y="6"/>
                    <a:pt x="6" y="3"/>
                  </a:cubicBezTo>
                  <a:cubicBezTo>
                    <a:pt x="11" y="0"/>
                    <a:pt x="17" y="2"/>
                    <a:pt x="19" y="7"/>
                  </a:cubicBezTo>
                  <a:cubicBezTo>
                    <a:pt x="19" y="7"/>
                    <a:pt x="19" y="7"/>
                    <a:pt x="19" y="7"/>
                  </a:cubicBezTo>
                  <a:cubicBezTo>
                    <a:pt x="22" y="12"/>
                    <a:pt x="21" y="18"/>
                    <a:pt x="1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2" name="Freeform 9">
              <a:extLst>
                <a:ext uri="{FF2B5EF4-FFF2-40B4-BE49-F238E27FC236}">
                  <a16:creationId xmlns:a16="http://schemas.microsoft.com/office/drawing/2014/main" id="{7514CDF2-6F56-3C49-B66C-758DD9CD86E7}"/>
                </a:ext>
              </a:extLst>
            </p:cNvPr>
            <p:cNvSpPr>
              <a:spLocks/>
            </p:cNvSpPr>
            <p:nvPr/>
          </p:nvSpPr>
          <p:spPr bwMode="auto">
            <a:xfrm>
              <a:off x="822325" y="1411795"/>
              <a:ext cx="46038" cy="44450"/>
            </a:xfrm>
            <a:custGeom>
              <a:avLst/>
              <a:gdLst>
                <a:gd name="T0" fmla="*/ 16 w 23"/>
                <a:gd name="T1" fmla="*/ 20 h 23"/>
                <a:gd name="T2" fmla="*/ 3 w 23"/>
                <a:gd name="T3" fmla="*/ 16 h 23"/>
                <a:gd name="T4" fmla="*/ 2 w 23"/>
                <a:gd name="T5" fmla="*/ 16 h 23"/>
                <a:gd name="T6" fmla="*/ 6 w 23"/>
                <a:gd name="T7" fmla="*/ 2 h 23"/>
                <a:gd name="T8" fmla="*/ 20 w 23"/>
                <a:gd name="T9" fmla="*/ 6 h 23"/>
                <a:gd name="T10" fmla="*/ 20 w 23"/>
                <a:gd name="T11" fmla="*/ 6 h 23"/>
                <a:gd name="T12" fmla="*/ 16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20"/>
                  </a:moveTo>
                  <a:cubicBezTo>
                    <a:pt x="11" y="23"/>
                    <a:pt x="5" y="21"/>
                    <a:pt x="3" y="16"/>
                  </a:cubicBezTo>
                  <a:cubicBezTo>
                    <a:pt x="2" y="16"/>
                    <a:pt x="2" y="16"/>
                    <a:pt x="2" y="16"/>
                  </a:cubicBezTo>
                  <a:cubicBezTo>
                    <a:pt x="0" y="11"/>
                    <a:pt x="1" y="5"/>
                    <a:pt x="6" y="2"/>
                  </a:cubicBezTo>
                  <a:cubicBezTo>
                    <a:pt x="11" y="0"/>
                    <a:pt x="17" y="1"/>
                    <a:pt x="20" y="6"/>
                  </a:cubicBezTo>
                  <a:cubicBezTo>
                    <a:pt x="20" y="6"/>
                    <a:pt x="20" y="6"/>
                    <a:pt x="20" y="6"/>
                  </a:cubicBezTo>
                  <a:cubicBezTo>
                    <a:pt x="23" y="11"/>
                    <a:pt x="21" y="17"/>
                    <a:pt x="1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3" name="Freeform 10">
              <a:extLst>
                <a:ext uri="{FF2B5EF4-FFF2-40B4-BE49-F238E27FC236}">
                  <a16:creationId xmlns:a16="http://schemas.microsoft.com/office/drawing/2014/main" id="{9BB7FF09-314E-434C-AB8D-9D3D65852C90}"/>
                </a:ext>
              </a:extLst>
            </p:cNvPr>
            <p:cNvSpPr>
              <a:spLocks/>
            </p:cNvSpPr>
            <p:nvPr/>
          </p:nvSpPr>
          <p:spPr bwMode="auto">
            <a:xfrm>
              <a:off x="1076325" y="1873758"/>
              <a:ext cx="106363" cy="103188"/>
            </a:xfrm>
            <a:custGeom>
              <a:avLst/>
              <a:gdLst>
                <a:gd name="T0" fmla="*/ 7 w 54"/>
                <a:gd name="T1" fmla="*/ 39 h 54"/>
                <a:gd name="T2" fmla="*/ 15 w 54"/>
                <a:gd name="T3" fmla="*/ 7 h 54"/>
                <a:gd name="T4" fmla="*/ 48 w 54"/>
                <a:gd name="T5" fmla="*/ 15 h 54"/>
                <a:gd name="T6" fmla="*/ 39 w 54"/>
                <a:gd name="T7" fmla="*/ 48 h 54"/>
                <a:gd name="T8" fmla="*/ 7 w 54"/>
                <a:gd name="T9" fmla="*/ 39 h 54"/>
              </a:gdLst>
              <a:ahLst/>
              <a:cxnLst>
                <a:cxn ang="0">
                  <a:pos x="T0" y="T1"/>
                </a:cxn>
                <a:cxn ang="0">
                  <a:pos x="T2" y="T3"/>
                </a:cxn>
                <a:cxn ang="0">
                  <a:pos x="T4" y="T5"/>
                </a:cxn>
                <a:cxn ang="0">
                  <a:pos x="T6" y="T7"/>
                </a:cxn>
                <a:cxn ang="0">
                  <a:pos x="T8" y="T9"/>
                </a:cxn>
              </a:cxnLst>
              <a:rect l="0" t="0" r="r" b="b"/>
              <a:pathLst>
                <a:path w="54" h="54">
                  <a:moveTo>
                    <a:pt x="7" y="39"/>
                  </a:moveTo>
                  <a:cubicBezTo>
                    <a:pt x="0" y="28"/>
                    <a:pt x="4" y="13"/>
                    <a:pt x="15" y="7"/>
                  </a:cubicBezTo>
                  <a:cubicBezTo>
                    <a:pt x="27" y="0"/>
                    <a:pt x="41" y="4"/>
                    <a:pt x="48" y="15"/>
                  </a:cubicBezTo>
                  <a:cubicBezTo>
                    <a:pt x="54" y="27"/>
                    <a:pt x="50" y="41"/>
                    <a:pt x="39" y="48"/>
                  </a:cubicBezTo>
                  <a:cubicBezTo>
                    <a:pt x="28" y="54"/>
                    <a:pt x="13" y="50"/>
                    <a:pt x="7" y="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4" name="Freeform 11">
              <a:extLst>
                <a:ext uri="{FF2B5EF4-FFF2-40B4-BE49-F238E27FC236}">
                  <a16:creationId xmlns:a16="http://schemas.microsoft.com/office/drawing/2014/main" id="{03E38965-683F-3A46-85ED-52B3A37993B4}"/>
                </a:ext>
              </a:extLst>
            </p:cNvPr>
            <p:cNvSpPr>
              <a:spLocks/>
            </p:cNvSpPr>
            <p:nvPr/>
          </p:nvSpPr>
          <p:spPr bwMode="auto">
            <a:xfrm>
              <a:off x="1058863" y="1821370"/>
              <a:ext cx="44450" cy="42863"/>
            </a:xfrm>
            <a:custGeom>
              <a:avLst/>
              <a:gdLst>
                <a:gd name="T0" fmla="*/ 6 w 23"/>
                <a:gd name="T1" fmla="*/ 2 h 22"/>
                <a:gd name="T2" fmla="*/ 20 w 23"/>
                <a:gd name="T3" fmla="*/ 6 h 22"/>
                <a:gd name="T4" fmla="*/ 16 w 23"/>
                <a:gd name="T5" fmla="*/ 20 h 22"/>
                <a:gd name="T6" fmla="*/ 3 w 23"/>
                <a:gd name="T7" fmla="*/ 16 h 22"/>
                <a:gd name="T8" fmla="*/ 3 w 23"/>
                <a:gd name="T9" fmla="*/ 16 h 22"/>
                <a:gd name="T10" fmla="*/ 6 w 23"/>
                <a:gd name="T11" fmla="*/ 2 h 22"/>
              </a:gdLst>
              <a:ahLst/>
              <a:cxnLst>
                <a:cxn ang="0">
                  <a:pos x="T0" y="T1"/>
                </a:cxn>
                <a:cxn ang="0">
                  <a:pos x="T2" y="T3"/>
                </a:cxn>
                <a:cxn ang="0">
                  <a:pos x="T4" y="T5"/>
                </a:cxn>
                <a:cxn ang="0">
                  <a:pos x="T6" y="T7"/>
                </a:cxn>
                <a:cxn ang="0">
                  <a:pos x="T8" y="T9"/>
                </a:cxn>
                <a:cxn ang="0">
                  <a:pos x="T10" y="T11"/>
                </a:cxn>
              </a:cxnLst>
              <a:rect l="0" t="0" r="r" b="b"/>
              <a:pathLst>
                <a:path w="23" h="22">
                  <a:moveTo>
                    <a:pt x="6" y="2"/>
                  </a:moveTo>
                  <a:cubicBezTo>
                    <a:pt x="11" y="0"/>
                    <a:pt x="17" y="1"/>
                    <a:pt x="20" y="6"/>
                  </a:cubicBezTo>
                  <a:cubicBezTo>
                    <a:pt x="23" y="11"/>
                    <a:pt x="21" y="17"/>
                    <a:pt x="16" y="20"/>
                  </a:cubicBezTo>
                  <a:cubicBezTo>
                    <a:pt x="12" y="22"/>
                    <a:pt x="6" y="21"/>
                    <a:pt x="3" y="16"/>
                  </a:cubicBezTo>
                  <a:cubicBezTo>
                    <a:pt x="3" y="16"/>
                    <a:pt x="3" y="16"/>
                    <a:pt x="3" y="16"/>
                  </a:cubicBezTo>
                  <a:cubicBezTo>
                    <a:pt x="0" y="11"/>
                    <a:pt x="2" y="5"/>
                    <a:pt x="6"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5" name="Freeform 12">
              <a:extLst>
                <a:ext uri="{FF2B5EF4-FFF2-40B4-BE49-F238E27FC236}">
                  <a16:creationId xmlns:a16="http://schemas.microsoft.com/office/drawing/2014/main" id="{9467F48D-BE05-404A-A232-BE72B53D286D}"/>
                </a:ext>
              </a:extLst>
            </p:cNvPr>
            <p:cNvSpPr>
              <a:spLocks/>
            </p:cNvSpPr>
            <p:nvPr/>
          </p:nvSpPr>
          <p:spPr bwMode="auto">
            <a:xfrm>
              <a:off x="1030288" y="1768983"/>
              <a:ext cx="42863" cy="44450"/>
            </a:xfrm>
            <a:custGeom>
              <a:avLst/>
              <a:gdLst>
                <a:gd name="T0" fmla="*/ 6 w 22"/>
                <a:gd name="T1" fmla="*/ 3 h 23"/>
                <a:gd name="T2" fmla="*/ 20 w 22"/>
                <a:gd name="T3" fmla="*/ 7 h 23"/>
                <a:gd name="T4" fmla="*/ 20 w 22"/>
                <a:gd name="T5" fmla="*/ 7 h 23"/>
                <a:gd name="T6" fmla="*/ 16 w 22"/>
                <a:gd name="T7" fmla="*/ 20 h 23"/>
                <a:gd name="T8" fmla="*/ 3 w 22"/>
                <a:gd name="T9" fmla="*/ 17 h 23"/>
                <a:gd name="T10" fmla="*/ 2 w 22"/>
                <a:gd name="T11" fmla="*/ 16 h 23"/>
                <a:gd name="T12" fmla="*/ 6 w 22"/>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6" y="3"/>
                  </a:moveTo>
                  <a:cubicBezTo>
                    <a:pt x="11" y="0"/>
                    <a:pt x="17" y="2"/>
                    <a:pt x="20" y="7"/>
                  </a:cubicBezTo>
                  <a:cubicBezTo>
                    <a:pt x="20" y="7"/>
                    <a:pt x="20" y="7"/>
                    <a:pt x="20" y="7"/>
                  </a:cubicBezTo>
                  <a:cubicBezTo>
                    <a:pt x="22" y="12"/>
                    <a:pt x="21" y="18"/>
                    <a:pt x="16" y="20"/>
                  </a:cubicBezTo>
                  <a:cubicBezTo>
                    <a:pt x="11" y="23"/>
                    <a:pt x="5" y="21"/>
                    <a:pt x="3" y="17"/>
                  </a:cubicBezTo>
                  <a:cubicBezTo>
                    <a:pt x="2" y="16"/>
                    <a:pt x="2" y="16"/>
                    <a:pt x="2" y="16"/>
                  </a:cubicBezTo>
                  <a:cubicBezTo>
                    <a:pt x="0" y="12"/>
                    <a:pt x="1" y="6"/>
                    <a:pt x="6"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6" name="Oval 13">
              <a:extLst>
                <a:ext uri="{FF2B5EF4-FFF2-40B4-BE49-F238E27FC236}">
                  <a16:creationId xmlns:a16="http://schemas.microsoft.com/office/drawing/2014/main" id="{731E605E-2B74-0E4E-9F55-127DC1942DA9}"/>
                </a:ext>
              </a:extLst>
            </p:cNvPr>
            <p:cNvSpPr>
              <a:spLocks noChangeArrowheads="1"/>
            </p:cNvSpPr>
            <p:nvPr/>
          </p:nvSpPr>
          <p:spPr bwMode="auto">
            <a:xfrm>
              <a:off x="533400" y="1564195"/>
              <a:ext cx="93663" cy="9048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Freeform 14">
              <a:extLst>
                <a:ext uri="{FF2B5EF4-FFF2-40B4-BE49-F238E27FC236}">
                  <a16:creationId xmlns:a16="http://schemas.microsoft.com/office/drawing/2014/main" id="{A1B1ADD4-AC43-464F-B9CA-4648AB3D59BD}"/>
                </a:ext>
              </a:extLst>
            </p:cNvPr>
            <p:cNvSpPr>
              <a:spLocks/>
            </p:cNvSpPr>
            <p:nvPr/>
          </p:nvSpPr>
          <p:spPr bwMode="auto">
            <a:xfrm>
              <a:off x="658813" y="1591183"/>
              <a:ext cx="39688" cy="38100"/>
            </a:xfrm>
            <a:custGeom>
              <a:avLst/>
              <a:gdLst>
                <a:gd name="T0" fmla="*/ 20 w 20"/>
                <a:gd name="T1" fmla="*/ 10 h 20"/>
                <a:gd name="T2" fmla="*/ 10 w 20"/>
                <a:gd name="T3" fmla="*/ 20 h 20"/>
                <a:gd name="T4" fmla="*/ 0 w 20"/>
                <a:gd name="T5" fmla="*/ 10 h 20"/>
                <a:gd name="T6" fmla="*/ 10 w 20"/>
                <a:gd name="T7" fmla="*/ 0 h 20"/>
                <a:gd name="T8" fmla="*/ 10 w 20"/>
                <a:gd name="T9" fmla="*/ 0 h 20"/>
                <a:gd name="T10" fmla="*/ 2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20" y="10"/>
                  </a:moveTo>
                  <a:cubicBezTo>
                    <a:pt x="20" y="15"/>
                    <a:pt x="15" y="20"/>
                    <a:pt x="10" y="20"/>
                  </a:cubicBezTo>
                  <a:cubicBezTo>
                    <a:pt x="5" y="20"/>
                    <a:pt x="0" y="15"/>
                    <a:pt x="0" y="10"/>
                  </a:cubicBezTo>
                  <a:cubicBezTo>
                    <a:pt x="0" y="4"/>
                    <a:pt x="4" y="0"/>
                    <a:pt x="10" y="0"/>
                  </a:cubicBezTo>
                  <a:cubicBezTo>
                    <a:pt x="10" y="0"/>
                    <a:pt x="10" y="0"/>
                    <a:pt x="10" y="0"/>
                  </a:cubicBezTo>
                  <a:cubicBezTo>
                    <a:pt x="15" y="0"/>
                    <a:pt x="20" y="4"/>
                    <a:pt x="20"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8" name="Freeform 15">
              <a:extLst>
                <a:ext uri="{FF2B5EF4-FFF2-40B4-BE49-F238E27FC236}">
                  <a16:creationId xmlns:a16="http://schemas.microsoft.com/office/drawing/2014/main" id="{81224608-FA6C-2C4A-9B5C-D25670F06E9B}"/>
                </a:ext>
              </a:extLst>
            </p:cNvPr>
            <p:cNvSpPr>
              <a:spLocks/>
            </p:cNvSpPr>
            <p:nvPr/>
          </p:nvSpPr>
          <p:spPr bwMode="auto">
            <a:xfrm>
              <a:off x="717550" y="1591183"/>
              <a:ext cx="38100" cy="38100"/>
            </a:xfrm>
            <a:custGeom>
              <a:avLst/>
              <a:gdLst>
                <a:gd name="T0" fmla="*/ 20 w 20"/>
                <a:gd name="T1" fmla="*/ 10 h 20"/>
                <a:gd name="T2" fmla="*/ 11 w 20"/>
                <a:gd name="T3" fmla="*/ 20 h 20"/>
                <a:gd name="T4" fmla="*/ 10 w 20"/>
                <a:gd name="T5" fmla="*/ 20 h 20"/>
                <a:gd name="T6" fmla="*/ 0 w 20"/>
                <a:gd name="T7" fmla="*/ 10 h 20"/>
                <a:gd name="T8" fmla="*/ 10 w 20"/>
                <a:gd name="T9" fmla="*/ 0 h 20"/>
                <a:gd name="T10" fmla="*/ 11 w 20"/>
                <a:gd name="T11" fmla="*/ 0 h 20"/>
                <a:gd name="T12" fmla="*/ 2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10"/>
                  </a:moveTo>
                  <a:cubicBezTo>
                    <a:pt x="20" y="15"/>
                    <a:pt x="16" y="20"/>
                    <a:pt x="11" y="20"/>
                  </a:cubicBezTo>
                  <a:cubicBezTo>
                    <a:pt x="10" y="20"/>
                    <a:pt x="10" y="20"/>
                    <a:pt x="10" y="20"/>
                  </a:cubicBezTo>
                  <a:cubicBezTo>
                    <a:pt x="5" y="20"/>
                    <a:pt x="0" y="15"/>
                    <a:pt x="0" y="10"/>
                  </a:cubicBezTo>
                  <a:cubicBezTo>
                    <a:pt x="0" y="4"/>
                    <a:pt x="5" y="0"/>
                    <a:pt x="10" y="0"/>
                  </a:cubicBezTo>
                  <a:cubicBezTo>
                    <a:pt x="11" y="0"/>
                    <a:pt x="11" y="0"/>
                    <a:pt x="11" y="0"/>
                  </a:cubicBezTo>
                  <a:cubicBezTo>
                    <a:pt x="16" y="0"/>
                    <a:pt x="20" y="4"/>
                    <a:pt x="20"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9" name="Oval 16">
              <a:extLst>
                <a:ext uri="{FF2B5EF4-FFF2-40B4-BE49-F238E27FC236}">
                  <a16:creationId xmlns:a16="http://schemas.microsoft.com/office/drawing/2014/main" id="{1281C5D7-62F1-114F-9597-6F8DFAECF617}"/>
                </a:ext>
              </a:extLst>
            </p:cNvPr>
            <p:cNvSpPr>
              <a:spLocks noChangeArrowheads="1"/>
            </p:cNvSpPr>
            <p:nvPr/>
          </p:nvSpPr>
          <p:spPr bwMode="auto">
            <a:xfrm>
              <a:off x="1270000" y="1568958"/>
              <a:ext cx="92075" cy="9048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0" name="Freeform 17">
              <a:extLst>
                <a:ext uri="{FF2B5EF4-FFF2-40B4-BE49-F238E27FC236}">
                  <a16:creationId xmlns:a16="http://schemas.microsoft.com/office/drawing/2014/main" id="{46AB7FA5-3A74-7E4D-BC0B-850C9A85ED4F}"/>
                </a:ext>
              </a:extLst>
            </p:cNvPr>
            <p:cNvSpPr>
              <a:spLocks/>
            </p:cNvSpPr>
            <p:nvPr/>
          </p:nvSpPr>
          <p:spPr bwMode="auto">
            <a:xfrm>
              <a:off x="1198563" y="1595945"/>
              <a:ext cx="38100" cy="38100"/>
            </a:xfrm>
            <a:custGeom>
              <a:avLst/>
              <a:gdLst>
                <a:gd name="T0" fmla="*/ 0 w 20"/>
                <a:gd name="T1" fmla="*/ 10 h 20"/>
                <a:gd name="T2" fmla="*/ 10 w 20"/>
                <a:gd name="T3" fmla="*/ 0 h 20"/>
                <a:gd name="T4" fmla="*/ 20 w 20"/>
                <a:gd name="T5" fmla="*/ 10 h 20"/>
                <a:gd name="T6" fmla="*/ 10 w 20"/>
                <a:gd name="T7" fmla="*/ 20 h 20"/>
                <a:gd name="T8" fmla="*/ 10 w 20"/>
                <a:gd name="T9" fmla="*/ 20 h 20"/>
                <a:gd name="T10" fmla="*/ 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0" y="10"/>
                  </a:moveTo>
                  <a:cubicBezTo>
                    <a:pt x="0" y="4"/>
                    <a:pt x="5" y="0"/>
                    <a:pt x="10" y="0"/>
                  </a:cubicBezTo>
                  <a:cubicBezTo>
                    <a:pt x="16" y="0"/>
                    <a:pt x="20" y="4"/>
                    <a:pt x="20" y="10"/>
                  </a:cubicBezTo>
                  <a:cubicBezTo>
                    <a:pt x="20" y="15"/>
                    <a:pt x="16" y="20"/>
                    <a:pt x="10" y="20"/>
                  </a:cubicBezTo>
                  <a:cubicBezTo>
                    <a:pt x="10" y="20"/>
                    <a:pt x="10" y="20"/>
                    <a:pt x="10" y="20"/>
                  </a:cubicBezTo>
                  <a:cubicBezTo>
                    <a:pt x="5" y="20"/>
                    <a:pt x="0" y="15"/>
                    <a:pt x="0"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1" name="Freeform 18">
              <a:extLst>
                <a:ext uri="{FF2B5EF4-FFF2-40B4-BE49-F238E27FC236}">
                  <a16:creationId xmlns:a16="http://schemas.microsoft.com/office/drawing/2014/main" id="{C8FBD60C-6335-414F-B8AF-1DBBAE3249B4}"/>
                </a:ext>
              </a:extLst>
            </p:cNvPr>
            <p:cNvSpPr>
              <a:spLocks/>
            </p:cNvSpPr>
            <p:nvPr/>
          </p:nvSpPr>
          <p:spPr bwMode="auto">
            <a:xfrm>
              <a:off x="1139825" y="1595945"/>
              <a:ext cx="38100" cy="38100"/>
            </a:xfrm>
            <a:custGeom>
              <a:avLst/>
              <a:gdLst>
                <a:gd name="T0" fmla="*/ 0 w 20"/>
                <a:gd name="T1" fmla="*/ 10 h 20"/>
                <a:gd name="T2" fmla="*/ 10 w 20"/>
                <a:gd name="T3" fmla="*/ 0 h 20"/>
                <a:gd name="T4" fmla="*/ 10 w 20"/>
                <a:gd name="T5" fmla="*/ 0 h 20"/>
                <a:gd name="T6" fmla="*/ 20 w 20"/>
                <a:gd name="T7" fmla="*/ 10 h 20"/>
                <a:gd name="T8" fmla="*/ 10 w 20"/>
                <a:gd name="T9" fmla="*/ 20 h 20"/>
                <a:gd name="T10" fmla="*/ 10 w 20"/>
                <a:gd name="T11" fmla="*/ 20 h 20"/>
                <a:gd name="T12" fmla="*/ 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0" y="10"/>
                  </a:moveTo>
                  <a:cubicBezTo>
                    <a:pt x="0" y="4"/>
                    <a:pt x="4" y="0"/>
                    <a:pt x="10" y="0"/>
                  </a:cubicBezTo>
                  <a:cubicBezTo>
                    <a:pt x="10" y="0"/>
                    <a:pt x="10" y="0"/>
                    <a:pt x="10" y="0"/>
                  </a:cubicBezTo>
                  <a:cubicBezTo>
                    <a:pt x="15" y="0"/>
                    <a:pt x="20" y="4"/>
                    <a:pt x="20" y="10"/>
                  </a:cubicBezTo>
                  <a:cubicBezTo>
                    <a:pt x="20" y="15"/>
                    <a:pt x="15" y="20"/>
                    <a:pt x="10" y="20"/>
                  </a:cubicBezTo>
                  <a:cubicBezTo>
                    <a:pt x="10" y="20"/>
                    <a:pt x="10" y="20"/>
                    <a:pt x="10" y="20"/>
                  </a:cubicBezTo>
                  <a:cubicBezTo>
                    <a:pt x="4" y="20"/>
                    <a:pt x="0" y="15"/>
                    <a:pt x="0"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Freeform 19">
              <a:extLst>
                <a:ext uri="{FF2B5EF4-FFF2-40B4-BE49-F238E27FC236}">
                  <a16:creationId xmlns:a16="http://schemas.microsoft.com/office/drawing/2014/main" id="{53931051-C43E-584B-B567-E78BB0EB96D1}"/>
                </a:ext>
              </a:extLst>
            </p:cNvPr>
            <p:cNvSpPr>
              <a:spLocks/>
            </p:cNvSpPr>
            <p:nvPr/>
          </p:nvSpPr>
          <p:spPr bwMode="auto">
            <a:xfrm>
              <a:off x="709613" y="1870583"/>
              <a:ext cx="104775" cy="103188"/>
            </a:xfrm>
            <a:custGeom>
              <a:avLst/>
              <a:gdLst>
                <a:gd name="T0" fmla="*/ 7 w 54"/>
                <a:gd name="T1" fmla="*/ 15 h 54"/>
                <a:gd name="T2" fmla="*/ 39 w 54"/>
                <a:gd name="T3" fmla="*/ 7 h 54"/>
                <a:gd name="T4" fmla="*/ 48 w 54"/>
                <a:gd name="T5" fmla="*/ 39 h 54"/>
                <a:gd name="T6" fmla="*/ 15 w 54"/>
                <a:gd name="T7" fmla="*/ 48 h 54"/>
                <a:gd name="T8" fmla="*/ 7 w 54"/>
                <a:gd name="T9" fmla="*/ 15 h 54"/>
              </a:gdLst>
              <a:ahLst/>
              <a:cxnLst>
                <a:cxn ang="0">
                  <a:pos x="T0" y="T1"/>
                </a:cxn>
                <a:cxn ang="0">
                  <a:pos x="T2" y="T3"/>
                </a:cxn>
                <a:cxn ang="0">
                  <a:pos x="T4" y="T5"/>
                </a:cxn>
                <a:cxn ang="0">
                  <a:pos x="T6" y="T7"/>
                </a:cxn>
                <a:cxn ang="0">
                  <a:pos x="T8" y="T9"/>
                </a:cxn>
              </a:cxnLst>
              <a:rect l="0" t="0" r="r" b="b"/>
              <a:pathLst>
                <a:path w="54" h="54">
                  <a:moveTo>
                    <a:pt x="7" y="15"/>
                  </a:moveTo>
                  <a:cubicBezTo>
                    <a:pt x="13" y="4"/>
                    <a:pt x="28" y="0"/>
                    <a:pt x="39" y="7"/>
                  </a:cubicBezTo>
                  <a:cubicBezTo>
                    <a:pt x="50" y="13"/>
                    <a:pt x="54" y="28"/>
                    <a:pt x="48" y="39"/>
                  </a:cubicBezTo>
                  <a:cubicBezTo>
                    <a:pt x="41" y="50"/>
                    <a:pt x="27" y="54"/>
                    <a:pt x="15" y="48"/>
                  </a:cubicBezTo>
                  <a:cubicBezTo>
                    <a:pt x="4" y="41"/>
                    <a:pt x="0" y="27"/>
                    <a:pt x="7"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Freeform 20">
              <a:extLst>
                <a:ext uri="{FF2B5EF4-FFF2-40B4-BE49-F238E27FC236}">
                  <a16:creationId xmlns:a16="http://schemas.microsoft.com/office/drawing/2014/main" id="{B51C0199-8A0D-4E4A-B475-F214AEABE68D}"/>
                </a:ext>
              </a:extLst>
            </p:cNvPr>
            <p:cNvSpPr>
              <a:spLocks/>
            </p:cNvSpPr>
            <p:nvPr/>
          </p:nvSpPr>
          <p:spPr bwMode="auto">
            <a:xfrm>
              <a:off x="788988" y="1819783"/>
              <a:ext cx="42863" cy="41275"/>
            </a:xfrm>
            <a:custGeom>
              <a:avLst/>
              <a:gdLst>
                <a:gd name="T0" fmla="*/ 16 w 22"/>
                <a:gd name="T1" fmla="*/ 2 h 22"/>
                <a:gd name="T2" fmla="*/ 20 w 22"/>
                <a:gd name="T3" fmla="*/ 16 h 22"/>
                <a:gd name="T4" fmla="*/ 6 w 22"/>
                <a:gd name="T5" fmla="*/ 20 h 22"/>
                <a:gd name="T6" fmla="*/ 3 w 22"/>
                <a:gd name="T7" fmla="*/ 6 h 22"/>
                <a:gd name="T8" fmla="*/ 3 w 22"/>
                <a:gd name="T9" fmla="*/ 6 h 22"/>
                <a:gd name="T10" fmla="*/ 16 w 22"/>
                <a:gd name="T11" fmla="*/ 2 h 22"/>
              </a:gdLst>
              <a:ahLst/>
              <a:cxnLst>
                <a:cxn ang="0">
                  <a:pos x="T0" y="T1"/>
                </a:cxn>
                <a:cxn ang="0">
                  <a:pos x="T2" y="T3"/>
                </a:cxn>
                <a:cxn ang="0">
                  <a:pos x="T4" y="T5"/>
                </a:cxn>
                <a:cxn ang="0">
                  <a:pos x="T6" y="T7"/>
                </a:cxn>
                <a:cxn ang="0">
                  <a:pos x="T8" y="T9"/>
                </a:cxn>
                <a:cxn ang="0">
                  <a:pos x="T10" y="T11"/>
                </a:cxn>
              </a:cxnLst>
              <a:rect l="0" t="0" r="r" b="b"/>
              <a:pathLst>
                <a:path w="22" h="22">
                  <a:moveTo>
                    <a:pt x="16" y="2"/>
                  </a:moveTo>
                  <a:cubicBezTo>
                    <a:pt x="21" y="5"/>
                    <a:pt x="22" y="11"/>
                    <a:pt x="20" y="16"/>
                  </a:cubicBezTo>
                  <a:cubicBezTo>
                    <a:pt x="17" y="21"/>
                    <a:pt x="11" y="22"/>
                    <a:pt x="6" y="20"/>
                  </a:cubicBezTo>
                  <a:cubicBezTo>
                    <a:pt x="1" y="17"/>
                    <a:pt x="0" y="11"/>
                    <a:pt x="3" y="6"/>
                  </a:cubicBezTo>
                  <a:cubicBezTo>
                    <a:pt x="3" y="6"/>
                    <a:pt x="3" y="6"/>
                    <a:pt x="3" y="6"/>
                  </a:cubicBezTo>
                  <a:cubicBezTo>
                    <a:pt x="5" y="1"/>
                    <a:pt x="11" y="0"/>
                    <a:pt x="16"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Freeform 21">
              <a:extLst>
                <a:ext uri="{FF2B5EF4-FFF2-40B4-BE49-F238E27FC236}">
                  <a16:creationId xmlns:a16="http://schemas.microsoft.com/office/drawing/2014/main" id="{4F04651E-F275-E444-9312-4D73E4DEBFA4}"/>
                </a:ext>
              </a:extLst>
            </p:cNvPr>
            <p:cNvSpPr>
              <a:spLocks/>
            </p:cNvSpPr>
            <p:nvPr/>
          </p:nvSpPr>
          <p:spPr bwMode="auto">
            <a:xfrm>
              <a:off x="819150" y="1767395"/>
              <a:ext cx="44450" cy="44450"/>
            </a:xfrm>
            <a:custGeom>
              <a:avLst/>
              <a:gdLst>
                <a:gd name="T0" fmla="*/ 16 w 23"/>
                <a:gd name="T1" fmla="*/ 3 h 23"/>
                <a:gd name="T2" fmla="*/ 20 w 23"/>
                <a:gd name="T3" fmla="*/ 16 h 23"/>
                <a:gd name="T4" fmla="*/ 20 w 23"/>
                <a:gd name="T5" fmla="*/ 17 h 23"/>
                <a:gd name="T6" fmla="*/ 6 w 23"/>
                <a:gd name="T7" fmla="*/ 20 h 23"/>
                <a:gd name="T8" fmla="*/ 3 w 23"/>
                <a:gd name="T9" fmla="*/ 7 h 23"/>
                <a:gd name="T10" fmla="*/ 3 w 23"/>
                <a:gd name="T11" fmla="*/ 7 h 23"/>
                <a:gd name="T12" fmla="*/ 16 w 23"/>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3"/>
                  </a:moveTo>
                  <a:cubicBezTo>
                    <a:pt x="21" y="6"/>
                    <a:pt x="23" y="12"/>
                    <a:pt x="20" y="16"/>
                  </a:cubicBezTo>
                  <a:cubicBezTo>
                    <a:pt x="20" y="17"/>
                    <a:pt x="20" y="17"/>
                    <a:pt x="20" y="17"/>
                  </a:cubicBezTo>
                  <a:cubicBezTo>
                    <a:pt x="17" y="21"/>
                    <a:pt x="11" y="23"/>
                    <a:pt x="6" y="20"/>
                  </a:cubicBezTo>
                  <a:cubicBezTo>
                    <a:pt x="2" y="18"/>
                    <a:pt x="0" y="12"/>
                    <a:pt x="3" y="7"/>
                  </a:cubicBezTo>
                  <a:cubicBezTo>
                    <a:pt x="3" y="7"/>
                    <a:pt x="3" y="7"/>
                    <a:pt x="3" y="7"/>
                  </a:cubicBezTo>
                  <a:cubicBezTo>
                    <a:pt x="6" y="2"/>
                    <a:pt x="12" y="0"/>
                    <a:pt x="16"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Freeform 22">
              <a:extLst>
                <a:ext uri="{FF2B5EF4-FFF2-40B4-BE49-F238E27FC236}">
                  <a16:creationId xmlns:a16="http://schemas.microsoft.com/office/drawing/2014/main" id="{A3BB5AF4-95E2-A341-8BAF-6915ECFFB536}"/>
                </a:ext>
              </a:extLst>
            </p:cNvPr>
            <p:cNvSpPr>
              <a:spLocks/>
            </p:cNvSpPr>
            <p:nvPr/>
          </p:nvSpPr>
          <p:spPr bwMode="auto">
            <a:xfrm>
              <a:off x="1081088" y="1251458"/>
              <a:ext cx="104775" cy="101600"/>
            </a:xfrm>
            <a:custGeom>
              <a:avLst/>
              <a:gdLst>
                <a:gd name="T0" fmla="*/ 47 w 54"/>
                <a:gd name="T1" fmla="*/ 38 h 53"/>
                <a:gd name="T2" fmla="*/ 15 w 54"/>
                <a:gd name="T3" fmla="*/ 47 h 53"/>
                <a:gd name="T4" fmla="*/ 7 w 54"/>
                <a:gd name="T5" fmla="*/ 15 h 53"/>
                <a:gd name="T6" fmla="*/ 39 w 54"/>
                <a:gd name="T7" fmla="*/ 6 h 53"/>
                <a:gd name="T8" fmla="*/ 47 w 54"/>
                <a:gd name="T9" fmla="*/ 38 h 53"/>
              </a:gdLst>
              <a:ahLst/>
              <a:cxnLst>
                <a:cxn ang="0">
                  <a:pos x="T0" y="T1"/>
                </a:cxn>
                <a:cxn ang="0">
                  <a:pos x="T2" y="T3"/>
                </a:cxn>
                <a:cxn ang="0">
                  <a:pos x="T4" y="T5"/>
                </a:cxn>
                <a:cxn ang="0">
                  <a:pos x="T6" y="T7"/>
                </a:cxn>
                <a:cxn ang="0">
                  <a:pos x="T8" y="T9"/>
                </a:cxn>
              </a:cxnLst>
              <a:rect l="0" t="0" r="r" b="b"/>
              <a:pathLst>
                <a:path w="54" h="53">
                  <a:moveTo>
                    <a:pt x="47" y="38"/>
                  </a:moveTo>
                  <a:cubicBezTo>
                    <a:pt x="41" y="50"/>
                    <a:pt x="26" y="53"/>
                    <a:pt x="15" y="47"/>
                  </a:cubicBezTo>
                  <a:cubicBezTo>
                    <a:pt x="4" y="40"/>
                    <a:pt x="0" y="26"/>
                    <a:pt x="7" y="15"/>
                  </a:cubicBezTo>
                  <a:cubicBezTo>
                    <a:pt x="13" y="3"/>
                    <a:pt x="27" y="0"/>
                    <a:pt x="39" y="6"/>
                  </a:cubicBezTo>
                  <a:cubicBezTo>
                    <a:pt x="50" y="13"/>
                    <a:pt x="54" y="27"/>
                    <a:pt x="47"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6" name="Freeform 23">
              <a:extLst>
                <a:ext uri="{FF2B5EF4-FFF2-40B4-BE49-F238E27FC236}">
                  <a16:creationId xmlns:a16="http://schemas.microsoft.com/office/drawing/2014/main" id="{AFDA0FDE-E000-D04A-B9E5-F332B634465F}"/>
                </a:ext>
              </a:extLst>
            </p:cNvPr>
            <p:cNvSpPr>
              <a:spLocks/>
            </p:cNvSpPr>
            <p:nvPr/>
          </p:nvSpPr>
          <p:spPr bwMode="auto">
            <a:xfrm>
              <a:off x="1063625" y="1362583"/>
              <a:ext cx="42863" cy="42863"/>
            </a:xfrm>
            <a:custGeom>
              <a:avLst/>
              <a:gdLst>
                <a:gd name="T0" fmla="*/ 6 w 22"/>
                <a:gd name="T1" fmla="*/ 20 h 23"/>
                <a:gd name="T2" fmla="*/ 2 w 22"/>
                <a:gd name="T3" fmla="*/ 7 h 23"/>
                <a:gd name="T4" fmla="*/ 16 w 22"/>
                <a:gd name="T5" fmla="*/ 3 h 23"/>
                <a:gd name="T6" fmla="*/ 20 w 22"/>
                <a:gd name="T7" fmla="*/ 17 h 23"/>
                <a:gd name="T8" fmla="*/ 20 w 22"/>
                <a:gd name="T9" fmla="*/ 17 h 23"/>
                <a:gd name="T10" fmla="*/ 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6" y="20"/>
                  </a:moveTo>
                  <a:cubicBezTo>
                    <a:pt x="1" y="18"/>
                    <a:pt x="0" y="12"/>
                    <a:pt x="2" y="7"/>
                  </a:cubicBezTo>
                  <a:cubicBezTo>
                    <a:pt x="5" y="2"/>
                    <a:pt x="11" y="0"/>
                    <a:pt x="16" y="3"/>
                  </a:cubicBezTo>
                  <a:cubicBezTo>
                    <a:pt x="21" y="6"/>
                    <a:pt x="22" y="12"/>
                    <a:pt x="20" y="17"/>
                  </a:cubicBezTo>
                  <a:cubicBezTo>
                    <a:pt x="20" y="17"/>
                    <a:pt x="20" y="17"/>
                    <a:pt x="20" y="17"/>
                  </a:cubicBezTo>
                  <a:cubicBezTo>
                    <a:pt x="17" y="22"/>
                    <a:pt x="11" y="23"/>
                    <a:pt x="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Freeform 24">
              <a:extLst>
                <a:ext uri="{FF2B5EF4-FFF2-40B4-BE49-F238E27FC236}">
                  <a16:creationId xmlns:a16="http://schemas.microsoft.com/office/drawing/2014/main" id="{B20F86D4-B795-5147-9869-7B9AC7ACB7CF}"/>
                </a:ext>
              </a:extLst>
            </p:cNvPr>
            <p:cNvSpPr>
              <a:spLocks/>
            </p:cNvSpPr>
            <p:nvPr/>
          </p:nvSpPr>
          <p:spPr bwMode="auto">
            <a:xfrm>
              <a:off x="1031875" y="1413383"/>
              <a:ext cx="44450" cy="44450"/>
            </a:xfrm>
            <a:custGeom>
              <a:avLst/>
              <a:gdLst>
                <a:gd name="T0" fmla="*/ 7 w 23"/>
                <a:gd name="T1" fmla="*/ 20 h 23"/>
                <a:gd name="T2" fmla="*/ 3 w 23"/>
                <a:gd name="T3" fmla="*/ 6 h 23"/>
                <a:gd name="T4" fmla="*/ 3 w 23"/>
                <a:gd name="T5" fmla="*/ 6 h 23"/>
                <a:gd name="T6" fmla="*/ 17 w 23"/>
                <a:gd name="T7" fmla="*/ 2 h 23"/>
                <a:gd name="T8" fmla="*/ 20 w 23"/>
                <a:gd name="T9" fmla="*/ 16 h 23"/>
                <a:gd name="T10" fmla="*/ 20 w 23"/>
                <a:gd name="T11" fmla="*/ 16 h 23"/>
                <a:gd name="T12" fmla="*/ 7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7" y="20"/>
                  </a:moveTo>
                  <a:cubicBezTo>
                    <a:pt x="2" y="17"/>
                    <a:pt x="0" y="11"/>
                    <a:pt x="3" y="6"/>
                  </a:cubicBezTo>
                  <a:cubicBezTo>
                    <a:pt x="3" y="6"/>
                    <a:pt x="3" y="6"/>
                    <a:pt x="3" y="6"/>
                  </a:cubicBezTo>
                  <a:cubicBezTo>
                    <a:pt x="6" y="1"/>
                    <a:pt x="12" y="0"/>
                    <a:pt x="17" y="2"/>
                  </a:cubicBezTo>
                  <a:cubicBezTo>
                    <a:pt x="22" y="5"/>
                    <a:pt x="23" y="11"/>
                    <a:pt x="20" y="16"/>
                  </a:cubicBezTo>
                  <a:cubicBezTo>
                    <a:pt x="20" y="16"/>
                    <a:pt x="20" y="16"/>
                    <a:pt x="20" y="16"/>
                  </a:cubicBezTo>
                  <a:cubicBezTo>
                    <a:pt x="18" y="21"/>
                    <a:pt x="11" y="23"/>
                    <a:pt x="7"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68" name="Group 67">
            <a:extLst>
              <a:ext uri="{FF2B5EF4-FFF2-40B4-BE49-F238E27FC236}">
                <a16:creationId xmlns:a16="http://schemas.microsoft.com/office/drawing/2014/main" id="{2C26353A-4D23-A448-B6CC-A70FF92AC228}"/>
              </a:ext>
            </a:extLst>
          </p:cNvPr>
          <p:cNvGrpSpPr>
            <a:grpSpLocks noChangeAspect="1"/>
          </p:cNvGrpSpPr>
          <p:nvPr/>
        </p:nvGrpSpPr>
        <p:grpSpPr>
          <a:xfrm>
            <a:off x="5342257" y="2011139"/>
            <a:ext cx="642960" cy="366759"/>
            <a:chOff x="4217644" y="2466553"/>
            <a:chExt cx="709979" cy="404988"/>
          </a:xfrm>
          <a:solidFill>
            <a:schemeClr val="bg2"/>
          </a:solidFill>
        </p:grpSpPr>
        <p:sp>
          <p:nvSpPr>
            <p:cNvPr id="69" name="Freeform 99">
              <a:extLst>
                <a:ext uri="{FF2B5EF4-FFF2-40B4-BE49-F238E27FC236}">
                  <a16:creationId xmlns:a16="http://schemas.microsoft.com/office/drawing/2014/main" id="{83D8D1A7-A486-B64A-8548-73D819C25956}"/>
                </a:ext>
              </a:extLst>
            </p:cNvPr>
            <p:cNvSpPr>
              <a:spLocks/>
            </p:cNvSpPr>
            <p:nvPr/>
          </p:nvSpPr>
          <p:spPr bwMode="auto">
            <a:xfrm>
              <a:off x="4449637" y="2639548"/>
              <a:ext cx="474985"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Freeform 100">
              <a:extLst>
                <a:ext uri="{FF2B5EF4-FFF2-40B4-BE49-F238E27FC236}">
                  <a16:creationId xmlns:a16="http://schemas.microsoft.com/office/drawing/2014/main" id="{71FDF225-4C4A-8048-B7D6-EFC25FE0A316}"/>
                </a:ext>
              </a:extLst>
            </p:cNvPr>
            <p:cNvSpPr>
              <a:spLocks/>
            </p:cNvSpPr>
            <p:nvPr/>
          </p:nvSpPr>
          <p:spPr bwMode="auto">
            <a:xfrm>
              <a:off x="4792627" y="2551551"/>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Freeform 101">
              <a:extLst>
                <a:ext uri="{FF2B5EF4-FFF2-40B4-BE49-F238E27FC236}">
                  <a16:creationId xmlns:a16="http://schemas.microsoft.com/office/drawing/2014/main" id="{3B79424A-E88E-284A-A2C4-E30DEA0783FB}"/>
                </a:ext>
              </a:extLst>
            </p:cNvPr>
            <p:cNvSpPr>
              <a:spLocks/>
            </p:cNvSpPr>
            <p:nvPr/>
          </p:nvSpPr>
          <p:spPr bwMode="auto">
            <a:xfrm>
              <a:off x="4792627" y="2637548"/>
              <a:ext cx="134996" cy="131996"/>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Freeform 102">
              <a:extLst>
                <a:ext uri="{FF2B5EF4-FFF2-40B4-BE49-F238E27FC236}">
                  <a16:creationId xmlns:a16="http://schemas.microsoft.com/office/drawing/2014/main" id="{9220BEB3-EB7B-A642-84CF-19D4D3D10851}"/>
                </a:ext>
              </a:extLst>
            </p:cNvPr>
            <p:cNvSpPr>
              <a:spLocks/>
            </p:cNvSpPr>
            <p:nvPr/>
          </p:nvSpPr>
          <p:spPr bwMode="auto">
            <a:xfrm>
              <a:off x="4648631" y="2826542"/>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Freeform 103">
              <a:extLst>
                <a:ext uri="{FF2B5EF4-FFF2-40B4-BE49-F238E27FC236}">
                  <a16:creationId xmlns:a16="http://schemas.microsoft.com/office/drawing/2014/main" id="{EA8A0548-C5A1-5F48-87E5-0E62A2B851F2}"/>
                </a:ext>
              </a:extLst>
            </p:cNvPr>
            <p:cNvSpPr>
              <a:spLocks/>
            </p:cNvSpPr>
            <p:nvPr/>
          </p:nvSpPr>
          <p:spPr bwMode="auto">
            <a:xfrm>
              <a:off x="4217644" y="2466553"/>
              <a:ext cx="430987"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74" name="Rounded Rectangle 73">
            <a:extLst>
              <a:ext uri="{FF2B5EF4-FFF2-40B4-BE49-F238E27FC236}">
                <a16:creationId xmlns:a16="http://schemas.microsoft.com/office/drawing/2014/main" id="{0874AA8A-20F9-604F-A4E0-6E994FB3E111}"/>
              </a:ext>
            </a:extLst>
          </p:cNvPr>
          <p:cNvSpPr/>
          <p:nvPr/>
        </p:nvSpPr>
        <p:spPr>
          <a:xfrm>
            <a:off x="933562" y="3938209"/>
            <a:ext cx="1778808" cy="69419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400" dirty="0">
                <a:solidFill>
                  <a:schemeClr val="accent3"/>
                </a:solidFill>
              </a:rPr>
              <a:t>Ethernet Service Edge</a:t>
            </a:r>
            <a:endParaRPr lang="en-US" sz="1000" dirty="0">
              <a:solidFill>
                <a:schemeClr val="accent3"/>
              </a:solidFill>
            </a:endParaRPr>
          </a:p>
        </p:txBody>
      </p:sp>
      <p:sp>
        <p:nvSpPr>
          <p:cNvPr id="75" name="Rounded Rectangle 74">
            <a:extLst>
              <a:ext uri="{FF2B5EF4-FFF2-40B4-BE49-F238E27FC236}">
                <a16:creationId xmlns:a16="http://schemas.microsoft.com/office/drawing/2014/main" id="{3ABD832A-1B59-B447-A5A2-E3759D724627}"/>
              </a:ext>
            </a:extLst>
          </p:cNvPr>
          <p:cNvSpPr/>
          <p:nvPr/>
        </p:nvSpPr>
        <p:spPr>
          <a:xfrm>
            <a:off x="2794218" y="3938209"/>
            <a:ext cx="1778808" cy="694190"/>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400" dirty="0">
                <a:solidFill>
                  <a:schemeClr val="accent3"/>
                </a:solidFill>
              </a:rPr>
              <a:t>5G-ready </a:t>
            </a:r>
          </a:p>
          <a:p>
            <a:pPr lvl="0" algn="ctr">
              <a:defRPr/>
            </a:pPr>
            <a:r>
              <a:rPr lang="en-US" sz="1400" dirty="0">
                <a:solidFill>
                  <a:schemeClr val="accent3"/>
                </a:solidFill>
              </a:rPr>
              <a:t>Mobile Edge</a:t>
            </a:r>
            <a:endParaRPr lang="en-US" sz="1000" dirty="0">
              <a:solidFill>
                <a:schemeClr val="accent3"/>
              </a:solidFill>
            </a:endParaRPr>
          </a:p>
        </p:txBody>
      </p:sp>
      <p:sp>
        <p:nvSpPr>
          <p:cNvPr id="76" name="Rounded Rectangle 75">
            <a:extLst>
              <a:ext uri="{FF2B5EF4-FFF2-40B4-BE49-F238E27FC236}">
                <a16:creationId xmlns:a16="http://schemas.microsoft.com/office/drawing/2014/main" id="{3F622BA7-EF94-6B41-89CB-5DDA3D6A8B7C}"/>
              </a:ext>
            </a:extLst>
          </p:cNvPr>
          <p:cNvSpPr/>
          <p:nvPr/>
        </p:nvSpPr>
        <p:spPr>
          <a:xfrm>
            <a:off x="4654985" y="3938209"/>
            <a:ext cx="1778808" cy="694190"/>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400" dirty="0">
                <a:solidFill>
                  <a:schemeClr val="accent3"/>
                </a:solidFill>
              </a:rPr>
              <a:t>Data Center Interconnect</a:t>
            </a:r>
            <a:endParaRPr lang="en-US" sz="1000" dirty="0">
              <a:solidFill>
                <a:schemeClr val="accent3"/>
              </a:solidFill>
            </a:endParaRPr>
          </a:p>
        </p:txBody>
      </p:sp>
      <p:sp>
        <p:nvSpPr>
          <p:cNvPr id="77" name="Rounded Rectangle 76">
            <a:extLst>
              <a:ext uri="{FF2B5EF4-FFF2-40B4-BE49-F238E27FC236}">
                <a16:creationId xmlns:a16="http://schemas.microsoft.com/office/drawing/2014/main" id="{7FE9283C-FE4B-1E4F-8970-D55E3B91F39C}"/>
              </a:ext>
            </a:extLst>
          </p:cNvPr>
          <p:cNvSpPr/>
          <p:nvPr/>
        </p:nvSpPr>
        <p:spPr>
          <a:xfrm>
            <a:off x="6512782" y="3938209"/>
            <a:ext cx="1778808" cy="694190"/>
          </a:xfrm>
          <a:prstGeom prst="round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400" dirty="0">
                <a:solidFill>
                  <a:schemeClr val="bg2"/>
                </a:solidFill>
              </a:rPr>
              <a:t>Internet Transit and Peering</a:t>
            </a:r>
            <a:endParaRPr lang="en-US" sz="1000" dirty="0">
              <a:solidFill>
                <a:schemeClr val="bg2"/>
              </a:solidFill>
            </a:endParaRPr>
          </a:p>
        </p:txBody>
      </p:sp>
      <p:sp>
        <p:nvSpPr>
          <p:cNvPr id="80" name="TextBox 79">
            <a:extLst>
              <a:ext uri="{FF2B5EF4-FFF2-40B4-BE49-F238E27FC236}">
                <a16:creationId xmlns:a16="http://schemas.microsoft.com/office/drawing/2014/main" id="{59053387-F8B7-C54E-AA43-A41B6C4068B3}"/>
              </a:ext>
            </a:extLst>
          </p:cNvPr>
          <p:cNvSpPr txBox="1"/>
          <p:nvPr/>
        </p:nvSpPr>
        <p:spPr>
          <a:xfrm>
            <a:off x="987288" y="3582810"/>
            <a:ext cx="7304302" cy="307777"/>
          </a:xfrm>
          <a:prstGeom prst="rect">
            <a:avLst/>
          </a:prstGeom>
          <a:noFill/>
        </p:spPr>
        <p:txBody>
          <a:bodyPr wrap="square" rtlCol="0">
            <a:spAutoFit/>
          </a:bodyPr>
          <a:lstStyle/>
          <a:p>
            <a:pPr algn="ctr"/>
            <a:r>
              <a:rPr lang="en-US" sz="1400" dirty="0">
                <a:solidFill>
                  <a:schemeClr val="tx2"/>
                </a:solidFill>
                <a:latin typeface="+mn-lt"/>
              </a:rPr>
              <a:t>To address the most complex places in the network</a:t>
            </a:r>
          </a:p>
        </p:txBody>
      </p:sp>
    </p:spTree>
    <p:extLst>
      <p:ext uri="{BB962C8B-B14F-4D97-AF65-F5344CB8AC3E}">
        <p14:creationId xmlns:p14="http://schemas.microsoft.com/office/powerpoint/2010/main" val="3743156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6118" r="4601"/>
          <a:stretch/>
        </p:blipFill>
        <p:spPr>
          <a:xfrm>
            <a:off x="4579884" y="-1"/>
            <a:ext cx="4564118" cy="5144979"/>
          </a:xfrm>
          <a:prstGeom prst="rect">
            <a:avLst/>
          </a:prstGeom>
        </p:spPr>
      </p:pic>
      <p:sp>
        <p:nvSpPr>
          <p:cNvPr id="39" name="Rectangle 38"/>
          <p:cNvSpPr/>
          <p:nvPr/>
        </p:nvSpPr>
        <p:spPr>
          <a:xfrm>
            <a:off x="4579884" y="-1"/>
            <a:ext cx="4564117" cy="5143501"/>
          </a:xfrm>
          <a:prstGeom prst="rect">
            <a:avLst/>
          </a:prstGeom>
          <a:gradFill flip="none" rotWithShape="1">
            <a:gsLst>
              <a:gs pos="0">
                <a:schemeClr val="bg2">
                  <a:alpha val="88000"/>
                </a:schemeClr>
              </a:gs>
              <a:gs pos="100000">
                <a:schemeClr val="bg2">
                  <a:shade val="100000"/>
                  <a:satMod val="115000"/>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Silicon Innovation</a:t>
            </a:r>
          </a:p>
        </p:txBody>
      </p:sp>
      <p:sp>
        <p:nvSpPr>
          <p:cNvPr id="11" name="Oval 10"/>
          <p:cNvSpPr/>
          <p:nvPr/>
        </p:nvSpPr>
        <p:spPr>
          <a:xfrm>
            <a:off x="3825394" y="1261661"/>
            <a:ext cx="134007" cy="134007"/>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p:cNvCxnSpPr/>
          <p:nvPr/>
        </p:nvCxnSpPr>
        <p:spPr>
          <a:xfrm>
            <a:off x="3959401" y="1319714"/>
            <a:ext cx="5184601" cy="915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5102679" y="1132538"/>
            <a:ext cx="386177" cy="386177"/>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3" name="Group 42"/>
          <p:cNvGrpSpPr/>
          <p:nvPr/>
        </p:nvGrpSpPr>
        <p:grpSpPr>
          <a:xfrm>
            <a:off x="7449498" y="804736"/>
            <a:ext cx="1041781" cy="1041781"/>
            <a:chOff x="7688035" y="804735"/>
            <a:chExt cx="1041781" cy="1041781"/>
          </a:xfrm>
        </p:grpSpPr>
        <p:sp>
          <p:nvSpPr>
            <p:cNvPr id="15" name="Oval 14"/>
            <p:cNvSpPr/>
            <p:nvPr/>
          </p:nvSpPr>
          <p:spPr>
            <a:xfrm>
              <a:off x="7688035" y="804735"/>
              <a:ext cx="1041781" cy="104178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p:cNvGrpSpPr/>
            <p:nvPr/>
          </p:nvGrpSpPr>
          <p:grpSpPr>
            <a:xfrm>
              <a:off x="8058274" y="978969"/>
              <a:ext cx="297870" cy="118266"/>
              <a:chOff x="4079520" y="1523520"/>
              <a:chExt cx="199477" cy="79200"/>
            </a:xfrm>
            <a:solidFill>
              <a:schemeClr val="bg2"/>
            </a:solidFill>
          </p:grpSpPr>
          <p:sp>
            <p:nvSpPr>
              <p:cNvPr id="35" name="Rectangle 34"/>
              <p:cNvSpPr/>
              <p:nvPr/>
            </p:nvSpPr>
            <p:spPr>
              <a:xfrm>
                <a:off x="4079520"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36" name="Rectangle 35"/>
              <p:cNvSpPr/>
              <p:nvPr/>
            </p:nvSpPr>
            <p:spPr>
              <a:xfrm>
                <a:off x="4136868"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37" name="Rectangle 36"/>
              <p:cNvSpPr/>
              <p:nvPr/>
            </p:nvSpPr>
            <p:spPr>
              <a:xfrm>
                <a:off x="4194216"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38" name="Rectangle 37"/>
              <p:cNvSpPr/>
              <p:nvPr/>
            </p:nvSpPr>
            <p:spPr>
              <a:xfrm>
                <a:off x="4251565"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grpSp>
        <p:grpSp>
          <p:nvGrpSpPr>
            <p:cNvPr id="22" name="Group 21"/>
            <p:cNvGrpSpPr/>
            <p:nvPr/>
          </p:nvGrpSpPr>
          <p:grpSpPr>
            <a:xfrm rot="5400000">
              <a:off x="7764584" y="1269145"/>
              <a:ext cx="297870" cy="118266"/>
              <a:chOff x="4079520" y="1523520"/>
              <a:chExt cx="199477" cy="79200"/>
            </a:xfrm>
            <a:solidFill>
              <a:schemeClr val="bg2"/>
            </a:solidFill>
          </p:grpSpPr>
          <p:sp>
            <p:nvSpPr>
              <p:cNvPr id="23" name="Rectangle 22"/>
              <p:cNvSpPr/>
              <p:nvPr/>
            </p:nvSpPr>
            <p:spPr>
              <a:xfrm>
                <a:off x="4079520"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24" name="Rectangle 23"/>
              <p:cNvSpPr/>
              <p:nvPr/>
            </p:nvSpPr>
            <p:spPr>
              <a:xfrm>
                <a:off x="4136868"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25" name="Rectangle 24"/>
              <p:cNvSpPr/>
              <p:nvPr/>
            </p:nvSpPr>
            <p:spPr>
              <a:xfrm>
                <a:off x="4194216"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26" name="Rectangle 25"/>
              <p:cNvSpPr/>
              <p:nvPr/>
            </p:nvSpPr>
            <p:spPr>
              <a:xfrm>
                <a:off x="4251565"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grpSp>
        <p:sp>
          <p:nvSpPr>
            <p:cNvPr id="40" name="Freeform 39"/>
            <p:cNvSpPr/>
            <p:nvPr/>
          </p:nvSpPr>
          <p:spPr>
            <a:xfrm>
              <a:off x="7948411" y="1089030"/>
              <a:ext cx="767057" cy="756263"/>
            </a:xfrm>
            <a:custGeom>
              <a:avLst/>
              <a:gdLst>
                <a:gd name="connsiteX0" fmla="*/ 0 w 757707"/>
                <a:gd name="connsiteY0" fmla="*/ 493690 h 764146"/>
                <a:gd name="connsiteX1" fmla="*/ 216795 w 757707"/>
                <a:gd name="connsiteY1" fmla="*/ 764146 h 764146"/>
                <a:gd name="connsiteX2" fmla="*/ 757707 w 757707"/>
                <a:gd name="connsiteY2" fmla="*/ 397098 h 764146"/>
                <a:gd name="connsiteX3" fmla="*/ 515155 w 757707"/>
                <a:gd name="connsiteY3" fmla="*/ 0 h 764146"/>
                <a:gd name="connsiteX4" fmla="*/ 0 w 757707"/>
                <a:gd name="connsiteY4" fmla="*/ 493690 h 764146"/>
                <a:gd name="connsiteX0" fmla="*/ 0 w 757707"/>
                <a:gd name="connsiteY0" fmla="*/ 493690 h 765195"/>
                <a:gd name="connsiteX1" fmla="*/ 216795 w 757707"/>
                <a:gd name="connsiteY1" fmla="*/ 764146 h 765195"/>
                <a:gd name="connsiteX2" fmla="*/ 757707 w 757707"/>
                <a:gd name="connsiteY2" fmla="*/ 397098 h 765195"/>
                <a:gd name="connsiteX3" fmla="*/ 515155 w 757707"/>
                <a:gd name="connsiteY3" fmla="*/ 0 h 765195"/>
                <a:gd name="connsiteX4" fmla="*/ 0 w 757707"/>
                <a:gd name="connsiteY4" fmla="*/ 493690 h 765195"/>
                <a:gd name="connsiteX0" fmla="*/ 0 w 757707"/>
                <a:gd name="connsiteY0" fmla="*/ 493690 h 765202"/>
                <a:gd name="connsiteX1" fmla="*/ 216795 w 757707"/>
                <a:gd name="connsiteY1" fmla="*/ 764146 h 765202"/>
                <a:gd name="connsiteX2" fmla="*/ 757707 w 757707"/>
                <a:gd name="connsiteY2" fmla="*/ 397098 h 765202"/>
                <a:gd name="connsiteX3" fmla="*/ 515155 w 757707"/>
                <a:gd name="connsiteY3" fmla="*/ 0 h 765202"/>
                <a:gd name="connsiteX4" fmla="*/ 0 w 757707"/>
                <a:gd name="connsiteY4" fmla="*/ 493690 h 765202"/>
                <a:gd name="connsiteX0" fmla="*/ 0 w 757707"/>
                <a:gd name="connsiteY0" fmla="*/ 493690 h 764146"/>
                <a:gd name="connsiteX1" fmla="*/ 216795 w 757707"/>
                <a:gd name="connsiteY1" fmla="*/ 764146 h 764146"/>
                <a:gd name="connsiteX2" fmla="*/ 757707 w 757707"/>
                <a:gd name="connsiteY2" fmla="*/ 397098 h 764146"/>
                <a:gd name="connsiteX3" fmla="*/ 515155 w 757707"/>
                <a:gd name="connsiteY3" fmla="*/ 0 h 764146"/>
                <a:gd name="connsiteX4" fmla="*/ 0 w 757707"/>
                <a:gd name="connsiteY4" fmla="*/ 493690 h 764146"/>
                <a:gd name="connsiteX0" fmla="*/ 0 w 757707"/>
                <a:gd name="connsiteY0" fmla="*/ 493690 h 764146"/>
                <a:gd name="connsiteX1" fmla="*/ 216795 w 757707"/>
                <a:gd name="connsiteY1" fmla="*/ 764146 h 764146"/>
                <a:gd name="connsiteX2" fmla="*/ 757707 w 757707"/>
                <a:gd name="connsiteY2" fmla="*/ 397098 h 764146"/>
                <a:gd name="connsiteX3" fmla="*/ 515155 w 757707"/>
                <a:gd name="connsiteY3" fmla="*/ 0 h 764146"/>
                <a:gd name="connsiteX4" fmla="*/ 0 w 757707"/>
                <a:gd name="connsiteY4" fmla="*/ 493690 h 764146"/>
                <a:gd name="connsiteX0" fmla="*/ 0 w 757707"/>
                <a:gd name="connsiteY0" fmla="*/ 493690 h 765605"/>
                <a:gd name="connsiteX1" fmla="*/ 216795 w 757707"/>
                <a:gd name="connsiteY1" fmla="*/ 764146 h 765605"/>
                <a:gd name="connsiteX2" fmla="*/ 757707 w 757707"/>
                <a:gd name="connsiteY2" fmla="*/ 397098 h 765605"/>
                <a:gd name="connsiteX3" fmla="*/ 515155 w 757707"/>
                <a:gd name="connsiteY3" fmla="*/ 0 h 765605"/>
                <a:gd name="connsiteX4" fmla="*/ 0 w 757707"/>
                <a:gd name="connsiteY4" fmla="*/ 493690 h 765605"/>
                <a:gd name="connsiteX0" fmla="*/ 0 w 757707"/>
                <a:gd name="connsiteY0" fmla="*/ 493690 h 765625"/>
                <a:gd name="connsiteX1" fmla="*/ 216795 w 757707"/>
                <a:gd name="connsiteY1" fmla="*/ 764146 h 765625"/>
                <a:gd name="connsiteX2" fmla="*/ 757707 w 757707"/>
                <a:gd name="connsiteY2" fmla="*/ 397098 h 765625"/>
                <a:gd name="connsiteX3" fmla="*/ 515155 w 757707"/>
                <a:gd name="connsiteY3" fmla="*/ 0 h 765625"/>
                <a:gd name="connsiteX4" fmla="*/ 0 w 757707"/>
                <a:gd name="connsiteY4" fmla="*/ 493690 h 765625"/>
                <a:gd name="connsiteX0" fmla="*/ 0 w 757707"/>
                <a:gd name="connsiteY0" fmla="*/ 484341 h 756276"/>
                <a:gd name="connsiteX1" fmla="*/ 216795 w 757707"/>
                <a:gd name="connsiteY1" fmla="*/ 754797 h 756276"/>
                <a:gd name="connsiteX2" fmla="*/ 757707 w 757707"/>
                <a:gd name="connsiteY2" fmla="*/ 387749 h 756276"/>
                <a:gd name="connsiteX3" fmla="*/ 509545 w 757707"/>
                <a:gd name="connsiteY3" fmla="*/ 0 h 756276"/>
                <a:gd name="connsiteX4" fmla="*/ 0 w 757707"/>
                <a:gd name="connsiteY4" fmla="*/ 484341 h 756276"/>
                <a:gd name="connsiteX0" fmla="*/ 0 w 767057"/>
                <a:gd name="connsiteY0" fmla="*/ 484341 h 756102"/>
                <a:gd name="connsiteX1" fmla="*/ 216795 w 767057"/>
                <a:gd name="connsiteY1" fmla="*/ 754797 h 756102"/>
                <a:gd name="connsiteX2" fmla="*/ 767057 w 767057"/>
                <a:gd name="connsiteY2" fmla="*/ 350350 h 756102"/>
                <a:gd name="connsiteX3" fmla="*/ 509545 w 767057"/>
                <a:gd name="connsiteY3" fmla="*/ 0 h 756102"/>
                <a:gd name="connsiteX4" fmla="*/ 0 w 767057"/>
                <a:gd name="connsiteY4" fmla="*/ 484341 h 756102"/>
                <a:gd name="connsiteX0" fmla="*/ 0 w 767057"/>
                <a:gd name="connsiteY0" fmla="*/ 484341 h 756263"/>
                <a:gd name="connsiteX1" fmla="*/ 216795 w 767057"/>
                <a:gd name="connsiteY1" fmla="*/ 754797 h 756263"/>
                <a:gd name="connsiteX2" fmla="*/ 767057 w 767057"/>
                <a:gd name="connsiteY2" fmla="*/ 350350 h 756263"/>
                <a:gd name="connsiteX3" fmla="*/ 509545 w 767057"/>
                <a:gd name="connsiteY3" fmla="*/ 0 h 756263"/>
                <a:gd name="connsiteX4" fmla="*/ 0 w 767057"/>
                <a:gd name="connsiteY4" fmla="*/ 484341 h 75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057" h="756263">
                  <a:moveTo>
                    <a:pt x="0" y="484341"/>
                  </a:moveTo>
                  <a:lnTo>
                    <a:pt x="216795" y="754797"/>
                  </a:lnTo>
                  <a:cubicBezTo>
                    <a:pt x="569133" y="778303"/>
                    <a:pt x="738218" y="513838"/>
                    <a:pt x="767057" y="350350"/>
                  </a:cubicBezTo>
                  <a:lnTo>
                    <a:pt x="509545" y="0"/>
                  </a:lnTo>
                  <a:lnTo>
                    <a:pt x="0" y="484341"/>
                  </a:lnTo>
                  <a:close/>
                </a:path>
              </a:pathLst>
            </a:custGeom>
            <a:solidFill>
              <a:srgbClr val="00A3E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ame 17"/>
            <p:cNvSpPr/>
            <p:nvPr/>
          </p:nvSpPr>
          <p:spPr>
            <a:xfrm>
              <a:off x="7948610" y="1084333"/>
              <a:ext cx="513918" cy="488115"/>
            </a:xfrm>
            <a:prstGeom prst="frame">
              <a:avLst>
                <a:gd name="adj1" fmla="val 24683"/>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solidFill>
                  <a:schemeClr val="tx1"/>
                </a:solidFill>
              </a:endParaRPr>
            </a:p>
          </p:txBody>
        </p:sp>
        <p:grpSp>
          <p:nvGrpSpPr>
            <p:cNvPr id="20" name="Group 19"/>
            <p:cNvGrpSpPr/>
            <p:nvPr/>
          </p:nvGrpSpPr>
          <p:grpSpPr>
            <a:xfrm>
              <a:off x="8057526" y="1554016"/>
              <a:ext cx="297870" cy="118266"/>
              <a:chOff x="4079520" y="1523520"/>
              <a:chExt cx="199477" cy="79200"/>
            </a:xfrm>
            <a:solidFill>
              <a:schemeClr val="bg2"/>
            </a:solidFill>
          </p:grpSpPr>
          <p:sp>
            <p:nvSpPr>
              <p:cNvPr id="31" name="Rectangle 30"/>
              <p:cNvSpPr/>
              <p:nvPr/>
            </p:nvSpPr>
            <p:spPr>
              <a:xfrm>
                <a:off x="4079520"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32" name="Rectangle 31"/>
              <p:cNvSpPr/>
              <p:nvPr/>
            </p:nvSpPr>
            <p:spPr>
              <a:xfrm>
                <a:off x="4136868"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33" name="Rectangle 32"/>
              <p:cNvSpPr/>
              <p:nvPr/>
            </p:nvSpPr>
            <p:spPr>
              <a:xfrm>
                <a:off x="4194216"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34" name="Rectangle 33"/>
              <p:cNvSpPr/>
              <p:nvPr/>
            </p:nvSpPr>
            <p:spPr>
              <a:xfrm>
                <a:off x="4251565"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grpSp>
        <p:grpSp>
          <p:nvGrpSpPr>
            <p:cNvPr id="21" name="Group 20"/>
            <p:cNvGrpSpPr/>
            <p:nvPr/>
          </p:nvGrpSpPr>
          <p:grpSpPr>
            <a:xfrm rot="5400000">
              <a:off x="8355396" y="1269144"/>
              <a:ext cx="297870" cy="118266"/>
              <a:chOff x="4079520" y="1523520"/>
              <a:chExt cx="199477" cy="79200"/>
            </a:xfrm>
            <a:solidFill>
              <a:schemeClr val="bg2"/>
            </a:solidFill>
          </p:grpSpPr>
          <p:sp>
            <p:nvSpPr>
              <p:cNvPr id="27" name="Rectangle 26"/>
              <p:cNvSpPr/>
              <p:nvPr/>
            </p:nvSpPr>
            <p:spPr>
              <a:xfrm>
                <a:off x="4079520"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28" name="Rectangle 27"/>
              <p:cNvSpPr/>
              <p:nvPr/>
            </p:nvSpPr>
            <p:spPr>
              <a:xfrm>
                <a:off x="4136868"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29" name="Rectangle 28"/>
              <p:cNvSpPr/>
              <p:nvPr/>
            </p:nvSpPr>
            <p:spPr>
              <a:xfrm>
                <a:off x="4194216"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sp>
            <p:nvSpPr>
              <p:cNvPr id="30" name="Rectangle 29"/>
              <p:cNvSpPr/>
              <p:nvPr/>
            </p:nvSpPr>
            <p:spPr>
              <a:xfrm>
                <a:off x="4251565" y="1523520"/>
                <a:ext cx="27432" cy="792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dirty="0"/>
              </a:p>
            </p:txBody>
          </p:sp>
        </p:grpSp>
        <p:sp>
          <p:nvSpPr>
            <p:cNvPr id="42" name="Rectangle 41"/>
            <p:cNvSpPr/>
            <p:nvPr/>
          </p:nvSpPr>
          <p:spPr>
            <a:xfrm>
              <a:off x="8058274" y="1199823"/>
              <a:ext cx="297122" cy="25690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p:cNvGrpSpPr/>
          <p:nvPr/>
        </p:nvGrpSpPr>
        <p:grpSpPr>
          <a:xfrm>
            <a:off x="523580" y="1242001"/>
            <a:ext cx="3485472" cy="1897589"/>
            <a:chOff x="507438" y="1613488"/>
            <a:chExt cx="3485472" cy="1897589"/>
          </a:xfrm>
        </p:grpSpPr>
        <p:grpSp>
          <p:nvGrpSpPr>
            <p:cNvPr id="6" name="Group 5"/>
            <p:cNvGrpSpPr/>
            <p:nvPr/>
          </p:nvGrpSpPr>
          <p:grpSpPr>
            <a:xfrm>
              <a:off x="507438" y="1613488"/>
              <a:ext cx="3485472" cy="1897589"/>
              <a:chOff x="437766" y="1456731"/>
              <a:chExt cx="3485472" cy="1897589"/>
            </a:xfrm>
          </p:grpSpPr>
          <p:sp>
            <p:nvSpPr>
              <p:cNvPr id="5" name="Oval 4"/>
              <p:cNvSpPr/>
              <p:nvPr/>
            </p:nvSpPr>
            <p:spPr>
              <a:xfrm>
                <a:off x="2094438" y="1525520"/>
                <a:ext cx="1828800" cy="182880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p:cNvSpPr/>
              <p:nvPr/>
            </p:nvSpPr>
            <p:spPr>
              <a:xfrm>
                <a:off x="437766" y="1525520"/>
                <a:ext cx="1828800" cy="182880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 name="Group 40"/>
              <p:cNvGrpSpPr/>
              <p:nvPr/>
            </p:nvGrpSpPr>
            <p:grpSpPr>
              <a:xfrm>
                <a:off x="1341118" y="1456731"/>
                <a:ext cx="1703088" cy="1675232"/>
                <a:chOff x="4364639" y="1307770"/>
                <a:chExt cx="596557" cy="586800"/>
              </a:xfrm>
            </p:grpSpPr>
            <p:sp>
              <p:nvSpPr>
                <p:cNvPr id="44" name="Freeform 590"/>
                <p:cNvSpPr>
                  <a:spLocks/>
                </p:cNvSpPr>
                <p:nvPr/>
              </p:nvSpPr>
              <p:spPr bwMode="auto">
                <a:xfrm>
                  <a:off x="4575107" y="1307770"/>
                  <a:ext cx="89205" cy="94780"/>
                </a:xfrm>
                <a:custGeom>
                  <a:avLst/>
                  <a:gdLst>
                    <a:gd name="T0" fmla="*/ 4 w 27"/>
                    <a:gd name="T1" fmla="*/ 0 h 29"/>
                    <a:gd name="T2" fmla="*/ 1 w 27"/>
                    <a:gd name="T3" fmla="*/ 1 h 29"/>
                    <a:gd name="T4" fmla="*/ 0 w 27"/>
                    <a:gd name="T5" fmla="*/ 3 h 29"/>
                    <a:gd name="T6" fmla="*/ 1 w 27"/>
                    <a:gd name="T7" fmla="*/ 6 h 29"/>
                    <a:gd name="T8" fmla="*/ 24 w 27"/>
                    <a:gd name="T9" fmla="*/ 29 h 29"/>
                    <a:gd name="T10" fmla="*/ 23 w 27"/>
                    <a:gd name="T11" fmla="*/ 26 h 29"/>
                    <a:gd name="T12" fmla="*/ 24 w 27"/>
                    <a:gd name="T13" fmla="*/ 24 h 29"/>
                    <a:gd name="T14" fmla="*/ 27 w 27"/>
                    <a:gd name="T15" fmla="*/ 21 h 29"/>
                    <a:gd name="T16" fmla="*/ 7 w 27"/>
                    <a:gd name="T17" fmla="*/ 1 h 29"/>
                    <a:gd name="T18" fmla="*/ 4 w 27"/>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9">
                      <a:moveTo>
                        <a:pt x="4" y="0"/>
                      </a:moveTo>
                      <a:cubicBezTo>
                        <a:pt x="3" y="0"/>
                        <a:pt x="2" y="0"/>
                        <a:pt x="1" y="1"/>
                      </a:cubicBezTo>
                      <a:cubicBezTo>
                        <a:pt x="1" y="1"/>
                        <a:pt x="0" y="2"/>
                        <a:pt x="0" y="3"/>
                      </a:cubicBezTo>
                      <a:cubicBezTo>
                        <a:pt x="0" y="5"/>
                        <a:pt x="1" y="6"/>
                        <a:pt x="1" y="6"/>
                      </a:cubicBezTo>
                      <a:cubicBezTo>
                        <a:pt x="24" y="29"/>
                        <a:pt x="24" y="29"/>
                        <a:pt x="24" y="29"/>
                      </a:cubicBezTo>
                      <a:cubicBezTo>
                        <a:pt x="23" y="28"/>
                        <a:pt x="23" y="27"/>
                        <a:pt x="23" y="26"/>
                      </a:cubicBezTo>
                      <a:cubicBezTo>
                        <a:pt x="23" y="25"/>
                        <a:pt x="23" y="24"/>
                        <a:pt x="24" y="24"/>
                      </a:cubicBezTo>
                      <a:cubicBezTo>
                        <a:pt x="27" y="21"/>
                        <a:pt x="27" y="21"/>
                        <a:pt x="27" y="21"/>
                      </a:cubicBezTo>
                      <a:cubicBezTo>
                        <a:pt x="7" y="1"/>
                        <a:pt x="7" y="1"/>
                        <a:pt x="7" y="1"/>
                      </a:cubicBezTo>
                      <a:cubicBezTo>
                        <a:pt x="6" y="0"/>
                        <a:pt x="5" y="0"/>
                        <a:pt x="4" y="0"/>
                      </a:cubicBezTo>
                    </a:path>
                  </a:pathLst>
                </a:custGeom>
                <a:solidFill>
                  <a:schemeClr val="accent1">
                    <a:lumMod val="60000"/>
                    <a:lumOff val="4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591"/>
                <p:cNvSpPr>
                  <a:spLocks/>
                </p:cNvSpPr>
                <p:nvPr/>
              </p:nvSpPr>
              <p:spPr bwMode="auto">
                <a:xfrm>
                  <a:off x="4664312" y="1307770"/>
                  <a:ext cx="89205" cy="94780"/>
                </a:xfrm>
                <a:custGeom>
                  <a:avLst/>
                  <a:gdLst>
                    <a:gd name="T0" fmla="*/ 23 w 27"/>
                    <a:gd name="T1" fmla="*/ 0 h 29"/>
                    <a:gd name="T2" fmla="*/ 20 w 27"/>
                    <a:gd name="T3" fmla="*/ 1 h 29"/>
                    <a:gd name="T4" fmla="*/ 0 w 27"/>
                    <a:gd name="T5" fmla="*/ 21 h 29"/>
                    <a:gd name="T6" fmla="*/ 3 w 27"/>
                    <a:gd name="T7" fmla="*/ 24 h 29"/>
                    <a:gd name="T8" fmla="*/ 3 w 27"/>
                    <a:gd name="T9" fmla="*/ 29 h 29"/>
                    <a:gd name="T10" fmla="*/ 26 w 27"/>
                    <a:gd name="T11" fmla="*/ 6 h 29"/>
                    <a:gd name="T12" fmla="*/ 27 w 27"/>
                    <a:gd name="T13" fmla="*/ 3 h 29"/>
                    <a:gd name="T14" fmla="*/ 26 w 27"/>
                    <a:gd name="T15" fmla="*/ 1 h 29"/>
                    <a:gd name="T16" fmla="*/ 23 w 2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23" y="0"/>
                      </a:moveTo>
                      <a:cubicBezTo>
                        <a:pt x="22" y="0"/>
                        <a:pt x="21" y="0"/>
                        <a:pt x="20" y="1"/>
                      </a:cubicBezTo>
                      <a:cubicBezTo>
                        <a:pt x="0" y="21"/>
                        <a:pt x="0" y="21"/>
                        <a:pt x="0" y="21"/>
                      </a:cubicBezTo>
                      <a:cubicBezTo>
                        <a:pt x="3" y="24"/>
                        <a:pt x="3" y="24"/>
                        <a:pt x="3" y="24"/>
                      </a:cubicBezTo>
                      <a:cubicBezTo>
                        <a:pt x="4" y="25"/>
                        <a:pt x="4" y="28"/>
                        <a:pt x="3" y="29"/>
                      </a:cubicBezTo>
                      <a:cubicBezTo>
                        <a:pt x="26" y="6"/>
                        <a:pt x="26" y="6"/>
                        <a:pt x="26" y="6"/>
                      </a:cubicBezTo>
                      <a:cubicBezTo>
                        <a:pt x="26" y="6"/>
                        <a:pt x="27" y="5"/>
                        <a:pt x="27" y="3"/>
                      </a:cubicBezTo>
                      <a:cubicBezTo>
                        <a:pt x="27" y="2"/>
                        <a:pt x="26" y="1"/>
                        <a:pt x="26" y="1"/>
                      </a:cubicBezTo>
                      <a:cubicBezTo>
                        <a:pt x="25" y="0"/>
                        <a:pt x="24" y="0"/>
                        <a:pt x="23" y="0"/>
                      </a:cubicBezTo>
                    </a:path>
                  </a:pathLst>
                </a:custGeom>
                <a:solidFill>
                  <a:schemeClr val="accent2">
                    <a:lumMod val="60000"/>
                    <a:lumOff val="40000"/>
                  </a:schemeClr>
                </a:solidFill>
                <a:ln w="317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592"/>
                <p:cNvSpPr>
                  <a:spLocks/>
                </p:cNvSpPr>
                <p:nvPr/>
              </p:nvSpPr>
              <p:spPr bwMode="auto">
                <a:xfrm>
                  <a:off x="4651767" y="1377462"/>
                  <a:ext cx="26482" cy="29270"/>
                </a:xfrm>
                <a:custGeom>
                  <a:avLst/>
                  <a:gdLst>
                    <a:gd name="T0" fmla="*/ 4 w 8"/>
                    <a:gd name="T1" fmla="*/ 0 h 9"/>
                    <a:gd name="T2" fmla="*/ 4 w 8"/>
                    <a:gd name="T3" fmla="*/ 0 h 9"/>
                    <a:gd name="T4" fmla="*/ 1 w 8"/>
                    <a:gd name="T5" fmla="*/ 3 h 9"/>
                    <a:gd name="T6" fmla="*/ 0 w 8"/>
                    <a:gd name="T7" fmla="*/ 5 h 9"/>
                    <a:gd name="T8" fmla="*/ 1 w 8"/>
                    <a:gd name="T9" fmla="*/ 8 h 9"/>
                    <a:gd name="T10" fmla="*/ 4 w 8"/>
                    <a:gd name="T11" fmla="*/ 9 h 9"/>
                    <a:gd name="T12" fmla="*/ 7 w 8"/>
                    <a:gd name="T13" fmla="*/ 8 h 9"/>
                    <a:gd name="T14" fmla="*/ 7 w 8"/>
                    <a:gd name="T15" fmla="*/ 8 h 9"/>
                    <a:gd name="T16" fmla="*/ 7 w 8"/>
                    <a:gd name="T17" fmla="*/ 3 h 9"/>
                    <a:gd name="T18" fmla="*/ 4 w 8"/>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9">
                      <a:moveTo>
                        <a:pt x="4" y="0"/>
                      </a:moveTo>
                      <a:cubicBezTo>
                        <a:pt x="4" y="0"/>
                        <a:pt x="4" y="0"/>
                        <a:pt x="4" y="0"/>
                      </a:cubicBezTo>
                      <a:cubicBezTo>
                        <a:pt x="1" y="3"/>
                        <a:pt x="1" y="3"/>
                        <a:pt x="1" y="3"/>
                      </a:cubicBezTo>
                      <a:cubicBezTo>
                        <a:pt x="0" y="3"/>
                        <a:pt x="0" y="4"/>
                        <a:pt x="0" y="5"/>
                      </a:cubicBezTo>
                      <a:cubicBezTo>
                        <a:pt x="0" y="6"/>
                        <a:pt x="0" y="7"/>
                        <a:pt x="1" y="8"/>
                      </a:cubicBezTo>
                      <a:cubicBezTo>
                        <a:pt x="2" y="9"/>
                        <a:pt x="3" y="9"/>
                        <a:pt x="4" y="9"/>
                      </a:cubicBezTo>
                      <a:cubicBezTo>
                        <a:pt x="5" y="9"/>
                        <a:pt x="6" y="9"/>
                        <a:pt x="7" y="8"/>
                      </a:cubicBezTo>
                      <a:cubicBezTo>
                        <a:pt x="7" y="8"/>
                        <a:pt x="7" y="8"/>
                        <a:pt x="7" y="8"/>
                      </a:cubicBezTo>
                      <a:cubicBezTo>
                        <a:pt x="8" y="7"/>
                        <a:pt x="8" y="4"/>
                        <a:pt x="7" y="3"/>
                      </a:cubicBezTo>
                      <a:cubicBezTo>
                        <a:pt x="4" y="0"/>
                        <a:pt x="4" y="0"/>
                        <a:pt x="4" y="0"/>
                      </a:cubicBezTo>
                    </a:path>
                  </a:pathLst>
                </a:custGeom>
                <a:solidFill>
                  <a:srgbClr val="008C44"/>
                </a:solidFill>
                <a:ln w="3175">
                  <a:solidFill>
                    <a:srgbClr val="008C44"/>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585"/>
                <p:cNvSpPr>
                  <a:spLocks/>
                </p:cNvSpPr>
                <p:nvPr/>
              </p:nvSpPr>
              <p:spPr bwMode="auto">
                <a:xfrm>
                  <a:off x="4664312" y="1360735"/>
                  <a:ext cx="296884" cy="533835"/>
                </a:xfrm>
                <a:custGeom>
                  <a:avLst/>
                  <a:gdLst>
                    <a:gd name="T0" fmla="*/ 57 w 90"/>
                    <a:gd name="T1" fmla="*/ 0 h 162"/>
                    <a:gd name="T2" fmla="*/ 48 w 90"/>
                    <a:gd name="T3" fmla="*/ 1 h 162"/>
                    <a:gd name="T4" fmla="*/ 44 w 90"/>
                    <a:gd name="T5" fmla="*/ 3 h 162"/>
                    <a:gd name="T6" fmla="*/ 0 w 90"/>
                    <a:gd name="T7" fmla="*/ 43 h 162"/>
                    <a:gd name="T8" fmla="*/ 13 w 90"/>
                    <a:gd name="T9" fmla="*/ 78 h 162"/>
                    <a:gd name="T10" fmla="*/ 0 w 90"/>
                    <a:gd name="T11" fmla="*/ 133 h 162"/>
                    <a:gd name="T12" fmla="*/ 18 w 90"/>
                    <a:gd name="T13" fmla="*/ 155 h 162"/>
                    <a:gd name="T14" fmla="*/ 28 w 90"/>
                    <a:gd name="T15" fmla="*/ 161 h 162"/>
                    <a:gd name="T16" fmla="*/ 37 w 90"/>
                    <a:gd name="T17" fmla="*/ 162 h 162"/>
                    <a:gd name="T18" fmla="*/ 58 w 90"/>
                    <a:gd name="T19" fmla="*/ 153 h 162"/>
                    <a:gd name="T20" fmla="*/ 57 w 90"/>
                    <a:gd name="T21" fmla="*/ 112 h 162"/>
                    <a:gd name="T22" fmla="*/ 44 w 90"/>
                    <a:gd name="T23" fmla="*/ 85 h 162"/>
                    <a:gd name="T24" fmla="*/ 71 w 90"/>
                    <a:gd name="T25" fmla="*/ 54 h 162"/>
                    <a:gd name="T26" fmla="*/ 82 w 90"/>
                    <a:gd name="T27" fmla="*/ 15 h 162"/>
                    <a:gd name="T28" fmla="*/ 65 w 90"/>
                    <a:gd name="T29" fmla="*/ 1 h 162"/>
                    <a:gd name="T30" fmla="*/ 57 w 90"/>
                    <a:gd name="T3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62">
                      <a:moveTo>
                        <a:pt x="57" y="0"/>
                      </a:moveTo>
                      <a:cubicBezTo>
                        <a:pt x="54" y="0"/>
                        <a:pt x="51" y="0"/>
                        <a:pt x="48" y="1"/>
                      </a:cubicBezTo>
                      <a:cubicBezTo>
                        <a:pt x="47" y="1"/>
                        <a:pt x="45" y="2"/>
                        <a:pt x="44" y="3"/>
                      </a:cubicBezTo>
                      <a:cubicBezTo>
                        <a:pt x="25" y="13"/>
                        <a:pt x="10" y="27"/>
                        <a:pt x="0" y="43"/>
                      </a:cubicBezTo>
                      <a:cubicBezTo>
                        <a:pt x="7" y="54"/>
                        <a:pt x="11" y="65"/>
                        <a:pt x="13" y="78"/>
                      </a:cubicBezTo>
                      <a:cubicBezTo>
                        <a:pt x="15" y="97"/>
                        <a:pt x="11" y="116"/>
                        <a:pt x="0" y="133"/>
                      </a:cubicBezTo>
                      <a:cubicBezTo>
                        <a:pt x="5" y="141"/>
                        <a:pt x="11" y="148"/>
                        <a:pt x="18" y="155"/>
                      </a:cubicBezTo>
                      <a:cubicBezTo>
                        <a:pt x="21" y="158"/>
                        <a:pt x="25" y="160"/>
                        <a:pt x="28" y="161"/>
                      </a:cubicBezTo>
                      <a:cubicBezTo>
                        <a:pt x="31" y="162"/>
                        <a:pt x="34" y="162"/>
                        <a:pt x="37" y="162"/>
                      </a:cubicBezTo>
                      <a:cubicBezTo>
                        <a:pt x="45" y="162"/>
                        <a:pt x="53" y="159"/>
                        <a:pt x="58" y="153"/>
                      </a:cubicBezTo>
                      <a:cubicBezTo>
                        <a:pt x="69" y="141"/>
                        <a:pt x="69" y="123"/>
                        <a:pt x="57" y="112"/>
                      </a:cubicBezTo>
                      <a:cubicBezTo>
                        <a:pt x="50" y="106"/>
                        <a:pt x="43" y="97"/>
                        <a:pt x="44" y="85"/>
                      </a:cubicBezTo>
                      <a:cubicBezTo>
                        <a:pt x="46" y="73"/>
                        <a:pt x="55" y="62"/>
                        <a:pt x="71" y="54"/>
                      </a:cubicBezTo>
                      <a:cubicBezTo>
                        <a:pt x="85" y="46"/>
                        <a:pt x="90" y="29"/>
                        <a:pt x="82" y="15"/>
                      </a:cubicBezTo>
                      <a:cubicBezTo>
                        <a:pt x="79" y="8"/>
                        <a:pt x="72" y="3"/>
                        <a:pt x="65" y="1"/>
                      </a:cubicBezTo>
                      <a:cubicBezTo>
                        <a:pt x="62" y="0"/>
                        <a:pt x="60" y="0"/>
                        <a:pt x="57" y="0"/>
                      </a:cubicBezTo>
                    </a:path>
                  </a:pathLst>
                </a:custGeom>
                <a:solidFill>
                  <a:schemeClr val="accent2">
                    <a:lumMod val="60000"/>
                    <a:lumOff val="40000"/>
                  </a:schemeClr>
                </a:solidFill>
                <a:ln w="317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581"/>
                <p:cNvSpPr>
                  <a:spLocks/>
                </p:cNvSpPr>
                <p:nvPr/>
              </p:nvSpPr>
              <p:spPr bwMode="auto">
                <a:xfrm>
                  <a:off x="4364639" y="1360735"/>
                  <a:ext cx="299672" cy="533835"/>
                </a:xfrm>
                <a:custGeom>
                  <a:avLst/>
                  <a:gdLst>
                    <a:gd name="T0" fmla="*/ 33 w 91"/>
                    <a:gd name="T1" fmla="*/ 0 h 162"/>
                    <a:gd name="T2" fmla="*/ 24 w 91"/>
                    <a:gd name="T3" fmla="*/ 1 h 162"/>
                    <a:gd name="T4" fmla="*/ 8 w 91"/>
                    <a:gd name="T5" fmla="*/ 15 h 162"/>
                    <a:gd name="T6" fmla="*/ 20 w 91"/>
                    <a:gd name="T7" fmla="*/ 54 h 162"/>
                    <a:gd name="T8" fmla="*/ 46 w 91"/>
                    <a:gd name="T9" fmla="*/ 85 h 162"/>
                    <a:gd name="T10" fmla="*/ 34 w 91"/>
                    <a:gd name="T11" fmla="*/ 112 h 162"/>
                    <a:gd name="T12" fmla="*/ 32 w 91"/>
                    <a:gd name="T13" fmla="*/ 153 h 162"/>
                    <a:gd name="T14" fmla="*/ 43 w 91"/>
                    <a:gd name="T15" fmla="*/ 161 h 162"/>
                    <a:gd name="T16" fmla="*/ 53 w 91"/>
                    <a:gd name="T17" fmla="*/ 162 h 162"/>
                    <a:gd name="T18" fmla="*/ 72 w 91"/>
                    <a:gd name="T19" fmla="*/ 155 h 162"/>
                    <a:gd name="T20" fmla="*/ 90 w 91"/>
                    <a:gd name="T21" fmla="*/ 133 h 162"/>
                    <a:gd name="T22" fmla="*/ 90 w 91"/>
                    <a:gd name="T23" fmla="*/ 133 h 162"/>
                    <a:gd name="T24" fmla="*/ 91 w 91"/>
                    <a:gd name="T25" fmla="*/ 133 h 162"/>
                    <a:gd name="T26" fmla="*/ 91 w 91"/>
                    <a:gd name="T27" fmla="*/ 134 h 162"/>
                    <a:gd name="T28" fmla="*/ 91 w 91"/>
                    <a:gd name="T29" fmla="*/ 133 h 162"/>
                    <a:gd name="T30" fmla="*/ 78 w 91"/>
                    <a:gd name="T31" fmla="*/ 78 h 162"/>
                    <a:gd name="T32" fmla="*/ 91 w 91"/>
                    <a:gd name="T33" fmla="*/ 43 h 162"/>
                    <a:gd name="T34" fmla="*/ 91 w 91"/>
                    <a:gd name="T35" fmla="*/ 42 h 162"/>
                    <a:gd name="T36" fmla="*/ 91 w 91"/>
                    <a:gd name="T37" fmla="*/ 43 h 162"/>
                    <a:gd name="T38" fmla="*/ 90 w 91"/>
                    <a:gd name="T39" fmla="*/ 43 h 162"/>
                    <a:gd name="T40" fmla="*/ 90 w 91"/>
                    <a:gd name="T41" fmla="*/ 43 h 162"/>
                    <a:gd name="T42" fmla="*/ 47 w 91"/>
                    <a:gd name="T43" fmla="*/ 3 h 162"/>
                    <a:gd name="T44" fmla="*/ 33 w 91"/>
                    <a:gd name="T4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1" h="162">
                      <a:moveTo>
                        <a:pt x="33" y="0"/>
                      </a:moveTo>
                      <a:cubicBezTo>
                        <a:pt x="30" y="0"/>
                        <a:pt x="27" y="0"/>
                        <a:pt x="24" y="1"/>
                      </a:cubicBezTo>
                      <a:cubicBezTo>
                        <a:pt x="17" y="4"/>
                        <a:pt x="12" y="8"/>
                        <a:pt x="8" y="15"/>
                      </a:cubicBezTo>
                      <a:cubicBezTo>
                        <a:pt x="0" y="29"/>
                        <a:pt x="6" y="46"/>
                        <a:pt x="20" y="54"/>
                      </a:cubicBezTo>
                      <a:cubicBezTo>
                        <a:pt x="35" y="62"/>
                        <a:pt x="45" y="74"/>
                        <a:pt x="46" y="85"/>
                      </a:cubicBezTo>
                      <a:cubicBezTo>
                        <a:pt x="47" y="97"/>
                        <a:pt x="40" y="106"/>
                        <a:pt x="34" y="112"/>
                      </a:cubicBezTo>
                      <a:cubicBezTo>
                        <a:pt x="22" y="123"/>
                        <a:pt x="21" y="141"/>
                        <a:pt x="32" y="153"/>
                      </a:cubicBezTo>
                      <a:cubicBezTo>
                        <a:pt x="35" y="157"/>
                        <a:pt x="39" y="159"/>
                        <a:pt x="43" y="161"/>
                      </a:cubicBezTo>
                      <a:cubicBezTo>
                        <a:pt x="46" y="162"/>
                        <a:pt x="49" y="162"/>
                        <a:pt x="53" y="162"/>
                      </a:cubicBezTo>
                      <a:cubicBezTo>
                        <a:pt x="60" y="162"/>
                        <a:pt x="67" y="160"/>
                        <a:pt x="72" y="155"/>
                      </a:cubicBezTo>
                      <a:cubicBezTo>
                        <a:pt x="79" y="148"/>
                        <a:pt x="86" y="141"/>
                        <a:pt x="90" y="133"/>
                      </a:cubicBezTo>
                      <a:cubicBezTo>
                        <a:pt x="90" y="133"/>
                        <a:pt x="90" y="133"/>
                        <a:pt x="90" y="133"/>
                      </a:cubicBezTo>
                      <a:cubicBezTo>
                        <a:pt x="91" y="133"/>
                        <a:pt x="91" y="133"/>
                        <a:pt x="91" y="133"/>
                      </a:cubicBezTo>
                      <a:cubicBezTo>
                        <a:pt x="91" y="133"/>
                        <a:pt x="91" y="133"/>
                        <a:pt x="91" y="134"/>
                      </a:cubicBezTo>
                      <a:cubicBezTo>
                        <a:pt x="91" y="133"/>
                        <a:pt x="91" y="133"/>
                        <a:pt x="91" y="133"/>
                      </a:cubicBezTo>
                      <a:cubicBezTo>
                        <a:pt x="80" y="116"/>
                        <a:pt x="76" y="97"/>
                        <a:pt x="78" y="78"/>
                      </a:cubicBezTo>
                      <a:cubicBezTo>
                        <a:pt x="80" y="65"/>
                        <a:pt x="84" y="54"/>
                        <a:pt x="91" y="43"/>
                      </a:cubicBezTo>
                      <a:cubicBezTo>
                        <a:pt x="91" y="43"/>
                        <a:pt x="91" y="43"/>
                        <a:pt x="91" y="42"/>
                      </a:cubicBezTo>
                      <a:cubicBezTo>
                        <a:pt x="91" y="43"/>
                        <a:pt x="91" y="43"/>
                        <a:pt x="91" y="43"/>
                      </a:cubicBezTo>
                      <a:cubicBezTo>
                        <a:pt x="90" y="43"/>
                        <a:pt x="90" y="43"/>
                        <a:pt x="90" y="43"/>
                      </a:cubicBezTo>
                      <a:cubicBezTo>
                        <a:pt x="90" y="43"/>
                        <a:pt x="90" y="43"/>
                        <a:pt x="90" y="43"/>
                      </a:cubicBezTo>
                      <a:cubicBezTo>
                        <a:pt x="81" y="27"/>
                        <a:pt x="65" y="13"/>
                        <a:pt x="47" y="3"/>
                      </a:cubicBezTo>
                      <a:cubicBezTo>
                        <a:pt x="43" y="1"/>
                        <a:pt x="38" y="0"/>
                        <a:pt x="33" y="0"/>
                      </a:cubicBezTo>
                    </a:path>
                  </a:pathLst>
                </a:custGeom>
                <a:solidFill>
                  <a:srgbClr val="91E9FF"/>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87"/>
                <p:cNvSpPr>
                  <a:spLocks/>
                </p:cNvSpPr>
                <p:nvPr/>
              </p:nvSpPr>
              <p:spPr bwMode="auto">
                <a:xfrm>
                  <a:off x="4615528" y="1501512"/>
                  <a:ext cx="98962" cy="296886"/>
                </a:xfrm>
                <a:custGeom>
                  <a:avLst/>
                  <a:gdLst>
                    <a:gd name="T0" fmla="*/ 15 w 30"/>
                    <a:gd name="T1" fmla="*/ 0 h 90"/>
                    <a:gd name="T2" fmla="*/ 2 w 30"/>
                    <a:gd name="T3" fmla="*/ 35 h 90"/>
                    <a:gd name="T4" fmla="*/ 15 w 30"/>
                    <a:gd name="T5" fmla="*/ 90 h 90"/>
                    <a:gd name="T6" fmla="*/ 28 w 30"/>
                    <a:gd name="T7" fmla="*/ 35 h 90"/>
                    <a:gd name="T8" fmla="*/ 15 w 30"/>
                    <a:gd name="T9" fmla="*/ 0 h 90"/>
                  </a:gdLst>
                  <a:ahLst/>
                  <a:cxnLst>
                    <a:cxn ang="0">
                      <a:pos x="T0" y="T1"/>
                    </a:cxn>
                    <a:cxn ang="0">
                      <a:pos x="T2" y="T3"/>
                    </a:cxn>
                    <a:cxn ang="0">
                      <a:pos x="T4" y="T5"/>
                    </a:cxn>
                    <a:cxn ang="0">
                      <a:pos x="T6" y="T7"/>
                    </a:cxn>
                    <a:cxn ang="0">
                      <a:pos x="T8" y="T9"/>
                    </a:cxn>
                  </a:cxnLst>
                  <a:rect l="0" t="0" r="r" b="b"/>
                  <a:pathLst>
                    <a:path w="30" h="90">
                      <a:moveTo>
                        <a:pt x="15" y="0"/>
                      </a:moveTo>
                      <a:cubicBezTo>
                        <a:pt x="8" y="11"/>
                        <a:pt x="4" y="22"/>
                        <a:pt x="2" y="35"/>
                      </a:cubicBezTo>
                      <a:cubicBezTo>
                        <a:pt x="0" y="54"/>
                        <a:pt x="4" y="73"/>
                        <a:pt x="15" y="90"/>
                      </a:cubicBezTo>
                      <a:cubicBezTo>
                        <a:pt x="26" y="73"/>
                        <a:pt x="30" y="54"/>
                        <a:pt x="28" y="35"/>
                      </a:cubicBezTo>
                      <a:cubicBezTo>
                        <a:pt x="26" y="22"/>
                        <a:pt x="22" y="11"/>
                        <a:pt x="15" y="0"/>
                      </a:cubicBezTo>
                    </a:path>
                  </a:pathLst>
                </a:custGeom>
                <a:solidFill>
                  <a:srgbClr val="008C44"/>
                </a:solidFill>
                <a:ln w="3175">
                  <a:solidFill>
                    <a:srgbClr val="008C44"/>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7" name="TextBox 6"/>
            <p:cNvSpPr txBox="1"/>
            <p:nvPr/>
          </p:nvSpPr>
          <p:spPr>
            <a:xfrm>
              <a:off x="743082" y="2308786"/>
              <a:ext cx="864340" cy="646331"/>
            </a:xfrm>
            <a:prstGeom prst="rect">
              <a:avLst/>
            </a:prstGeom>
            <a:noFill/>
          </p:spPr>
          <p:txBody>
            <a:bodyPr wrap="none" rtlCol="0">
              <a:spAutoFit/>
            </a:bodyPr>
            <a:lstStyle/>
            <a:p>
              <a:pPr algn="ctr"/>
              <a:r>
                <a:rPr lang="en-US" dirty="0">
                  <a:solidFill>
                    <a:schemeClr val="tx2"/>
                  </a:solidFill>
                  <a:latin typeface="+mn-lt"/>
                </a:rPr>
                <a:t>Cisco</a:t>
              </a:r>
            </a:p>
            <a:p>
              <a:pPr algn="ctr"/>
              <a:r>
                <a:rPr lang="en-US" dirty="0">
                  <a:solidFill>
                    <a:schemeClr val="tx2"/>
                  </a:solidFill>
                  <a:latin typeface="+mn-lt"/>
                </a:rPr>
                <a:t>Silicon</a:t>
              </a:r>
            </a:p>
          </p:txBody>
        </p:sp>
        <p:sp>
          <p:nvSpPr>
            <p:cNvPr id="51" name="TextBox 50"/>
            <p:cNvSpPr txBox="1"/>
            <p:nvPr/>
          </p:nvSpPr>
          <p:spPr>
            <a:xfrm>
              <a:off x="2973707" y="2308786"/>
              <a:ext cx="774571" cy="646331"/>
            </a:xfrm>
            <a:prstGeom prst="rect">
              <a:avLst/>
            </a:prstGeom>
            <a:noFill/>
          </p:spPr>
          <p:txBody>
            <a:bodyPr wrap="none" rtlCol="0">
              <a:spAutoFit/>
            </a:bodyPr>
            <a:lstStyle/>
            <a:p>
              <a:pPr algn="ctr"/>
              <a:r>
                <a:rPr lang="en-US" dirty="0">
                  <a:solidFill>
                    <a:schemeClr val="bg2"/>
                  </a:solidFill>
                  <a:latin typeface="CiscoSansTT ExtraLight" panose="020B0303020201020303" pitchFamily="34" charset="0"/>
                  <a:cs typeface="CiscoSansTT ExtraLight" panose="020B0303020201020303" pitchFamily="34" charset="0"/>
                </a:rPr>
                <a:t>4 in 1</a:t>
              </a:r>
            </a:p>
            <a:p>
              <a:pPr algn="ctr"/>
              <a:r>
                <a:rPr lang="en-US" dirty="0">
                  <a:solidFill>
                    <a:schemeClr val="bg2"/>
                  </a:solidFill>
                  <a:latin typeface="CiscoSansTT ExtraLight" panose="020B0303020201020303" pitchFamily="34" charset="0"/>
                  <a:cs typeface="CiscoSansTT ExtraLight" panose="020B0303020201020303" pitchFamily="34" charset="0"/>
                </a:rPr>
                <a:t>Chip</a:t>
              </a:r>
            </a:p>
          </p:txBody>
        </p:sp>
      </p:grpSp>
      <p:sp>
        <p:nvSpPr>
          <p:cNvPr id="12" name="TextBox 11"/>
          <p:cNvSpPr txBox="1"/>
          <p:nvPr/>
        </p:nvSpPr>
        <p:spPr>
          <a:xfrm>
            <a:off x="197185" y="3287972"/>
            <a:ext cx="4289957" cy="1384995"/>
          </a:xfrm>
          <a:prstGeom prst="rect">
            <a:avLst/>
          </a:prstGeom>
          <a:noFill/>
        </p:spPr>
        <p:txBody>
          <a:bodyPr wrap="none" rtlCol="0">
            <a:spAutoFit/>
          </a:bodyPr>
          <a:lstStyle/>
          <a:p>
            <a:pPr algn="ctr" defTabSz="684196">
              <a:spcBef>
                <a:spcPts val="1110"/>
              </a:spcBef>
              <a:buClr>
                <a:schemeClr val="bg1">
                  <a:lumMod val="75000"/>
                </a:schemeClr>
              </a:buClr>
              <a:buSzPct val="80000"/>
            </a:pPr>
            <a: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t>Custom Silicon for best breed </a:t>
            </a:r>
            <a:b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br>
            <a: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t>Programmable • higher throughput • faster speeds</a:t>
            </a:r>
            <a:b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br>
            <a: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t>multi-dimensional features • scale • </a:t>
            </a:r>
            <a:b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br>
            <a: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t>lower power and cost per bit</a:t>
            </a:r>
            <a:b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br>
            <a:b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br>
            <a:r>
              <a:rPr lang="en-US" sz="1400" dirty="0">
                <a:solidFill>
                  <a:schemeClr val="bg1"/>
                </a:solidFill>
                <a:latin typeface="CiscoSansTT ExtraLight" panose="020B0303020201020303" pitchFamily="34" charset="0"/>
                <a:ea typeface="CiscoSansTT Thin" charset="0"/>
                <a:cs typeface="CiscoSansTT ExtraLight" panose="020B0303020201020303" pitchFamily="34" charset="0"/>
              </a:rPr>
              <a:t>Leading the evolution from 100G to 400G</a:t>
            </a:r>
            <a:endParaRPr lang="en-US" sz="1050" dirty="0">
              <a:solidFill>
                <a:schemeClr val="bg1"/>
              </a:solidFill>
              <a:latin typeface="CiscoSansTT ExtraLight" panose="020B0303020201020303" pitchFamily="34" charset="0"/>
              <a:ea typeface="CiscoSansTT Thin" charset="0"/>
              <a:cs typeface="CiscoSansTT ExtraLight" panose="020B0303020201020303" pitchFamily="34" charset="0"/>
            </a:endParaRPr>
          </a:p>
        </p:txBody>
      </p:sp>
    </p:spTree>
    <p:extLst>
      <p:ext uri="{BB962C8B-B14F-4D97-AF65-F5344CB8AC3E}">
        <p14:creationId xmlns:p14="http://schemas.microsoft.com/office/powerpoint/2010/main" val="32121386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26557" t="258" r="24043" b="-258"/>
          <a:stretch/>
        </p:blipFill>
        <p:spPr>
          <a:xfrm>
            <a:off x="4579883" y="-12030"/>
            <a:ext cx="4564119" cy="5167559"/>
          </a:xfrm>
          <a:prstGeom prst="rect">
            <a:avLst/>
          </a:prstGeom>
        </p:spPr>
      </p:pic>
      <p:sp>
        <p:nvSpPr>
          <p:cNvPr id="39" name="Rectangle 38"/>
          <p:cNvSpPr/>
          <p:nvPr/>
        </p:nvSpPr>
        <p:spPr>
          <a:xfrm>
            <a:off x="4579884" y="-12030"/>
            <a:ext cx="4564117" cy="5155530"/>
          </a:xfrm>
          <a:prstGeom prst="rect">
            <a:avLst/>
          </a:prstGeom>
          <a:gradFill flip="none" rotWithShape="1">
            <a:gsLst>
              <a:gs pos="0">
                <a:schemeClr val="bg2">
                  <a:alpha val="88000"/>
                </a:schemeClr>
              </a:gs>
              <a:gs pos="100000">
                <a:schemeClr val="bg2">
                  <a:shade val="100000"/>
                  <a:satMod val="115000"/>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Optics Innovation</a:t>
            </a:r>
          </a:p>
        </p:txBody>
      </p:sp>
      <p:grpSp>
        <p:nvGrpSpPr>
          <p:cNvPr id="17" name="Group 16"/>
          <p:cNvGrpSpPr/>
          <p:nvPr/>
        </p:nvGrpSpPr>
        <p:grpSpPr>
          <a:xfrm>
            <a:off x="1121883" y="1063553"/>
            <a:ext cx="2298671" cy="2197833"/>
            <a:chOff x="-2348947" y="1478890"/>
            <a:chExt cx="3173285" cy="3091126"/>
          </a:xfrm>
        </p:grpSpPr>
        <p:sp>
          <p:nvSpPr>
            <p:cNvPr id="75" name="Chord 4"/>
            <p:cNvSpPr/>
            <p:nvPr/>
          </p:nvSpPr>
          <p:spPr>
            <a:xfrm rot="21053988">
              <a:off x="-2348947" y="2724455"/>
              <a:ext cx="1532195" cy="1781928"/>
            </a:xfrm>
            <a:custGeom>
              <a:avLst/>
              <a:gdLst>
                <a:gd name="connsiteX0" fmla="*/ 1929237 w 2260242"/>
                <a:gd name="connsiteY0" fmla="*/ 1929237 h 2260242"/>
                <a:gd name="connsiteX1" fmla="*/ 692934 w 2260242"/>
                <a:gd name="connsiteY1" fmla="*/ 2172254 h 2260242"/>
                <a:gd name="connsiteX2" fmla="*/ 46 w 2260242"/>
                <a:gd name="connsiteY2" fmla="*/ 1119919 h 2260242"/>
                <a:gd name="connsiteX3" fmla="*/ 711820 w 2260242"/>
                <a:gd name="connsiteY3" fmla="*/ 80265 h 2260242"/>
                <a:gd name="connsiteX4" fmla="*/ 1943534 w 2260242"/>
                <a:gd name="connsiteY4" fmla="*/ 345562 h 2260242"/>
                <a:gd name="connsiteX5" fmla="*/ 1929237 w 2260242"/>
                <a:gd name="connsiteY5" fmla="*/ 1929237 h 2260242"/>
                <a:gd name="connsiteX0" fmla="*/ 1929237 w 1943534"/>
                <a:gd name="connsiteY0" fmla="*/ 1929274 h 2260312"/>
                <a:gd name="connsiteX1" fmla="*/ 692934 w 1943534"/>
                <a:gd name="connsiteY1" fmla="*/ 2172291 h 2260312"/>
                <a:gd name="connsiteX2" fmla="*/ 46 w 1943534"/>
                <a:gd name="connsiteY2" fmla="*/ 1119956 h 2260312"/>
                <a:gd name="connsiteX3" fmla="*/ 711820 w 1943534"/>
                <a:gd name="connsiteY3" fmla="*/ 80302 h 2260312"/>
                <a:gd name="connsiteX4" fmla="*/ 1943534 w 1943534"/>
                <a:gd name="connsiteY4" fmla="*/ 345599 h 2260312"/>
                <a:gd name="connsiteX5" fmla="*/ 1929237 w 1943534"/>
                <a:gd name="connsiteY5" fmla="*/ 1929274 h 2260312"/>
                <a:gd name="connsiteX0" fmla="*/ 1929237 w 1943534"/>
                <a:gd name="connsiteY0" fmla="*/ 1929274 h 2260312"/>
                <a:gd name="connsiteX1" fmla="*/ 692934 w 1943534"/>
                <a:gd name="connsiteY1" fmla="*/ 2172291 h 2260312"/>
                <a:gd name="connsiteX2" fmla="*/ 46 w 1943534"/>
                <a:gd name="connsiteY2" fmla="*/ 1119956 h 2260312"/>
                <a:gd name="connsiteX3" fmla="*/ 711820 w 1943534"/>
                <a:gd name="connsiteY3" fmla="*/ 80302 h 2260312"/>
                <a:gd name="connsiteX4" fmla="*/ 1943534 w 1943534"/>
                <a:gd name="connsiteY4" fmla="*/ 345599 h 2260312"/>
                <a:gd name="connsiteX5" fmla="*/ 1929237 w 1943534"/>
                <a:gd name="connsiteY5" fmla="*/ 1929274 h 2260312"/>
                <a:gd name="connsiteX0" fmla="*/ 1929237 w 1943534"/>
                <a:gd name="connsiteY0" fmla="*/ 1929274 h 2260312"/>
                <a:gd name="connsiteX1" fmla="*/ 692934 w 1943534"/>
                <a:gd name="connsiteY1" fmla="*/ 2172291 h 2260312"/>
                <a:gd name="connsiteX2" fmla="*/ 46 w 1943534"/>
                <a:gd name="connsiteY2" fmla="*/ 1119956 h 2260312"/>
                <a:gd name="connsiteX3" fmla="*/ 711820 w 1943534"/>
                <a:gd name="connsiteY3" fmla="*/ 80302 h 2260312"/>
                <a:gd name="connsiteX4" fmla="*/ 1943534 w 1943534"/>
                <a:gd name="connsiteY4" fmla="*/ 345599 h 2260312"/>
                <a:gd name="connsiteX5" fmla="*/ 1929237 w 1943534"/>
                <a:gd name="connsiteY5" fmla="*/ 1929274 h 226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534" h="2260312">
                  <a:moveTo>
                    <a:pt x="1929237" y="1929274"/>
                  </a:moveTo>
                  <a:cubicBezTo>
                    <a:pt x="1604711" y="2253800"/>
                    <a:pt x="1116150" y="2349835"/>
                    <a:pt x="692934" y="2172291"/>
                  </a:cubicBezTo>
                  <a:cubicBezTo>
                    <a:pt x="269718" y="1994747"/>
                    <a:pt x="-4097" y="1578886"/>
                    <a:pt x="46" y="1119956"/>
                  </a:cubicBezTo>
                  <a:cubicBezTo>
                    <a:pt x="4189" y="661026"/>
                    <a:pt x="285467" y="250176"/>
                    <a:pt x="711820" y="80302"/>
                  </a:cubicBezTo>
                  <a:cubicBezTo>
                    <a:pt x="1138173" y="-89573"/>
                    <a:pt x="1624920" y="15267"/>
                    <a:pt x="1943534" y="345599"/>
                  </a:cubicBezTo>
                  <a:cubicBezTo>
                    <a:pt x="863383" y="648111"/>
                    <a:pt x="1083997" y="1749112"/>
                    <a:pt x="1929237" y="1929274"/>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sp>
          <p:nvSpPr>
            <p:cNvPr id="76" name="Chord 4"/>
            <p:cNvSpPr/>
            <p:nvPr/>
          </p:nvSpPr>
          <p:spPr>
            <a:xfrm rot="6573276">
              <a:off x="-1603612" y="1354023"/>
              <a:ext cx="1532194" cy="1781928"/>
            </a:xfrm>
            <a:custGeom>
              <a:avLst/>
              <a:gdLst>
                <a:gd name="connsiteX0" fmla="*/ 1929237 w 2260242"/>
                <a:gd name="connsiteY0" fmla="*/ 1929237 h 2260242"/>
                <a:gd name="connsiteX1" fmla="*/ 692934 w 2260242"/>
                <a:gd name="connsiteY1" fmla="*/ 2172254 h 2260242"/>
                <a:gd name="connsiteX2" fmla="*/ 46 w 2260242"/>
                <a:gd name="connsiteY2" fmla="*/ 1119919 h 2260242"/>
                <a:gd name="connsiteX3" fmla="*/ 711820 w 2260242"/>
                <a:gd name="connsiteY3" fmla="*/ 80265 h 2260242"/>
                <a:gd name="connsiteX4" fmla="*/ 1943534 w 2260242"/>
                <a:gd name="connsiteY4" fmla="*/ 345562 h 2260242"/>
                <a:gd name="connsiteX5" fmla="*/ 1929237 w 2260242"/>
                <a:gd name="connsiteY5" fmla="*/ 1929237 h 2260242"/>
                <a:gd name="connsiteX0" fmla="*/ 1929237 w 1943534"/>
                <a:gd name="connsiteY0" fmla="*/ 1929274 h 2260312"/>
                <a:gd name="connsiteX1" fmla="*/ 692934 w 1943534"/>
                <a:gd name="connsiteY1" fmla="*/ 2172291 h 2260312"/>
                <a:gd name="connsiteX2" fmla="*/ 46 w 1943534"/>
                <a:gd name="connsiteY2" fmla="*/ 1119956 h 2260312"/>
                <a:gd name="connsiteX3" fmla="*/ 711820 w 1943534"/>
                <a:gd name="connsiteY3" fmla="*/ 80302 h 2260312"/>
                <a:gd name="connsiteX4" fmla="*/ 1943534 w 1943534"/>
                <a:gd name="connsiteY4" fmla="*/ 345599 h 2260312"/>
                <a:gd name="connsiteX5" fmla="*/ 1929237 w 1943534"/>
                <a:gd name="connsiteY5" fmla="*/ 1929274 h 2260312"/>
                <a:gd name="connsiteX0" fmla="*/ 1929237 w 1943534"/>
                <a:gd name="connsiteY0" fmla="*/ 1929274 h 2260312"/>
                <a:gd name="connsiteX1" fmla="*/ 692934 w 1943534"/>
                <a:gd name="connsiteY1" fmla="*/ 2172291 h 2260312"/>
                <a:gd name="connsiteX2" fmla="*/ 46 w 1943534"/>
                <a:gd name="connsiteY2" fmla="*/ 1119956 h 2260312"/>
                <a:gd name="connsiteX3" fmla="*/ 711820 w 1943534"/>
                <a:gd name="connsiteY3" fmla="*/ 80302 h 2260312"/>
                <a:gd name="connsiteX4" fmla="*/ 1943534 w 1943534"/>
                <a:gd name="connsiteY4" fmla="*/ 345599 h 2260312"/>
                <a:gd name="connsiteX5" fmla="*/ 1929237 w 1943534"/>
                <a:gd name="connsiteY5" fmla="*/ 1929274 h 2260312"/>
                <a:gd name="connsiteX0" fmla="*/ 1929237 w 1943534"/>
                <a:gd name="connsiteY0" fmla="*/ 1929274 h 2260312"/>
                <a:gd name="connsiteX1" fmla="*/ 692934 w 1943534"/>
                <a:gd name="connsiteY1" fmla="*/ 2172291 h 2260312"/>
                <a:gd name="connsiteX2" fmla="*/ 46 w 1943534"/>
                <a:gd name="connsiteY2" fmla="*/ 1119956 h 2260312"/>
                <a:gd name="connsiteX3" fmla="*/ 711820 w 1943534"/>
                <a:gd name="connsiteY3" fmla="*/ 80302 h 2260312"/>
                <a:gd name="connsiteX4" fmla="*/ 1943534 w 1943534"/>
                <a:gd name="connsiteY4" fmla="*/ 345599 h 2260312"/>
                <a:gd name="connsiteX5" fmla="*/ 1929237 w 1943534"/>
                <a:gd name="connsiteY5" fmla="*/ 1929274 h 226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534" h="2260312">
                  <a:moveTo>
                    <a:pt x="1929237" y="1929274"/>
                  </a:moveTo>
                  <a:cubicBezTo>
                    <a:pt x="1604711" y="2253800"/>
                    <a:pt x="1116150" y="2349835"/>
                    <a:pt x="692934" y="2172291"/>
                  </a:cubicBezTo>
                  <a:cubicBezTo>
                    <a:pt x="269718" y="1994747"/>
                    <a:pt x="-4097" y="1578886"/>
                    <a:pt x="46" y="1119956"/>
                  </a:cubicBezTo>
                  <a:cubicBezTo>
                    <a:pt x="4189" y="661026"/>
                    <a:pt x="285467" y="250176"/>
                    <a:pt x="711820" y="80302"/>
                  </a:cubicBezTo>
                  <a:cubicBezTo>
                    <a:pt x="1138173" y="-89573"/>
                    <a:pt x="1624920" y="15267"/>
                    <a:pt x="1943534" y="345599"/>
                  </a:cubicBezTo>
                  <a:cubicBezTo>
                    <a:pt x="863383" y="648111"/>
                    <a:pt x="1083997" y="1749112"/>
                    <a:pt x="1929237" y="192927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sp>
          <p:nvSpPr>
            <p:cNvPr id="77" name="Chord 4"/>
            <p:cNvSpPr/>
            <p:nvPr/>
          </p:nvSpPr>
          <p:spPr>
            <a:xfrm rot="13402571">
              <a:off x="-707857" y="2788088"/>
              <a:ext cx="1532195" cy="1781928"/>
            </a:xfrm>
            <a:custGeom>
              <a:avLst/>
              <a:gdLst>
                <a:gd name="connsiteX0" fmla="*/ 1929237 w 2260242"/>
                <a:gd name="connsiteY0" fmla="*/ 1929237 h 2260242"/>
                <a:gd name="connsiteX1" fmla="*/ 692934 w 2260242"/>
                <a:gd name="connsiteY1" fmla="*/ 2172254 h 2260242"/>
                <a:gd name="connsiteX2" fmla="*/ 46 w 2260242"/>
                <a:gd name="connsiteY2" fmla="*/ 1119919 h 2260242"/>
                <a:gd name="connsiteX3" fmla="*/ 711820 w 2260242"/>
                <a:gd name="connsiteY3" fmla="*/ 80265 h 2260242"/>
                <a:gd name="connsiteX4" fmla="*/ 1943534 w 2260242"/>
                <a:gd name="connsiteY4" fmla="*/ 345562 h 2260242"/>
                <a:gd name="connsiteX5" fmla="*/ 1929237 w 2260242"/>
                <a:gd name="connsiteY5" fmla="*/ 1929237 h 2260242"/>
                <a:gd name="connsiteX0" fmla="*/ 1929237 w 1943534"/>
                <a:gd name="connsiteY0" fmla="*/ 1929274 h 2260312"/>
                <a:gd name="connsiteX1" fmla="*/ 692934 w 1943534"/>
                <a:gd name="connsiteY1" fmla="*/ 2172291 h 2260312"/>
                <a:gd name="connsiteX2" fmla="*/ 46 w 1943534"/>
                <a:gd name="connsiteY2" fmla="*/ 1119956 h 2260312"/>
                <a:gd name="connsiteX3" fmla="*/ 711820 w 1943534"/>
                <a:gd name="connsiteY3" fmla="*/ 80302 h 2260312"/>
                <a:gd name="connsiteX4" fmla="*/ 1943534 w 1943534"/>
                <a:gd name="connsiteY4" fmla="*/ 345599 h 2260312"/>
                <a:gd name="connsiteX5" fmla="*/ 1929237 w 1943534"/>
                <a:gd name="connsiteY5" fmla="*/ 1929274 h 2260312"/>
                <a:gd name="connsiteX0" fmla="*/ 1929237 w 1943534"/>
                <a:gd name="connsiteY0" fmla="*/ 1929274 h 2260312"/>
                <a:gd name="connsiteX1" fmla="*/ 692934 w 1943534"/>
                <a:gd name="connsiteY1" fmla="*/ 2172291 h 2260312"/>
                <a:gd name="connsiteX2" fmla="*/ 46 w 1943534"/>
                <a:gd name="connsiteY2" fmla="*/ 1119956 h 2260312"/>
                <a:gd name="connsiteX3" fmla="*/ 711820 w 1943534"/>
                <a:gd name="connsiteY3" fmla="*/ 80302 h 2260312"/>
                <a:gd name="connsiteX4" fmla="*/ 1943534 w 1943534"/>
                <a:gd name="connsiteY4" fmla="*/ 345599 h 2260312"/>
                <a:gd name="connsiteX5" fmla="*/ 1929237 w 1943534"/>
                <a:gd name="connsiteY5" fmla="*/ 1929274 h 2260312"/>
                <a:gd name="connsiteX0" fmla="*/ 1929237 w 1943534"/>
                <a:gd name="connsiteY0" fmla="*/ 1929274 h 2260312"/>
                <a:gd name="connsiteX1" fmla="*/ 692934 w 1943534"/>
                <a:gd name="connsiteY1" fmla="*/ 2172291 h 2260312"/>
                <a:gd name="connsiteX2" fmla="*/ 46 w 1943534"/>
                <a:gd name="connsiteY2" fmla="*/ 1119956 h 2260312"/>
                <a:gd name="connsiteX3" fmla="*/ 711820 w 1943534"/>
                <a:gd name="connsiteY3" fmla="*/ 80302 h 2260312"/>
                <a:gd name="connsiteX4" fmla="*/ 1943534 w 1943534"/>
                <a:gd name="connsiteY4" fmla="*/ 345599 h 2260312"/>
                <a:gd name="connsiteX5" fmla="*/ 1929237 w 1943534"/>
                <a:gd name="connsiteY5" fmla="*/ 1929274 h 226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534" h="2260312">
                  <a:moveTo>
                    <a:pt x="1929237" y="1929274"/>
                  </a:moveTo>
                  <a:cubicBezTo>
                    <a:pt x="1604711" y="2253800"/>
                    <a:pt x="1116150" y="2349835"/>
                    <a:pt x="692934" y="2172291"/>
                  </a:cubicBezTo>
                  <a:cubicBezTo>
                    <a:pt x="269718" y="1994747"/>
                    <a:pt x="-4097" y="1578886"/>
                    <a:pt x="46" y="1119956"/>
                  </a:cubicBezTo>
                  <a:cubicBezTo>
                    <a:pt x="4189" y="661026"/>
                    <a:pt x="285467" y="250176"/>
                    <a:pt x="711820" y="80302"/>
                  </a:cubicBezTo>
                  <a:cubicBezTo>
                    <a:pt x="1138173" y="-89573"/>
                    <a:pt x="1624920" y="15267"/>
                    <a:pt x="1943534" y="345599"/>
                  </a:cubicBezTo>
                  <a:cubicBezTo>
                    <a:pt x="863383" y="648111"/>
                    <a:pt x="1083997" y="1749112"/>
                    <a:pt x="1929237" y="1929274"/>
                  </a:cubicBezTo>
                  <a:close/>
                </a:path>
              </a:pathLst>
            </a:custGeom>
            <a:solidFill>
              <a:srgbClr val="91E9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sp>
          <p:nvSpPr>
            <p:cNvPr id="34" name="TextBox 33">
              <a:extLst>
                <a:ext uri="{FF2B5EF4-FFF2-40B4-BE49-F238E27FC236}">
                  <a16:creationId xmlns:a16="http://schemas.microsoft.com/office/drawing/2014/main" id="{A0EDE695-D98B-1149-9984-440E7D4F9B66}"/>
                </a:ext>
              </a:extLst>
            </p:cNvPr>
            <p:cNvSpPr txBox="1"/>
            <p:nvPr/>
          </p:nvSpPr>
          <p:spPr>
            <a:xfrm>
              <a:off x="-2093355" y="3892905"/>
              <a:ext cx="825715" cy="324652"/>
            </a:xfrm>
            <a:prstGeom prst="rect">
              <a:avLst/>
            </a:prstGeom>
            <a:noFill/>
          </p:spPr>
          <p:txBody>
            <a:bodyPr wrap="square" rtlCol="0">
              <a:spAutoFit/>
            </a:bodyPr>
            <a:lstStyle/>
            <a:p>
              <a:pPr algn="ctr"/>
              <a:r>
                <a:rPr lang="en-US" sz="900" dirty="0">
                  <a:solidFill>
                    <a:schemeClr val="bg2"/>
                  </a:solidFill>
                </a:rPr>
                <a:t>Scale</a:t>
              </a:r>
            </a:p>
          </p:txBody>
        </p:sp>
        <p:sp>
          <p:nvSpPr>
            <p:cNvPr id="32" name="TextBox 31">
              <a:extLst>
                <a:ext uri="{FF2B5EF4-FFF2-40B4-BE49-F238E27FC236}">
                  <a16:creationId xmlns:a16="http://schemas.microsoft.com/office/drawing/2014/main" id="{0E4DE073-52F1-9849-B081-FEBE53237B3B}"/>
                </a:ext>
              </a:extLst>
            </p:cNvPr>
            <p:cNvSpPr txBox="1"/>
            <p:nvPr/>
          </p:nvSpPr>
          <p:spPr>
            <a:xfrm>
              <a:off x="-948276" y="1773505"/>
              <a:ext cx="949427" cy="519444"/>
            </a:xfrm>
            <a:prstGeom prst="rect">
              <a:avLst/>
            </a:prstGeom>
            <a:noFill/>
          </p:spPr>
          <p:txBody>
            <a:bodyPr wrap="square" rtlCol="0">
              <a:spAutoFit/>
            </a:bodyPr>
            <a:lstStyle/>
            <a:p>
              <a:r>
                <a:rPr lang="en-US" sz="900" dirty="0">
                  <a:solidFill>
                    <a:schemeClr val="accent3"/>
                  </a:solidFill>
                </a:rPr>
                <a:t>Lower </a:t>
              </a:r>
              <a:br>
                <a:rPr lang="en-US" sz="900" dirty="0">
                  <a:solidFill>
                    <a:schemeClr val="accent3"/>
                  </a:solidFill>
                </a:rPr>
              </a:br>
              <a:r>
                <a:rPr lang="en-US" sz="900" dirty="0">
                  <a:solidFill>
                    <a:schemeClr val="accent3"/>
                  </a:solidFill>
                </a:rPr>
                <a:t>Cost</a:t>
              </a:r>
            </a:p>
          </p:txBody>
        </p:sp>
        <p:sp>
          <p:nvSpPr>
            <p:cNvPr id="33" name="TextBox 32">
              <a:extLst>
                <a:ext uri="{FF2B5EF4-FFF2-40B4-BE49-F238E27FC236}">
                  <a16:creationId xmlns:a16="http://schemas.microsoft.com/office/drawing/2014/main" id="{30B215F4-93FA-8D44-8A25-53F7FC4AED1C}"/>
                </a:ext>
              </a:extLst>
            </p:cNvPr>
            <p:cNvSpPr txBox="1"/>
            <p:nvPr/>
          </p:nvSpPr>
          <p:spPr>
            <a:xfrm>
              <a:off x="-639980" y="3892905"/>
              <a:ext cx="1225686" cy="324652"/>
            </a:xfrm>
            <a:prstGeom prst="rect">
              <a:avLst/>
            </a:prstGeom>
            <a:noFill/>
          </p:spPr>
          <p:txBody>
            <a:bodyPr wrap="square" rtlCol="0">
              <a:spAutoFit/>
            </a:bodyPr>
            <a:lstStyle/>
            <a:p>
              <a:pPr algn="ctr"/>
              <a:r>
                <a:rPr lang="en-US" sz="900" dirty="0">
                  <a:solidFill>
                    <a:schemeClr val="tx2"/>
                  </a:solidFill>
                </a:rPr>
                <a:t>Performance</a:t>
              </a:r>
            </a:p>
          </p:txBody>
        </p:sp>
        <p:grpSp>
          <p:nvGrpSpPr>
            <p:cNvPr id="113" name="Group 82"/>
            <p:cNvGrpSpPr>
              <a:grpSpLocks noChangeAspect="1"/>
            </p:cNvGrpSpPr>
            <p:nvPr/>
          </p:nvGrpSpPr>
          <p:grpSpPr bwMode="auto">
            <a:xfrm>
              <a:off x="-1262860" y="1646757"/>
              <a:ext cx="271597" cy="611092"/>
              <a:chOff x="2772" y="1377"/>
              <a:chExt cx="216" cy="486"/>
            </a:xfrm>
          </p:grpSpPr>
          <p:sp>
            <p:nvSpPr>
              <p:cNvPr id="114" name="Freeform 83"/>
              <p:cNvSpPr>
                <a:spLocks/>
              </p:cNvSpPr>
              <p:nvPr/>
            </p:nvSpPr>
            <p:spPr bwMode="auto">
              <a:xfrm>
                <a:off x="2778" y="1745"/>
                <a:ext cx="117" cy="118"/>
              </a:xfrm>
              <a:custGeom>
                <a:avLst/>
                <a:gdLst>
                  <a:gd name="T0" fmla="*/ 19 w 94"/>
                  <a:gd name="T1" fmla="*/ 0 h 98"/>
                  <a:gd name="T2" fmla="*/ 7 w 94"/>
                  <a:gd name="T3" fmla="*/ 6 h 98"/>
                  <a:gd name="T4" fmla="*/ 7 w 94"/>
                  <a:gd name="T5" fmla="*/ 31 h 98"/>
                  <a:gd name="T6" fmla="*/ 69 w 94"/>
                  <a:gd name="T7" fmla="*/ 93 h 98"/>
                  <a:gd name="T8" fmla="*/ 81 w 94"/>
                  <a:gd name="T9" fmla="*/ 98 h 98"/>
                  <a:gd name="T10" fmla="*/ 94 w 94"/>
                  <a:gd name="T11" fmla="*/ 93 h 98"/>
                  <a:gd name="T12" fmla="*/ 94 w 94"/>
                  <a:gd name="T13" fmla="*/ 93 h 98"/>
                  <a:gd name="T14" fmla="*/ 81 w 94"/>
                  <a:gd name="T15" fmla="*/ 98 h 98"/>
                  <a:gd name="T16" fmla="*/ 69 w 94"/>
                  <a:gd name="T17" fmla="*/ 93 h 98"/>
                  <a:gd name="T18" fmla="*/ 64 w 94"/>
                  <a:gd name="T19" fmla="*/ 78 h 98"/>
                  <a:gd name="T20" fmla="*/ 64 w 94"/>
                  <a:gd name="T21" fmla="*/ 76 h 98"/>
                  <a:gd name="T22" fmla="*/ 64 w 94"/>
                  <a:gd name="T23" fmla="*/ 38 h 98"/>
                  <a:gd name="T24" fmla="*/ 32 w 94"/>
                  <a:gd name="T25" fmla="*/ 6 h 98"/>
                  <a:gd name="T26" fmla="*/ 19 w 94"/>
                  <a:gd name="T2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98">
                    <a:moveTo>
                      <a:pt x="19" y="0"/>
                    </a:moveTo>
                    <a:cubicBezTo>
                      <a:pt x="15" y="0"/>
                      <a:pt x="10" y="2"/>
                      <a:pt x="7" y="6"/>
                    </a:cubicBezTo>
                    <a:cubicBezTo>
                      <a:pt x="0" y="13"/>
                      <a:pt x="0" y="24"/>
                      <a:pt x="7" y="31"/>
                    </a:cubicBezTo>
                    <a:cubicBezTo>
                      <a:pt x="69" y="93"/>
                      <a:pt x="69" y="93"/>
                      <a:pt x="69" y="93"/>
                    </a:cubicBezTo>
                    <a:cubicBezTo>
                      <a:pt x="72" y="96"/>
                      <a:pt x="77" y="98"/>
                      <a:pt x="81" y="98"/>
                    </a:cubicBezTo>
                    <a:cubicBezTo>
                      <a:pt x="86" y="98"/>
                      <a:pt x="91" y="96"/>
                      <a:pt x="94" y="93"/>
                    </a:cubicBezTo>
                    <a:cubicBezTo>
                      <a:pt x="94" y="93"/>
                      <a:pt x="94" y="93"/>
                      <a:pt x="94" y="93"/>
                    </a:cubicBezTo>
                    <a:cubicBezTo>
                      <a:pt x="91" y="96"/>
                      <a:pt x="86" y="98"/>
                      <a:pt x="81" y="98"/>
                    </a:cubicBezTo>
                    <a:cubicBezTo>
                      <a:pt x="77" y="98"/>
                      <a:pt x="72" y="96"/>
                      <a:pt x="69" y="93"/>
                    </a:cubicBezTo>
                    <a:cubicBezTo>
                      <a:pt x="65" y="89"/>
                      <a:pt x="63" y="83"/>
                      <a:pt x="64" y="78"/>
                    </a:cubicBezTo>
                    <a:cubicBezTo>
                      <a:pt x="64" y="78"/>
                      <a:pt x="64" y="77"/>
                      <a:pt x="64" y="76"/>
                    </a:cubicBezTo>
                    <a:cubicBezTo>
                      <a:pt x="64" y="38"/>
                      <a:pt x="64" y="38"/>
                      <a:pt x="64" y="38"/>
                    </a:cubicBezTo>
                    <a:cubicBezTo>
                      <a:pt x="32" y="6"/>
                      <a:pt x="32" y="6"/>
                      <a:pt x="32" y="6"/>
                    </a:cubicBezTo>
                    <a:cubicBezTo>
                      <a:pt x="28" y="2"/>
                      <a:pt x="24" y="0"/>
                      <a:pt x="19" y="0"/>
                    </a:cubicBezTo>
                  </a:path>
                </a:pathLst>
              </a:custGeom>
              <a:solidFill>
                <a:srgbClr val="91E9FF"/>
              </a:solidFill>
              <a:ln w="3175">
                <a:solidFill>
                  <a:srgbClr val="91E9FF"/>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84"/>
              <p:cNvSpPr>
                <a:spLocks/>
              </p:cNvSpPr>
              <p:nvPr/>
            </p:nvSpPr>
            <p:spPr bwMode="auto">
              <a:xfrm>
                <a:off x="2895" y="1745"/>
                <a:ext cx="86" cy="112"/>
              </a:xfrm>
              <a:custGeom>
                <a:avLst/>
                <a:gdLst>
                  <a:gd name="T0" fmla="*/ 50 w 69"/>
                  <a:gd name="T1" fmla="*/ 0 h 93"/>
                  <a:gd name="T2" fmla="*/ 37 w 69"/>
                  <a:gd name="T3" fmla="*/ 6 h 93"/>
                  <a:gd name="T4" fmla="*/ 5 w 69"/>
                  <a:gd name="T5" fmla="*/ 38 h 93"/>
                  <a:gd name="T6" fmla="*/ 5 w 69"/>
                  <a:gd name="T7" fmla="*/ 76 h 93"/>
                  <a:gd name="T8" fmla="*/ 5 w 69"/>
                  <a:gd name="T9" fmla="*/ 78 h 93"/>
                  <a:gd name="T10" fmla="*/ 0 w 69"/>
                  <a:gd name="T11" fmla="*/ 93 h 93"/>
                  <a:gd name="T12" fmla="*/ 62 w 69"/>
                  <a:gd name="T13" fmla="*/ 31 h 93"/>
                  <a:gd name="T14" fmla="*/ 62 w 69"/>
                  <a:gd name="T15" fmla="*/ 6 h 93"/>
                  <a:gd name="T16" fmla="*/ 50 w 69"/>
                  <a:gd name="T1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93">
                    <a:moveTo>
                      <a:pt x="50" y="0"/>
                    </a:moveTo>
                    <a:cubicBezTo>
                      <a:pt x="45" y="0"/>
                      <a:pt x="41" y="2"/>
                      <a:pt x="37" y="6"/>
                    </a:cubicBezTo>
                    <a:cubicBezTo>
                      <a:pt x="5" y="38"/>
                      <a:pt x="5" y="38"/>
                      <a:pt x="5" y="38"/>
                    </a:cubicBezTo>
                    <a:cubicBezTo>
                      <a:pt x="5" y="76"/>
                      <a:pt x="5" y="76"/>
                      <a:pt x="5" y="76"/>
                    </a:cubicBezTo>
                    <a:cubicBezTo>
                      <a:pt x="5" y="77"/>
                      <a:pt x="5" y="78"/>
                      <a:pt x="5" y="78"/>
                    </a:cubicBezTo>
                    <a:cubicBezTo>
                      <a:pt x="6" y="83"/>
                      <a:pt x="4" y="89"/>
                      <a:pt x="0" y="93"/>
                    </a:cubicBezTo>
                    <a:cubicBezTo>
                      <a:pt x="62" y="31"/>
                      <a:pt x="62" y="31"/>
                      <a:pt x="62" y="31"/>
                    </a:cubicBezTo>
                    <a:cubicBezTo>
                      <a:pt x="69" y="24"/>
                      <a:pt x="69" y="13"/>
                      <a:pt x="62" y="6"/>
                    </a:cubicBezTo>
                    <a:cubicBezTo>
                      <a:pt x="59" y="2"/>
                      <a:pt x="54" y="0"/>
                      <a:pt x="50" y="0"/>
                    </a:cubicBezTo>
                  </a:path>
                </a:pathLst>
              </a:custGeom>
              <a:solidFill>
                <a:srgbClr val="91E9FF"/>
              </a:solidFill>
              <a:ln w="3175">
                <a:solidFill>
                  <a:srgbClr val="91E9FF"/>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85"/>
              <p:cNvSpPr>
                <a:spLocks/>
              </p:cNvSpPr>
              <p:nvPr/>
            </p:nvSpPr>
            <p:spPr bwMode="auto">
              <a:xfrm>
                <a:off x="2856" y="1839"/>
                <a:ext cx="46" cy="24"/>
              </a:xfrm>
              <a:custGeom>
                <a:avLst/>
                <a:gdLst>
                  <a:gd name="T0" fmla="*/ 1 w 37"/>
                  <a:gd name="T1" fmla="*/ 0 h 20"/>
                  <a:gd name="T2" fmla="*/ 6 w 37"/>
                  <a:gd name="T3" fmla="*/ 15 h 20"/>
                  <a:gd name="T4" fmla="*/ 18 w 37"/>
                  <a:gd name="T5" fmla="*/ 20 h 20"/>
                  <a:gd name="T6" fmla="*/ 31 w 37"/>
                  <a:gd name="T7" fmla="*/ 15 h 20"/>
                  <a:gd name="T8" fmla="*/ 31 w 37"/>
                  <a:gd name="T9" fmla="*/ 15 h 20"/>
                  <a:gd name="T10" fmla="*/ 36 w 37"/>
                  <a:gd name="T11" fmla="*/ 0 h 20"/>
                  <a:gd name="T12" fmla="*/ 18 w 37"/>
                  <a:gd name="T13" fmla="*/ 16 h 20"/>
                  <a:gd name="T14" fmla="*/ 1 w 37"/>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0">
                    <a:moveTo>
                      <a:pt x="1" y="0"/>
                    </a:moveTo>
                    <a:cubicBezTo>
                      <a:pt x="0" y="5"/>
                      <a:pt x="2" y="11"/>
                      <a:pt x="6" y="15"/>
                    </a:cubicBezTo>
                    <a:cubicBezTo>
                      <a:pt x="9" y="18"/>
                      <a:pt x="14" y="20"/>
                      <a:pt x="18" y="20"/>
                    </a:cubicBezTo>
                    <a:cubicBezTo>
                      <a:pt x="23" y="20"/>
                      <a:pt x="28" y="18"/>
                      <a:pt x="31" y="15"/>
                    </a:cubicBezTo>
                    <a:cubicBezTo>
                      <a:pt x="31" y="15"/>
                      <a:pt x="31" y="15"/>
                      <a:pt x="31" y="15"/>
                    </a:cubicBezTo>
                    <a:cubicBezTo>
                      <a:pt x="35" y="11"/>
                      <a:pt x="37" y="5"/>
                      <a:pt x="36" y="0"/>
                    </a:cubicBezTo>
                    <a:cubicBezTo>
                      <a:pt x="35" y="9"/>
                      <a:pt x="28" y="16"/>
                      <a:pt x="18" y="16"/>
                    </a:cubicBezTo>
                    <a:cubicBezTo>
                      <a:pt x="9" y="16"/>
                      <a:pt x="2" y="9"/>
                      <a:pt x="1" y="0"/>
                    </a:cubicBezTo>
                  </a:path>
                </a:pathLst>
              </a:custGeom>
              <a:solidFill>
                <a:srgbClr val="2F8E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86"/>
              <p:cNvSpPr>
                <a:spLocks noEditPoints="1"/>
              </p:cNvSpPr>
              <p:nvPr/>
            </p:nvSpPr>
            <p:spPr bwMode="auto">
              <a:xfrm>
                <a:off x="2858" y="1377"/>
                <a:ext cx="43" cy="434"/>
              </a:xfrm>
              <a:custGeom>
                <a:avLst/>
                <a:gdLst>
                  <a:gd name="T0" fmla="*/ 35 w 35"/>
                  <a:gd name="T1" fmla="*/ 285 h 361"/>
                  <a:gd name="T2" fmla="*/ 25 w 35"/>
                  <a:gd name="T3" fmla="*/ 286 h 361"/>
                  <a:gd name="T4" fmla="*/ 17 w 35"/>
                  <a:gd name="T5" fmla="*/ 286 h 361"/>
                  <a:gd name="T6" fmla="*/ 0 w 35"/>
                  <a:gd name="T7" fmla="*/ 285 h 361"/>
                  <a:gd name="T8" fmla="*/ 0 w 35"/>
                  <a:gd name="T9" fmla="*/ 344 h 361"/>
                  <a:gd name="T10" fmla="*/ 17 w 35"/>
                  <a:gd name="T11" fmla="*/ 361 h 361"/>
                  <a:gd name="T12" fmla="*/ 35 w 35"/>
                  <a:gd name="T13" fmla="*/ 344 h 361"/>
                  <a:gd name="T14" fmla="*/ 35 w 35"/>
                  <a:gd name="T15" fmla="*/ 285 h 361"/>
                  <a:gd name="T16" fmla="*/ 0 w 35"/>
                  <a:gd name="T17" fmla="*/ 180 h 361"/>
                  <a:gd name="T18" fmla="*/ 0 w 35"/>
                  <a:gd name="T19" fmla="*/ 249 h 361"/>
                  <a:gd name="T20" fmla="*/ 18 w 35"/>
                  <a:gd name="T21" fmla="*/ 251 h 361"/>
                  <a:gd name="T22" fmla="*/ 23 w 35"/>
                  <a:gd name="T23" fmla="*/ 251 h 361"/>
                  <a:gd name="T24" fmla="*/ 35 w 35"/>
                  <a:gd name="T25" fmla="*/ 249 h 361"/>
                  <a:gd name="T26" fmla="*/ 35 w 35"/>
                  <a:gd name="T27" fmla="*/ 187 h 361"/>
                  <a:gd name="T28" fmla="*/ 14 w 35"/>
                  <a:gd name="T29" fmla="*/ 182 h 361"/>
                  <a:gd name="T30" fmla="*/ 0 w 35"/>
                  <a:gd name="T31" fmla="*/ 180 h 361"/>
                  <a:gd name="T32" fmla="*/ 20 w 35"/>
                  <a:gd name="T33" fmla="*/ 90 h 361"/>
                  <a:gd name="T34" fmla="*/ 15 w 35"/>
                  <a:gd name="T35" fmla="*/ 90 h 361"/>
                  <a:gd name="T36" fmla="*/ 0 w 35"/>
                  <a:gd name="T37" fmla="*/ 92 h 361"/>
                  <a:gd name="T38" fmla="*/ 0 w 35"/>
                  <a:gd name="T39" fmla="*/ 144 h 361"/>
                  <a:gd name="T40" fmla="*/ 20 w 35"/>
                  <a:gd name="T41" fmla="*/ 148 h 361"/>
                  <a:gd name="T42" fmla="*/ 35 w 35"/>
                  <a:gd name="T43" fmla="*/ 150 h 361"/>
                  <a:gd name="T44" fmla="*/ 35 w 35"/>
                  <a:gd name="T45" fmla="*/ 91 h 361"/>
                  <a:gd name="T46" fmla="*/ 20 w 35"/>
                  <a:gd name="T47" fmla="*/ 90 h 361"/>
                  <a:gd name="T48" fmla="*/ 17 w 35"/>
                  <a:gd name="T49" fmla="*/ 0 h 361"/>
                  <a:gd name="T50" fmla="*/ 0 w 35"/>
                  <a:gd name="T51" fmla="*/ 18 h 361"/>
                  <a:gd name="T52" fmla="*/ 0 w 35"/>
                  <a:gd name="T53" fmla="*/ 56 h 361"/>
                  <a:gd name="T54" fmla="*/ 14 w 35"/>
                  <a:gd name="T55" fmla="*/ 55 h 361"/>
                  <a:gd name="T56" fmla="*/ 20 w 35"/>
                  <a:gd name="T57" fmla="*/ 54 h 361"/>
                  <a:gd name="T58" fmla="*/ 35 w 35"/>
                  <a:gd name="T59" fmla="*/ 56 h 361"/>
                  <a:gd name="T60" fmla="*/ 35 w 35"/>
                  <a:gd name="T61" fmla="*/ 18 h 361"/>
                  <a:gd name="T62" fmla="*/ 17 w 35"/>
                  <a:gd name="T63"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361">
                    <a:moveTo>
                      <a:pt x="35" y="285"/>
                    </a:moveTo>
                    <a:cubicBezTo>
                      <a:pt x="30" y="286"/>
                      <a:pt x="27" y="286"/>
                      <a:pt x="25" y="286"/>
                    </a:cubicBezTo>
                    <a:cubicBezTo>
                      <a:pt x="22" y="286"/>
                      <a:pt x="20" y="286"/>
                      <a:pt x="17" y="286"/>
                    </a:cubicBezTo>
                    <a:cubicBezTo>
                      <a:pt x="11" y="286"/>
                      <a:pt x="5" y="286"/>
                      <a:pt x="0" y="285"/>
                    </a:cubicBezTo>
                    <a:cubicBezTo>
                      <a:pt x="0" y="344"/>
                      <a:pt x="0" y="344"/>
                      <a:pt x="0" y="344"/>
                    </a:cubicBezTo>
                    <a:cubicBezTo>
                      <a:pt x="17" y="361"/>
                      <a:pt x="17" y="361"/>
                      <a:pt x="17" y="361"/>
                    </a:cubicBezTo>
                    <a:cubicBezTo>
                      <a:pt x="35" y="344"/>
                      <a:pt x="35" y="344"/>
                      <a:pt x="35" y="344"/>
                    </a:cubicBezTo>
                    <a:cubicBezTo>
                      <a:pt x="35" y="285"/>
                      <a:pt x="35" y="285"/>
                      <a:pt x="35" y="285"/>
                    </a:cubicBezTo>
                    <a:moveTo>
                      <a:pt x="0" y="180"/>
                    </a:moveTo>
                    <a:cubicBezTo>
                      <a:pt x="0" y="249"/>
                      <a:pt x="0" y="249"/>
                      <a:pt x="0" y="249"/>
                    </a:cubicBezTo>
                    <a:cubicBezTo>
                      <a:pt x="5" y="250"/>
                      <a:pt x="11" y="251"/>
                      <a:pt x="18" y="251"/>
                    </a:cubicBezTo>
                    <a:cubicBezTo>
                      <a:pt x="19" y="251"/>
                      <a:pt x="21" y="251"/>
                      <a:pt x="23" y="251"/>
                    </a:cubicBezTo>
                    <a:cubicBezTo>
                      <a:pt x="24" y="251"/>
                      <a:pt x="29" y="251"/>
                      <a:pt x="35" y="249"/>
                    </a:cubicBezTo>
                    <a:cubicBezTo>
                      <a:pt x="35" y="187"/>
                      <a:pt x="35" y="187"/>
                      <a:pt x="35" y="187"/>
                    </a:cubicBezTo>
                    <a:cubicBezTo>
                      <a:pt x="29" y="185"/>
                      <a:pt x="22" y="184"/>
                      <a:pt x="14" y="182"/>
                    </a:cubicBezTo>
                    <a:cubicBezTo>
                      <a:pt x="9" y="182"/>
                      <a:pt x="5" y="181"/>
                      <a:pt x="0" y="180"/>
                    </a:cubicBezTo>
                    <a:moveTo>
                      <a:pt x="20" y="90"/>
                    </a:moveTo>
                    <a:cubicBezTo>
                      <a:pt x="18" y="90"/>
                      <a:pt x="17" y="90"/>
                      <a:pt x="15" y="90"/>
                    </a:cubicBezTo>
                    <a:cubicBezTo>
                      <a:pt x="10" y="90"/>
                      <a:pt x="5" y="91"/>
                      <a:pt x="0" y="92"/>
                    </a:cubicBezTo>
                    <a:cubicBezTo>
                      <a:pt x="0" y="144"/>
                      <a:pt x="0" y="144"/>
                      <a:pt x="0" y="144"/>
                    </a:cubicBezTo>
                    <a:cubicBezTo>
                      <a:pt x="5" y="145"/>
                      <a:pt x="12" y="146"/>
                      <a:pt x="20" y="148"/>
                    </a:cubicBezTo>
                    <a:cubicBezTo>
                      <a:pt x="25" y="148"/>
                      <a:pt x="30" y="149"/>
                      <a:pt x="35" y="150"/>
                    </a:cubicBezTo>
                    <a:cubicBezTo>
                      <a:pt x="35" y="91"/>
                      <a:pt x="35" y="91"/>
                      <a:pt x="35" y="91"/>
                    </a:cubicBezTo>
                    <a:cubicBezTo>
                      <a:pt x="31" y="90"/>
                      <a:pt x="26" y="90"/>
                      <a:pt x="20" y="90"/>
                    </a:cubicBezTo>
                    <a:moveTo>
                      <a:pt x="17" y="0"/>
                    </a:moveTo>
                    <a:cubicBezTo>
                      <a:pt x="8" y="0"/>
                      <a:pt x="0" y="8"/>
                      <a:pt x="0" y="18"/>
                    </a:cubicBezTo>
                    <a:cubicBezTo>
                      <a:pt x="0" y="56"/>
                      <a:pt x="0" y="56"/>
                      <a:pt x="0" y="56"/>
                    </a:cubicBezTo>
                    <a:cubicBezTo>
                      <a:pt x="4" y="55"/>
                      <a:pt x="9" y="55"/>
                      <a:pt x="14" y="55"/>
                    </a:cubicBezTo>
                    <a:cubicBezTo>
                      <a:pt x="16" y="54"/>
                      <a:pt x="18" y="54"/>
                      <a:pt x="20" y="54"/>
                    </a:cubicBezTo>
                    <a:cubicBezTo>
                      <a:pt x="25" y="54"/>
                      <a:pt x="30" y="55"/>
                      <a:pt x="35" y="56"/>
                    </a:cubicBezTo>
                    <a:cubicBezTo>
                      <a:pt x="35" y="18"/>
                      <a:pt x="35" y="18"/>
                      <a:pt x="35" y="18"/>
                    </a:cubicBezTo>
                    <a:cubicBezTo>
                      <a:pt x="35" y="8"/>
                      <a:pt x="27" y="0"/>
                      <a:pt x="17" y="0"/>
                    </a:cubicBezTo>
                  </a:path>
                </a:pathLst>
              </a:custGeom>
              <a:solidFill>
                <a:srgbClr val="91E9FF"/>
              </a:solidFill>
              <a:ln w="3175">
                <a:solidFill>
                  <a:srgbClr val="91E9FF"/>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87"/>
              <p:cNvSpPr>
                <a:spLocks/>
              </p:cNvSpPr>
              <p:nvPr/>
            </p:nvSpPr>
            <p:spPr bwMode="auto">
              <a:xfrm>
                <a:off x="2858" y="1791"/>
                <a:ext cx="21" cy="48"/>
              </a:xfrm>
              <a:custGeom>
                <a:avLst/>
                <a:gdLst>
                  <a:gd name="T0" fmla="*/ 0 w 17"/>
                  <a:gd name="T1" fmla="*/ 0 h 40"/>
                  <a:gd name="T2" fmla="*/ 0 w 17"/>
                  <a:gd name="T3" fmla="*/ 38 h 40"/>
                  <a:gd name="T4" fmla="*/ 0 w 17"/>
                  <a:gd name="T5" fmla="*/ 40 h 40"/>
                  <a:gd name="T6" fmla="*/ 5 w 17"/>
                  <a:gd name="T7" fmla="*/ 30 h 40"/>
                  <a:gd name="T8" fmla="*/ 17 w 17"/>
                  <a:gd name="T9" fmla="*/ 17 h 40"/>
                  <a:gd name="T10" fmla="*/ 0 w 17"/>
                  <a:gd name="T11" fmla="*/ 0 h 40"/>
                </a:gdLst>
                <a:ahLst/>
                <a:cxnLst>
                  <a:cxn ang="0">
                    <a:pos x="T0" y="T1"/>
                  </a:cxn>
                  <a:cxn ang="0">
                    <a:pos x="T2" y="T3"/>
                  </a:cxn>
                  <a:cxn ang="0">
                    <a:pos x="T4" y="T5"/>
                  </a:cxn>
                  <a:cxn ang="0">
                    <a:pos x="T6" y="T7"/>
                  </a:cxn>
                  <a:cxn ang="0">
                    <a:pos x="T8" y="T9"/>
                  </a:cxn>
                  <a:cxn ang="0">
                    <a:pos x="T10" y="T11"/>
                  </a:cxn>
                </a:cxnLst>
                <a:rect l="0" t="0" r="r" b="b"/>
                <a:pathLst>
                  <a:path w="17" h="40">
                    <a:moveTo>
                      <a:pt x="0" y="0"/>
                    </a:moveTo>
                    <a:cubicBezTo>
                      <a:pt x="0" y="38"/>
                      <a:pt x="0" y="38"/>
                      <a:pt x="0" y="38"/>
                    </a:cubicBezTo>
                    <a:cubicBezTo>
                      <a:pt x="0" y="39"/>
                      <a:pt x="0" y="40"/>
                      <a:pt x="0" y="40"/>
                    </a:cubicBezTo>
                    <a:cubicBezTo>
                      <a:pt x="0" y="36"/>
                      <a:pt x="2" y="33"/>
                      <a:pt x="5" y="30"/>
                    </a:cubicBezTo>
                    <a:cubicBezTo>
                      <a:pt x="17" y="17"/>
                      <a:pt x="17" y="17"/>
                      <a:pt x="17" y="17"/>
                    </a:cubicBezTo>
                    <a:cubicBezTo>
                      <a:pt x="0" y="0"/>
                      <a:pt x="0" y="0"/>
                      <a:pt x="0" y="0"/>
                    </a:cubicBezTo>
                  </a:path>
                </a:pathLst>
              </a:custGeom>
              <a:solidFill>
                <a:srgbClr val="00BCEB"/>
              </a:solidFill>
              <a:ln w="3175">
                <a:solidFill>
                  <a:srgbClr val="00BCEB"/>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88"/>
              <p:cNvSpPr>
                <a:spLocks/>
              </p:cNvSpPr>
              <p:nvPr/>
            </p:nvSpPr>
            <p:spPr bwMode="auto">
              <a:xfrm>
                <a:off x="2879" y="1791"/>
                <a:ext cx="22" cy="48"/>
              </a:xfrm>
              <a:custGeom>
                <a:avLst/>
                <a:gdLst>
                  <a:gd name="T0" fmla="*/ 18 w 18"/>
                  <a:gd name="T1" fmla="*/ 0 h 40"/>
                  <a:gd name="T2" fmla="*/ 0 w 18"/>
                  <a:gd name="T3" fmla="*/ 17 h 40"/>
                  <a:gd name="T4" fmla="*/ 13 w 18"/>
                  <a:gd name="T5" fmla="*/ 30 h 40"/>
                  <a:gd name="T6" fmla="*/ 18 w 18"/>
                  <a:gd name="T7" fmla="*/ 40 h 40"/>
                  <a:gd name="T8" fmla="*/ 18 w 18"/>
                  <a:gd name="T9" fmla="*/ 38 h 40"/>
                  <a:gd name="T10" fmla="*/ 18 w 18"/>
                  <a:gd name="T11" fmla="*/ 0 h 40"/>
                </a:gdLst>
                <a:ahLst/>
                <a:cxnLst>
                  <a:cxn ang="0">
                    <a:pos x="T0" y="T1"/>
                  </a:cxn>
                  <a:cxn ang="0">
                    <a:pos x="T2" y="T3"/>
                  </a:cxn>
                  <a:cxn ang="0">
                    <a:pos x="T4" y="T5"/>
                  </a:cxn>
                  <a:cxn ang="0">
                    <a:pos x="T6" y="T7"/>
                  </a:cxn>
                  <a:cxn ang="0">
                    <a:pos x="T8" y="T9"/>
                  </a:cxn>
                  <a:cxn ang="0">
                    <a:pos x="T10" y="T11"/>
                  </a:cxn>
                </a:cxnLst>
                <a:rect l="0" t="0" r="r" b="b"/>
                <a:pathLst>
                  <a:path w="18" h="40">
                    <a:moveTo>
                      <a:pt x="18" y="0"/>
                    </a:moveTo>
                    <a:cubicBezTo>
                      <a:pt x="0" y="17"/>
                      <a:pt x="0" y="17"/>
                      <a:pt x="0" y="17"/>
                    </a:cubicBezTo>
                    <a:cubicBezTo>
                      <a:pt x="13" y="30"/>
                      <a:pt x="13" y="30"/>
                      <a:pt x="13" y="30"/>
                    </a:cubicBezTo>
                    <a:cubicBezTo>
                      <a:pt x="16" y="33"/>
                      <a:pt x="18" y="36"/>
                      <a:pt x="18" y="40"/>
                    </a:cubicBezTo>
                    <a:cubicBezTo>
                      <a:pt x="18" y="40"/>
                      <a:pt x="18" y="39"/>
                      <a:pt x="18" y="38"/>
                    </a:cubicBezTo>
                    <a:cubicBezTo>
                      <a:pt x="18" y="0"/>
                      <a:pt x="18" y="0"/>
                      <a:pt x="18" y="0"/>
                    </a:cubicBezTo>
                  </a:path>
                </a:pathLst>
              </a:custGeom>
              <a:solidFill>
                <a:srgbClr val="00BCEB"/>
              </a:solidFill>
              <a:ln w="3175">
                <a:solidFill>
                  <a:srgbClr val="00BCEB"/>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89"/>
              <p:cNvSpPr>
                <a:spLocks/>
              </p:cNvSpPr>
              <p:nvPr/>
            </p:nvSpPr>
            <p:spPr bwMode="auto">
              <a:xfrm>
                <a:off x="2858" y="1811"/>
                <a:ext cx="43" cy="47"/>
              </a:xfrm>
              <a:custGeom>
                <a:avLst/>
                <a:gdLst>
                  <a:gd name="T0" fmla="*/ 17 w 35"/>
                  <a:gd name="T1" fmla="*/ 0 h 39"/>
                  <a:gd name="T2" fmla="*/ 5 w 35"/>
                  <a:gd name="T3" fmla="*/ 13 h 39"/>
                  <a:gd name="T4" fmla="*/ 0 w 35"/>
                  <a:gd name="T5" fmla="*/ 23 h 39"/>
                  <a:gd name="T6" fmla="*/ 17 w 35"/>
                  <a:gd name="T7" fmla="*/ 39 h 39"/>
                  <a:gd name="T8" fmla="*/ 35 w 35"/>
                  <a:gd name="T9" fmla="*/ 23 h 39"/>
                  <a:gd name="T10" fmla="*/ 30 w 35"/>
                  <a:gd name="T11" fmla="*/ 13 h 39"/>
                  <a:gd name="T12" fmla="*/ 17 w 35"/>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35" h="39">
                    <a:moveTo>
                      <a:pt x="17" y="0"/>
                    </a:moveTo>
                    <a:cubicBezTo>
                      <a:pt x="5" y="13"/>
                      <a:pt x="5" y="13"/>
                      <a:pt x="5" y="13"/>
                    </a:cubicBezTo>
                    <a:cubicBezTo>
                      <a:pt x="2" y="16"/>
                      <a:pt x="0" y="19"/>
                      <a:pt x="0" y="23"/>
                    </a:cubicBezTo>
                    <a:cubicBezTo>
                      <a:pt x="1" y="32"/>
                      <a:pt x="8" y="39"/>
                      <a:pt x="17" y="39"/>
                    </a:cubicBezTo>
                    <a:cubicBezTo>
                      <a:pt x="27" y="39"/>
                      <a:pt x="34" y="32"/>
                      <a:pt x="35" y="23"/>
                    </a:cubicBezTo>
                    <a:cubicBezTo>
                      <a:pt x="35" y="19"/>
                      <a:pt x="33" y="16"/>
                      <a:pt x="30" y="13"/>
                    </a:cubicBezTo>
                    <a:cubicBezTo>
                      <a:pt x="17" y="0"/>
                      <a:pt x="17" y="0"/>
                      <a:pt x="17" y="0"/>
                    </a:cubicBezTo>
                  </a:path>
                </a:pathLst>
              </a:custGeom>
              <a:solidFill>
                <a:schemeClr val="accent1">
                  <a:lumMod val="75000"/>
                </a:schemeClr>
              </a:solidFill>
              <a:ln w="3175">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90"/>
              <p:cNvSpPr>
                <a:spLocks noEditPoints="1"/>
              </p:cNvSpPr>
              <p:nvPr/>
            </p:nvSpPr>
            <p:spPr bwMode="auto">
              <a:xfrm>
                <a:off x="2772" y="1444"/>
                <a:ext cx="216" cy="276"/>
              </a:xfrm>
              <a:custGeom>
                <a:avLst/>
                <a:gdLst>
                  <a:gd name="T0" fmla="*/ 18 w 174"/>
                  <a:gd name="T1" fmla="*/ 151 h 229"/>
                  <a:gd name="T2" fmla="*/ 17 w 174"/>
                  <a:gd name="T3" fmla="*/ 151 h 229"/>
                  <a:gd name="T4" fmla="*/ 0 w 174"/>
                  <a:gd name="T5" fmla="*/ 170 h 229"/>
                  <a:gd name="T6" fmla="*/ 69 w 174"/>
                  <a:gd name="T7" fmla="*/ 229 h 229"/>
                  <a:gd name="T8" fmla="*/ 69 w 174"/>
                  <a:gd name="T9" fmla="*/ 193 h 229"/>
                  <a:gd name="T10" fmla="*/ 35 w 174"/>
                  <a:gd name="T11" fmla="*/ 168 h 229"/>
                  <a:gd name="T12" fmla="*/ 18 w 174"/>
                  <a:gd name="T13" fmla="*/ 151 h 229"/>
                  <a:gd name="T14" fmla="*/ 104 w 174"/>
                  <a:gd name="T15" fmla="*/ 94 h 229"/>
                  <a:gd name="T16" fmla="*/ 104 w 174"/>
                  <a:gd name="T17" fmla="*/ 131 h 229"/>
                  <a:gd name="T18" fmla="*/ 137 w 174"/>
                  <a:gd name="T19" fmla="*/ 161 h 229"/>
                  <a:gd name="T20" fmla="*/ 120 w 174"/>
                  <a:gd name="T21" fmla="*/ 188 h 229"/>
                  <a:gd name="T22" fmla="*/ 104 w 174"/>
                  <a:gd name="T23" fmla="*/ 193 h 229"/>
                  <a:gd name="T24" fmla="*/ 104 w 174"/>
                  <a:gd name="T25" fmla="*/ 229 h 229"/>
                  <a:gd name="T26" fmla="*/ 136 w 174"/>
                  <a:gd name="T27" fmla="*/ 220 h 229"/>
                  <a:gd name="T28" fmla="*/ 173 w 174"/>
                  <a:gd name="T29" fmla="*/ 159 h 229"/>
                  <a:gd name="T30" fmla="*/ 104 w 174"/>
                  <a:gd name="T31" fmla="*/ 94 h 229"/>
                  <a:gd name="T32" fmla="*/ 69 w 174"/>
                  <a:gd name="T33" fmla="*/ 0 h 229"/>
                  <a:gd name="T34" fmla="*/ 26 w 174"/>
                  <a:gd name="T35" fmla="*/ 15 h 229"/>
                  <a:gd name="T36" fmla="*/ 3 w 174"/>
                  <a:gd name="T37" fmla="*/ 63 h 229"/>
                  <a:gd name="T38" fmla="*/ 69 w 174"/>
                  <a:gd name="T39" fmla="*/ 124 h 229"/>
                  <a:gd name="T40" fmla="*/ 69 w 174"/>
                  <a:gd name="T41" fmla="*/ 88 h 229"/>
                  <a:gd name="T42" fmla="*/ 38 w 174"/>
                  <a:gd name="T43" fmla="*/ 62 h 229"/>
                  <a:gd name="T44" fmla="*/ 46 w 174"/>
                  <a:gd name="T45" fmla="*/ 44 h 229"/>
                  <a:gd name="T46" fmla="*/ 69 w 174"/>
                  <a:gd name="T47" fmla="*/ 36 h 229"/>
                  <a:gd name="T48" fmla="*/ 69 w 174"/>
                  <a:gd name="T49" fmla="*/ 0 h 229"/>
                  <a:gd name="T50" fmla="*/ 104 w 174"/>
                  <a:gd name="T51" fmla="*/ 0 h 229"/>
                  <a:gd name="T52" fmla="*/ 104 w 174"/>
                  <a:gd name="T53" fmla="*/ 35 h 229"/>
                  <a:gd name="T54" fmla="*/ 132 w 174"/>
                  <a:gd name="T55" fmla="*/ 57 h 229"/>
                  <a:gd name="T56" fmla="*/ 149 w 174"/>
                  <a:gd name="T57" fmla="*/ 73 h 229"/>
                  <a:gd name="T58" fmla="*/ 150 w 174"/>
                  <a:gd name="T59" fmla="*/ 73 h 229"/>
                  <a:gd name="T60" fmla="*/ 167 w 174"/>
                  <a:gd name="T61" fmla="*/ 55 h 229"/>
                  <a:gd name="T62" fmla="*/ 144 w 174"/>
                  <a:gd name="T63" fmla="*/ 16 h 229"/>
                  <a:gd name="T64" fmla="*/ 104 w 174"/>
                  <a:gd name="T65"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4" h="229">
                    <a:moveTo>
                      <a:pt x="18" y="151"/>
                    </a:moveTo>
                    <a:cubicBezTo>
                      <a:pt x="17" y="151"/>
                      <a:pt x="17" y="151"/>
                      <a:pt x="17" y="151"/>
                    </a:cubicBezTo>
                    <a:cubicBezTo>
                      <a:pt x="7" y="151"/>
                      <a:pt x="0" y="160"/>
                      <a:pt x="0" y="170"/>
                    </a:cubicBezTo>
                    <a:cubicBezTo>
                      <a:pt x="1" y="192"/>
                      <a:pt x="24" y="223"/>
                      <a:pt x="69" y="229"/>
                    </a:cubicBezTo>
                    <a:cubicBezTo>
                      <a:pt x="69" y="193"/>
                      <a:pt x="69" y="193"/>
                      <a:pt x="69" y="193"/>
                    </a:cubicBezTo>
                    <a:cubicBezTo>
                      <a:pt x="45" y="188"/>
                      <a:pt x="36" y="173"/>
                      <a:pt x="35" y="168"/>
                    </a:cubicBezTo>
                    <a:cubicBezTo>
                      <a:pt x="35" y="158"/>
                      <a:pt x="27" y="151"/>
                      <a:pt x="18" y="151"/>
                    </a:cubicBezTo>
                    <a:moveTo>
                      <a:pt x="104" y="94"/>
                    </a:moveTo>
                    <a:cubicBezTo>
                      <a:pt x="104" y="131"/>
                      <a:pt x="104" y="131"/>
                      <a:pt x="104" y="131"/>
                    </a:cubicBezTo>
                    <a:cubicBezTo>
                      <a:pt x="127" y="136"/>
                      <a:pt x="136" y="143"/>
                      <a:pt x="137" y="161"/>
                    </a:cubicBezTo>
                    <a:cubicBezTo>
                      <a:pt x="138" y="170"/>
                      <a:pt x="136" y="180"/>
                      <a:pt x="120" y="188"/>
                    </a:cubicBezTo>
                    <a:cubicBezTo>
                      <a:pt x="115" y="191"/>
                      <a:pt x="109" y="192"/>
                      <a:pt x="104" y="193"/>
                    </a:cubicBezTo>
                    <a:cubicBezTo>
                      <a:pt x="104" y="229"/>
                      <a:pt x="104" y="229"/>
                      <a:pt x="104" y="229"/>
                    </a:cubicBezTo>
                    <a:cubicBezTo>
                      <a:pt x="112" y="228"/>
                      <a:pt x="124" y="225"/>
                      <a:pt x="136" y="220"/>
                    </a:cubicBezTo>
                    <a:cubicBezTo>
                      <a:pt x="161" y="208"/>
                      <a:pt x="174" y="186"/>
                      <a:pt x="173" y="159"/>
                    </a:cubicBezTo>
                    <a:cubicBezTo>
                      <a:pt x="170" y="114"/>
                      <a:pt x="136" y="101"/>
                      <a:pt x="104" y="94"/>
                    </a:cubicBezTo>
                    <a:moveTo>
                      <a:pt x="69" y="0"/>
                    </a:moveTo>
                    <a:cubicBezTo>
                      <a:pt x="51" y="2"/>
                      <a:pt x="37" y="8"/>
                      <a:pt x="26" y="15"/>
                    </a:cubicBezTo>
                    <a:cubicBezTo>
                      <a:pt x="10" y="27"/>
                      <a:pt x="2" y="44"/>
                      <a:pt x="3" y="63"/>
                    </a:cubicBezTo>
                    <a:cubicBezTo>
                      <a:pt x="5" y="106"/>
                      <a:pt x="39" y="118"/>
                      <a:pt x="69" y="124"/>
                    </a:cubicBezTo>
                    <a:cubicBezTo>
                      <a:pt x="69" y="88"/>
                      <a:pt x="69" y="88"/>
                      <a:pt x="69" y="88"/>
                    </a:cubicBezTo>
                    <a:cubicBezTo>
                      <a:pt x="46" y="82"/>
                      <a:pt x="39" y="76"/>
                      <a:pt x="38" y="62"/>
                    </a:cubicBezTo>
                    <a:cubicBezTo>
                      <a:pt x="37" y="54"/>
                      <a:pt x="40" y="49"/>
                      <a:pt x="46" y="44"/>
                    </a:cubicBezTo>
                    <a:cubicBezTo>
                      <a:pt x="52" y="40"/>
                      <a:pt x="60" y="37"/>
                      <a:pt x="69" y="36"/>
                    </a:cubicBezTo>
                    <a:cubicBezTo>
                      <a:pt x="69" y="0"/>
                      <a:pt x="69" y="0"/>
                      <a:pt x="69" y="0"/>
                    </a:cubicBezTo>
                    <a:moveTo>
                      <a:pt x="104" y="0"/>
                    </a:moveTo>
                    <a:cubicBezTo>
                      <a:pt x="104" y="35"/>
                      <a:pt x="104" y="35"/>
                      <a:pt x="104" y="35"/>
                    </a:cubicBezTo>
                    <a:cubicBezTo>
                      <a:pt x="123" y="40"/>
                      <a:pt x="131" y="52"/>
                      <a:pt x="132" y="57"/>
                    </a:cubicBezTo>
                    <a:cubicBezTo>
                      <a:pt x="132" y="66"/>
                      <a:pt x="140" y="73"/>
                      <a:pt x="149" y="73"/>
                    </a:cubicBezTo>
                    <a:cubicBezTo>
                      <a:pt x="150" y="73"/>
                      <a:pt x="150" y="73"/>
                      <a:pt x="150" y="73"/>
                    </a:cubicBezTo>
                    <a:cubicBezTo>
                      <a:pt x="160" y="73"/>
                      <a:pt x="168" y="64"/>
                      <a:pt x="167" y="55"/>
                    </a:cubicBezTo>
                    <a:cubicBezTo>
                      <a:pt x="166" y="41"/>
                      <a:pt x="158" y="27"/>
                      <a:pt x="144" y="16"/>
                    </a:cubicBezTo>
                    <a:cubicBezTo>
                      <a:pt x="136" y="10"/>
                      <a:pt x="123" y="2"/>
                      <a:pt x="104" y="0"/>
                    </a:cubicBezTo>
                  </a:path>
                </a:pathLst>
              </a:custGeom>
              <a:solidFill>
                <a:srgbClr val="91E9FF"/>
              </a:solidFill>
              <a:ln w="3175">
                <a:solidFill>
                  <a:srgbClr val="91E9FF"/>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91"/>
              <p:cNvSpPr>
                <a:spLocks noEditPoints="1"/>
              </p:cNvSpPr>
              <p:nvPr/>
            </p:nvSpPr>
            <p:spPr bwMode="auto">
              <a:xfrm>
                <a:off x="2858" y="1442"/>
                <a:ext cx="43" cy="279"/>
              </a:xfrm>
              <a:custGeom>
                <a:avLst/>
                <a:gdLst>
                  <a:gd name="T0" fmla="*/ 35 w 35"/>
                  <a:gd name="T1" fmla="*/ 195 h 232"/>
                  <a:gd name="T2" fmla="*/ 23 w 35"/>
                  <a:gd name="T3" fmla="*/ 197 h 232"/>
                  <a:gd name="T4" fmla="*/ 18 w 35"/>
                  <a:gd name="T5" fmla="*/ 197 h 232"/>
                  <a:gd name="T6" fmla="*/ 0 w 35"/>
                  <a:gd name="T7" fmla="*/ 195 h 232"/>
                  <a:gd name="T8" fmla="*/ 0 w 35"/>
                  <a:gd name="T9" fmla="*/ 231 h 232"/>
                  <a:gd name="T10" fmla="*/ 17 w 35"/>
                  <a:gd name="T11" fmla="*/ 232 h 232"/>
                  <a:gd name="T12" fmla="*/ 25 w 35"/>
                  <a:gd name="T13" fmla="*/ 232 h 232"/>
                  <a:gd name="T14" fmla="*/ 35 w 35"/>
                  <a:gd name="T15" fmla="*/ 231 h 232"/>
                  <a:gd name="T16" fmla="*/ 35 w 35"/>
                  <a:gd name="T17" fmla="*/ 195 h 232"/>
                  <a:gd name="T18" fmla="*/ 0 w 35"/>
                  <a:gd name="T19" fmla="*/ 90 h 232"/>
                  <a:gd name="T20" fmla="*/ 0 w 35"/>
                  <a:gd name="T21" fmla="*/ 126 h 232"/>
                  <a:gd name="T22" fmla="*/ 14 w 35"/>
                  <a:gd name="T23" fmla="*/ 128 h 232"/>
                  <a:gd name="T24" fmla="*/ 35 w 35"/>
                  <a:gd name="T25" fmla="*/ 133 h 232"/>
                  <a:gd name="T26" fmla="*/ 35 w 35"/>
                  <a:gd name="T27" fmla="*/ 96 h 232"/>
                  <a:gd name="T28" fmla="*/ 20 w 35"/>
                  <a:gd name="T29" fmla="*/ 94 h 232"/>
                  <a:gd name="T30" fmla="*/ 0 w 35"/>
                  <a:gd name="T31" fmla="*/ 90 h 232"/>
                  <a:gd name="T32" fmla="*/ 20 w 35"/>
                  <a:gd name="T33" fmla="*/ 0 h 232"/>
                  <a:gd name="T34" fmla="*/ 14 w 35"/>
                  <a:gd name="T35" fmla="*/ 1 h 232"/>
                  <a:gd name="T36" fmla="*/ 0 w 35"/>
                  <a:gd name="T37" fmla="*/ 2 h 232"/>
                  <a:gd name="T38" fmla="*/ 0 w 35"/>
                  <a:gd name="T39" fmla="*/ 38 h 232"/>
                  <a:gd name="T40" fmla="*/ 15 w 35"/>
                  <a:gd name="T41" fmla="*/ 36 h 232"/>
                  <a:gd name="T42" fmla="*/ 20 w 35"/>
                  <a:gd name="T43" fmla="*/ 36 h 232"/>
                  <a:gd name="T44" fmla="*/ 35 w 35"/>
                  <a:gd name="T45" fmla="*/ 37 h 232"/>
                  <a:gd name="T46" fmla="*/ 35 w 35"/>
                  <a:gd name="T47" fmla="*/ 2 h 232"/>
                  <a:gd name="T48" fmla="*/ 20 w 35"/>
                  <a:gd name="T4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232">
                    <a:moveTo>
                      <a:pt x="35" y="195"/>
                    </a:moveTo>
                    <a:cubicBezTo>
                      <a:pt x="29" y="197"/>
                      <a:pt x="24" y="197"/>
                      <a:pt x="23" y="197"/>
                    </a:cubicBezTo>
                    <a:cubicBezTo>
                      <a:pt x="21" y="197"/>
                      <a:pt x="19" y="197"/>
                      <a:pt x="18" y="197"/>
                    </a:cubicBezTo>
                    <a:cubicBezTo>
                      <a:pt x="11" y="197"/>
                      <a:pt x="5" y="196"/>
                      <a:pt x="0" y="195"/>
                    </a:cubicBezTo>
                    <a:cubicBezTo>
                      <a:pt x="0" y="231"/>
                      <a:pt x="0" y="231"/>
                      <a:pt x="0" y="231"/>
                    </a:cubicBezTo>
                    <a:cubicBezTo>
                      <a:pt x="5" y="232"/>
                      <a:pt x="11" y="232"/>
                      <a:pt x="17" y="232"/>
                    </a:cubicBezTo>
                    <a:cubicBezTo>
                      <a:pt x="20" y="232"/>
                      <a:pt x="22" y="232"/>
                      <a:pt x="25" y="232"/>
                    </a:cubicBezTo>
                    <a:cubicBezTo>
                      <a:pt x="27" y="232"/>
                      <a:pt x="30" y="232"/>
                      <a:pt x="35" y="231"/>
                    </a:cubicBezTo>
                    <a:cubicBezTo>
                      <a:pt x="35" y="195"/>
                      <a:pt x="35" y="195"/>
                      <a:pt x="35" y="195"/>
                    </a:cubicBezTo>
                    <a:moveTo>
                      <a:pt x="0" y="90"/>
                    </a:moveTo>
                    <a:cubicBezTo>
                      <a:pt x="0" y="126"/>
                      <a:pt x="0" y="126"/>
                      <a:pt x="0" y="126"/>
                    </a:cubicBezTo>
                    <a:cubicBezTo>
                      <a:pt x="5" y="127"/>
                      <a:pt x="9" y="128"/>
                      <a:pt x="14" y="128"/>
                    </a:cubicBezTo>
                    <a:cubicBezTo>
                      <a:pt x="22" y="130"/>
                      <a:pt x="29" y="131"/>
                      <a:pt x="35" y="133"/>
                    </a:cubicBezTo>
                    <a:cubicBezTo>
                      <a:pt x="35" y="96"/>
                      <a:pt x="35" y="96"/>
                      <a:pt x="35" y="96"/>
                    </a:cubicBezTo>
                    <a:cubicBezTo>
                      <a:pt x="30" y="95"/>
                      <a:pt x="25" y="94"/>
                      <a:pt x="20" y="94"/>
                    </a:cubicBezTo>
                    <a:cubicBezTo>
                      <a:pt x="12" y="92"/>
                      <a:pt x="5" y="91"/>
                      <a:pt x="0" y="90"/>
                    </a:cubicBezTo>
                    <a:moveTo>
                      <a:pt x="20" y="0"/>
                    </a:moveTo>
                    <a:cubicBezTo>
                      <a:pt x="18" y="0"/>
                      <a:pt x="16" y="0"/>
                      <a:pt x="14" y="1"/>
                    </a:cubicBezTo>
                    <a:cubicBezTo>
                      <a:pt x="9" y="1"/>
                      <a:pt x="4" y="1"/>
                      <a:pt x="0" y="2"/>
                    </a:cubicBezTo>
                    <a:cubicBezTo>
                      <a:pt x="0" y="38"/>
                      <a:pt x="0" y="38"/>
                      <a:pt x="0" y="38"/>
                    </a:cubicBezTo>
                    <a:cubicBezTo>
                      <a:pt x="5" y="37"/>
                      <a:pt x="10" y="36"/>
                      <a:pt x="15" y="36"/>
                    </a:cubicBezTo>
                    <a:cubicBezTo>
                      <a:pt x="17" y="36"/>
                      <a:pt x="18" y="36"/>
                      <a:pt x="20" y="36"/>
                    </a:cubicBezTo>
                    <a:cubicBezTo>
                      <a:pt x="26" y="36"/>
                      <a:pt x="31" y="36"/>
                      <a:pt x="35" y="37"/>
                    </a:cubicBezTo>
                    <a:cubicBezTo>
                      <a:pt x="35" y="2"/>
                      <a:pt x="35" y="2"/>
                      <a:pt x="35" y="2"/>
                    </a:cubicBezTo>
                    <a:cubicBezTo>
                      <a:pt x="30" y="1"/>
                      <a:pt x="25" y="0"/>
                      <a:pt x="20" y="0"/>
                    </a:cubicBezTo>
                  </a:path>
                </a:pathLst>
              </a:custGeom>
              <a:solidFill>
                <a:srgbClr val="00BCEB"/>
              </a:solidFill>
              <a:ln w="3175">
                <a:solidFill>
                  <a:srgbClr val="00BCEB"/>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 name="Group 21"/>
            <p:cNvGrpSpPr/>
            <p:nvPr/>
          </p:nvGrpSpPr>
          <p:grpSpPr>
            <a:xfrm>
              <a:off x="179663" y="3237292"/>
              <a:ext cx="489578" cy="478716"/>
              <a:chOff x="2651467" y="464402"/>
              <a:chExt cx="4213175" cy="4119701"/>
            </a:xfrm>
            <a:solidFill>
              <a:srgbClr val="91E9FF"/>
            </a:solidFill>
          </p:grpSpPr>
          <p:sp>
            <p:nvSpPr>
              <p:cNvPr id="21" name="Oval 20"/>
              <p:cNvSpPr/>
              <p:nvPr/>
            </p:nvSpPr>
            <p:spPr>
              <a:xfrm>
                <a:off x="3682072" y="759888"/>
                <a:ext cx="1270541" cy="1270541"/>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p:cNvSpPr/>
              <p:nvPr/>
            </p:nvSpPr>
            <p:spPr>
              <a:xfrm>
                <a:off x="2970886" y="3313562"/>
                <a:ext cx="1270541" cy="1270541"/>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Oval 123"/>
              <p:cNvSpPr/>
              <p:nvPr/>
            </p:nvSpPr>
            <p:spPr>
              <a:xfrm>
                <a:off x="2651467" y="1575281"/>
                <a:ext cx="807269" cy="80726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p:cNvSpPr/>
              <p:nvPr/>
            </p:nvSpPr>
            <p:spPr>
              <a:xfrm>
                <a:off x="4636077" y="1989888"/>
                <a:ext cx="807269" cy="80726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Oval 125"/>
              <p:cNvSpPr/>
              <p:nvPr/>
            </p:nvSpPr>
            <p:spPr>
              <a:xfrm>
                <a:off x="5263959" y="3535770"/>
                <a:ext cx="807269" cy="80726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p:cNvSpPr/>
              <p:nvPr/>
            </p:nvSpPr>
            <p:spPr>
              <a:xfrm>
                <a:off x="5857815" y="1757843"/>
                <a:ext cx="1006827" cy="100682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Oval 127"/>
              <p:cNvSpPr/>
              <p:nvPr/>
            </p:nvSpPr>
            <p:spPr>
              <a:xfrm>
                <a:off x="3622426" y="2266390"/>
                <a:ext cx="624148" cy="624148"/>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Oval 128"/>
              <p:cNvSpPr/>
              <p:nvPr/>
            </p:nvSpPr>
            <p:spPr>
              <a:xfrm>
                <a:off x="5092852" y="481304"/>
                <a:ext cx="624148" cy="624148"/>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p:cNvSpPr/>
              <p:nvPr/>
            </p:nvSpPr>
            <p:spPr>
              <a:xfrm>
                <a:off x="2996514" y="666129"/>
                <a:ext cx="624148" cy="624148"/>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val 130"/>
              <p:cNvSpPr/>
              <p:nvPr/>
            </p:nvSpPr>
            <p:spPr>
              <a:xfrm>
                <a:off x="4572093" y="3146103"/>
                <a:ext cx="624148" cy="624148"/>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Oval 131"/>
              <p:cNvSpPr/>
              <p:nvPr/>
            </p:nvSpPr>
            <p:spPr>
              <a:xfrm>
                <a:off x="4379583" y="464402"/>
                <a:ext cx="388583" cy="38858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Oval 132"/>
              <p:cNvSpPr/>
              <p:nvPr/>
            </p:nvSpPr>
            <p:spPr>
              <a:xfrm>
                <a:off x="5822015" y="1172000"/>
                <a:ext cx="388583" cy="38858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Oval 133"/>
              <p:cNvSpPr/>
              <p:nvPr/>
            </p:nvSpPr>
            <p:spPr>
              <a:xfrm>
                <a:off x="2829640" y="3162178"/>
                <a:ext cx="388583" cy="38858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Oval 134"/>
              <p:cNvSpPr/>
              <p:nvPr/>
            </p:nvSpPr>
            <p:spPr>
              <a:xfrm>
                <a:off x="4499203" y="4195520"/>
                <a:ext cx="388583" cy="38858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Oval 135"/>
              <p:cNvSpPr/>
              <p:nvPr/>
            </p:nvSpPr>
            <p:spPr>
              <a:xfrm>
                <a:off x="5888245" y="3075880"/>
                <a:ext cx="388583" cy="38858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6" name="TextBox 5">
            <a:extLst>
              <a:ext uri="{FF2B5EF4-FFF2-40B4-BE49-F238E27FC236}">
                <a16:creationId xmlns:a16="http://schemas.microsoft.com/office/drawing/2014/main" id="{4C734A30-8D08-4F47-932E-02F6F18AA1A0}"/>
              </a:ext>
            </a:extLst>
          </p:cNvPr>
          <p:cNvSpPr txBox="1"/>
          <p:nvPr/>
        </p:nvSpPr>
        <p:spPr>
          <a:xfrm>
            <a:off x="366820" y="3448393"/>
            <a:ext cx="4197299" cy="1261884"/>
          </a:xfrm>
          <a:prstGeom prst="rect">
            <a:avLst/>
          </a:prstGeom>
          <a:noFill/>
        </p:spPr>
        <p:txBody>
          <a:bodyPr wrap="square" rtlCol="0">
            <a:spAutoFit/>
          </a:bodyPr>
          <a:lstStyle/>
          <a:p>
            <a:pPr marL="117472" indent="-117472">
              <a:spcBef>
                <a:spcPts val="600"/>
              </a:spcBef>
              <a:buFont typeface="Arial" panose="020B0604020202020204" pitchFamily="34" charset="0"/>
              <a:buChar char="•"/>
            </a:pPr>
            <a:r>
              <a:rPr lang="en-US" sz="1050" dirty="0">
                <a:solidFill>
                  <a:schemeClr val="bg1"/>
                </a:solidFill>
                <a:latin typeface="+mn-lt"/>
              </a:rPr>
              <a:t>Cisco leadership in all standards groups accelerates next-gen optics development.</a:t>
            </a:r>
          </a:p>
          <a:p>
            <a:pPr marL="117472" indent="-117472">
              <a:spcBef>
                <a:spcPts val="600"/>
              </a:spcBef>
              <a:buFont typeface="Arial" panose="020B0604020202020204" pitchFamily="34" charset="0"/>
              <a:buChar char="•"/>
            </a:pPr>
            <a:r>
              <a:rPr lang="en-US" sz="1050" dirty="0">
                <a:solidFill>
                  <a:schemeClr val="bg1"/>
                </a:solidFill>
                <a:latin typeface="+mn-lt"/>
              </a:rPr>
              <a:t>Investment in optics technology, design, and manufacturing improves performance and scale while lowering costs.</a:t>
            </a:r>
          </a:p>
          <a:p>
            <a:pPr marL="117472" indent="-117472">
              <a:spcBef>
                <a:spcPts val="600"/>
              </a:spcBef>
              <a:buFont typeface="Arial" panose="020B0604020202020204" pitchFamily="34" charset="0"/>
              <a:buChar char="•"/>
            </a:pPr>
            <a:r>
              <a:rPr lang="en-US" sz="1050" dirty="0" err="1">
                <a:solidFill>
                  <a:schemeClr val="bg1"/>
                </a:solidFill>
                <a:latin typeface="+mn-lt"/>
              </a:rPr>
              <a:t>Luxtera</a:t>
            </a:r>
            <a:r>
              <a:rPr lang="en-US" sz="1050" dirty="0">
                <a:solidFill>
                  <a:schemeClr val="bg1"/>
                </a:solidFill>
                <a:latin typeface="+mn-lt"/>
              </a:rPr>
              <a:t> &amp; Acacia acquisition broadens Cisco’s offering of 100GbE and 400GbE single mode optics.</a:t>
            </a:r>
          </a:p>
        </p:txBody>
      </p:sp>
      <p:sp>
        <p:nvSpPr>
          <p:cNvPr id="59" name="Oval 58"/>
          <p:cNvSpPr/>
          <p:nvPr/>
        </p:nvSpPr>
        <p:spPr>
          <a:xfrm>
            <a:off x="3825394" y="1245476"/>
            <a:ext cx="134007" cy="13400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0" name="Straight Connector 59"/>
          <p:cNvCxnSpPr/>
          <p:nvPr/>
        </p:nvCxnSpPr>
        <p:spPr>
          <a:xfrm>
            <a:off x="3959400" y="1319714"/>
            <a:ext cx="5184600" cy="915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5102679" y="1132538"/>
            <a:ext cx="386177" cy="386177"/>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4" name="Group 73"/>
          <p:cNvGrpSpPr/>
          <p:nvPr/>
        </p:nvGrpSpPr>
        <p:grpSpPr>
          <a:xfrm>
            <a:off x="7456268" y="829724"/>
            <a:ext cx="1051560" cy="1048308"/>
            <a:chOff x="7449497" y="804735"/>
            <a:chExt cx="1041781" cy="1048308"/>
          </a:xfrm>
        </p:grpSpPr>
        <p:sp>
          <p:nvSpPr>
            <p:cNvPr id="42" name="Oval 41"/>
            <p:cNvSpPr/>
            <p:nvPr/>
          </p:nvSpPr>
          <p:spPr>
            <a:xfrm>
              <a:off x="7449497" y="804735"/>
              <a:ext cx="1041781" cy="104178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eform 44"/>
            <p:cNvSpPr/>
            <p:nvPr/>
          </p:nvSpPr>
          <p:spPr>
            <a:xfrm>
              <a:off x="7810939" y="1392226"/>
              <a:ext cx="521612" cy="460817"/>
            </a:xfrm>
            <a:custGeom>
              <a:avLst/>
              <a:gdLst>
                <a:gd name="connsiteX0" fmla="*/ 0 w 757707"/>
                <a:gd name="connsiteY0" fmla="*/ 493690 h 764146"/>
                <a:gd name="connsiteX1" fmla="*/ 216795 w 757707"/>
                <a:gd name="connsiteY1" fmla="*/ 764146 h 764146"/>
                <a:gd name="connsiteX2" fmla="*/ 757707 w 757707"/>
                <a:gd name="connsiteY2" fmla="*/ 397098 h 764146"/>
                <a:gd name="connsiteX3" fmla="*/ 515155 w 757707"/>
                <a:gd name="connsiteY3" fmla="*/ 0 h 764146"/>
                <a:gd name="connsiteX4" fmla="*/ 0 w 757707"/>
                <a:gd name="connsiteY4" fmla="*/ 493690 h 764146"/>
                <a:gd name="connsiteX0" fmla="*/ 0 w 757707"/>
                <a:gd name="connsiteY0" fmla="*/ 493690 h 765195"/>
                <a:gd name="connsiteX1" fmla="*/ 216795 w 757707"/>
                <a:gd name="connsiteY1" fmla="*/ 764146 h 765195"/>
                <a:gd name="connsiteX2" fmla="*/ 757707 w 757707"/>
                <a:gd name="connsiteY2" fmla="*/ 397098 h 765195"/>
                <a:gd name="connsiteX3" fmla="*/ 515155 w 757707"/>
                <a:gd name="connsiteY3" fmla="*/ 0 h 765195"/>
                <a:gd name="connsiteX4" fmla="*/ 0 w 757707"/>
                <a:gd name="connsiteY4" fmla="*/ 493690 h 765195"/>
                <a:gd name="connsiteX0" fmla="*/ 0 w 757707"/>
                <a:gd name="connsiteY0" fmla="*/ 493690 h 765202"/>
                <a:gd name="connsiteX1" fmla="*/ 216795 w 757707"/>
                <a:gd name="connsiteY1" fmla="*/ 764146 h 765202"/>
                <a:gd name="connsiteX2" fmla="*/ 757707 w 757707"/>
                <a:gd name="connsiteY2" fmla="*/ 397098 h 765202"/>
                <a:gd name="connsiteX3" fmla="*/ 515155 w 757707"/>
                <a:gd name="connsiteY3" fmla="*/ 0 h 765202"/>
                <a:gd name="connsiteX4" fmla="*/ 0 w 757707"/>
                <a:gd name="connsiteY4" fmla="*/ 493690 h 765202"/>
                <a:gd name="connsiteX0" fmla="*/ 0 w 757707"/>
                <a:gd name="connsiteY0" fmla="*/ 493690 h 764146"/>
                <a:gd name="connsiteX1" fmla="*/ 216795 w 757707"/>
                <a:gd name="connsiteY1" fmla="*/ 764146 h 764146"/>
                <a:gd name="connsiteX2" fmla="*/ 757707 w 757707"/>
                <a:gd name="connsiteY2" fmla="*/ 397098 h 764146"/>
                <a:gd name="connsiteX3" fmla="*/ 515155 w 757707"/>
                <a:gd name="connsiteY3" fmla="*/ 0 h 764146"/>
                <a:gd name="connsiteX4" fmla="*/ 0 w 757707"/>
                <a:gd name="connsiteY4" fmla="*/ 493690 h 764146"/>
                <a:gd name="connsiteX0" fmla="*/ 0 w 757707"/>
                <a:gd name="connsiteY0" fmla="*/ 493690 h 764146"/>
                <a:gd name="connsiteX1" fmla="*/ 216795 w 757707"/>
                <a:gd name="connsiteY1" fmla="*/ 764146 h 764146"/>
                <a:gd name="connsiteX2" fmla="*/ 757707 w 757707"/>
                <a:gd name="connsiteY2" fmla="*/ 397098 h 764146"/>
                <a:gd name="connsiteX3" fmla="*/ 515155 w 757707"/>
                <a:gd name="connsiteY3" fmla="*/ 0 h 764146"/>
                <a:gd name="connsiteX4" fmla="*/ 0 w 757707"/>
                <a:gd name="connsiteY4" fmla="*/ 493690 h 764146"/>
                <a:gd name="connsiteX0" fmla="*/ 0 w 757707"/>
                <a:gd name="connsiteY0" fmla="*/ 493690 h 765605"/>
                <a:gd name="connsiteX1" fmla="*/ 216795 w 757707"/>
                <a:gd name="connsiteY1" fmla="*/ 764146 h 765605"/>
                <a:gd name="connsiteX2" fmla="*/ 757707 w 757707"/>
                <a:gd name="connsiteY2" fmla="*/ 397098 h 765605"/>
                <a:gd name="connsiteX3" fmla="*/ 515155 w 757707"/>
                <a:gd name="connsiteY3" fmla="*/ 0 h 765605"/>
                <a:gd name="connsiteX4" fmla="*/ 0 w 757707"/>
                <a:gd name="connsiteY4" fmla="*/ 493690 h 765605"/>
                <a:gd name="connsiteX0" fmla="*/ 0 w 757707"/>
                <a:gd name="connsiteY0" fmla="*/ 493690 h 765625"/>
                <a:gd name="connsiteX1" fmla="*/ 216795 w 757707"/>
                <a:gd name="connsiteY1" fmla="*/ 764146 h 765625"/>
                <a:gd name="connsiteX2" fmla="*/ 757707 w 757707"/>
                <a:gd name="connsiteY2" fmla="*/ 397098 h 765625"/>
                <a:gd name="connsiteX3" fmla="*/ 515155 w 757707"/>
                <a:gd name="connsiteY3" fmla="*/ 0 h 765625"/>
                <a:gd name="connsiteX4" fmla="*/ 0 w 757707"/>
                <a:gd name="connsiteY4" fmla="*/ 493690 h 765625"/>
                <a:gd name="connsiteX0" fmla="*/ 0 w 757707"/>
                <a:gd name="connsiteY0" fmla="*/ 484341 h 756276"/>
                <a:gd name="connsiteX1" fmla="*/ 216795 w 757707"/>
                <a:gd name="connsiteY1" fmla="*/ 754797 h 756276"/>
                <a:gd name="connsiteX2" fmla="*/ 757707 w 757707"/>
                <a:gd name="connsiteY2" fmla="*/ 387749 h 756276"/>
                <a:gd name="connsiteX3" fmla="*/ 509545 w 757707"/>
                <a:gd name="connsiteY3" fmla="*/ 0 h 756276"/>
                <a:gd name="connsiteX4" fmla="*/ 0 w 757707"/>
                <a:gd name="connsiteY4" fmla="*/ 484341 h 756276"/>
                <a:gd name="connsiteX0" fmla="*/ 0 w 767057"/>
                <a:gd name="connsiteY0" fmla="*/ 484341 h 756102"/>
                <a:gd name="connsiteX1" fmla="*/ 216795 w 767057"/>
                <a:gd name="connsiteY1" fmla="*/ 754797 h 756102"/>
                <a:gd name="connsiteX2" fmla="*/ 767057 w 767057"/>
                <a:gd name="connsiteY2" fmla="*/ 350350 h 756102"/>
                <a:gd name="connsiteX3" fmla="*/ 509545 w 767057"/>
                <a:gd name="connsiteY3" fmla="*/ 0 h 756102"/>
                <a:gd name="connsiteX4" fmla="*/ 0 w 767057"/>
                <a:gd name="connsiteY4" fmla="*/ 484341 h 756102"/>
                <a:gd name="connsiteX0" fmla="*/ 0 w 767057"/>
                <a:gd name="connsiteY0" fmla="*/ 484341 h 756263"/>
                <a:gd name="connsiteX1" fmla="*/ 216795 w 767057"/>
                <a:gd name="connsiteY1" fmla="*/ 754797 h 756263"/>
                <a:gd name="connsiteX2" fmla="*/ 767057 w 767057"/>
                <a:gd name="connsiteY2" fmla="*/ 350350 h 756263"/>
                <a:gd name="connsiteX3" fmla="*/ 509545 w 767057"/>
                <a:gd name="connsiteY3" fmla="*/ 0 h 756263"/>
                <a:gd name="connsiteX4" fmla="*/ 0 w 767057"/>
                <a:gd name="connsiteY4" fmla="*/ 484341 h 756263"/>
                <a:gd name="connsiteX0" fmla="*/ 0 w 767057"/>
                <a:gd name="connsiteY0" fmla="*/ 181145 h 453067"/>
                <a:gd name="connsiteX1" fmla="*/ 216795 w 767057"/>
                <a:gd name="connsiteY1" fmla="*/ 451601 h 453067"/>
                <a:gd name="connsiteX2" fmla="*/ 767057 w 767057"/>
                <a:gd name="connsiteY2" fmla="*/ 47154 h 453067"/>
                <a:gd name="connsiteX3" fmla="*/ 408480 w 767057"/>
                <a:gd name="connsiteY3" fmla="*/ 0 h 453067"/>
                <a:gd name="connsiteX4" fmla="*/ 0 w 767057"/>
                <a:gd name="connsiteY4" fmla="*/ 181145 h 453067"/>
                <a:gd name="connsiteX0" fmla="*/ 0 w 622678"/>
                <a:gd name="connsiteY0" fmla="*/ 181145 h 460815"/>
                <a:gd name="connsiteX1" fmla="*/ 216795 w 622678"/>
                <a:gd name="connsiteY1" fmla="*/ 451601 h 460815"/>
                <a:gd name="connsiteX2" fmla="*/ 622678 w 622678"/>
                <a:gd name="connsiteY2" fmla="*/ 299818 h 460815"/>
                <a:gd name="connsiteX3" fmla="*/ 408480 w 622678"/>
                <a:gd name="connsiteY3" fmla="*/ 0 h 460815"/>
                <a:gd name="connsiteX4" fmla="*/ 0 w 622678"/>
                <a:gd name="connsiteY4" fmla="*/ 181145 h 460815"/>
                <a:gd name="connsiteX0" fmla="*/ 0 w 622678"/>
                <a:gd name="connsiteY0" fmla="*/ 181145 h 454827"/>
                <a:gd name="connsiteX1" fmla="*/ 216795 w 622678"/>
                <a:gd name="connsiteY1" fmla="*/ 451601 h 454827"/>
                <a:gd name="connsiteX2" fmla="*/ 622678 w 622678"/>
                <a:gd name="connsiteY2" fmla="*/ 299818 h 454827"/>
                <a:gd name="connsiteX3" fmla="*/ 408480 w 622678"/>
                <a:gd name="connsiteY3" fmla="*/ 0 h 454827"/>
                <a:gd name="connsiteX4" fmla="*/ 0 w 622678"/>
                <a:gd name="connsiteY4" fmla="*/ 181145 h 454827"/>
                <a:gd name="connsiteX0" fmla="*/ 0 w 622678"/>
                <a:gd name="connsiteY0" fmla="*/ 181145 h 460817"/>
                <a:gd name="connsiteX1" fmla="*/ 216795 w 622678"/>
                <a:gd name="connsiteY1" fmla="*/ 451601 h 460817"/>
                <a:gd name="connsiteX2" fmla="*/ 622678 w 622678"/>
                <a:gd name="connsiteY2" fmla="*/ 299818 h 460817"/>
                <a:gd name="connsiteX3" fmla="*/ 408480 w 622678"/>
                <a:gd name="connsiteY3" fmla="*/ 0 h 460817"/>
                <a:gd name="connsiteX4" fmla="*/ 0 w 622678"/>
                <a:gd name="connsiteY4" fmla="*/ 181145 h 460817"/>
                <a:gd name="connsiteX0" fmla="*/ 0 w 521612"/>
                <a:gd name="connsiteY0" fmla="*/ 339962 h 460817"/>
                <a:gd name="connsiteX1" fmla="*/ 115729 w 521612"/>
                <a:gd name="connsiteY1" fmla="*/ 451601 h 460817"/>
                <a:gd name="connsiteX2" fmla="*/ 521612 w 521612"/>
                <a:gd name="connsiteY2" fmla="*/ 299818 h 460817"/>
                <a:gd name="connsiteX3" fmla="*/ 307414 w 521612"/>
                <a:gd name="connsiteY3" fmla="*/ 0 h 460817"/>
                <a:gd name="connsiteX4" fmla="*/ 0 w 521612"/>
                <a:gd name="connsiteY4" fmla="*/ 339962 h 460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612" h="460817">
                  <a:moveTo>
                    <a:pt x="0" y="339962"/>
                  </a:moveTo>
                  <a:lnTo>
                    <a:pt x="115729" y="451601"/>
                  </a:lnTo>
                  <a:cubicBezTo>
                    <a:pt x="326094" y="496764"/>
                    <a:pt x="480741" y="364647"/>
                    <a:pt x="521612" y="299818"/>
                  </a:cubicBezTo>
                  <a:lnTo>
                    <a:pt x="307414" y="0"/>
                  </a:lnTo>
                  <a:lnTo>
                    <a:pt x="0" y="339962"/>
                  </a:lnTo>
                  <a:close/>
                </a:path>
              </a:pathLst>
            </a:custGeom>
            <a:solidFill>
              <a:srgbClr val="00A3E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p:cNvGrpSpPr/>
            <p:nvPr/>
          </p:nvGrpSpPr>
          <p:grpSpPr>
            <a:xfrm>
              <a:off x="7667963" y="923220"/>
              <a:ext cx="595224" cy="816118"/>
              <a:chOff x="3909851" y="1755512"/>
              <a:chExt cx="1324020" cy="1815378"/>
            </a:xfrm>
          </p:grpSpPr>
          <p:sp>
            <p:nvSpPr>
              <p:cNvPr id="12" name="Rectangle 11"/>
              <p:cNvSpPr/>
              <p:nvPr/>
            </p:nvSpPr>
            <p:spPr>
              <a:xfrm>
                <a:off x="4230797" y="2814145"/>
                <a:ext cx="688044" cy="75674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Donut 15"/>
              <p:cNvSpPr/>
              <p:nvPr/>
            </p:nvSpPr>
            <p:spPr>
              <a:xfrm>
                <a:off x="3909851" y="2094564"/>
                <a:ext cx="262386" cy="262386"/>
              </a:xfrm>
              <a:prstGeom prst="donut">
                <a:avLst>
                  <a:gd name="adj" fmla="val 31172"/>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6" name="Donut 65"/>
              <p:cNvSpPr/>
              <p:nvPr/>
            </p:nvSpPr>
            <p:spPr>
              <a:xfrm>
                <a:off x="4971485" y="2094564"/>
                <a:ext cx="262386" cy="262386"/>
              </a:xfrm>
              <a:prstGeom prst="donut">
                <a:avLst>
                  <a:gd name="adj" fmla="val 31172"/>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7" name="Donut 66"/>
              <p:cNvSpPr/>
              <p:nvPr/>
            </p:nvSpPr>
            <p:spPr>
              <a:xfrm>
                <a:off x="4099604" y="1755512"/>
                <a:ext cx="262386" cy="262386"/>
              </a:xfrm>
              <a:prstGeom prst="donut">
                <a:avLst>
                  <a:gd name="adj" fmla="val 31172"/>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8" name="Donut 67"/>
              <p:cNvSpPr/>
              <p:nvPr/>
            </p:nvSpPr>
            <p:spPr>
              <a:xfrm>
                <a:off x="4743146" y="1755512"/>
                <a:ext cx="262386" cy="262386"/>
              </a:xfrm>
              <a:prstGeom prst="donut">
                <a:avLst>
                  <a:gd name="adj" fmla="val 31172"/>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9" name="Freeform 68"/>
              <p:cNvSpPr/>
              <p:nvPr/>
            </p:nvSpPr>
            <p:spPr>
              <a:xfrm>
                <a:off x="4140310" y="2238341"/>
                <a:ext cx="325730" cy="582783"/>
              </a:xfrm>
              <a:custGeom>
                <a:avLst/>
                <a:gdLst>
                  <a:gd name="connsiteX0" fmla="*/ 0 w 315919"/>
                  <a:gd name="connsiteY0" fmla="*/ 76527 h 582783"/>
                  <a:gd name="connsiteX1" fmla="*/ 29433 w 315919"/>
                  <a:gd name="connsiteY1" fmla="*/ 0 h 582783"/>
                  <a:gd name="connsiteX2" fmla="*/ 315919 w 315919"/>
                  <a:gd name="connsiteY2" fmla="*/ 582783 h 582783"/>
                  <a:gd name="connsiteX3" fmla="*/ 237430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25730"/>
                  <a:gd name="connsiteY0" fmla="*/ 76527 h 582783"/>
                  <a:gd name="connsiteX1" fmla="*/ 29433 w 325730"/>
                  <a:gd name="connsiteY1" fmla="*/ 0 h 582783"/>
                  <a:gd name="connsiteX2" fmla="*/ 325730 w 325730"/>
                  <a:gd name="connsiteY2" fmla="*/ 582783 h 582783"/>
                  <a:gd name="connsiteX3" fmla="*/ 245279 w 325730"/>
                  <a:gd name="connsiteY3" fmla="*/ 580820 h 582783"/>
                  <a:gd name="connsiteX4" fmla="*/ 0 w 325730"/>
                  <a:gd name="connsiteY4" fmla="*/ 76527 h 582783"/>
                  <a:gd name="connsiteX0" fmla="*/ 0 w 325730"/>
                  <a:gd name="connsiteY0" fmla="*/ 76527 h 582783"/>
                  <a:gd name="connsiteX1" fmla="*/ 29433 w 325730"/>
                  <a:gd name="connsiteY1" fmla="*/ 0 h 582783"/>
                  <a:gd name="connsiteX2" fmla="*/ 325730 w 325730"/>
                  <a:gd name="connsiteY2" fmla="*/ 582783 h 582783"/>
                  <a:gd name="connsiteX3" fmla="*/ 245279 w 325730"/>
                  <a:gd name="connsiteY3" fmla="*/ 580820 h 582783"/>
                  <a:gd name="connsiteX4" fmla="*/ 0 w 325730"/>
                  <a:gd name="connsiteY4" fmla="*/ 76527 h 582783"/>
                  <a:gd name="connsiteX0" fmla="*/ 0 w 325730"/>
                  <a:gd name="connsiteY0" fmla="*/ 76527 h 582783"/>
                  <a:gd name="connsiteX1" fmla="*/ 29433 w 325730"/>
                  <a:gd name="connsiteY1" fmla="*/ 0 h 582783"/>
                  <a:gd name="connsiteX2" fmla="*/ 325730 w 325730"/>
                  <a:gd name="connsiteY2" fmla="*/ 582783 h 582783"/>
                  <a:gd name="connsiteX3" fmla="*/ 245279 w 325730"/>
                  <a:gd name="connsiteY3" fmla="*/ 580820 h 582783"/>
                  <a:gd name="connsiteX4" fmla="*/ 0 w 325730"/>
                  <a:gd name="connsiteY4" fmla="*/ 76527 h 5827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30" h="582783">
                    <a:moveTo>
                      <a:pt x="0" y="76527"/>
                    </a:moveTo>
                    <a:lnTo>
                      <a:pt x="29433" y="0"/>
                    </a:lnTo>
                    <a:cubicBezTo>
                      <a:pt x="115116" y="60829"/>
                      <a:pt x="310687" y="145206"/>
                      <a:pt x="325730" y="582783"/>
                    </a:cubicBezTo>
                    <a:lnTo>
                      <a:pt x="245279" y="580820"/>
                    </a:lnTo>
                    <a:cubicBezTo>
                      <a:pt x="208651" y="259668"/>
                      <a:pt x="117080" y="175947"/>
                      <a:pt x="0" y="76527"/>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reeform 69"/>
              <p:cNvSpPr/>
              <p:nvPr/>
            </p:nvSpPr>
            <p:spPr>
              <a:xfrm flipH="1">
                <a:off x="4679802" y="2238341"/>
                <a:ext cx="325730" cy="582783"/>
              </a:xfrm>
              <a:custGeom>
                <a:avLst/>
                <a:gdLst>
                  <a:gd name="connsiteX0" fmla="*/ 0 w 315919"/>
                  <a:gd name="connsiteY0" fmla="*/ 76527 h 582783"/>
                  <a:gd name="connsiteX1" fmla="*/ 29433 w 315919"/>
                  <a:gd name="connsiteY1" fmla="*/ 0 h 582783"/>
                  <a:gd name="connsiteX2" fmla="*/ 315919 w 315919"/>
                  <a:gd name="connsiteY2" fmla="*/ 582783 h 582783"/>
                  <a:gd name="connsiteX3" fmla="*/ 237430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15919"/>
                  <a:gd name="connsiteY0" fmla="*/ 76527 h 582783"/>
                  <a:gd name="connsiteX1" fmla="*/ 29433 w 315919"/>
                  <a:gd name="connsiteY1" fmla="*/ 0 h 582783"/>
                  <a:gd name="connsiteX2" fmla="*/ 315919 w 315919"/>
                  <a:gd name="connsiteY2" fmla="*/ 582783 h 582783"/>
                  <a:gd name="connsiteX3" fmla="*/ 245279 w 315919"/>
                  <a:gd name="connsiteY3" fmla="*/ 580820 h 582783"/>
                  <a:gd name="connsiteX4" fmla="*/ 0 w 315919"/>
                  <a:gd name="connsiteY4" fmla="*/ 76527 h 582783"/>
                  <a:gd name="connsiteX0" fmla="*/ 0 w 325730"/>
                  <a:gd name="connsiteY0" fmla="*/ 76527 h 582783"/>
                  <a:gd name="connsiteX1" fmla="*/ 29433 w 325730"/>
                  <a:gd name="connsiteY1" fmla="*/ 0 h 582783"/>
                  <a:gd name="connsiteX2" fmla="*/ 325730 w 325730"/>
                  <a:gd name="connsiteY2" fmla="*/ 582783 h 582783"/>
                  <a:gd name="connsiteX3" fmla="*/ 245279 w 325730"/>
                  <a:gd name="connsiteY3" fmla="*/ 580820 h 582783"/>
                  <a:gd name="connsiteX4" fmla="*/ 0 w 325730"/>
                  <a:gd name="connsiteY4" fmla="*/ 76527 h 582783"/>
                  <a:gd name="connsiteX0" fmla="*/ 0 w 325730"/>
                  <a:gd name="connsiteY0" fmla="*/ 76527 h 582783"/>
                  <a:gd name="connsiteX1" fmla="*/ 29433 w 325730"/>
                  <a:gd name="connsiteY1" fmla="*/ 0 h 582783"/>
                  <a:gd name="connsiteX2" fmla="*/ 325730 w 325730"/>
                  <a:gd name="connsiteY2" fmla="*/ 582783 h 582783"/>
                  <a:gd name="connsiteX3" fmla="*/ 245279 w 325730"/>
                  <a:gd name="connsiteY3" fmla="*/ 580820 h 582783"/>
                  <a:gd name="connsiteX4" fmla="*/ 0 w 325730"/>
                  <a:gd name="connsiteY4" fmla="*/ 76527 h 582783"/>
                  <a:gd name="connsiteX0" fmla="*/ 0 w 325730"/>
                  <a:gd name="connsiteY0" fmla="*/ 76527 h 582783"/>
                  <a:gd name="connsiteX1" fmla="*/ 29433 w 325730"/>
                  <a:gd name="connsiteY1" fmla="*/ 0 h 582783"/>
                  <a:gd name="connsiteX2" fmla="*/ 325730 w 325730"/>
                  <a:gd name="connsiteY2" fmla="*/ 582783 h 582783"/>
                  <a:gd name="connsiteX3" fmla="*/ 245279 w 325730"/>
                  <a:gd name="connsiteY3" fmla="*/ 580820 h 582783"/>
                  <a:gd name="connsiteX4" fmla="*/ 0 w 325730"/>
                  <a:gd name="connsiteY4" fmla="*/ 76527 h 5827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30" h="582783">
                    <a:moveTo>
                      <a:pt x="0" y="76527"/>
                    </a:moveTo>
                    <a:lnTo>
                      <a:pt x="29433" y="0"/>
                    </a:lnTo>
                    <a:cubicBezTo>
                      <a:pt x="115116" y="60829"/>
                      <a:pt x="310687" y="145206"/>
                      <a:pt x="325730" y="582783"/>
                    </a:cubicBezTo>
                    <a:lnTo>
                      <a:pt x="245279" y="580820"/>
                    </a:lnTo>
                    <a:cubicBezTo>
                      <a:pt x="208651" y="259668"/>
                      <a:pt x="117080" y="175947"/>
                      <a:pt x="0" y="76527"/>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eform 70"/>
              <p:cNvSpPr/>
              <p:nvPr/>
            </p:nvSpPr>
            <p:spPr>
              <a:xfrm>
                <a:off x="4275703" y="1949893"/>
                <a:ext cx="292373" cy="871231"/>
              </a:xfrm>
              <a:custGeom>
                <a:avLst/>
                <a:gdLst>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4943 h 867307"/>
                  <a:gd name="connsiteX1" fmla="*/ 66716 w 292373"/>
                  <a:gd name="connsiteY1" fmla="*/ 0 h 867307"/>
                  <a:gd name="connsiteX2" fmla="*/ 292373 w 292373"/>
                  <a:gd name="connsiteY2" fmla="*/ 863382 h 867307"/>
                  <a:gd name="connsiteX3" fmla="*/ 206034 w 292373"/>
                  <a:gd name="connsiteY3" fmla="*/ 867307 h 867307"/>
                  <a:gd name="connsiteX4" fmla="*/ 0 w 292373"/>
                  <a:gd name="connsiteY4" fmla="*/ 54943 h 867307"/>
                  <a:gd name="connsiteX0" fmla="*/ 0 w 292373"/>
                  <a:gd name="connsiteY0" fmla="*/ 54943 h 871231"/>
                  <a:gd name="connsiteX1" fmla="*/ 66716 w 292373"/>
                  <a:gd name="connsiteY1" fmla="*/ 0 h 871231"/>
                  <a:gd name="connsiteX2" fmla="*/ 292373 w 292373"/>
                  <a:gd name="connsiteY2" fmla="*/ 871231 h 871231"/>
                  <a:gd name="connsiteX3" fmla="*/ 206034 w 292373"/>
                  <a:gd name="connsiteY3" fmla="*/ 867307 h 871231"/>
                  <a:gd name="connsiteX4" fmla="*/ 0 w 292373"/>
                  <a:gd name="connsiteY4" fmla="*/ 54943 h 871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373" h="871231">
                    <a:moveTo>
                      <a:pt x="0" y="54943"/>
                    </a:moveTo>
                    <a:lnTo>
                      <a:pt x="66716" y="0"/>
                    </a:lnTo>
                    <a:cubicBezTo>
                      <a:pt x="162212" y="139319"/>
                      <a:pt x="271442" y="478785"/>
                      <a:pt x="292373" y="871231"/>
                    </a:cubicBezTo>
                    <a:lnTo>
                      <a:pt x="206034" y="867307"/>
                    </a:lnTo>
                    <a:cubicBezTo>
                      <a:pt x="192298" y="588670"/>
                      <a:pt x="111847" y="276676"/>
                      <a:pt x="0" y="54943"/>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Freeform 71"/>
              <p:cNvSpPr/>
              <p:nvPr/>
            </p:nvSpPr>
            <p:spPr>
              <a:xfrm flipH="1">
                <a:off x="4580004" y="1949893"/>
                <a:ext cx="292373" cy="871231"/>
              </a:xfrm>
              <a:custGeom>
                <a:avLst/>
                <a:gdLst>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1018 h 863382"/>
                  <a:gd name="connsiteX1" fmla="*/ 70640 w 292373"/>
                  <a:gd name="connsiteY1" fmla="*/ 0 h 863382"/>
                  <a:gd name="connsiteX2" fmla="*/ 292373 w 292373"/>
                  <a:gd name="connsiteY2" fmla="*/ 859457 h 863382"/>
                  <a:gd name="connsiteX3" fmla="*/ 206034 w 292373"/>
                  <a:gd name="connsiteY3" fmla="*/ 863382 h 863382"/>
                  <a:gd name="connsiteX4" fmla="*/ 0 w 292373"/>
                  <a:gd name="connsiteY4" fmla="*/ 51018 h 863382"/>
                  <a:gd name="connsiteX0" fmla="*/ 0 w 292373"/>
                  <a:gd name="connsiteY0" fmla="*/ 54943 h 867307"/>
                  <a:gd name="connsiteX1" fmla="*/ 66716 w 292373"/>
                  <a:gd name="connsiteY1" fmla="*/ 0 h 867307"/>
                  <a:gd name="connsiteX2" fmla="*/ 292373 w 292373"/>
                  <a:gd name="connsiteY2" fmla="*/ 863382 h 867307"/>
                  <a:gd name="connsiteX3" fmla="*/ 206034 w 292373"/>
                  <a:gd name="connsiteY3" fmla="*/ 867307 h 867307"/>
                  <a:gd name="connsiteX4" fmla="*/ 0 w 292373"/>
                  <a:gd name="connsiteY4" fmla="*/ 54943 h 867307"/>
                  <a:gd name="connsiteX0" fmla="*/ 0 w 292373"/>
                  <a:gd name="connsiteY0" fmla="*/ 54943 h 871231"/>
                  <a:gd name="connsiteX1" fmla="*/ 66716 w 292373"/>
                  <a:gd name="connsiteY1" fmla="*/ 0 h 871231"/>
                  <a:gd name="connsiteX2" fmla="*/ 292373 w 292373"/>
                  <a:gd name="connsiteY2" fmla="*/ 871231 h 871231"/>
                  <a:gd name="connsiteX3" fmla="*/ 206034 w 292373"/>
                  <a:gd name="connsiteY3" fmla="*/ 867307 h 871231"/>
                  <a:gd name="connsiteX4" fmla="*/ 0 w 292373"/>
                  <a:gd name="connsiteY4" fmla="*/ 54943 h 871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373" h="871231">
                    <a:moveTo>
                      <a:pt x="0" y="54943"/>
                    </a:moveTo>
                    <a:lnTo>
                      <a:pt x="66716" y="0"/>
                    </a:lnTo>
                    <a:cubicBezTo>
                      <a:pt x="162212" y="139319"/>
                      <a:pt x="271442" y="478785"/>
                      <a:pt x="292373" y="871231"/>
                    </a:cubicBezTo>
                    <a:lnTo>
                      <a:pt x="206034" y="867307"/>
                    </a:lnTo>
                    <a:cubicBezTo>
                      <a:pt x="192298" y="588670"/>
                      <a:pt x="111847" y="276676"/>
                      <a:pt x="0" y="54943"/>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cxnSp>
        <p:nvCxnSpPr>
          <p:cNvPr id="10" name="Straight Connector 9"/>
          <p:cNvCxnSpPr/>
          <p:nvPr/>
        </p:nvCxnSpPr>
        <p:spPr>
          <a:xfrm>
            <a:off x="366820" y="3389584"/>
            <a:ext cx="3808797" cy="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62" name="Group 61"/>
          <p:cNvGrpSpPr>
            <a:grpSpLocks noChangeAspect="1"/>
          </p:cNvGrpSpPr>
          <p:nvPr/>
        </p:nvGrpSpPr>
        <p:grpSpPr>
          <a:xfrm>
            <a:off x="2931572" y="2409914"/>
            <a:ext cx="327943" cy="362629"/>
            <a:chOff x="5345610" y="2367556"/>
            <a:chExt cx="519984" cy="574982"/>
          </a:xfrm>
          <a:solidFill>
            <a:schemeClr val="tx2"/>
          </a:solidFill>
        </p:grpSpPr>
        <p:sp>
          <p:nvSpPr>
            <p:cNvPr id="63" name="Freeform 105"/>
            <p:cNvSpPr>
              <a:spLocks noChangeAspect="1"/>
            </p:cNvSpPr>
            <p:nvPr/>
          </p:nvSpPr>
          <p:spPr bwMode="auto">
            <a:xfrm>
              <a:off x="5345610" y="2367556"/>
              <a:ext cx="491985" cy="574982"/>
            </a:xfrm>
            <a:custGeom>
              <a:avLst/>
              <a:gdLst>
                <a:gd name="T0" fmla="*/ 200 w 208"/>
                <a:gd name="T1" fmla="*/ 206 h 243"/>
                <a:gd name="T2" fmla="*/ 188 w 208"/>
                <a:gd name="T3" fmla="*/ 217 h 243"/>
                <a:gd name="T4" fmla="*/ 174 w 208"/>
                <a:gd name="T5" fmla="*/ 226 h 243"/>
                <a:gd name="T6" fmla="*/ 158 w 208"/>
                <a:gd name="T7" fmla="*/ 234 h 243"/>
                <a:gd name="T8" fmla="*/ 142 w 208"/>
                <a:gd name="T9" fmla="*/ 238 h 243"/>
                <a:gd name="T10" fmla="*/ 75 w 208"/>
                <a:gd name="T11" fmla="*/ 233 h 243"/>
                <a:gd name="T12" fmla="*/ 22 w 208"/>
                <a:gd name="T13" fmla="*/ 191 h 243"/>
                <a:gd name="T14" fmla="*/ 0 w 208"/>
                <a:gd name="T15" fmla="*/ 125 h 243"/>
                <a:gd name="T16" fmla="*/ 19 w 208"/>
                <a:gd name="T17" fmla="*/ 58 h 243"/>
                <a:gd name="T18" fmla="*/ 73 w 208"/>
                <a:gd name="T19" fmla="*/ 12 h 243"/>
                <a:gd name="T20" fmla="*/ 144 w 208"/>
                <a:gd name="T21" fmla="*/ 4 h 243"/>
                <a:gd name="T22" fmla="*/ 162 w 208"/>
                <a:gd name="T23" fmla="*/ 8 h 243"/>
                <a:gd name="T24" fmla="*/ 178 w 208"/>
                <a:gd name="T25" fmla="*/ 16 h 243"/>
                <a:gd name="T26" fmla="*/ 194 w 208"/>
                <a:gd name="T27" fmla="*/ 25 h 243"/>
                <a:gd name="T28" fmla="*/ 208 w 208"/>
                <a:gd name="T29" fmla="*/ 37 h 243"/>
                <a:gd name="T30" fmla="*/ 192 w 208"/>
                <a:gd name="T31" fmla="*/ 53 h 243"/>
                <a:gd name="T32" fmla="*/ 140 w 208"/>
                <a:gd name="T33" fmla="*/ 24 h 243"/>
                <a:gd name="T34" fmla="*/ 79 w 208"/>
                <a:gd name="T35" fmla="*/ 28 h 243"/>
                <a:gd name="T36" fmla="*/ 31 w 208"/>
                <a:gd name="T37" fmla="*/ 66 h 243"/>
                <a:gd name="T38" fmla="*/ 12 w 208"/>
                <a:gd name="T39" fmla="*/ 125 h 243"/>
                <a:gd name="T40" fmla="*/ 29 w 208"/>
                <a:gd name="T41" fmla="*/ 186 h 243"/>
                <a:gd name="T42" fmla="*/ 77 w 208"/>
                <a:gd name="T43" fmla="*/ 228 h 243"/>
                <a:gd name="T44" fmla="*/ 142 w 208"/>
                <a:gd name="T45" fmla="*/ 236 h 243"/>
                <a:gd name="T46" fmla="*/ 158 w 208"/>
                <a:gd name="T47" fmla="*/ 232 h 243"/>
                <a:gd name="T48" fmla="*/ 173 w 208"/>
                <a:gd name="T49" fmla="*/ 225 h 243"/>
                <a:gd name="T50" fmla="*/ 187 w 208"/>
                <a:gd name="T51" fmla="*/ 216 h 243"/>
                <a:gd name="T52" fmla="*/ 200 w 208"/>
                <a:gd name="T53" fmla="*/ 20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 h="243">
                  <a:moveTo>
                    <a:pt x="200" y="206"/>
                  </a:moveTo>
                  <a:cubicBezTo>
                    <a:pt x="196" y="210"/>
                    <a:pt x="192" y="214"/>
                    <a:pt x="188" y="217"/>
                  </a:cubicBezTo>
                  <a:cubicBezTo>
                    <a:pt x="183" y="220"/>
                    <a:pt x="179" y="224"/>
                    <a:pt x="174" y="226"/>
                  </a:cubicBezTo>
                  <a:cubicBezTo>
                    <a:pt x="169" y="229"/>
                    <a:pt x="164" y="232"/>
                    <a:pt x="158" y="234"/>
                  </a:cubicBezTo>
                  <a:cubicBezTo>
                    <a:pt x="153" y="235"/>
                    <a:pt x="148" y="237"/>
                    <a:pt x="142" y="238"/>
                  </a:cubicBezTo>
                  <a:cubicBezTo>
                    <a:pt x="120" y="243"/>
                    <a:pt x="96" y="242"/>
                    <a:pt x="75" y="233"/>
                  </a:cubicBezTo>
                  <a:cubicBezTo>
                    <a:pt x="54" y="225"/>
                    <a:pt x="35" y="210"/>
                    <a:pt x="22" y="191"/>
                  </a:cubicBezTo>
                  <a:cubicBezTo>
                    <a:pt x="8" y="172"/>
                    <a:pt x="1" y="149"/>
                    <a:pt x="0" y="125"/>
                  </a:cubicBezTo>
                  <a:cubicBezTo>
                    <a:pt x="0" y="102"/>
                    <a:pt x="6" y="78"/>
                    <a:pt x="19" y="58"/>
                  </a:cubicBezTo>
                  <a:cubicBezTo>
                    <a:pt x="32" y="38"/>
                    <a:pt x="51" y="22"/>
                    <a:pt x="73" y="12"/>
                  </a:cubicBezTo>
                  <a:cubicBezTo>
                    <a:pt x="95" y="3"/>
                    <a:pt x="120" y="0"/>
                    <a:pt x="144" y="4"/>
                  </a:cubicBezTo>
                  <a:cubicBezTo>
                    <a:pt x="150" y="5"/>
                    <a:pt x="156" y="7"/>
                    <a:pt x="162" y="8"/>
                  </a:cubicBezTo>
                  <a:cubicBezTo>
                    <a:pt x="167" y="10"/>
                    <a:pt x="173" y="13"/>
                    <a:pt x="178" y="16"/>
                  </a:cubicBezTo>
                  <a:cubicBezTo>
                    <a:pt x="184" y="18"/>
                    <a:pt x="189" y="22"/>
                    <a:pt x="194" y="25"/>
                  </a:cubicBezTo>
                  <a:cubicBezTo>
                    <a:pt x="199" y="29"/>
                    <a:pt x="204" y="33"/>
                    <a:pt x="208" y="37"/>
                  </a:cubicBezTo>
                  <a:cubicBezTo>
                    <a:pt x="192" y="53"/>
                    <a:pt x="192" y="53"/>
                    <a:pt x="192" y="53"/>
                  </a:cubicBezTo>
                  <a:cubicBezTo>
                    <a:pt x="178" y="38"/>
                    <a:pt x="160" y="28"/>
                    <a:pt x="140" y="24"/>
                  </a:cubicBezTo>
                  <a:cubicBezTo>
                    <a:pt x="120" y="19"/>
                    <a:pt x="99" y="21"/>
                    <a:pt x="79" y="28"/>
                  </a:cubicBezTo>
                  <a:cubicBezTo>
                    <a:pt x="60" y="36"/>
                    <a:pt x="43" y="49"/>
                    <a:pt x="31" y="66"/>
                  </a:cubicBezTo>
                  <a:cubicBezTo>
                    <a:pt x="19" y="83"/>
                    <a:pt x="12" y="104"/>
                    <a:pt x="12" y="125"/>
                  </a:cubicBezTo>
                  <a:cubicBezTo>
                    <a:pt x="11" y="147"/>
                    <a:pt x="17" y="168"/>
                    <a:pt x="29" y="186"/>
                  </a:cubicBezTo>
                  <a:cubicBezTo>
                    <a:pt x="40" y="204"/>
                    <a:pt x="57" y="219"/>
                    <a:pt x="77" y="228"/>
                  </a:cubicBezTo>
                  <a:cubicBezTo>
                    <a:pt x="97" y="237"/>
                    <a:pt x="120" y="239"/>
                    <a:pt x="142" y="236"/>
                  </a:cubicBezTo>
                  <a:cubicBezTo>
                    <a:pt x="147" y="235"/>
                    <a:pt x="152" y="233"/>
                    <a:pt x="158" y="232"/>
                  </a:cubicBezTo>
                  <a:cubicBezTo>
                    <a:pt x="163" y="230"/>
                    <a:pt x="168" y="228"/>
                    <a:pt x="173" y="225"/>
                  </a:cubicBezTo>
                  <a:cubicBezTo>
                    <a:pt x="178" y="223"/>
                    <a:pt x="183" y="220"/>
                    <a:pt x="187" y="216"/>
                  </a:cubicBezTo>
                  <a:cubicBezTo>
                    <a:pt x="192" y="213"/>
                    <a:pt x="196" y="210"/>
                    <a:pt x="200"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06"/>
            <p:cNvSpPr>
              <a:spLocks noChangeAspect="1"/>
            </p:cNvSpPr>
            <p:nvPr/>
          </p:nvSpPr>
          <p:spPr bwMode="auto">
            <a:xfrm>
              <a:off x="5572603" y="2426554"/>
              <a:ext cx="292991" cy="292991"/>
            </a:xfrm>
            <a:custGeom>
              <a:avLst/>
              <a:gdLst>
                <a:gd name="T0" fmla="*/ 7 w 124"/>
                <a:gd name="T1" fmla="*/ 117 h 124"/>
                <a:gd name="T2" fmla="*/ 7 w 124"/>
                <a:gd name="T3" fmla="*/ 117 h 124"/>
                <a:gd name="T4" fmla="*/ 7 w 124"/>
                <a:gd name="T5" fmla="*/ 90 h 124"/>
                <a:gd name="T6" fmla="*/ 124 w 124"/>
                <a:gd name="T7" fmla="*/ 0 h 124"/>
                <a:gd name="T8" fmla="*/ 35 w 124"/>
                <a:gd name="T9" fmla="*/ 117 h 124"/>
                <a:gd name="T10" fmla="*/ 7 w 124"/>
                <a:gd name="T11" fmla="*/ 117 h 124"/>
              </a:gdLst>
              <a:ahLst/>
              <a:cxnLst>
                <a:cxn ang="0">
                  <a:pos x="T0" y="T1"/>
                </a:cxn>
                <a:cxn ang="0">
                  <a:pos x="T2" y="T3"/>
                </a:cxn>
                <a:cxn ang="0">
                  <a:pos x="T4" y="T5"/>
                </a:cxn>
                <a:cxn ang="0">
                  <a:pos x="T6" y="T7"/>
                </a:cxn>
                <a:cxn ang="0">
                  <a:pos x="T8" y="T9"/>
                </a:cxn>
                <a:cxn ang="0">
                  <a:pos x="T10" y="T11"/>
                </a:cxn>
              </a:cxnLst>
              <a:rect l="0" t="0" r="r" b="b"/>
              <a:pathLst>
                <a:path w="124" h="124">
                  <a:moveTo>
                    <a:pt x="7" y="117"/>
                  </a:moveTo>
                  <a:cubicBezTo>
                    <a:pt x="7" y="117"/>
                    <a:pt x="7" y="117"/>
                    <a:pt x="7" y="117"/>
                  </a:cubicBezTo>
                  <a:cubicBezTo>
                    <a:pt x="0" y="109"/>
                    <a:pt x="0" y="97"/>
                    <a:pt x="7" y="90"/>
                  </a:cubicBezTo>
                  <a:cubicBezTo>
                    <a:pt x="124" y="0"/>
                    <a:pt x="124" y="0"/>
                    <a:pt x="124" y="0"/>
                  </a:cubicBezTo>
                  <a:cubicBezTo>
                    <a:pt x="35" y="117"/>
                    <a:pt x="35" y="117"/>
                    <a:pt x="35" y="117"/>
                  </a:cubicBezTo>
                  <a:cubicBezTo>
                    <a:pt x="27" y="124"/>
                    <a:pt x="15" y="124"/>
                    <a:pt x="7"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 name="Group 64"/>
          <p:cNvGrpSpPr/>
          <p:nvPr/>
        </p:nvGrpSpPr>
        <p:grpSpPr>
          <a:xfrm>
            <a:off x="1290128" y="2367708"/>
            <a:ext cx="392260" cy="344167"/>
            <a:chOff x="533400" y="1249870"/>
            <a:chExt cx="828675" cy="727076"/>
          </a:xfrm>
          <a:solidFill>
            <a:schemeClr val="bg2"/>
          </a:solidFill>
        </p:grpSpPr>
        <p:sp>
          <p:nvSpPr>
            <p:cNvPr id="78" name="Freeform 5"/>
            <p:cNvSpPr>
              <a:spLocks/>
            </p:cNvSpPr>
            <p:nvPr/>
          </p:nvSpPr>
          <p:spPr bwMode="auto">
            <a:xfrm>
              <a:off x="871538" y="1551495"/>
              <a:ext cx="152400" cy="201613"/>
            </a:xfrm>
            <a:custGeom>
              <a:avLst/>
              <a:gdLst>
                <a:gd name="T0" fmla="*/ 58 w 78"/>
                <a:gd name="T1" fmla="*/ 105 h 105"/>
                <a:gd name="T2" fmla="*/ 20 w 78"/>
                <a:gd name="T3" fmla="*/ 105 h 105"/>
                <a:gd name="T4" fmla="*/ 0 w 78"/>
                <a:gd name="T5" fmla="*/ 85 h 105"/>
                <a:gd name="T6" fmla="*/ 0 w 78"/>
                <a:gd name="T7" fmla="*/ 20 h 105"/>
                <a:gd name="T8" fmla="*/ 20 w 78"/>
                <a:gd name="T9" fmla="*/ 0 h 105"/>
                <a:gd name="T10" fmla="*/ 58 w 78"/>
                <a:gd name="T11" fmla="*/ 0 h 105"/>
                <a:gd name="T12" fmla="*/ 78 w 78"/>
                <a:gd name="T13" fmla="*/ 20 h 105"/>
                <a:gd name="T14" fmla="*/ 78 w 78"/>
                <a:gd name="T15" fmla="*/ 85 h 105"/>
                <a:gd name="T16" fmla="*/ 58 w 78"/>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05">
                  <a:moveTo>
                    <a:pt x="58" y="105"/>
                  </a:moveTo>
                  <a:cubicBezTo>
                    <a:pt x="20" y="105"/>
                    <a:pt x="20" y="105"/>
                    <a:pt x="20" y="105"/>
                  </a:cubicBezTo>
                  <a:cubicBezTo>
                    <a:pt x="9" y="105"/>
                    <a:pt x="0" y="96"/>
                    <a:pt x="0" y="85"/>
                  </a:cubicBezTo>
                  <a:cubicBezTo>
                    <a:pt x="0" y="20"/>
                    <a:pt x="0" y="20"/>
                    <a:pt x="0" y="20"/>
                  </a:cubicBezTo>
                  <a:cubicBezTo>
                    <a:pt x="0" y="9"/>
                    <a:pt x="9" y="0"/>
                    <a:pt x="20" y="0"/>
                  </a:cubicBezTo>
                  <a:cubicBezTo>
                    <a:pt x="58" y="0"/>
                    <a:pt x="58" y="0"/>
                    <a:pt x="58" y="0"/>
                  </a:cubicBezTo>
                  <a:cubicBezTo>
                    <a:pt x="69" y="0"/>
                    <a:pt x="78" y="9"/>
                    <a:pt x="78" y="20"/>
                  </a:cubicBezTo>
                  <a:cubicBezTo>
                    <a:pt x="78" y="85"/>
                    <a:pt x="78" y="85"/>
                    <a:pt x="78" y="85"/>
                  </a:cubicBezTo>
                  <a:cubicBezTo>
                    <a:pt x="78" y="96"/>
                    <a:pt x="69" y="105"/>
                    <a:pt x="58" y="10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9" name="Oval 6"/>
            <p:cNvSpPr>
              <a:spLocks noChangeArrowheads="1"/>
            </p:cNvSpPr>
            <p:nvPr/>
          </p:nvSpPr>
          <p:spPr bwMode="auto">
            <a:xfrm>
              <a:off x="903288" y="1422908"/>
              <a:ext cx="92075" cy="9048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7"/>
            <p:cNvSpPr>
              <a:spLocks/>
            </p:cNvSpPr>
            <p:nvPr/>
          </p:nvSpPr>
          <p:spPr bwMode="auto">
            <a:xfrm>
              <a:off x="712788" y="1249870"/>
              <a:ext cx="106363" cy="100013"/>
            </a:xfrm>
            <a:custGeom>
              <a:avLst/>
              <a:gdLst>
                <a:gd name="T0" fmla="*/ 47 w 54"/>
                <a:gd name="T1" fmla="*/ 15 h 53"/>
                <a:gd name="T2" fmla="*/ 39 w 54"/>
                <a:gd name="T3" fmla="*/ 47 h 53"/>
                <a:gd name="T4" fmla="*/ 7 w 54"/>
                <a:gd name="T5" fmla="*/ 38 h 53"/>
                <a:gd name="T6" fmla="*/ 15 w 54"/>
                <a:gd name="T7" fmla="*/ 6 h 53"/>
                <a:gd name="T8" fmla="*/ 47 w 54"/>
                <a:gd name="T9" fmla="*/ 15 h 53"/>
              </a:gdLst>
              <a:ahLst/>
              <a:cxnLst>
                <a:cxn ang="0">
                  <a:pos x="T0" y="T1"/>
                </a:cxn>
                <a:cxn ang="0">
                  <a:pos x="T2" y="T3"/>
                </a:cxn>
                <a:cxn ang="0">
                  <a:pos x="T4" y="T5"/>
                </a:cxn>
                <a:cxn ang="0">
                  <a:pos x="T6" y="T7"/>
                </a:cxn>
                <a:cxn ang="0">
                  <a:pos x="T8" y="T9"/>
                </a:cxn>
              </a:cxnLst>
              <a:rect l="0" t="0" r="r" b="b"/>
              <a:pathLst>
                <a:path w="54" h="53">
                  <a:moveTo>
                    <a:pt x="47" y="15"/>
                  </a:moveTo>
                  <a:cubicBezTo>
                    <a:pt x="54" y="26"/>
                    <a:pt x="50" y="40"/>
                    <a:pt x="39" y="47"/>
                  </a:cubicBezTo>
                  <a:cubicBezTo>
                    <a:pt x="27" y="53"/>
                    <a:pt x="13" y="50"/>
                    <a:pt x="7" y="38"/>
                  </a:cubicBezTo>
                  <a:cubicBezTo>
                    <a:pt x="0" y="27"/>
                    <a:pt x="4" y="13"/>
                    <a:pt x="15" y="6"/>
                  </a:cubicBezTo>
                  <a:cubicBezTo>
                    <a:pt x="26" y="0"/>
                    <a:pt x="41" y="3"/>
                    <a:pt x="47"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8"/>
            <p:cNvSpPr>
              <a:spLocks/>
            </p:cNvSpPr>
            <p:nvPr/>
          </p:nvSpPr>
          <p:spPr bwMode="auto">
            <a:xfrm>
              <a:off x="793750" y="1359408"/>
              <a:ext cx="42863" cy="44450"/>
            </a:xfrm>
            <a:custGeom>
              <a:avLst/>
              <a:gdLst>
                <a:gd name="T0" fmla="*/ 16 w 22"/>
                <a:gd name="T1" fmla="*/ 20 h 23"/>
                <a:gd name="T2" fmla="*/ 2 w 22"/>
                <a:gd name="T3" fmla="*/ 17 h 23"/>
                <a:gd name="T4" fmla="*/ 6 w 22"/>
                <a:gd name="T5" fmla="*/ 3 h 23"/>
                <a:gd name="T6" fmla="*/ 19 w 22"/>
                <a:gd name="T7" fmla="*/ 7 h 23"/>
                <a:gd name="T8" fmla="*/ 19 w 22"/>
                <a:gd name="T9" fmla="*/ 7 h 23"/>
                <a:gd name="T10" fmla="*/ 1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16" y="20"/>
                  </a:moveTo>
                  <a:cubicBezTo>
                    <a:pt x="11" y="23"/>
                    <a:pt x="5" y="22"/>
                    <a:pt x="2" y="17"/>
                  </a:cubicBezTo>
                  <a:cubicBezTo>
                    <a:pt x="0" y="12"/>
                    <a:pt x="1" y="6"/>
                    <a:pt x="6" y="3"/>
                  </a:cubicBezTo>
                  <a:cubicBezTo>
                    <a:pt x="11" y="0"/>
                    <a:pt x="17" y="2"/>
                    <a:pt x="19" y="7"/>
                  </a:cubicBezTo>
                  <a:cubicBezTo>
                    <a:pt x="19" y="7"/>
                    <a:pt x="19" y="7"/>
                    <a:pt x="19" y="7"/>
                  </a:cubicBezTo>
                  <a:cubicBezTo>
                    <a:pt x="22" y="12"/>
                    <a:pt x="21" y="18"/>
                    <a:pt x="1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9"/>
            <p:cNvSpPr>
              <a:spLocks/>
            </p:cNvSpPr>
            <p:nvPr/>
          </p:nvSpPr>
          <p:spPr bwMode="auto">
            <a:xfrm>
              <a:off x="822325" y="1411795"/>
              <a:ext cx="46038" cy="44450"/>
            </a:xfrm>
            <a:custGeom>
              <a:avLst/>
              <a:gdLst>
                <a:gd name="T0" fmla="*/ 16 w 23"/>
                <a:gd name="T1" fmla="*/ 20 h 23"/>
                <a:gd name="T2" fmla="*/ 3 w 23"/>
                <a:gd name="T3" fmla="*/ 16 h 23"/>
                <a:gd name="T4" fmla="*/ 2 w 23"/>
                <a:gd name="T5" fmla="*/ 16 h 23"/>
                <a:gd name="T6" fmla="*/ 6 w 23"/>
                <a:gd name="T7" fmla="*/ 2 h 23"/>
                <a:gd name="T8" fmla="*/ 20 w 23"/>
                <a:gd name="T9" fmla="*/ 6 h 23"/>
                <a:gd name="T10" fmla="*/ 20 w 23"/>
                <a:gd name="T11" fmla="*/ 6 h 23"/>
                <a:gd name="T12" fmla="*/ 16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20"/>
                  </a:moveTo>
                  <a:cubicBezTo>
                    <a:pt x="11" y="23"/>
                    <a:pt x="5" y="21"/>
                    <a:pt x="3" y="16"/>
                  </a:cubicBezTo>
                  <a:cubicBezTo>
                    <a:pt x="2" y="16"/>
                    <a:pt x="2" y="16"/>
                    <a:pt x="2" y="16"/>
                  </a:cubicBezTo>
                  <a:cubicBezTo>
                    <a:pt x="0" y="11"/>
                    <a:pt x="1" y="5"/>
                    <a:pt x="6" y="2"/>
                  </a:cubicBezTo>
                  <a:cubicBezTo>
                    <a:pt x="11" y="0"/>
                    <a:pt x="17" y="1"/>
                    <a:pt x="20" y="6"/>
                  </a:cubicBezTo>
                  <a:cubicBezTo>
                    <a:pt x="20" y="6"/>
                    <a:pt x="20" y="6"/>
                    <a:pt x="20" y="6"/>
                  </a:cubicBezTo>
                  <a:cubicBezTo>
                    <a:pt x="23" y="11"/>
                    <a:pt x="21" y="17"/>
                    <a:pt x="1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10"/>
            <p:cNvSpPr>
              <a:spLocks/>
            </p:cNvSpPr>
            <p:nvPr/>
          </p:nvSpPr>
          <p:spPr bwMode="auto">
            <a:xfrm>
              <a:off x="1076325" y="1873758"/>
              <a:ext cx="106363" cy="103188"/>
            </a:xfrm>
            <a:custGeom>
              <a:avLst/>
              <a:gdLst>
                <a:gd name="T0" fmla="*/ 7 w 54"/>
                <a:gd name="T1" fmla="*/ 39 h 54"/>
                <a:gd name="T2" fmla="*/ 15 w 54"/>
                <a:gd name="T3" fmla="*/ 7 h 54"/>
                <a:gd name="T4" fmla="*/ 48 w 54"/>
                <a:gd name="T5" fmla="*/ 15 h 54"/>
                <a:gd name="T6" fmla="*/ 39 w 54"/>
                <a:gd name="T7" fmla="*/ 48 h 54"/>
                <a:gd name="T8" fmla="*/ 7 w 54"/>
                <a:gd name="T9" fmla="*/ 39 h 54"/>
              </a:gdLst>
              <a:ahLst/>
              <a:cxnLst>
                <a:cxn ang="0">
                  <a:pos x="T0" y="T1"/>
                </a:cxn>
                <a:cxn ang="0">
                  <a:pos x="T2" y="T3"/>
                </a:cxn>
                <a:cxn ang="0">
                  <a:pos x="T4" y="T5"/>
                </a:cxn>
                <a:cxn ang="0">
                  <a:pos x="T6" y="T7"/>
                </a:cxn>
                <a:cxn ang="0">
                  <a:pos x="T8" y="T9"/>
                </a:cxn>
              </a:cxnLst>
              <a:rect l="0" t="0" r="r" b="b"/>
              <a:pathLst>
                <a:path w="54" h="54">
                  <a:moveTo>
                    <a:pt x="7" y="39"/>
                  </a:moveTo>
                  <a:cubicBezTo>
                    <a:pt x="0" y="28"/>
                    <a:pt x="4" y="13"/>
                    <a:pt x="15" y="7"/>
                  </a:cubicBezTo>
                  <a:cubicBezTo>
                    <a:pt x="27" y="0"/>
                    <a:pt x="41" y="4"/>
                    <a:pt x="48" y="15"/>
                  </a:cubicBezTo>
                  <a:cubicBezTo>
                    <a:pt x="54" y="27"/>
                    <a:pt x="50" y="41"/>
                    <a:pt x="39" y="48"/>
                  </a:cubicBezTo>
                  <a:cubicBezTo>
                    <a:pt x="28" y="54"/>
                    <a:pt x="13" y="50"/>
                    <a:pt x="7" y="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11"/>
            <p:cNvSpPr>
              <a:spLocks/>
            </p:cNvSpPr>
            <p:nvPr/>
          </p:nvSpPr>
          <p:spPr bwMode="auto">
            <a:xfrm>
              <a:off x="1058863" y="1821370"/>
              <a:ext cx="44450" cy="42863"/>
            </a:xfrm>
            <a:custGeom>
              <a:avLst/>
              <a:gdLst>
                <a:gd name="T0" fmla="*/ 6 w 23"/>
                <a:gd name="T1" fmla="*/ 2 h 22"/>
                <a:gd name="T2" fmla="*/ 20 w 23"/>
                <a:gd name="T3" fmla="*/ 6 h 22"/>
                <a:gd name="T4" fmla="*/ 16 w 23"/>
                <a:gd name="T5" fmla="*/ 20 h 22"/>
                <a:gd name="T6" fmla="*/ 3 w 23"/>
                <a:gd name="T7" fmla="*/ 16 h 22"/>
                <a:gd name="T8" fmla="*/ 3 w 23"/>
                <a:gd name="T9" fmla="*/ 16 h 22"/>
                <a:gd name="T10" fmla="*/ 6 w 23"/>
                <a:gd name="T11" fmla="*/ 2 h 22"/>
              </a:gdLst>
              <a:ahLst/>
              <a:cxnLst>
                <a:cxn ang="0">
                  <a:pos x="T0" y="T1"/>
                </a:cxn>
                <a:cxn ang="0">
                  <a:pos x="T2" y="T3"/>
                </a:cxn>
                <a:cxn ang="0">
                  <a:pos x="T4" y="T5"/>
                </a:cxn>
                <a:cxn ang="0">
                  <a:pos x="T6" y="T7"/>
                </a:cxn>
                <a:cxn ang="0">
                  <a:pos x="T8" y="T9"/>
                </a:cxn>
                <a:cxn ang="0">
                  <a:pos x="T10" y="T11"/>
                </a:cxn>
              </a:cxnLst>
              <a:rect l="0" t="0" r="r" b="b"/>
              <a:pathLst>
                <a:path w="23" h="22">
                  <a:moveTo>
                    <a:pt x="6" y="2"/>
                  </a:moveTo>
                  <a:cubicBezTo>
                    <a:pt x="11" y="0"/>
                    <a:pt x="17" y="1"/>
                    <a:pt x="20" y="6"/>
                  </a:cubicBezTo>
                  <a:cubicBezTo>
                    <a:pt x="23" y="11"/>
                    <a:pt x="21" y="17"/>
                    <a:pt x="16" y="20"/>
                  </a:cubicBezTo>
                  <a:cubicBezTo>
                    <a:pt x="12" y="22"/>
                    <a:pt x="6" y="21"/>
                    <a:pt x="3" y="16"/>
                  </a:cubicBezTo>
                  <a:cubicBezTo>
                    <a:pt x="3" y="16"/>
                    <a:pt x="3" y="16"/>
                    <a:pt x="3" y="16"/>
                  </a:cubicBezTo>
                  <a:cubicBezTo>
                    <a:pt x="0" y="11"/>
                    <a:pt x="2" y="5"/>
                    <a:pt x="6"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12"/>
            <p:cNvSpPr>
              <a:spLocks/>
            </p:cNvSpPr>
            <p:nvPr/>
          </p:nvSpPr>
          <p:spPr bwMode="auto">
            <a:xfrm>
              <a:off x="1030288" y="1768983"/>
              <a:ext cx="42863" cy="44450"/>
            </a:xfrm>
            <a:custGeom>
              <a:avLst/>
              <a:gdLst>
                <a:gd name="T0" fmla="*/ 6 w 22"/>
                <a:gd name="T1" fmla="*/ 3 h 23"/>
                <a:gd name="T2" fmla="*/ 20 w 22"/>
                <a:gd name="T3" fmla="*/ 7 h 23"/>
                <a:gd name="T4" fmla="*/ 20 w 22"/>
                <a:gd name="T5" fmla="*/ 7 h 23"/>
                <a:gd name="T6" fmla="*/ 16 w 22"/>
                <a:gd name="T7" fmla="*/ 20 h 23"/>
                <a:gd name="T8" fmla="*/ 3 w 22"/>
                <a:gd name="T9" fmla="*/ 17 h 23"/>
                <a:gd name="T10" fmla="*/ 2 w 22"/>
                <a:gd name="T11" fmla="*/ 16 h 23"/>
                <a:gd name="T12" fmla="*/ 6 w 22"/>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6" y="3"/>
                  </a:moveTo>
                  <a:cubicBezTo>
                    <a:pt x="11" y="0"/>
                    <a:pt x="17" y="2"/>
                    <a:pt x="20" y="7"/>
                  </a:cubicBezTo>
                  <a:cubicBezTo>
                    <a:pt x="20" y="7"/>
                    <a:pt x="20" y="7"/>
                    <a:pt x="20" y="7"/>
                  </a:cubicBezTo>
                  <a:cubicBezTo>
                    <a:pt x="22" y="12"/>
                    <a:pt x="21" y="18"/>
                    <a:pt x="16" y="20"/>
                  </a:cubicBezTo>
                  <a:cubicBezTo>
                    <a:pt x="11" y="23"/>
                    <a:pt x="5" y="21"/>
                    <a:pt x="3" y="17"/>
                  </a:cubicBezTo>
                  <a:cubicBezTo>
                    <a:pt x="2" y="16"/>
                    <a:pt x="2" y="16"/>
                    <a:pt x="2" y="16"/>
                  </a:cubicBezTo>
                  <a:cubicBezTo>
                    <a:pt x="0" y="12"/>
                    <a:pt x="1" y="6"/>
                    <a:pt x="6"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6" name="Oval 13"/>
            <p:cNvSpPr>
              <a:spLocks noChangeArrowheads="1"/>
            </p:cNvSpPr>
            <p:nvPr/>
          </p:nvSpPr>
          <p:spPr bwMode="auto">
            <a:xfrm>
              <a:off x="533400" y="1564195"/>
              <a:ext cx="93663" cy="9048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14"/>
            <p:cNvSpPr>
              <a:spLocks/>
            </p:cNvSpPr>
            <p:nvPr/>
          </p:nvSpPr>
          <p:spPr bwMode="auto">
            <a:xfrm>
              <a:off x="658813" y="1591183"/>
              <a:ext cx="39688" cy="38100"/>
            </a:xfrm>
            <a:custGeom>
              <a:avLst/>
              <a:gdLst>
                <a:gd name="T0" fmla="*/ 20 w 20"/>
                <a:gd name="T1" fmla="*/ 10 h 20"/>
                <a:gd name="T2" fmla="*/ 10 w 20"/>
                <a:gd name="T3" fmla="*/ 20 h 20"/>
                <a:gd name="T4" fmla="*/ 0 w 20"/>
                <a:gd name="T5" fmla="*/ 10 h 20"/>
                <a:gd name="T6" fmla="*/ 10 w 20"/>
                <a:gd name="T7" fmla="*/ 0 h 20"/>
                <a:gd name="T8" fmla="*/ 10 w 20"/>
                <a:gd name="T9" fmla="*/ 0 h 20"/>
                <a:gd name="T10" fmla="*/ 2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20" y="10"/>
                  </a:moveTo>
                  <a:cubicBezTo>
                    <a:pt x="20" y="15"/>
                    <a:pt x="15" y="20"/>
                    <a:pt x="10" y="20"/>
                  </a:cubicBezTo>
                  <a:cubicBezTo>
                    <a:pt x="5" y="20"/>
                    <a:pt x="0" y="15"/>
                    <a:pt x="0" y="10"/>
                  </a:cubicBezTo>
                  <a:cubicBezTo>
                    <a:pt x="0" y="4"/>
                    <a:pt x="4" y="0"/>
                    <a:pt x="10" y="0"/>
                  </a:cubicBezTo>
                  <a:cubicBezTo>
                    <a:pt x="10" y="0"/>
                    <a:pt x="10" y="0"/>
                    <a:pt x="10" y="0"/>
                  </a:cubicBezTo>
                  <a:cubicBezTo>
                    <a:pt x="15" y="0"/>
                    <a:pt x="20" y="4"/>
                    <a:pt x="20"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15"/>
            <p:cNvSpPr>
              <a:spLocks/>
            </p:cNvSpPr>
            <p:nvPr/>
          </p:nvSpPr>
          <p:spPr bwMode="auto">
            <a:xfrm>
              <a:off x="717550" y="1591183"/>
              <a:ext cx="38100" cy="38100"/>
            </a:xfrm>
            <a:custGeom>
              <a:avLst/>
              <a:gdLst>
                <a:gd name="T0" fmla="*/ 20 w 20"/>
                <a:gd name="T1" fmla="*/ 10 h 20"/>
                <a:gd name="T2" fmla="*/ 11 w 20"/>
                <a:gd name="T3" fmla="*/ 20 h 20"/>
                <a:gd name="T4" fmla="*/ 10 w 20"/>
                <a:gd name="T5" fmla="*/ 20 h 20"/>
                <a:gd name="T6" fmla="*/ 0 w 20"/>
                <a:gd name="T7" fmla="*/ 10 h 20"/>
                <a:gd name="T8" fmla="*/ 10 w 20"/>
                <a:gd name="T9" fmla="*/ 0 h 20"/>
                <a:gd name="T10" fmla="*/ 11 w 20"/>
                <a:gd name="T11" fmla="*/ 0 h 20"/>
                <a:gd name="T12" fmla="*/ 2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10"/>
                  </a:moveTo>
                  <a:cubicBezTo>
                    <a:pt x="20" y="15"/>
                    <a:pt x="16" y="20"/>
                    <a:pt x="11" y="20"/>
                  </a:cubicBezTo>
                  <a:cubicBezTo>
                    <a:pt x="10" y="20"/>
                    <a:pt x="10" y="20"/>
                    <a:pt x="10" y="20"/>
                  </a:cubicBezTo>
                  <a:cubicBezTo>
                    <a:pt x="5" y="20"/>
                    <a:pt x="0" y="15"/>
                    <a:pt x="0" y="10"/>
                  </a:cubicBezTo>
                  <a:cubicBezTo>
                    <a:pt x="0" y="4"/>
                    <a:pt x="5" y="0"/>
                    <a:pt x="10" y="0"/>
                  </a:cubicBezTo>
                  <a:cubicBezTo>
                    <a:pt x="11" y="0"/>
                    <a:pt x="11" y="0"/>
                    <a:pt x="11" y="0"/>
                  </a:cubicBezTo>
                  <a:cubicBezTo>
                    <a:pt x="16" y="0"/>
                    <a:pt x="20" y="4"/>
                    <a:pt x="20"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9" name="Oval 16"/>
            <p:cNvSpPr>
              <a:spLocks noChangeArrowheads="1"/>
            </p:cNvSpPr>
            <p:nvPr/>
          </p:nvSpPr>
          <p:spPr bwMode="auto">
            <a:xfrm>
              <a:off x="1270000" y="1568958"/>
              <a:ext cx="92075" cy="9048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17"/>
            <p:cNvSpPr>
              <a:spLocks/>
            </p:cNvSpPr>
            <p:nvPr/>
          </p:nvSpPr>
          <p:spPr bwMode="auto">
            <a:xfrm>
              <a:off x="1198563" y="1595945"/>
              <a:ext cx="38100" cy="38100"/>
            </a:xfrm>
            <a:custGeom>
              <a:avLst/>
              <a:gdLst>
                <a:gd name="T0" fmla="*/ 0 w 20"/>
                <a:gd name="T1" fmla="*/ 10 h 20"/>
                <a:gd name="T2" fmla="*/ 10 w 20"/>
                <a:gd name="T3" fmla="*/ 0 h 20"/>
                <a:gd name="T4" fmla="*/ 20 w 20"/>
                <a:gd name="T5" fmla="*/ 10 h 20"/>
                <a:gd name="T6" fmla="*/ 10 w 20"/>
                <a:gd name="T7" fmla="*/ 20 h 20"/>
                <a:gd name="T8" fmla="*/ 10 w 20"/>
                <a:gd name="T9" fmla="*/ 20 h 20"/>
                <a:gd name="T10" fmla="*/ 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0" y="10"/>
                  </a:moveTo>
                  <a:cubicBezTo>
                    <a:pt x="0" y="4"/>
                    <a:pt x="5" y="0"/>
                    <a:pt x="10" y="0"/>
                  </a:cubicBezTo>
                  <a:cubicBezTo>
                    <a:pt x="16" y="0"/>
                    <a:pt x="20" y="4"/>
                    <a:pt x="20" y="10"/>
                  </a:cubicBezTo>
                  <a:cubicBezTo>
                    <a:pt x="20" y="15"/>
                    <a:pt x="16" y="20"/>
                    <a:pt x="10" y="20"/>
                  </a:cubicBezTo>
                  <a:cubicBezTo>
                    <a:pt x="10" y="20"/>
                    <a:pt x="10" y="20"/>
                    <a:pt x="10" y="20"/>
                  </a:cubicBezTo>
                  <a:cubicBezTo>
                    <a:pt x="5" y="20"/>
                    <a:pt x="0" y="15"/>
                    <a:pt x="0"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18"/>
            <p:cNvSpPr>
              <a:spLocks/>
            </p:cNvSpPr>
            <p:nvPr/>
          </p:nvSpPr>
          <p:spPr bwMode="auto">
            <a:xfrm>
              <a:off x="1139825" y="1595945"/>
              <a:ext cx="38100" cy="38100"/>
            </a:xfrm>
            <a:custGeom>
              <a:avLst/>
              <a:gdLst>
                <a:gd name="T0" fmla="*/ 0 w 20"/>
                <a:gd name="T1" fmla="*/ 10 h 20"/>
                <a:gd name="T2" fmla="*/ 10 w 20"/>
                <a:gd name="T3" fmla="*/ 0 h 20"/>
                <a:gd name="T4" fmla="*/ 10 w 20"/>
                <a:gd name="T5" fmla="*/ 0 h 20"/>
                <a:gd name="T6" fmla="*/ 20 w 20"/>
                <a:gd name="T7" fmla="*/ 10 h 20"/>
                <a:gd name="T8" fmla="*/ 10 w 20"/>
                <a:gd name="T9" fmla="*/ 20 h 20"/>
                <a:gd name="T10" fmla="*/ 10 w 20"/>
                <a:gd name="T11" fmla="*/ 20 h 20"/>
                <a:gd name="T12" fmla="*/ 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0" y="10"/>
                  </a:moveTo>
                  <a:cubicBezTo>
                    <a:pt x="0" y="4"/>
                    <a:pt x="4" y="0"/>
                    <a:pt x="10" y="0"/>
                  </a:cubicBezTo>
                  <a:cubicBezTo>
                    <a:pt x="10" y="0"/>
                    <a:pt x="10" y="0"/>
                    <a:pt x="10" y="0"/>
                  </a:cubicBezTo>
                  <a:cubicBezTo>
                    <a:pt x="15" y="0"/>
                    <a:pt x="20" y="4"/>
                    <a:pt x="20" y="10"/>
                  </a:cubicBezTo>
                  <a:cubicBezTo>
                    <a:pt x="20" y="15"/>
                    <a:pt x="15" y="20"/>
                    <a:pt x="10" y="20"/>
                  </a:cubicBezTo>
                  <a:cubicBezTo>
                    <a:pt x="10" y="20"/>
                    <a:pt x="10" y="20"/>
                    <a:pt x="10" y="20"/>
                  </a:cubicBezTo>
                  <a:cubicBezTo>
                    <a:pt x="4" y="20"/>
                    <a:pt x="0" y="15"/>
                    <a:pt x="0"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9"/>
            <p:cNvSpPr>
              <a:spLocks/>
            </p:cNvSpPr>
            <p:nvPr/>
          </p:nvSpPr>
          <p:spPr bwMode="auto">
            <a:xfrm>
              <a:off x="709613" y="1870583"/>
              <a:ext cx="104775" cy="103188"/>
            </a:xfrm>
            <a:custGeom>
              <a:avLst/>
              <a:gdLst>
                <a:gd name="T0" fmla="*/ 7 w 54"/>
                <a:gd name="T1" fmla="*/ 15 h 54"/>
                <a:gd name="T2" fmla="*/ 39 w 54"/>
                <a:gd name="T3" fmla="*/ 7 h 54"/>
                <a:gd name="T4" fmla="*/ 48 w 54"/>
                <a:gd name="T5" fmla="*/ 39 h 54"/>
                <a:gd name="T6" fmla="*/ 15 w 54"/>
                <a:gd name="T7" fmla="*/ 48 h 54"/>
                <a:gd name="T8" fmla="*/ 7 w 54"/>
                <a:gd name="T9" fmla="*/ 15 h 54"/>
              </a:gdLst>
              <a:ahLst/>
              <a:cxnLst>
                <a:cxn ang="0">
                  <a:pos x="T0" y="T1"/>
                </a:cxn>
                <a:cxn ang="0">
                  <a:pos x="T2" y="T3"/>
                </a:cxn>
                <a:cxn ang="0">
                  <a:pos x="T4" y="T5"/>
                </a:cxn>
                <a:cxn ang="0">
                  <a:pos x="T6" y="T7"/>
                </a:cxn>
                <a:cxn ang="0">
                  <a:pos x="T8" y="T9"/>
                </a:cxn>
              </a:cxnLst>
              <a:rect l="0" t="0" r="r" b="b"/>
              <a:pathLst>
                <a:path w="54" h="54">
                  <a:moveTo>
                    <a:pt x="7" y="15"/>
                  </a:moveTo>
                  <a:cubicBezTo>
                    <a:pt x="13" y="4"/>
                    <a:pt x="28" y="0"/>
                    <a:pt x="39" y="7"/>
                  </a:cubicBezTo>
                  <a:cubicBezTo>
                    <a:pt x="50" y="13"/>
                    <a:pt x="54" y="28"/>
                    <a:pt x="48" y="39"/>
                  </a:cubicBezTo>
                  <a:cubicBezTo>
                    <a:pt x="41" y="50"/>
                    <a:pt x="27" y="54"/>
                    <a:pt x="15" y="48"/>
                  </a:cubicBezTo>
                  <a:cubicBezTo>
                    <a:pt x="4" y="41"/>
                    <a:pt x="0" y="27"/>
                    <a:pt x="7"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20"/>
            <p:cNvSpPr>
              <a:spLocks/>
            </p:cNvSpPr>
            <p:nvPr/>
          </p:nvSpPr>
          <p:spPr bwMode="auto">
            <a:xfrm>
              <a:off x="788988" y="1819783"/>
              <a:ext cx="42863" cy="41275"/>
            </a:xfrm>
            <a:custGeom>
              <a:avLst/>
              <a:gdLst>
                <a:gd name="T0" fmla="*/ 16 w 22"/>
                <a:gd name="T1" fmla="*/ 2 h 22"/>
                <a:gd name="T2" fmla="*/ 20 w 22"/>
                <a:gd name="T3" fmla="*/ 16 h 22"/>
                <a:gd name="T4" fmla="*/ 6 w 22"/>
                <a:gd name="T5" fmla="*/ 20 h 22"/>
                <a:gd name="T6" fmla="*/ 3 w 22"/>
                <a:gd name="T7" fmla="*/ 6 h 22"/>
                <a:gd name="T8" fmla="*/ 3 w 22"/>
                <a:gd name="T9" fmla="*/ 6 h 22"/>
                <a:gd name="T10" fmla="*/ 16 w 22"/>
                <a:gd name="T11" fmla="*/ 2 h 22"/>
              </a:gdLst>
              <a:ahLst/>
              <a:cxnLst>
                <a:cxn ang="0">
                  <a:pos x="T0" y="T1"/>
                </a:cxn>
                <a:cxn ang="0">
                  <a:pos x="T2" y="T3"/>
                </a:cxn>
                <a:cxn ang="0">
                  <a:pos x="T4" y="T5"/>
                </a:cxn>
                <a:cxn ang="0">
                  <a:pos x="T6" y="T7"/>
                </a:cxn>
                <a:cxn ang="0">
                  <a:pos x="T8" y="T9"/>
                </a:cxn>
                <a:cxn ang="0">
                  <a:pos x="T10" y="T11"/>
                </a:cxn>
              </a:cxnLst>
              <a:rect l="0" t="0" r="r" b="b"/>
              <a:pathLst>
                <a:path w="22" h="22">
                  <a:moveTo>
                    <a:pt x="16" y="2"/>
                  </a:moveTo>
                  <a:cubicBezTo>
                    <a:pt x="21" y="5"/>
                    <a:pt x="22" y="11"/>
                    <a:pt x="20" y="16"/>
                  </a:cubicBezTo>
                  <a:cubicBezTo>
                    <a:pt x="17" y="21"/>
                    <a:pt x="11" y="22"/>
                    <a:pt x="6" y="20"/>
                  </a:cubicBezTo>
                  <a:cubicBezTo>
                    <a:pt x="1" y="17"/>
                    <a:pt x="0" y="11"/>
                    <a:pt x="3" y="6"/>
                  </a:cubicBezTo>
                  <a:cubicBezTo>
                    <a:pt x="3" y="6"/>
                    <a:pt x="3" y="6"/>
                    <a:pt x="3" y="6"/>
                  </a:cubicBezTo>
                  <a:cubicBezTo>
                    <a:pt x="5" y="1"/>
                    <a:pt x="11" y="0"/>
                    <a:pt x="16"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21"/>
            <p:cNvSpPr>
              <a:spLocks/>
            </p:cNvSpPr>
            <p:nvPr/>
          </p:nvSpPr>
          <p:spPr bwMode="auto">
            <a:xfrm>
              <a:off x="819150" y="1767395"/>
              <a:ext cx="44450" cy="44450"/>
            </a:xfrm>
            <a:custGeom>
              <a:avLst/>
              <a:gdLst>
                <a:gd name="T0" fmla="*/ 16 w 23"/>
                <a:gd name="T1" fmla="*/ 3 h 23"/>
                <a:gd name="T2" fmla="*/ 20 w 23"/>
                <a:gd name="T3" fmla="*/ 16 h 23"/>
                <a:gd name="T4" fmla="*/ 20 w 23"/>
                <a:gd name="T5" fmla="*/ 17 h 23"/>
                <a:gd name="T6" fmla="*/ 6 w 23"/>
                <a:gd name="T7" fmla="*/ 20 h 23"/>
                <a:gd name="T8" fmla="*/ 3 w 23"/>
                <a:gd name="T9" fmla="*/ 7 h 23"/>
                <a:gd name="T10" fmla="*/ 3 w 23"/>
                <a:gd name="T11" fmla="*/ 7 h 23"/>
                <a:gd name="T12" fmla="*/ 16 w 23"/>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3"/>
                  </a:moveTo>
                  <a:cubicBezTo>
                    <a:pt x="21" y="6"/>
                    <a:pt x="23" y="12"/>
                    <a:pt x="20" y="16"/>
                  </a:cubicBezTo>
                  <a:cubicBezTo>
                    <a:pt x="20" y="17"/>
                    <a:pt x="20" y="17"/>
                    <a:pt x="20" y="17"/>
                  </a:cubicBezTo>
                  <a:cubicBezTo>
                    <a:pt x="17" y="21"/>
                    <a:pt x="11" y="23"/>
                    <a:pt x="6" y="20"/>
                  </a:cubicBezTo>
                  <a:cubicBezTo>
                    <a:pt x="2" y="18"/>
                    <a:pt x="0" y="12"/>
                    <a:pt x="3" y="7"/>
                  </a:cubicBezTo>
                  <a:cubicBezTo>
                    <a:pt x="3" y="7"/>
                    <a:pt x="3" y="7"/>
                    <a:pt x="3" y="7"/>
                  </a:cubicBezTo>
                  <a:cubicBezTo>
                    <a:pt x="6" y="2"/>
                    <a:pt x="12" y="0"/>
                    <a:pt x="16"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22"/>
            <p:cNvSpPr>
              <a:spLocks/>
            </p:cNvSpPr>
            <p:nvPr/>
          </p:nvSpPr>
          <p:spPr bwMode="auto">
            <a:xfrm>
              <a:off x="1081088" y="1251458"/>
              <a:ext cx="104775" cy="101600"/>
            </a:xfrm>
            <a:custGeom>
              <a:avLst/>
              <a:gdLst>
                <a:gd name="T0" fmla="*/ 47 w 54"/>
                <a:gd name="T1" fmla="*/ 38 h 53"/>
                <a:gd name="T2" fmla="*/ 15 w 54"/>
                <a:gd name="T3" fmla="*/ 47 h 53"/>
                <a:gd name="T4" fmla="*/ 7 w 54"/>
                <a:gd name="T5" fmla="*/ 15 h 53"/>
                <a:gd name="T6" fmla="*/ 39 w 54"/>
                <a:gd name="T7" fmla="*/ 6 h 53"/>
                <a:gd name="T8" fmla="*/ 47 w 54"/>
                <a:gd name="T9" fmla="*/ 38 h 53"/>
              </a:gdLst>
              <a:ahLst/>
              <a:cxnLst>
                <a:cxn ang="0">
                  <a:pos x="T0" y="T1"/>
                </a:cxn>
                <a:cxn ang="0">
                  <a:pos x="T2" y="T3"/>
                </a:cxn>
                <a:cxn ang="0">
                  <a:pos x="T4" y="T5"/>
                </a:cxn>
                <a:cxn ang="0">
                  <a:pos x="T6" y="T7"/>
                </a:cxn>
                <a:cxn ang="0">
                  <a:pos x="T8" y="T9"/>
                </a:cxn>
              </a:cxnLst>
              <a:rect l="0" t="0" r="r" b="b"/>
              <a:pathLst>
                <a:path w="54" h="53">
                  <a:moveTo>
                    <a:pt x="47" y="38"/>
                  </a:moveTo>
                  <a:cubicBezTo>
                    <a:pt x="41" y="50"/>
                    <a:pt x="26" y="53"/>
                    <a:pt x="15" y="47"/>
                  </a:cubicBezTo>
                  <a:cubicBezTo>
                    <a:pt x="4" y="40"/>
                    <a:pt x="0" y="26"/>
                    <a:pt x="7" y="15"/>
                  </a:cubicBezTo>
                  <a:cubicBezTo>
                    <a:pt x="13" y="3"/>
                    <a:pt x="27" y="0"/>
                    <a:pt x="39" y="6"/>
                  </a:cubicBezTo>
                  <a:cubicBezTo>
                    <a:pt x="50" y="13"/>
                    <a:pt x="54" y="27"/>
                    <a:pt x="47" y="3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23"/>
            <p:cNvSpPr>
              <a:spLocks/>
            </p:cNvSpPr>
            <p:nvPr/>
          </p:nvSpPr>
          <p:spPr bwMode="auto">
            <a:xfrm>
              <a:off x="1063625" y="1362583"/>
              <a:ext cx="42863" cy="42863"/>
            </a:xfrm>
            <a:custGeom>
              <a:avLst/>
              <a:gdLst>
                <a:gd name="T0" fmla="*/ 6 w 22"/>
                <a:gd name="T1" fmla="*/ 20 h 23"/>
                <a:gd name="T2" fmla="*/ 2 w 22"/>
                <a:gd name="T3" fmla="*/ 7 h 23"/>
                <a:gd name="T4" fmla="*/ 16 w 22"/>
                <a:gd name="T5" fmla="*/ 3 h 23"/>
                <a:gd name="T6" fmla="*/ 20 w 22"/>
                <a:gd name="T7" fmla="*/ 17 h 23"/>
                <a:gd name="T8" fmla="*/ 20 w 22"/>
                <a:gd name="T9" fmla="*/ 17 h 23"/>
                <a:gd name="T10" fmla="*/ 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6" y="20"/>
                  </a:moveTo>
                  <a:cubicBezTo>
                    <a:pt x="1" y="18"/>
                    <a:pt x="0" y="12"/>
                    <a:pt x="2" y="7"/>
                  </a:cubicBezTo>
                  <a:cubicBezTo>
                    <a:pt x="5" y="2"/>
                    <a:pt x="11" y="0"/>
                    <a:pt x="16" y="3"/>
                  </a:cubicBezTo>
                  <a:cubicBezTo>
                    <a:pt x="21" y="6"/>
                    <a:pt x="22" y="12"/>
                    <a:pt x="20" y="17"/>
                  </a:cubicBezTo>
                  <a:cubicBezTo>
                    <a:pt x="20" y="17"/>
                    <a:pt x="20" y="17"/>
                    <a:pt x="20" y="17"/>
                  </a:cubicBezTo>
                  <a:cubicBezTo>
                    <a:pt x="17" y="22"/>
                    <a:pt x="11" y="23"/>
                    <a:pt x="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24"/>
            <p:cNvSpPr>
              <a:spLocks/>
            </p:cNvSpPr>
            <p:nvPr/>
          </p:nvSpPr>
          <p:spPr bwMode="auto">
            <a:xfrm>
              <a:off x="1031875" y="1413383"/>
              <a:ext cx="44450" cy="44450"/>
            </a:xfrm>
            <a:custGeom>
              <a:avLst/>
              <a:gdLst>
                <a:gd name="T0" fmla="*/ 7 w 23"/>
                <a:gd name="T1" fmla="*/ 20 h 23"/>
                <a:gd name="T2" fmla="*/ 3 w 23"/>
                <a:gd name="T3" fmla="*/ 6 h 23"/>
                <a:gd name="T4" fmla="*/ 3 w 23"/>
                <a:gd name="T5" fmla="*/ 6 h 23"/>
                <a:gd name="T6" fmla="*/ 17 w 23"/>
                <a:gd name="T7" fmla="*/ 2 h 23"/>
                <a:gd name="T8" fmla="*/ 20 w 23"/>
                <a:gd name="T9" fmla="*/ 16 h 23"/>
                <a:gd name="T10" fmla="*/ 20 w 23"/>
                <a:gd name="T11" fmla="*/ 16 h 23"/>
                <a:gd name="T12" fmla="*/ 7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7" y="20"/>
                  </a:moveTo>
                  <a:cubicBezTo>
                    <a:pt x="2" y="17"/>
                    <a:pt x="0" y="11"/>
                    <a:pt x="3" y="6"/>
                  </a:cubicBezTo>
                  <a:cubicBezTo>
                    <a:pt x="3" y="6"/>
                    <a:pt x="3" y="6"/>
                    <a:pt x="3" y="6"/>
                  </a:cubicBezTo>
                  <a:cubicBezTo>
                    <a:pt x="6" y="1"/>
                    <a:pt x="12" y="0"/>
                    <a:pt x="17" y="2"/>
                  </a:cubicBezTo>
                  <a:cubicBezTo>
                    <a:pt x="22" y="5"/>
                    <a:pt x="23" y="11"/>
                    <a:pt x="20" y="16"/>
                  </a:cubicBezTo>
                  <a:cubicBezTo>
                    <a:pt x="20" y="16"/>
                    <a:pt x="20" y="16"/>
                    <a:pt x="20" y="16"/>
                  </a:cubicBezTo>
                  <a:cubicBezTo>
                    <a:pt x="18" y="21"/>
                    <a:pt x="11" y="23"/>
                    <a:pt x="7"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pic>
        <p:nvPicPr>
          <p:cNvPr id="430082" name="Picture 2" descr="Image result for acacia communications">
            <a:extLst>
              <a:ext uri="{FF2B5EF4-FFF2-40B4-BE49-F238E27FC236}">
                <a16:creationId xmlns:a16="http://schemas.microsoft.com/office/drawing/2014/main" id="{EA3D36D2-1015-3345-AD5E-4C51CEC0ED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64109" y="-9531"/>
            <a:ext cx="2179891" cy="632168"/>
          </a:xfrm>
          <a:prstGeom prst="rect">
            <a:avLst/>
          </a:prstGeom>
          <a:noFill/>
          <a:extLst>
            <a:ext uri="{909E8E84-426E-40DD-AFC4-6F175D3DCCD1}">
              <a14:hiddenFill xmlns:a14="http://schemas.microsoft.com/office/drawing/2010/main">
                <a:solidFill>
                  <a:srgbClr val="FFFFFF"/>
                </a:solidFill>
              </a14:hiddenFill>
            </a:ext>
          </a:extLst>
        </p:spPr>
      </p:pic>
      <p:pic>
        <p:nvPicPr>
          <p:cNvPr id="444418" name="Picture 2" descr="Image result for coreoptics cisco">
            <a:extLst>
              <a:ext uri="{FF2B5EF4-FFF2-40B4-BE49-F238E27FC236}">
                <a16:creationId xmlns:a16="http://schemas.microsoft.com/office/drawing/2014/main" id="{3E770D98-44C5-5444-AC54-1C366AFEBE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75232" y="623660"/>
            <a:ext cx="981241" cy="658936"/>
          </a:xfrm>
          <a:prstGeom prst="rect">
            <a:avLst/>
          </a:prstGeom>
          <a:noFill/>
          <a:extLst>
            <a:ext uri="{909E8E84-426E-40DD-AFC4-6F175D3DCCD1}">
              <a14:hiddenFill xmlns:a14="http://schemas.microsoft.com/office/drawing/2010/main">
                <a:solidFill>
                  <a:srgbClr val="FFFFFF"/>
                </a:solidFill>
              </a14:hiddenFill>
            </a:ext>
          </a:extLst>
        </p:spPr>
      </p:pic>
      <p:pic>
        <p:nvPicPr>
          <p:cNvPr id="444422" name="Picture 6" descr="Image result for lightwire cisco">
            <a:extLst>
              <a:ext uri="{FF2B5EF4-FFF2-40B4-BE49-F238E27FC236}">
                <a16:creationId xmlns:a16="http://schemas.microsoft.com/office/drawing/2014/main" id="{06E72402-F662-0142-9239-1ABA981127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6489" y="-12624"/>
            <a:ext cx="2369738" cy="624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0371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21763" t="1135" r="26479" b="11220"/>
          <a:stretch/>
        </p:blipFill>
        <p:spPr>
          <a:xfrm flipH="1">
            <a:off x="4579882" y="-1"/>
            <a:ext cx="4564118" cy="5155530"/>
          </a:xfrm>
          <a:prstGeom prst="rect">
            <a:avLst/>
          </a:prstGeom>
        </p:spPr>
      </p:pic>
      <p:sp>
        <p:nvSpPr>
          <p:cNvPr id="39" name="Rectangle 38"/>
          <p:cNvSpPr/>
          <p:nvPr/>
        </p:nvSpPr>
        <p:spPr>
          <a:xfrm>
            <a:off x="4579884" y="-1"/>
            <a:ext cx="4564117" cy="5143501"/>
          </a:xfrm>
          <a:prstGeom prst="rect">
            <a:avLst/>
          </a:prstGeom>
          <a:gradFill flip="none" rotWithShape="1">
            <a:gsLst>
              <a:gs pos="0">
                <a:schemeClr val="bg2">
                  <a:alpha val="88000"/>
                </a:schemeClr>
              </a:gs>
              <a:gs pos="100000">
                <a:schemeClr val="bg2">
                  <a:shade val="100000"/>
                  <a:satMod val="115000"/>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37767" y="329384"/>
            <a:ext cx="3808797" cy="655320"/>
          </a:xfrm>
        </p:spPr>
        <p:txBody>
          <a:bodyPr/>
          <a:lstStyle/>
          <a:p>
            <a:r>
              <a:rPr lang="en-US" dirty="0"/>
              <a:t>Trust and Security</a:t>
            </a:r>
            <a:br>
              <a:rPr lang="en-US" dirty="0"/>
            </a:br>
            <a:r>
              <a:rPr lang="en-US" sz="1800" dirty="0">
                <a:solidFill>
                  <a:schemeClr val="bg2"/>
                </a:solidFill>
              </a:rPr>
              <a:t>The Industry’s Most Trusted </a:t>
            </a:r>
            <a:br>
              <a:rPr lang="en-US" sz="1800" dirty="0">
                <a:solidFill>
                  <a:schemeClr val="bg2"/>
                </a:solidFill>
              </a:rPr>
            </a:br>
            <a:r>
              <a:rPr lang="en-US" sz="1800" dirty="0">
                <a:solidFill>
                  <a:schemeClr val="bg2"/>
                </a:solidFill>
              </a:rPr>
              <a:t>and Secure Solutions</a:t>
            </a:r>
          </a:p>
        </p:txBody>
      </p:sp>
      <p:sp>
        <p:nvSpPr>
          <p:cNvPr id="11" name="Oval 10"/>
          <p:cNvSpPr/>
          <p:nvPr/>
        </p:nvSpPr>
        <p:spPr>
          <a:xfrm>
            <a:off x="3825394" y="1245476"/>
            <a:ext cx="134007" cy="13400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p:cNvCxnSpPr/>
          <p:nvPr/>
        </p:nvCxnSpPr>
        <p:spPr>
          <a:xfrm>
            <a:off x="3959401" y="1319714"/>
            <a:ext cx="518460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5102679" y="1132538"/>
            <a:ext cx="386177" cy="386177"/>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56642" y="805965"/>
            <a:ext cx="1051266" cy="1051266"/>
          </a:xfrm>
          <a:prstGeom prst="rect">
            <a:avLst/>
          </a:prstGeom>
        </p:spPr>
      </p:pic>
      <p:sp>
        <p:nvSpPr>
          <p:cNvPr id="17" name="TextBox 16"/>
          <p:cNvSpPr txBox="1"/>
          <p:nvPr/>
        </p:nvSpPr>
        <p:spPr>
          <a:xfrm>
            <a:off x="1721276" y="1822427"/>
            <a:ext cx="2736465" cy="523220"/>
          </a:xfrm>
          <a:prstGeom prst="rect">
            <a:avLst/>
          </a:prstGeom>
          <a:noFill/>
        </p:spPr>
        <p:txBody>
          <a:bodyPr wrap="square" rtlCol="0">
            <a:spAutoFit/>
          </a:bodyPr>
          <a:lstStyle/>
          <a:p>
            <a:r>
              <a:rPr lang="en-US" sz="1400" dirty="0">
                <a:latin typeface="+mn-lt"/>
              </a:rPr>
              <a:t>Protect against counterfeit hardware and tampering</a:t>
            </a:r>
          </a:p>
        </p:txBody>
      </p:sp>
      <p:sp>
        <p:nvSpPr>
          <p:cNvPr id="18" name="TextBox 17"/>
          <p:cNvSpPr txBox="1"/>
          <p:nvPr/>
        </p:nvSpPr>
        <p:spPr>
          <a:xfrm>
            <a:off x="1721276" y="2638341"/>
            <a:ext cx="2516442" cy="523220"/>
          </a:xfrm>
          <a:prstGeom prst="rect">
            <a:avLst/>
          </a:prstGeom>
          <a:noFill/>
        </p:spPr>
        <p:txBody>
          <a:bodyPr wrap="square" rtlCol="0">
            <a:spAutoFit/>
          </a:bodyPr>
          <a:lstStyle/>
          <a:p>
            <a:r>
              <a:rPr lang="en-US" sz="1400" dirty="0">
                <a:latin typeface="+mn-lt"/>
              </a:rPr>
              <a:t>Prevent boot-kit attacks and malware injection</a:t>
            </a:r>
          </a:p>
        </p:txBody>
      </p:sp>
      <p:sp>
        <p:nvSpPr>
          <p:cNvPr id="19" name="TextBox 18"/>
          <p:cNvSpPr txBox="1"/>
          <p:nvPr/>
        </p:nvSpPr>
        <p:spPr>
          <a:xfrm>
            <a:off x="1721276" y="3437629"/>
            <a:ext cx="2640543" cy="523220"/>
          </a:xfrm>
          <a:prstGeom prst="rect">
            <a:avLst/>
          </a:prstGeom>
          <a:noFill/>
        </p:spPr>
        <p:txBody>
          <a:bodyPr wrap="square" rtlCol="0">
            <a:spAutoFit/>
          </a:bodyPr>
          <a:lstStyle/>
          <a:p>
            <a:r>
              <a:rPr lang="en-US" sz="1400" dirty="0">
                <a:latin typeface="+mn-lt"/>
              </a:rPr>
              <a:t>Guard against remote exploits and denial of service</a:t>
            </a:r>
          </a:p>
        </p:txBody>
      </p:sp>
      <p:sp>
        <p:nvSpPr>
          <p:cNvPr id="6" name="Freeform 5"/>
          <p:cNvSpPr/>
          <p:nvPr/>
        </p:nvSpPr>
        <p:spPr>
          <a:xfrm>
            <a:off x="385308" y="1646588"/>
            <a:ext cx="1093448" cy="1729666"/>
          </a:xfrm>
          <a:custGeom>
            <a:avLst/>
            <a:gdLst>
              <a:gd name="connsiteX0" fmla="*/ 134679 w 453656"/>
              <a:gd name="connsiteY0" fmla="*/ 0 h 2750288"/>
              <a:gd name="connsiteX1" fmla="*/ 276446 w 453656"/>
              <a:gd name="connsiteY1" fmla="*/ 0 h 2750288"/>
              <a:gd name="connsiteX2" fmla="*/ 446567 w 453656"/>
              <a:gd name="connsiteY2" fmla="*/ 170121 h 2750288"/>
              <a:gd name="connsiteX3" fmla="*/ 446567 w 453656"/>
              <a:gd name="connsiteY3" fmla="*/ 269358 h 2750288"/>
              <a:gd name="connsiteX4" fmla="*/ 347330 w 453656"/>
              <a:gd name="connsiteY4" fmla="*/ 347330 h 2750288"/>
              <a:gd name="connsiteX5" fmla="*/ 446567 w 453656"/>
              <a:gd name="connsiteY5" fmla="*/ 453656 h 2750288"/>
              <a:gd name="connsiteX6" fmla="*/ 446567 w 453656"/>
              <a:gd name="connsiteY6" fmla="*/ 531628 h 2750288"/>
              <a:gd name="connsiteX7" fmla="*/ 311888 w 453656"/>
              <a:gd name="connsiteY7" fmla="*/ 645042 h 2750288"/>
              <a:gd name="connsiteX8" fmla="*/ 418214 w 453656"/>
              <a:gd name="connsiteY8" fmla="*/ 744279 h 2750288"/>
              <a:gd name="connsiteX9" fmla="*/ 418214 w 453656"/>
              <a:gd name="connsiteY9" fmla="*/ 843516 h 2750288"/>
              <a:gd name="connsiteX10" fmla="*/ 333153 w 453656"/>
              <a:gd name="connsiteY10" fmla="*/ 914400 h 2750288"/>
              <a:gd name="connsiteX11" fmla="*/ 333153 w 453656"/>
              <a:gd name="connsiteY11" fmla="*/ 1098698 h 2750288"/>
              <a:gd name="connsiteX12" fmla="*/ 453656 w 453656"/>
              <a:gd name="connsiteY12" fmla="*/ 1219200 h 2750288"/>
              <a:gd name="connsiteX13" fmla="*/ 453656 w 453656"/>
              <a:gd name="connsiteY13" fmla="*/ 1467293 h 2750288"/>
              <a:gd name="connsiteX14" fmla="*/ 276446 w 453656"/>
              <a:gd name="connsiteY14" fmla="*/ 2750288 h 2750288"/>
              <a:gd name="connsiteX15" fmla="*/ 0 w 453656"/>
              <a:gd name="connsiteY15" fmla="*/ 1474381 h 2750288"/>
              <a:gd name="connsiteX16" fmla="*/ 0 w 453656"/>
              <a:gd name="connsiteY16" fmla="*/ 134679 h 2750288"/>
              <a:gd name="connsiteX17" fmla="*/ 134679 w 453656"/>
              <a:gd name="connsiteY17" fmla="*/ 0 h 2750288"/>
              <a:gd name="connsiteX0" fmla="*/ 134679 w 782421"/>
              <a:gd name="connsiteY0" fmla="*/ 0 h 2750288"/>
              <a:gd name="connsiteX1" fmla="*/ 276446 w 782421"/>
              <a:gd name="connsiteY1" fmla="*/ 0 h 2750288"/>
              <a:gd name="connsiteX2" fmla="*/ 446567 w 782421"/>
              <a:gd name="connsiteY2" fmla="*/ 170121 h 2750288"/>
              <a:gd name="connsiteX3" fmla="*/ 446567 w 782421"/>
              <a:gd name="connsiteY3" fmla="*/ 269358 h 2750288"/>
              <a:gd name="connsiteX4" fmla="*/ 347330 w 782421"/>
              <a:gd name="connsiteY4" fmla="*/ 347330 h 2750288"/>
              <a:gd name="connsiteX5" fmla="*/ 446567 w 782421"/>
              <a:gd name="connsiteY5" fmla="*/ 453656 h 2750288"/>
              <a:gd name="connsiteX6" fmla="*/ 446567 w 782421"/>
              <a:gd name="connsiteY6" fmla="*/ 531628 h 2750288"/>
              <a:gd name="connsiteX7" fmla="*/ 311888 w 782421"/>
              <a:gd name="connsiteY7" fmla="*/ 645042 h 2750288"/>
              <a:gd name="connsiteX8" fmla="*/ 418214 w 782421"/>
              <a:gd name="connsiteY8" fmla="*/ 744279 h 2750288"/>
              <a:gd name="connsiteX9" fmla="*/ 418214 w 782421"/>
              <a:gd name="connsiteY9" fmla="*/ 843516 h 2750288"/>
              <a:gd name="connsiteX10" fmla="*/ 333153 w 782421"/>
              <a:gd name="connsiteY10" fmla="*/ 914400 h 2750288"/>
              <a:gd name="connsiteX11" fmla="*/ 333153 w 782421"/>
              <a:gd name="connsiteY11" fmla="*/ 1098698 h 2750288"/>
              <a:gd name="connsiteX12" fmla="*/ 453656 w 782421"/>
              <a:gd name="connsiteY12" fmla="*/ 1219200 h 2750288"/>
              <a:gd name="connsiteX13" fmla="*/ 453656 w 782421"/>
              <a:gd name="connsiteY13" fmla="*/ 1467293 h 2750288"/>
              <a:gd name="connsiteX14" fmla="*/ 276446 w 782421"/>
              <a:gd name="connsiteY14" fmla="*/ 2750288 h 2750288"/>
              <a:gd name="connsiteX15" fmla="*/ 0 w 782421"/>
              <a:gd name="connsiteY15" fmla="*/ 1474381 h 2750288"/>
              <a:gd name="connsiteX16" fmla="*/ 0 w 782421"/>
              <a:gd name="connsiteY16" fmla="*/ 134679 h 2750288"/>
              <a:gd name="connsiteX17" fmla="*/ 134679 w 782421"/>
              <a:gd name="connsiteY17" fmla="*/ 0 h 2750288"/>
              <a:gd name="connsiteX0" fmla="*/ 134679 w 935101"/>
              <a:gd name="connsiteY0" fmla="*/ 0 h 2750288"/>
              <a:gd name="connsiteX1" fmla="*/ 276446 w 935101"/>
              <a:gd name="connsiteY1" fmla="*/ 0 h 2750288"/>
              <a:gd name="connsiteX2" fmla="*/ 446567 w 935101"/>
              <a:gd name="connsiteY2" fmla="*/ 170121 h 2750288"/>
              <a:gd name="connsiteX3" fmla="*/ 446567 w 935101"/>
              <a:gd name="connsiteY3" fmla="*/ 269358 h 2750288"/>
              <a:gd name="connsiteX4" fmla="*/ 347330 w 935101"/>
              <a:gd name="connsiteY4" fmla="*/ 347330 h 2750288"/>
              <a:gd name="connsiteX5" fmla="*/ 446567 w 935101"/>
              <a:gd name="connsiteY5" fmla="*/ 453656 h 2750288"/>
              <a:gd name="connsiteX6" fmla="*/ 446567 w 935101"/>
              <a:gd name="connsiteY6" fmla="*/ 531628 h 2750288"/>
              <a:gd name="connsiteX7" fmla="*/ 311888 w 935101"/>
              <a:gd name="connsiteY7" fmla="*/ 645042 h 2750288"/>
              <a:gd name="connsiteX8" fmla="*/ 418214 w 935101"/>
              <a:gd name="connsiteY8" fmla="*/ 744279 h 2750288"/>
              <a:gd name="connsiteX9" fmla="*/ 418214 w 935101"/>
              <a:gd name="connsiteY9" fmla="*/ 843516 h 2750288"/>
              <a:gd name="connsiteX10" fmla="*/ 333153 w 935101"/>
              <a:gd name="connsiteY10" fmla="*/ 914400 h 2750288"/>
              <a:gd name="connsiteX11" fmla="*/ 333153 w 935101"/>
              <a:gd name="connsiteY11" fmla="*/ 1098698 h 2750288"/>
              <a:gd name="connsiteX12" fmla="*/ 453656 w 935101"/>
              <a:gd name="connsiteY12" fmla="*/ 1219200 h 2750288"/>
              <a:gd name="connsiteX13" fmla="*/ 453656 w 935101"/>
              <a:gd name="connsiteY13" fmla="*/ 1467293 h 2750288"/>
              <a:gd name="connsiteX14" fmla="*/ 276446 w 935101"/>
              <a:gd name="connsiteY14" fmla="*/ 2750288 h 2750288"/>
              <a:gd name="connsiteX15" fmla="*/ 0 w 935101"/>
              <a:gd name="connsiteY15" fmla="*/ 1474381 h 2750288"/>
              <a:gd name="connsiteX16" fmla="*/ 0 w 935101"/>
              <a:gd name="connsiteY16" fmla="*/ 134679 h 2750288"/>
              <a:gd name="connsiteX17" fmla="*/ 134679 w 935101"/>
              <a:gd name="connsiteY17" fmla="*/ 0 h 2750288"/>
              <a:gd name="connsiteX0" fmla="*/ 134679 w 900298"/>
              <a:gd name="connsiteY0" fmla="*/ 0 h 2771553"/>
              <a:gd name="connsiteX1" fmla="*/ 276446 w 900298"/>
              <a:gd name="connsiteY1" fmla="*/ 0 h 2771553"/>
              <a:gd name="connsiteX2" fmla="*/ 446567 w 900298"/>
              <a:gd name="connsiteY2" fmla="*/ 170121 h 2771553"/>
              <a:gd name="connsiteX3" fmla="*/ 446567 w 900298"/>
              <a:gd name="connsiteY3" fmla="*/ 269358 h 2771553"/>
              <a:gd name="connsiteX4" fmla="*/ 347330 w 900298"/>
              <a:gd name="connsiteY4" fmla="*/ 347330 h 2771553"/>
              <a:gd name="connsiteX5" fmla="*/ 446567 w 900298"/>
              <a:gd name="connsiteY5" fmla="*/ 453656 h 2771553"/>
              <a:gd name="connsiteX6" fmla="*/ 446567 w 900298"/>
              <a:gd name="connsiteY6" fmla="*/ 531628 h 2771553"/>
              <a:gd name="connsiteX7" fmla="*/ 311888 w 900298"/>
              <a:gd name="connsiteY7" fmla="*/ 645042 h 2771553"/>
              <a:gd name="connsiteX8" fmla="*/ 418214 w 900298"/>
              <a:gd name="connsiteY8" fmla="*/ 744279 h 2771553"/>
              <a:gd name="connsiteX9" fmla="*/ 418214 w 900298"/>
              <a:gd name="connsiteY9" fmla="*/ 843516 h 2771553"/>
              <a:gd name="connsiteX10" fmla="*/ 333153 w 900298"/>
              <a:gd name="connsiteY10" fmla="*/ 914400 h 2771553"/>
              <a:gd name="connsiteX11" fmla="*/ 333153 w 900298"/>
              <a:gd name="connsiteY11" fmla="*/ 1098698 h 2771553"/>
              <a:gd name="connsiteX12" fmla="*/ 453656 w 900298"/>
              <a:gd name="connsiteY12" fmla="*/ 1219200 h 2771553"/>
              <a:gd name="connsiteX13" fmla="*/ 453656 w 900298"/>
              <a:gd name="connsiteY13" fmla="*/ 1467293 h 2771553"/>
              <a:gd name="connsiteX14" fmla="*/ 212650 w 900298"/>
              <a:gd name="connsiteY14" fmla="*/ 2771553 h 2771553"/>
              <a:gd name="connsiteX15" fmla="*/ 0 w 900298"/>
              <a:gd name="connsiteY15" fmla="*/ 1474381 h 2771553"/>
              <a:gd name="connsiteX16" fmla="*/ 0 w 900298"/>
              <a:gd name="connsiteY16" fmla="*/ 134679 h 2771553"/>
              <a:gd name="connsiteX17" fmla="*/ 134679 w 900298"/>
              <a:gd name="connsiteY17" fmla="*/ 0 h 2771553"/>
              <a:gd name="connsiteX0" fmla="*/ 134679 w 918284"/>
              <a:gd name="connsiteY0" fmla="*/ 0 h 2771553"/>
              <a:gd name="connsiteX1" fmla="*/ 276446 w 918284"/>
              <a:gd name="connsiteY1" fmla="*/ 0 h 2771553"/>
              <a:gd name="connsiteX2" fmla="*/ 446567 w 918284"/>
              <a:gd name="connsiteY2" fmla="*/ 170121 h 2771553"/>
              <a:gd name="connsiteX3" fmla="*/ 446567 w 918284"/>
              <a:gd name="connsiteY3" fmla="*/ 269358 h 2771553"/>
              <a:gd name="connsiteX4" fmla="*/ 347330 w 918284"/>
              <a:gd name="connsiteY4" fmla="*/ 347330 h 2771553"/>
              <a:gd name="connsiteX5" fmla="*/ 446567 w 918284"/>
              <a:gd name="connsiteY5" fmla="*/ 453656 h 2771553"/>
              <a:gd name="connsiteX6" fmla="*/ 446567 w 918284"/>
              <a:gd name="connsiteY6" fmla="*/ 531628 h 2771553"/>
              <a:gd name="connsiteX7" fmla="*/ 311888 w 918284"/>
              <a:gd name="connsiteY7" fmla="*/ 645042 h 2771553"/>
              <a:gd name="connsiteX8" fmla="*/ 418214 w 918284"/>
              <a:gd name="connsiteY8" fmla="*/ 744279 h 2771553"/>
              <a:gd name="connsiteX9" fmla="*/ 418214 w 918284"/>
              <a:gd name="connsiteY9" fmla="*/ 843516 h 2771553"/>
              <a:gd name="connsiteX10" fmla="*/ 333153 w 918284"/>
              <a:gd name="connsiteY10" fmla="*/ 914400 h 2771553"/>
              <a:gd name="connsiteX11" fmla="*/ 333153 w 918284"/>
              <a:gd name="connsiteY11" fmla="*/ 1098698 h 2771553"/>
              <a:gd name="connsiteX12" fmla="*/ 453656 w 918284"/>
              <a:gd name="connsiteY12" fmla="*/ 1219200 h 2771553"/>
              <a:gd name="connsiteX13" fmla="*/ 453656 w 918284"/>
              <a:gd name="connsiteY13" fmla="*/ 1467293 h 2771553"/>
              <a:gd name="connsiteX14" fmla="*/ 212650 w 918284"/>
              <a:gd name="connsiteY14" fmla="*/ 2771553 h 2771553"/>
              <a:gd name="connsiteX15" fmla="*/ 0 w 918284"/>
              <a:gd name="connsiteY15" fmla="*/ 1474381 h 2771553"/>
              <a:gd name="connsiteX16" fmla="*/ 0 w 918284"/>
              <a:gd name="connsiteY16" fmla="*/ 134679 h 2771553"/>
              <a:gd name="connsiteX17" fmla="*/ 134679 w 918284"/>
              <a:gd name="connsiteY17" fmla="*/ 0 h 2771553"/>
              <a:gd name="connsiteX0" fmla="*/ 134679 w 899378"/>
              <a:gd name="connsiteY0" fmla="*/ 0 h 2771553"/>
              <a:gd name="connsiteX1" fmla="*/ 276446 w 899378"/>
              <a:gd name="connsiteY1" fmla="*/ 0 h 2771553"/>
              <a:gd name="connsiteX2" fmla="*/ 446567 w 899378"/>
              <a:gd name="connsiteY2" fmla="*/ 170121 h 2771553"/>
              <a:gd name="connsiteX3" fmla="*/ 446567 w 899378"/>
              <a:gd name="connsiteY3" fmla="*/ 269358 h 2771553"/>
              <a:gd name="connsiteX4" fmla="*/ 347330 w 899378"/>
              <a:gd name="connsiteY4" fmla="*/ 347330 h 2771553"/>
              <a:gd name="connsiteX5" fmla="*/ 446567 w 899378"/>
              <a:gd name="connsiteY5" fmla="*/ 453656 h 2771553"/>
              <a:gd name="connsiteX6" fmla="*/ 446567 w 899378"/>
              <a:gd name="connsiteY6" fmla="*/ 531628 h 2771553"/>
              <a:gd name="connsiteX7" fmla="*/ 311888 w 899378"/>
              <a:gd name="connsiteY7" fmla="*/ 645042 h 2771553"/>
              <a:gd name="connsiteX8" fmla="*/ 418214 w 899378"/>
              <a:gd name="connsiteY8" fmla="*/ 744279 h 2771553"/>
              <a:gd name="connsiteX9" fmla="*/ 418214 w 899378"/>
              <a:gd name="connsiteY9" fmla="*/ 843516 h 2771553"/>
              <a:gd name="connsiteX10" fmla="*/ 333153 w 899378"/>
              <a:gd name="connsiteY10" fmla="*/ 914400 h 2771553"/>
              <a:gd name="connsiteX11" fmla="*/ 333153 w 899378"/>
              <a:gd name="connsiteY11" fmla="*/ 1098698 h 2771553"/>
              <a:gd name="connsiteX12" fmla="*/ 453656 w 899378"/>
              <a:gd name="connsiteY12" fmla="*/ 1219200 h 2771553"/>
              <a:gd name="connsiteX13" fmla="*/ 453656 w 899378"/>
              <a:gd name="connsiteY13" fmla="*/ 1467293 h 2771553"/>
              <a:gd name="connsiteX14" fmla="*/ 212650 w 899378"/>
              <a:gd name="connsiteY14" fmla="*/ 2771553 h 2771553"/>
              <a:gd name="connsiteX15" fmla="*/ 0 w 899378"/>
              <a:gd name="connsiteY15" fmla="*/ 1474381 h 2771553"/>
              <a:gd name="connsiteX16" fmla="*/ 0 w 899378"/>
              <a:gd name="connsiteY16" fmla="*/ 134679 h 2771553"/>
              <a:gd name="connsiteX17" fmla="*/ 134679 w 899378"/>
              <a:gd name="connsiteY17" fmla="*/ 0 h 2771553"/>
              <a:gd name="connsiteX0" fmla="*/ 134679 w 912854"/>
              <a:gd name="connsiteY0" fmla="*/ 0 h 2771553"/>
              <a:gd name="connsiteX1" fmla="*/ 276446 w 912854"/>
              <a:gd name="connsiteY1" fmla="*/ 0 h 2771553"/>
              <a:gd name="connsiteX2" fmla="*/ 446567 w 912854"/>
              <a:gd name="connsiteY2" fmla="*/ 170121 h 2771553"/>
              <a:gd name="connsiteX3" fmla="*/ 446567 w 912854"/>
              <a:gd name="connsiteY3" fmla="*/ 269358 h 2771553"/>
              <a:gd name="connsiteX4" fmla="*/ 347330 w 912854"/>
              <a:gd name="connsiteY4" fmla="*/ 347330 h 2771553"/>
              <a:gd name="connsiteX5" fmla="*/ 446567 w 912854"/>
              <a:gd name="connsiteY5" fmla="*/ 453656 h 2771553"/>
              <a:gd name="connsiteX6" fmla="*/ 446567 w 912854"/>
              <a:gd name="connsiteY6" fmla="*/ 531628 h 2771553"/>
              <a:gd name="connsiteX7" fmla="*/ 311888 w 912854"/>
              <a:gd name="connsiteY7" fmla="*/ 645042 h 2771553"/>
              <a:gd name="connsiteX8" fmla="*/ 418214 w 912854"/>
              <a:gd name="connsiteY8" fmla="*/ 744279 h 2771553"/>
              <a:gd name="connsiteX9" fmla="*/ 418214 w 912854"/>
              <a:gd name="connsiteY9" fmla="*/ 843516 h 2771553"/>
              <a:gd name="connsiteX10" fmla="*/ 333153 w 912854"/>
              <a:gd name="connsiteY10" fmla="*/ 914400 h 2771553"/>
              <a:gd name="connsiteX11" fmla="*/ 333153 w 912854"/>
              <a:gd name="connsiteY11" fmla="*/ 1098698 h 2771553"/>
              <a:gd name="connsiteX12" fmla="*/ 453656 w 912854"/>
              <a:gd name="connsiteY12" fmla="*/ 1219200 h 2771553"/>
              <a:gd name="connsiteX13" fmla="*/ 453656 w 912854"/>
              <a:gd name="connsiteY13" fmla="*/ 1467293 h 2771553"/>
              <a:gd name="connsiteX14" fmla="*/ 212650 w 912854"/>
              <a:gd name="connsiteY14" fmla="*/ 2771553 h 2771553"/>
              <a:gd name="connsiteX15" fmla="*/ 0 w 912854"/>
              <a:gd name="connsiteY15" fmla="*/ 1474381 h 2771553"/>
              <a:gd name="connsiteX16" fmla="*/ 0 w 912854"/>
              <a:gd name="connsiteY16" fmla="*/ 134679 h 2771553"/>
              <a:gd name="connsiteX17" fmla="*/ 134679 w 912854"/>
              <a:gd name="connsiteY17" fmla="*/ 0 h 2771553"/>
              <a:gd name="connsiteX0" fmla="*/ 134679 w 918077"/>
              <a:gd name="connsiteY0" fmla="*/ 0 h 2771553"/>
              <a:gd name="connsiteX1" fmla="*/ 276446 w 918077"/>
              <a:gd name="connsiteY1" fmla="*/ 0 h 2771553"/>
              <a:gd name="connsiteX2" fmla="*/ 446567 w 918077"/>
              <a:gd name="connsiteY2" fmla="*/ 170121 h 2771553"/>
              <a:gd name="connsiteX3" fmla="*/ 446567 w 918077"/>
              <a:gd name="connsiteY3" fmla="*/ 269358 h 2771553"/>
              <a:gd name="connsiteX4" fmla="*/ 347330 w 918077"/>
              <a:gd name="connsiteY4" fmla="*/ 347330 h 2771553"/>
              <a:gd name="connsiteX5" fmla="*/ 446567 w 918077"/>
              <a:gd name="connsiteY5" fmla="*/ 453656 h 2771553"/>
              <a:gd name="connsiteX6" fmla="*/ 446567 w 918077"/>
              <a:gd name="connsiteY6" fmla="*/ 531628 h 2771553"/>
              <a:gd name="connsiteX7" fmla="*/ 311888 w 918077"/>
              <a:gd name="connsiteY7" fmla="*/ 645042 h 2771553"/>
              <a:gd name="connsiteX8" fmla="*/ 418214 w 918077"/>
              <a:gd name="connsiteY8" fmla="*/ 744279 h 2771553"/>
              <a:gd name="connsiteX9" fmla="*/ 418214 w 918077"/>
              <a:gd name="connsiteY9" fmla="*/ 843516 h 2771553"/>
              <a:gd name="connsiteX10" fmla="*/ 333153 w 918077"/>
              <a:gd name="connsiteY10" fmla="*/ 914400 h 2771553"/>
              <a:gd name="connsiteX11" fmla="*/ 333153 w 918077"/>
              <a:gd name="connsiteY11" fmla="*/ 1098698 h 2771553"/>
              <a:gd name="connsiteX12" fmla="*/ 453656 w 918077"/>
              <a:gd name="connsiteY12" fmla="*/ 1219200 h 2771553"/>
              <a:gd name="connsiteX13" fmla="*/ 453656 w 918077"/>
              <a:gd name="connsiteY13" fmla="*/ 1467293 h 2771553"/>
              <a:gd name="connsiteX14" fmla="*/ 212650 w 918077"/>
              <a:gd name="connsiteY14" fmla="*/ 2771553 h 2771553"/>
              <a:gd name="connsiteX15" fmla="*/ 0 w 918077"/>
              <a:gd name="connsiteY15" fmla="*/ 1474381 h 2771553"/>
              <a:gd name="connsiteX16" fmla="*/ 0 w 918077"/>
              <a:gd name="connsiteY16" fmla="*/ 134679 h 2771553"/>
              <a:gd name="connsiteX17" fmla="*/ 134679 w 918077"/>
              <a:gd name="connsiteY17" fmla="*/ 0 h 2771553"/>
              <a:gd name="connsiteX0" fmla="*/ 416075 w 1199473"/>
              <a:gd name="connsiteY0" fmla="*/ 0 h 2771553"/>
              <a:gd name="connsiteX1" fmla="*/ 557842 w 1199473"/>
              <a:gd name="connsiteY1" fmla="*/ 0 h 2771553"/>
              <a:gd name="connsiteX2" fmla="*/ 727963 w 1199473"/>
              <a:gd name="connsiteY2" fmla="*/ 170121 h 2771553"/>
              <a:gd name="connsiteX3" fmla="*/ 727963 w 1199473"/>
              <a:gd name="connsiteY3" fmla="*/ 269358 h 2771553"/>
              <a:gd name="connsiteX4" fmla="*/ 628726 w 1199473"/>
              <a:gd name="connsiteY4" fmla="*/ 347330 h 2771553"/>
              <a:gd name="connsiteX5" fmla="*/ 727963 w 1199473"/>
              <a:gd name="connsiteY5" fmla="*/ 453656 h 2771553"/>
              <a:gd name="connsiteX6" fmla="*/ 727963 w 1199473"/>
              <a:gd name="connsiteY6" fmla="*/ 531628 h 2771553"/>
              <a:gd name="connsiteX7" fmla="*/ 593284 w 1199473"/>
              <a:gd name="connsiteY7" fmla="*/ 645042 h 2771553"/>
              <a:gd name="connsiteX8" fmla="*/ 699610 w 1199473"/>
              <a:gd name="connsiteY8" fmla="*/ 744279 h 2771553"/>
              <a:gd name="connsiteX9" fmla="*/ 699610 w 1199473"/>
              <a:gd name="connsiteY9" fmla="*/ 843516 h 2771553"/>
              <a:gd name="connsiteX10" fmla="*/ 614549 w 1199473"/>
              <a:gd name="connsiteY10" fmla="*/ 914400 h 2771553"/>
              <a:gd name="connsiteX11" fmla="*/ 614549 w 1199473"/>
              <a:gd name="connsiteY11" fmla="*/ 1098698 h 2771553"/>
              <a:gd name="connsiteX12" fmla="*/ 735052 w 1199473"/>
              <a:gd name="connsiteY12" fmla="*/ 1219200 h 2771553"/>
              <a:gd name="connsiteX13" fmla="*/ 735052 w 1199473"/>
              <a:gd name="connsiteY13" fmla="*/ 1467293 h 2771553"/>
              <a:gd name="connsiteX14" fmla="*/ 494046 w 1199473"/>
              <a:gd name="connsiteY14" fmla="*/ 2771553 h 2771553"/>
              <a:gd name="connsiteX15" fmla="*/ 281396 w 1199473"/>
              <a:gd name="connsiteY15" fmla="*/ 1474381 h 2771553"/>
              <a:gd name="connsiteX16" fmla="*/ 281396 w 1199473"/>
              <a:gd name="connsiteY16" fmla="*/ 134679 h 2771553"/>
              <a:gd name="connsiteX17" fmla="*/ 416075 w 1199473"/>
              <a:gd name="connsiteY17" fmla="*/ 0 h 2771553"/>
              <a:gd name="connsiteX0" fmla="*/ 532992 w 1316390"/>
              <a:gd name="connsiteY0" fmla="*/ 0 h 2771553"/>
              <a:gd name="connsiteX1" fmla="*/ 674759 w 1316390"/>
              <a:gd name="connsiteY1" fmla="*/ 0 h 2771553"/>
              <a:gd name="connsiteX2" fmla="*/ 844880 w 1316390"/>
              <a:gd name="connsiteY2" fmla="*/ 170121 h 2771553"/>
              <a:gd name="connsiteX3" fmla="*/ 844880 w 1316390"/>
              <a:gd name="connsiteY3" fmla="*/ 269358 h 2771553"/>
              <a:gd name="connsiteX4" fmla="*/ 745643 w 1316390"/>
              <a:gd name="connsiteY4" fmla="*/ 347330 h 2771553"/>
              <a:gd name="connsiteX5" fmla="*/ 844880 w 1316390"/>
              <a:gd name="connsiteY5" fmla="*/ 453656 h 2771553"/>
              <a:gd name="connsiteX6" fmla="*/ 844880 w 1316390"/>
              <a:gd name="connsiteY6" fmla="*/ 531628 h 2771553"/>
              <a:gd name="connsiteX7" fmla="*/ 710201 w 1316390"/>
              <a:gd name="connsiteY7" fmla="*/ 645042 h 2771553"/>
              <a:gd name="connsiteX8" fmla="*/ 816527 w 1316390"/>
              <a:gd name="connsiteY8" fmla="*/ 744279 h 2771553"/>
              <a:gd name="connsiteX9" fmla="*/ 816527 w 1316390"/>
              <a:gd name="connsiteY9" fmla="*/ 843516 h 2771553"/>
              <a:gd name="connsiteX10" fmla="*/ 731466 w 1316390"/>
              <a:gd name="connsiteY10" fmla="*/ 914400 h 2771553"/>
              <a:gd name="connsiteX11" fmla="*/ 731466 w 1316390"/>
              <a:gd name="connsiteY11" fmla="*/ 1098698 h 2771553"/>
              <a:gd name="connsiteX12" fmla="*/ 851969 w 1316390"/>
              <a:gd name="connsiteY12" fmla="*/ 1219200 h 2771553"/>
              <a:gd name="connsiteX13" fmla="*/ 851969 w 1316390"/>
              <a:gd name="connsiteY13" fmla="*/ 1467293 h 2771553"/>
              <a:gd name="connsiteX14" fmla="*/ 610963 w 1316390"/>
              <a:gd name="connsiteY14" fmla="*/ 2771553 h 2771553"/>
              <a:gd name="connsiteX15" fmla="*/ 398313 w 1316390"/>
              <a:gd name="connsiteY15" fmla="*/ 1474381 h 2771553"/>
              <a:gd name="connsiteX16" fmla="*/ 398313 w 1316390"/>
              <a:gd name="connsiteY16" fmla="*/ 134679 h 2771553"/>
              <a:gd name="connsiteX17" fmla="*/ 532992 w 1316390"/>
              <a:gd name="connsiteY17" fmla="*/ 0 h 2771553"/>
              <a:gd name="connsiteX0" fmla="*/ 532992 w 1316390"/>
              <a:gd name="connsiteY0" fmla="*/ 0 h 2771553"/>
              <a:gd name="connsiteX1" fmla="*/ 674759 w 1316390"/>
              <a:gd name="connsiteY1" fmla="*/ 0 h 2771553"/>
              <a:gd name="connsiteX2" fmla="*/ 844880 w 1316390"/>
              <a:gd name="connsiteY2" fmla="*/ 170121 h 2771553"/>
              <a:gd name="connsiteX3" fmla="*/ 844880 w 1316390"/>
              <a:gd name="connsiteY3" fmla="*/ 269358 h 2771553"/>
              <a:gd name="connsiteX4" fmla="*/ 745643 w 1316390"/>
              <a:gd name="connsiteY4" fmla="*/ 347330 h 2771553"/>
              <a:gd name="connsiteX5" fmla="*/ 844880 w 1316390"/>
              <a:gd name="connsiteY5" fmla="*/ 453656 h 2771553"/>
              <a:gd name="connsiteX6" fmla="*/ 844880 w 1316390"/>
              <a:gd name="connsiteY6" fmla="*/ 531628 h 2771553"/>
              <a:gd name="connsiteX7" fmla="*/ 710201 w 1316390"/>
              <a:gd name="connsiteY7" fmla="*/ 645042 h 2771553"/>
              <a:gd name="connsiteX8" fmla="*/ 816527 w 1316390"/>
              <a:gd name="connsiteY8" fmla="*/ 744279 h 2771553"/>
              <a:gd name="connsiteX9" fmla="*/ 816527 w 1316390"/>
              <a:gd name="connsiteY9" fmla="*/ 843516 h 2771553"/>
              <a:gd name="connsiteX10" fmla="*/ 731466 w 1316390"/>
              <a:gd name="connsiteY10" fmla="*/ 914400 h 2771553"/>
              <a:gd name="connsiteX11" fmla="*/ 731466 w 1316390"/>
              <a:gd name="connsiteY11" fmla="*/ 1098698 h 2771553"/>
              <a:gd name="connsiteX12" fmla="*/ 851969 w 1316390"/>
              <a:gd name="connsiteY12" fmla="*/ 1219200 h 2771553"/>
              <a:gd name="connsiteX13" fmla="*/ 851969 w 1316390"/>
              <a:gd name="connsiteY13" fmla="*/ 1467293 h 2771553"/>
              <a:gd name="connsiteX14" fmla="*/ 610963 w 1316390"/>
              <a:gd name="connsiteY14" fmla="*/ 2771553 h 2771553"/>
              <a:gd name="connsiteX15" fmla="*/ 398313 w 1316390"/>
              <a:gd name="connsiteY15" fmla="*/ 1509823 h 2771553"/>
              <a:gd name="connsiteX16" fmla="*/ 398313 w 1316390"/>
              <a:gd name="connsiteY16" fmla="*/ 134679 h 2771553"/>
              <a:gd name="connsiteX17" fmla="*/ 532992 w 1316390"/>
              <a:gd name="connsiteY17" fmla="*/ 0 h 2771553"/>
              <a:gd name="connsiteX0" fmla="*/ 537774 w 1321172"/>
              <a:gd name="connsiteY0" fmla="*/ 0 h 2771553"/>
              <a:gd name="connsiteX1" fmla="*/ 679541 w 1321172"/>
              <a:gd name="connsiteY1" fmla="*/ 0 h 2771553"/>
              <a:gd name="connsiteX2" fmla="*/ 849662 w 1321172"/>
              <a:gd name="connsiteY2" fmla="*/ 170121 h 2771553"/>
              <a:gd name="connsiteX3" fmla="*/ 849662 w 1321172"/>
              <a:gd name="connsiteY3" fmla="*/ 269358 h 2771553"/>
              <a:gd name="connsiteX4" fmla="*/ 750425 w 1321172"/>
              <a:gd name="connsiteY4" fmla="*/ 347330 h 2771553"/>
              <a:gd name="connsiteX5" fmla="*/ 849662 w 1321172"/>
              <a:gd name="connsiteY5" fmla="*/ 453656 h 2771553"/>
              <a:gd name="connsiteX6" fmla="*/ 849662 w 1321172"/>
              <a:gd name="connsiteY6" fmla="*/ 531628 h 2771553"/>
              <a:gd name="connsiteX7" fmla="*/ 714983 w 1321172"/>
              <a:gd name="connsiteY7" fmla="*/ 645042 h 2771553"/>
              <a:gd name="connsiteX8" fmla="*/ 821309 w 1321172"/>
              <a:gd name="connsiteY8" fmla="*/ 744279 h 2771553"/>
              <a:gd name="connsiteX9" fmla="*/ 821309 w 1321172"/>
              <a:gd name="connsiteY9" fmla="*/ 843516 h 2771553"/>
              <a:gd name="connsiteX10" fmla="*/ 736248 w 1321172"/>
              <a:gd name="connsiteY10" fmla="*/ 914400 h 2771553"/>
              <a:gd name="connsiteX11" fmla="*/ 736248 w 1321172"/>
              <a:gd name="connsiteY11" fmla="*/ 1098698 h 2771553"/>
              <a:gd name="connsiteX12" fmla="*/ 856751 w 1321172"/>
              <a:gd name="connsiteY12" fmla="*/ 1219200 h 2771553"/>
              <a:gd name="connsiteX13" fmla="*/ 856751 w 1321172"/>
              <a:gd name="connsiteY13" fmla="*/ 1467293 h 2771553"/>
              <a:gd name="connsiteX14" fmla="*/ 615745 w 1321172"/>
              <a:gd name="connsiteY14" fmla="*/ 2771553 h 2771553"/>
              <a:gd name="connsiteX15" fmla="*/ 403095 w 1321172"/>
              <a:gd name="connsiteY15" fmla="*/ 1509823 h 2771553"/>
              <a:gd name="connsiteX16" fmla="*/ 403095 w 1321172"/>
              <a:gd name="connsiteY16" fmla="*/ 134679 h 2771553"/>
              <a:gd name="connsiteX17" fmla="*/ 537774 w 1321172"/>
              <a:gd name="connsiteY17" fmla="*/ 0 h 2771553"/>
              <a:gd name="connsiteX0" fmla="*/ 537774 w 1347651"/>
              <a:gd name="connsiteY0" fmla="*/ 0 h 2771553"/>
              <a:gd name="connsiteX1" fmla="*/ 679541 w 1347651"/>
              <a:gd name="connsiteY1" fmla="*/ 0 h 2771553"/>
              <a:gd name="connsiteX2" fmla="*/ 849662 w 1347651"/>
              <a:gd name="connsiteY2" fmla="*/ 170121 h 2771553"/>
              <a:gd name="connsiteX3" fmla="*/ 849662 w 1347651"/>
              <a:gd name="connsiteY3" fmla="*/ 269358 h 2771553"/>
              <a:gd name="connsiteX4" fmla="*/ 750425 w 1347651"/>
              <a:gd name="connsiteY4" fmla="*/ 347330 h 2771553"/>
              <a:gd name="connsiteX5" fmla="*/ 849662 w 1347651"/>
              <a:gd name="connsiteY5" fmla="*/ 453656 h 2771553"/>
              <a:gd name="connsiteX6" fmla="*/ 849662 w 1347651"/>
              <a:gd name="connsiteY6" fmla="*/ 531628 h 2771553"/>
              <a:gd name="connsiteX7" fmla="*/ 714983 w 1347651"/>
              <a:gd name="connsiteY7" fmla="*/ 645042 h 2771553"/>
              <a:gd name="connsiteX8" fmla="*/ 821309 w 1347651"/>
              <a:gd name="connsiteY8" fmla="*/ 744279 h 2771553"/>
              <a:gd name="connsiteX9" fmla="*/ 821309 w 1347651"/>
              <a:gd name="connsiteY9" fmla="*/ 843516 h 2771553"/>
              <a:gd name="connsiteX10" fmla="*/ 736248 w 1347651"/>
              <a:gd name="connsiteY10" fmla="*/ 914400 h 2771553"/>
              <a:gd name="connsiteX11" fmla="*/ 736248 w 1347651"/>
              <a:gd name="connsiteY11" fmla="*/ 1098698 h 2771553"/>
              <a:gd name="connsiteX12" fmla="*/ 856751 w 1347651"/>
              <a:gd name="connsiteY12" fmla="*/ 1219200 h 2771553"/>
              <a:gd name="connsiteX13" fmla="*/ 856751 w 1347651"/>
              <a:gd name="connsiteY13" fmla="*/ 1467293 h 2771553"/>
              <a:gd name="connsiteX14" fmla="*/ 615745 w 1347651"/>
              <a:gd name="connsiteY14" fmla="*/ 2771553 h 2771553"/>
              <a:gd name="connsiteX15" fmla="*/ 403095 w 1347651"/>
              <a:gd name="connsiteY15" fmla="*/ 1509823 h 2771553"/>
              <a:gd name="connsiteX16" fmla="*/ 403095 w 1347651"/>
              <a:gd name="connsiteY16" fmla="*/ 134679 h 2771553"/>
              <a:gd name="connsiteX17" fmla="*/ 537774 w 1347651"/>
              <a:gd name="connsiteY17" fmla="*/ 0 h 2771553"/>
              <a:gd name="connsiteX0" fmla="*/ 537774 w 1329331"/>
              <a:gd name="connsiteY0" fmla="*/ 0 h 2771553"/>
              <a:gd name="connsiteX1" fmla="*/ 679541 w 1329331"/>
              <a:gd name="connsiteY1" fmla="*/ 0 h 2771553"/>
              <a:gd name="connsiteX2" fmla="*/ 849662 w 1329331"/>
              <a:gd name="connsiteY2" fmla="*/ 170121 h 2771553"/>
              <a:gd name="connsiteX3" fmla="*/ 849662 w 1329331"/>
              <a:gd name="connsiteY3" fmla="*/ 269358 h 2771553"/>
              <a:gd name="connsiteX4" fmla="*/ 750425 w 1329331"/>
              <a:gd name="connsiteY4" fmla="*/ 347330 h 2771553"/>
              <a:gd name="connsiteX5" fmla="*/ 849662 w 1329331"/>
              <a:gd name="connsiteY5" fmla="*/ 453656 h 2771553"/>
              <a:gd name="connsiteX6" fmla="*/ 849662 w 1329331"/>
              <a:gd name="connsiteY6" fmla="*/ 531628 h 2771553"/>
              <a:gd name="connsiteX7" fmla="*/ 714983 w 1329331"/>
              <a:gd name="connsiteY7" fmla="*/ 645042 h 2771553"/>
              <a:gd name="connsiteX8" fmla="*/ 821309 w 1329331"/>
              <a:gd name="connsiteY8" fmla="*/ 744279 h 2771553"/>
              <a:gd name="connsiteX9" fmla="*/ 821309 w 1329331"/>
              <a:gd name="connsiteY9" fmla="*/ 843516 h 2771553"/>
              <a:gd name="connsiteX10" fmla="*/ 736248 w 1329331"/>
              <a:gd name="connsiteY10" fmla="*/ 914400 h 2771553"/>
              <a:gd name="connsiteX11" fmla="*/ 736248 w 1329331"/>
              <a:gd name="connsiteY11" fmla="*/ 1098698 h 2771553"/>
              <a:gd name="connsiteX12" fmla="*/ 856751 w 1329331"/>
              <a:gd name="connsiteY12" fmla="*/ 1219200 h 2771553"/>
              <a:gd name="connsiteX13" fmla="*/ 856751 w 1329331"/>
              <a:gd name="connsiteY13" fmla="*/ 1467293 h 2771553"/>
              <a:gd name="connsiteX14" fmla="*/ 615745 w 1329331"/>
              <a:gd name="connsiteY14" fmla="*/ 2771553 h 2771553"/>
              <a:gd name="connsiteX15" fmla="*/ 403095 w 1329331"/>
              <a:gd name="connsiteY15" fmla="*/ 1509823 h 2771553"/>
              <a:gd name="connsiteX16" fmla="*/ 403095 w 1329331"/>
              <a:gd name="connsiteY16" fmla="*/ 134679 h 2771553"/>
              <a:gd name="connsiteX17" fmla="*/ 537774 w 1329331"/>
              <a:gd name="connsiteY17" fmla="*/ 0 h 2771553"/>
              <a:gd name="connsiteX0" fmla="*/ 537774 w 1313884"/>
              <a:gd name="connsiteY0" fmla="*/ 0 h 2771553"/>
              <a:gd name="connsiteX1" fmla="*/ 679541 w 1313884"/>
              <a:gd name="connsiteY1" fmla="*/ 0 h 2771553"/>
              <a:gd name="connsiteX2" fmla="*/ 849662 w 1313884"/>
              <a:gd name="connsiteY2" fmla="*/ 170121 h 2771553"/>
              <a:gd name="connsiteX3" fmla="*/ 849662 w 1313884"/>
              <a:gd name="connsiteY3" fmla="*/ 269358 h 2771553"/>
              <a:gd name="connsiteX4" fmla="*/ 750425 w 1313884"/>
              <a:gd name="connsiteY4" fmla="*/ 347330 h 2771553"/>
              <a:gd name="connsiteX5" fmla="*/ 849662 w 1313884"/>
              <a:gd name="connsiteY5" fmla="*/ 453656 h 2771553"/>
              <a:gd name="connsiteX6" fmla="*/ 849662 w 1313884"/>
              <a:gd name="connsiteY6" fmla="*/ 531628 h 2771553"/>
              <a:gd name="connsiteX7" fmla="*/ 714983 w 1313884"/>
              <a:gd name="connsiteY7" fmla="*/ 645042 h 2771553"/>
              <a:gd name="connsiteX8" fmla="*/ 821309 w 1313884"/>
              <a:gd name="connsiteY8" fmla="*/ 744279 h 2771553"/>
              <a:gd name="connsiteX9" fmla="*/ 821309 w 1313884"/>
              <a:gd name="connsiteY9" fmla="*/ 843516 h 2771553"/>
              <a:gd name="connsiteX10" fmla="*/ 736248 w 1313884"/>
              <a:gd name="connsiteY10" fmla="*/ 914400 h 2771553"/>
              <a:gd name="connsiteX11" fmla="*/ 736248 w 1313884"/>
              <a:gd name="connsiteY11" fmla="*/ 1098698 h 2771553"/>
              <a:gd name="connsiteX12" fmla="*/ 856751 w 1313884"/>
              <a:gd name="connsiteY12" fmla="*/ 1219200 h 2771553"/>
              <a:gd name="connsiteX13" fmla="*/ 856751 w 1313884"/>
              <a:gd name="connsiteY13" fmla="*/ 1467293 h 2771553"/>
              <a:gd name="connsiteX14" fmla="*/ 615745 w 1313884"/>
              <a:gd name="connsiteY14" fmla="*/ 2771553 h 2771553"/>
              <a:gd name="connsiteX15" fmla="*/ 403095 w 1313884"/>
              <a:gd name="connsiteY15" fmla="*/ 1509823 h 2771553"/>
              <a:gd name="connsiteX16" fmla="*/ 403095 w 1313884"/>
              <a:gd name="connsiteY16" fmla="*/ 134679 h 2771553"/>
              <a:gd name="connsiteX17" fmla="*/ 537774 w 1313884"/>
              <a:gd name="connsiteY17" fmla="*/ 0 h 2771553"/>
              <a:gd name="connsiteX0" fmla="*/ 537774 w 1319006"/>
              <a:gd name="connsiteY0" fmla="*/ 0 h 2771553"/>
              <a:gd name="connsiteX1" fmla="*/ 679541 w 1319006"/>
              <a:gd name="connsiteY1" fmla="*/ 0 h 2771553"/>
              <a:gd name="connsiteX2" fmla="*/ 849662 w 1319006"/>
              <a:gd name="connsiteY2" fmla="*/ 170121 h 2771553"/>
              <a:gd name="connsiteX3" fmla="*/ 849662 w 1319006"/>
              <a:gd name="connsiteY3" fmla="*/ 269358 h 2771553"/>
              <a:gd name="connsiteX4" fmla="*/ 750425 w 1319006"/>
              <a:gd name="connsiteY4" fmla="*/ 347330 h 2771553"/>
              <a:gd name="connsiteX5" fmla="*/ 849662 w 1319006"/>
              <a:gd name="connsiteY5" fmla="*/ 453656 h 2771553"/>
              <a:gd name="connsiteX6" fmla="*/ 849662 w 1319006"/>
              <a:gd name="connsiteY6" fmla="*/ 531628 h 2771553"/>
              <a:gd name="connsiteX7" fmla="*/ 714983 w 1319006"/>
              <a:gd name="connsiteY7" fmla="*/ 645042 h 2771553"/>
              <a:gd name="connsiteX8" fmla="*/ 821309 w 1319006"/>
              <a:gd name="connsiteY8" fmla="*/ 744279 h 2771553"/>
              <a:gd name="connsiteX9" fmla="*/ 821309 w 1319006"/>
              <a:gd name="connsiteY9" fmla="*/ 843516 h 2771553"/>
              <a:gd name="connsiteX10" fmla="*/ 736248 w 1319006"/>
              <a:gd name="connsiteY10" fmla="*/ 914400 h 2771553"/>
              <a:gd name="connsiteX11" fmla="*/ 736248 w 1319006"/>
              <a:gd name="connsiteY11" fmla="*/ 1098698 h 2771553"/>
              <a:gd name="connsiteX12" fmla="*/ 856751 w 1319006"/>
              <a:gd name="connsiteY12" fmla="*/ 1219200 h 2771553"/>
              <a:gd name="connsiteX13" fmla="*/ 856751 w 1319006"/>
              <a:gd name="connsiteY13" fmla="*/ 1467293 h 2771553"/>
              <a:gd name="connsiteX14" fmla="*/ 615745 w 1319006"/>
              <a:gd name="connsiteY14" fmla="*/ 2771553 h 2771553"/>
              <a:gd name="connsiteX15" fmla="*/ 403095 w 1319006"/>
              <a:gd name="connsiteY15" fmla="*/ 1509823 h 2771553"/>
              <a:gd name="connsiteX16" fmla="*/ 403095 w 1319006"/>
              <a:gd name="connsiteY16" fmla="*/ 134679 h 2771553"/>
              <a:gd name="connsiteX17" fmla="*/ 537774 w 1319006"/>
              <a:gd name="connsiteY17" fmla="*/ 0 h 2771553"/>
              <a:gd name="connsiteX0" fmla="*/ 537774 w 1323193"/>
              <a:gd name="connsiteY0" fmla="*/ 0 h 2771553"/>
              <a:gd name="connsiteX1" fmla="*/ 679541 w 1323193"/>
              <a:gd name="connsiteY1" fmla="*/ 0 h 2771553"/>
              <a:gd name="connsiteX2" fmla="*/ 849662 w 1323193"/>
              <a:gd name="connsiteY2" fmla="*/ 170121 h 2771553"/>
              <a:gd name="connsiteX3" fmla="*/ 849662 w 1323193"/>
              <a:gd name="connsiteY3" fmla="*/ 269358 h 2771553"/>
              <a:gd name="connsiteX4" fmla="*/ 750425 w 1323193"/>
              <a:gd name="connsiteY4" fmla="*/ 347330 h 2771553"/>
              <a:gd name="connsiteX5" fmla="*/ 849662 w 1323193"/>
              <a:gd name="connsiteY5" fmla="*/ 453656 h 2771553"/>
              <a:gd name="connsiteX6" fmla="*/ 849662 w 1323193"/>
              <a:gd name="connsiteY6" fmla="*/ 531628 h 2771553"/>
              <a:gd name="connsiteX7" fmla="*/ 714983 w 1323193"/>
              <a:gd name="connsiteY7" fmla="*/ 645042 h 2771553"/>
              <a:gd name="connsiteX8" fmla="*/ 821309 w 1323193"/>
              <a:gd name="connsiteY8" fmla="*/ 744279 h 2771553"/>
              <a:gd name="connsiteX9" fmla="*/ 821309 w 1323193"/>
              <a:gd name="connsiteY9" fmla="*/ 843516 h 2771553"/>
              <a:gd name="connsiteX10" fmla="*/ 736248 w 1323193"/>
              <a:gd name="connsiteY10" fmla="*/ 914400 h 2771553"/>
              <a:gd name="connsiteX11" fmla="*/ 736248 w 1323193"/>
              <a:gd name="connsiteY11" fmla="*/ 1098698 h 2771553"/>
              <a:gd name="connsiteX12" fmla="*/ 856751 w 1323193"/>
              <a:gd name="connsiteY12" fmla="*/ 1219200 h 2771553"/>
              <a:gd name="connsiteX13" fmla="*/ 864702 w 1323193"/>
              <a:gd name="connsiteY13" fmla="*/ 1499098 h 2771553"/>
              <a:gd name="connsiteX14" fmla="*/ 615745 w 1323193"/>
              <a:gd name="connsiteY14" fmla="*/ 2771553 h 2771553"/>
              <a:gd name="connsiteX15" fmla="*/ 403095 w 1323193"/>
              <a:gd name="connsiteY15" fmla="*/ 1509823 h 2771553"/>
              <a:gd name="connsiteX16" fmla="*/ 403095 w 1323193"/>
              <a:gd name="connsiteY16" fmla="*/ 134679 h 2771553"/>
              <a:gd name="connsiteX17" fmla="*/ 537774 w 1323193"/>
              <a:gd name="connsiteY17" fmla="*/ 0 h 2771553"/>
              <a:gd name="connsiteX0" fmla="*/ 537774 w 1337687"/>
              <a:gd name="connsiteY0" fmla="*/ 0 h 2771553"/>
              <a:gd name="connsiteX1" fmla="*/ 679541 w 1337687"/>
              <a:gd name="connsiteY1" fmla="*/ 0 h 2771553"/>
              <a:gd name="connsiteX2" fmla="*/ 849662 w 1337687"/>
              <a:gd name="connsiteY2" fmla="*/ 170121 h 2771553"/>
              <a:gd name="connsiteX3" fmla="*/ 849662 w 1337687"/>
              <a:gd name="connsiteY3" fmla="*/ 269358 h 2771553"/>
              <a:gd name="connsiteX4" fmla="*/ 750425 w 1337687"/>
              <a:gd name="connsiteY4" fmla="*/ 347330 h 2771553"/>
              <a:gd name="connsiteX5" fmla="*/ 849662 w 1337687"/>
              <a:gd name="connsiteY5" fmla="*/ 453656 h 2771553"/>
              <a:gd name="connsiteX6" fmla="*/ 849662 w 1337687"/>
              <a:gd name="connsiteY6" fmla="*/ 531628 h 2771553"/>
              <a:gd name="connsiteX7" fmla="*/ 714983 w 1337687"/>
              <a:gd name="connsiteY7" fmla="*/ 645042 h 2771553"/>
              <a:gd name="connsiteX8" fmla="*/ 821309 w 1337687"/>
              <a:gd name="connsiteY8" fmla="*/ 744279 h 2771553"/>
              <a:gd name="connsiteX9" fmla="*/ 821309 w 1337687"/>
              <a:gd name="connsiteY9" fmla="*/ 843516 h 2771553"/>
              <a:gd name="connsiteX10" fmla="*/ 736248 w 1337687"/>
              <a:gd name="connsiteY10" fmla="*/ 914400 h 2771553"/>
              <a:gd name="connsiteX11" fmla="*/ 736248 w 1337687"/>
              <a:gd name="connsiteY11" fmla="*/ 1098698 h 2771553"/>
              <a:gd name="connsiteX12" fmla="*/ 856751 w 1337687"/>
              <a:gd name="connsiteY12" fmla="*/ 1219200 h 2771553"/>
              <a:gd name="connsiteX13" fmla="*/ 864702 w 1337687"/>
              <a:gd name="connsiteY13" fmla="*/ 1499098 h 2771553"/>
              <a:gd name="connsiteX14" fmla="*/ 615745 w 1337687"/>
              <a:gd name="connsiteY14" fmla="*/ 2771553 h 2771553"/>
              <a:gd name="connsiteX15" fmla="*/ 403095 w 1337687"/>
              <a:gd name="connsiteY15" fmla="*/ 1509823 h 2771553"/>
              <a:gd name="connsiteX16" fmla="*/ 403095 w 1337687"/>
              <a:gd name="connsiteY16" fmla="*/ 134679 h 2771553"/>
              <a:gd name="connsiteX17" fmla="*/ 537774 w 1337687"/>
              <a:gd name="connsiteY17" fmla="*/ 0 h 2771553"/>
              <a:gd name="connsiteX0" fmla="*/ 537774 w 1319036"/>
              <a:gd name="connsiteY0" fmla="*/ 0 h 2771553"/>
              <a:gd name="connsiteX1" fmla="*/ 679541 w 1319036"/>
              <a:gd name="connsiteY1" fmla="*/ 0 h 2771553"/>
              <a:gd name="connsiteX2" fmla="*/ 849662 w 1319036"/>
              <a:gd name="connsiteY2" fmla="*/ 170121 h 2771553"/>
              <a:gd name="connsiteX3" fmla="*/ 849662 w 1319036"/>
              <a:gd name="connsiteY3" fmla="*/ 269358 h 2771553"/>
              <a:gd name="connsiteX4" fmla="*/ 750425 w 1319036"/>
              <a:gd name="connsiteY4" fmla="*/ 347330 h 2771553"/>
              <a:gd name="connsiteX5" fmla="*/ 849662 w 1319036"/>
              <a:gd name="connsiteY5" fmla="*/ 453656 h 2771553"/>
              <a:gd name="connsiteX6" fmla="*/ 849662 w 1319036"/>
              <a:gd name="connsiteY6" fmla="*/ 531628 h 2771553"/>
              <a:gd name="connsiteX7" fmla="*/ 714983 w 1319036"/>
              <a:gd name="connsiteY7" fmla="*/ 645042 h 2771553"/>
              <a:gd name="connsiteX8" fmla="*/ 821309 w 1319036"/>
              <a:gd name="connsiteY8" fmla="*/ 744279 h 2771553"/>
              <a:gd name="connsiteX9" fmla="*/ 821309 w 1319036"/>
              <a:gd name="connsiteY9" fmla="*/ 843516 h 2771553"/>
              <a:gd name="connsiteX10" fmla="*/ 736248 w 1319036"/>
              <a:gd name="connsiteY10" fmla="*/ 914400 h 2771553"/>
              <a:gd name="connsiteX11" fmla="*/ 736248 w 1319036"/>
              <a:gd name="connsiteY11" fmla="*/ 1098698 h 2771553"/>
              <a:gd name="connsiteX12" fmla="*/ 856751 w 1319036"/>
              <a:gd name="connsiteY12" fmla="*/ 1219200 h 2771553"/>
              <a:gd name="connsiteX13" fmla="*/ 864702 w 1319036"/>
              <a:gd name="connsiteY13" fmla="*/ 1499098 h 2771553"/>
              <a:gd name="connsiteX14" fmla="*/ 615745 w 1319036"/>
              <a:gd name="connsiteY14" fmla="*/ 2771553 h 2771553"/>
              <a:gd name="connsiteX15" fmla="*/ 403095 w 1319036"/>
              <a:gd name="connsiteY15" fmla="*/ 1509823 h 2771553"/>
              <a:gd name="connsiteX16" fmla="*/ 403095 w 1319036"/>
              <a:gd name="connsiteY16" fmla="*/ 134679 h 2771553"/>
              <a:gd name="connsiteX17" fmla="*/ 537774 w 1319036"/>
              <a:gd name="connsiteY17" fmla="*/ 0 h 2771553"/>
              <a:gd name="connsiteX0" fmla="*/ 525991 w 1307253"/>
              <a:gd name="connsiteY0" fmla="*/ 0 h 2771553"/>
              <a:gd name="connsiteX1" fmla="*/ 667758 w 1307253"/>
              <a:gd name="connsiteY1" fmla="*/ 0 h 2771553"/>
              <a:gd name="connsiteX2" fmla="*/ 837879 w 1307253"/>
              <a:gd name="connsiteY2" fmla="*/ 170121 h 2771553"/>
              <a:gd name="connsiteX3" fmla="*/ 837879 w 1307253"/>
              <a:gd name="connsiteY3" fmla="*/ 269358 h 2771553"/>
              <a:gd name="connsiteX4" fmla="*/ 738642 w 1307253"/>
              <a:gd name="connsiteY4" fmla="*/ 347330 h 2771553"/>
              <a:gd name="connsiteX5" fmla="*/ 837879 w 1307253"/>
              <a:gd name="connsiteY5" fmla="*/ 453656 h 2771553"/>
              <a:gd name="connsiteX6" fmla="*/ 837879 w 1307253"/>
              <a:gd name="connsiteY6" fmla="*/ 531628 h 2771553"/>
              <a:gd name="connsiteX7" fmla="*/ 703200 w 1307253"/>
              <a:gd name="connsiteY7" fmla="*/ 645042 h 2771553"/>
              <a:gd name="connsiteX8" fmla="*/ 809526 w 1307253"/>
              <a:gd name="connsiteY8" fmla="*/ 744279 h 2771553"/>
              <a:gd name="connsiteX9" fmla="*/ 809526 w 1307253"/>
              <a:gd name="connsiteY9" fmla="*/ 843516 h 2771553"/>
              <a:gd name="connsiteX10" fmla="*/ 724465 w 1307253"/>
              <a:gd name="connsiteY10" fmla="*/ 914400 h 2771553"/>
              <a:gd name="connsiteX11" fmla="*/ 724465 w 1307253"/>
              <a:gd name="connsiteY11" fmla="*/ 1098698 h 2771553"/>
              <a:gd name="connsiteX12" fmla="*/ 844968 w 1307253"/>
              <a:gd name="connsiteY12" fmla="*/ 1219200 h 2771553"/>
              <a:gd name="connsiteX13" fmla="*/ 852919 w 1307253"/>
              <a:gd name="connsiteY13" fmla="*/ 1499098 h 2771553"/>
              <a:gd name="connsiteX14" fmla="*/ 603962 w 1307253"/>
              <a:gd name="connsiteY14" fmla="*/ 2771553 h 2771553"/>
              <a:gd name="connsiteX15" fmla="*/ 391312 w 1307253"/>
              <a:gd name="connsiteY15" fmla="*/ 1509823 h 2771553"/>
              <a:gd name="connsiteX16" fmla="*/ 391312 w 1307253"/>
              <a:gd name="connsiteY16" fmla="*/ 134679 h 2771553"/>
              <a:gd name="connsiteX17" fmla="*/ 525991 w 1307253"/>
              <a:gd name="connsiteY17" fmla="*/ 0 h 2771553"/>
              <a:gd name="connsiteX0" fmla="*/ 547145 w 1328407"/>
              <a:gd name="connsiteY0" fmla="*/ 0 h 2771553"/>
              <a:gd name="connsiteX1" fmla="*/ 688912 w 1328407"/>
              <a:gd name="connsiteY1" fmla="*/ 0 h 2771553"/>
              <a:gd name="connsiteX2" fmla="*/ 859033 w 1328407"/>
              <a:gd name="connsiteY2" fmla="*/ 170121 h 2771553"/>
              <a:gd name="connsiteX3" fmla="*/ 859033 w 1328407"/>
              <a:gd name="connsiteY3" fmla="*/ 269358 h 2771553"/>
              <a:gd name="connsiteX4" fmla="*/ 759796 w 1328407"/>
              <a:gd name="connsiteY4" fmla="*/ 347330 h 2771553"/>
              <a:gd name="connsiteX5" fmla="*/ 859033 w 1328407"/>
              <a:gd name="connsiteY5" fmla="*/ 453656 h 2771553"/>
              <a:gd name="connsiteX6" fmla="*/ 859033 w 1328407"/>
              <a:gd name="connsiteY6" fmla="*/ 531628 h 2771553"/>
              <a:gd name="connsiteX7" fmla="*/ 724354 w 1328407"/>
              <a:gd name="connsiteY7" fmla="*/ 645042 h 2771553"/>
              <a:gd name="connsiteX8" fmla="*/ 830680 w 1328407"/>
              <a:gd name="connsiteY8" fmla="*/ 744279 h 2771553"/>
              <a:gd name="connsiteX9" fmla="*/ 830680 w 1328407"/>
              <a:gd name="connsiteY9" fmla="*/ 843516 h 2771553"/>
              <a:gd name="connsiteX10" fmla="*/ 745619 w 1328407"/>
              <a:gd name="connsiteY10" fmla="*/ 914400 h 2771553"/>
              <a:gd name="connsiteX11" fmla="*/ 745619 w 1328407"/>
              <a:gd name="connsiteY11" fmla="*/ 1098698 h 2771553"/>
              <a:gd name="connsiteX12" fmla="*/ 866122 w 1328407"/>
              <a:gd name="connsiteY12" fmla="*/ 1219200 h 2771553"/>
              <a:gd name="connsiteX13" fmla="*/ 874073 w 1328407"/>
              <a:gd name="connsiteY13" fmla="*/ 1499098 h 2771553"/>
              <a:gd name="connsiteX14" fmla="*/ 625116 w 1328407"/>
              <a:gd name="connsiteY14" fmla="*/ 2771553 h 2771553"/>
              <a:gd name="connsiteX15" fmla="*/ 412466 w 1328407"/>
              <a:gd name="connsiteY15" fmla="*/ 1509823 h 2771553"/>
              <a:gd name="connsiteX16" fmla="*/ 412466 w 1328407"/>
              <a:gd name="connsiteY16" fmla="*/ 134679 h 2771553"/>
              <a:gd name="connsiteX17" fmla="*/ 547145 w 1328407"/>
              <a:gd name="connsiteY17" fmla="*/ 0 h 2771553"/>
              <a:gd name="connsiteX0" fmla="*/ 522200 w 1303462"/>
              <a:gd name="connsiteY0" fmla="*/ 0 h 2771553"/>
              <a:gd name="connsiteX1" fmla="*/ 663967 w 1303462"/>
              <a:gd name="connsiteY1" fmla="*/ 0 h 2771553"/>
              <a:gd name="connsiteX2" fmla="*/ 834088 w 1303462"/>
              <a:gd name="connsiteY2" fmla="*/ 170121 h 2771553"/>
              <a:gd name="connsiteX3" fmla="*/ 834088 w 1303462"/>
              <a:gd name="connsiteY3" fmla="*/ 269358 h 2771553"/>
              <a:gd name="connsiteX4" fmla="*/ 734851 w 1303462"/>
              <a:gd name="connsiteY4" fmla="*/ 347330 h 2771553"/>
              <a:gd name="connsiteX5" fmla="*/ 834088 w 1303462"/>
              <a:gd name="connsiteY5" fmla="*/ 453656 h 2771553"/>
              <a:gd name="connsiteX6" fmla="*/ 834088 w 1303462"/>
              <a:gd name="connsiteY6" fmla="*/ 531628 h 2771553"/>
              <a:gd name="connsiteX7" fmla="*/ 699409 w 1303462"/>
              <a:gd name="connsiteY7" fmla="*/ 645042 h 2771553"/>
              <a:gd name="connsiteX8" fmla="*/ 805735 w 1303462"/>
              <a:gd name="connsiteY8" fmla="*/ 744279 h 2771553"/>
              <a:gd name="connsiteX9" fmla="*/ 805735 w 1303462"/>
              <a:gd name="connsiteY9" fmla="*/ 843516 h 2771553"/>
              <a:gd name="connsiteX10" fmla="*/ 720674 w 1303462"/>
              <a:gd name="connsiteY10" fmla="*/ 914400 h 2771553"/>
              <a:gd name="connsiteX11" fmla="*/ 720674 w 1303462"/>
              <a:gd name="connsiteY11" fmla="*/ 1098698 h 2771553"/>
              <a:gd name="connsiteX12" fmla="*/ 841177 w 1303462"/>
              <a:gd name="connsiteY12" fmla="*/ 1219200 h 2771553"/>
              <a:gd name="connsiteX13" fmla="*/ 849128 w 1303462"/>
              <a:gd name="connsiteY13" fmla="*/ 1499098 h 2771553"/>
              <a:gd name="connsiteX14" fmla="*/ 600171 w 1303462"/>
              <a:gd name="connsiteY14" fmla="*/ 2771553 h 2771553"/>
              <a:gd name="connsiteX15" fmla="*/ 387521 w 1303462"/>
              <a:gd name="connsiteY15" fmla="*/ 1509823 h 2771553"/>
              <a:gd name="connsiteX16" fmla="*/ 387521 w 1303462"/>
              <a:gd name="connsiteY16" fmla="*/ 134679 h 2771553"/>
              <a:gd name="connsiteX17" fmla="*/ 522200 w 1303462"/>
              <a:gd name="connsiteY17" fmla="*/ 0 h 2771553"/>
              <a:gd name="connsiteX0" fmla="*/ 498736 w 1279998"/>
              <a:gd name="connsiteY0" fmla="*/ 0 h 2771553"/>
              <a:gd name="connsiteX1" fmla="*/ 640503 w 1279998"/>
              <a:gd name="connsiteY1" fmla="*/ 0 h 2771553"/>
              <a:gd name="connsiteX2" fmla="*/ 810624 w 1279998"/>
              <a:gd name="connsiteY2" fmla="*/ 170121 h 2771553"/>
              <a:gd name="connsiteX3" fmla="*/ 810624 w 1279998"/>
              <a:gd name="connsiteY3" fmla="*/ 269358 h 2771553"/>
              <a:gd name="connsiteX4" fmla="*/ 711387 w 1279998"/>
              <a:gd name="connsiteY4" fmla="*/ 347330 h 2771553"/>
              <a:gd name="connsiteX5" fmla="*/ 810624 w 1279998"/>
              <a:gd name="connsiteY5" fmla="*/ 453656 h 2771553"/>
              <a:gd name="connsiteX6" fmla="*/ 810624 w 1279998"/>
              <a:gd name="connsiteY6" fmla="*/ 531628 h 2771553"/>
              <a:gd name="connsiteX7" fmla="*/ 675945 w 1279998"/>
              <a:gd name="connsiteY7" fmla="*/ 645042 h 2771553"/>
              <a:gd name="connsiteX8" fmla="*/ 782271 w 1279998"/>
              <a:gd name="connsiteY8" fmla="*/ 744279 h 2771553"/>
              <a:gd name="connsiteX9" fmla="*/ 782271 w 1279998"/>
              <a:gd name="connsiteY9" fmla="*/ 843516 h 2771553"/>
              <a:gd name="connsiteX10" fmla="*/ 697210 w 1279998"/>
              <a:gd name="connsiteY10" fmla="*/ 914400 h 2771553"/>
              <a:gd name="connsiteX11" fmla="*/ 697210 w 1279998"/>
              <a:gd name="connsiteY11" fmla="*/ 1098698 h 2771553"/>
              <a:gd name="connsiteX12" fmla="*/ 817713 w 1279998"/>
              <a:gd name="connsiteY12" fmla="*/ 1219200 h 2771553"/>
              <a:gd name="connsiteX13" fmla="*/ 825664 w 1279998"/>
              <a:gd name="connsiteY13" fmla="*/ 1499098 h 2771553"/>
              <a:gd name="connsiteX14" fmla="*/ 576707 w 1279998"/>
              <a:gd name="connsiteY14" fmla="*/ 2771553 h 2771553"/>
              <a:gd name="connsiteX15" fmla="*/ 364057 w 1279998"/>
              <a:gd name="connsiteY15" fmla="*/ 1509823 h 2771553"/>
              <a:gd name="connsiteX16" fmla="*/ 364057 w 1279998"/>
              <a:gd name="connsiteY16" fmla="*/ 134679 h 2771553"/>
              <a:gd name="connsiteX17" fmla="*/ 498736 w 1279998"/>
              <a:gd name="connsiteY17" fmla="*/ 0 h 2771553"/>
              <a:gd name="connsiteX0" fmla="*/ 526326 w 1307588"/>
              <a:gd name="connsiteY0" fmla="*/ 0 h 2771553"/>
              <a:gd name="connsiteX1" fmla="*/ 668093 w 1307588"/>
              <a:gd name="connsiteY1" fmla="*/ 0 h 2771553"/>
              <a:gd name="connsiteX2" fmla="*/ 838214 w 1307588"/>
              <a:gd name="connsiteY2" fmla="*/ 170121 h 2771553"/>
              <a:gd name="connsiteX3" fmla="*/ 838214 w 1307588"/>
              <a:gd name="connsiteY3" fmla="*/ 269358 h 2771553"/>
              <a:gd name="connsiteX4" fmla="*/ 738977 w 1307588"/>
              <a:gd name="connsiteY4" fmla="*/ 347330 h 2771553"/>
              <a:gd name="connsiteX5" fmla="*/ 838214 w 1307588"/>
              <a:gd name="connsiteY5" fmla="*/ 453656 h 2771553"/>
              <a:gd name="connsiteX6" fmla="*/ 838214 w 1307588"/>
              <a:gd name="connsiteY6" fmla="*/ 531628 h 2771553"/>
              <a:gd name="connsiteX7" fmla="*/ 703535 w 1307588"/>
              <a:gd name="connsiteY7" fmla="*/ 645042 h 2771553"/>
              <a:gd name="connsiteX8" fmla="*/ 809861 w 1307588"/>
              <a:gd name="connsiteY8" fmla="*/ 744279 h 2771553"/>
              <a:gd name="connsiteX9" fmla="*/ 809861 w 1307588"/>
              <a:gd name="connsiteY9" fmla="*/ 843516 h 2771553"/>
              <a:gd name="connsiteX10" fmla="*/ 724800 w 1307588"/>
              <a:gd name="connsiteY10" fmla="*/ 914400 h 2771553"/>
              <a:gd name="connsiteX11" fmla="*/ 724800 w 1307588"/>
              <a:gd name="connsiteY11" fmla="*/ 1098698 h 2771553"/>
              <a:gd name="connsiteX12" fmla="*/ 845303 w 1307588"/>
              <a:gd name="connsiteY12" fmla="*/ 1219200 h 2771553"/>
              <a:gd name="connsiteX13" fmla="*/ 853254 w 1307588"/>
              <a:gd name="connsiteY13" fmla="*/ 1499098 h 2771553"/>
              <a:gd name="connsiteX14" fmla="*/ 604297 w 1307588"/>
              <a:gd name="connsiteY14" fmla="*/ 2771553 h 2771553"/>
              <a:gd name="connsiteX15" fmla="*/ 391647 w 1307588"/>
              <a:gd name="connsiteY15" fmla="*/ 1509823 h 2771553"/>
              <a:gd name="connsiteX16" fmla="*/ 391647 w 1307588"/>
              <a:gd name="connsiteY16" fmla="*/ 134679 h 2771553"/>
              <a:gd name="connsiteX17" fmla="*/ 526326 w 1307588"/>
              <a:gd name="connsiteY17" fmla="*/ 0 h 2771553"/>
              <a:gd name="connsiteX0" fmla="*/ 539748 w 1321010"/>
              <a:gd name="connsiteY0" fmla="*/ 0 h 2771553"/>
              <a:gd name="connsiteX1" fmla="*/ 681515 w 1321010"/>
              <a:gd name="connsiteY1" fmla="*/ 0 h 2771553"/>
              <a:gd name="connsiteX2" fmla="*/ 851636 w 1321010"/>
              <a:gd name="connsiteY2" fmla="*/ 170121 h 2771553"/>
              <a:gd name="connsiteX3" fmla="*/ 851636 w 1321010"/>
              <a:gd name="connsiteY3" fmla="*/ 269358 h 2771553"/>
              <a:gd name="connsiteX4" fmla="*/ 752399 w 1321010"/>
              <a:gd name="connsiteY4" fmla="*/ 347330 h 2771553"/>
              <a:gd name="connsiteX5" fmla="*/ 851636 w 1321010"/>
              <a:gd name="connsiteY5" fmla="*/ 453656 h 2771553"/>
              <a:gd name="connsiteX6" fmla="*/ 851636 w 1321010"/>
              <a:gd name="connsiteY6" fmla="*/ 531628 h 2771553"/>
              <a:gd name="connsiteX7" fmla="*/ 716957 w 1321010"/>
              <a:gd name="connsiteY7" fmla="*/ 645042 h 2771553"/>
              <a:gd name="connsiteX8" fmla="*/ 823283 w 1321010"/>
              <a:gd name="connsiteY8" fmla="*/ 744279 h 2771553"/>
              <a:gd name="connsiteX9" fmla="*/ 823283 w 1321010"/>
              <a:gd name="connsiteY9" fmla="*/ 843516 h 2771553"/>
              <a:gd name="connsiteX10" fmla="*/ 738222 w 1321010"/>
              <a:gd name="connsiteY10" fmla="*/ 914400 h 2771553"/>
              <a:gd name="connsiteX11" fmla="*/ 738222 w 1321010"/>
              <a:gd name="connsiteY11" fmla="*/ 1098698 h 2771553"/>
              <a:gd name="connsiteX12" fmla="*/ 858725 w 1321010"/>
              <a:gd name="connsiteY12" fmla="*/ 1219200 h 2771553"/>
              <a:gd name="connsiteX13" fmla="*/ 866676 w 1321010"/>
              <a:gd name="connsiteY13" fmla="*/ 1499098 h 2771553"/>
              <a:gd name="connsiteX14" fmla="*/ 617719 w 1321010"/>
              <a:gd name="connsiteY14" fmla="*/ 2771553 h 2771553"/>
              <a:gd name="connsiteX15" fmla="*/ 405069 w 1321010"/>
              <a:gd name="connsiteY15" fmla="*/ 1509823 h 2771553"/>
              <a:gd name="connsiteX16" fmla="*/ 405069 w 1321010"/>
              <a:gd name="connsiteY16" fmla="*/ 134679 h 2771553"/>
              <a:gd name="connsiteX17" fmla="*/ 539748 w 1321010"/>
              <a:gd name="connsiteY17" fmla="*/ 0 h 2771553"/>
              <a:gd name="connsiteX0" fmla="*/ 533643 w 1314905"/>
              <a:gd name="connsiteY0" fmla="*/ 0 h 2771553"/>
              <a:gd name="connsiteX1" fmla="*/ 675410 w 1314905"/>
              <a:gd name="connsiteY1" fmla="*/ 0 h 2771553"/>
              <a:gd name="connsiteX2" fmla="*/ 845531 w 1314905"/>
              <a:gd name="connsiteY2" fmla="*/ 170121 h 2771553"/>
              <a:gd name="connsiteX3" fmla="*/ 845531 w 1314905"/>
              <a:gd name="connsiteY3" fmla="*/ 269358 h 2771553"/>
              <a:gd name="connsiteX4" fmla="*/ 746294 w 1314905"/>
              <a:gd name="connsiteY4" fmla="*/ 347330 h 2771553"/>
              <a:gd name="connsiteX5" fmla="*/ 845531 w 1314905"/>
              <a:gd name="connsiteY5" fmla="*/ 453656 h 2771553"/>
              <a:gd name="connsiteX6" fmla="*/ 845531 w 1314905"/>
              <a:gd name="connsiteY6" fmla="*/ 531628 h 2771553"/>
              <a:gd name="connsiteX7" fmla="*/ 710852 w 1314905"/>
              <a:gd name="connsiteY7" fmla="*/ 645042 h 2771553"/>
              <a:gd name="connsiteX8" fmla="*/ 817178 w 1314905"/>
              <a:gd name="connsiteY8" fmla="*/ 744279 h 2771553"/>
              <a:gd name="connsiteX9" fmla="*/ 817178 w 1314905"/>
              <a:gd name="connsiteY9" fmla="*/ 843516 h 2771553"/>
              <a:gd name="connsiteX10" fmla="*/ 732117 w 1314905"/>
              <a:gd name="connsiteY10" fmla="*/ 914400 h 2771553"/>
              <a:gd name="connsiteX11" fmla="*/ 732117 w 1314905"/>
              <a:gd name="connsiteY11" fmla="*/ 1098698 h 2771553"/>
              <a:gd name="connsiteX12" fmla="*/ 852620 w 1314905"/>
              <a:gd name="connsiteY12" fmla="*/ 1219200 h 2771553"/>
              <a:gd name="connsiteX13" fmla="*/ 860571 w 1314905"/>
              <a:gd name="connsiteY13" fmla="*/ 1499098 h 2771553"/>
              <a:gd name="connsiteX14" fmla="*/ 611614 w 1314905"/>
              <a:gd name="connsiteY14" fmla="*/ 2771553 h 2771553"/>
              <a:gd name="connsiteX15" fmla="*/ 398964 w 1314905"/>
              <a:gd name="connsiteY15" fmla="*/ 1509823 h 2771553"/>
              <a:gd name="connsiteX16" fmla="*/ 398964 w 1314905"/>
              <a:gd name="connsiteY16" fmla="*/ 134679 h 2771553"/>
              <a:gd name="connsiteX17" fmla="*/ 533643 w 1314905"/>
              <a:gd name="connsiteY17" fmla="*/ 0 h 2771553"/>
              <a:gd name="connsiteX0" fmla="*/ 533643 w 860571"/>
              <a:gd name="connsiteY0" fmla="*/ 0 h 2771556"/>
              <a:gd name="connsiteX1" fmla="*/ 675410 w 860571"/>
              <a:gd name="connsiteY1" fmla="*/ 0 h 2771556"/>
              <a:gd name="connsiteX2" fmla="*/ 845531 w 860571"/>
              <a:gd name="connsiteY2" fmla="*/ 170121 h 2771556"/>
              <a:gd name="connsiteX3" fmla="*/ 845531 w 860571"/>
              <a:gd name="connsiteY3" fmla="*/ 269358 h 2771556"/>
              <a:gd name="connsiteX4" fmla="*/ 746294 w 860571"/>
              <a:gd name="connsiteY4" fmla="*/ 347330 h 2771556"/>
              <a:gd name="connsiteX5" fmla="*/ 845531 w 860571"/>
              <a:gd name="connsiteY5" fmla="*/ 453656 h 2771556"/>
              <a:gd name="connsiteX6" fmla="*/ 845531 w 860571"/>
              <a:gd name="connsiteY6" fmla="*/ 531628 h 2771556"/>
              <a:gd name="connsiteX7" fmla="*/ 710852 w 860571"/>
              <a:gd name="connsiteY7" fmla="*/ 645042 h 2771556"/>
              <a:gd name="connsiteX8" fmla="*/ 817178 w 860571"/>
              <a:gd name="connsiteY8" fmla="*/ 744279 h 2771556"/>
              <a:gd name="connsiteX9" fmla="*/ 817178 w 860571"/>
              <a:gd name="connsiteY9" fmla="*/ 843516 h 2771556"/>
              <a:gd name="connsiteX10" fmla="*/ 732117 w 860571"/>
              <a:gd name="connsiteY10" fmla="*/ 914400 h 2771556"/>
              <a:gd name="connsiteX11" fmla="*/ 732117 w 860571"/>
              <a:gd name="connsiteY11" fmla="*/ 1098698 h 2771556"/>
              <a:gd name="connsiteX12" fmla="*/ 852620 w 860571"/>
              <a:gd name="connsiteY12" fmla="*/ 1219200 h 2771556"/>
              <a:gd name="connsiteX13" fmla="*/ 860571 w 860571"/>
              <a:gd name="connsiteY13" fmla="*/ 1499098 h 2771556"/>
              <a:gd name="connsiteX14" fmla="*/ 611614 w 860571"/>
              <a:gd name="connsiteY14" fmla="*/ 2771553 h 2771556"/>
              <a:gd name="connsiteX15" fmla="*/ 398964 w 860571"/>
              <a:gd name="connsiteY15" fmla="*/ 1509823 h 2771556"/>
              <a:gd name="connsiteX16" fmla="*/ 398964 w 860571"/>
              <a:gd name="connsiteY16" fmla="*/ 134679 h 2771556"/>
              <a:gd name="connsiteX17" fmla="*/ 533643 w 860571"/>
              <a:gd name="connsiteY17" fmla="*/ 0 h 2771556"/>
              <a:gd name="connsiteX0" fmla="*/ 134679 w 461607"/>
              <a:gd name="connsiteY0" fmla="*/ 0 h 1619303"/>
              <a:gd name="connsiteX1" fmla="*/ 276446 w 461607"/>
              <a:gd name="connsiteY1" fmla="*/ 0 h 1619303"/>
              <a:gd name="connsiteX2" fmla="*/ 446567 w 461607"/>
              <a:gd name="connsiteY2" fmla="*/ 170121 h 1619303"/>
              <a:gd name="connsiteX3" fmla="*/ 446567 w 461607"/>
              <a:gd name="connsiteY3" fmla="*/ 269358 h 1619303"/>
              <a:gd name="connsiteX4" fmla="*/ 347330 w 461607"/>
              <a:gd name="connsiteY4" fmla="*/ 347330 h 1619303"/>
              <a:gd name="connsiteX5" fmla="*/ 446567 w 461607"/>
              <a:gd name="connsiteY5" fmla="*/ 453656 h 1619303"/>
              <a:gd name="connsiteX6" fmla="*/ 446567 w 461607"/>
              <a:gd name="connsiteY6" fmla="*/ 531628 h 1619303"/>
              <a:gd name="connsiteX7" fmla="*/ 311888 w 461607"/>
              <a:gd name="connsiteY7" fmla="*/ 645042 h 1619303"/>
              <a:gd name="connsiteX8" fmla="*/ 418214 w 461607"/>
              <a:gd name="connsiteY8" fmla="*/ 744279 h 1619303"/>
              <a:gd name="connsiteX9" fmla="*/ 418214 w 461607"/>
              <a:gd name="connsiteY9" fmla="*/ 843516 h 1619303"/>
              <a:gd name="connsiteX10" fmla="*/ 333153 w 461607"/>
              <a:gd name="connsiteY10" fmla="*/ 914400 h 1619303"/>
              <a:gd name="connsiteX11" fmla="*/ 333153 w 461607"/>
              <a:gd name="connsiteY11" fmla="*/ 1098698 h 1619303"/>
              <a:gd name="connsiteX12" fmla="*/ 453656 w 461607"/>
              <a:gd name="connsiteY12" fmla="*/ 1219200 h 1619303"/>
              <a:gd name="connsiteX13" fmla="*/ 461607 w 461607"/>
              <a:gd name="connsiteY13" fmla="*/ 1499098 h 1619303"/>
              <a:gd name="connsiteX14" fmla="*/ 0 w 461607"/>
              <a:gd name="connsiteY14" fmla="*/ 1509823 h 1619303"/>
              <a:gd name="connsiteX15" fmla="*/ 0 w 461607"/>
              <a:gd name="connsiteY15" fmla="*/ 134679 h 1619303"/>
              <a:gd name="connsiteX16" fmla="*/ 134679 w 461607"/>
              <a:gd name="connsiteY16" fmla="*/ 0 h 1619303"/>
              <a:gd name="connsiteX0" fmla="*/ 134679 w 461607"/>
              <a:gd name="connsiteY0" fmla="*/ 0 h 1652853"/>
              <a:gd name="connsiteX1" fmla="*/ 276446 w 461607"/>
              <a:gd name="connsiteY1" fmla="*/ 0 h 1652853"/>
              <a:gd name="connsiteX2" fmla="*/ 446567 w 461607"/>
              <a:gd name="connsiteY2" fmla="*/ 170121 h 1652853"/>
              <a:gd name="connsiteX3" fmla="*/ 446567 w 461607"/>
              <a:gd name="connsiteY3" fmla="*/ 269358 h 1652853"/>
              <a:gd name="connsiteX4" fmla="*/ 347330 w 461607"/>
              <a:gd name="connsiteY4" fmla="*/ 347330 h 1652853"/>
              <a:gd name="connsiteX5" fmla="*/ 446567 w 461607"/>
              <a:gd name="connsiteY5" fmla="*/ 453656 h 1652853"/>
              <a:gd name="connsiteX6" fmla="*/ 446567 w 461607"/>
              <a:gd name="connsiteY6" fmla="*/ 531628 h 1652853"/>
              <a:gd name="connsiteX7" fmla="*/ 311888 w 461607"/>
              <a:gd name="connsiteY7" fmla="*/ 645042 h 1652853"/>
              <a:gd name="connsiteX8" fmla="*/ 418214 w 461607"/>
              <a:gd name="connsiteY8" fmla="*/ 744279 h 1652853"/>
              <a:gd name="connsiteX9" fmla="*/ 418214 w 461607"/>
              <a:gd name="connsiteY9" fmla="*/ 843516 h 1652853"/>
              <a:gd name="connsiteX10" fmla="*/ 333153 w 461607"/>
              <a:gd name="connsiteY10" fmla="*/ 914400 h 1652853"/>
              <a:gd name="connsiteX11" fmla="*/ 333153 w 461607"/>
              <a:gd name="connsiteY11" fmla="*/ 1098698 h 1652853"/>
              <a:gd name="connsiteX12" fmla="*/ 453656 w 461607"/>
              <a:gd name="connsiteY12" fmla="*/ 1219200 h 1652853"/>
              <a:gd name="connsiteX13" fmla="*/ 461607 w 461607"/>
              <a:gd name="connsiteY13" fmla="*/ 1499098 h 1652853"/>
              <a:gd name="connsiteX14" fmla="*/ 227968 w 461607"/>
              <a:gd name="connsiteY14" fmla="*/ 1608774 h 1652853"/>
              <a:gd name="connsiteX15" fmla="*/ 0 w 461607"/>
              <a:gd name="connsiteY15" fmla="*/ 1509823 h 1652853"/>
              <a:gd name="connsiteX16" fmla="*/ 0 w 461607"/>
              <a:gd name="connsiteY16" fmla="*/ 134679 h 1652853"/>
              <a:gd name="connsiteX17" fmla="*/ 134679 w 461607"/>
              <a:gd name="connsiteY17" fmla="*/ 0 h 1652853"/>
              <a:gd name="connsiteX0" fmla="*/ 428742 w 755670"/>
              <a:gd name="connsiteY0" fmla="*/ 0 h 1711664"/>
              <a:gd name="connsiteX1" fmla="*/ 570509 w 755670"/>
              <a:gd name="connsiteY1" fmla="*/ 0 h 1711664"/>
              <a:gd name="connsiteX2" fmla="*/ 740630 w 755670"/>
              <a:gd name="connsiteY2" fmla="*/ 170121 h 1711664"/>
              <a:gd name="connsiteX3" fmla="*/ 740630 w 755670"/>
              <a:gd name="connsiteY3" fmla="*/ 269358 h 1711664"/>
              <a:gd name="connsiteX4" fmla="*/ 641393 w 755670"/>
              <a:gd name="connsiteY4" fmla="*/ 347330 h 1711664"/>
              <a:gd name="connsiteX5" fmla="*/ 740630 w 755670"/>
              <a:gd name="connsiteY5" fmla="*/ 453656 h 1711664"/>
              <a:gd name="connsiteX6" fmla="*/ 740630 w 755670"/>
              <a:gd name="connsiteY6" fmla="*/ 531628 h 1711664"/>
              <a:gd name="connsiteX7" fmla="*/ 605951 w 755670"/>
              <a:gd name="connsiteY7" fmla="*/ 645042 h 1711664"/>
              <a:gd name="connsiteX8" fmla="*/ 712277 w 755670"/>
              <a:gd name="connsiteY8" fmla="*/ 744279 h 1711664"/>
              <a:gd name="connsiteX9" fmla="*/ 712277 w 755670"/>
              <a:gd name="connsiteY9" fmla="*/ 843516 h 1711664"/>
              <a:gd name="connsiteX10" fmla="*/ 627216 w 755670"/>
              <a:gd name="connsiteY10" fmla="*/ 914400 h 1711664"/>
              <a:gd name="connsiteX11" fmla="*/ 627216 w 755670"/>
              <a:gd name="connsiteY11" fmla="*/ 1098698 h 1711664"/>
              <a:gd name="connsiteX12" fmla="*/ 747719 w 755670"/>
              <a:gd name="connsiteY12" fmla="*/ 1219200 h 1711664"/>
              <a:gd name="connsiteX13" fmla="*/ 755670 w 755670"/>
              <a:gd name="connsiteY13" fmla="*/ 1499098 h 1711664"/>
              <a:gd name="connsiteX14" fmla="*/ 9873 w 755670"/>
              <a:gd name="connsiteY14" fmla="*/ 1706996 h 1711664"/>
              <a:gd name="connsiteX15" fmla="*/ 294063 w 755670"/>
              <a:gd name="connsiteY15" fmla="*/ 1509823 h 1711664"/>
              <a:gd name="connsiteX16" fmla="*/ 294063 w 755670"/>
              <a:gd name="connsiteY16" fmla="*/ 134679 h 1711664"/>
              <a:gd name="connsiteX17" fmla="*/ 428742 w 755670"/>
              <a:gd name="connsiteY17" fmla="*/ 0 h 1711664"/>
              <a:gd name="connsiteX0" fmla="*/ 428742 w 755670"/>
              <a:gd name="connsiteY0" fmla="*/ 0 h 1711664"/>
              <a:gd name="connsiteX1" fmla="*/ 570509 w 755670"/>
              <a:gd name="connsiteY1" fmla="*/ 0 h 1711664"/>
              <a:gd name="connsiteX2" fmla="*/ 740630 w 755670"/>
              <a:gd name="connsiteY2" fmla="*/ 170121 h 1711664"/>
              <a:gd name="connsiteX3" fmla="*/ 740630 w 755670"/>
              <a:gd name="connsiteY3" fmla="*/ 269358 h 1711664"/>
              <a:gd name="connsiteX4" fmla="*/ 641393 w 755670"/>
              <a:gd name="connsiteY4" fmla="*/ 347330 h 1711664"/>
              <a:gd name="connsiteX5" fmla="*/ 740630 w 755670"/>
              <a:gd name="connsiteY5" fmla="*/ 453656 h 1711664"/>
              <a:gd name="connsiteX6" fmla="*/ 740630 w 755670"/>
              <a:gd name="connsiteY6" fmla="*/ 531628 h 1711664"/>
              <a:gd name="connsiteX7" fmla="*/ 605951 w 755670"/>
              <a:gd name="connsiteY7" fmla="*/ 645042 h 1711664"/>
              <a:gd name="connsiteX8" fmla="*/ 712277 w 755670"/>
              <a:gd name="connsiteY8" fmla="*/ 744279 h 1711664"/>
              <a:gd name="connsiteX9" fmla="*/ 712277 w 755670"/>
              <a:gd name="connsiteY9" fmla="*/ 843516 h 1711664"/>
              <a:gd name="connsiteX10" fmla="*/ 627216 w 755670"/>
              <a:gd name="connsiteY10" fmla="*/ 914400 h 1711664"/>
              <a:gd name="connsiteX11" fmla="*/ 627216 w 755670"/>
              <a:gd name="connsiteY11" fmla="*/ 1098698 h 1711664"/>
              <a:gd name="connsiteX12" fmla="*/ 747719 w 755670"/>
              <a:gd name="connsiteY12" fmla="*/ 1219200 h 1711664"/>
              <a:gd name="connsiteX13" fmla="*/ 755670 w 755670"/>
              <a:gd name="connsiteY13" fmla="*/ 1499098 h 1711664"/>
              <a:gd name="connsiteX14" fmla="*/ 9873 w 755670"/>
              <a:gd name="connsiteY14" fmla="*/ 1706996 h 1711664"/>
              <a:gd name="connsiteX15" fmla="*/ 294063 w 755670"/>
              <a:gd name="connsiteY15" fmla="*/ 1509823 h 1711664"/>
              <a:gd name="connsiteX16" fmla="*/ 294063 w 755670"/>
              <a:gd name="connsiteY16" fmla="*/ 134679 h 1711664"/>
              <a:gd name="connsiteX17" fmla="*/ 428742 w 755670"/>
              <a:gd name="connsiteY17" fmla="*/ 0 h 1711664"/>
              <a:gd name="connsiteX0" fmla="*/ 431689 w 758617"/>
              <a:gd name="connsiteY0" fmla="*/ 0 h 1709743"/>
              <a:gd name="connsiteX1" fmla="*/ 573456 w 758617"/>
              <a:gd name="connsiteY1" fmla="*/ 0 h 1709743"/>
              <a:gd name="connsiteX2" fmla="*/ 743577 w 758617"/>
              <a:gd name="connsiteY2" fmla="*/ 170121 h 1709743"/>
              <a:gd name="connsiteX3" fmla="*/ 743577 w 758617"/>
              <a:gd name="connsiteY3" fmla="*/ 269358 h 1709743"/>
              <a:gd name="connsiteX4" fmla="*/ 644340 w 758617"/>
              <a:gd name="connsiteY4" fmla="*/ 347330 h 1709743"/>
              <a:gd name="connsiteX5" fmla="*/ 743577 w 758617"/>
              <a:gd name="connsiteY5" fmla="*/ 453656 h 1709743"/>
              <a:gd name="connsiteX6" fmla="*/ 743577 w 758617"/>
              <a:gd name="connsiteY6" fmla="*/ 531628 h 1709743"/>
              <a:gd name="connsiteX7" fmla="*/ 608898 w 758617"/>
              <a:gd name="connsiteY7" fmla="*/ 645042 h 1709743"/>
              <a:gd name="connsiteX8" fmla="*/ 715224 w 758617"/>
              <a:gd name="connsiteY8" fmla="*/ 744279 h 1709743"/>
              <a:gd name="connsiteX9" fmla="*/ 715224 w 758617"/>
              <a:gd name="connsiteY9" fmla="*/ 843516 h 1709743"/>
              <a:gd name="connsiteX10" fmla="*/ 630163 w 758617"/>
              <a:gd name="connsiteY10" fmla="*/ 914400 h 1709743"/>
              <a:gd name="connsiteX11" fmla="*/ 630163 w 758617"/>
              <a:gd name="connsiteY11" fmla="*/ 1098698 h 1709743"/>
              <a:gd name="connsiteX12" fmla="*/ 750666 w 758617"/>
              <a:gd name="connsiteY12" fmla="*/ 1219200 h 1709743"/>
              <a:gd name="connsiteX13" fmla="*/ 758617 w 758617"/>
              <a:gd name="connsiteY13" fmla="*/ 1499098 h 1709743"/>
              <a:gd name="connsiteX14" fmla="*/ 12820 w 758617"/>
              <a:gd name="connsiteY14" fmla="*/ 1706996 h 1709743"/>
              <a:gd name="connsiteX15" fmla="*/ 297010 w 758617"/>
              <a:gd name="connsiteY15" fmla="*/ 1509823 h 1709743"/>
              <a:gd name="connsiteX16" fmla="*/ 297010 w 758617"/>
              <a:gd name="connsiteY16" fmla="*/ 134679 h 1709743"/>
              <a:gd name="connsiteX17" fmla="*/ 431689 w 758617"/>
              <a:gd name="connsiteY17" fmla="*/ 0 h 1709743"/>
              <a:gd name="connsiteX0" fmla="*/ 418869 w 745797"/>
              <a:gd name="connsiteY0" fmla="*/ 0 h 1709743"/>
              <a:gd name="connsiteX1" fmla="*/ 560636 w 745797"/>
              <a:gd name="connsiteY1" fmla="*/ 0 h 1709743"/>
              <a:gd name="connsiteX2" fmla="*/ 730757 w 745797"/>
              <a:gd name="connsiteY2" fmla="*/ 170121 h 1709743"/>
              <a:gd name="connsiteX3" fmla="*/ 730757 w 745797"/>
              <a:gd name="connsiteY3" fmla="*/ 269358 h 1709743"/>
              <a:gd name="connsiteX4" fmla="*/ 631520 w 745797"/>
              <a:gd name="connsiteY4" fmla="*/ 347330 h 1709743"/>
              <a:gd name="connsiteX5" fmla="*/ 730757 w 745797"/>
              <a:gd name="connsiteY5" fmla="*/ 453656 h 1709743"/>
              <a:gd name="connsiteX6" fmla="*/ 730757 w 745797"/>
              <a:gd name="connsiteY6" fmla="*/ 531628 h 1709743"/>
              <a:gd name="connsiteX7" fmla="*/ 596078 w 745797"/>
              <a:gd name="connsiteY7" fmla="*/ 645042 h 1709743"/>
              <a:gd name="connsiteX8" fmla="*/ 702404 w 745797"/>
              <a:gd name="connsiteY8" fmla="*/ 744279 h 1709743"/>
              <a:gd name="connsiteX9" fmla="*/ 702404 w 745797"/>
              <a:gd name="connsiteY9" fmla="*/ 843516 h 1709743"/>
              <a:gd name="connsiteX10" fmla="*/ 617343 w 745797"/>
              <a:gd name="connsiteY10" fmla="*/ 914400 h 1709743"/>
              <a:gd name="connsiteX11" fmla="*/ 617343 w 745797"/>
              <a:gd name="connsiteY11" fmla="*/ 1098698 h 1709743"/>
              <a:gd name="connsiteX12" fmla="*/ 737846 w 745797"/>
              <a:gd name="connsiteY12" fmla="*/ 1219200 h 1709743"/>
              <a:gd name="connsiteX13" fmla="*/ 745797 w 745797"/>
              <a:gd name="connsiteY13" fmla="*/ 1499098 h 1709743"/>
              <a:gd name="connsiteX14" fmla="*/ 0 w 745797"/>
              <a:gd name="connsiteY14" fmla="*/ 1706996 h 1709743"/>
              <a:gd name="connsiteX15" fmla="*/ 284190 w 745797"/>
              <a:gd name="connsiteY15" fmla="*/ 1509823 h 1709743"/>
              <a:gd name="connsiteX16" fmla="*/ 284190 w 745797"/>
              <a:gd name="connsiteY16" fmla="*/ 134679 h 1709743"/>
              <a:gd name="connsiteX17" fmla="*/ 418869 w 745797"/>
              <a:gd name="connsiteY17" fmla="*/ 0 h 1709743"/>
              <a:gd name="connsiteX0" fmla="*/ 418869 w 745797"/>
              <a:gd name="connsiteY0" fmla="*/ 0 h 1709743"/>
              <a:gd name="connsiteX1" fmla="*/ 560636 w 745797"/>
              <a:gd name="connsiteY1" fmla="*/ 0 h 1709743"/>
              <a:gd name="connsiteX2" fmla="*/ 730757 w 745797"/>
              <a:gd name="connsiteY2" fmla="*/ 170121 h 1709743"/>
              <a:gd name="connsiteX3" fmla="*/ 730757 w 745797"/>
              <a:gd name="connsiteY3" fmla="*/ 269358 h 1709743"/>
              <a:gd name="connsiteX4" fmla="*/ 631520 w 745797"/>
              <a:gd name="connsiteY4" fmla="*/ 347330 h 1709743"/>
              <a:gd name="connsiteX5" fmla="*/ 730757 w 745797"/>
              <a:gd name="connsiteY5" fmla="*/ 453656 h 1709743"/>
              <a:gd name="connsiteX6" fmla="*/ 730757 w 745797"/>
              <a:gd name="connsiteY6" fmla="*/ 531628 h 1709743"/>
              <a:gd name="connsiteX7" fmla="*/ 596078 w 745797"/>
              <a:gd name="connsiteY7" fmla="*/ 645042 h 1709743"/>
              <a:gd name="connsiteX8" fmla="*/ 702404 w 745797"/>
              <a:gd name="connsiteY8" fmla="*/ 744279 h 1709743"/>
              <a:gd name="connsiteX9" fmla="*/ 702404 w 745797"/>
              <a:gd name="connsiteY9" fmla="*/ 843516 h 1709743"/>
              <a:gd name="connsiteX10" fmla="*/ 617343 w 745797"/>
              <a:gd name="connsiteY10" fmla="*/ 914400 h 1709743"/>
              <a:gd name="connsiteX11" fmla="*/ 617343 w 745797"/>
              <a:gd name="connsiteY11" fmla="*/ 1098698 h 1709743"/>
              <a:gd name="connsiteX12" fmla="*/ 737846 w 745797"/>
              <a:gd name="connsiteY12" fmla="*/ 1219200 h 1709743"/>
              <a:gd name="connsiteX13" fmla="*/ 745797 w 745797"/>
              <a:gd name="connsiteY13" fmla="*/ 1499098 h 1709743"/>
              <a:gd name="connsiteX14" fmla="*/ 0 w 745797"/>
              <a:gd name="connsiteY14" fmla="*/ 1706996 h 1709743"/>
              <a:gd name="connsiteX15" fmla="*/ 284190 w 745797"/>
              <a:gd name="connsiteY15" fmla="*/ 1509823 h 1709743"/>
              <a:gd name="connsiteX16" fmla="*/ 284190 w 745797"/>
              <a:gd name="connsiteY16" fmla="*/ 134679 h 1709743"/>
              <a:gd name="connsiteX17" fmla="*/ 418869 w 745797"/>
              <a:gd name="connsiteY17" fmla="*/ 0 h 1709743"/>
              <a:gd name="connsiteX0" fmla="*/ 418869 w 745797"/>
              <a:gd name="connsiteY0" fmla="*/ 0 h 1709743"/>
              <a:gd name="connsiteX1" fmla="*/ 560636 w 745797"/>
              <a:gd name="connsiteY1" fmla="*/ 0 h 1709743"/>
              <a:gd name="connsiteX2" fmla="*/ 730757 w 745797"/>
              <a:gd name="connsiteY2" fmla="*/ 170121 h 1709743"/>
              <a:gd name="connsiteX3" fmla="*/ 730757 w 745797"/>
              <a:gd name="connsiteY3" fmla="*/ 269358 h 1709743"/>
              <a:gd name="connsiteX4" fmla="*/ 631520 w 745797"/>
              <a:gd name="connsiteY4" fmla="*/ 347330 h 1709743"/>
              <a:gd name="connsiteX5" fmla="*/ 730757 w 745797"/>
              <a:gd name="connsiteY5" fmla="*/ 453656 h 1709743"/>
              <a:gd name="connsiteX6" fmla="*/ 730757 w 745797"/>
              <a:gd name="connsiteY6" fmla="*/ 531628 h 1709743"/>
              <a:gd name="connsiteX7" fmla="*/ 596078 w 745797"/>
              <a:gd name="connsiteY7" fmla="*/ 645042 h 1709743"/>
              <a:gd name="connsiteX8" fmla="*/ 702404 w 745797"/>
              <a:gd name="connsiteY8" fmla="*/ 744279 h 1709743"/>
              <a:gd name="connsiteX9" fmla="*/ 702404 w 745797"/>
              <a:gd name="connsiteY9" fmla="*/ 843516 h 1709743"/>
              <a:gd name="connsiteX10" fmla="*/ 617343 w 745797"/>
              <a:gd name="connsiteY10" fmla="*/ 914400 h 1709743"/>
              <a:gd name="connsiteX11" fmla="*/ 617343 w 745797"/>
              <a:gd name="connsiteY11" fmla="*/ 1098698 h 1709743"/>
              <a:gd name="connsiteX12" fmla="*/ 737846 w 745797"/>
              <a:gd name="connsiteY12" fmla="*/ 1219200 h 1709743"/>
              <a:gd name="connsiteX13" fmla="*/ 745797 w 745797"/>
              <a:gd name="connsiteY13" fmla="*/ 1499098 h 1709743"/>
              <a:gd name="connsiteX14" fmla="*/ 0 w 745797"/>
              <a:gd name="connsiteY14" fmla="*/ 1706996 h 1709743"/>
              <a:gd name="connsiteX15" fmla="*/ 284190 w 745797"/>
              <a:gd name="connsiteY15" fmla="*/ 1495791 h 1709743"/>
              <a:gd name="connsiteX16" fmla="*/ 284190 w 745797"/>
              <a:gd name="connsiteY16" fmla="*/ 134679 h 1709743"/>
              <a:gd name="connsiteX17" fmla="*/ 418869 w 745797"/>
              <a:gd name="connsiteY17" fmla="*/ 0 h 1709743"/>
              <a:gd name="connsiteX0" fmla="*/ 418869 w 745797"/>
              <a:gd name="connsiteY0" fmla="*/ 0 h 1709743"/>
              <a:gd name="connsiteX1" fmla="*/ 560636 w 745797"/>
              <a:gd name="connsiteY1" fmla="*/ 0 h 1709743"/>
              <a:gd name="connsiteX2" fmla="*/ 730757 w 745797"/>
              <a:gd name="connsiteY2" fmla="*/ 170121 h 1709743"/>
              <a:gd name="connsiteX3" fmla="*/ 730757 w 745797"/>
              <a:gd name="connsiteY3" fmla="*/ 269358 h 1709743"/>
              <a:gd name="connsiteX4" fmla="*/ 631520 w 745797"/>
              <a:gd name="connsiteY4" fmla="*/ 347330 h 1709743"/>
              <a:gd name="connsiteX5" fmla="*/ 730757 w 745797"/>
              <a:gd name="connsiteY5" fmla="*/ 453656 h 1709743"/>
              <a:gd name="connsiteX6" fmla="*/ 730757 w 745797"/>
              <a:gd name="connsiteY6" fmla="*/ 531628 h 1709743"/>
              <a:gd name="connsiteX7" fmla="*/ 596078 w 745797"/>
              <a:gd name="connsiteY7" fmla="*/ 645042 h 1709743"/>
              <a:gd name="connsiteX8" fmla="*/ 702404 w 745797"/>
              <a:gd name="connsiteY8" fmla="*/ 744279 h 1709743"/>
              <a:gd name="connsiteX9" fmla="*/ 702404 w 745797"/>
              <a:gd name="connsiteY9" fmla="*/ 843516 h 1709743"/>
              <a:gd name="connsiteX10" fmla="*/ 617343 w 745797"/>
              <a:gd name="connsiteY10" fmla="*/ 914400 h 1709743"/>
              <a:gd name="connsiteX11" fmla="*/ 617343 w 745797"/>
              <a:gd name="connsiteY11" fmla="*/ 1098698 h 1709743"/>
              <a:gd name="connsiteX12" fmla="*/ 737846 w 745797"/>
              <a:gd name="connsiteY12" fmla="*/ 1219200 h 1709743"/>
              <a:gd name="connsiteX13" fmla="*/ 745797 w 745797"/>
              <a:gd name="connsiteY13" fmla="*/ 1499098 h 1709743"/>
              <a:gd name="connsiteX14" fmla="*/ 0 w 745797"/>
              <a:gd name="connsiteY14" fmla="*/ 1706996 h 1709743"/>
              <a:gd name="connsiteX15" fmla="*/ 284190 w 745797"/>
              <a:gd name="connsiteY15" fmla="*/ 1495791 h 1709743"/>
              <a:gd name="connsiteX16" fmla="*/ 284190 w 745797"/>
              <a:gd name="connsiteY16" fmla="*/ 134679 h 1709743"/>
              <a:gd name="connsiteX17" fmla="*/ 418869 w 745797"/>
              <a:gd name="connsiteY17" fmla="*/ 0 h 1709743"/>
              <a:gd name="connsiteX0" fmla="*/ 418869 w 737846"/>
              <a:gd name="connsiteY0" fmla="*/ 0 h 1709525"/>
              <a:gd name="connsiteX1" fmla="*/ 560636 w 737846"/>
              <a:gd name="connsiteY1" fmla="*/ 0 h 1709525"/>
              <a:gd name="connsiteX2" fmla="*/ 730757 w 737846"/>
              <a:gd name="connsiteY2" fmla="*/ 170121 h 1709525"/>
              <a:gd name="connsiteX3" fmla="*/ 730757 w 737846"/>
              <a:gd name="connsiteY3" fmla="*/ 269358 h 1709525"/>
              <a:gd name="connsiteX4" fmla="*/ 631520 w 737846"/>
              <a:gd name="connsiteY4" fmla="*/ 347330 h 1709525"/>
              <a:gd name="connsiteX5" fmla="*/ 730757 w 737846"/>
              <a:gd name="connsiteY5" fmla="*/ 453656 h 1709525"/>
              <a:gd name="connsiteX6" fmla="*/ 730757 w 737846"/>
              <a:gd name="connsiteY6" fmla="*/ 531628 h 1709525"/>
              <a:gd name="connsiteX7" fmla="*/ 596078 w 737846"/>
              <a:gd name="connsiteY7" fmla="*/ 645042 h 1709525"/>
              <a:gd name="connsiteX8" fmla="*/ 702404 w 737846"/>
              <a:gd name="connsiteY8" fmla="*/ 744279 h 1709525"/>
              <a:gd name="connsiteX9" fmla="*/ 702404 w 737846"/>
              <a:gd name="connsiteY9" fmla="*/ 843516 h 1709525"/>
              <a:gd name="connsiteX10" fmla="*/ 617343 w 737846"/>
              <a:gd name="connsiteY10" fmla="*/ 914400 h 1709525"/>
              <a:gd name="connsiteX11" fmla="*/ 617343 w 737846"/>
              <a:gd name="connsiteY11" fmla="*/ 1098698 h 1709525"/>
              <a:gd name="connsiteX12" fmla="*/ 737846 w 737846"/>
              <a:gd name="connsiteY12" fmla="*/ 1219200 h 1709525"/>
              <a:gd name="connsiteX13" fmla="*/ 734103 w 737846"/>
              <a:gd name="connsiteY13" fmla="*/ 1482728 h 1709525"/>
              <a:gd name="connsiteX14" fmla="*/ 0 w 737846"/>
              <a:gd name="connsiteY14" fmla="*/ 1706996 h 1709525"/>
              <a:gd name="connsiteX15" fmla="*/ 284190 w 737846"/>
              <a:gd name="connsiteY15" fmla="*/ 1495791 h 1709525"/>
              <a:gd name="connsiteX16" fmla="*/ 284190 w 737846"/>
              <a:gd name="connsiteY16" fmla="*/ 134679 h 1709525"/>
              <a:gd name="connsiteX17" fmla="*/ 418869 w 737846"/>
              <a:gd name="connsiteY17" fmla="*/ 0 h 1709525"/>
              <a:gd name="connsiteX0" fmla="*/ 423547 w 742524"/>
              <a:gd name="connsiteY0" fmla="*/ 0 h 1728024"/>
              <a:gd name="connsiteX1" fmla="*/ 565314 w 742524"/>
              <a:gd name="connsiteY1" fmla="*/ 0 h 1728024"/>
              <a:gd name="connsiteX2" fmla="*/ 735435 w 742524"/>
              <a:gd name="connsiteY2" fmla="*/ 170121 h 1728024"/>
              <a:gd name="connsiteX3" fmla="*/ 735435 w 742524"/>
              <a:gd name="connsiteY3" fmla="*/ 269358 h 1728024"/>
              <a:gd name="connsiteX4" fmla="*/ 636198 w 742524"/>
              <a:gd name="connsiteY4" fmla="*/ 347330 h 1728024"/>
              <a:gd name="connsiteX5" fmla="*/ 735435 w 742524"/>
              <a:gd name="connsiteY5" fmla="*/ 453656 h 1728024"/>
              <a:gd name="connsiteX6" fmla="*/ 735435 w 742524"/>
              <a:gd name="connsiteY6" fmla="*/ 531628 h 1728024"/>
              <a:gd name="connsiteX7" fmla="*/ 600756 w 742524"/>
              <a:gd name="connsiteY7" fmla="*/ 645042 h 1728024"/>
              <a:gd name="connsiteX8" fmla="*/ 707082 w 742524"/>
              <a:gd name="connsiteY8" fmla="*/ 744279 h 1728024"/>
              <a:gd name="connsiteX9" fmla="*/ 707082 w 742524"/>
              <a:gd name="connsiteY9" fmla="*/ 843516 h 1728024"/>
              <a:gd name="connsiteX10" fmla="*/ 622021 w 742524"/>
              <a:gd name="connsiteY10" fmla="*/ 914400 h 1728024"/>
              <a:gd name="connsiteX11" fmla="*/ 622021 w 742524"/>
              <a:gd name="connsiteY11" fmla="*/ 1098698 h 1728024"/>
              <a:gd name="connsiteX12" fmla="*/ 742524 w 742524"/>
              <a:gd name="connsiteY12" fmla="*/ 1219200 h 1728024"/>
              <a:gd name="connsiteX13" fmla="*/ 738781 w 742524"/>
              <a:gd name="connsiteY13" fmla="*/ 1482728 h 1728024"/>
              <a:gd name="connsiteX14" fmla="*/ 0 w 742524"/>
              <a:gd name="connsiteY14" fmla="*/ 1725705 h 1728024"/>
              <a:gd name="connsiteX15" fmla="*/ 288868 w 742524"/>
              <a:gd name="connsiteY15" fmla="*/ 1495791 h 1728024"/>
              <a:gd name="connsiteX16" fmla="*/ 288868 w 742524"/>
              <a:gd name="connsiteY16" fmla="*/ 134679 h 1728024"/>
              <a:gd name="connsiteX17" fmla="*/ 423547 w 742524"/>
              <a:gd name="connsiteY17" fmla="*/ 0 h 1728024"/>
              <a:gd name="connsiteX0" fmla="*/ 423547 w 742524"/>
              <a:gd name="connsiteY0" fmla="*/ 0 h 1728098"/>
              <a:gd name="connsiteX1" fmla="*/ 565314 w 742524"/>
              <a:gd name="connsiteY1" fmla="*/ 0 h 1728098"/>
              <a:gd name="connsiteX2" fmla="*/ 735435 w 742524"/>
              <a:gd name="connsiteY2" fmla="*/ 170121 h 1728098"/>
              <a:gd name="connsiteX3" fmla="*/ 735435 w 742524"/>
              <a:gd name="connsiteY3" fmla="*/ 269358 h 1728098"/>
              <a:gd name="connsiteX4" fmla="*/ 636198 w 742524"/>
              <a:gd name="connsiteY4" fmla="*/ 347330 h 1728098"/>
              <a:gd name="connsiteX5" fmla="*/ 735435 w 742524"/>
              <a:gd name="connsiteY5" fmla="*/ 453656 h 1728098"/>
              <a:gd name="connsiteX6" fmla="*/ 735435 w 742524"/>
              <a:gd name="connsiteY6" fmla="*/ 531628 h 1728098"/>
              <a:gd name="connsiteX7" fmla="*/ 600756 w 742524"/>
              <a:gd name="connsiteY7" fmla="*/ 645042 h 1728098"/>
              <a:gd name="connsiteX8" fmla="*/ 707082 w 742524"/>
              <a:gd name="connsiteY8" fmla="*/ 744279 h 1728098"/>
              <a:gd name="connsiteX9" fmla="*/ 707082 w 742524"/>
              <a:gd name="connsiteY9" fmla="*/ 843516 h 1728098"/>
              <a:gd name="connsiteX10" fmla="*/ 622021 w 742524"/>
              <a:gd name="connsiteY10" fmla="*/ 914400 h 1728098"/>
              <a:gd name="connsiteX11" fmla="*/ 622021 w 742524"/>
              <a:gd name="connsiteY11" fmla="*/ 1098698 h 1728098"/>
              <a:gd name="connsiteX12" fmla="*/ 742524 w 742524"/>
              <a:gd name="connsiteY12" fmla="*/ 1219200 h 1728098"/>
              <a:gd name="connsiteX13" fmla="*/ 738781 w 742524"/>
              <a:gd name="connsiteY13" fmla="*/ 1489744 h 1728098"/>
              <a:gd name="connsiteX14" fmla="*/ 0 w 742524"/>
              <a:gd name="connsiteY14" fmla="*/ 1725705 h 1728098"/>
              <a:gd name="connsiteX15" fmla="*/ 288868 w 742524"/>
              <a:gd name="connsiteY15" fmla="*/ 1495791 h 1728098"/>
              <a:gd name="connsiteX16" fmla="*/ 288868 w 742524"/>
              <a:gd name="connsiteY16" fmla="*/ 134679 h 1728098"/>
              <a:gd name="connsiteX17" fmla="*/ 423547 w 742524"/>
              <a:gd name="connsiteY17" fmla="*/ 0 h 1728098"/>
              <a:gd name="connsiteX0" fmla="*/ 423547 w 742524"/>
              <a:gd name="connsiteY0" fmla="*/ 0 h 1728399"/>
              <a:gd name="connsiteX1" fmla="*/ 565314 w 742524"/>
              <a:gd name="connsiteY1" fmla="*/ 0 h 1728399"/>
              <a:gd name="connsiteX2" fmla="*/ 735435 w 742524"/>
              <a:gd name="connsiteY2" fmla="*/ 170121 h 1728399"/>
              <a:gd name="connsiteX3" fmla="*/ 735435 w 742524"/>
              <a:gd name="connsiteY3" fmla="*/ 269358 h 1728399"/>
              <a:gd name="connsiteX4" fmla="*/ 636198 w 742524"/>
              <a:gd name="connsiteY4" fmla="*/ 347330 h 1728399"/>
              <a:gd name="connsiteX5" fmla="*/ 735435 w 742524"/>
              <a:gd name="connsiteY5" fmla="*/ 453656 h 1728399"/>
              <a:gd name="connsiteX6" fmla="*/ 735435 w 742524"/>
              <a:gd name="connsiteY6" fmla="*/ 531628 h 1728399"/>
              <a:gd name="connsiteX7" fmla="*/ 600756 w 742524"/>
              <a:gd name="connsiteY7" fmla="*/ 645042 h 1728399"/>
              <a:gd name="connsiteX8" fmla="*/ 707082 w 742524"/>
              <a:gd name="connsiteY8" fmla="*/ 744279 h 1728399"/>
              <a:gd name="connsiteX9" fmla="*/ 707082 w 742524"/>
              <a:gd name="connsiteY9" fmla="*/ 843516 h 1728399"/>
              <a:gd name="connsiteX10" fmla="*/ 622021 w 742524"/>
              <a:gd name="connsiteY10" fmla="*/ 914400 h 1728399"/>
              <a:gd name="connsiteX11" fmla="*/ 622021 w 742524"/>
              <a:gd name="connsiteY11" fmla="*/ 1098698 h 1728399"/>
              <a:gd name="connsiteX12" fmla="*/ 742524 w 742524"/>
              <a:gd name="connsiteY12" fmla="*/ 1219200 h 1728399"/>
              <a:gd name="connsiteX13" fmla="*/ 738781 w 742524"/>
              <a:gd name="connsiteY13" fmla="*/ 1489744 h 1728399"/>
              <a:gd name="connsiteX14" fmla="*/ 563609 w 742524"/>
              <a:gd name="connsiteY14" fmla="*/ 1613450 h 1728399"/>
              <a:gd name="connsiteX15" fmla="*/ 0 w 742524"/>
              <a:gd name="connsiteY15" fmla="*/ 1725705 h 1728399"/>
              <a:gd name="connsiteX16" fmla="*/ 288868 w 742524"/>
              <a:gd name="connsiteY16" fmla="*/ 1495791 h 1728399"/>
              <a:gd name="connsiteX17" fmla="*/ 288868 w 742524"/>
              <a:gd name="connsiteY17" fmla="*/ 134679 h 1728399"/>
              <a:gd name="connsiteX18" fmla="*/ 423547 w 742524"/>
              <a:gd name="connsiteY18" fmla="*/ 0 h 1728399"/>
              <a:gd name="connsiteX0" fmla="*/ 423547 w 1095658"/>
              <a:gd name="connsiteY0" fmla="*/ 0 h 1740902"/>
              <a:gd name="connsiteX1" fmla="*/ 565314 w 1095658"/>
              <a:gd name="connsiteY1" fmla="*/ 0 h 1740902"/>
              <a:gd name="connsiteX2" fmla="*/ 735435 w 1095658"/>
              <a:gd name="connsiteY2" fmla="*/ 170121 h 1740902"/>
              <a:gd name="connsiteX3" fmla="*/ 735435 w 1095658"/>
              <a:gd name="connsiteY3" fmla="*/ 269358 h 1740902"/>
              <a:gd name="connsiteX4" fmla="*/ 636198 w 1095658"/>
              <a:gd name="connsiteY4" fmla="*/ 347330 h 1740902"/>
              <a:gd name="connsiteX5" fmla="*/ 735435 w 1095658"/>
              <a:gd name="connsiteY5" fmla="*/ 453656 h 1740902"/>
              <a:gd name="connsiteX6" fmla="*/ 735435 w 1095658"/>
              <a:gd name="connsiteY6" fmla="*/ 531628 h 1740902"/>
              <a:gd name="connsiteX7" fmla="*/ 600756 w 1095658"/>
              <a:gd name="connsiteY7" fmla="*/ 645042 h 1740902"/>
              <a:gd name="connsiteX8" fmla="*/ 707082 w 1095658"/>
              <a:gd name="connsiteY8" fmla="*/ 744279 h 1740902"/>
              <a:gd name="connsiteX9" fmla="*/ 707082 w 1095658"/>
              <a:gd name="connsiteY9" fmla="*/ 843516 h 1740902"/>
              <a:gd name="connsiteX10" fmla="*/ 622021 w 1095658"/>
              <a:gd name="connsiteY10" fmla="*/ 914400 h 1740902"/>
              <a:gd name="connsiteX11" fmla="*/ 622021 w 1095658"/>
              <a:gd name="connsiteY11" fmla="*/ 1098698 h 1740902"/>
              <a:gd name="connsiteX12" fmla="*/ 742524 w 1095658"/>
              <a:gd name="connsiteY12" fmla="*/ 1219200 h 1740902"/>
              <a:gd name="connsiteX13" fmla="*/ 738781 w 1095658"/>
              <a:gd name="connsiteY13" fmla="*/ 1489744 h 1740902"/>
              <a:gd name="connsiteX14" fmla="*/ 1075766 w 1095658"/>
              <a:gd name="connsiteY14" fmla="*/ 1711672 h 1740902"/>
              <a:gd name="connsiteX15" fmla="*/ 0 w 1095658"/>
              <a:gd name="connsiteY15" fmla="*/ 1725705 h 1740902"/>
              <a:gd name="connsiteX16" fmla="*/ 288868 w 1095658"/>
              <a:gd name="connsiteY16" fmla="*/ 1495791 h 1740902"/>
              <a:gd name="connsiteX17" fmla="*/ 288868 w 1095658"/>
              <a:gd name="connsiteY17" fmla="*/ 134679 h 1740902"/>
              <a:gd name="connsiteX18" fmla="*/ 423547 w 1095658"/>
              <a:gd name="connsiteY18" fmla="*/ 0 h 1740902"/>
              <a:gd name="connsiteX0" fmla="*/ 423547 w 1095658"/>
              <a:gd name="connsiteY0" fmla="*/ 0 h 1733469"/>
              <a:gd name="connsiteX1" fmla="*/ 565314 w 1095658"/>
              <a:gd name="connsiteY1" fmla="*/ 0 h 1733469"/>
              <a:gd name="connsiteX2" fmla="*/ 735435 w 1095658"/>
              <a:gd name="connsiteY2" fmla="*/ 170121 h 1733469"/>
              <a:gd name="connsiteX3" fmla="*/ 735435 w 1095658"/>
              <a:gd name="connsiteY3" fmla="*/ 269358 h 1733469"/>
              <a:gd name="connsiteX4" fmla="*/ 636198 w 1095658"/>
              <a:gd name="connsiteY4" fmla="*/ 347330 h 1733469"/>
              <a:gd name="connsiteX5" fmla="*/ 735435 w 1095658"/>
              <a:gd name="connsiteY5" fmla="*/ 453656 h 1733469"/>
              <a:gd name="connsiteX6" fmla="*/ 735435 w 1095658"/>
              <a:gd name="connsiteY6" fmla="*/ 531628 h 1733469"/>
              <a:gd name="connsiteX7" fmla="*/ 600756 w 1095658"/>
              <a:gd name="connsiteY7" fmla="*/ 645042 h 1733469"/>
              <a:gd name="connsiteX8" fmla="*/ 707082 w 1095658"/>
              <a:gd name="connsiteY8" fmla="*/ 744279 h 1733469"/>
              <a:gd name="connsiteX9" fmla="*/ 707082 w 1095658"/>
              <a:gd name="connsiteY9" fmla="*/ 843516 h 1733469"/>
              <a:gd name="connsiteX10" fmla="*/ 622021 w 1095658"/>
              <a:gd name="connsiteY10" fmla="*/ 914400 h 1733469"/>
              <a:gd name="connsiteX11" fmla="*/ 622021 w 1095658"/>
              <a:gd name="connsiteY11" fmla="*/ 1098698 h 1733469"/>
              <a:gd name="connsiteX12" fmla="*/ 742524 w 1095658"/>
              <a:gd name="connsiteY12" fmla="*/ 1219200 h 1733469"/>
              <a:gd name="connsiteX13" fmla="*/ 738781 w 1095658"/>
              <a:gd name="connsiteY13" fmla="*/ 1489744 h 1733469"/>
              <a:gd name="connsiteX14" fmla="*/ 1075766 w 1095658"/>
              <a:gd name="connsiteY14" fmla="*/ 1711672 h 1733469"/>
              <a:gd name="connsiteX15" fmla="*/ 0 w 1095658"/>
              <a:gd name="connsiteY15" fmla="*/ 1725705 h 1733469"/>
              <a:gd name="connsiteX16" fmla="*/ 288868 w 1095658"/>
              <a:gd name="connsiteY16" fmla="*/ 1495791 h 1733469"/>
              <a:gd name="connsiteX17" fmla="*/ 288868 w 1095658"/>
              <a:gd name="connsiteY17" fmla="*/ 134679 h 1733469"/>
              <a:gd name="connsiteX18" fmla="*/ 423547 w 1095658"/>
              <a:gd name="connsiteY18" fmla="*/ 0 h 1733469"/>
              <a:gd name="connsiteX0" fmla="*/ 423547 w 1095658"/>
              <a:gd name="connsiteY0" fmla="*/ 0 h 1725705"/>
              <a:gd name="connsiteX1" fmla="*/ 565314 w 1095658"/>
              <a:gd name="connsiteY1" fmla="*/ 0 h 1725705"/>
              <a:gd name="connsiteX2" fmla="*/ 735435 w 1095658"/>
              <a:gd name="connsiteY2" fmla="*/ 170121 h 1725705"/>
              <a:gd name="connsiteX3" fmla="*/ 735435 w 1095658"/>
              <a:gd name="connsiteY3" fmla="*/ 269358 h 1725705"/>
              <a:gd name="connsiteX4" fmla="*/ 636198 w 1095658"/>
              <a:gd name="connsiteY4" fmla="*/ 347330 h 1725705"/>
              <a:gd name="connsiteX5" fmla="*/ 735435 w 1095658"/>
              <a:gd name="connsiteY5" fmla="*/ 453656 h 1725705"/>
              <a:gd name="connsiteX6" fmla="*/ 735435 w 1095658"/>
              <a:gd name="connsiteY6" fmla="*/ 531628 h 1725705"/>
              <a:gd name="connsiteX7" fmla="*/ 600756 w 1095658"/>
              <a:gd name="connsiteY7" fmla="*/ 645042 h 1725705"/>
              <a:gd name="connsiteX8" fmla="*/ 707082 w 1095658"/>
              <a:gd name="connsiteY8" fmla="*/ 744279 h 1725705"/>
              <a:gd name="connsiteX9" fmla="*/ 707082 w 1095658"/>
              <a:gd name="connsiteY9" fmla="*/ 843516 h 1725705"/>
              <a:gd name="connsiteX10" fmla="*/ 622021 w 1095658"/>
              <a:gd name="connsiteY10" fmla="*/ 914400 h 1725705"/>
              <a:gd name="connsiteX11" fmla="*/ 622021 w 1095658"/>
              <a:gd name="connsiteY11" fmla="*/ 1098698 h 1725705"/>
              <a:gd name="connsiteX12" fmla="*/ 742524 w 1095658"/>
              <a:gd name="connsiteY12" fmla="*/ 1219200 h 1725705"/>
              <a:gd name="connsiteX13" fmla="*/ 738781 w 1095658"/>
              <a:gd name="connsiteY13" fmla="*/ 1489744 h 1725705"/>
              <a:gd name="connsiteX14" fmla="*/ 1075766 w 1095658"/>
              <a:gd name="connsiteY14" fmla="*/ 1711672 h 1725705"/>
              <a:gd name="connsiteX15" fmla="*/ 0 w 1095658"/>
              <a:gd name="connsiteY15" fmla="*/ 1725705 h 1725705"/>
              <a:gd name="connsiteX16" fmla="*/ 288868 w 1095658"/>
              <a:gd name="connsiteY16" fmla="*/ 1495791 h 1725705"/>
              <a:gd name="connsiteX17" fmla="*/ 288868 w 1095658"/>
              <a:gd name="connsiteY17" fmla="*/ 134679 h 1725705"/>
              <a:gd name="connsiteX18" fmla="*/ 423547 w 1095658"/>
              <a:gd name="connsiteY18" fmla="*/ 0 h 1725705"/>
              <a:gd name="connsiteX0" fmla="*/ 423547 w 1095658"/>
              <a:gd name="connsiteY0" fmla="*/ 0 h 1725705"/>
              <a:gd name="connsiteX1" fmla="*/ 565314 w 1095658"/>
              <a:gd name="connsiteY1" fmla="*/ 0 h 1725705"/>
              <a:gd name="connsiteX2" fmla="*/ 735435 w 1095658"/>
              <a:gd name="connsiteY2" fmla="*/ 170121 h 1725705"/>
              <a:gd name="connsiteX3" fmla="*/ 735435 w 1095658"/>
              <a:gd name="connsiteY3" fmla="*/ 269358 h 1725705"/>
              <a:gd name="connsiteX4" fmla="*/ 636198 w 1095658"/>
              <a:gd name="connsiteY4" fmla="*/ 347330 h 1725705"/>
              <a:gd name="connsiteX5" fmla="*/ 735435 w 1095658"/>
              <a:gd name="connsiteY5" fmla="*/ 453656 h 1725705"/>
              <a:gd name="connsiteX6" fmla="*/ 735435 w 1095658"/>
              <a:gd name="connsiteY6" fmla="*/ 531628 h 1725705"/>
              <a:gd name="connsiteX7" fmla="*/ 600756 w 1095658"/>
              <a:gd name="connsiteY7" fmla="*/ 645042 h 1725705"/>
              <a:gd name="connsiteX8" fmla="*/ 707082 w 1095658"/>
              <a:gd name="connsiteY8" fmla="*/ 744279 h 1725705"/>
              <a:gd name="connsiteX9" fmla="*/ 707082 w 1095658"/>
              <a:gd name="connsiteY9" fmla="*/ 843516 h 1725705"/>
              <a:gd name="connsiteX10" fmla="*/ 622021 w 1095658"/>
              <a:gd name="connsiteY10" fmla="*/ 914400 h 1725705"/>
              <a:gd name="connsiteX11" fmla="*/ 622021 w 1095658"/>
              <a:gd name="connsiteY11" fmla="*/ 1098698 h 1725705"/>
              <a:gd name="connsiteX12" fmla="*/ 742524 w 1095658"/>
              <a:gd name="connsiteY12" fmla="*/ 1219200 h 1725705"/>
              <a:gd name="connsiteX13" fmla="*/ 738781 w 1095658"/>
              <a:gd name="connsiteY13" fmla="*/ 1489744 h 1725705"/>
              <a:gd name="connsiteX14" fmla="*/ 1075766 w 1095658"/>
              <a:gd name="connsiteY14" fmla="*/ 1714010 h 1725705"/>
              <a:gd name="connsiteX15" fmla="*/ 0 w 1095658"/>
              <a:gd name="connsiteY15" fmla="*/ 1725705 h 1725705"/>
              <a:gd name="connsiteX16" fmla="*/ 288868 w 1095658"/>
              <a:gd name="connsiteY16" fmla="*/ 1495791 h 1725705"/>
              <a:gd name="connsiteX17" fmla="*/ 288868 w 1095658"/>
              <a:gd name="connsiteY17" fmla="*/ 134679 h 1725705"/>
              <a:gd name="connsiteX18" fmla="*/ 423547 w 1095658"/>
              <a:gd name="connsiteY18" fmla="*/ 0 h 1725705"/>
              <a:gd name="connsiteX0" fmla="*/ 423547 w 1095658"/>
              <a:gd name="connsiteY0" fmla="*/ 0 h 1725705"/>
              <a:gd name="connsiteX1" fmla="*/ 565314 w 1095658"/>
              <a:gd name="connsiteY1" fmla="*/ 0 h 1725705"/>
              <a:gd name="connsiteX2" fmla="*/ 735435 w 1095658"/>
              <a:gd name="connsiteY2" fmla="*/ 170121 h 1725705"/>
              <a:gd name="connsiteX3" fmla="*/ 735435 w 1095658"/>
              <a:gd name="connsiteY3" fmla="*/ 269358 h 1725705"/>
              <a:gd name="connsiteX4" fmla="*/ 636198 w 1095658"/>
              <a:gd name="connsiteY4" fmla="*/ 347330 h 1725705"/>
              <a:gd name="connsiteX5" fmla="*/ 735435 w 1095658"/>
              <a:gd name="connsiteY5" fmla="*/ 453656 h 1725705"/>
              <a:gd name="connsiteX6" fmla="*/ 735435 w 1095658"/>
              <a:gd name="connsiteY6" fmla="*/ 531628 h 1725705"/>
              <a:gd name="connsiteX7" fmla="*/ 600756 w 1095658"/>
              <a:gd name="connsiteY7" fmla="*/ 645042 h 1725705"/>
              <a:gd name="connsiteX8" fmla="*/ 707082 w 1095658"/>
              <a:gd name="connsiteY8" fmla="*/ 744279 h 1725705"/>
              <a:gd name="connsiteX9" fmla="*/ 707082 w 1095658"/>
              <a:gd name="connsiteY9" fmla="*/ 843516 h 1725705"/>
              <a:gd name="connsiteX10" fmla="*/ 622021 w 1095658"/>
              <a:gd name="connsiteY10" fmla="*/ 914400 h 1725705"/>
              <a:gd name="connsiteX11" fmla="*/ 622021 w 1095658"/>
              <a:gd name="connsiteY11" fmla="*/ 1098698 h 1725705"/>
              <a:gd name="connsiteX12" fmla="*/ 742524 w 1095658"/>
              <a:gd name="connsiteY12" fmla="*/ 1219200 h 1725705"/>
              <a:gd name="connsiteX13" fmla="*/ 738781 w 1095658"/>
              <a:gd name="connsiteY13" fmla="*/ 1489744 h 1725705"/>
              <a:gd name="connsiteX14" fmla="*/ 1075766 w 1095658"/>
              <a:gd name="connsiteY14" fmla="*/ 1714010 h 1725705"/>
              <a:gd name="connsiteX15" fmla="*/ 0 w 1095658"/>
              <a:gd name="connsiteY15" fmla="*/ 1725705 h 1725705"/>
              <a:gd name="connsiteX16" fmla="*/ 288868 w 1095658"/>
              <a:gd name="connsiteY16" fmla="*/ 1495791 h 1725705"/>
              <a:gd name="connsiteX17" fmla="*/ 288868 w 1095658"/>
              <a:gd name="connsiteY17" fmla="*/ 134679 h 1725705"/>
              <a:gd name="connsiteX18" fmla="*/ 423547 w 1095658"/>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38781 w 1075766"/>
              <a:gd name="connsiteY13" fmla="*/ 1489744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38781 w 1075766"/>
              <a:gd name="connsiteY13" fmla="*/ 1489744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38781 w 1075766"/>
              <a:gd name="connsiteY13" fmla="*/ 1489744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38781 w 1075766"/>
              <a:gd name="connsiteY13" fmla="*/ 1489744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61233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58894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61232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58894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54217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80818"/>
              <a:gd name="connsiteY0" fmla="*/ 0 h 1727140"/>
              <a:gd name="connsiteX1" fmla="*/ 565314 w 1080818"/>
              <a:gd name="connsiteY1" fmla="*/ 0 h 1727140"/>
              <a:gd name="connsiteX2" fmla="*/ 735435 w 1080818"/>
              <a:gd name="connsiteY2" fmla="*/ 170121 h 1727140"/>
              <a:gd name="connsiteX3" fmla="*/ 735435 w 1080818"/>
              <a:gd name="connsiteY3" fmla="*/ 269358 h 1727140"/>
              <a:gd name="connsiteX4" fmla="*/ 636198 w 1080818"/>
              <a:gd name="connsiteY4" fmla="*/ 347330 h 1727140"/>
              <a:gd name="connsiteX5" fmla="*/ 735435 w 1080818"/>
              <a:gd name="connsiteY5" fmla="*/ 453656 h 1727140"/>
              <a:gd name="connsiteX6" fmla="*/ 735435 w 1080818"/>
              <a:gd name="connsiteY6" fmla="*/ 531628 h 1727140"/>
              <a:gd name="connsiteX7" fmla="*/ 600756 w 1080818"/>
              <a:gd name="connsiteY7" fmla="*/ 645042 h 1727140"/>
              <a:gd name="connsiteX8" fmla="*/ 707082 w 1080818"/>
              <a:gd name="connsiteY8" fmla="*/ 744279 h 1727140"/>
              <a:gd name="connsiteX9" fmla="*/ 707082 w 1080818"/>
              <a:gd name="connsiteY9" fmla="*/ 843516 h 1727140"/>
              <a:gd name="connsiteX10" fmla="*/ 622021 w 1080818"/>
              <a:gd name="connsiteY10" fmla="*/ 914400 h 1727140"/>
              <a:gd name="connsiteX11" fmla="*/ 622021 w 1080818"/>
              <a:gd name="connsiteY11" fmla="*/ 1098698 h 1727140"/>
              <a:gd name="connsiteX12" fmla="*/ 754217 w 1080818"/>
              <a:gd name="connsiteY12" fmla="*/ 1219200 h 1727140"/>
              <a:gd name="connsiteX13" fmla="*/ 752812 w 1080818"/>
              <a:gd name="connsiteY13" fmla="*/ 1487405 h 1727140"/>
              <a:gd name="connsiteX14" fmla="*/ 1080818 w 1080818"/>
              <a:gd name="connsiteY14" fmla="*/ 1724114 h 1727140"/>
              <a:gd name="connsiteX15" fmla="*/ 0 w 1080818"/>
              <a:gd name="connsiteY15" fmla="*/ 1725705 h 1727140"/>
              <a:gd name="connsiteX16" fmla="*/ 288868 w 1080818"/>
              <a:gd name="connsiteY16" fmla="*/ 1495791 h 1727140"/>
              <a:gd name="connsiteX17" fmla="*/ 288868 w 1080818"/>
              <a:gd name="connsiteY17" fmla="*/ 134679 h 1727140"/>
              <a:gd name="connsiteX18" fmla="*/ 423547 w 1080818"/>
              <a:gd name="connsiteY18" fmla="*/ 0 h 1727140"/>
              <a:gd name="connsiteX0" fmla="*/ 423547 w 1085870"/>
              <a:gd name="connsiteY0" fmla="*/ 0 h 1729085"/>
              <a:gd name="connsiteX1" fmla="*/ 565314 w 1085870"/>
              <a:gd name="connsiteY1" fmla="*/ 0 h 1729085"/>
              <a:gd name="connsiteX2" fmla="*/ 735435 w 1085870"/>
              <a:gd name="connsiteY2" fmla="*/ 170121 h 1729085"/>
              <a:gd name="connsiteX3" fmla="*/ 735435 w 1085870"/>
              <a:gd name="connsiteY3" fmla="*/ 269358 h 1729085"/>
              <a:gd name="connsiteX4" fmla="*/ 636198 w 1085870"/>
              <a:gd name="connsiteY4" fmla="*/ 347330 h 1729085"/>
              <a:gd name="connsiteX5" fmla="*/ 735435 w 1085870"/>
              <a:gd name="connsiteY5" fmla="*/ 453656 h 1729085"/>
              <a:gd name="connsiteX6" fmla="*/ 735435 w 1085870"/>
              <a:gd name="connsiteY6" fmla="*/ 531628 h 1729085"/>
              <a:gd name="connsiteX7" fmla="*/ 600756 w 1085870"/>
              <a:gd name="connsiteY7" fmla="*/ 645042 h 1729085"/>
              <a:gd name="connsiteX8" fmla="*/ 707082 w 1085870"/>
              <a:gd name="connsiteY8" fmla="*/ 744279 h 1729085"/>
              <a:gd name="connsiteX9" fmla="*/ 707082 w 1085870"/>
              <a:gd name="connsiteY9" fmla="*/ 843516 h 1729085"/>
              <a:gd name="connsiteX10" fmla="*/ 622021 w 1085870"/>
              <a:gd name="connsiteY10" fmla="*/ 914400 h 1729085"/>
              <a:gd name="connsiteX11" fmla="*/ 622021 w 1085870"/>
              <a:gd name="connsiteY11" fmla="*/ 1098698 h 1729085"/>
              <a:gd name="connsiteX12" fmla="*/ 754217 w 1085870"/>
              <a:gd name="connsiteY12" fmla="*/ 1219200 h 1729085"/>
              <a:gd name="connsiteX13" fmla="*/ 752812 w 1085870"/>
              <a:gd name="connsiteY13" fmla="*/ 1487405 h 1729085"/>
              <a:gd name="connsiteX14" fmla="*/ 1085870 w 1085870"/>
              <a:gd name="connsiteY14" fmla="*/ 1726640 h 1729085"/>
              <a:gd name="connsiteX15" fmla="*/ 0 w 1085870"/>
              <a:gd name="connsiteY15" fmla="*/ 1725705 h 1729085"/>
              <a:gd name="connsiteX16" fmla="*/ 288868 w 1085870"/>
              <a:gd name="connsiteY16" fmla="*/ 1495791 h 1729085"/>
              <a:gd name="connsiteX17" fmla="*/ 288868 w 1085870"/>
              <a:gd name="connsiteY17" fmla="*/ 134679 h 1729085"/>
              <a:gd name="connsiteX18" fmla="*/ 423547 w 1085870"/>
              <a:gd name="connsiteY18" fmla="*/ 0 h 1729085"/>
              <a:gd name="connsiteX0" fmla="*/ 431125 w 1093448"/>
              <a:gd name="connsiteY0" fmla="*/ 0 h 1729666"/>
              <a:gd name="connsiteX1" fmla="*/ 572892 w 1093448"/>
              <a:gd name="connsiteY1" fmla="*/ 0 h 1729666"/>
              <a:gd name="connsiteX2" fmla="*/ 743013 w 1093448"/>
              <a:gd name="connsiteY2" fmla="*/ 170121 h 1729666"/>
              <a:gd name="connsiteX3" fmla="*/ 743013 w 1093448"/>
              <a:gd name="connsiteY3" fmla="*/ 269358 h 1729666"/>
              <a:gd name="connsiteX4" fmla="*/ 643776 w 1093448"/>
              <a:gd name="connsiteY4" fmla="*/ 347330 h 1729666"/>
              <a:gd name="connsiteX5" fmla="*/ 743013 w 1093448"/>
              <a:gd name="connsiteY5" fmla="*/ 453656 h 1729666"/>
              <a:gd name="connsiteX6" fmla="*/ 743013 w 1093448"/>
              <a:gd name="connsiteY6" fmla="*/ 531628 h 1729666"/>
              <a:gd name="connsiteX7" fmla="*/ 608334 w 1093448"/>
              <a:gd name="connsiteY7" fmla="*/ 645042 h 1729666"/>
              <a:gd name="connsiteX8" fmla="*/ 714660 w 1093448"/>
              <a:gd name="connsiteY8" fmla="*/ 744279 h 1729666"/>
              <a:gd name="connsiteX9" fmla="*/ 714660 w 1093448"/>
              <a:gd name="connsiteY9" fmla="*/ 843516 h 1729666"/>
              <a:gd name="connsiteX10" fmla="*/ 629599 w 1093448"/>
              <a:gd name="connsiteY10" fmla="*/ 914400 h 1729666"/>
              <a:gd name="connsiteX11" fmla="*/ 629599 w 1093448"/>
              <a:gd name="connsiteY11" fmla="*/ 1098698 h 1729666"/>
              <a:gd name="connsiteX12" fmla="*/ 761795 w 1093448"/>
              <a:gd name="connsiteY12" fmla="*/ 1219200 h 1729666"/>
              <a:gd name="connsiteX13" fmla="*/ 760390 w 1093448"/>
              <a:gd name="connsiteY13" fmla="*/ 1487405 h 1729666"/>
              <a:gd name="connsiteX14" fmla="*/ 1093448 w 1093448"/>
              <a:gd name="connsiteY14" fmla="*/ 1726640 h 1729666"/>
              <a:gd name="connsiteX15" fmla="*/ 0 w 1093448"/>
              <a:gd name="connsiteY15" fmla="*/ 1728231 h 1729666"/>
              <a:gd name="connsiteX16" fmla="*/ 296446 w 1093448"/>
              <a:gd name="connsiteY16" fmla="*/ 1495791 h 1729666"/>
              <a:gd name="connsiteX17" fmla="*/ 296446 w 1093448"/>
              <a:gd name="connsiteY17" fmla="*/ 134679 h 1729666"/>
              <a:gd name="connsiteX18" fmla="*/ 431125 w 1093448"/>
              <a:gd name="connsiteY18" fmla="*/ 0 h 172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3448" h="1729666">
                <a:moveTo>
                  <a:pt x="431125" y="0"/>
                </a:moveTo>
                <a:lnTo>
                  <a:pt x="572892" y="0"/>
                </a:lnTo>
                <a:lnTo>
                  <a:pt x="743013" y="170121"/>
                </a:lnTo>
                <a:lnTo>
                  <a:pt x="743013" y="269358"/>
                </a:lnTo>
                <a:lnTo>
                  <a:pt x="643776" y="347330"/>
                </a:lnTo>
                <a:lnTo>
                  <a:pt x="743013" y="453656"/>
                </a:lnTo>
                <a:lnTo>
                  <a:pt x="743013" y="531628"/>
                </a:lnTo>
                <a:lnTo>
                  <a:pt x="608334" y="645042"/>
                </a:lnTo>
                <a:lnTo>
                  <a:pt x="714660" y="744279"/>
                </a:lnTo>
                <a:lnTo>
                  <a:pt x="714660" y="843516"/>
                </a:lnTo>
                <a:lnTo>
                  <a:pt x="629599" y="914400"/>
                </a:lnTo>
                <a:lnTo>
                  <a:pt x="629599" y="1098698"/>
                </a:lnTo>
                <a:lnTo>
                  <a:pt x="761795" y="1219200"/>
                </a:lnTo>
                <a:cubicBezTo>
                  <a:pt x="760547" y="1307043"/>
                  <a:pt x="761638" y="1399562"/>
                  <a:pt x="760390" y="1487405"/>
                </a:cubicBezTo>
                <a:cubicBezTo>
                  <a:pt x="840486" y="1487632"/>
                  <a:pt x="1015457" y="1579736"/>
                  <a:pt x="1093448" y="1726640"/>
                </a:cubicBezTo>
                <a:cubicBezTo>
                  <a:pt x="916530" y="1733225"/>
                  <a:pt x="132319" y="1726794"/>
                  <a:pt x="0" y="1728231"/>
                </a:cubicBezTo>
                <a:cubicBezTo>
                  <a:pt x="65722" y="1620103"/>
                  <a:pt x="145012" y="1533337"/>
                  <a:pt x="296446" y="1495791"/>
                </a:cubicBezTo>
                <a:lnTo>
                  <a:pt x="296446" y="134679"/>
                </a:lnTo>
                <a:lnTo>
                  <a:pt x="431125" y="0"/>
                </a:lnTo>
                <a:close/>
              </a:path>
            </a:pathLst>
          </a:custGeom>
          <a:solidFill>
            <a:srgbClr val="91E9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Freeform 41"/>
          <p:cNvSpPr/>
          <p:nvPr/>
        </p:nvSpPr>
        <p:spPr>
          <a:xfrm>
            <a:off x="682011" y="1646583"/>
            <a:ext cx="448835" cy="790798"/>
          </a:xfrm>
          <a:custGeom>
            <a:avLst/>
            <a:gdLst>
              <a:gd name="connsiteX0" fmla="*/ 134679 w 453656"/>
              <a:gd name="connsiteY0" fmla="*/ 0 h 2750288"/>
              <a:gd name="connsiteX1" fmla="*/ 276446 w 453656"/>
              <a:gd name="connsiteY1" fmla="*/ 0 h 2750288"/>
              <a:gd name="connsiteX2" fmla="*/ 446567 w 453656"/>
              <a:gd name="connsiteY2" fmla="*/ 170121 h 2750288"/>
              <a:gd name="connsiteX3" fmla="*/ 446567 w 453656"/>
              <a:gd name="connsiteY3" fmla="*/ 269358 h 2750288"/>
              <a:gd name="connsiteX4" fmla="*/ 347330 w 453656"/>
              <a:gd name="connsiteY4" fmla="*/ 347330 h 2750288"/>
              <a:gd name="connsiteX5" fmla="*/ 446567 w 453656"/>
              <a:gd name="connsiteY5" fmla="*/ 453656 h 2750288"/>
              <a:gd name="connsiteX6" fmla="*/ 446567 w 453656"/>
              <a:gd name="connsiteY6" fmla="*/ 531628 h 2750288"/>
              <a:gd name="connsiteX7" fmla="*/ 311888 w 453656"/>
              <a:gd name="connsiteY7" fmla="*/ 645042 h 2750288"/>
              <a:gd name="connsiteX8" fmla="*/ 418214 w 453656"/>
              <a:gd name="connsiteY8" fmla="*/ 744279 h 2750288"/>
              <a:gd name="connsiteX9" fmla="*/ 418214 w 453656"/>
              <a:gd name="connsiteY9" fmla="*/ 843516 h 2750288"/>
              <a:gd name="connsiteX10" fmla="*/ 333153 w 453656"/>
              <a:gd name="connsiteY10" fmla="*/ 914400 h 2750288"/>
              <a:gd name="connsiteX11" fmla="*/ 333153 w 453656"/>
              <a:gd name="connsiteY11" fmla="*/ 1098698 h 2750288"/>
              <a:gd name="connsiteX12" fmla="*/ 453656 w 453656"/>
              <a:gd name="connsiteY12" fmla="*/ 1219200 h 2750288"/>
              <a:gd name="connsiteX13" fmla="*/ 453656 w 453656"/>
              <a:gd name="connsiteY13" fmla="*/ 1467293 h 2750288"/>
              <a:gd name="connsiteX14" fmla="*/ 276446 w 453656"/>
              <a:gd name="connsiteY14" fmla="*/ 2750288 h 2750288"/>
              <a:gd name="connsiteX15" fmla="*/ 0 w 453656"/>
              <a:gd name="connsiteY15" fmla="*/ 1474381 h 2750288"/>
              <a:gd name="connsiteX16" fmla="*/ 0 w 453656"/>
              <a:gd name="connsiteY16" fmla="*/ 134679 h 2750288"/>
              <a:gd name="connsiteX17" fmla="*/ 134679 w 453656"/>
              <a:gd name="connsiteY17" fmla="*/ 0 h 2750288"/>
              <a:gd name="connsiteX0" fmla="*/ 134679 w 782421"/>
              <a:gd name="connsiteY0" fmla="*/ 0 h 2750288"/>
              <a:gd name="connsiteX1" fmla="*/ 276446 w 782421"/>
              <a:gd name="connsiteY1" fmla="*/ 0 h 2750288"/>
              <a:gd name="connsiteX2" fmla="*/ 446567 w 782421"/>
              <a:gd name="connsiteY2" fmla="*/ 170121 h 2750288"/>
              <a:gd name="connsiteX3" fmla="*/ 446567 w 782421"/>
              <a:gd name="connsiteY3" fmla="*/ 269358 h 2750288"/>
              <a:gd name="connsiteX4" fmla="*/ 347330 w 782421"/>
              <a:gd name="connsiteY4" fmla="*/ 347330 h 2750288"/>
              <a:gd name="connsiteX5" fmla="*/ 446567 w 782421"/>
              <a:gd name="connsiteY5" fmla="*/ 453656 h 2750288"/>
              <a:gd name="connsiteX6" fmla="*/ 446567 w 782421"/>
              <a:gd name="connsiteY6" fmla="*/ 531628 h 2750288"/>
              <a:gd name="connsiteX7" fmla="*/ 311888 w 782421"/>
              <a:gd name="connsiteY7" fmla="*/ 645042 h 2750288"/>
              <a:gd name="connsiteX8" fmla="*/ 418214 w 782421"/>
              <a:gd name="connsiteY8" fmla="*/ 744279 h 2750288"/>
              <a:gd name="connsiteX9" fmla="*/ 418214 w 782421"/>
              <a:gd name="connsiteY9" fmla="*/ 843516 h 2750288"/>
              <a:gd name="connsiteX10" fmla="*/ 333153 w 782421"/>
              <a:gd name="connsiteY10" fmla="*/ 914400 h 2750288"/>
              <a:gd name="connsiteX11" fmla="*/ 333153 w 782421"/>
              <a:gd name="connsiteY11" fmla="*/ 1098698 h 2750288"/>
              <a:gd name="connsiteX12" fmla="*/ 453656 w 782421"/>
              <a:gd name="connsiteY12" fmla="*/ 1219200 h 2750288"/>
              <a:gd name="connsiteX13" fmla="*/ 453656 w 782421"/>
              <a:gd name="connsiteY13" fmla="*/ 1467293 h 2750288"/>
              <a:gd name="connsiteX14" fmla="*/ 276446 w 782421"/>
              <a:gd name="connsiteY14" fmla="*/ 2750288 h 2750288"/>
              <a:gd name="connsiteX15" fmla="*/ 0 w 782421"/>
              <a:gd name="connsiteY15" fmla="*/ 1474381 h 2750288"/>
              <a:gd name="connsiteX16" fmla="*/ 0 w 782421"/>
              <a:gd name="connsiteY16" fmla="*/ 134679 h 2750288"/>
              <a:gd name="connsiteX17" fmla="*/ 134679 w 782421"/>
              <a:gd name="connsiteY17" fmla="*/ 0 h 2750288"/>
              <a:gd name="connsiteX0" fmla="*/ 134679 w 935101"/>
              <a:gd name="connsiteY0" fmla="*/ 0 h 2750288"/>
              <a:gd name="connsiteX1" fmla="*/ 276446 w 935101"/>
              <a:gd name="connsiteY1" fmla="*/ 0 h 2750288"/>
              <a:gd name="connsiteX2" fmla="*/ 446567 w 935101"/>
              <a:gd name="connsiteY2" fmla="*/ 170121 h 2750288"/>
              <a:gd name="connsiteX3" fmla="*/ 446567 w 935101"/>
              <a:gd name="connsiteY3" fmla="*/ 269358 h 2750288"/>
              <a:gd name="connsiteX4" fmla="*/ 347330 w 935101"/>
              <a:gd name="connsiteY4" fmla="*/ 347330 h 2750288"/>
              <a:gd name="connsiteX5" fmla="*/ 446567 w 935101"/>
              <a:gd name="connsiteY5" fmla="*/ 453656 h 2750288"/>
              <a:gd name="connsiteX6" fmla="*/ 446567 w 935101"/>
              <a:gd name="connsiteY6" fmla="*/ 531628 h 2750288"/>
              <a:gd name="connsiteX7" fmla="*/ 311888 w 935101"/>
              <a:gd name="connsiteY7" fmla="*/ 645042 h 2750288"/>
              <a:gd name="connsiteX8" fmla="*/ 418214 w 935101"/>
              <a:gd name="connsiteY8" fmla="*/ 744279 h 2750288"/>
              <a:gd name="connsiteX9" fmla="*/ 418214 w 935101"/>
              <a:gd name="connsiteY9" fmla="*/ 843516 h 2750288"/>
              <a:gd name="connsiteX10" fmla="*/ 333153 w 935101"/>
              <a:gd name="connsiteY10" fmla="*/ 914400 h 2750288"/>
              <a:gd name="connsiteX11" fmla="*/ 333153 w 935101"/>
              <a:gd name="connsiteY11" fmla="*/ 1098698 h 2750288"/>
              <a:gd name="connsiteX12" fmla="*/ 453656 w 935101"/>
              <a:gd name="connsiteY12" fmla="*/ 1219200 h 2750288"/>
              <a:gd name="connsiteX13" fmla="*/ 453656 w 935101"/>
              <a:gd name="connsiteY13" fmla="*/ 1467293 h 2750288"/>
              <a:gd name="connsiteX14" fmla="*/ 276446 w 935101"/>
              <a:gd name="connsiteY14" fmla="*/ 2750288 h 2750288"/>
              <a:gd name="connsiteX15" fmla="*/ 0 w 935101"/>
              <a:gd name="connsiteY15" fmla="*/ 1474381 h 2750288"/>
              <a:gd name="connsiteX16" fmla="*/ 0 w 935101"/>
              <a:gd name="connsiteY16" fmla="*/ 134679 h 2750288"/>
              <a:gd name="connsiteX17" fmla="*/ 134679 w 935101"/>
              <a:gd name="connsiteY17" fmla="*/ 0 h 2750288"/>
              <a:gd name="connsiteX0" fmla="*/ 134679 w 900298"/>
              <a:gd name="connsiteY0" fmla="*/ 0 h 2771553"/>
              <a:gd name="connsiteX1" fmla="*/ 276446 w 900298"/>
              <a:gd name="connsiteY1" fmla="*/ 0 h 2771553"/>
              <a:gd name="connsiteX2" fmla="*/ 446567 w 900298"/>
              <a:gd name="connsiteY2" fmla="*/ 170121 h 2771553"/>
              <a:gd name="connsiteX3" fmla="*/ 446567 w 900298"/>
              <a:gd name="connsiteY3" fmla="*/ 269358 h 2771553"/>
              <a:gd name="connsiteX4" fmla="*/ 347330 w 900298"/>
              <a:gd name="connsiteY4" fmla="*/ 347330 h 2771553"/>
              <a:gd name="connsiteX5" fmla="*/ 446567 w 900298"/>
              <a:gd name="connsiteY5" fmla="*/ 453656 h 2771553"/>
              <a:gd name="connsiteX6" fmla="*/ 446567 w 900298"/>
              <a:gd name="connsiteY6" fmla="*/ 531628 h 2771553"/>
              <a:gd name="connsiteX7" fmla="*/ 311888 w 900298"/>
              <a:gd name="connsiteY7" fmla="*/ 645042 h 2771553"/>
              <a:gd name="connsiteX8" fmla="*/ 418214 w 900298"/>
              <a:gd name="connsiteY8" fmla="*/ 744279 h 2771553"/>
              <a:gd name="connsiteX9" fmla="*/ 418214 w 900298"/>
              <a:gd name="connsiteY9" fmla="*/ 843516 h 2771553"/>
              <a:gd name="connsiteX10" fmla="*/ 333153 w 900298"/>
              <a:gd name="connsiteY10" fmla="*/ 914400 h 2771553"/>
              <a:gd name="connsiteX11" fmla="*/ 333153 w 900298"/>
              <a:gd name="connsiteY11" fmla="*/ 1098698 h 2771553"/>
              <a:gd name="connsiteX12" fmla="*/ 453656 w 900298"/>
              <a:gd name="connsiteY12" fmla="*/ 1219200 h 2771553"/>
              <a:gd name="connsiteX13" fmla="*/ 453656 w 900298"/>
              <a:gd name="connsiteY13" fmla="*/ 1467293 h 2771553"/>
              <a:gd name="connsiteX14" fmla="*/ 212650 w 900298"/>
              <a:gd name="connsiteY14" fmla="*/ 2771553 h 2771553"/>
              <a:gd name="connsiteX15" fmla="*/ 0 w 900298"/>
              <a:gd name="connsiteY15" fmla="*/ 1474381 h 2771553"/>
              <a:gd name="connsiteX16" fmla="*/ 0 w 900298"/>
              <a:gd name="connsiteY16" fmla="*/ 134679 h 2771553"/>
              <a:gd name="connsiteX17" fmla="*/ 134679 w 900298"/>
              <a:gd name="connsiteY17" fmla="*/ 0 h 2771553"/>
              <a:gd name="connsiteX0" fmla="*/ 134679 w 918284"/>
              <a:gd name="connsiteY0" fmla="*/ 0 h 2771553"/>
              <a:gd name="connsiteX1" fmla="*/ 276446 w 918284"/>
              <a:gd name="connsiteY1" fmla="*/ 0 h 2771553"/>
              <a:gd name="connsiteX2" fmla="*/ 446567 w 918284"/>
              <a:gd name="connsiteY2" fmla="*/ 170121 h 2771553"/>
              <a:gd name="connsiteX3" fmla="*/ 446567 w 918284"/>
              <a:gd name="connsiteY3" fmla="*/ 269358 h 2771553"/>
              <a:gd name="connsiteX4" fmla="*/ 347330 w 918284"/>
              <a:gd name="connsiteY4" fmla="*/ 347330 h 2771553"/>
              <a:gd name="connsiteX5" fmla="*/ 446567 w 918284"/>
              <a:gd name="connsiteY5" fmla="*/ 453656 h 2771553"/>
              <a:gd name="connsiteX6" fmla="*/ 446567 w 918284"/>
              <a:gd name="connsiteY6" fmla="*/ 531628 h 2771553"/>
              <a:gd name="connsiteX7" fmla="*/ 311888 w 918284"/>
              <a:gd name="connsiteY7" fmla="*/ 645042 h 2771553"/>
              <a:gd name="connsiteX8" fmla="*/ 418214 w 918284"/>
              <a:gd name="connsiteY8" fmla="*/ 744279 h 2771553"/>
              <a:gd name="connsiteX9" fmla="*/ 418214 w 918284"/>
              <a:gd name="connsiteY9" fmla="*/ 843516 h 2771553"/>
              <a:gd name="connsiteX10" fmla="*/ 333153 w 918284"/>
              <a:gd name="connsiteY10" fmla="*/ 914400 h 2771553"/>
              <a:gd name="connsiteX11" fmla="*/ 333153 w 918284"/>
              <a:gd name="connsiteY11" fmla="*/ 1098698 h 2771553"/>
              <a:gd name="connsiteX12" fmla="*/ 453656 w 918284"/>
              <a:gd name="connsiteY12" fmla="*/ 1219200 h 2771553"/>
              <a:gd name="connsiteX13" fmla="*/ 453656 w 918284"/>
              <a:gd name="connsiteY13" fmla="*/ 1467293 h 2771553"/>
              <a:gd name="connsiteX14" fmla="*/ 212650 w 918284"/>
              <a:gd name="connsiteY14" fmla="*/ 2771553 h 2771553"/>
              <a:gd name="connsiteX15" fmla="*/ 0 w 918284"/>
              <a:gd name="connsiteY15" fmla="*/ 1474381 h 2771553"/>
              <a:gd name="connsiteX16" fmla="*/ 0 w 918284"/>
              <a:gd name="connsiteY16" fmla="*/ 134679 h 2771553"/>
              <a:gd name="connsiteX17" fmla="*/ 134679 w 918284"/>
              <a:gd name="connsiteY17" fmla="*/ 0 h 2771553"/>
              <a:gd name="connsiteX0" fmla="*/ 134679 w 899378"/>
              <a:gd name="connsiteY0" fmla="*/ 0 h 2771553"/>
              <a:gd name="connsiteX1" fmla="*/ 276446 w 899378"/>
              <a:gd name="connsiteY1" fmla="*/ 0 h 2771553"/>
              <a:gd name="connsiteX2" fmla="*/ 446567 w 899378"/>
              <a:gd name="connsiteY2" fmla="*/ 170121 h 2771553"/>
              <a:gd name="connsiteX3" fmla="*/ 446567 w 899378"/>
              <a:gd name="connsiteY3" fmla="*/ 269358 h 2771553"/>
              <a:gd name="connsiteX4" fmla="*/ 347330 w 899378"/>
              <a:gd name="connsiteY4" fmla="*/ 347330 h 2771553"/>
              <a:gd name="connsiteX5" fmla="*/ 446567 w 899378"/>
              <a:gd name="connsiteY5" fmla="*/ 453656 h 2771553"/>
              <a:gd name="connsiteX6" fmla="*/ 446567 w 899378"/>
              <a:gd name="connsiteY6" fmla="*/ 531628 h 2771553"/>
              <a:gd name="connsiteX7" fmla="*/ 311888 w 899378"/>
              <a:gd name="connsiteY7" fmla="*/ 645042 h 2771553"/>
              <a:gd name="connsiteX8" fmla="*/ 418214 w 899378"/>
              <a:gd name="connsiteY8" fmla="*/ 744279 h 2771553"/>
              <a:gd name="connsiteX9" fmla="*/ 418214 w 899378"/>
              <a:gd name="connsiteY9" fmla="*/ 843516 h 2771553"/>
              <a:gd name="connsiteX10" fmla="*/ 333153 w 899378"/>
              <a:gd name="connsiteY10" fmla="*/ 914400 h 2771553"/>
              <a:gd name="connsiteX11" fmla="*/ 333153 w 899378"/>
              <a:gd name="connsiteY11" fmla="*/ 1098698 h 2771553"/>
              <a:gd name="connsiteX12" fmla="*/ 453656 w 899378"/>
              <a:gd name="connsiteY12" fmla="*/ 1219200 h 2771553"/>
              <a:gd name="connsiteX13" fmla="*/ 453656 w 899378"/>
              <a:gd name="connsiteY13" fmla="*/ 1467293 h 2771553"/>
              <a:gd name="connsiteX14" fmla="*/ 212650 w 899378"/>
              <a:gd name="connsiteY14" fmla="*/ 2771553 h 2771553"/>
              <a:gd name="connsiteX15" fmla="*/ 0 w 899378"/>
              <a:gd name="connsiteY15" fmla="*/ 1474381 h 2771553"/>
              <a:gd name="connsiteX16" fmla="*/ 0 w 899378"/>
              <a:gd name="connsiteY16" fmla="*/ 134679 h 2771553"/>
              <a:gd name="connsiteX17" fmla="*/ 134679 w 899378"/>
              <a:gd name="connsiteY17" fmla="*/ 0 h 2771553"/>
              <a:gd name="connsiteX0" fmla="*/ 134679 w 912854"/>
              <a:gd name="connsiteY0" fmla="*/ 0 h 2771553"/>
              <a:gd name="connsiteX1" fmla="*/ 276446 w 912854"/>
              <a:gd name="connsiteY1" fmla="*/ 0 h 2771553"/>
              <a:gd name="connsiteX2" fmla="*/ 446567 w 912854"/>
              <a:gd name="connsiteY2" fmla="*/ 170121 h 2771553"/>
              <a:gd name="connsiteX3" fmla="*/ 446567 w 912854"/>
              <a:gd name="connsiteY3" fmla="*/ 269358 h 2771553"/>
              <a:gd name="connsiteX4" fmla="*/ 347330 w 912854"/>
              <a:gd name="connsiteY4" fmla="*/ 347330 h 2771553"/>
              <a:gd name="connsiteX5" fmla="*/ 446567 w 912854"/>
              <a:gd name="connsiteY5" fmla="*/ 453656 h 2771553"/>
              <a:gd name="connsiteX6" fmla="*/ 446567 w 912854"/>
              <a:gd name="connsiteY6" fmla="*/ 531628 h 2771553"/>
              <a:gd name="connsiteX7" fmla="*/ 311888 w 912854"/>
              <a:gd name="connsiteY7" fmla="*/ 645042 h 2771553"/>
              <a:gd name="connsiteX8" fmla="*/ 418214 w 912854"/>
              <a:gd name="connsiteY8" fmla="*/ 744279 h 2771553"/>
              <a:gd name="connsiteX9" fmla="*/ 418214 w 912854"/>
              <a:gd name="connsiteY9" fmla="*/ 843516 h 2771553"/>
              <a:gd name="connsiteX10" fmla="*/ 333153 w 912854"/>
              <a:gd name="connsiteY10" fmla="*/ 914400 h 2771553"/>
              <a:gd name="connsiteX11" fmla="*/ 333153 w 912854"/>
              <a:gd name="connsiteY11" fmla="*/ 1098698 h 2771553"/>
              <a:gd name="connsiteX12" fmla="*/ 453656 w 912854"/>
              <a:gd name="connsiteY12" fmla="*/ 1219200 h 2771553"/>
              <a:gd name="connsiteX13" fmla="*/ 453656 w 912854"/>
              <a:gd name="connsiteY13" fmla="*/ 1467293 h 2771553"/>
              <a:gd name="connsiteX14" fmla="*/ 212650 w 912854"/>
              <a:gd name="connsiteY14" fmla="*/ 2771553 h 2771553"/>
              <a:gd name="connsiteX15" fmla="*/ 0 w 912854"/>
              <a:gd name="connsiteY15" fmla="*/ 1474381 h 2771553"/>
              <a:gd name="connsiteX16" fmla="*/ 0 w 912854"/>
              <a:gd name="connsiteY16" fmla="*/ 134679 h 2771553"/>
              <a:gd name="connsiteX17" fmla="*/ 134679 w 912854"/>
              <a:gd name="connsiteY17" fmla="*/ 0 h 2771553"/>
              <a:gd name="connsiteX0" fmla="*/ 134679 w 918077"/>
              <a:gd name="connsiteY0" fmla="*/ 0 h 2771553"/>
              <a:gd name="connsiteX1" fmla="*/ 276446 w 918077"/>
              <a:gd name="connsiteY1" fmla="*/ 0 h 2771553"/>
              <a:gd name="connsiteX2" fmla="*/ 446567 w 918077"/>
              <a:gd name="connsiteY2" fmla="*/ 170121 h 2771553"/>
              <a:gd name="connsiteX3" fmla="*/ 446567 w 918077"/>
              <a:gd name="connsiteY3" fmla="*/ 269358 h 2771553"/>
              <a:gd name="connsiteX4" fmla="*/ 347330 w 918077"/>
              <a:gd name="connsiteY4" fmla="*/ 347330 h 2771553"/>
              <a:gd name="connsiteX5" fmla="*/ 446567 w 918077"/>
              <a:gd name="connsiteY5" fmla="*/ 453656 h 2771553"/>
              <a:gd name="connsiteX6" fmla="*/ 446567 w 918077"/>
              <a:gd name="connsiteY6" fmla="*/ 531628 h 2771553"/>
              <a:gd name="connsiteX7" fmla="*/ 311888 w 918077"/>
              <a:gd name="connsiteY7" fmla="*/ 645042 h 2771553"/>
              <a:gd name="connsiteX8" fmla="*/ 418214 w 918077"/>
              <a:gd name="connsiteY8" fmla="*/ 744279 h 2771553"/>
              <a:gd name="connsiteX9" fmla="*/ 418214 w 918077"/>
              <a:gd name="connsiteY9" fmla="*/ 843516 h 2771553"/>
              <a:gd name="connsiteX10" fmla="*/ 333153 w 918077"/>
              <a:gd name="connsiteY10" fmla="*/ 914400 h 2771553"/>
              <a:gd name="connsiteX11" fmla="*/ 333153 w 918077"/>
              <a:gd name="connsiteY11" fmla="*/ 1098698 h 2771553"/>
              <a:gd name="connsiteX12" fmla="*/ 453656 w 918077"/>
              <a:gd name="connsiteY12" fmla="*/ 1219200 h 2771553"/>
              <a:gd name="connsiteX13" fmla="*/ 453656 w 918077"/>
              <a:gd name="connsiteY13" fmla="*/ 1467293 h 2771553"/>
              <a:gd name="connsiteX14" fmla="*/ 212650 w 918077"/>
              <a:gd name="connsiteY14" fmla="*/ 2771553 h 2771553"/>
              <a:gd name="connsiteX15" fmla="*/ 0 w 918077"/>
              <a:gd name="connsiteY15" fmla="*/ 1474381 h 2771553"/>
              <a:gd name="connsiteX16" fmla="*/ 0 w 918077"/>
              <a:gd name="connsiteY16" fmla="*/ 134679 h 2771553"/>
              <a:gd name="connsiteX17" fmla="*/ 134679 w 918077"/>
              <a:gd name="connsiteY17" fmla="*/ 0 h 2771553"/>
              <a:gd name="connsiteX0" fmla="*/ 416075 w 1199473"/>
              <a:gd name="connsiteY0" fmla="*/ 0 h 2771553"/>
              <a:gd name="connsiteX1" fmla="*/ 557842 w 1199473"/>
              <a:gd name="connsiteY1" fmla="*/ 0 h 2771553"/>
              <a:gd name="connsiteX2" fmla="*/ 727963 w 1199473"/>
              <a:gd name="connsiteY2" fmla="*/ 170121 h 2771553"/>
              <a:gd name="connsiteX3" fmla="*/ 727963 w 1199473"/>
              <a:gd name="connsiteY3" fmla="*/ 269358 h 2771553"/>
              <a:gd name="connsiteX4" fmla="*/ 628726 w 1199473"/>
              <a:gd name="connsiteY4" fmla="*/ 347330 h 2771553"/>
              <a:gd name="connsiteX5" fmla="*/ 727963 w 1199473"/>
              <a:gd name="connsiteY5" fmla="*/ 453656 h 2771553"/>
              <a:gd name="connsiteX6" fmla="*/ 727963 w 1199473"/>
              <a:gd name="connsiteY6" fmla="*/ 531628 h 2771553"/>
              <a:gd name="connsiteX7" fmla="*/ 593284 w 1199473"/>
              <a:gd name="connsiteY7" fmla="*/ 645042 h 2771553"/>
              <a:gd name="connsiteX8" fmla="*/ 699610 w 1199473"/>
              <a:gd name="connsiteY8" fmla="*/ 744279 h 2771553"/>
              <a:gd name="connsiteX9" fmla="*/ 699610 w 1199473"/>
              <a:gd name="connsiteY9" fmla="*/ 843516 h 2771553"/>
              <a:gd name="connsiteX10" fmla="*/ 614549 w 1199473"/>
              <a:gd name="connsiteY10" fmla="*/ 914400 h 2771553"/>
              <a:gd name="connsiteX11" fmla="*/ 614549 w 1199473"/>
              <a:gd name="connsiteY11" fmla="*/ 1098698 h 2771553"/>
              <a:gd name="connsiteX12" fmla="*/ 735052 w 1199473"/>
              <a:gd name="connsiteY12" fmla="*/ 1219200 h 2771553"/>
              <a:gd name="connsiteX13" fmla="*/ 735052 w 1199473"/>
              <a:gd name="connsiteY13" fmla="*/ 1467293 h 2771553"/>
              <a:gd name="connsiteX14" fmla="*/ 494046 w 1199473"/>
              <a:gd name="connsiteY14" fmla="*/ 2771553 h 2771553"/>
              <a:gd name="connsiteX15" fmla="*/ 281396 w 1199473"/>
              <a:gd name="connsiteY15" fmla="*/ 1474381 h 2771553"/>
              <a:gd name="connsiteX16" fmla="*/ 281396 w 1199473"/>
              <a:gd name="connsiteY16" fmla="*/ 134679 h 2771553"/>
              <a:gd name="connsiteX17" fmla="*/ 416075 w 1199473"/>
              <a:gd name="connsiteY17" fmla="*/ 0 h 2771553"/>
              <a:gd name="connsiteX0" fmla="*/ 532992 w 1316390"/>
              <a:gd name="connsiteY0" fmla="*/ 0 h 2771553"/>
              <a:gd name="connsiteX1" fmla="*/ 674759 w 1316390"/>
              <a:gd name="connsiteY1" fmla="*/ 0 h 2771553"/>
              <a:gd name="connsiteX2" fmla="*/ 844880 w 1316390"/>
              <a:gd name="connsiteY2" fmla="*/ 170121 h 2771553"/>
              <a:gd name="connsiteX3" fmla="*/ 844880 w 1316390"/>
              <a:gd name="connsiteY3" fmla="*/ 269358 h 2771553"/>
              <a:gd name="connsiteX4" fmla="*/ 745643 w 1316390"/>
              <a:gd name="connsiteY4" fmla="*/ 347330 h 2771553"/>
              <a:gd name="connsiteX5" fmla="*/ 844880 w 1316390"/>
              <a:gd name="connsiteY5" fmla="*/ 453656 h 2771553"/>
              <a:gd name="connsiteX6" fmla="*/ 844880 w 1316390"/>
              <a:gd name="connsiteY6" fmla="*/ 531628 h 2771553"/>
              <a:gd name="connsiteX7" fmla="*/ 710201 w 1316390"/>
              <a:gd name="connsiteY7" fmla="*/ 645042 h 2771553"/>
              <a:gd name="connsiteX8" fmla="*/ 816527 w 1316390"/>
              <a:gd name="connsiteY8" fmla="*/ 744279 h 2771553"/>
              <a:gd name="connsiteX9" fmla="*/ 816527 w 1316390"/>
              <a:gd name="connsiteY9" fmla="*/ 843516 h 2771553"/>
              <a:gd name="connsiteX10" fmla="*/ 731466 w 1316390"/>
              <a:gd name="connsiteY10" fmla="*/ 914400 h 2771553"/>
              <a:gd name="connsiteX11" fmla="*/ 731466 w 1316390"/>
              <a:gd name="connsiteY11" fmla="*/ 1098698 h 2771553"/>
              <a:gd name="connsiteX12" fmla="*/ 851969 w 1316390"/>
              <a:gd name="connsiteY12" fmla="*/ 1219200 h 2771553"/>
              <a:gd name="connsiteX13" fmla="*/ 851969 w 1316390"/>
              <a:gd name="connsiteY13" fmla="*/ 1467293 h 2771553"/>
              <a:gd name="connsiteX14" fmla="*/ 610963 w 1316390"/>
              <a:gd name="connsiteY14" fmla="*/ 2771553 h 2771553"/>
              <a:gd name="connsiteX15" fmla="*/ 398313 w 1316390"/>
              <a:gd name="connsiteY15" fmla="*/ 1474381 h 2771553"/>
              <a:gd name="connsiteX16" fmla="*/ 398313 w 1316390"/>
              <a:gd name="connsiteY16" fmla="*/ 134679 h 2771553"/>
              <a:gd name="connsiteX17" fmla="*/ 532992 w 1316390"/>
              <a:gd name="connsiteY17" fmla="*/ 0 h 2771553"/>
              <a:gd name="connsiteX0" fmla="*/ 532992 w 1316390"/>
              <a:gd name="connsiteY0" fmla="*/ 0 h 2771553"/>
              <a:gd name="connsiteX1" fmla="*/ 674759 w 1316390"/>
              <a:gd name="connsiteY1" fmla="*/ 0 h 2771553"/>
              <a:gd name="connsiteX2" fmla="*/ 844880 w 1316390"/>
              <a:gd name="connsiteY2" fmla="*/ 170121 h 2771553"/>
              <a:gd name="connsiteX3" fmla="*/ 844880 w 1316390"/>
              <a:gd name="connsiteY3" fmla="*/ 269358 h 2771553"/>
              <a:gd name="connsiteX4" fmla="*/ 745643 w 1316390"/>
              <a:gd name="connsiteY4" fmla="*/ 347330 h 2771553"/>
              <a:gd name="connsiteX5" fmla="*/ 844880 w 1316390"/>
              <a:gd name="connsiteY5" fmla="*/ 453656 h 2771553"/>
              <a:gd name="connsiteX6" fmla="*/ 844880 w 1316390"/>
              <a:gd name="connsiteY6" fmla="*/ 531628 h 2771553"/>
              <a:gd name="connsiteX7" fmla="*/ 710201 w 1316390"/>
              <a:gd name="connsiteY7" fmla="*/ 645042 h 2771553"/>
              <a:gd name="connsiteX8" fmla="*/ 816527 w 1316390"/>
              <a:gd name="connsiteY8" fmla="*/ 744279 h 2771553"/>
              <a:gd name="connsiteX9" fmla="*/ 816527 w 1316390"/>
              <a:gd name="connsiteY9" fmla="*/ 843516 h 2771553"/>
              <a:gd name="connsiteX10" fmla="*/ 731466 w 1316390"/>
              <a:gd name="connsiteY10" fmla="*/ 914400 h 2771553"/>
              <a:gd name="connsiteX11" fmla="*/ 731466 w 1316390"/>
              <a:gd name="connsiteY11" fmla="*/ 1098698 h 2771553"/>
              <a:gd name="connsiteX12" fmla="*/ 851969 w 1316390"/>
              <a:gd name="connsiteY12" fmla="*/ 1219200 h 2771553"/>
              <a:gd name="connsiteX13" fmla="*/ 851969 w 1316390"/>
              <a:gd name="connsiteY13" fmla="*/ 1467293 h 2771553"/>
              <a:gd name="connsiteX14" fmla="*/ 610963 w 1316390"/>
              <a:gd name="connsiteY14" fmla="*/ 2771553 h 2771553"/>
              <a:gd name="connsiteX15" fmla="*/ 398313 w 1316390"/>
              <a:gd name="connsiteY15" fmla="*/ 1509823 h 2771553"/>
              <a:gd name="connsiteX16" fmla="*/ 398313 w 1316390"/>
              <a:gd name="connsiteY16" fmla="*/ 134679 h 2771553"/>
              <a:gd name="connsiteX17" fmla="*/ 532992 w 1316390"/>
              <a:gd name="connsiteY17" fmla="*/ 0 h 2771553"/>
              <a:gd name="connsiteX0" fmla="*/ 537774 w 1321172"/>
              <a:gd name="connsiteY0" fmla="*/ 0 h 2771553"/>
              <a:gd name="connsiteX1" fmla="*/ 679541 w 1321172"/>
              <a:gd name="connsiteY1" fmla="*/ 0 h 2771553"/>
              <a:gd name="connsiteX2" fmla="*/ 849662 w 1321172"/>
              <a:gd name="connsiteY2" fmla="*/ 170121 h 2771553"/>
              <a:gd name="connsiteX3" fmla="*/ 849662 w 1321172"/>
              <a:gd name="connsiteY3" fmla="*/ 269358 h 2771553"/>
              <a:gd name="connsiteX4" fmla="*/ 750425 w 1321172"/>
              <a:gd name="connsiteY4" fmla="*/ 347330 h 2771553"/>
              <a:gd name="connsiteX5" fmla="*/ 849662 w 1321172"/>
              <a:gd name="connsiteY5" fmla="*/ 453656 h 2771553"/>
              <a:gd name="connsiteX6" fmla="*/ 849662 w 1321172"/>
              <a:gd name="connsiteY6" fmla="*/ 531628 h 2771553"/>
              <a:gd name="connsiteX7" fmla="*/ 714983 w 1321172"/>
              <a:gd name="connsiteY7" fmla="*/ 645042 h 2771553"/>
              <a:gd name="connsiteX8" fmla="*/ 821309 w 1321172"/>
              <a:gd name="connsiteY8" fmla="*/ 744279 h 2771553"/>
              <a:gd name="connsiteX9" fmla="*/ 821309 w 1321172"/>
              <a:gd name="connsiteY9" fmla="*/ 843516 h 2771553"/>
              <a:gd name="connsiteX10" fmla="*/ 736248 w 1321172"/>
              <a:gd name="connsiteY10" fmla="*/ 914400 h 2771553"/>
              <a:gd name="connsiteX11" fmla="*/ 736248 w 1321172"/>
              <a:gd name="connsiteY11" fmla="*/ 1098698 h 2771553"/>
              <a:gd name="connsiteX12" fmla="*/ 856751 w 1321172"/>
              <a:gd name="connsiteY12" fmla="*/ 1219200 h 2771553"/>
              <a:gd name="connsiteX13" fmla="*/ 856751 w 1321172"/>
              <a:gd name="connsiteY13" fmla="*/ 1467293 h 2771553"/>
              <a:gd name="connsiteX14" fmla="*/ 615745 w 1321172"/>
              <a:gd name="connsiteY14" fmla="*/ 2771553 h 2771553"/>
              <a:gd name="connsiteX15" fmla="*/ 403095 w 1321172"/>
              <a:gd name="connsiteY15" fmla="*/ 1509823 h 2771553"/>
              <a:gd name="connsiteX16" fmla="*/ 403095 w 1321172"/>
              <a:gd name="connsiteY16" fmla="*/ 134679 h 2771553"/>
              <a:gd name="connsiteX17" fmla="*/ 537774 w 1321172"/>
              <a:gd name="connsiteY17" fmla="*/ 0 h 2771553"/>
              <a:gd name="connsiteX0" fmla="*/ 537774 w 1347651"/>
              <a:gd name="connsiteY0" fmla="*/ 0 h 2771553"/>
              <a:gd name="connsiteX1" fmla="*/ 679541 w 1347651"/>
              <a:gd name="connsiteY1" fmla="*/ 0 h 2771553"/>
              <a:gd name="connsiteX2" fmla="*/ 849662 w 1347651"/>
              <a:gd name="connsiteY2" fmla="*/ 170121 h 2771553"/>
              <a:gd name="connsiteX3" fmla="*/ 849662 w 1347651"/>
              <a:gd name="connsiteY3" fmla="*/ 269358 h 2771553"/>
              <a:gd name="connsiteX4" fmla="*/ 750425 w 1347651"/>
              <a:gd name="connsiteY4" fmla="*/ 347330 h 2771553"/>
              <a:gd name="connsiteX5" fmla="*/ 849662 w 1347651"/>
              <a:gd name="connsiteY5" fmla="*/ 453656 h 2771553"/>
              <a:gd name="connsiteX6" fmla="*/ 849662 w 1347651"/>
              <a:gd name="connsiteY6" fmla="*/ 531628 h 2771553"/>
              <a:gd name="connsiteX7" fmla="*/ 714983 w 1347651"/>
              <a:gd name="connsiteY7" fmla="*/ 645042 h 2771553"/>
              <a:gd name="connsiteX8" fmla="*/ 821309 w 1347651"/>
              <a:gd name="connsiteY8" fmla="*/ 744279 h 2771553"/>
              <a:gd name="connsiteX9" fmla="*/ 821309 w 1347651"/>
              <a:gd name="connsiteY9" fmla="*/ 843516 h 2771553"/>
              <a:gd name="connsiteX10" fmla="*/ 736248 w 1347651"/>
              <a:gd name="connsiteY10" fmla="*/ 914400 h 2771553"/>
              <a:gd name="connsiteX11" fmla="*/ 736248 w 1347651"/>
              <a:gd name="connsiteY11" fmla="*/ 1098698 h 2771553"/>
              <a:gd name="connsiteX12" fmla="*/ 856751 w 1347651"/>
              <a:gd name="connsiteY12" fmla="*/ 1219200 h 2771553"/>
              <a:gd name="connsiteX13" fmla="*/ 856751 w 1347651"/>
              <a:gd name="connsiteY13" fmla="*/ 1467293 h 2771553"/>
              <a:gd name="connsiteX14" fmla="*/ 615745 w 1347651"/>
              <a:gd name="connsiteY14" fmla="*/ 2771553 h 2771553"/>
              <a:gd name="connsiteX15" fmla="*/ 403095 w 1347651"/>
              <a:gd name="connsiteY15" fmla="*/ 1509823 h 2771553"/>
              <a:gd name="connsiteX16" fmla="*/ 403095 w 1347651"/>
              <a:gd name="connsiteY16" fmla="*/ 134679 h 2771553"/>
              <a:gd name="connsiteX17" fmla="*/ 537774 w 1347651"/>
              <a:gd name="connsiteY17" fmla="*/ 0 h 2771553"/>
              <a:gd name="connsiteX0" fmla="*/ 537774 w 1329331"/>
              <a:gd name="connsiteY0" fmla="*/ 0 h 2771553"/>
              <a:gd name="connsiteX1" fmla="*/ 679541 w 1329331"/>
              <a:gd name="connsiteY1" fmla="*/ 0 h 2771553"/>
              <a:gd name="connsiteX2" fmla="*/ 849662 w 1329331"/>
              <a:gd name="connsiteY2" fmla="*/ 170121 h 2771553"/>
              <a:gd name="connsiteX3" fmla="*/ 849662 w 1329331"/>
              <a:gd name="connsiteY3" fmla="*/ 269358 h 2771553"/>
              <a:gd name="connsiteX4" fmla="*/ 750425 w 1329331"/>
              <a:gd name="connsiteY4" fmla="*/ 347330 h 2771553"/>
              <a:gd name="connsiteX5" fmla="*/ 849662 w 1329331"/>
              <a:gd name="connsiteY5" fmla="*/ 453656 h 2771553"/>
              <a:gd name="connsiteX6" fmla="*/ 849662 w 1329331"/>
              <a:gd name="connsiteY6" fmla="*/ 531628 h 2771553"/>
              <a:gd name="connsiteX7" fmla="*/ 714983 w 1329331"/>
              <a:gd name="connsiteY7" fmla="*/ 645042 h 2771553"/>
              <a:gd name="connsiteX8" fmla="*/ 821309 w 1329331"/>
              <a:gd name="connsiteY8" fmla="*/ 744279 h 2771553"/>
              <a:gd name="connsiteX9" fmla="*/ 821309 w 1329331"/>
              <a:gd name="connsiteY9" fmla="*/ 843516 h 2771553"/>
              <a:gd name="connsiteX10" fmla="*/ 736248 w 1329331"/>
              <a:gd name="connsiteY10" fmla="*/ 914400 h 2771553"/>
              <a:gd name="connsiteX11" fmla="*/ 736248 w 1329331"/>
              <a:gd name="connsiteY11" fmla="*/ 1098698 h 2771553"/>
              <a:gd name="connsiteX12" fmla="*/ 856751 w 1329331"/>
              <a:gd name="connsiteY12" fmla="*/ 1219200 h 2771553"/>
              <a:gd name="connsiteX13" fmla="*/ 856751 w 1329331"/>
              <a:gd name="connsiteY13" fmla="*/ 1467293 h 2771553"/>
              <a:gd name="connsiteX14" fmla="*/ 615745 w 1329331"/>
              <a:gd name="connsiteY14" fmla="*/ 2771553 h 2771553"/>
              <a:gd name="connsiteX15" fmla="*/ 403095 w 1329331"/>
              <a:gd name="connsiteY15" fmla="*/ 1509823 h 2771553"/>
              <a:gd name="connsiteX16" fmla="*/ 403095 w 1329331"/>
              <a:gd name="connsiteY16" fmla="*/ 134679 h 2771553"/>
              <a:gd name="connsiteX17" fmla="*/ 537774 w 1329331"/>
              <a:gd name="connsiteY17" fmla="*/ 0 h 2771553"/>
              <a:gd name="connsiteX0" fmla="*/ 537774 w 1313884"/>
              <a:gd name="connsiteY0" fmla="*/ 0 h 2771553"/>
              <a:gd name="connsiteX1" fmla="*/ 679541 w 1313884"/>
              <a:gd name="connsiteY1" fmla="*/ 0 h 2771553"/>
              <a:gd name="connsiteX2" fmla="*/ 849662 w 1313884"/>
              <a:gd name="connsiteY2" fmla="*/ 170121 h 2771553"/>
              <a:gd name="connsiteX3" fmla="*/ 849662 w 1313884"/>
              <a:gd name="connsiteY3" fmla="*/ 269358 h 2771553"/>
              <a:gd name="connsiteX4" fmla="*/ 750425 w 1313884"/>
              <a:gd name="connsiteY4" fmla="*/ 347330 h 2771553"/>
              <a:gd name="connsiteX5" fmla="*/ 849662 w 1313884"/>
              <a:gd name="connsiteY5" fmla="*/ 453656 h 2771553"/>
              <a:gd name="connsiteX6" fmla="*/ 849662 w 1313884"/>
              <a:gd name="connsiteY6" fmla="*/ 531628 h 2771553"/>
              <a:gd name="connsiteX7" fmla="*/ 714983 w 1313884"/>
              <a:gd name="connsiteY7" fmla="*/ 645042 h 2771553"/>
              <a:gd name="connsiteX8" fmla="*/ 821309 w 1313884"/>
              <a:gd name="connsiteY8" fmla="*/ 744279 h 2771553"/>
              <a:gd name="connsiteX9" fmla="*/ 821309 w 1313884"/>
              <a:gd name="connsiteY9" fmla="*/ 843516 h 2771553"/>
              <a:gd name="connsiteX10" fmla="*/ 736248 w 1313884"/>
              <a:gd name="connsiteY10" fmla="*/ 914400 h 2771553"/>
              <a:gd name="connsiteX11" fmla="*/ 736248 w 1313884"/>
              <a:gd name="connsiteY11" fmla="*/ 1098698 h 2771553"/>
              <a:gd name="connsiteX12" fmla="*/ 856751 w 1313884"/>
              <a:gd name="connsiteY12" fmla="*/ 1219200 h 2771553"/>
              <a:gd name="connsiteX13" fmla="*/ 856751 w 1313884"/>
              <a:gd name="connsiteY13" fmla="*/ 1467293 h 2771553"/>
              <a:gd name="connsiteX14" fmla="*/ 615745 w 1313884"/>
              <a:gd name="connsiteY14" fmla="*/ 2771553 h 2771553"/>
              <a:gd name="connsiteX15" fmla="*/ 403095 w 1313884"/>
              <a:gd name="connsiteY15" fmla="*/ 1509823 h 2771553"/>
              <a:gd name="connsiteX16" fmla="*/ 403095 w 1313884"/>
              <a:gd name="connsiteY16" fmla="*/ 134679 h 2771553"/>
              <a:gd name="connsiteX17" fmla="*/ 537774 w 1313884"/>
              <a:gd name="connsiteY17" fmla="*/ 0 h 2771553"/>
              <a:gd name="connsiteX0" fmla="*/ 537774 w 1319006"/>
              <a:gd name="connsiteY0" fmla="*/ 0 h 2771553"/>
              <a:gd name="connsiteX1" fmla="*/ 679541 w 1319006"/>
              <a:gd name="connsiteY1" fmla="*/ 0 h 2771553"/>
              <a:gd name="connsiteX2" fmla="*/ 849662 w 1319006"/>
              <a:gd name="connsiteY2" fmla="*/ 170121 h 2771553"/>
              <a:gd name="connsiteX3" fmla="*/ 849662 w 1319006"/>
              <a:gd name="connsiteY3" fmla="*/ 269358 h 2771553"/>
              <a:gd name="connsiteX4" fmla="*/ 750425 w 1319006"/>
              <a:gd name="connsiteY4" fmla="*/ 347330 h 2771553"/>
              <a:gd name="connsiteX5" fmla="*/ 849662 w 1319006"/>
              <a:gd name="connsiteY5" fmla="*/ 453656 h 2771553"/>
              <a:gd name="connsiteX6" fmla="*/ 849662 w 1319006"/>
              <a:gd name="connsiteY6" fmla="*/ 531628 h 2771553"/>
              <a:gd name="connsiteX7" fmla="*/ 714983 w 1319006"/>
              <a:gd name="connsiteY7" fmla="*/ 645042 h 2771553"/>
              <a:gd name="connsiteX8" fmla="*/ 821309 w 1319006"/>
              <a:gd name="connsiteY8" fmla="*/ 744279 h 2771553"/>
              <a:gd name="connsiteX9" fmla="*/ 821309 w 1319006"/>
              <a:gd name="connsiteY9" fmla="*/ 843516 h 2771553"/>
              <a:gd name="connsiteX10" fmla="*/ 736248 w 1319006"/>
              <a:gd name="connsiteY10" fmla="*/ 914400 h 2771553"/>
              <a:gd name="connsiteX11" fmla="*/ 736248 w 1319006"/>
              <a:gd name="connsiteY11" fmla="*/ 1098698 h 2771553"/>
              <a:gd name="connsiteX12" fmla="*/ 856751 w 1319006"/>
              <a:gd name="connsiteY12" fmla="*/ 1219200 h 2771553"/>
              <a:gd name="connsiteX13" fmla="*/ 856751 w 1319006"/>
              <a:gd name="connsiteY13" fmla="*/ 1467293 h 2771553"/>
              <a:gd name="connsiteX14" fmla="*/ 615745 w 1319006"/>
              <a:gd name="connsiteY14" fmla="*/ 2771553 h 2771553"/>
              <a:gd name="connsiteX15" fmla="*/ 403095 w 1319006"/>
              <a:gd name="connsiteY15" fmla="*/ 1509823 h 2771553"/>
              <a:gd name="connsiteX16" fmla="*/ 403095 w 1319006"/>
              <a:gd name="connsiteY16" fmla="*/ 134679 h 2771553"/>
              <a:gd name="connsiteX17" fmla="*/ 537774 w 1319006"/>
              <a:gd name="connsiteY17" fmla="*/ 0 h 2771553"/>
              <a:gd name="connsiteX0" fmla="*/ 537774 w 1323193"/>
              <a:gd name="connsiteY0" fmla="*/ 0 h 2771553"/>
              <a:gd name="connsiteX1" fmla="*/ 679541 w 1323193"/>
              <a:gd name="connsiteY1" fmla="*/ 0 h 2771553"/>
              <a:gd name="connsiteX2" fmla="*/ 849662 w 1323193"/>
              <a:gd name="connsiteY2" fmla="*/ 170121 h 2771553"/>
              <a:gd name="connsiteX3" fmla="*/ 849662 w 1323193"/>
              <a:gd name="connsiteY3" fmla="*/ 269358 h 2771553"/>
              <a:gd name="connsiteX4" fmla="*/ 750425 w 1323193"/>
              <a:gd name="connsiteY4" fmla="*/ 347330 h 2771553"/>
              <a:gd name="connsiteX5" fmla="*/ 849662 w 1323193"/>
              <a:gd name="connsiteY5" fmla="*/ 453656 h 2771553"/>
              <a:gd name="connsiteX6" fmla="*/ 849662 w 1323193"/>
              <a:gd name="connsiteY6" fmla="*/ 531628 h 2771553"/>
              <a:gd name="connsiteX7" fmla="*/ 714983 w 1323193"/>
              <a:gd name="connsiteY7" fmla="*/ 645042 h 2771553"/>
              <a:gd name="connsiteX8" fmla="*/ 821309 w 1323193"/>
              <a:gd name="connsiteY8" fmla="*/ 744279 h 2771553"/>
              <a:gd name="connsiteX9" fmla="*/ 821309 w 1323193"/>
              <a:gd name="connsiteY9" fmla="*/ 843516 h 2771553"/>
              <a:gd name="connsiteX10" fmla="*/ 736248 w 1323193"/>
              <a:gd name="connsiteY10" fmla="*/ 914400 h 2771553"/>
              <a:gd name="connsiteX11" fmla="*/ 736248 w 1323193"/>
              <a:gd name="connsiteY11" fmla="*/ 1098698 h 2771553"/>
              <a:gd name="connsiteX12" fmla="*/ 856751 w 1323193"/>
              <a:gd name="connsiteY12" fmla="*/ 1219200 h 2771553"/>
              <a:gd name="connsiteX13" fmla="*/ 864702 w 1323193"/>
              <a:gd name="connsiteY13" fmla="*/ 1499098 h 2771553"/>
              <a:gd name="connsiteX14" fmla="*/ 615745 w 1323193"/>
              <a:gd name="connsiteY14" fmla="*/ 2771553 h 2771553"/>
              <a:gd name="connsiteX15" fmla="*/ 403095 w 1323193"/>
              <a:gd name="connsiteY15" fmla="*/ 1509823 h 2771553"/>
              <a:gd name="connsiteX16" fmla="*/ 403095 w 1323193"/>
              <a:gd name="connsiteY16" fmla="*/ 134679 h 2771553"/>
              <a:gd name="connsiteX17" fmla="*/ 537774 w 1323193"/>
              <a:gd name="connsiteY17" fmla="*/ 0 h 2771553"/>
              <a:gd name="connsiteX0" fmla="*/ 537774 w 1337687"/>
              <a:gd name="connsiteY0" fmla="*/ 0 h 2771553"/>
              <a:gd name="connsiteX1" fmla="*/ 679541 w 1337687"/>
              <a:gd name="connsiteY1" fmla="*/ 0 h 2771553"/>
              <a:gd name="connsiteX2" fmla="*/ 849662 w 1337687"/>
              <a:gd name="connsiteY2" fmla="*/ 170121 h 2771553"/>
              <a:gd name="connsiteX3" fmla="*/ 849662 w 1337687"/>
              <a:gd name="connsiteY3" fmla="*/ 269358 h 2771553"/>
              <a:gd name="connsiteX4" fmla="*/ 750425 w 1337687"/>
              <a:gd name="connsiteY4" fmla="*/ 347330 h 2771553"/>
              <a:gd name="connsiteX5" fmla="*/ 849662 w 1337687"/>
              <a:gd name="connsiteY5" fmla="*/ 453656 h 2771553"/>
              <a:gd name="connsiteX6" fmla="*/ 849662 w 1337687"/>
              <a:gd name="connsiteY6" fmla="*/ 531628 h 2771553"/>
              <a:gd name="connsiteX7" fmla="*/ 714983 w 1337687"/>
              <a:gd name="connsiteY7" fmla="*/ 645042 h 2771553"/>
              <a:gd name="connsiteX8" fmla="*/ 821309 w 1337687"/>
              <a:gd name="connsiteY8" fmla="*/ 744279 h 2771553"/>
              <a:gd name="connsiteX9" fmla="*/ 821309 w 1337687"/>
              <a:gd name="connsiteY9" fmla="*/ 843516 h 2771553"/>
              <a:gd name="connsiteX10" fmla="*/ 736248 w 1337687"/>
              <a:gd name="connsiteY10" fmla="*/ 914400 h 2771553"/>
              <a:gd name="connsiteX11" fmla="*/ 736248 w 1337687"/>
              <a:gd name="connsiteY11" fmla="*/ 1098698 h 2771553"/>
              <a:gd name="connsiteX12" fmla="*/ 856751 w 1337687"/>
              <a:gd name="connsiteY12" fmla="*/ 1219200 h 2771553"/>
              <a:gd name="connsiteX13" fmla="*/ 864702 w 1337687"/>
              <a:gd name="connsiteY13" fmla="*/ 1499098 h 2771553"/>
              <a:gd name="connsiteX14" fmla="*/ 615745 w 1337687"/>
              <a:gd name="connsiteY14" fmla="*/ 2771553 h 2771553"/>
              <a:gd name="connsiteX15" fmla="*/ 403095 w 1337687"/>
              <a:gd name="connsiteY15" fmla="*/ 1509823 h 2771553"/>
              <a:gd name="connsiteX16" fmla="*/ 403095 w 1337687"/>
              <a:gd name="connsiteY16" fmla="*/ 134679 h 2771553"/>
              <a:gd name="connsiteX17" fmla="*/ 537774 w 1337687"/>
              <a:gd name="connsiteY17" fmla="*/ 0 h 2771553"/>
              <a:gd name="connsiteX0" fmla="*/ 537774 w 1319036"/>
              <a:gd name="connsiteY0" fmla="*/ 0 h 2771553"/>
              <a:gd name="connsiteX1" fmla="*/ 679541 w 1319036"/>
              <a:gd name="connsiteY1" fmla="*/ 0 h 2771553"/>
              <a:gd name="connsiteX2" fmla="*/ 849662 w 1319036"/>
              <a:gd name="connsiteY2" fmla="*/ 170121 h 2771553"/>
              <a:gd name="connsiteX3" fmla="*/ 849662 w 1319036"/>
              <a:gd name="connsiteY3" fmla="*/ 269358 h 2771553"/>
              <a:gd name="connsiteX4" fmla="*/ 750425 w 1319036"/>
              <a:gd name="connsiteY4" fmla="*/ 347330 h 2771553"/>
              <a:gd name="connsiteX5" fmla="*/ 849662 w 1319036"/>
              <a:gd name="connsiteY5" fmla="*/ 453656 h 2771553"/>
              <a:gd name="connsiteX6" fmla="*/ 849662 w 1319036"/>
              <a:gd name="connsiteY6" fmla="*/ 531628 h 2771553"/>
              <a:gd name="connsiteX7" fmla="*/ 714983 w 1319036"/>
              <a:gd name="connsiteY7" fmla="*/ 645042 h 2771553"/>
              <a:gd name="connsiteX8" fmla="*/ 821309 w 1319036"/>
              <a:gd name="connsiteY8" fmla="*/ 744279 h 2771553"/>
              <a:gd name="connsiteX9" fmla="*/ 821309 w 1319036"/>
              <a:gd name="connsiteY9" fmla="*/ 843516 h 2771553"/>
              <a:gd name="connsiteX10" fmla="*/ 736248 w 1319036"/>
              <a:gd name="connsiteY10" fmla="*/ 914400 h 2771553"/>
              <a:gd name="connsiteX11" fmla="*/ 736248 w 1319036"/>
              <a:gd name="connsiteY11" fmla="*/ 1098698 h 2771553"/>
              <a:gd name="connsiteX12" fmla="*/ 856751 w 1319036"/>
              <a:gd name="connsiteY12" fmla="*/ 1219200 h 2771553"/>
              <a:gd name="connsiteX13" fmla="*/ 864702 w 1319036"/>
              <a:gd name="connsiteY13" fmla="*/ 1499098 h 2771553"/>
              <a:gd name="connsiteX14" fmla="*/ 615745 w 1319036"/>
              <a:gd name="connsiteY14" fmla="*/ 2771553 h 2771553"/>
              <a:gd name="connsiteX15" fmla="*/ 403095 w 1319036"/>
              <a:gd name="connsiteY15" fmla="*/ 1509823 h 2771553"/>
              <a:gd name="connsiteX16" fmla="*/ 403095 w 1319036"/>
              <a:gd name="connsiteY16" fmla="*/ 134679 h 2771553"/>
              <a:gd name="connsiteX17" fmla="*/ 537774 w 1319036"/>
              <a:gd name="connsiteY17" fmla="*/ 0 h 2771553"/>
              <a:gd name="connsiteX0" fmla="*/ 525991 w 1307253"/>
              <a:gd name="connsiteY0" fmla="*/ 0 h 2771553"/>
              <a:gd name="connsiteX1" fmla="*/ 667758 w 1307253"/>
              <a:gd name="connsiteY1" fmla="*/ 0 h 2771553"/>
              <a:gd name="connsiteX2" fmla="*/ 837879 w 1307253"/>
              <a:gd name="connsiteY2" fmla="*/ 170121 h 2771553"/>
              <a:gd name="connsiteX3" fmla="*/ 837879 w 1307253"/>
              <a:gd name="connsiteY3" fmla="*/ 269358 h 2771553"/>
              <a:gd name="connsiteX4" fmla="*/ 738642 w 1307253"/>
              <a:gd name="connsiteY4" fmla="*/ 347330 h 2771553"/>
              <a:gd name="connsiteX5" fmla="*/ 837879 w 1307253"/>
              <a:gd name="connsiteY5" fmla="*/ 453656 h 2771553"/>
              <a:gd name="connsiteX6" fmla="*/ 837879 w 1307253"/>
              <a:gd name="connsiteY6" fmla="*/ 531628 h 2771553"/>
              <a:gd name="connsiteX7" fmla="*/ 703200 w 1307253"/>
              <a:gd name="connsiteY7" fmla="*/ 645042 h 2771553"/>
              <a:gd name="connsiteX8" fmla="*/ 809526 w 1307253"/>
              <a:gd name="connsiteY8" fmla="*/ 744279 h 2771553"/>
              <a:gd name="connsiteX9" fmla="*/ 809526 w 1307253"/>
              <a:gd name="connsiteY9" fmla="*/ 843516 h 2771553"/>
              <a:gd name="connsiteX10" fmla="*/ 724465 w 1307253"/>
              <a:gd name="connsiteY10" fmla="*/ 914400 h 2771553"/>
              <a:gd name="connsiteX11" fmla="*/ 724465 w 1307253"/>
              <a:gd name="connsiteY11" fmla="*/ 1098698 h 2771553"/>
              <a:gd name="connsiteX12" fmla="*/ 844968 w 1307253"/>
              <a:gd name="connsiteY12" fmla="*/ 1219200 h 2771553"/>
              <a:gd name="connsiteX13" fmla="*/ 852919 w 1307253"/>
              <a:gd name="connsiteY13" fmla="*/ 1499098 h 2771553"/>
              <a:gd name="connsiteX14" fmla="*/ 603962 w 1307253"/>
              <a:gd name="connsiteY14" fmla="*/ 2771553 h 2771553"/>
              <a:gd name="connsiteX15" fmla="*/ 391312 w 1307253"/>
              <a:gd name="connsiteY15" fmla="*/ 1509823 h 2771553"/>
              <a:gd name="connsiteX16" fmla="*/ 391312 w 1307253"/>
              <a:gd name="connsiteY16" fmla="*/ 134679 h 2771553"/>
              <a:gd name="connsiteX17" fmla="*/ 525991 w 1307253"/>
              <a:gd name="connsiteY17" fmla="*/ 0 h 2771553"/>
              <a:gd name="connsiteX0" fmla="*/ 547145 w 1328407"/>
              <a:gd name="connsiteY0" fmla="*/ 0 h 2771553"/>
              <a:gd name="connsiteX1" fmla="*/ 688912 w 1328407"/>
              <a:gd name="connsiteY1" fmla="*/ 0 h 2771553"/>
              <a:gd name="connsiteX2" fmla="*/ 859033 w 1328407"/>
              <a:gd name="connsiteY2" fmla="*/ 170121 h 2771553"/>
              <a:gd name="connsiteX3" fmla="*/ 859033 w 1328407"/>
              <a:gd name="connsiteY3" fmla="*/ 269358 h 2771553"/>
              <a:gd name="connsiteX4" fmla="*/ 759796 w 1328407"/>
              <a:gd name="connsiteY4" fmla="*/ 347330 h 2771553"/>
              <a:gd name="connsiteX5" fmla="*/ 859033 w 1328407"/>
              <a:gd name="connsiteY5" fmla="*/ 453656 h 2771553"/>
              <a:gd name="connsiteX6" fmla="*/ 859033 w 1328407"/>
              <a:gd name="connsiteY6" fmla="*/ 531628 h 2771553"/>
              <a:gd name="connsiteX7" fmla="*/ 724354 w 1328407"/>
              <a:gd name="connsiteY7" fmla="*/ 645042 h 2771553"/>
              <a:gd name="connsiteX8" fmla="*/ 830680 w 1328407"/>
              <a:gd name="connsiteY8" fmla="*/ 744279 h 2771553"/>
              <a:gd name="connsiteX9" fmla="*/ 830680 w 1328407"/>
              <a:gd name="connsiteY9" fmla="*/ 843516 h 2771553"/>
              <a:gd name="connsiteX10" fmla="*/ 745619 w 1328407"/>
              <a:gd name="connsiteY10" fmla="*/ 914400 h 2771553"/>
              <a:gd name="connsiteX11" fmla="*/ 745619 w 1328407"/>
              <a:gd name="connsiteY11" fmla="*/ 1098698 h 2771553"/>
              <a:gd name="connsiteX12" fmla="*/ 866122 w 1328407"/>
              <a:gd name="connsiteY12" fmla="*/ 1219200 h 2771553"/>
              <a:gd name="connsiteX13" fmla="*/ 874073 w 1328407"/>
              <a:gd name="connsiteY13" fmla="*/ 1499098 h 2771553"/>
              <a:gd name="connsiteX14" fmla="*/ 625116 w 1328407"/>
              <a:gd name="connsiteY14" fmla="*/ 2771553 h 2771553"/>
              <a:gd name="connsiteX15" fmla="*/ 412466 w 1328407"/>
              <a:gd name="connsiteY15" fmla="*/ 1509823 h 2771553"/>
              <a:gd name="connsiteX16" fmla="*/ 412466 w 1328407"/>
              <a:gd name="connsiteY16" fmla="*/ 134679 h 2771553"/>
              <a:gd name="connsiteX17" fmla="*/ 547145 w 1328407"/>
              <a:gd name="connsiteY17" fmla="*/ 0 h 2771553"/>
              <a:gd name="connsiteX0" fmla="*/ 522200 w 1303462"/>
              <a:gd name="connsiteY0" fmla="*/ 0 h 2771553"/>
              <a:gd name="connsiteX1" fmla="*/ 663967 w 1303462"/>
              <a:gd name="connsiteY1" fmla="*/ 0 h 2771553"/>
              <a:gd name="connsiteX2" fmla="*/ 834088 w 1303462"/>
              <a:gd name="connsiteY2" fmla="*/ 170121 h 2771553"/>
              <a:gd name="connsiteX3" fmla="*/ 834088 w 1303462"/>
              <a:gd name="connsiteY3" fmla="*/ 269358 h 2771553"/>
              <a:gd name="connsiteX4" fmla="*/ 734851 w 1303462"/>
              <a:gd name="connsiteY4" fmla="*/ 347330 h 2771553"/>
              <a:gd name="connsiteX5" fmla="*/ 834088 w 1303462"/>
              <a:gd name="connsiteY5" fmla="*/ 453656 h 2771553"/>
              <a:gd name="connsiteX6" fmla="*/ 834088 w 1303462"/>
              <a:gd name="connsiteY6" fmla="*/ 531628 h 2771553"/>
              <a:gd name="connsiteX7" fmla="*/ 699409 w 1303462"/>
              <a:gd name="connsiteY7" fmla="*/ 645042 h 2771553"/>
              <a:gd name="connsiteX8" fmla="*/ 805735 w 1303462"/>
              <a:gd name="connsiteY8" fmla="*/ 744279 h 2771553"/>
              <a:gd name="connsiteX9" fmla="*/ 805735 w 1303462"/>
              <a:gd name="connsiteY9" fmla="*/ 843516 h 2771553"/>
              <a:gd name="connsiteX10" fmla="*/ 720674 w 1303462"/>
              <a:gd name="connsiteY10" fmla="*/ 914400 h 2771553"/>
              <a:gd name="connsiteX11" fmla="*/ 720674 w 1303462"/>
              <a:gd name="connsiteY11" fmla="*/ 1098698 h 2771553"/>
              <a:gd name="connsiteX12" fmla="*/ 841177 w 1303462"/>
              <a:gd name="connsiteY12" fmla="*/ 1219200 h 2771553"/>
              <a:gd name="connsiteX13" fmla="*/ 849128 w 1303462"/>
              <a:gd name="connsiteY13" fmla="*/ 1499098 h 2771553"/>
              <a:gd name="connsiteX14" fmla="*/ 600171 w 1303462"/>
              <a:gd name="connsiteY14" fmla="*/ 2771553 h 2771553"/>
              <a:gd name="connsiteX15" fmla="*/ 387521 w 1303462"/>
              <a:gd name="connsiteY15" fmla="*/ 1509823 h 2771553"/>
              <a:gd name="connsiteX16" fmla="*/ 387521 w 1303462"/>
              <a:gd name="connsiteY16" fmla="*/ 134679 h 2771553"/>
              <a:gd name="connsiteX17" fmla="*/ 522200 w 1303462"/>
              <a:gd name="connsiteY17" fmla="*/ 0 h 2771553"/>
              <a:gd name="connsiteX0" fmla="*/ 498736 w 1279998"/>
              <a:gd name="connsiteY0" fmla="*/ 0 h 2771553"/>
              <a:gd name="connsiteX1" fmla="*/ 640503 w 1279998"/>
              <a:gd name="connsiteY1" fmla="*/ 0 h 2771553"/>
              <a:gd name="connsiteX2" fmla="*/ 810624 w 1279998"/>
              <a:gd name="connsiteY2" fmla="*/ 170121 h 2771553"/>
              <a:gd name="connsiteX3" fmla="*/ 810624 w 1279998"/>
              <a:gd name="connsiteY3" fmla="*/ 269358 h 2771553"/>
              <a:gd name="connsiteX4" fmla="*/ 711387 w 1279998"/>
              <a:gd name="connsiteY4" fmla="*/ 347330 h 2771553"/>
              <a:gd name="connsiteX5" fmla="*/ 810624 w 1279998"/>
              <a:gd name="connsiteY5" fmla="*/ 453656 h 2771553"/>
              <a:gd name="connsiteX6" fmla="*/ 810624 w 1279998"/>
              <a:gd name="connsiteY6" fmla="*/ 531628 h 2771553"/>
              <a:gd name="connsiteX7" fmla="*/ 675945 w 1279998"/>
              <a:gd name="connsiteY7" fmla="*/ 645042 h 2771553"/>
              <a:gd name="connsiteX8" fmla="*/ 782271 w 1279998"/>
              <a:gd name="connsiteY8" fmla="*/ 744279 h 2771553"/>
              <a:gd name="connsiteX9" fmla="*/ 782271 w 1279998"/>
              <a:gd name="connsiteY9" fmla="*/ 843516 h 2771553"/>
              <a:gd name="connsiteX10" fmla="*/ 697210 w 1279998"/>
              <a:gd name="connsiteY10" fmla="*/ 914400 h 2771553"/>
              <a:gd name="connsiteX11" fmla="*/ 697210 w 1279998"/>
              <a:gd name="connsiteY11" fmla="*/ 1098698 h 2771553"/>
              <a:gd name="connsiteX12" fmla="*/ 817713 w 1279998"/>
              <a:gd name="connsiteY12" fmla="*/ 1219200 h 2771553"/>
              <a:gd name="connsiteX13" fmla="*/ 825664 w 1279998"/>
              <a:gd name="connsiteY13" fmla="*/ 1499098 h 2771553"/>
              <a:gd name="connsiteX14" fmla="*/ 576707 w 1279998"/>
              <a:gd name="connsiteY14" fmla="*/ 2771553 h 2771553"/>
              <a:gd name="connsiteX15" fmla="*/ 364057 w 1279998"/>
              <a:gd name="connsiteY15" fmla="*/ 1509823 h 2771553"/>
              <a:gd name="connsiteX16" fmla="*/ 364057 w 1279998"/>
              <a:gd name="connsiteY16" fmla="*/ 134679 h 2771553"/>
              <a:gd name="connsiteX17" fmla="*/ 498736 w 1279998"/>
              <a:gd name="connsiteY17" fmla="*/ 0 h 2771553"/>
              <a:gd name="connsiteX0" fmla="*/ 526326 w 1307588"/>
              <a:gd name="connsiteY0" fmla="*/ 0 h 2771553"/>
              <a:gd name="connsiteX1" fmla="*/ 668093 w 1307588"/>
              <a:gd name="connsiteY1" fmla="*/ 0 h 2771553"/>
              <a:gd name="connsiteX2" fmla="*/ 838214 w 1307588"/>
              <a:gd name="connsiteY2" fmla="*/ 170121 h 2771553"/>
              <a:gd name="connsiteX3" fmla="*/ 838214 w 1307588"/>
              <a:gd name="connsiteY3" fmla="*/ 269358 h 2771553"/>
              <a:gd name="connsiteX4" fmla="*/ 738977 w 1307588"/>
              <a:gd name="connsiteY4" fmla="*/ 347330 h 2771553"/>
              <a:gd name="connsiteX5" fmla="*/ 838214 w 1307588"/>
              <a:gd name="connsiteY5" fmla="*/ 453656 h 2771553"/>
              <a:gd name="connsiteX6" fmla="*/ 838214 w 1307588"/>
              <a:gd name="connsiteY6" fmla="*/ 531628 h 2771553"/>
              <a:gd name="connsiteX7" fmla="*/ 703535 w 1307588"/>
              <a:gd name="connsiteY7" fmla="*/ 645042 h 2771553"/>
              <a:gd name="connsiteX8" fmla="*/ 809861 w 1307588"/>
              <a:gd name="connsiteY8" fmla="*/ 744279 h 2771553"/>
              <a:gd name="connsiteX9" fmla="*/ 809861 w 1307588"/>
              <a:gd name="connsiteY9" fmla="*/ 843516 h 2771553"/>
              <a:gd name="connsiteX10" fmla="*/ 724800 w 1307588"/>
              <a:gd name="connsiteY10" fmla="*/ 914400 h 2771553"/>
              <a:gd name="connsiteX11" fmla="*/ 724800 w 1307588"/>
              <a:gd name="connsiteY11" fmla="*/ 1098698 h 2771553"/>
              <a:gd name="connsiteX12" fmla="*/ 845303 w 1307588"/>
              <a:gd name="connsiteY12" fmla="*/ 1219200 h 2771553"/>
              <a:gd name="connsiteX13" fmla="*/ 853254 w 1307588"/>
              <a:gd name="connsiteY13" fmla="*/ 1499098 h 2771553"/>
              <a:gd name="connsiteX14" fmla="*/ 604297 w 1307588"/>
              <a:gd name="connsiteY14" fmla="*/ 2771553 h 2771553"/>
              <a:gd name="connsiteX15" fmla="*/ 391647 w 1307588"/>
              <a:gd name="connsiteY15" fmla="*/ 1509823 h 2771553"/>
              <a:gd name="connsiteX16" fmla="*/ 391647 w 1307588"/>
              <a:gd name="connsiteY16" fmla="*/ 134679 h 2771553"/>
              <a:gd name="connsiteX17" fmla="*/ 526326 w 1307588"/>
              <a:gd name="connsiteY17" fmla="*/ 0 h 2771553"/>
              <a:gd name="connsiteX0" fmla="*/ 539748 w 1321010"/>
              <a:gd name="connsiteY0" fmla="*/ 0 h 2771553"/>
              <a:gd name="connsiteX1" fmla="*/ 681515 w 1321010"/>
              <a:gd name="connsiteY1" fmla="*/ 0 h 2771553"/>
              <a:gd name="connsiteX2" fmla="*/ 851636 w 1321010"/>
              <a:gd name="connsiteY2" fmla="*/ 170121 h 2771553"/>
              <a:gd name="connsiteX3" fmla="*/ 851636 w 1321010"/>
              <a:gd name="connsiteY3" fmla="*/ 269358 h 2771553"/>
              <a:gd name="connsiteX4" fmla="*/ 752399 w 1321010"/>
              <a:gd name="connsiteY4" fmla="*/ 347330 h 2771553"/>
              <a:gd name="connsiteX5" fmla="*/ 851636 w 1321010"/>
              <a:gd name="connsiteY5" fmla="*/ 453656 h 2771553"/>
              <a:gd name="connsiteX6" fmla="*/ 851636 w 1321010"/>
              <a:gd name="connsiteY6" fmla="*/ 531628 h 2771553"/>
              <a:gd name="connsiteX7" fmla="*/ 716957 w 1321010"/>
              <a:gd name="connsiteY7" fmla="*/ 645042 h 2771553"/>
              <a:gd name="connsiteX8" fmla="*/ 823283 w 1321010"/>
              <a:gd name="connsiteY8" fmla="*/ 744279 h 2771553"/>
              <a:gd name="connsiteX9" fmla="*/ 823283 w 1321010"/>
              <a:gd name="connsiteY9" fmla="*/ 843516 h 2771553"/>
              <a:gd name="connsiteX10" fmla="*/ 738222 w 1321010"/>
              <a:gd name="connsiteY10" fmla="*/ 914400 h 2771553"/>
              <a:gd name="connsiteX11" fmla="*/ 738222 w 1321010"/>
              <a:gd name="connsiteY11" fmla="*/ 1098698 h 2771553"/>
              <a:gd name="connsiteX12" fmla="*/ 858725 w 1321010"/>
              <a:gd name="connsiteY12" fmla="*/ 1219200 h 2771553"/>
              <a:gd name="connsiteX13" fmla="*/ 866676 w 1321010"/>
              <a:gd name="connsiteY13" fmla="*/ 1499098 h 2771553"/>
              <a:gd name="connsiteX14" fmla="*/ 617719 w 1321010"/>
              <a:gd name="connsiteY14" fmla="*/ 2771553 h 2771553"/>
              <a:gd name="connsiteX15" fmla="*/ 405069 w 1321010"/>
              <a:gd name="connsiteY15" fmla="*/ 1509823 h 2771553"/>
              <a:gd name="connsiteX16" fmla="*/ 405069 w 1321010"/>
              <a:gd name="connsiteY16" fmla="*/ 134679 h 2771553"/>
              <a:gd name="connsiteX17" fmla="*/ 539748 w 1321010"/>
              <a:gd name="connsiteY17" fmla="*/ 0 h 2771553"/>
              <a:gd name="connsiteX0" fmla="*/ 533643 w 1314905"/>
              <a:gd name="connsiteY0" fmla="*/ 0 h 2771553"/>
              <a:gd name="connsiteX1" fmla="*/ 675410 w 1314905"/>
              <a:gd name="connsiteY1" fmla="*/ 0 h 2771553"/>
              <a:gd name="connsiteX2" fmla="*/ 845531 w 1314905"/>
              <a:gd name="connsiteY2" fmla="*/ 170121 h 2771553"/>
              <a:gd name="connsiteX3" fmla="*/ 845531 w 1314905"/>
              <a:gd name="connsiteY3" fmla="*/ 269358 h 2771553"/>
              <a:gd name="connsiteX4" fmla="*/ 746294 w 1314905"/>
              <a:gd name="connsiteY4" fmla="*/ 347330 h 2771553"/>
              <a:gd name="connsiteX5" fmla="*/ 845531 w 1314905"/>
              <a:gd name="connsiteY5" fmla="*/ 453656 h 2771553"/>
              <a:gd name="connsiteX6" fmla="*/ 845531 w 1314905"/>
              <a:gd name="connsiteY6" fmla="*/ 531628 h 2771553"/>
              <a:gd name="connsiteX7" fmla="*/ 710852 w 1314905"/>
              <a:gd name="connsiteY7" fmla="*/ 645042 h 2771553"/>
              <a:gd name="connsiteX8" fmla="*/ 817178 w 1314905"/>
              <a:gd name="connsiteY8" fmla="*/ 744279 h 2771553"/>
              <a:gd name="connsiteX9" fmla="*/ 817178 w 1314905"/>
              <a:gd name="connsiteY9" fmla="*/ 843516 h 2771553"/>
              <a:gd name="connsiteX10" fmla="*/ 732117 w 1314905"/>
              <a:gd name="connsiteY10" fmla="*/ 914400 h 2771553"/>
              <a:gd name="connsiteX11" fmla="*/ 732117 w 1314905"/>
              <a:gd name="connsiteY11" fmla="*/ 1098698 h 2771553"/>
              <a:gd name="connsiteX12" fmla="*/ 852620 w 1314905"/>
              <a:gd name="connsiteY12" fmla="*/ 1219200 h 2771553"/>
              <a:gd name="connsiteX13" fmla="*/ 860571 w 1314905"/>
              <a:gd name="connsiteY13" fmla="*/ 1499098 h 2771553"/>
              <a:gd name="connsiteX14" fmla="*/ 611614 w 1314905"/>
              <a:gd name="connsiteY14" fmla="*/ 2771553 h 2771553"/>
              <a:gd name="connsiteX15" fmla="*/ 398964 w 1314905"/>
              <a:gd name="connsiteY15" fmla="*/ 1509823 h 2771553"/>
              <a:gd name="connsiteX16" fmla="*/ 398964 w 1314905"/>
              <a:gd name="connsiteY16" fmla="*/ 134679 h 2771553"/>
              <a:gd name="connsiteX17" fmla="*/ 533643 w 1314905"/>
              <a:gd name="connsiteY17" fmla="*/ 0 h 2771553"/>
              <a:gd name="connsiteX0" fmla="*/ 533643 w 860571"/>
              <a:gd name="connsiteY0" fmla="*/ 0 h 2771556"/>
              <a:gd name="connsiteX1" fmla="*/ 675410 w 860571"/>
              <a:gd name="connsiteY1" fmla="*/ 0 h 2771556"/>
              <a:gd name="connsiteX2" fmla="*/ 845531 w 860571"/>
              <a:gd name="connsiteY2" fmla="*/ 170121 h 2771556"/>
              <a:gd name="connsiteX3" fmla="*/ 845531 w 860571"/>
              <a:gd name="connsiteY3" fmla="*/ 269358 h 2771556"/>
              <a:gd name="connsiteX4" fmla="*/ 746294 w 860571"/>
              <a:gd name="connsiteY4" fmla="*/ 347330 h 2771556"/>
              <a:gd name="connsiteX5" fmla="*/ 845531 w 860571"/>
              <a:gd name="connsiteY5" fmla="*/ 453656 h 2771556"/>
              <a:gd name="connsiteX6" fmla="*/ 845531 w 860571"/>
              <a:gd name="connsiteY6" fmla="*/ 531628 h 2771556"/>
              <a:gd name="connsiteX7" fmla="*/ 710852 w 860571"/>
              <a:gd name="connsiteY7" fmla="*/ 645042 h 2771556"/>
              <a:gd name="connsiteX8" fmla="*/ 817178 w 860571"/>
              <a:gd name="connsiteY8" fmla="*/ 744279 h 2771556"/>
              <a:gd name="connsiteX9" fmla="*/ 817178 w 860571"/>
              <a:gd name="connsiteY9" fmla="*/ 843516 h 2771556"/>
              <a:gd name="connsiteX10" fmla="*/ 732117 w 860571"/>
              <a:gd name="connsiteY10" fmla="*/ 914400 h 2771556"/>
              <a:gd name="connsiteX11" fmla="*/ 732117 w 860571"/>
              <a:gd name="connsiteY11" fmla="*/ 1098698 h 2771556"/>
              <a:gd name="connsiteX12" fmla="*/ 852620 w 860571"/>
              <a:gd name="connsiteY12" fmla="*/ 1219200 h 2771556"/>
              <a:gd name="connsiteX13" fmla="*/ 860571 w 860571"/>
              <a:gd name="connsiteY13" fmla="*/ 1499098 h 2771556"/>
              <a:gd name="connsiteX14" fmla="*/ 611614 w 860571"/>
              <a:gd name="connsiteY14" fmla="*/ 2771553 h 2771556"/>
              <a:gd name="connsiteX15" fmla="*/ 398964 w 860571"/>
              <a:gd name="connsiteY15" fmla="*/ 1509823 h 2771556"/>
              <a:gd name="connsiteX16" fmla="*/ 398964 w 860571"/>
              <a:gd name="connsiteY16" fmla="*/ 134679 h 2771556"/>
              <a:gd name="connsiteX17" fmla="*/ 533643 w 860571"/>
              <a:gd name="connsiteY17" fmla="*/ 0 h 2771556"/>
              <a:gd name="connsiteX0" fmla="*/ 134679 w 461607"/>
              <a:gd name="connsiteY0" fmla="*/ 0 h 1619303"/>
              <a:gd name="connsiteX1" fmla="*/ 276446 w 461607"/>
              <a:gd name="connsiteY1" fmla="*/ 0 h 1619303"/>
              <a:gd name="connsiteX2" fmla="*/ 446567 w 461607"/>
              <a:gd name="connsiteY2" fmla="*/ 170121 h 1619303"/>
              <a:gd name="connsiteX3" fmla="*/ 446567 w 461607"/>
              <a:gd name="connsiteY3" fmla="*/ 269358 h 1619303"/>
              <a:gd name="connsiteX4" fmla="*/ 347330 w 461607"/>
              <a:gd name="connsiteY4" fmla="*/ 347330 h 1619303"/>
              <a:gd name="connsiteX5" fmla="*/ 446567 w 461607"/>
              <a:gd name="connsiteY5" fmla="*/ 453656 h 1619303"/>
              <a:gd name="connsiteX6" fmla="*/ 446567 w 461607"/>
              <a:gd name="connsiteY6" fmla="*/ 531628 h 1619303"/>
              <a:gd name="connsiteX7" fmla="*/ 311888 w 461607"/>
              <a:gd name="connsiteY7" fmla="*/ 645042 h 1619303"/>
              <a:gd name="connsiteX8" fmla="*/ 418214 w 461607"/>
              <a:gd name="connsiteY8" fmla="*/ 744279 h 1619303"/>
              <a:gd name="connsiteX9" fmla="*/ 418214 w 461607"/>
              <a:gd name="connsiteY9" fmla="*/ 843516 h 1619303"/>
              <a:gd name="connsiteX10" fmla="*/ 333153 w 461607"/>
              <a:gd name="connsiteY10" fmla="*/ 914400 h 1619303"/>
              <a:gd name="connsiteX11" fmla="*/ 333153 w 461607"/>
              <a:gd name="connsiteY11" fmla="*/ 1098698 h 1619303"/>
              <a:gd name="connsiteX12" fmla="*/ 453656 w 461607"/>
              <a:gd name="connsiteY12" fmla="*/ 1219200 h 1619303"/>
              <a:gd name="connsiteX13" fmla="*/ 461607 w 461607"/>
              <a:gd name="connsiteY13" fmla="*/ 1499098 h 1619303"/>
              <a:gd name="connsiteX14" fmla="*/ 0 w 461607"/>
              <a:gd name="connsiteY14" fmla="*/ 1509823 h 1619303"/>
              <a:gd name="connsiteX15" fmla="*/ 0 w 461607"/>
              <a:gd name="connsiteY15" fmla="*/ 134679 h 1619303"/>
              <a:gd name="connsiteX16" fmla="*/ 134679 w 461607"/>
              <a:gd name="connsiteY16" fmla="*/ 0 h 1619303"/>
              <a:gd name="connsiteX0" fmla="*/ 134679 w 461607"/>
              <a:gd name="connsiteY0" fmla="*/ 0 h 1652853"/>
              <a:gd name="connsiteX1" fmla="*/ 276446 w 461607"/>
              <a:gd name="connsiteY1" fmla="*/ 0 h 1652853"/>
              <a:gd name="connsiteX2" fmla="*/ 446567 w 461607"/>
              <a:gd name="connsiteY2" fmla="*/ 170121 h 1652853"/>
              <a:gd name="connsiteX3" fmla="*/ 446567 w 461607"/>
              <a:gd name="connsiteY3" fmla="*/ 269358 h 1652853"/>
              <a:gd name="connsiteX4" fmla="*/ 347330 w 461607"/>
              <a:gd name="connsiteY4" fmla="*/ 347330 h 1652853"/>
              <a:gd name="connsiteX5" fmla="*/ 446567 w 461607"/>
              <a:gd name="connsiteY5" fmla="*/ 453656 h 1652853"/>
              <a:gd name="connsiteX6" fmla="*/ 446567 w 461607"/>
              <a:gd name="connsiteY6" fmla="*/ 531628 h 1652853"/>
              <a:gd name="connsiteX7" fmla="*/ 311888 w 461607"/>
              <a:gd name="connsiteY7" fmla="*/ 645042 h 1652853"/>
              <a:gd name="connsiteX8" fmla="*/ 418214 w 461607"/>
              <a:gd name="connsiteY8" fmla="*/ 744279 h 1652853"/>
              <a:gd name="connsiteX9" fmla="*/ 418214 w 461607"/>
              <a:gd name="connsiteY9" fmla="*/ 843516 h 1652853"/>
              <a:gd name="connsiteX10" fmla="*/ 333153 w 461607"/>
              <a:gd name="connsiteY10" fmla="*/ 914400 h 1652853"/>
              <a:gd name="connsiteX11" fmla="*/ 333153 w 461607"/>
              <a:gd name="connsiteY11" fmla="*/ 1098698 h 1652853"/>
              <a:gd name="connsiteX12" fmla="*/ 453656 w 461607"/>
              <a:gd name="connsiteY12" fmla="*/ 1219200 h 1652853"/>
              <a:gd name="connsiteX13" fmla="*/ 461607 w 461607"/>
              <a:gd name="connsiteY13" fmla="*/ 1499098 h 1652853"/>
              <a:gd name="connsiteX14" fmla="*/ 227968 w 461607"/>
              <a:gd name="connsiteY14" fmla="*/ 1608774 h 1652853"/>
              <a:gd name="connsiteX15" fmla="*/ 0 w 461607"/>
              <a:gd name="connsiteY15" fmla="*/ 1509823 h 1652853"/>
              <a:gd name="connsiteX16" fmla="*/ 0 w 461607"/>
              <a:gd name="connsiteY16" fmla="*/ 134679 h 1652853"/>
              <a:gd name="connsiteX17" fmla="*/ 134679 w 461607"/>
              <a:gd name="connsiteY17" fmla="*/ 0 h 1652853"/>
              <a:gd name="connsiteX0" fmla="*/ 428742 w 755670"/>
              <a:gd name="connsiteY0" fmla="*/ 0 h 1711664"/>
              <a:gd name="connsiteX1" fmla="*/ 570509 w 755670"/>
              <a:gd name="connsiteY1" fmla="*/ 0 h 1711664"/>
              <a:gd name="connsiteX2" fmla="*/ 740630 w 755670"/>
              <a:gd name="connsiteY2" fmla="*/ 170121 h 1711664"/>
              <a:gd name="connsiteX3" fmla="*/ 740630 w 755670"/>
              <a:gd name="connsiteY3" fmla="*/ 269358 h 1711664"/>
              <a:gd name="connsiteX4" fmla="*/ 641393 w 755670"/>
              <a:gd name="connsiteY4" fmla="*/ 347330 h 1711664"/>
              <a:gd name="connsiteX5" fmla="*/ 740630 w 755670"/>
              <a:gd name="connsiteY5" fmla="*/ 453656 h 1711664"/>
              <a:gd name="connsiteX6" fmla="*/ 740630 w 755670"/>
              <a:gd name="connsiteY6" fmla="*/ 531628 h 1711664"/>
              <a:gd name="connsiteX7" fmla="*/ 605951 w 755670"/>
              <a:gd name="connsiteY7" fmla="*/ 645042 h 1711664"/>
              <a:gd name="connsiteX8" fmla="*/ 712277 w 755670"/>
              <a:gd name="connsiteY8" fmla="*/ 744279 h 1711664"/>
              <a:gd name="connsiteX9" fmla="*/ 712277 w 755670"/>
              <a:gd name="connsiteY9" fmla="*/ 843516 h 1711664"/>
              <a:gd name="connsiteX10" fmla="*/ 627216 w 755670"/>
              <a:gd name="connsiteY10" fmla="*/ 914400 h 1711664"/>
              <a:gd name="connsiteX11" fmla="*/ 627216 w 755670"/>
              <a:gd name="connsiteY11" fmla="*/ 1098698 h 1711664"/>
              <a:gd name="connsiteX12" fmla="*/ 747719 w 755670"/>
              <a:gd name="connsiteY12" fmla="*/ 1219200 h 1711664"/>
              <a:gd name="connsiteX13" fmla="*/ 755670 w 755670"/>
              <a:gd name="connsiteY13" fmla="*/ 1499098 h 1711664"/>
              <a:gd name="connsiteX14" fmla="*/ 9873 w 755670"/>
              <a:gd name="connsiteY14" fmla="*/ 1706996 h 1711664"/>
              <a:gd name="connsiteX15" fmla="*/ 294063 w 755670"/>
              <a:gd name="connsiteY15" fmla="*/ 1509823 h 1711664"/>
              <a:gd name="connsiteX16" fmla="*/ 294063 w 755670"/>
              <a:gd name="connsiteY16" fmla="*/ 134679 h 1711664"/>
              <a:gd name="connsiteX17" fmla="*/ 428742 w 755670"/>
              <a:gd name="connsiteY17" fmla="*/ 0 h 1711664"/>
              <a:gd name="connsiteX0" fmla="*/ 428742 w 755670"/>
              <a:gd name="connsiteY0" fmla="*/ 0 h 1711664"/>
              <a:gd name="connsiteX1" fmla="*/ 570509 w 755670"/>
              <a:gd name="connsiteY1" fmla="*/ 0 h 1711664"/>
              <a:gd name="connsiteX2" fmla="*/ 740630 w 755670"/>
              <a:gd name="connsiteY2" fmla="*/ 170121 h 1711664"/>
              <a:gd name="connsiteX3" fmla="*/ 740630 w 755670"/>
              <a:gd name="connsiteY3" fmla="*/ 269358 h 1711664"/>
              <a:gd name="connsiteX4" fmla="*/ 641393 w 755670"/>
              <a:gd name="connsiteY4" fmla="*/ 347330 h 1711664"/>
              <a:gd name="connsiteX5" fmla="*/ 740630 w 755670"/>
              <a:gd name="connsiteY5" fmla="*/ 453656 h 1711664"/>
              <a:gd name="connsiteX6" fmla="*/ 740630 w 755670"/>
              <a:gd name="connsiteY6" fmla="*/ 531628 h 1711664"/>
              <a:gd name="connsiteX7" fmla="*/ 605951 w 755670"/>
              <a:gd name="connsiteY7" fmla="*/ 645042 h 1711664"/>
              <a:gd name="connsiteX8" fmla="*/ 712277 w 755670"/>
              <a:gd name="connsiteY8" fmla="*/ 744279 h 1711664"/>
              <a:gd name="connsiteX9" fmla="*/ 712277 w 755670"/>
              <a:gd name="connsiteY9" fmla="*/ 843516 h 1711664"/>
              <a:gd name="connsiteX10" fmla="*/ 627216 w 755670"/>
              <a:gd name="connsiteY10" fmla="*/ 914400 h 1711664"/>
              <a:gd name="connsiteX11" fmla="*/ 627216 w 755670"/>
              <a:gd name="connsiteY11" fmla="*/ 1098698 h 1711664"/>
              <a:gd name="connsiteX12" fmla="*/ 747719 w 755670"/>
              <a:gd name="connsiteY12" fmla="*/ 1219200 h 1711664"/>
              <a:gd name="connsiteX13" fmla="*/ 755670 w 755670"/>
              <a:gd name="connsiteY13" fmla="*/ 1499098 h 1711664"/>
              <a:gd name="connsiteX14" fmla="*/ 9873 w 755670"/>
              <a:gd name="connsiteY14" fmla="*/ 1706996 h 1711664"/>
              <a:gd name="connsiteX15" fmla="*/ 294063 w 755670"/>
              <a:gd name="connsiteY15" fmla="*/ 1509823 h 1711664"/>
              <a:gd name="connsiteX16" fmla="*/ 294063 w 755670"/>
              <a:gd name="connsiteY16" fmla="*/ 134679 h 1711664"/>
              <a:gd name="connsiteX17" fmla="*/ 428742 w 755670"/>
              <a:gd name="connsiteY17" fmla="*/ 0 h 1711664"/>
              <a:gd name="connsiteX0" fmla="*/ 431689 w 758617"/>
              <a:gd name="connsiteY0" fmla="*/ 0 h 1709743"/>
              <a:gd name="connsiteX1" fmla="*/ 573456 w 758617"/>
              <a:gd name="connsiteY1" fmla="*/ 0 h 1709743"/>
              <a:gd name="connsiteX2" fmla="*/ 743577 w 758617"/>
              <a:gd name="connsiteY2" fmla="*/ 170121 h 1709743"/>
              <a:gd name="connsiteX3" fmla="*/ 743577 w 758617"/>
              <a:gd name="connsiteY3" fmla="*/ 269358 h 1709743"/>
              <a:gd name="connsiteX4" fmla="*/ 644340 w 758617"/>
              <a:gd name="connsiteY4" fmla="*/ 347330 h 1709743"/>
              <a:gd name="connsiteX5" fmla="*/ 743577 w 758617"/>
              <a:gd name="connsiteY5" fmla="*/ 453656 h 1709743"/>
              <a:gd name="connsiteX6" fmla="*/ 743577 w 758617"/>
              <a:gd name="connsiteY6" fmla="*/ 531628 h 1709743"/>
              <a:gd name="connsiteX7" fmla="*/ 608898 w 758617"/>
              <a:gd name="connsiteY7" fmla="*/ 645042 h 1709743"/>
              <a:gd name="connsiteX8" fmla="*/ 715224 w 758617"/>
              <a:gd name="connsiteY8" fmla="*/ 744279 h 1709743"/>
              <a:gd name="connsiteX9" fmla="*/ 715224 w 758617"/>
              <a:gd name="connsiteY9" fmla="*/ 843516 h 1709743"/>
              <a:gd name="connsiteX10" fmla="*/ 630163 w 758617"/>
              <a:gd name="connsiteY10" fmla="*/ 914400 h 1709743"/>
              <a:gd name="connsiteX11" fmla="*/ 630163 w 758617"/>
              <a:gd name="connsiteY11" fmla="*/ 1098698 h 1709743"/>
              <a:gd name="connsiteX12" fmla="*/ 750666 w 758617"/>
              <a:gd name="connsiteY12" fmla="*/ 1219200 h 1709743"/>
              <a:gd name="connsiteX13" fmla="*/ 758617 w 758617"/>
              <a:gd name="connsiteY13" fmla="*/ 1499098 h 1709743"/>
              <a:gd name="connsiteX14" fmla="*/ 12820 w 758617"/>
              <a:gd name="connsiteY14" fmla="*/ 1706996 h 1709743"/>
              <a:gd name="connsiteX15" fmla="*/ 297010 w 758617"/>
              <a:gd name="connsiteY15" fmla="*/ 1509823 h 1709743"/>
              <a:gd name="connsiteX16" fmla="*/ 297010 w 758617"/>
              <a:gd name="connsiteY16" fmla="*/ 134679 h 1709743"/>
              <a:gd name="connsiteX17" fmla="*/ 431689 w 758617"/>
              <a:gd name="connsiteY17" fmla="*/ 0 h 1709743"/>
              <a:gd name="connsiteX0" fmla="*/ 418869 w 745797"/>
              <a:gd name="connsiteY0" fmla="*/ 0 h 1709743"/>
              <a:gd name="connsiteX1" fmla="*/ 560636 w 745797"/>
              <a:gd name="connsiteY1" fmla="*/ 0 h 1709743"/>
              <a:gd name="connsiteX2" fmla="*/ 730757 w 745797"/>
              <a:gd name="connsiteY2" fmla="*/ 170121 h 1709743"/>
              <a:gd name="connsiteX3" fmla="*/ 730757 w 745797"/>
              <a:gd name="connsiteY3" fmla="*/ 269358 h 1709743"/>
              <a:gd name="connsiteX4" fmla="*/ 631520 w 745797"/>
              <a:gd name="connsiteY4" fmla="*/ 347330 h 1709743"/>
              <a:gd name="connsiteX5" fmla="*/ 730757 w 745797"/>
              <a:gd name="connsiteY5" fmla="*/ 453656 h 1709743"/>
              <a:gd name="connsiteX6" fmla="*/ 730757 w 745797"/>
              <a:gd name="connsiteY6" fmla="*/ 531628 h 1709743"/>
              <a:gd name="connsiteX7" fmla="*/ 596078 w 745797"/>
              <a:gd name="connsiteY7" fmla="*/ 645042 h 1709743"/>
              <a:gd name="connsiteX8" fmla="*/ 702404 w 745797"/>
              <a:gd name="connsiteY8" fmla="*/ 744279 h 1709743"/>
              <a:gd name="connsiteX9" fmla="*/ 702404 w 745797"/>
              <a:gd name="connsiteY9" fmla="*/ 843516 h 1709743"/>
              <a:gd name="connsiteX10" fmla="*/ 617343 w 745797"/>
              <a:gd name="connsiteY10" fmla="*/ 914400 h 1709743"/>
              <a:gd name="connsiteX11" fmla="*/ 617343 w 745797"/>
              <a:gd name="connsiteY11" fmla="*/ 1098698 h 1709743"/>
              <a:gd name="connsiteX12" fmla="*/ 737846 w 745797"/>
              <a:gd name="connsiteY12" fmla="*/ 1219200 h 1709743"/>
              <a:gd name="connsiteX13" fmla="*/ 745797 w 745797"/>
              <a:gd name="connsiteY13" fmla="*/ 1499098 h 1709743"/>
              <a:gd name="connsiteX14" fmla="*/ 0 w 745797"/>
              <a:gd name="connsiteY14" fmla="*/ 1706996 h 1709743"/>
              <a:gd name="connsiteX15" fmla="*/ 284190 w 745797"/>
              <a:gd name="connsiteY15" fmla="*/ 1509823 h 1709743"/>
              <a:gd name="connsiteX16" fmla="*/ 284190 w 745797"/>
              <a:gd name="connsiteY16" fmla="*/ 134679 h 1709743"/>
              <a:gd name="connsiteX17" fmla="*/ 418869 w 745797"/>
              <a:gd name="connsiteY17" fmla="*/ 0 h 1709743"/>
              <a:gd name="connsiteX0" fmla="*/ 418869 w 745797"/>
              <a:gd name="connsiteY0" fmla="*/ 0 h 1709743"/>
              <a:gd name="connsiteX1" fmla="*/ 560636 w 745797"/>
              <a:gd name="connsiteY1" fmla="*/ 0 h 1709743"/>
              <a:gd name="connsiteX2" fmla="*/ 730757 w 745797"/>
              <a:gd name="connsiteY2" fmla="*/ 170121 h 1709743"/>
              <a:gd name="connsiteX3" fmla="*/ 730757 w 745797"/>
              <a:gd name="connsiteY3" fmla="*/ 269358 h 1709743"/>
              <a:gd name="connsiteX4" fmla="*/ 631520 w 745797"/>
              <a:gd name="connsiteY4" fmla="*/ 347330 h 1709743"/>
              <a:gd name="connsiteX5" fmla="*/ 730757 w 745797"/>
              <a:gd name="connsiteY5" fmla="*/ 453656 h 1709743"/>
              <a:gd name="connsiteX6" fmla="*/ 730757 w 745797"/>
              <a:gd name="connsiteY6" fmla="*/ 531628 h 1709743"/>
              <a:gd name="connsiteX7" fmla="*/ 596078 w 745797"/>
              <a:gd name="connsiteY7" fmla="*/ 645042 h 1709743"/>
              <a:gd name="connsiteX8" fmla="*/ 702404 w 745797"/>
              <a:gd name="connsiteY8" fmla="*/ 744279 h 1709743"/>
              <a:gd name="connsiteX9" fmla="*/ 702404 w 745797"/>
              <a:gd name="connsiteY9" fmla="*/ 843516 h 1709743"/>
              <a:gd name="connsiteX10" fmla="*/ 617343 w 745797"/>
              <a:gd name="connsiteY10" fmla="*/ 914400 h 1709743"/>
              <a:gd name="connsiteX11" fmla="*/ 617343 w 745797"/>
              <a:gd name="connsiteY11" fmla="*/ 1098698 h 1709743"/>
              <a:gd name="connsiteX12" fmla="*/ 737846 w 745797"/>
              <a:gd name="connsiteY12" fmla="*/ 1219200 h 1709743"/>
              <a:gd name="connsiteX13" fmla="*/ 745797 w 745797"/>
              <a:gd name="connsiteY13" fmla="*/ 1499098 h 1709743"/>
              <a:gd name="connsiteX14" fmla="*/ 0 w 745797"/>
              <a:gd name="connsiteY14" fmla="*/ 1706996 h 1709743"/>
              <a:gd name="connsiteX15" fmla="*/ 284190 w 745797"/>
              <a:gd name="connsiteY15" fmla="*/ 1509823 h 1709743"/>
              <a:gd name="connsiteX16" fmla="*/ 284190 w 745797"/>
              <a:gd name="connsiteY16" fmla="*/ 134679 h 1709743"/>
              <a:gd name="connsiteX17" fmla="*/ 418869 w 745797"/>
              <a:gd name="connsiteY17" fmla="*/ 0 h 1709743"/>
              <a:gd name="connsiteX0" fmla="*/ 418869 w 745797"/>
              <a:gd name="connsiteY0" fmla="*/ 0 h 1709743"/>
              <a:gd name="connsiteX1" fmla="*/ 560636 w 745797"/>
              <a:gd name="connsiteY1" fmla="*/ 0 h 1709743"/>
              <a:gd name="connsiteX2" fmla="*/ 730757 w 745797"/>
              <a:gd name="connsiteY2" fmla="*/ 170121 h 1709743"/>
              <a:gd name="connsiteX3" fmla="*/ 730757 w 745797"/>
              <a:gd name="connsiteY3" fmla="*/ 269358 h 1709743"/>
              <a:gd name="connsiteX4" fmla="*/ 631520 w 745797"/>
              <a:gd name="connsiteY4" fmla="*/ 347330 h 1709743"/>
              <a:gd name="connsiteX5" fmla="*/ 730757 w 745797"/>
              <a:gd name="connsiteY5" fmla="*/ 453656 h 1709743"/>
              <a:gd name="connsiteX6" fmla="*/ 730757 w 745797"/>
              <a:gd name="connsiteY6" fmla="*/ 531628 h 1709743"/>
              <a:gd name="connsiteX7" fmla="*/ 596078 w 745797"/>
              <a:gd name="connsiteY7" fmla="*/ 645042 h 1709743"/>
              <a:gd name="connsiteX8" fmla="*/ 702404 w 745797"/>
              <a:gd name="connsiteY8" fmla="*/ 744279 h 1709743"/>
              <a:gd name="connsiteX9" fmla="*/ 702404 w 745797"/>
              <a:gd name="connsiteY9" fmla="*/ 843516 h 1709743"/>
              <a:gd name="connsiteX10" fmla="*/ 617343 w 745797"/>
              <a:gd name="connsiteY10" fmla="*/ 914400 h 1709743"/>
              <a:gd name="connsiteX11" fmla="*/ 617343 w 745797"/>
              <a:gd name="connsiteY11" fmla="*/ 1098698 h 1709743"/>
              <a:gd name="connsiteX12" fmla="*/ 737846 w 745797"/>
              <a:gd name="connsiteY12" fmla="*/ 1219200 h 1709743"/>
              <a:gd name="connsiteX13" fmla="*/ 745797 w 745797"/>
              <a:gd name="connsiteY13" fmla="*/ 1499098 h 1709743"/>
              <a:gd name="connsiteX14" fmla="*/ 0 w 745797"/>
              <a:gd name="connsiteY14" fmla="*/ 1706996 h 1709743"/>
              <a:gd name="connsiteX15" fmla="*/ 284190 w 745797"/>
              <a:gd name="connsiteY15" fmla="*/ 1495791 h 1709743"/>
              <a:gd name="connsiteX16" fmla="*/ 284190 w 745797"/>
              <a:gd name="connsiteY16" fmla="*/ 134679 h 1709743"/>
              <a:gd name="connsiteX17" fmla="*/ 418869 w 745797"/>
              <a:gd name="connsiteY17" fmla="*/ 0 h 1709743"/>
              <a:gd name="connsiteX0" fmla="*/ 418869 w 745797"/>
              <a:gd name="connsiteY0" fmla="*/ 0 h 1709743"/>
              <a:gd name="connsiteX1" fmla="*/ 560636 w 745797"/>
              <a:gd name="connsiteY1" fmla="*/ 0 h 1709743"/>
              <a:gd name="connsiteX2" fmla="*/ 730757 w 745797"/>
              <a:gd name="connsiteY2" fmla="*/ 170121 h 1709743"/>
              <a:gd name="connsiteX3" fmla="*/ 730757 w 745797"/>
              <a:gd name="connsiteY3" fmla="*/ 269358 h 1709743"/>
              <a:gd name="connsiteX4" fmla="*/ 631520 w 745797"/>
              <a:gd name="connsiteY4" fmla="*/ 347330 h 1709743"/>
              <a:gd name="connsiteX5" fmla="*/ 730757 w 745797"/>
              <a:gd name="connsiteY5" fmla="*/ 453656 h 1709743"/>
              <a:gd name="connsiteX6" fmla="*/ 730757 w 745797"/>
              <a:gd name="connsiteY6" fmla="*/ 531628 h 1709743"/>
              <a:gd name="connsiteX7" fmla="*/ 596078 w 745797"/>
              <a:gd name="connsiteY7" fmla="*/ 645042 h 1709743"/>
              <a:gd name="connsiteX8" fmla="*/ 702404 w 745797"/>
              <a:gd name="connsiteY8" fmla="*/ 744279 h 1709743"/>
              <a:gd name="connsiteX9" fmla="*/ 702404 w 745797"/>
              <a:gd name="connsiteY9" fmla="*/ 843516 h 1709743"/>
              <a:gd name="connsiteX10" fmla="*/ 617343 w 745797"/>
              <a:gd name="connsiteY10" fmla="*/ 914400 h 1709743"/>
              <a:gd name="connsiteX11" fmla="*/ 617343 w 745797"/>
              <a:gd name="connsiteY11" fmla="*/ 1098698 h 1709743"/>
              <a:gd name="connsiteX12" fmla="*/ 737846 w 745797"/>
              <a:gd name="connsiteY12" fmla="*/ 1219200 h 1709743"/>
              <a:gd name="connsiteX13" fmla="*/ 745797 w 745797"/>
              <a:gd name="connsiteY13" fmla="*/ 1499098 h 1709743"/>
              <a:gd name="connsiteX14" fmla="*/ 0 w 745797"/>
              <a:gd name="connsiteY14" fmla="*/ 1706996 h 1709743"/>
              <a:gd name="connsiteX15" fmla="*/ 284190 w 745797"/>
              <a:gd name="connsiteY15" fmla="*/ 1495791 h 1709743"/>
              <a:gd name="connsiteX16" fmla="*/ 284190 w 745797"/>
              <a:gd name="connsiteY16" fmla="*/ 134679 h 1709743"/>
              <a:gd name="connsiteX17" fmla="*/ 418869 w 745797"/>
              <a:gd name="connsiteY17" fmla="*/ 0 h 1709743"/>
              <a:gd name="connsiteX0" fmla="*/ 418869 w 737846"/>
              <a:gd name="connsiteY0" fmla="*/ 0 h 1709525"/>
              <a:gd name="connsiteX1" fmla="*/ 560636 w 737846"/>
              <a:gd name="connsiteY1" fmla="*/ 0 h 1709525"/>
              <a:gd name="connsiteX2" fmla="*/ 730757 w 737846"/>
              <a:gd name="connsiteY2" fmla="*/ 170121 h 1709525"/>
              <a:gd name="connsiteX3" fmla="*/ 730757 w 737846"/>
              <a:gd name="connsiteY3" fmla="*/ 269358 h 1709525"/>
              <a:gd name="connsiteX4" fmla="*/ 631520 w 737846"/>
              <a:gd name="connsiteY4" fmla="*/ 347330 h 1709525"/>
              <a:gd name="connsiteX5" fmla="*/ 730757 w 737846"/>
              <a:gd name="connsiteY5" fmla="*/ 453656 h 1709525"/>
              <a:gd name="connsiteX6" fmla="*/ 730757 w 737846"/>
              <a:gd name="connsiteY6" fmla="*/ 531628 h 1709525"/>
              <a:gd name="connsiteX7" fmla="*/ 596078 w 737846"/>
              <a:gd name="connsiteY7" fmla="*/ 645042 h 1709525"/>
              <a:gd name="connsiteX8" fmla="*/ 702404 w 737846"/>
              <a:gd name="connsiteY8" fmla="*/ 744279 h 1709525"/>
              <a:gd name="connsiteX9" fmla="*/ 702404 w 737846"/>
              <a:gd name="connsiteY9" fmla="*/ 843516 h 1709525"/>
              <a:gd name="connsiteX10" fmla="*/ 617343 w 737846"/>
              <a:gd name="connsiteY10" fmla="*/ 914400 h 1709525"/>
              <a:gd name="connsiteX11" fmla="*/ 617343 w 737846"/>
              <a:gd name="connsiteY11" fmla="*/ 1098698 h 1709525"/>
              <a:gd name="connsiteX12" fmla="*/ 737846 w 737846"/>
              <a:gd name="connsiteY12" fmla="*/ 1219200 h 1709525"/>
              <a:gd name="connsiteX13" fmla="*/ 734103 w 737846"/>
              <a:gd name="connsiteY13" fmla="*/ 1482728 h 1709525"/>
              <a:gd name="connsiteX14" fmla="*/ 0 w 737846"/>
              <a:gd name="connsiteY14" fmla="*/ 1706996 h 1709525"/>
              <a:gd name="connsiteX15" fmla="*/ 284190 w 737846"/>
              <a:gd name="connsiteY15" fmla="*/ 1495791 h 1709525"/>
              <a:gd name="connsiteX16" fmla="*/ 284190 w 737846"/>
              <a:gd name="connsiteY16" fmla="*/ 134679 h 1709525"/>
              <a:gd name="connsiteX17" fmla="*/ 418869 w 737846"/>
              <a:gd name="connsiteY17" fmla="*/ 0 h 1709525"/>
              <a:gd name="connsiteX0" fmla="*/ 423547 w 742524"/>
              <a:gd name="connsiteY0" fmla="*/ 0 h 1728024"/>
              <a:gd name="connsiteX1" fmla="*/ 565314 w 742524"/>
              <a:gd name="connsiteY1" fmla="*/ 0 h 1728024"/>
              <a:gd name="connsiteX2" fmla="*/ 735435 w 742524"/>
              <a:gd name="connsiteY2" fmla="*/ 170121 h 1728024"/>
              <a:gd name="connsiteX3" fmla="*/ 735435 w 742524"/>
              <a:gd name="connsiteY3" fmla="*/ 269358 h 1728024"/>
              <a:gd name="connsiteX4" fmla="*/ 636198 w 742524"/>
              <a:gd name="connsiteY4" fmla="*/ 347330 h 1728024"/>
              <a:gd name="connsiteX5" fmla="*/ 735435 w 742524"/>
              <a:gd name="connsiteY5" fmla="*/ 453656 h 1728024"/>
              <a:gd name="connsiteX6" fmla="*/ 735435 w 742524"/>
              <a:gd name="connsiteY6" fmla="*/ 531628 h 1728024"/>
              <a:gd name="connsiteX7" fmla="*/ 600756 w 742524"/>
              <a:gd name="connsiteY7" fmla="*/ 645042 h 1728024"/>
              <a:gd name="connsiteX8" fmla="*/ 707082 w 742524"/>
              <a:gd name="connsiteY8" fmla="*/ 744279 h 1728024"/>
              <a:gd name="connsiteX9" fmla="*/ 707082 w 742524"/>
              <a:gd name="connsiteY9" fmla="*/ 843516 h 1728024"/>
              <a:gd name="connsiteX10" fmla="*/ 622021 w 742524"/>
              <a:gd name="connsiteY10" fmla="*/ 914400 h 1728024"/>
              <a:gd name="connsiteX11" fmla="*/ 622021 w 742524"/>
              <a:gd name="connsiteY11" fmla="*/ 1098698 h 1728024"/>
              <a:gd name="connsiteX12" fmla="*/ 742524 w 742524"/>
              <a:gd name="connsiteY12" fmla="*/ 1219200 h 1728024"/>
              <a:gd name="connsiteX13" fmla="*/ 738781 w 742524"/>
              <a:gd name="connsiteY13" fmla="*/ 1482728 h 1728024"/>
              <a:gd name="connsiteX14" fmla="*/ 0 w 742524"/>
              <a:gd name="connsiteY14" fmla="*/ 1725705 h 1728024"/>
              <a:gd name="connsiteX15" fmla="*/ 288868 w 742524"/>
              <a:gd name="connsiteY15" fmla="*/ 1495791 h 1728024"/>
              <a:gd name="connsiteX16" fmla="*/ 288868 w 742524"/>
              <a:gd name="connsiteY16" fmla="*/ 134679 h 1728024"/>
              <a:gd name="connsiteX17" fmla="*/ 423547 w 742524"/>
              <a:gd name="connsiteY17" fmla="*/ 0 h 1728024"/>
              <a:gd name="connsiteX0" fmla="*/ 423547 w 742524"/>
              <a:gd name="connsiteY0" fmla="*/ 0 h 1728098"/>
              <a:gd name="connsiteX1" fmla="*/ 565314 w 742524"/>
              <a:gd name="connsiteY1" fmla="*/ 0 h 1728098"/>
              <a:gd name="connsiteX2" fmla="*/ 735435 w 742524"/>
              <a:gd name="connsiteY2" fmla="*/ 170121 h 1728098"/>
              <a:gd name="connsiteX3" fmla="*/ 735435 w 742524"/>
              <a:gd name="connsiteY3" fmla="*/ 269358 h 1728098"/>
              <a:gd name="connsiteX4" fmla="*/ 636198 w 742524"/>
              <a:gd name="connsiteY4" fmla="*/ 347330 h 1728098"/>
              <a:gd name="connsiteX5" fmla="*/ 735435 w 742524"/>
              <a:gd name="connsiteY5" fmla="*/ 453656 h 1728098"/>
              <a:gd name="connsiteX6" fmla="*/ 735435 w 742524"/>
              <a:gd name="connsiteY6" fmla="*/ 531628 h 1728098"/>
              <a:gd name="connsiteX7" fmla="*/ 600756 w 742524"/>
              <a:gd name="connsiteY7" fmla="*/ 645042 h 1728098"/>
              <a:gd name="connsiteX8" fmla="*/ 707082 w 742524"/>
              <a:gd name="connsiteY8" fmla="*/ 744279 h 1728098"/>
              <a:gd name="connsiteX9" fmla="*/ 707082 w 742524"/>
              <a:gd name="connsiteY9" fmla="*/ 843516 h 1728098"/>
              <a:gd name="connsiteX10" fmla="*/ 622021 w 742524"/>
              <a:gd name="connsiteY10" fmla="*/ 914400 h 1728098"/>
              <a:gd name="connsiteX11" fmla="*/ 622021 w 742524"/>
              <a:gd name="connsiteY11" fmla="*/ 1098698 h 1728098"/>
              <a:gd name="connsiteX12" fmla="*/ 742524 w 742524"/>
              <a:gd name="connsiteY12" fmla="*/ 1219200 h 1728098"/>
              <a:gd name="connsiteX13" fmla="*/ 738781 w 742524"/>
              <a:gd name="connsiteY13" fmla="*/ 1489744 h 1728098"/>
              <a:gd name="connsiteX14" fmla="*/ 0 w 742524"/>
              <a:gd name="connsiteY14" fmla="*/ 1725705 h 1728098"/>
              <a:gd name="connsiteX15" fmla="*/ 288868 w 742524"/>
              <a:gd name="connsiteY15" fmla="*/ 1495791 h 1728098"/>
              <a:gd name="connsiteX16" fmla="*/ 288868 w 742524"/>
              <a:gd name="connsiteY16" fmla="*/ 134679 h 1728098"/>
              <a:gd name="connsiteX17" fmla="*/ 423547 w 742524"/>
              <a:gd name="connsiteY17" fmla="*/ 0 h 1728098"/>
              <a:gd name="connsiteX0" fmla="*/ 423547 w 742524"/>
              <a:gd name="connsiteY0" fmla="*/ 0 h 1728399"/>
              <a:gd name="connsiteX1" fmla="*/ 565314 w 742524"/>
              <a:gd name="connsiteY1" fmla="*/ 0 h 1728399"/>
              <a:gd name="connsiteX2" fmla="*/ 735435 w 742524"/>
              <a:gd name="connsiteY2" fmla="*/ 170121 h 1728399"/>
              <a:gd name="connsiteX3" fmla="*/ 735435 w 742524"/>
              <a:gd name="connsiteY3" fmla="*/ 269358 h 1728399"/>
              <a:gd name="connsiteX4" fmla="*/ 636198 w 742524"/>
              <a:gd name="connsiteY4" fmla="*/ 347330 h 1728399"/>
              <a:gd name="connsiteX5" fmla="*/ 735435 w 742524"/>
              <a:gd name="connsiteY5" fmla="*/ 453656 h 1728399"/>
              <a:gd name="connsiteX6" fmla="*/ 735435 w 742524"/>
              <a:gd name="connsiteY6" fmla="*/ 531628 h 1728399"/>
              <a:gd name="connsiteX7" fmla="*/ 600756 w 742524"/>
              <a:gd name="connsiteY7" fmla="*/ 645042 h 1728399"/>
              <a:gd name="connsiteX8" fmla="*/ 707082 w 742524"/>
              <a:gd name="connsiteY8" fmla="*/ 744279 h 1728399"/>
              <a:gd name="connsiteX9" fmla="*/ 707082 w 742524"/>
              <a:gd name="connsiteY9" fmla="*/ 843516 h 1728399"/>
              <a:gd name="connsiteX10" fmla="*/ 622021 w 742524"/>
              <a:gd name="connsiteY10" fmla="*/ 914400 h 1728399"/>
              <a:gd name="connsiteX11" fmla="*/ 622021 w 742524"/>
              <a:gd name="connsiteY11" fmla="*/ 1098698 h 1728399"/>
              <a:gd name="connsiteX12" fmla="*/ 742524 w 742524"/>
              <a:gd name="connsiteY12" fmla="*/ 1219200 h 1728399"/>
              <a:gd name="connsiteX13" fmla="*/ 738781 w 742524"/>
              <a:gd name="connsiteY13" fmla="*/ 1489744 h 1728399"/>
              <a:gd name="connsiteX14" fmla="*/ 563609 w 742524"/>
              <a:gd name="connsiteY14" fmla="*/ 1613450 h 1728399"/>
              <a:gd name="connsiteX15" fmla="*/ 0 w 742524"/>
              <a:gd name="connsiteY15" fmla="*/ 1725705 h 1728399"/>
              <a:gd name="connsiteX16" fmla="*/ 288868 w 742524"/>
              <a:gd name="connsiteY16" fmla="*/ 1495791 h 1728399"/>
              <a:gd name="connsiteX17" fmla="*/ 288868 w 742524"/>
              <a:gd name="connsiteY17" fmla="*/ 134679 h 1728399"/>
              <a:gd name="connsiteX18" fmla="*/ 423547 w 742524"/>
              <a:gd name="connsiteY18" fmla="*/ 0 h 1728399"/>
              <a:gd name="connsiteX0" fmla="*/ 423547 w 1095658"/>
              <a:gd name="connsiteY0" fmla="*/ 0 h 1740902"/>
              <a:gd name="connsiteX1" fmla="*/ 565314 w 1095658"/>
              <a:gd name="connsiteY1" fmla="*/ 0 h 1740902"/>
              <a:gd name="connsiteX2" fmla="*/ 735435 w 1095658"/>
              <a:gd name="connsiteY2" fmla="*/ 170121 h 1740902"/>
              <a:gd name="connsiteX3" fmla="*/ 735435 w 1095658"/>
              <a:gd name="connsiteY3" fmla="*/ 269358 h 1740902"/>
              <a:gd name="connsiteX4" fmla="*/ 636198 w 1095658"/>
              <a:gd name="connsiteY4" fmla="*/ 347330 h 1740902"/>
              <a:gd name="connsiteX5" fmla="*/ 735435 w 1095658"/>
              <a:gd name="connsiteY5" fmla="*/ 453656 h 1740902"/>
              <a:gd name="connsiteX6" fmla="*/ 735435 w 1095658"/>
              <a:gd name="connsiteY6" fmla="*/ 531628 h 1740902"/>
              <a:gd name="connsiteX7" fmla="*/ 600756 w 1095658"/>
              <a:gd name="connsiteY7" fmla="*/ 645042 h 1740902"/>
              <a:gd name="connsiteX8" fmla="*/ 707082 w 1095658"/>
              <a:gd name="connsiteY8" fmla="*/ 744279 h 1740902"/>
              <a:gd name="connsiteX9" fmla="*/ 707082 w 1095658"/>
              <a:gd name="connsiteY9" fmla="*/ 843516 h 1740902"/>
              <a:gd name="connsiteX10" fmla="*/ 622021 w 1095658"/>
              <a:gd name="connsiteY10" fmla="*/ 914400 h 1740902"/>
              <a:gd name="connsiteX11" fmla="*/ 622021 w 1095658"/>
              <a:gd name="connsiteY11" fmla="*/ 1098698 h 1740902"/>
              <a:gd name="connsiteX12" fmla="*/ 742524 w 1095658"/>
              <a:gd name="connsiteY12" fmla="*/ 1219200 h 1740902"/>
              <a:gd name="connsiteX13" fmla="*/ 738781 w 1095658"/>
              <a:gd name="connsiteY13" fmla="*/ 1489744 h 1740902"/>
              <a:gd name="connsiteX14" fmla="*/ 1075766 w 1095658"/>
              <a:gd name="connsiteY14" fmla="*/ 1711672 h 1740902"/>
              <a:gd name="connsiteX15" fmla="*/ 0 w 1095658"/>
              <a:gd name="connsiteY15" fmla="*/ 1725705 h 1740902"/>
              <a:gd name="connsiteX16" fmla="*/ 288868 w 1095658"/>
              <a:gd name="connsiteY16" fmla="*/ 1495791 h 1740902"/>
              <a:gd name="connsiteX17" fmla="*/ 288868 w 1095658"/>
              <a:gd name="connsiteY17" fmla="*/ 134679 h 1740902"/>
              <a:gd name="connsiteX18" fmla="*/ 423547 w 1095658"/>
              <a:gd name="connsiteY18" fmla="*/ 0 h 1740902"/>
              <a:gd name="connsiteX0" fmla="*/ 423547 w 1095658"/>
              <a:gd name="connsiteY0" fmla="*/ 0 h 1733469"/>
              <a:gd name="connsiteX1" fmla="*/ 565314 w 1095658"/>
              <a:gd name="connsiteY1" fmla="*/ 0 h 1733469"/>
              <a:gd name="connsiteX2" fmla="*/ 735435 w 1095658"/>
              <a:gd name="connsiteY2" fmla="*/ 170121 h 1733469"/>
              <a:gd name="connsiteX3" fmla="*/ 735435 w 1095658"/>
              <a:gd name="connsiteY3" fmla="*/ 269358 h 1733469"/>
              <a:gd name="connsiteX4" fmla="*/ 636198 w 1095658"/>
              <a:gd name="connsiteY4" fmla="*/ 347330 h 1733469"/>
              <a:gd name="connsiteX5" fmla="*/ 735435 w 1095658"/>
              <a:gd name="connsiteY5" fmla="*/ 453656 h 1733469"/>
              <a:gd name="connsiteX6" fmla="*/ 735435 w 1095658"/>
              <a:gd name="connsiteY6" fmla="*/ 531628 h 1733469"/>
              <a:gd name="connsiteX7" fmla="*/ 600756 w 1095658"/>
              <a:gd name="connsiteY7" fmla="*/ 645042 h 1733469"/>
              <a:gd name="connsiteX8" fmla="*/ 707082 w 1095658"/>
              <a:gd name="connsiteY8" fmla="*/ 744279 h 1733469"/>
              <a:gd name="connsiteX9" fmla="*/ 707082 w 1095658"/>
              <a:gd name="connsiteY9" fmla="*/ 843516 h 1733469"/>
              <a:gd name="connsiteX10" fmla="*/ 622021 w 1095658"/>
              <a:gd name="connsiteY10" fmla="*/ 914400 h 1733469"/>
              <a:gd name="connsiteX11" fmla="*/ 622021 w 1095658"/>
              <a:gd name="connsiteY11" fmla="*/ 1098698 h 1733469"/>
              <a:gd name="connsiteX12" fmla="*/ 742524 w 1095658"/>
              <a:gd name="connsiteY12" fmla="*/ 1219200 h 1733469"/>
              <a:gd name="connsiteX13" fmla="*/ 738781 w 1095658"/>
              <a:gd name="connsiteY13" fmla="*/ 1489744 h 1733469"/>
              <a:gd name="connsiteX14" fmla="*/ 1075766 w 1095658"/>
              <a:gd name="connsiteY14" fmla="*/ 1711672 h 1733469"/>
              <a:gd name="connsiteX15" fmla="*/ 0 w 1095658"/>
              <a:gd name="connsiteY15" fmla="*/ 1725705 h 1733469"/>
              <a:gd name="connsiteX16" fmla="*/ 288868 w 1095658"/>
              <a:gd name="connsiteY16" fmla="*/ 1495791 h 1733469"/>
              <a:gd name="connsiteX17" fmla="*/ 288868 w 1095658"/>
              <a:gd name="connsiteY17" fmla="*/ 134679 h 1733469"/>
              <a:gd name="connsiteX18" fmla="*/ 423547 w 1095658"/>
              <a:gd name="connsiteY18" fmla="*/ 0 h 1733469"/>
              <a:gd name="connsiteX0" fmla="*/ 423547 w 1095658"/>
              <a:gd name="connsiteY0" fmla="*/ 0 h 1725705"/>
              <a:gd name="connsiteX1" fmla="*/ 565314 w 1095658"/>
              <a:gd name="connsiteY1" fmla="*/ 0 h 1725705"/>
              <a:gd name="connsiteX2" fmla="*/ 735435 w 1095658"/>
              <a:gd name="connsiteY2" fmla="*/ 170121 h 1725705"/>
              <a:gd name="connsiteX3" fmla="*/ 735435 w 1095658"/>
              <a:gd name="connsiteY3" fmla="*/ 269358 h 1725705"/>
              <a:gd name="connsiteX4" fmla="*/ 636198 w 1095658"/>
              <a:gd name="connsiteY4" fmla="*/ 347330 h 1725705"/>
              <a:gd name="connsiteX5" fmla="*/ 735435 w 1095658"/>
              <a:gd name="connsiteY5" fmla="*/ 453656 h 1725705"/>
              <a:gd name="connsiteX6" fmla="*/ 735435 w 1095658"/>
              <a:gd name="connsiteY6" fmla="*/ 531628 h 1725705"/>
              <a:gd name="connsiteX7" fmla="*/ 600756 w 1095658"/>
              <a:gd name="connsiteY7" fmla="*/ 645042 h 1725705"/>
              <a:gd name="connsiteX8" fmla="*/ 707082 w 1095658"/>
              <a:gd name="connsiteY8" fmla="*/ 744279 h 1725705"/>
              <a:gd name="connsiteX9" fmla="*/ 707082 w 1095658"/>
              <a:gd name="connsiteY9" fmla="*/ 843516 h 1725705"/>
              <a:gd name="connsiteX10" fmla="*/ 622021 w 1095658"/>
              <a:gd name="connsiteY10" fmla="*/ 914400 h 1725705"/>
              <a:gd name="connsiteX11" fmla="*/ 622021 w 1095658"/>
              <a:gd name="connsiteY11" fmla="*/ 1098698 h 1725705"/>
              <a:gd name="connsiteX12" fmla="*/ 742524 w 1095658"/>
              <a:gd name="connsiteY12" fmla="*/ 1219200 h 1725705"/>
              <a:gd name="connsiteX13" fmla="*/ 738781 w 1095658"/>
              <a:gd name="connsiteY13" fmla="*/ 1489744 h 1725705"/>
              <a:gd name="connsiteX14" fmla="*/ 1075766 w 1095658"/>
              <a:gd name="connsiteY14" fmla="*/ 1711672 h 1725705"/>
              <a:gd name="connsiteX15" fmla="*/ 0 w 1095658"/>
              <a:gd name="connsiteY15" fmla="*/ 1725705 h 1725705"/>
              <a:gd name="connsiteX16" fmla="*/ 288868 w 1095658"/>
              <a:gd name="connsiteY16" fmla="*/ 1495791 h 1725705"/>
              <a:gd name="connsiteX17" fmla="*/ 288868 w 1095658"/>
              <a:gd name="connsiteY17" fmla="*/ 134679 h 1725705"/>
              <a:gd name="connsiteX18" fmla="*/ 423547 w 1095658"/>
              <a:gd name="connsiteY18" fmla="*/ 0 h 1725705"/>
              <a:gd name="connsiteX0" fmla="*/ 423547 w 1095658"/>
              <a:gd name="connsiteY0" fmla="*/ 0 h 1725705"/>
              <a:gd name="connsiteX1" fmla="*/ 565314 w 1095658"/>
              <a:gd name="connsiteY1" fmla="*/ 0 h 1725705"/>
              <a:gd name="connsiteX2" fmla="*/ 735435 w 1095658"/>
              <a:gd name="connsiteY2" fmla="*/ 170121 h 1725705"/>
              <a:gd name="connsiteX3" fmla="*/ 735435 w 1095658"/>
              <a:gd name="connsiteY3" fmla="*/ 269358 h 1725705"/>
              <a:gd name="connsiteX4" fmla="*/ 636198 w 1095658"/>
              <a:gd name="connsiteY4" fmla="*/ 347330 h 1725705"/>
              <a:gd name="connsiteX5" fmla="*/ 735435 w 1095658"/>
              <a:gd name="connsiteY5" fmla="*/ 453656 h 1725705"/>
              <a:gd name="connsiteX6" fmla="*/ 735435 w 1095658"/>
              <a:gd name="connsiteY6" fmla="*/ 531628 h 1725705"/>
              <a:gd name="connsiteX7" fmla="*/ 600756 w 1095658"/>
              <a:gd name="connsiteY7" fmla="*/ 645042 h 1725705"/>
              <a:gd name="connsiteX8" fmla="*/ 707082 w 1095658"/>
              <a:gd name="connsiteY8" fmla="*/ 744279 h 1725705"/>
              <a:gd name="connsiteX9" fmla="*/ 707082 w 1095658"/>
              <a:gd name="connsiteY9" fmla="*/ 843516 h 1725705"/>
              <a:gd name="connsiteX10" fmla="*/ 622021 w 1095658"/>
              <a:gd name="connsiteY10" fmla="*/ 914400 h 1725705"/>
              <a:gd name="connsiteX11" fmla="*/ 622021 w 1095658"/>
              <a:gd name="connsiteY11" fmla="*/ 1098698 h 1725705"/>
              <a:gd name="connsiteX12" fmla="*/ 742524 w 1095658"/>
              <a:gd name="connsiteY12" fmla="*/ 1219200 h 1725705"/>
              <a:gd name="connsiteX13" fmla="*/ 738781 w 1095658"/>
              <a:gd name="connsiteY13" fmla="*/ 1489744 h 1725705"/>
              <a:gd name="connsiteX14" fmla="*/ 1075766 w 1095658"/>
              <a:gd name="connsiteY14" fmla="*/ 1714010 h 1725705"/>
              <a:gd name="connsiteX15" fmla="*/ 0 w 1095658"/>
              <a:gd name="connsiteY15" fmla="*/ 1725705 h 1725705"/>
              <a:gd name="connsiteX16" fmla="*/ 288868 w 1095658"/>
              <a:gd name="connsiteY16" fmla="*/ 1495791 h 1725705"/>
              <a:gd name="connsiteX17" fmla="*/ 288868 w 1095658"/>
              <a:gd name="connsiteY17" fmla="*/ 134679 h 1725705"/>
              <a:gd name="connsiteX18" fmla="*/ 423547 w 1095658"/>
              <a:gd name="connsiteY18" fmla="*/ 0 h 1725705"/>
              <a:gd name="connsiteX0" fmla="*/ 423547 w 1095658"/>
              <a:gd name="connsiteY0" fmla="*/ 0 h 1725705"/>
              <a:gd name="connsiteX1" fmla="*/ 565314 w 1095658"/>
              <a:gd name="connsiteY1" fmla="*/ 0 h 1725705"/>
              <a:gd name="connsiteX2" fmla="*/ 735435 w 1095658"/>
              <a:gd name="connsiteY2" fmla="*/ 170121 h 1725705"/>
              <a:gd name="connsiteX3" fmla="*/ 735435 w 1095658"/>
              <a:gd name="connsiteY3" fmla="*/ 269358 h 1725705"/>
              <a:gd name="connsiteX4" fmla="*/ 636198 w 1095658"/>
              <a:gd name="connsiteY4" fmla="*/ 347330 h 1725705"/>
              <a:gd name="connsiteX5" fmla="*/ 735435 w 1095658"/>
              <a:gd name="connsiteY5" fmla="*/ 453656 h 1725705"/>
              <a:gd name="connsiteX6" fmla="*/ 735435 w 1095658"/>
              <a:gd name="connsiteY6" fmla="*/ 531628 h 1725705"/>
              <a:gd name="connsiteX7" fmla="*/ 600756 w 1095658"/>
              <a:gd name="connsiteY7" fmla="*/ 645042 h 1725705"/>
              <a:gd name="connsiteX8" fmla="*/ 707082 w 1095658"/>
              <a:gd name="connsiteY8" fmla="*/ 744279 h 1725705"/>
              <a:gd name="connsiteX9" fmla="*/ 707082 w 1095658"/>
              <a:gd name="connsiteY9" fmla="*/ 843516 h 1725705"/>
              <a:gd name="connsiteX10" fmla="*/ 622021 w 1095658"/>
              <a:gd name="connsiteY10" fmla="*/ 914400 h 1725705"/>
              <a:gd name="connsiteX11" fmla="*/ 622021 w 1095658"/>
              <a:gd name="connsiteY11" fmla="*/ 1098698 h 1725705"/>
              <a:gd name="connsiteX12" fmla="*/ 742524 w 1095658"/>
              <a:gd name="connsiteY12" fmla="*/ 1219200 h 1725705"/>
              <a:gd name="connsiteX13" fmla="*/ 738781 w 1095658"/>
              <a:gd name="connsiteY13" fmla="*/ 1489744 h 1725705"/>
              <a:gd name="connsiteX14" fmla="*/ 1075766 w 1095658"/>
              <a:gd name="connsiteY14" fmla="*/ 1714010 h 1725705"/>
              <a:gd name="connsiteX15" fmla="*/ 0 w 1095658"/>
              <a:gd name="connsiteY15" fmla="*/ 1725705 h 1725705"/>
              <a:gd name="connsiteX16" fmla="*/ 288868 w 1095658"/>
              <a:gd name="connsiteY16" fmla="*/ 1495791 h 1725705"/>
              <a:gd name="connsiteX17" fmla="*/ 288868 w 1095658"/>
              <a:gd name="connsiteY17" fmla="*/ 134679 h 1725705"/>
              <a:gd name="connsiteX18" fmla="*/ 423547 w 1095658"/>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38781 w 1075766"/>
              <a:gd name="connsiteY13" fmla="*/ 1489744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38781 w 1075766"/>
              <a:gd name="connsiteY13" fmla="*/ 1489744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38781 w 1075766"/>
              <a:gd name="connsiteY13" fmla="*/ 1489744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38781 w 1075766"/>
              <a:gd name="connsiteY13" fmla="*/ 1489744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42524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61233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58894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61232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58894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7082 w 1075766"/>
              <a:gd name="connsiteY9" fmla="*/ 843516 h 1725705"/>
              <a:gd name="connsiteX10" fmla="*/ 622021 w 1075766"/>
              <a:gd name="connsiteY10" fmla="*/ 914400 h 1725705"/>
              <a:gd name="connsiteX11" fmla="*/ 622021 w 1075766"/>
              <a:gd name="connsiteY11" fmla="*/ 1098698 h 1725705"/>
              <a:gd name="connsiteX12" fmla="*/ 754217 w 1075766"/>
              <a:gd name="connsiteY12" fmla="*/ 1219200 h 1725705"/>
              <a:gd name="connsiteX13" fmla="*/ 752812 w 1075766"/>
              <a:gd name="connsiteY13" fmla="*/ 1487405 h 1725705"/>
              <a:gd name="connsiteX14" fmla="*/ 1075766 w 1075766"/>
              <a:gd name="connsiteY14" fmla="*/ 1714010 h 1725705"/>
              <a:gd name="connsiteX15" fmla="*/ 0 w 1075766"/>
              <a:gd name="connsiteY15" fmla="*/ 1725705 h 1725705"/>
              <a:gd name="connsiteX16" fmla="*/ 288868 w 1075766"/>
              <a:gd name="connsiteY16" fmla="*/ 1495791 h 1725705"/>
              <a:gd name="connsiteX17" fmla="*/ 288868 w 1075766"/>
              <a:gd name="connsiteY17" fmla="*/ 134679 h 1725705"/>
              <a:gd name="connsiteX18" fmla="*/ 423547 w 1075766"/>
              <a:gd name="connsiteY18"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5911 w 1075766"/>
              <a:gd name="connsiteY9" fmla="*/ 788448 h 1725705"/>
              <a:gd name="connsiteX10" fmla="*/ 707082 w 1075766"/>
              <a:gd name="connsiteY10" fmla="*/ 843516 h 1725705"/>
              <a:gd name="connsiteX11" fmla="*/ 622021 w 1075766"/>
              <a:gd name="connsiteY11" fmla="*/ 914400 h 1725705"/>
              <a:gd name="connsiteX12" fmla="*/ 622021 w 1075766"/>
              <a:gd name="connsiteY12" fmla="*/ 1098698 h 1725705"/>
              <a:gd name="connsiteX13" fmla="*/ 754217 w 1075766"/>
              <a:gd name="connsiteY13" fmla="*/ 1219200 h 1725705"/>
              <a:gd name="connsiteX14" fmla="*/ 752812 w 1075766"/>
              <a:gd name="connsiteY14" fmla="*/ 1487405 h 1725705"/>
              <a:gd name="connsiteX15" fmla="*/ 1075766 w 1075766"/>
              <a:gd name="connsiteY15" fmla="*/ 1714010 h 1725705"/>
              <a:gd name="connsiteX16" fmla="*/ 0 w 1075766"/>
              <a:gd name="connsiteY16" fmla="*/ 1725705 h 1725705"/>
              <a:gd name="connsiteX17" fmla="*/ 288868 w 1075766"/>
              <a:gd name="connsiteY17" fmla="*/ 1495791 h 1725705"/>
              <a:gd name="connsiteX18" fmla="*/ 288868 w 1075766"/>
              <a:gd name="connsiteY18" fmla="*/ 134679 h 1725705"/>
              <a:gd name="connsiteX19" fmla="*/ 423547 w 1075766"/>
              <a:gd name="connsiteY19" fmla="*/ 0 h 1725705"/>
              <a:gd name="connsiteX0" fmla="*/ 423547 w 1075766"/>
              <a:gd name="connsiteY0" fmla="*/ 0 h 1725705"/>
              <a:gd name="connsiteX1" fmla="*/ 565314 w 1075766"/>
              <a:gd name="connsiteY1" fmla="*/ 0 h 1725705"/>
              <a:gd name="connsiteX2" fmla="*/ 735435 w 1075766"/>
              <a:gd name="connsiteY2" fmla="*/ 170121 h 1725705"/>
              <a:gd name="connsiteX3" fmla="*/ 735435 w 1075766"/>
              <a:gd name="connsiteY3" fmla="*/ 269358 h 1725705"/>
              <a:gd name="connsiteX4" fmla="*/ 636198 w 1075766"/>
              <a:gd name="connsiteY4" fmla="*/ 347330 h 1725705"/>
              <a:gd name="connsiteX5" fmla="*/ 735435 w 1075766"/>
              <a:gd name="connsiteY5" fmla="*/ 453656 h 1725705"/>
              <a:gd name="connsiteX6" fmla="*/ 735435 w 1075766"/>
              <a:gd name="connsiteY6" fmla="*/ 531628 h 1725705"/>
              <a:gd name="connsiteX7" fmla="*/ 600756 w 1075766"/>
              <a:gd name="connsiteY7" fmla="*/ 645042 h 1725705"/>
              <a:gd name="connsiteX8" fmla="*/ 707082 w 1075766"/>
              <a:gd name="connsiteY8" fmla="*/ 744279 h 1725705"/>
              <a:gd name="connsiteX9" fmla="*/ 705911 w 1075766"/>
              <a:gd name="connsiteY9" fmla="*/ 788448 h 1725705"/>
              <a:gd name="connsiteX10" fmla="*/ 707082 w 1075766"/>
              <a:gd name="connsiteY10" fmla="*/ 843516 h 1725705"/>
              <a:gd name="connsiteX11" fmla="*/ 622021 w 1075766"/>
              <a:gd name="connsiteY11" fmla="*/ 914400 h 1725705"/>
              <a:gd name="connsiteX12" fmla="*/ 622021 w 1075766"/>
              <a:gd name="connsiteY12" fmla="*/ 1098698 h 1725705"/>
              <a:gd name="connsiteX13" fmla="*/ 754217 w 1075766"/>
              <a:gd name="connsiteY13" fmla="*/ 1219200 h 1725705"/>
              <a:gd name="connsiteX14" fmla="*/ 752812 w 1075766"/>
              <a:gd name="connsiteY14" fmla="*/ 1487405 h 1725705"/>
              <a:gd name="connsiteX15" fmla="*/ 1075766 w 1075766"/>
              <a:gd name="connsiteY15" fmla="*/ 1714010 h 1725705"/>
              <a:gd name="connsiteX16" fmla="*/ 0 w 1075766"/>
              <a:gd name="connsiteY16" fmla="*/ 1725705 h 1725705"/>
              <a:gd name="connsiteX17" fmla="*/ 288868 w 1075766"/>
              <a:gd name="connsiteY17" fmla="*/ 1495791 h 1725705"/>
              <a:gd name="connsiteX18" fmla="*/ 286600 w 1075766"/>
              <a:gd name="connsiteY18" fmla="*/ 788448 h 1725705"/>
              <a:gd name="connsiteX19" fmla="*/ 288868 w 1075766"/>
              <a:gd name="connsiteY19" fmla="*/ 134679 h 1725705"/>
              <a:gd name="connsiteX20" fmla="*/ 423547 w 1075766"/>
              <a:gd name="connsiteY20" fmla="*/ 0 h 1725705"/>
              <a:gd name="connsiteX0" fmla="*/ 451661 w 1103880"/>
              <a:gd name="connsiteY0" fmla="*/ 0 h 1725705"/>
              <a:gd name="connsiteX1" fmla="*/ 593428 w 1103880"/>
              <a:gd name="connsiteY1" fmla="*/ 0 h 1725705"/>
              <a:gd name="connsiteX2" fmla="*/ 763549 w 1103880"/>
              <a:gd name="connsiteY2" fmla="*/ 170121 h 1725705"/>
              <a:gd name="connsiteX3" fmla="*/ 763549 w 1103880"/>
              <a:gd name="connsiteY3" fmla="*/ 269358 h 1725705"/>
              <a:gd name="connsiteX4" fmla="*/ 664312 w 1103880"/>
              <a:gd name="connsiteY4" fmla="*/ 347330 h 1725705"/>
              <a:gd name="connsiteX5" fmla="*/ 763549 w 1103880"/>
              <a:gd name="connsiteY5" fmla="*/ 453656 h 1725705"/>
              <a:gd name="connsiteX6" fmla="*/ 763549 w 1103880"/>
              <a:gd name="connsiteY6" fmla="*/ 531628 h 1725705"/>
              <a:gd name="connsiteX7" fmla="*/ 628870 w 1103880"/>
              <a:gd name="connsiteY7" fmla="*/ 645042 h 1725705"/>
              <a:gd name="connsiteX8" fmla="*/ 735196 w 1103880"/>
              <a:gd name="connsiteY8" fmla="*/ 744279 h 1725705"/>
              <a:gd name="connsiteX9" fmla="*/ 734025 w 1103880"/>
              <a:gd name="connsiteY9" fmla="*/ 788448 h 1725705"/>
              <a:gd name="connsiteX10" fmla="*/ 735196 w 1103880"/>
              <a:gd name="connsiteY10" fmla="*/ 843516 h 1725705"/>
              <a:gd name="connsiteX11" fmla="*/ 650135 w 1103880"/>
              <a:gd name="connsiteY11" fmla="*/ 914400 h 1725705"/>
              <a:gd name="connsiteX12" fmla="*/ 650135 w 1103880"/>
              <a:gd name="connsiteY12" fmla="*/ 1098698 h 1725705"/>
              <a:gd name="connsiteX13" fmla="*/ 782331 w 1103880"/>
              <a:gd name="connsiteY13" fmla="*/ 1219200 h 1725705"/>
              <a:gd name="connsiteX14" fmla="*/ 780926 w 1103880"/>
              <a:gd name="connsiteY14" fmla="*/ 1487405 h 1725705"/>
              <a:gd name="connsiteX15" fmla="*/ 1103880 w 1103880"/>
              <a:gd name="connsiteY15" fmla="*/ 1714010 h 1725705"/>
              <a:gd name="connsiteX16" fmla="*/ 28114 w 1103880"/>
              <a:gd name="connsiteY16" fmla="*/ 1725705 h 1725705"/>
              <a:gd name="connsiteX17" fmla="*/ 314714 w 1103880"/>
              <a:gd name="connsiteY17" fmla="*/ 788448 h 1725705"/>
              <a:gd name="connsiteX18" fmla="*/ 316982 w 1103880"/>
              <a:gd name="connsiteY18" fmla="*/ 134679 h 1725705"/>
              <a:gd name="connsiteX19" fmla="*/ 451661 w 1103880"/>
              <a:gd name="connsiteY19" fmla="*/ 0 h 1725705"/>
              <a:gd name="connsiteX0" fmla="*/ 451661 w 1103880"/>
              <a:gd name="connsiteY0" fmla="*/ 0 h 1725705"/>
              <a:gd name="connsiteX1" fmla="*/ 593428 w 1103880"/>
              <a:gd name="connsiteY1" fmla="*/ 0 h 1725705"/>
              <a:gd name="connsiteX2" fmla="*/ 763549 w 1103880"/>
              <a:gd name="connsiteY2" fmla="*/ 170121 h 1725705"/>
              <a:gd name="connsiteX3" fmla="*/ 763549 w 1103880"/>
              <a:gd name="connsiteY3" fmla="*/ 269358 h 1725705"/>
              <a:gd name="connsiteX4" fmla="*/ 664312 w 1103880"/>
              <a:gd name="connsiteY4" fmla="*/ 347330 h 1725705"/>
              <a:gd name="connsiteX5" fmla="*/ 763549 w 1103880"/>
              <a:gd name="connsiteY5" fmla="*/ 453656 h 1725705"/>
              <a:gd name="connsiteX6" fmla="*/ 763549 w 1103880"/>
              <a:gd name="connsiteY6" fmla="*/ 531628 h 1725705"/>
              <a:gd name="connsiteX7" fmla="*/ 628870 w 1103880"/>
              <a:gd name="connsiteY7" fmla="*/ 645042 h 1725705"/>
              <a:gd name="connsiteX8" fmla="*/ 735196 w 1103880"/>
              <a:gd name="connsiteY8" fmla="*/ 744279 h 1725705"/>
              <a:gd name="connsiteX9" fmla="*/ 734025 w 1103880"/>
              <a:gd name="connsiteY9" fmla="*/ 788448 h 1725705"/>
              <a:gd name="connsiteX10" fmla="*/ 650135 w 1103880"/>
              <a:gd name="connsiteY10" fmla="*/ 914400 h 1725705"/>
              <a:gd name="connsiteX11" fmla="*/ 650135 w 1103880"/>
              <a:gd name="connsiteY11" fmla="*/ 1098698 h 1725705"/>
              <a:gd name="connsiteX12" fmla="*/ 782331 w 1103880"/>
              <a:gd name="connsiteY12" fmla="*/ 1219200 h 1725705"/>
              <a:gd name="connsiteX13" fmla="*/ 780926 w 1103880"/>
              <a:gd name="connsiteY13" fmla="*/ 1487405 h 1725705"/>
              <a:gd name="connsiteX14" fmla="*/ 1103880 w 1103880"/>
              <a:gd name="connsiteY14" fmla="*/ 1714010 h 1725705"/>
              <a:gd name="connsiteX15" fmla="*/ 28114 w 1103880"/>
              <a:gd name="connsiteY15" fmla="*/ 1725705 h 1725705"/>
              <a:gd name="connsiteX16" fmla="*/ 314714 w 1103880"/>
              <a:gd name="connsiteY16" fmla="*/ 788448 h 1725705"/>
              <a:gd name="connsiteX17" fmla="*/ 316982 w 1103880"/>
              <a:gd name="connsiteY17" fmla="*/ 134679 h 1725705"/>
              <a:gd name="connsiteX18" fmla="*/ 451661 w 1103880"/>
              <a:gd name="connsiteY18" fmla="*/ 0 h 1725705"/>
              <a:gd name="connsiteX0" fmla="*/ 451661 w 1103880"/>
              <a:gd name="connsiteY0" fmla="*/ 0 h 1725705"/>
              <a:gd name="connsiteX1" fmla="*/ 593428 w 1103880"/>
              <a:gd name="connsiteY1" fmla="*/ 0 h 1725705"/>
              <a:gd name="connsiteX2" fmla="*/ 763549 w 1103880"/>
              <a:gd name="connsiteY2" fmla="*/ 170121 h 1725705"/>
              <a:gd name="connsiteX3" fmla="*/ 763549 w 1103880"/>
              <a:gd name="connsiteY3" fmla="*/ 269358 h 1725705"/>
              <a:gd name="connsiteX4" fmla="*/ 664312 w 1103880"/>
              <a:gd name="connsiteY4" fmla="*/ 347330 h 1725705"/>
              <a:gd name="connsiteX5" fmla="*/ 763549 w 1103880"/>
              <a:gd name="connsiteY5" fmla="*/ 453656 h 1725705"/>
              <a:gd name="connsiteX6" fmla="*/ 763549 w 1103880"/>
              <a:gd name="connsiteY6" fmla="*/ 531628 h 1725705"/>
              <a:gd name="connsiteX7" fmla="*/ 628870 w 1103880"/>
              <a:gd name="connsiteY7" fmla="*/ 645042 h 1725705"/>
              <a:gd name="connsiteX8" fmla="*/ 735196 w 1103880"/>
              <a:gd name="connsiteY8" fmla="*/ 744279 h 1725705"/>
              <a:gd name="connsiteX9" fmla="*/ 734025 w 1103880"/>
              <a:gd name="connsiteY9" fmla="*/ 788448 h 1725705"/>
              <a:gd name="connsiteX10" fmla="*/ 650135 w 1103880"/>
              <a:gd name="connsiteY10" fmla="*/ 1098698 h 1725705"/>
              <a:gd name="connsiteX11" fmla="*/ 782331 w 1103880"/>
              <a:gd name="connsiteY11" fmla="*/ 1219200 h 1725705"/>
              <a:gd name="connsiteX12" fmla="*/ 780926 w 1103880"/>
              <a:gd name="connsiteY12" fmla="*/ 1487405 h 1725705"/>
              <a:gd name="connsiteX13" fmla="*/ 1103880 w 1103880"/>
              <a:gd name="connsiteY13" fmla="*/ 1714010 h 1725705"/>
              <a:gd name="connsiteX14" fmla="*/ 28114 w 1103880"/>
              <a:gd name="connsiteY14" fmla="*/ 1725705 h 1725705"/>
              <a:gd name="connsiteX15" fmla="*/ 314714 w 1103880"/>
              <a:gd name="connsiteY15" fmla="*/ 788448 h 1725705"/>
              <a:gd name="connsiteX16" fmla="*/ 316982 w 1103880"/>
              <a:gd name="connsiteY16" fmla="*/ 134679 h 1725705"/>
              <a:gd name="connsiteX17" fmla="*/ 451661 w 1103880"/>
              <a:gd name="connsiteY17" fmla="*/ 0 h 1725705"/>
              <a:gd name="connsiteX0" fmla="*/ 451661 w 1103880"/>
              <a:gd name="connsiteY0" fmla="*/ 0 h 1725705"/>
              <a:gd name="connsiteX1" fmla="*/ 593428 w 1103880"/>
              <a:gd name="connsiteY1" fmla="*/ 0 h 1725705"/>
              <a:gd name="connsiteX2" fmla="*/ 763549 w 1103880"/>
              <a:gd name="connsiteY2" fmla="*/ 170121 h 1725705"/>
              <a:gd name="connsiteX3" fmla="*/ 763549 w 1103880"/>
              <a:gd name="connsiteY3" fmla="*/ 269358 h 1725705"/>
              <a:gd name="connsiteX4" fmla="*/ 664312 w 1103880"/>
              <a:gd name="connsiteY4" fmla="*/ 347330 h 1725705"/>
              <a:gd name="connsiteX5" fmla="*/ 763549 w 1103880"/>
              <a:gd name="connsiteY5" fmla="*/ 453656 h 1725705"/>
              <a:gd name="connsiteX6" fmla="*/ 763549 w 1103880"/>
              <a:gd name="connsiteY6" fmla="*/ 531628 h 1725705"/>
              <a:gd name="connsiteX7" fmla="*/ 628870 w 1103880"/>
              <a:gd name="connsiteY7" fmla="*/ 645042 h 1725705"/>
              <a:gd name="connsiteX8" fmla="*/ 735196 w 1103880"/>
              <a:gd name="connsiteY8" fmla="*/ 744279 h 1725705"/>
              <a:gd name="connsiteX9" fmla="*/ 734025 w 1103880"/>
              <a:gd name="connsiteY9" fmla="*/ 788448 h 1725705"/>
              <a:gd name="connsiteX10" fmla="*/ 782331 w 1103880"/>
              <a:gd name="connsiteY10" fmla="*/ 1219200 h 1725705"/>
              <a:gd name="connsiteX11" fmla="*/ 780926 w 1103880"/>
              <a:gd name="connsiteY11" fmla="*/ 1487405 h 1725705"/>
              <a:gd name="connsiteX12" fmla="*/ 1103880 w 1103880"/>
              <a:gd name="connsiteY12" fmla="*/ 1714010 h 1725705"/>
              <a:gd name="connsiteX13" fmla="*/ 28114 w 1103880"/>
              <a:gd name="connsiteY13" fmla="*/ 1725705 h 1725705"/>
              <a:gd name="connsiteX14" fmla="*/ 314714 w 1103880"/>
              <a:gd name="connsiteY14" fmla="*/ 788448 h 1725705"/>
              <a:gd name="connsiteX15" fmla="*/ 316982 w 1103880"/>
              <a:gd name="connsiteY15" fmla="*/ 134679 h 1725705"/>
              <a:gd name="connsiteX16" fmla="*/ 451661 w 1103880"/>
              <a:gd name="connsiteY16" fmla="*/ 0 h 1725705"/>
              <a:gd name="connsiteX0" fmla="*/ 451661 w 1103880"/>
              <a:gd name="connsiteY0" fmla="*/ 0 h 1725705"/>
              <a:gd name="connsiteX1" fmla="*/ 593428 w 1103880"/>
              <a:gd name="connsiteY1" fmla="*/ 0 h 1725705"/>
              <a:gd name="connsiteX2" fmla="*/ 763549 w 1103880"/>
              <a:gd name="connsiteY2" fmla="*/ 170121 h 1725705"/>
              <a:gd name="connsiteX3" fmla="*/ 763549 w 1103880"/>
              <a:gd name="connsiteY3" fmla="*/ 269358 h 1725705"/>
              <a:gd name="connsiteX4" fmla="*/ 664312 w 1103880"/>
              <a:gd name="connsiteY4" fmla="*/ 347330 h 1725705"/>
              <a:gd name="connsiteX5" fmla="*/ 763549 w 1103880"/>
              <a:gd name="connsiteY5" fmla="*/ 453656 h 1725705"/>
              <a:gd name="connsiteX6" fmla="*/ 763549 w 1103880"/>
              <a:gd name="connsiteY6" fmla="*/ 531628 h 1725705"/>
              <a:gd name="connsiteX7" fmla="*/ 628870 w 1103880"/>
              <a:gd name="connsiteY7" fmla="*/ 645042 h 1725705"/>
              <a:gd name="connsiteX8" fmla="*/ 735196 w 1103880"/>
              <a:gd name="connsiteY8" fmla="*/ 744279 h 1725705"/>
              <a:gd name="connsiteX9" fmla="*/ 734025 w 1103880"/>
              <a:gd name="connsiteY9" fmla="*/ 788448 h 1725705"/>
              <a:gd name="connsiteX10" fmla="*/ 780926 w 1103880"/>
              <a:gd name="connsiteY10" fmla="*/ 1487405 h 1725705"/>
              <a:gd name="connsiteX11" fmla="*/ 1103880 w 1103880"/>
              <a:gd name="connsiteY11" fmla="*/ 1714010 h 1725705"/>
              <a:gd name="connsiteX12" fmla="*/ 28114 w 1103880"/>
              <a:gd name="connsiteY12" fmla="*/ 1725705 h 1725705"/>
              <a:gd name="connsiteX13" fmla="*/ 314714 w 1103880"/>
              <a:gd name="connsiteY13" fmla="*/ 788448 h 1725705"/>
              <a:gd name="connsiteX14" fmla="*/ 316982 w 1103880"/>
              <a:gd name="connsiteY14" fmla="*/ 134679 h 1725705"/>
              <a:gd name="connsiteX15" fmla="*/ 451661 w 1103880"/>
              <a:gd name="connsiteY15" fmla="*/ 0 h 1725705"/>
              <a:gd name="connsiteX0" fmla="*/ 451661 w 1124316"/>
              <a:gd name="connsiteY0" fmla="*/ 0 h 1725705"/>
              <a:gd name="connsiteX1" fmla="*/ 593428 w 1124316"/>
              <a:gd name="connsiteY1" fmla="*/ 0 h 1725705"/>
              <a:gd name="connsiteX2" fmla="*/ 763549 w 1124316"/>
              <a:gd name="connsiteY2" fmla="*/ 170121 h 1725705"/>
              <a:gd name="connsiteX3" fmla="*/ 763549 w 1124316"/>
              <a:gd name="connsiteY3" fmla="*/ 269358 h 1725705"/>
              <a:gd name="connsiteX4" fmla="*/ 664312 w 1124316"/>
              <a:gd name="connsiteY4" fmla="*/ 347330 h 1725705"/>
              <a:gd name="connsiteX5" fmla="*/ 763549 w 1124316"/>
              <a:gd name="connsiteY5" fmla="*/ 453656 h 1725705"/>
              <a:gd name="connsiteX6" fmla="*/ 763549 w 1124316"/>
              <a:gd name="connsiteY6" fmla="*/ 531628 h 1725705"/>
              <a:gd name="connsiteX7" fmla="*/ 628870 w 1124316"/>
              <a:gd name="connsiteY7" fmla="*/ 645042 h 1725705"/>
              <a:gd name="connsiteX8" fmla="*/ 735196 w 1124316"/>
              <a:gd name="connsiteY8" fmla="*/ 744279 h 1725705"/>
              <a:gd name="connsiteX9" fmla="*/ 734025 w 1124316"/>
              <a:gd name="connsiteY9" fmla="*/ 788448 h 1725705"/>
              <a:gd name="connsiteX10" fmla="*/ 1103880 w 1124316"/>
              <a:gd name="connsiteY10" fmla="*/ 1714010 h 1725705"/>
              <a:gd name="connsiteX11" fmla="*/ 28114 w 1124316"/>
              <a:gd name="connsiteY11" fmla="*/ 1725705 h 1725705"/>
              <a:gd name="connsiteX12" fmla="*/ 314714 w 1124316"/>
              <a:gd name="connsiteY12" fmla="*/ 788448 h 1725705"/>
              <a:gd name="connsiteX13" fmla="*/ 316982 w 1124316"/>
              <a:gd name="connsiteY13" fmla="*/ 134679 h 1725705"/>
              <a:gd name="connsiteX14" fmla="*/ 451661 w 1124316"/>
              <a:gd name="connsiteY14" fmla="*/ 0 h 1725705"/>
              <a:gd name="connsiteX0" fmla="*/ 451661 w 763549"/>
              <a:gd name="connsiteY0" fmla="*/ 0 h 1725705"/>
              <a:gd name="connsiteX1" fmla="*/ 593428 w 763549"/>
              <a:gd name="connsiteY1" fmla="*/ 0 h 1725705"/>
              <a:gd name="connsiteX2" fmla="*/ 763549 w 763549"/>
              <a:gd name="connsiteY2" fmla="*/ 170121 h 1725705"/>
              <a:gd name="connsiteX3" fmla="*/ 763549 w 763549"/>
              <a:gd name="connsiteY3" fmla="*/ 269358 h 1725705"/>
              <a:gd name="connsiteX4" fmla="*/ 664312 w 763549"/>
              <a:gd name="connsiteY4" fmla="*/ 347330 h 1725705"/>
              <a:gd name="connsiteX5" fmla="*/ 763549 w 763549"/>
              <a:gd name="connsiteY5" fmla="*/ 453656 h 1725705"/>
              <a:gd name="connsiteX6" fmla="*/ 763549 w 763549"/>
              <a:gd name="connsiteY6" fmla="*/ 531628 h 1725705"/>
              <a:gd name="connsiteX7" fmla="*/ 628870 w 763549"/>
              <a:gd name="connsiteY7" fmla="*/ 645042 h 1725705"/>
              <a:gd name="connsiteX8" fmla="*/ 735196 w 763549"/>
              <a:gd name="connsiteY8" fmla="*/ 744279 h 1725705"/>
              <a:gd name="connsiteX9" fmla="*/ 734025 w 763549"/>
              <a:gd name="connsiteY9" fmla="*/ 788448 h 1725705"/>
              <a:gd name="connsiteX10" fmla="*/ 28114 w 763549"/>
              <a:gd name="connsiteY10" fmla="*/ 1725705 h 1725705"/>
              <a:gd name="connsiteX11" fmla="*/ 314714 w 763549"/>
              <a:gd name="connsiteY11" fmla="*/ 788448 h 1725705"/>
              <a:gd name="connsiteX12" fmla="*/ 316982 w 763549"/>
              <a:gd name="connsiteY12" fmla="*/ 134679 h 1725705"/>
              <a:gd name="connsiteX13" fmla="*/ 451661 w 763549"/>
              <a:gd name="connsiteY13" fmla="*/ 0 h 1725705"/>
              <a:gd name="connsiteX0" fmla="*/ 136947 w 448835"/>
              <a:gd name="connsiteY0" fmla="*/ 0 h 838553"/>
              <a:gd name="connsiteX1" fmla="*/ 278714 w 448835"/>
              <a:gd name="connsiteY1" fmla="*/ 0 h 838553"/>
              <a:gd name="connsiteX2" fmla="*/ 448835 w 448835"/>
              <a:gd name="connsiteY2" fmla="*/ 170121 h 838553"/>
              <a:gd name="connsiteX3" fmla="*/ 448835 w 448835"/>
              <a:gd name="connsiteY3" fmla="*/ 269358 h 838553"/>
              <a:gd name="connsiteX4" fmla="*/ 349598 w 448835"/>
              <a:gd name="connsiteY4" fmla="*/ 347330 h 838553"/>
              <a:gd name="connsiteX5" fmla="*/ 448835 w 448835"/>
              <a:gd name="connsiteY5" fmla="*/ 453656 h 838553"/>
              <a:gd name="connsiteX6" fmla="*/ 448835 w 448835"/>
              <a:gd name="connsiteY6" fmla="*/ 531628 h 838553"/>
              <a:gd name="connsiteX7" fmla="*/ 314156 w 448835"/>
              <a:gd name="connsiteY7" fmla="*/ 645042 h 838553"/>
              <a:gd name="connsiteX8" fmla="*/ 420482 w 448835"/>
              <a:gd name="connsiteY8" fmla="*/ 744279 h 838553"/>
              <a:gd name="connsiteX9" fmla="*/ 419311 w 448835"/>
              <a:gd name="connsiteY9" fmla="*/ 788448 h 838553"/>
              <a:gd name="connsiteX10" fmla="*/ 0 w 448835"/>
              <a:gd name="connsiteY10" fmla="*/ 788448 h 838553"/>
              <a:gd name="connsiteX11" fmla="*/ 2268 w 448835"/>
              <a:gd name="connsiteY11" fmla="*/ 134679 h 838553"/>
              <a:gd name="connsiteX12" fmla="*/ 136947 w 448835"/>
              <a:gd name="connsiteY12" fmla="*/ 0 h 838553"/>
              <a:gd name="connsiteX0" fmla="*/ 136947 w 448835"/>
              <a:gd name="connsiteY0" fmla="*/ 0 h 838553"/>
              <a:gd name="connsiteX1" fmla="*/ 278714 w 448835"/>
              <a:gd name="connsiteY1" fmla="*/ 0 h 838553"/>
              <a:gd name="connsiteX2" fmla="*/ 448835 w 448835"/>
              <a:gd name="connsiteY2" fmla="*/ 170121 h 838553"/>
              <a:gd name="connsiteX3" fmla="*/ 448835 w 448835"/>
              <a:gd name="connsiteY3" fmla="*/ 269358 h 838553"/>
              <a:gd name="connsiteX4" fmla="*/ 349598 w 448835"/>
              <a:gd name="connsiteY4" fmla="*/ 347330 h 838553"/>
              <a:gd name="connsiteX5" fmla="*/ 448835 w 448835"/>
              <a:gd name="connsiteY5" fmla="*/ 453656 h 838553"/>
              <a:gd name="connsiteX6" fmla="*/ 448835 w 448835"/>
              <a:gd name="connsiteY6" fmla="*/ 531628 h 838553"/>
              <a:gd name="connsiteX7" fmla="*/ 314156 w 448835"/>
              <a:gd name="connsiteY7" fmla="*/ 645042 h 838553"/>
              <a:gd name="connsiteX8" fmla="*/ 420482 w 448835"/>
              <a:gd name="connsiteY8" fmla="*/ 744279 h 838553"/>
              <a:gd name="connsiteX9" fmla="*/ 419311 w 448835"/>
              <a:gd name="connsiteY9" fmla="*/ 788448 h 838553"/>
              <a:gd name="connsiteX10" fmla="*/ 0 w 448835"/>
              <a:gd name="connsiteY10" fmla="*/ 788448 h 838553"/>
              <a:gd name="connsiteX11" fmla="*/ 2268 w 448835"/>
              <a:gd name="connsiteY11" fmla="*/ 134679 h 838553"/>
              <a:gd name="connsiteX12" fmla="*/ 136947 w 448835"/>
              <a:gd name="connsiteY12" fmla="*/ 0 h 838553"/>
              <a:gd name="connsiteX0" fmla="*/ 136947 w 448835"/>
              <a:gd name="connsiteY0" fmla="*/ 0 h 793260"/>
              <a:gd name="connsiteX1" fmla="*/ 278714 w 448835"/>
              <a:gd name="connsiteY1" fmla="*/ 0 h 793260"/>
              <a:gd name="connsiteX2" fmla="*/ 448835 w 448835"/>
              <a:gd name="connsiteY2" fmla="*/ 170121 h 793260"/>
              <a:gd name="connsiteX3" fmla="*/ 448835 w 448835"/>
              <a:gd name="connsiteY3" fmla="*/ 269358 h 793260"/>
              <a:gd name="connsiteX4" fmla="*/ 349598 w 448835"/>
              <a:gd name="connsiteY4" fmla="*/ 347330 h 793260"/>
              <a:gd name="connsiteX5" fmla="*/ 448835 w 448835"/>
              <a:gd name="connsiteY5" fmla="*/ 453656 h 793260"/>
              <a:gd name="connsiteX6" fmla="*/ 448835 w 448835"/>
              <a:gd name="connsiteY6" fmla="*/ 531628 h 793260"/>
              <a:gd name="connsiteX7" fmla="*/ 314156 w 448835"/>
              <a:gd name="connsiteY7" fmla="*/ 645042 h 793260"/>
              <a:gd name="connsiteX8" fmla="*/ 420482 w 448835"/>
              <a:gd name="connsiteY8" fmla="*/ 744279 h 793260"/>
              <a:gd name="connsiteX9" fmla="*/ 419311 w 448835"/>
              <a:gd name="connsiteY9" fmla="*/ 788448 h 793260"/>
              <a:gd name="connsiteX10" fmla="*/ 0 w 448835"/>
              <a:gd name="connsiteY10" fmla="*/ 788448 h 793260"/>
              <a:gd name="connsiteX11" fmla="*/ 2268 w 448835"/>
              <a:gd name="connsiteY11" fmla="*/ 134679 h 793260"/>
              <a:gd name="connsiteX12" fmla="*/ 136947 w 448835"/>
              <a:gd name="connsiteY12" fmla="*/ 0 h 793260"/>
              <a:gd name="connsiteX0" fmla="*/ 136947 w 448835"/>
              <a:gd name="connsiteY0" fmla="*/ 0 h 791445"/>
              <a:gd name="connsiteX1" fmla="*/ 278714 w 448835"/>
              <a:gd name="connsiteY1" fmla="*/ 0 h 791445"/>
              <a:gd name="connsiteX2" fmla="*/ 448835 w 448835"/>
              <a:gd name="connsiteY2" fmla="*/ 170121 h 791445"/>
              <a:gd name="connsiteX3" fmla="*/ 448835 w 448835"/>
              <a:gd name="connsiteY3" fmla="*/ 269358 h 791445"/>
              <a:gd name="connsiteX4" fmla="*/ 349598 w 448835"/>
              <a:gd name="connsiteY4" fmla="*/ 347330 h 791445"/>
              <a:gd name="connsiteX5" fmla="*/ 448835 w 448835"/>
              <a:gd name="connsiteY5" fmla="*/ 453656 h 791445"/>
              <a:gd name="connsiteX6" fmla="*/ 448835 w 448835"/>
              <a:gd name="connsiteY6" fmla="*/ 531628 h 791445"/>
              <a:gd name="connsiteX7" fmla="*/ 314156 w 448835"/>
              <a:gd name="connsiteY7" fmla="*/ 645042 h 791445"/>
              <a:gd name="connsiteX8" fmla="*/ 420482 w 448835"/>
              <a:gd name="connsiteY8" fmla="*/ 744279 h 791445"/>
              <a:gd name="connsiteX9" fmla="*/ 419311 w 448835"/>
              <a:gd name="connsiteY9" fmla="*/ 788448 h 791445"/>
              <a:gd name="connsiteX10" fmla="*/ 0 w 448835"/>
              <a:gd name="connsiteY10" fmla="*/ 788448 h 791445"/>
              <a:gd name="connsiteX11" fmla="*/ 2268 w 448835"/>
              <a:gd name="connsiteY11" fmla="*/ 134679 h 791445"/>
              <a:gd name="connsiteX12" fmla="*/ 136947 w 448835"/>
              <a:gd name="connsiteY12" fmla="*/ 0 h 791445"/>
              <a:gd name="connsiteX0" fmla="*/ 136947 w 448835"/>
              <a:gd name="connsiteY0" fmla="*/ 0 h 790798"/>
              <a:gd name="connsiteX1" fmla="*/ 278714 w 448835"/>
              <a:gd name="connsiteY1" fmla="*/ 0 h 790798"/>
              <a:gd name="connsiteX2" fmla="*/ 448835 w 448835"/>
              <a:gd name="connsiteY2" fmla="*/ 170121 h 790798"/>
              <a:gd name="connsiteX3" fmla="*/ 448835 w 448835"/>
              <a:gd name="connsiteY3" fmla="*/ 269358 h 790798"/>
              <a:gd name="connsiteX4" fmla="*/ 349598 w 448835"/>
              <a:gd name="connsiteY4" fmla="*/ 347330 h 790798"/>
              <a:gd name="connsiteX5" fmla="*/ 448835 w 448835"/>
              <a:gd name="connsiteY5" fmla="*/ 453656 h 790798"/>
              <a:gd name="connsiteX6" fmla="*/ 448835 w 448835"/>
              <a:gd name="connsiteY6" fmla="*/ 531628 h 790798"/>
              <a:gd name="connsiteX7" fmla="*/ 314156 w 448835"/>
              <a:gd name="connsiteY7" fmla="*/ 645042 h 790798"/>
              <a:gd name="connsiteX8" fmla="*/ 420482 w 448835"/>
              <a:gd name="connsiteY8" fmla="*/ 744279 h 790798"/>
              <a:gd name="connsiteX9" fmla="*/ 419311 w 448835"/>
              <a:gd name="connsiteY9" fmla="*/ 788448 h 790798"/>
              <a:gd name="connsiteX10" fmla="*/ 0 w 448835"/>
              <a:gd name="connsiteY10" fmla="*/ 788448 h 790798"/>
              <a:gd name="connsiteX11" fmla="*/ 2268 w 448835"/>
              <a:gd name="connsiteY11" fmla="*/ 134679 h 790798"/>
              <a:gd name="connsiteX12" fmla="*/ 136947 w 448835"/>
              <a:gd name="connsiteY12" fmla="*/ 0 h 79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8835" h="790798">
                <a:moveTo>
                  <a:pt x="136947" y="0"/>
                </a:moveTo>
                <a:lnTo>
                  <a:pt x="278714" y="0"/>
                </a:lnTo>
                <a:lnTo>
                  <a:pt x="448835" y="170121"/>
                </a:lnTo>
                <a:lnTo>
                  <a:pt x="448835" y="269358"/>
                </a:lnTo>
                <a:lnTo>
                  <a:pt x="349598" y="347330"/>
                </a:lnTo>
                <a:lnTo>
                  <a:pt x="448835" y="453656"/>
                </a:lnTo>
                <a:lnTo>
                  <a:pt x="448835" y="531628"/>
                </a:lnTo>
                <a:lnTo>
                  <a:pt x="314156" y="645042"/>
                </a:lnTo>
                <a:lnTo>
                  <a:pt x="420482" y="744279"/>
                </a:lnTo>
                <a:cubicBezTo>
                  <a:pt x="420092" y="759002"/>
                  <a:pt x="419701" y="773725"/>
                  <a:pt x="419311" y="788448"/>
                </a:cubicBezTo>
                <a:cubicBezTo>
                  <a:pt x="243141" y="788232"/>
                  <a:pt x="415565" y="793844"/>
                  <a:pt x="0" y="788448"/>
                </a:cubicBezTo>
                <a:lnTo>
                  <a:pt x="2268" y="134679"/>
                </a:lnTo>
                <a:lnTo>
                  <a:pt x="136947" y="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Chord 44"/>
          <p:cNvSpPr/>
          <p:nvPr/>
        </p:nvSpPr>
        <p:spPr>
          <a:xfrm>
            <a:off x="268434" y="3085714"/>
            <a:ext cx="1327262" cy="1327262"/>
          </a:xfrm>
          <a:prstGeom prst="chord">
            <a:avLst>
              <a:gd name="adj1" fmla="val 19510955"/>
              <a:gd name="adj2" fmla="val 12891643"/>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Oval 8"/>
          <p:cNvSpPr/>
          <p:nvPr/>
        </p:nvSpPr>
        <p:spPr>
          <a:xfrm>
            <a:off x="755600" y="3883736"/>
            <a:ext cx="336304" cy="33630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55" name="Straight Connector 54"/>
          <p:cNvCxnSpPr>
            <a:stCxn id="17" idx="1"/>
          </p:cNvCxnSpPr>
          <p:nvPr/>
        </p:nvCxnSpPr>
        <p:spPr>
          <a:xfrm flipH="1">
            <a:off x="925490" y="2084037"/>
            <a:ext cx="795786" cy="1"/>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18" idx="1"/>
          </p:cNvCxnSpPr>
          <p:nvPr/>
        </p:nvCxnSpPr>
        <p:spPr>
          <a:xfrm flipH="1">
            <a:off x="925489" y="2899951"/>
            <a:ext cx="795787" cy="1"/>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19" idx="1"/>
          </p:cNvCxnSpPr>
          <p:nvPr/>
        </p:nvCxnSpPr>
        <p:spPr>
          <a:xfrm flipH="1">
            <a:off x="925489" y="3699239"/>
            <a:ext cx="795787" cy="2"/>
          </a:xfrm>
          <a:prstGeom prst="line">
            <a:avLst/>
          </a:prstGeom>
          <a:ln>
            <a:solidFill>
              <a:schemeClr val="bg2"/>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4656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23089" r="29414" b="19169"/>
          <a:stretch/>
        </p:blipFill>
        <p:spPr>
          <a:xfrm>
            <a:off x="4579884" y="0"/>
            <a:ext cx="4564118" cy="5159344"/>
          </a:xfrm>
          <a:prstGeom prst="rect">
            <a:avLst/>
          </a:prstGeom>
        </p:spPr>
      </p:pic>
      <p:sp>
        <p:nvSpPr>
          <p:cNvPr id="39" name="Rectangle 38"/>
          <p:cNvSpPr/>
          <p:nvPr/>
        </p:nvSpPr>
        <p:spPr>
          <a:xfrm>
            <a:off x="4579884" y="0"/>
            <a:ext cx="4564117" cy="5143500"/>
          </a:xfrm>
          <a:prstGeom prst="rect">
            <a:avLst/>
          </a:prstGeom>
          <a:gradFill flip="none" rotWithShape="1">
            <a:gsLst>
              <a:gs pos="0">
                <a:schemeClr val="bg2">
                  <a:alpha val="88000"/>
                </a:schemeClr>
              </a:gs>
              <a:gs pos="100000">
                <a:schemeClr val="bg2">
                  <a:shade val="100000"/>
                  <a:satMod val="115000"/>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37767" y="312137"/>
            <a:ext cx="3808797" cy="655320"/>
          </a:xfrm>
        </p:spPr>
        <p:txBody>
          <a:bodyPr/>
          <a:lstStyle/>
          <a:p>
            <a:r>
              <a:rPr lang="en-US" dirty="0"/>
              <a:t>5G Innovation</a:t>
            </a:r>
            <a:br>
              <a:rPr lang="en-US" dirty="0"/>
            </a:br>
            <a:r>
              <a:rPr lang="en-US" sz="1800" dirty="0">
                <a:solidFill>
                  <a:schemeClr val="bg2"/>
                </a:solidFill>
              </a:rPr>
              <a:t>Scalable and Trusted Solutions</a:t>
            </a:r>
            <a:endParaRPr lang="en-US" dirty="0">
              <a:solidFill>
                <a:schemeClr val="bg2"/>
              </a:solidFill>
            </a:endParaRPr>
          </a:p>
        </p:txBody>
      </p:sp>
      <p:sp>
        <p:nvSpPr>
          <p:cNvPr id="11" name="Oval 10"/>
          <p:cNvSpPr/>
          <p:nvPr/>
        </p:nvSpPr>
        <p:spPr>
          <a:xfrm>
            <a:off x="3825394" y="1245476"/>
            <a:ext cx="134007" cy="13400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p:cNvCxnSpPr/>
          <p:nvPr/>
        </p:nvCxnSpPr>
        <p:spPr>
          <a:xfrm>
            <a:off x="3959401" y="1319714"/>
            <a:ext cx="518460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5102679" y="1132538"/>
            <a:ext cx="386177" cy="386177"/>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p:cNvSpPr/>
          <p:nvPr/>
        </p:nvSpPr>
        <p:spPr>
          <a:xfrm>
            <a:off x="7449500" y="804736"/>
            <a:ext cx="1041781" cy="104178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eform 49"/>
          <p:cNvSpPr/>
          <p:nvPr/>
        </p:nvSpPr>
        <p:spPr>
          <a:xfrm>
            <a:off x="7655241" y="1117383"/>
            <a:ext cx="821690" cy="726445"/>
          </a:xfrm>
          <a:custGeom>
            <a:avLst/>
            <a:gdLst>
              <a:gd name="connsiteX0" fmla="*/ 0 w 757707"/>
              <a:gd name="connsiteY0" fmla="*/ 493690 h 764146"/>
              <a:gd name="connsiteX1" fmla="*/ 216795 w 757707"/>
              <a:gd name="connsiteY1" fmla="*/ 764146 h 764146"/>
              <a:gd name="connsiteX2" fmla="*/ 757707 w 757707"/>
              <a:gd name="connsiteY2" fmla="*/ 397098 h 764146"/>
              <a:gd name="connsiteX3" fmla="*/ 515155 w 757707"/>
              <a:gd name="connsiteY3" fmla="*/ 0 h 764146"/>
              <a:gd name="connsiteX4" fmla="*/ 0 w 757707"/>
              <a:gd name="connsiteY4" fmla="*/ 493690 h 764146"/>
              <a:gd name="connsiteX0" fmla="*/ 0 w 757707"/>
              <a:gd name="connsiteY0" fmla="*/ 493690 h 765195"/>
              <a:gd name="connsiteX1" fmla="*/ 216795 w 757707"/>
              <a:gd name="connsiteY1" fmla="*/ 764146 h 765195"/>
              <a:gd name="connsiteX2" fmla="*/ 757707 w 757707"/>
              <a:gd name="connsiteY2" fmla="*/ 397098 h 765195"/>
              <a:gd name="connsiteX3" fmla="*/ 515155 w 757707"/>
              <a:gd name="connsiteY3" fmla="*/ 0 h 765195"/>
              <a:gd name="connsiteX4" fmla="*/ 0 w 757707"/>
              <a:gd name="connsiteY4" fmla="*/ 493690 h 765195"/>
              <a:gd name="connsiteX0" fmla="*/ 0 w 757707"/>
              <a:gd name="connsiteY0" fmla="*/ 493690 h 765202"/>
              <a:gd name="connsiteX1" fmla="*/ 216795 w 757707"/>
              <a:gd name="connsiteY1" fmla="*/ 764146 h 765202"/>
              <a:gd name="connsiteX2" fmla="*/ 757707 w 757707"/>
              <a:gd name="connsiteY2" fmla="*/ 397098 h 765202"/>
              <a:gd name="connsiteX3" fmla="*/ 515155 w 757707"/>
              <a:gd name="connsiteY3" fmla="*/ 0 h 765202"/>
              <a:gd name="connsiteX4" fmla="*/ 0 w 757707"/>
              <a:gd name="connsiteY4" fmla="*/ 493690 h 765202"/>
              <a:gd name="connsiteX0" fmla="*/ 0 w 757707"/>
              <a:gd name="connsiteY0" fmla="*/ 493690 h 764146"/>
              <a:gd name="connsiteX1" fmla="*/ 216795 w 757707"/>
              <a:gd name="connsiteY1" fmla="*/ 764146 h 764146"/>
              <a:gd name="connsiteX2" fmla="*/ 757707 w 757707"/>
              <a:gd name="connsiteY2" fmla="*/ 397098 h 764146"/>
              <a:gd name="connsiteX3" fmla="*/ 515155 w 757707"/>
              <a:gd name="connsiteY3" fmla="*/ 0 h 764146"/>
              <a:gd name="connsiteX4" fmla="*/ 0 w 757707"/>
              <a:gd name="connsiteY4" fmla="*/ 493690 h 764146"/>
              <a:gd name="connsiteX0" fmla="*/ 0 w 757707"/>
              <a:gd name="connsiteY0" fmla="*/ 493690 h 764146"/>
              <a:gd name="connsiteX1" fmla="*/ 216795 w 757707"/>
              <a:gd name="connsiteY1" fmla="*/ 764146 h 764146"/>
              <a:gd name="connsiteX2" fmla="*/ 757707 w 757707"/>
              <a:gd name="connsiteY2" fmla="*/ 397098 h 764146"/>
              <a:gd name="connsiteX3" fmla="*/ 515155 w 757707"/>
              <a:gd name="connsiteY3" fmla="*/ 0 h 764146"/>
              <a:gd name="connsiteX4" fmla="*/ 0 w 757707"/>
              <a:gd name="connsiteY4" fmla="*/ 493690 h 764146"/>
              <a:gd name="connsiteX0" fmla="*/ 0 w 757707"/>
              <a:gd name="connsiteY0" fmla="*/ 493690 h 765605"/>
              <a:gd name="connsiteX1" fmla="*/ 216795 w 757707"/>
              <a:gd name="connsiteY1" fmla="*/ 764146 h 765605"/>
              <a:gd name="connsiteX2" fmla="*/ 757707 w 757707"/>
              <a:gd name="connsiteY2" fmla="*/ 397098 h 765605"/>
              <a:gd name="connsiteX3" fmla="*/ 515155 w 757707"/>
              <a:gd name="connsiteY3" fmla="*/ 0 h 765605"/>
              <a:gd name="connsiteX4" fmla="*/ 0 w 757707"/>
              <a:gd name="connsiteY4" fmla="*/ 493690 h 765605"/>
              <a:gd name="connsiteX0" fmla="*/ 0 w 757707"/>
              <a:gd name="connsiteY0" fmla="*/ 493690 h 765625"/>
              <a:gd name="connsiteX1" fmla="*/ 216795 w 757707"/>
              <a:gd name="connsiteY1" fmla="*/ 764146 h 765625"/>
              <a:gd name="connsiteX2" fmla="*/ 757707 w 757707"/>
              <a:gd name="connsiteY2" fmla="*/ 397098 h 765625"/>
              <a:gd name="connsiteX3" fmla="*/ 515155 w 757707"/>
              <a:gd name="connsiteY3" fmla="*/ 0 h 765625"/>
              <a:gd name="connsiteX4" fmla="*/ 0 w 757707"/>
              <a:gd name="connsiteY4" fmla="*/ 493690 h 765625"/>
              <a:gd name="connsiteX0" fmla="*/ 0 w 757707"/>
              <a:gd name="connsiteY0" fmla="*/ 484341 h 756276"/>
              <a:gd name="connsiteX1" fmla="*/ 216795 w 757707"/>
              <a:gd name="connsiteY1" fmla="*/ 754797 h 756276"/>
              <a:gd name="connsiteX2" fmla="*/ 757707 w 757707"/>
              <a:gd name="connsiteY2" fmla="*/ 387749 h 756276"/>
              <a:gd name="connsiteX3" fmla="*/ 509545 w 757707"/>
              <a:gd name="connsiteY3" fmla="*/ 0 h 756276"/>
              <a:gd name="connsiteX4" fmla="*/ 0 w 757707"/>
              <a:gd name="connsiteY4" fmla="*/ 484341 h 756276"/>
              <a:gd name="connsiteX0" fmla="*/ 0 w 767057"/>
              <a:gd name="connsiteY0" fmla="*/ 484341 h 756102"/>
              <a:gd name="connsiteX1" fmla="*/ 216795 w 767057"/>
              <a:gd name="connsiteY1" fmla="*/ 754797 h 756102"/>
              <a:gd name="connsiteX2" fmla="*/ 767057 w 767057"/>
              <a:gd name="connsiteY2" fmla="*/ 350350 h 756102"/>
              <a:gd name="connsiteX3" fmla="*/ 509545 w 767057"/>
              <a:gd name="connsiteY3" fmla="*/ 0 h 756102"/>
              <a:gd name="connsiteX4" fmla="*/ 0 w 767057"/>
              <a:gd name="connsiteY4" fmla="*/ 484341 h 756102"/>
              <a:gd name="connsiteX0" fmla="*/ 0 w 767057"/>
              <a:gd name="connsiteY0" fmla="*/ 484341 h 756263"/>
              <a:gd name="connsiteX1" fmla="*/ 216795 w 767057"/>
              <a:gd name="connsiteY1" fmla="*/ 754797 h 756263"/>
              <a:gd name="connsiteX2" fmla="*/ 767057 w 767057"/>
              <a:gd name="connsiteY2" fmla="*/ 350350 h 756263"/>
              <a:gd name="connsiteX3" fmla="*/ 509545 w 767057"/>
              <a:gd name="connsiteY3" fmla="*/ 0 h 756263"/>
              <a:gd name="connsiteX4" fmla="*/ 0 w 767057"/>
              <a:gd name="connsiteY4" fmla="*/ 484341 h 756263"/>
              <a:gd name="connsiteX0" fmla="*/ 0 w 767057"/>
              <a:gd name="connsiteY0" fmla="*/ 460392 h 732314"/>
              <a:gd name="connsiteX1" fmla="*/ 216795 w 767057"/>
              <a:gd name="connsiteY1" fmla="*/ 730848 h 732314"/>
              <a:gd name="connsiteX2" fmla="*/ 767057 w 767057"/>
              <a:gd name="connsiteY2" fmla="*/ 326401 h 732314"/>
              <a:gd name="connsiteX3" fmla="*/ 526962 w 767057"/>
              <a:gd name="connsiteY3" fmla="*/ 0 h 732314"/>
              <a:gd name="connsiteX4" fmla="*/ 0 w 767057"/>
              <a:gd name="connsiteY4" fmla="*/ 460392 h 732314"/>
              <a:gd name="connsiteX0" fmla="*/ 0 w 767057"/>
              <a:gd name="connsiteY0" fmla="*/ 460392 h 732314"/>
              <a:gd name="connsiteX1" fmla="*/ 216795 w 767057"/>
              <a:gd name="connsiteY1" fmla="*/ 730848 h 732314"/>
              <a:gd name="connsiteX2" fmla="*/ 767057 w 767057"/>
              <a:gd name="connsiteY2" fmla="*/ 326401 h 732314"/>
              <a:gd name="connsiteX3" fmla="*/ 526962 w 767057"/>
              <a:gd name="connsiteY3" fmla="*/ 0 h 732314"/>
              <a:gd name="connsiteX4" fmla="*/ 0 w 767057"/>
              <a:gd name="connsiteY4" fmla="*/ 460392 h 732314"/>
              <a:gd name="connsiteX0" fmla="*/ 0 w 767057"/>
              <a:gd name="connsiteY0" fmla="*/ 460392 h 732314"/>
              <a:gd name="connsiteX1" fmla="*/ 216795 w 767057"/>
              <a:gd name="connsiteY1" fmla="*/ 730848 h 732314"/>
              <a:gd name="connsiteX2" fmla="*/ 767057 w 767057"/>
              <a:gd name="connsiteY2" fmla="*/ 326401 h 732314"/>
              <a:gd name="connsiteX3" fmla="*/ 526962 w 767057"/>
              <a:gd name="connsiteY3" fmla="*/ 0 h 732314"/>
              <a:gd name="connsiteX4" fmla="*/ 0 w 767057"/>
              <a:gd name="connsiteY4" fmla="*/ 460392 h 732314"/>
              <a:gd name="connsiteX0" fmla="*/ 0 w 740931"/>
              <a:gd name="connsiteY0" fmla="*/ 490872 h 732314"/>
              <a:gd name="connsiteX1" fmla="*/ 190669 w 740931"/>
              <a:gd name="connsiteY1" fmla="*/ 730848 h 732314"/>
              <a:gd name="connsiteX2" fmla="*/ 740931 w 740931"/>
              <a:gd name="connsiteY2" fmla="*/ 326401 h 732314"/>
              <a:gd name="connsiteX3" fmla="*/ 500836 w 740931"/>
              <a:gd name="connsiteY3" fmla="*/ 0 h 732314"/>
              <a:gd name="connsiteX4" fmla="*/ 0 w 740931"/>
              <a:gd name="connsiteY4" fmla="*/ 490872 h 732314"/>
              <a:gd name="connsiteX0" fmla="*/ 0 w 740931"/>
              <a:gd name="connsiteY0" fmla="*/ 490872 h 732314"/>
              <a:gd name="connsiteX1" fmla="*/ 190669 w 740931"/>
              <a:gd name="connsiteY1" fmla="*/ 730848 h 732314"/>
              <a:gd name="connsiteX2" fmla="*/ 740931 w 740931"/>
              <a:gd name="connsiteY2" fmla="*/ 326401 h 732314"/>
              <a:gd name="connsiteX3" fmla="*/ 500836 w 740931"/>
              <a:gd name="connsiteY3" fmla="*/ 0 h 732314"/>
              <a:gd name="connsiteX4" fmla="*/ 0 w 740931"/>
              <a:gd name="connsiteY4" fmla="*/ 490872 h 732314"/>
              <a:gd name="connsiteX0" fmla="*/ 0 w 740931"/>
              <a:gd name="connsiteY0" fmla="*/ 490872 h 732314"/>
              <a:gd name="connsiteX1" fmla="*/ 190669 w 740931"/>
              <a:gd name="connsiteY1" fmla="*/ 730848 h 732314"/>
              <a:gd name="connsiteX2" fmla="*/ 740931 w 740931"/>
              <a:gd name="connsiteY2" fmla="*/ 326401 h 732314"/>
              <a:gd name="connsiteX3" fmla="*/ 500836 w 740931"/>
              <a:gd name="connsiteY3" fmla="*/ 0 h 732314"/>
              <a:gd name="connsiteX4" fmla="*/ 0 w 740931"/>
              <a:gd name="connsiteY4" fmla="*/ 490872 h 732314"/>
              <a:gd name="connsiteX0" fmla="*/ 0 w 740931"/>
              <a:gd name="connsiteY0" fmla="*/ 490872 h 732314"/>
              <a:gd name="connsiteX1" fmla="*/ 190669 w 740931"/>
              <a:gd name="connsiteY1" fmla="*/ 730848 h 732314"/>
              <a:gd name="connsiteX2" fmla="*/ 740931 w 740931"/>
              <a:gd name="connsiteY2" fmla="*/ 326401 h 732314"/>
              <a:gd name="connsiteX3" fmla="*/ 500836 w 740931"/>
              <a:gd name="connsiteY3" fmla="*/ 0 h 732314"/>
              <a:gd name="connsiteX4" fmla="*/ 0 w 740931"/>
              <a:gd name="connsiteY4" fmla="*/ 490872 h 732314"/>
              <a:gd name="connsiteX0" fmla="*/ 0 w 740931"/>
              <a:gd name="connsiteY0" fmla="*/ 399692 h 641134"/>
              <a:gd name="connsiteX1" fmla="*/ 190669 w 740931"/>
              <a:gd name="connsiteY1" fmla="*/ 639668 h 641134"/>
              <a:gd name="connsiteX2" fmla="*/ 740931 w 740931"/>
              <a:gd name="connsiteY2" fmla="*/ 235221 h 641134"/>
              <a:gd name="connsiteX3" fmla="*/ 552939 w 740931"/>
              <a:gd name="connsiteY3" fmla="*/ 0 h 641134"/>
              <a:gd name="connsiteX4" fmla="*/ 0 w 740931"/>
              <a:gd name="connsiteY4" fmla="*/ 399692 h 641134"/>
              <a:gd name="connsiteX0" fmla="*/ 0 w 821690"/>
              <a:gd name="connsiteY0" fmla="*/ 32369 h 641134"/>
              <a:gd name="connsiteX1" fmla="*/ 271428 w 821690"/>
              <a:gd name="connsiteY1" fmla="*/ 639668 h 641134"/>
              <a:gd name="connsiteX2" fmla="*/ 821690 w 821690"/>
              <a:gd name="connsiteY2" fmla="*/ 235221 h 641134"/>
              <a:gd name="connsiteX3" fmla="*/ 633698 w 821690"/>
              <a:gd name="connsiteY3" fmla="*/ 0 h 641134"/>
              <a:gd name="connsiteX4" fmla="*/ 0 w 821690"/>
              <a:gd name="connsiteY4" fmla="*/ 32369 h 641134"/>
              <a:gd name="connsiteX0" fmla="*/ 0 w 821690"/>
              <a:gd name="connsiteY0" fmla="*/ 32369 h 641134"/>
              <a:gd name="connsiteX1" fmla="*/ 383449 w 821690"/>
              <a:gd name="connsiteY1" fmla="*/ 639668 h 641134"/>
              <a:gd name="connsiteX2" fmla="*/ 821690 w 821690"/>
              <a:gd name="connsiteY2" fmla="*/ 235221 h 641134"/>
              <a:gd name="connsiteX3" fmla="*/ 633698 w 821690"/>
              <a:gd name="connsiteY3" fmla="*/ 0 h 641134"/>
              <a:gd name="connsiteX4" fmla="*/ 0 w 821690"/>
              <a:gd name="connsiteY4" fmla="*/ 32369 h 641134"/>
              <a:gd name="connsiteX0" fmla="*/ 0 w 821690"/>
              <a:gd name="connsiteY0" fmla="*/ 32369 h 639668"/>
              <a:gd name="connsiteX1" fmla="*/ 383449 w 821690"/>
              <a:gd name="connsiteY1" fmla="*/ 639668 h 639668"/>
              <a:gd name="connsiteX2" fmla="*/ 821690 w 821690"/>
              <a:gd name="connsiteY2" fmla="*/ 235221 h 639668"/>
              <a:gd name="connsiteX3" fmla="*/ 633698 w 821690"/>
              <a:gd name="connsiteY3" fmla="*/ 0 h 639668"/>
              <a:gd name="connsiteX4" fmla="*/ 0 w 821690"/>
              <a:gd name="connsiteY4" fmla="*/ 32369 h 639668"/>
              <a:gd name="connsiteX0" fmla="*/ 0 w 821690"/>
              <a:gd name="connsiteY0" fmla="*/ 32369 h 639668"/>
              <a:gd name="connsiteX1" fmla="*/ 383449 w 821690"/>
              <a:gd name="connsiteY1" fmla="*/ 639668 h 639668"/>
              <a:gd name="connsiteX2" fmla="*/ 821690 w 821690"/>
              <a:gd name="connsiteY2" fmla="*/ 235221 h 639668"/>
              <a:gd name="connsiteX3" fmla="*/ 633698 w 821690"/>
              <a:gd name="connsiteY3" fmla="*/ 0 h 639668"/>
              <a:gd name="connsiteX4" fmla="*/ 0 w 821690"/>
              <a:gd name="connsiteY4" fmla="*/ 32369 h 639668"/>
              <a:gd name="connsiteX0" fmla="*/ 0 w 821690"/>
              <a:gd name="connsiteY0" fmla="*/ 32369 h 639668"/>
              <a:gd name="connsiteX1" fmla="*/ 383449 w 821690"/>
              <a:gd name="connsiteY1" fmla="*/ 639668 h 639668"/>
              <a:gd name="connsiteX2" fmla="*/ 821690 w 821690"/>
              <a:gd name="connsiteY2" fmla="*/ 235221 h 639668"/>
              <a:gd name="connsiteX3" fmla="*/ 633698 w 821690"/>
              <a:gd name="connsiteY3" fmla="*/ 0 h 639668"/>
              <a:gd name="connsiteX4" fmla="*/ 0 w 821690"/>
              <a:gd name="connsiteY4" fmla="*/ 32369 h 639668"/>
              <a:gd name="connsiteX0" fmla="*/ 0 w 821690"/>
              <a:gd name="connsiteY0" fmla="*/ 32369 h 639668"/>
              <a:gd name="connsiteX1" fmla="*/ 383449 w 821690"/>
              <a:gd name="connsiteY1" fmla="*/ 639668 h 639668"/>
              <a:gd name="connsiteX2" fmla="*/ 821690 w 821690"/>
              <a:gd name="connsiteY2" fmla="*/ 235221 h 639668"/>
              <a:gd name="connsiteX3" fmla="*/ 633698 w 821690"/>
              <a:gd name="connsiteY3" fmla="*/ 0 h 639668"/>
              <a:gd name="connsiteX4" fmla="*/ 0 w 821690"/>
              <a:gd name="connsiteY4" fmla="*/ 32369 h 639668"/>
              <a:gd name="connsiteX0" fmla="*/ 0 w 821690"/>
              <a:gd name="connsiteY0" fmla="*/ 51617 h 658916"/>
              <a:gd name="connsiteX1" fmla="*/ 383449 w 821690"/>
              <a:gd name="connsiteY1" fmla="*/ 658916 h 658916"/>
              <a:gd name="connsiteX2" fmla="*/ 821690 w 821690"/>
              <a:gd name="connsiteY2" fmla="*/ 254469 h 658916"/>
              <a:gd name="connsiteX3" fmla="*/ 633698 w 821690"/>
              <a:gd name="connsiteY3" fmla="*/ 19248 h 658916"/>
              <a:gd name="connsiteX4" fmla="*/ 0 w 821690"/>
              <a:gd name="connsiteY4" fmla="*/ 51617 h 658916"/>
              <a:gd name="connsiteX0" fmla="*/ 0 w 821690"/>
              <a:gd name="connsiteY0" fmla="*/ 119146 h 726445"/>
              <a:gd name="connsiteX1" fmla="*/ 383449 w 821690"/>
              <a:gd name="connsiteY1" fmla="*/ 726445 h 726445"/>
              <a:gd name="connsiteX2" fmla="*/ 821690 w 821690"/>
              <a:gd name="connsiteY2" fmla="*/ 321998 h 726445"/>
              <a:gd name="connsiteX3" fmla="*/ 633698 w 821690"/>
              <a:gd name="connsiteY3" fmla="*/ 86777 h 726445"/>
              <a:gd name="connsiteX4" fmla="*/ 0 w 821690"/>
              <a:gd name="connsiteY4" fmla="*/ 119146 h 72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690" h="726445">
                <a:moveTo>
                  <a:pt x="0" y="119146"/>
                </a:moveTo>
                <a:lnTo>
                  <a:pt x="383449" y="726445"/>
                </a:lnTo>
                <a:cubicBezTo>
                  <a:pt x="699315" y="671797"/>
                  <a:pt x="800666" y="428174"/>
                  <a:pt x="821690" y="321998"/>
                </a:cubicBezTo>
                <a:lnTo>
                  <a:pt x="633698" y="86777"/>
                </a:lnTo>
                <a:cubicBezTo>
                  <a:pt x="438432" y="25392"/>
                  <a:pt x="289888" y="-88263"/>
                  <a:pt x="0" y="119146"/>
                </a:cubicBezTo>
                <a:close/>
              </a:path>
            </a:pathLst>
          </a:custGeom>
          <a:solidFill>
            <a:srgbClr val="00A3E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1" name="Group 50"/>
          <p:cNvGrpSpPr>
            <a:grpSpLocks noChangeAspect="1"/>
          </p:cNvGrpSpPr>
          <p:nvPr/>
        </p:nvGrpSpPr>
        <p:grpSpPr>
          <a:xfrm>
            <a:off x="7643751" y="1063148"/>
            <a:ext cx="653278" cy="524955"/>
            <a:chOff x="839748" y="4443493"/>
            <a:chExt cx="167995" cy="134996"/>
          </a:xfrm>
          <a:solidFill>
            <a:schemeClr val="bg2"/>
          </a:solidFill>
        </p:grpSpPr>
        <p:sp>
          <p:nvSpPr>
            <p:cNvPr id="52" name="Freeform 296"/>
            <p:cNvSpPr>
              <a:spLocks noChangeAspect="1"/>
            </p:cNvSpPr>
            <p:nvPr/>
          </p:nvSpPr>
          <p:spPr bwMode="auto">
            <a:xfrm>
              <a:off x="839748" y="4443493"/>
              <a:ext cx="167995" cy="56998"/>
            </a:xfrm>
            <a:custGeom>
              <a:avLst/>
              <a:gdLst>
                <a:gd name="T0" fmla="*/ 36 w 71"/>
                <a:gd name="T1" fmla="*/ 0 h 24"/>
                <a:gd name="T2" fmla="*/ 2 w 71"/>
                <a:gd name="T3" fmla="*/ 14 h 24"/>
                <a:gd name="T4" fmla="*/ 2 w 71"/>
                <a:gd name="T5" fmla="*/ 22 h 24"/>
                <a:gd name="T6" fmla="*/ 9 w 71"/>
                <a:gd name="T7" fmla="*/ 22 h 24"/>
                <a:gd name="T8" fmla="*/ 36 w 71"/>
                <a:gd name="T9" fmla="*/ 11 h 24"/>
                <a:gd name="T10" fmla="*/ 62 w 71"/>
                <a:gd name="T11" fmla="*/ 22 h 24"/>
                <a:gd name="T12" fmla="*/ 65 w 71"/>
                <a:gd name="T13" fmla="*/ 23 h 24"/>
                <a:gd name="T14" fmla="*/ 69 w 71"/>
                <a:gd name="T15" fmla="*/ 22 h 24"/>
                <a:gd name="T16" fmla="*/ 69 w 71"/>
                <a:gd name="T17" fmla="*/ 14 h 24"/>
                <a:gd name="T18" fmla="*/ 36 w 7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24">
                  <a:moveTo>
                    <a:pt x="36" y="0"/>
                  </a:moveTo>
                  <a:cubicBezTo>
                    <a:pt x="23" y="0"/>
                    <a:pt x="11" y="5"/>
                    <a:pt x="2" y="14"/>
                  </a:cubicBezTo>
                  <a:cubicBezTo>
                    <a:pt x="0" y="16"/>
                    <a:pt x="0" y="20"/>
                    <a:pt x="2" y="22"/>
                  </a:cubicBezTo>
                  <a:cubicBezTo>
                    <a:pt x="4" y="24"/>
                    <a:pt x="7" y="24"/>
                    <a:pt x="9" y="22"/>
                  </a:cubicBezTo>
                  <a:cubicBezTo>
                    <a:pt x="16" y="15"/>
                    <a:pt x="26" y="11"/>
                    <a:pt x="36" y="11"/>
                  </a:cubicBezTo>
                  <a:cubicBezTo>
                    <a:pt x="45" y="11"/>
                    <a:pt x="55" y="15"/>
                    <a:pt x="62" y="22"/>
                  </a:cubicBezTo>
                  <a:cubicBezTo>
                    <a:pt x="63" y="23"/>
                    <a:pt x="64" y="23"/>
                    <a:pt x="65" y="23"/>
                  </a:cubicBezTo>
                  <a:cubicBezTo>
                    <a:pt x="67" y="23"/>
                    <a:pt x="68" y="23"/>
                    <a:pt x="69" y="22"/>
                  </a:cubicBezTo>
                  <a:cubicBezTo>
                    <a:pt x="71" y="20"/>
                    <a:pt x="71" y="16"/>
                    <a:pt x="69" y="14"/>
                  </a:cubicBezTo>
                  <a:cubicBezTo>
                    <a:pt x="60" y="5"/>
                    <a:pt x="48"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3" name="Freeform 297"/>
            <p:cNvSpPr>
              <a:spLocks noChangeAspect="1"/>
            </p:cNvSpPr>
            <p:nvPr/>
          </p:nvSpPr>
          <p:spPr bwMode="auto">
            <a:xfrm>
              <a:off x="872747" y="4483492"/>
              <a:ext cx="101997" cy="49998"/>
            </a:xfrm>
            <a:custGeom>
              <a:avLst/>
              <a:gdLst>
                <a:gd name="T0" fmla="*/ 2 w 43"/>
                <a:gd name="T1" fmla="*/ 11 h 21"/>
                <a:gd name="T2" fmla="*/ 2 w 43"/>
                <a:gd name="T3" fmla="*/ 18 h 21"/>
                <a:gd name="T4" fmla="*/ 9 w 43"/>
                <a:gd name="T5" fmla="*/ 18 h 21"/>
                <a:gd name="T6" fmla="*/ 34 w 43"/>
                <a:gd name="T7" fmla="*/ 18 h 21"/>
                <a:gd name="T8" fmla="*/ 38 w 43"/>
                <a:gd name="T9" fmla="*/ 20 h 21"/>
                <a:gd name="T10" fmla="*/ 41 w 43"/>
                <a:gd name="T11" fmla="*/ 18 h 21"/>
                <a:gd name="T12" fmla="*/ 41 w 43"/>
                <a:gd name="T13" fmla="*/ 11 h 21"/>
                <a:gd name="T14" fmla="*/ 2 w 4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1">
                  <a:moveTo>
                    <a:pt x="2" y="11"/>
                  </a:moveTo>
                  <a:cubicBezTo>
                    <a:pt x="0" y="13"/>
                    <a:pt x="0" y="16"/>
                    <a:pt x="2" y="18"/>
                  </a:cubicBezTo>
                  <a:cubicBezTo>
                    <a:pt x="4" y="21"/>
                    <a:pt x="7" y="21"/>
                    <a:pt x="9" y="18"/>
                  </a:cubicBezTo>
                  <a:cubicBezTo>
                    <a:pt x="16" y="12"/>
                    <a:pt x="27" y="12"/>
                    <a:pt x="34" y="18"/>
                  </a:cubicBezTo>
                  <a:cubicBezTo>
                    <a:pt x="35" y="20"/>
                    <a:pt x="36" y="20"/>
                    <a:pt x="38" y="20"/>
                  </a:cubicBezTo>
                  <a:cubicBezTo>
                    <a:pt x="39" y="20"/>
                    <a:pt x="40" y="20"/>
                    <a:pt x="41" y="18"/>
                  </a:cubicBezTo>
                  <a:cubicBezTo>
                    <a:pt x="43" y="16"/>
                    <a:pt x="43" y="13"/>
                    <a:pt x="41" y="11"/>
                  </a:cubicBezTo>
                  <a:cubicBezTo>
                    <a:pt x="30" y="0"/>
                    <a:pt x="13" y="0"/>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4" name="Freeform 298"/>
            <p:cNvSpPr>
              <a:spLocks noChangeAspect="1"/>
            </p:cNvSpPr>
            <p:nvPr/>
          </p:nvSpPr>
          <p:spPr bwMode="auto">
            <a:xfrm>
              <a:off x="905746" y="4542490"/>
              <a:ext cx="35999" cy="35999"/>
            </a:xfrm>
            <a:custGeom>
              <a:avLst/>
              <a:gdLst>
                <a:gd name="T0" fmla="*/ 8 w 15"/>
                <a:gd name="T1" fmla="*/ 0 h 15"/>
                <a:gd name="T2" fmla="*/ 0 w 15"/>
                <a:gd name="T3" fmla="*/ 7 h 15"/>
                <a:gd name="T4" fmla="*/ 8 w 15"/>
                <a:gd name="T5" fmla="*/ 15 h 15"/>
                <a:gd name="T6" fmla="*/ 15 w 15"/>
                <a:gd name="T7" fmla="*/ 7 h 15"/>
                <a:gd name="T8" fmla="*/ 8 w 15"/>
                <a:gd name="T9" fmla="*/ 0 h 15"/>
              </a:gdLst>
              <a:ahLst/>
              <a:cxnLst>
                <a:cxn ang="0">
                  <a:pos x="T0" y="T1"/>
                </a:cxn>
                <a:cxn ang="0">
                  <a:pos x="T2" y="T3"/>
                </a:cxn>
                <a:cxn ang="0">
                  <a:pos x="T4" y="T5"/>
                </a:cxn>
                <a:cxn ang="0">
                  <a:pos x="T6" y="T7"/>
                </a:cxn>
                <a:cxn ang="0">
                  <a:pos x="T8" y="T9"/>
                </a:cxn>
              </a:cxnLst>
              <a:rect l="0" t="0" r="r" b="b"/>
              <a:pathLst>
                <a:path w="15" h="15">
                  <a:moveTo>
                    <a:pt x="8" y="0"/>
                  </a:moveTo>
                  <a:cubicBezTo>
                    <a:pt x="4" y="0"/>
                    <a:pt x="0" y="3"/>
                    <a:pt x="0" y="7"/>
                  </a:cubicBezTo>
                  <a:cubicBezTo>
                    <a:pt x="0" y="11"/>
                    <a:pt x="4" y="14"/>
                    <a:pt x="8" y="15"/>
                  </a:cubicBezTo>
                  <a:cubicBezTo>
                    <a:pt x="12" y="14"/>
                    <a:pt x="15" y="11"/>
                    <a:pt x="15" y="7"/>
                  </a:cubicBezTo>
                  <a:cubicBezTo>
                    <a:pt x="15" y="3"/>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3" name="AutoShape 2"/>
          <p:cNvSpPr>
            <a:spLocks noChangeArrowheads="1"/>
          </p:cNvSpPr>
          <p:nvPr/>
        </p:nvSpPr>
        <p:spPr bwMode="auto">
          <a:xfrm>
            <a:off x="422674" y="1149091"/>
            <a:ext cx="3648935" cy="3647450"/>
          </a:xfrm>
          <a:prstGeom prst="flowChartDecision">
            <a:avLst/>
          </a:prstGeom>
          <a:solidFill>
            <a:schemeClr val="tx1">
              <a:lumMod val="25000"/>
              <a:lumOff val="75000"/>
            </a:schemeClr>
          </a:solidFill>
          <a:ln w="9525" algn="ctr">
            <a:noFill/>
            <a:miter lim="800000"/>
            <a:headEnd/>
            <a:tailEnd/>
          </a:ln>
          <a:effectLst/>
        </p:spPr>
        <p:txBody>
          <a:bodyPr wrap="square" lIns="82121" tIns="41059" rIns="82121" bIns="41059" anchor="ctr">
            <a:noAutofit/>
          </a:bodyPr>
          <a:lstStyle/>
          <a:p>
            <a:endParaRPr lang="en-US"/>
          </a:p>
        </p:txBody>
      </p:sp>
      <p:sp>
        <p:nvSpPr>
          <p:cNvPr id="24" name="AutoShape 60"/>
          <p:cNvSpPr>
            <a:spLocks noChangeArrowheads="1"/>
          </p:cNvSpPr>
          <p:nvPr/>
        </p:nvSpPr>
        <p:spPr bwMode="auto">
          <a:xfrm>
            <a:off x="726784" y="1438420"/>
            <a:ext cx="1420057" cy="1419002"/>
          </a:xfrm>
          <a:prstGeom prst="roundRect">
            <a:avLst/>
          </a:prstGeom>
          <a:solidFill>
            <a:schemeClr val="bg2"/>
          </a:solidFill>
          <a:ln w="3175" algn="ctr">
            <a:noFill/>
            <a:miter lim="800000"/>
            <a:headEnd/>
            <a:tailEnd/>
          </a:ln>
          <a:effectLst/>
        </p:spPr>
        <p:txBody>
          <a:bodyPr wrap="none" lIns="0" tIns="0" rIns="0" bIns="0" anchor="b"/>
          <a:lstStyle/>
          <a:p>
            <a:pPr algn="ctr" eaLnBrk="1" hangingPunct="1">
              <a:lnSpc>
                <a:spcPct val="100000"/>
              </a:lnSpc>
            </a:pPr>
            <a:r>
              <a:rPr lang="en-US" sz="1200" dirty="0">
                <a:solidFill>
                  <a:schemeClr val="tx2"/>
                </a:solidFill>
                <a:latin typeface="+mj-lt"/>
                <a:cs typeface="Arial" charset="0"/>
              </a:rPr>
              <a:t>RAN Agnostic</a:t>
            </a:r>
          </a:p>
        </p:txBody>
      </p:sp>
      <p:sp>
        <p:nvSpPr>
          <p:cNvPr id="25" name="AutoShape 61"/>
          <p:cNvSpPr>
            <a:spLocks noChangeArrowheads="1"/>
          </p:cNvSpPr>
          <p:nvPr/>
        </p:nvSpPr>
        <p:spPr bwMode="auto">
          <a:xfrm>
            <a:off x="2348500" y="1438420"/>
            <a:ext cx="1420058" cy="1419002"/>
          </a:xfrm>
          <a:prstGeom prst="roundRect">
            <a:avLst/>
          </a:prstGeom>
          <a:solidFill>
            <a:srgbClr val="91E9FF"/>
          </a:solidFill>
          <a:ln w="3175" algn="ctr">
            <a:noFill/>
            <a:miter lim="800000"/>
            <a:headEnd/>
            <a:tailEnd/>
          </a:ln>
          <a:effectLst/>
        </p:spPr>
        <p:txBody>
          <a:bodyPr wrap="none" lIns="0" tIns="0" rIns="0" bIns="0" anchor="b"/>
          <a:lstStyle/>
          <a:p>
            <a:pPr algn="ctr" eaLnBrk="1" hangingPunct="1">
              <a:lnSpc>
                <a:spcPct val="100000"/>
              </a:lnSpc>
            </a:pPr>
            <a:r>
              <a:rPr lang="en-US" sz="1200" dirty="0">
                <a:solidFill>
                  <a:schemeClr val="bg1"/>
                </a:solidFill>
                <a:latin typeface="+mj-lt"/>
                <a:cs typeface="Arial" charset="0"/>
              </a:rPr>
              <a:t>End-to-end </a:t>
            </a:r>
            <a:br>
              <a:rPr lang="en-US" sz="1200" dirty="0">
                <a:solidFill>
                  <a:schemeClr val="bg1"/>
                </a:solidFill>
                <a:latin typeface="+mj-lt"/>
                <a:cs typeface="Arial" charset="0"/>
              </a:rPr>
            </a:br>
            <a:r>
              <a:rPr lang="en-US" sz="1200" dirty="0">
                <a:solidFill>
                  <a:schemeClr val="bg1"/>
                </a:solidFill>
                <a:latin typeface="+mj-lt"/>
                <a:cs typeface="Arial" charset="0"/>
              </a:rPr>
              <a:t>IP Solution</a:t>
            </a:r>
          </a:p>
        </p:txBody>
      </p:sp>
      <p:sp>
        <p:nvSpPr>
          <p:cNvPr id="26" name="AutoShape 62"/>
          <p:cNvSpPr>
            <a:spLocks noChangeArrowheads="1"/>
          </p:cNvSpPr>
          <p:nvPr/>
        </p:nvSpPr>
        <p:spPr bwMode="auto">
          <a:xfrm>
            <a:off x="726783" y="3060136"/>
            <a:ext cx="1420058" cy="1419002"/>
          </a:xfrm>
          <a:prstGeom prst="roundRect">
            <a:avLst/>
          </a:prstGeom>
          <a:solidFill>
            <a:schemeClr val="accent5"/>
          </a:solidFill>
          <a:ln w="3175" algn="ctr">
            <a:noFill/>
            <a:miter lim="800000"/>
            <a:headEnd/>
            <a:tailEnd/>
          </a:ln>
          <a:effectLst/>
        </p:spPr>
        <p:txBody>
          <a:bodyPr wrap="none" lIns="0" tIns="0" rIns="0" bIns="0" anchor="b"/>
          <a:lstStyle/>
          <a:p>
            <a:pPr algn="ctr" eaLnBrk="1" hangingPunct="1">
              <a:lnSpc>
                <a:spcPct val="100000"/>
              </a:lnSpc>
            </a:pPr>
            <a:r>
              <a:rPr lang="en-US" sz="1200" dirty="0">
                <a:solidFill>
                  <a:schemeClr val="bg1"/>
                </a:solidFill>
                <a:latin typeface="+mj-lt"/>
                <a:cs typeface="Arial" charset="0"/>
              </a:rPr>
              <a:t>SR and EVPN for </a:t>
            </a:r>
            <a:br>
              <a:rPr lang="en-US" sz="1200" dirty="0">
                <a:solidFill>
                  <a:schemeClr val="bg1"/>
                </a:solidFill>
                <a:latin typeface="+mj-lt"/>
                <a:cs typeface="Arial" charset="0"/>
              </a:rPr>
            </a:br>
            <a:r>
              <a:rPr lang="en-US" sz="1200" dirty="0">
                <a:solidFill>
                  <a:schemeClr val="bg1"/>
                </a:solidFill>
                <a:latin typeface="+mj-lt"/>
                <a:cs typeface="Arial" charset="0"/>
              </a:rPr>
              <a:t>Any G Transport</a:t>
            </a:r>
          </a:p>
        </p:txBody>
      </p:sp>
      <p:sp>
        <p:nvSpPr>
          <p:cNvPr id="27" name="AutoShape 63"/>
          <p:cNvSpPr>
            <a:spLocks noChangeArrowheads="1"/>
          </p:cNvSpPr>
          <p:nvPr/>
        </p:nvSpPr>
        <p:spPr bwMode="auto">
          <a:xfrm>
            <a:off x="2348500" y="3060136"/>
            <a:ext cx="1420058" cy="1419002"/>
          </a:xfrm>
          <a:prstGeom prst="roundRect">
            <a:avLst/>
          </a:prstGeom>
          <a:solidFill>
            <a:schemeClr val="tx2"/>
          </a:solidFill>
          <a:ln w="3175" algn="ctr">
            <a:solidFill>
              <a:schemeClr val="bg1"/>
            </a:solidFill>
            <a:miter lim="800000"/>
            <a:headEnd/>
            <a:tailEnd/>
          </a:ln>
          <a:effectLst/>
        </p:spPr>
        <p:txBody>
          <a:bodyPr wrap="none" lIns="0" tIns="0" rIns="0" bIns="0" anchor="b"/>
          <a:lstStyle/>
          <a:p>
            <a:pPr algn="ctr" eaLnBrk="1" hangingPunct="1">
              <a:lnSpc>
                <a:spcPct val="100000"/>
              </a:lnSpc>
            </a:pPr>
            <a:r>
              <a:rPr lang="en-US" sz="1200" dirty="0">
                <a:solidFill>
                  <a:schemeClr val="bg2"/>
                </a:solidFill>
                <a:latin typeface="+mj-lt"/>
                <a:cs typeface="Arial" charset="0"/>
              </a:rPr>
              <a:t>Optimized Soft </a:t>
            </a:r>
            <a:br>
              <a:rPr lang="en-US" sz="1200" dirty="0">
                <a:solidFill>
                  <a:schemeClr val="bg2"/>
                </a:solidFill>
                <a:latin typeface="+mj-lt"/>
                <a:cs typeface="Arial" charset="0"/>
              </a:rPr>
            </a:br>
            <a:r>
              <a:rPr lang="en-US" sz="1200" dirty="0">
                <a:solidFill>
                  <a:schemeClr val="bg2"/>
                </a:solidFill>
                <a:latin typeface="+mj-lt"/>
                <a:cs typeface="Arial" charset="0"/>
              </a:rPr>
              <a:t>Network Slicing</a:t>
            </a:r>
          </a:p>
        </p:txBody>
      </p:sp>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730097" y="3288484"/>
            <a:ext cx="656862" cy="656862"/>
          </a:xfrm>
          <a:prstGeom prst="rect">
            <a:avLst/>
          </a:prstGeom>
        </p:spPr>
      </p:pic>
      <p:pic>
        <p:nvPicPr>
          <p:cNvPr id="8" name="Picture 7"/>
          <p:cNvPicPr>
            <a:picLocks noChangeAspect="1"/>
          </p:cNvPicPr>
          <p:nvPr/>
        </p:nvPicPr>
        <p:blipFill>
          <a:blip r:embed="rId7" cstate="print">
            <a:duotone>
              <a:schemeClr val="accent3">
                <a:shade val="45000"/>
                <a:satMod val="135000"/>
              </a:schemeClr>
              <a:prstClr val="white"/>
            </a:duotone>
            <a:extLst>
              <a:ext uri="{BEBA8EAE-BF5A-486C-A8C5-ECC9F3942E4B}">
                <a14:imgProps xmlns:a14="http://schemas.microsoft.com/office/drawing/2010/main">
                  <a14:imgLayer r:embed="rId8">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961668" y="3374412"/>
            <a:ext cx="950288" cy="475144"/>
          </a:xfrm>
          <a:prstGeom prst="rect">
            <a:avLst/>
          </a:prstGeom>
        </p:spPr>
      </p:pic>
      <p:grpSp>
        <p:nvGrpSpPr>
          <p:cNvPr id="28" name="Group 27"/>
          <p:cNvGrpSpPr>
            <a:grpSpLocks noChangeAspect="1"/>
          </p:cNvGrpSpPr>
          <p:nvPr/>
        </p:nvGrpSpPr>
        <p:grpSpPr>
          <a:xfrm>
            <a:off x="1132586" y="1843826"/>
            <a:ext cx="608452" cy="488934"/>
            <a:chOff x="839748" y="4443493"/>
            <a:chExt cx="167995" cy="134996"/>
          </a:xfrm>
          <a:solidFill>
            <a:schemeClr val="tx2"/>
          </a:solidFill>
        </p:grpSpPr>
        <p:sp>
          <p:nvSpPr>
            <p:cNvPr id="29" name="Freeform 296"/>
            <p:cNvSpPr>
              <a:spLocks noChangeAspect="1"/>
            </p:cNvSpPr>
            <p:nvPr/>
          </p:nvSpPr>
          <p:spPr bwMode="auto">
            <a:xfrm>
              <a:off x="839748" y="4443493"/>
              <a:ext cx="167995" cy="56998"/>
            </a:xfrm>
            <a:custGeom>
              <a:avLst/>
              <a:gdLst>
                <a:gd name="T0" fmla="*/ 36 w 71"/>
                <a:gd name="T1" fmla="*/ 0 h 24"/>
                <a:gd name="T2" fmla="*/ 2 w 71"/>
                <a:gd name="T3" fmla="*/ 14 h 24"/>
                <a:gd name="T4" fmla="*/ 2 w 71"/>
                <a:gd name="T5" fmla="*/ 22 h 24"/>
                <a:gd name="T6" fmla="*/ 9 w 71"/>
                <a:gd name="T7" fmla="*/ 22 h 24"/>
                <a:gd name="T8" fmla="*/ 36 w 71"/>
                <a:gd name="T9" fmla="*/ 11 h 24"/>
                <a:gd name="T10" fmla="*/ 62 w 71"/>
                <a:gd name="T11" fmla="*/ 22 h 24"/>
                <a:gd name="T12" fmla="*/ 65 w 71"/>
                <a:gd name="T13" fmla="*/ 23 h 24"/>
                <a:gd name="T14" fmla="*/ 69 w 71"/>
                <a:gd name="T15" fmla="*/ 22 h 24"/>
                <a:gd name="T16" fmla="*/ 69 w 71"/>
                <a:gd name="T17" fmla="*/ 14 h 24"/>
                <a:gd name="T18" fmla="*/ 36 w 7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24">
                  <a:moveTo>
                    <a:pt x="36" y="0"/>
                  </a:moveTo>
                  <a:cubicBezTo>
                    <a:pt x="23" y="0"/>
                    <a:pt x="11" y="5"/>
                    <a:pt x="2" y="14"/>
                  </a:cubicBezTo>
                  <a:cubicBezTo>
                    <a:pt x="0" y="16"/>
                    <a:pt x="0" y="20"/>
                    <a:pt x="2" y="22"/>
                  </a:cubicBezTo>
                  <a:cubicBezTo>
                    <a:pt x="4" y="24"/>
                    <a:pt x="7" y="24"/>
                    <a:pt x="9" y="22"/>
                  </a:cubicBezTo>
                  <a:cubicBezTo>
                    <a:pt x="16" y="15"/>
                    <a:pt x="26" y="11"/>
                    <a:pt x="36" y="11"/>
                  </a:cubicBezTo>
                  <a:cubicBezTo>
                    <a:pt x="45" y="11"/>
                    <a:pt x="55" y="15"/>
                    <a:pt x="62" y="22"/>
                  </a:cubicBezTo>
                  <a:cubicBezTo>
                    <a:pt x="63" y="23"/>
                    <a:pt x="64" y="23"/>
                    <a:pt x="65" y="23"/>
                  </a:cubicBezTo>
                  <a:cubicBezTo>
                    <a:pt x="67" y="23"/>
                    <a:pt x="68" y="23"/>
                    <a:pt x="69" y="22"/>
                  </a:cubicBezTo>
                  <a:cubicBezTo>
                    <a:pt x="71" y="20"/>
                    <a:pt x="71" y="16"/>
                    <a:pt x="69" y="14"/>
                  </a:cubicBezTo>
                  <a:cubicBezTo>
                    <a:pt x="60" y="5"/>
                    <a:pt x="48"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7"/>
            <p:cNvSpPr>
              <a:spLocks noChangeAspect="1"/>
            </p:cNvSpPr>
            <p:nvPr/>
          </p:nvSpPr>
          <p:spPr bwMode="auto">
            <a:xfrm>
              <a:off x="872747" y="4483492"/>
              <a:ext cx="101997" cy="49998"/>
            </a:xfrm>
            <a:custGeom>
              <a:avLst/>
              <a:gdLst>
                <a:gd name="T0" fmla="*/ 2 w 43"/>
                <a:gd name="T1" fmla="*/ 11 h 21"/>
                <a:gd name="T2" fmla="*/ 2 w 43"/>
                <a:gd name="T3" fmla="*/ 18 h 21"/>
                <a:gd name="T4" fmla="*/ 9 w 43"/>
                <a:gd name="T5" fmla="*/ 18 h 21"/>
                <a:gd name="T6" fmla="*/ 34 w 43"/>
                <a:gd name="T7" fmla="*/ 18 h 21"/>
                <a:gd name="T8" fmla="*/ 38 w 43"/>
                <a:gd name="T9" fmla="*/ 20 h 21"/>
                <a:gd name="T10" fmla="*/ 41 w 43"/>
                <a:gd name="T11" fmla="*/ 18 h 21"/>
                <a:gd name="T12" fmla="*/ 41 w 43"/>
                <a:gd name="T13" fmla="*/ 11 h 21"/>
                <a:gd name="T14" fmla="*/ 2 w 4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1">
                  <a:moveTo>
                    <a:pt x="2" y="11"/>
                  </a:moveTo>
                  <a:cubicBezTo>
                    <a:pt x="0" y="13"/>
                    <a:pt x="0" y="16"/>
                    <a:pt x="2" y="18"/>
                  </a:cubicBezTo>
                  <a:cubicBezTo>
                    <a:pt x="4" y="21"/>
                    <a:pt x="7" y="21"/>
                    <a:pt x="9" y="18"/>
                  </a:cubicBezTo>
                  <a:cubicBezTo>
                    <a:pt x="16" y="12"/>
                    <a:pt x="27" y="12"/>
                    <a:pt x="34" y="18"/>
                  </a:cubicBezTo>
                  <a:cubicBezTo>
                    <a:pt x="35" y="20"/>
                    <a:pt x="36" y="20"/>
                    <a:pt x="38" y="20"/>
                  </a:cubicBezTo>
                  <a:cubicBezTo>
                    <a:pt x="39" y="20"/>
                    <a:pt x="40" y="20"/>
                    <a:pt x="41" y="18"/>
                  </a:cubicBezTo>
                  <a:cubicBezTo>
                    <a:pt x="43" y="16"/>
                    <a:pt x="43" y="13"/>
                    <a:pt x="41" y="11"/>
                  </a:cubicBezTo>
                  <a:cubicBezTo>
                    <a:pt x="30" y="0"/>
                    <a:pt x="13" y="0"/>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8"/>
            <p:cNvSpPr>
              <a:spLocks noChangeAspect="1"/>
            </p:cNvSpPr>
            <p:nvPr/>
          </p:nvSpPr>
          <p:spPr bwMode="auto">
            <a:xfrm>
              <a:off x="905746" y="4542490"/>
              <a:ext cx="35999" cy="35999"/>
            </a:xfrm>
            <a:custGeom>
              <a:avLst/>
              <a:gdLst>
                <a:gd name="T0" fmla="*/ 8 w 15"/>
                <a:gd name="T1" fmla="*/ 0 h 15"/>
                <a:gd name="T2" fmla="*/ 0 w 15"/>
                <a:gd name="T3" fmla="*/ 7 h 15"/>
                <a:gd name="T4" fmla="*/ 8 w 15"/>
                <a:gd name="T5" fmla="*/ 15 h 15"/>
                <a:gd name="T6" fmla="*/ 15 w 15"/>
                <a:gd name="T7" fmla="*/ 7 h 15"/>
                <a:gd name="T8" fmla="*/ 8 w 15"/>
                <a:gd name="T9" fmla="*/ 0 h 15"/>
              </a:gdLst>
              <a:ahLst/>
              <a:cxnLst>
                <a:cxn ang="0">
                  <a:pos x="T0" y="T1"/>
                </a:cxn>
                <a:cxn ang="0">
                  <a:pos x="T2" y="T3"/>
                </a:cxn>
                <a:cxn ang="0">
                  <a:pos x="T4" y="T5"/>
                </a:cxn>
                <a:cxn ang="0">
                  <a:pos x="T6" y="T7"/>
                </a:cxn>
                <a:cxn ang="0">
                  <a:pos x="T8" y="T9"/>
                </a:cxn>
              </a:cxnLst>
              <a:rect l="0" t="0" r="r" b="b"/>
              <a:pathLst>
                <a:path w="15" h="15">
                  <a:moveTo>
                    <a:pt x="8" y="0"/>
                  </a:moveTo>
                  <a:cubicBezTo>
                    <a:pt x="4" y="0"/>
                    <a:pt x="0" y="3"/>
                    <a:pt x="0" y="7"/>
                  </a:cubicBezTo>
                  <a:cubicBezTo>
                    <a:pt x="0" y="11"/>
                    <a:pt x="4" y="14"/>
                    <a:pt x="8" y="15"/>
                  </a:cubicBezTo>
                  <a:cubicBezTo>
                    <a:pt x="12" y="14"/>
                    <a:pt x="15" y="11"/>
                    <a:pt x="15" y="7"/>
                  </a:cubicBezTo>
                  <a:cubicBezTo>
                    <a:pt x="15" y="3"/>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6" name="Freeform 76"/>
          <p:cNvSpPr>
            <a:spLocks/>
          </p:cNvSpPr>
          <p:nvPr/>
        </p:nvSpPr>
        <p:spPr bwMode="auto">
          <a:xfrm>
            <a:off x="2764599" y="1670846"/>
            <a:ext cx="587375" cy="246063"/>
          </a:xfrm>
          <a:custGeom>
            <a:avLst/>
            <a:gdLst>
              <a:gd name="T0" fmla="*/ 300 w 300"/>
              <a:gd name="T1" fmla="*/ 128 h 128"/>
              <a:gd name="T2" fmla="*/ 128 w 300"/>
              <a:gd name="T3" fmla="*/ 11 h 128"/>
              <a:gd name="T4" fmla="*/ 0 w 300"/>
              <a:gd name="T5" fmla="*/ 128 h 128"/>
            </a:gdLst>
            <a:ahLst/>
            <a:cxnLst>
              <a:cxn ang="0">
                <a:pos x="T0" y="T1"/>
              </a:cxn>
              <a:cxn ang="0">
                <a:pos x="T2" y="T3"/>
              </a:cxn>
              <a:cxn ang="0">
                <a:pos x="T4" y="T5"/>
              </a:cxn>
            </a:cxnLst>
            <a:rect l="0" t="0" r="r" b="b"/>
            <a:pathLst>
              <a:path w="300" h="128">
                <a:moveTo>
                  <a:pt x="300" y="128"/>
                </a:moveTo>
                <a:cubicBezTo>
                  <a:pt x="282" y="52"/>
                  <a:pt x="208" y="0"/>
                  <a:pt x="128" y="11"/>
                </a:cubicBezTo>
                <a:cubicBezTo>
                  <a:pt x="64" y="20"/>
                  <a:pt x="14" y="68"/>
                  <a:pt x="0" y="128"/>
                </a:cubicBezTo>
              </a:path>
            </a:pathLst>
          </a:custGeom>
          <a:noFill/>
          <a:ln w="635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Freeform 77"/>
          <p:cNvSpPr>
            <a:spLocks/>
          </p:cNvSpPr>
          <p:nvPr/>
        </p:nvSpPr>
        <p:spPr bwMode="auto">
          <a:xfrm>
            <a:off x="2764599" y="2053433"/>
            <a:ext cx="587375" cy="246063"/>
          </a:xfrm>
          <a:custGeom>
            <a:avLst/>
            <a:gdLst>
              <a:gd name="T0" fmla="*/ 0 w 300"/>
              <a:gd name="T1" fmla="*/ 0 h 128"/>
              <a:gd name="T2" fmla="*/ 171 w 300"/>
              <a:gd name="T3" fmla="*/ 117 h 128"/>
              <a:gd name="T4" fmla="*/ 300 w 300"/>
              <a:gd name="T5" fmla="*/ 0 h 128"/>
            </a:gdLst>
            <a:ahLst/>
            <a:cxnLst>
              <a:cxn ang="0">
                <a:pos x="T0" y="T1"/>
              </a:cxn>
              <a:cxn ang="0">
                <a:pos x="T2" y="T3"/>
              </a:cxn>
              <a:cxn ang="0">
                <a:pos x="T4" y="T5"/>
              </a:cxn>
            </a:cxnLst>
            <a:rect l="0" t="0" r="r" b="b"/>
            <a:pathLst>
              <a:path w="300" h="128">
                <a:moveTo>
                  <a:pt x="0" y="0"/>
                </a:moveTo>
                <a:cubicBezTo>
                  <a:pt x="18" y="76"/>
                  <a:pt x="92" y="128"/>
                  <a:pt x="171" y="117"/>
                </a:cubicBezTo>
                <a:cubicBezTo>
                  <a:pt x="236" y="107"/>
                  <a:pt x="285" y="60"/>
                  <a:pt x="300" y="0"/>
                </a:cubicBezTo>
              </a:path>
            </a:pathLst>
          </a:custGeom>
          <a:noFill/>
          <a:ln w="635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78"/>
          <p:cNvSpPr>
            <a:spLocks/>
          </p:cNvSpPr>
          <p:nvPr/>
        </p:nvSpPr>
        <p:spPr bwMode="auto">
          <a:xfrm>
            <a:off x="3322706" y="2027384"/>
            <a:ext cx="58738" cy="39688"/>
          </a:xfrm>
          <a:custGeom>
            <a:avLst/>
            <a:gdLst>
              <a:gd name="T0" fmla="*/ 37 w 37"/>
              <a:gd name="T1" fmla="*/ 25 h 25"/>
              <a:gd name="T2" fmla="*/ 25 w 37"/>
              <a:gd name="T3" fmla="*/ 0 h 25"/>
              <a:gd name="T4" fmla="*/ 0 w 37"/>
              <a:gd name="T5" fmla="*/ 12 h 25"/>
            </a:gdLst>
            <a:ahLst/>
            <a:cxnLst>
              <a:cxn ang="0">
                <a:pos x="T0" y="T1"/>
              </a:cxn>
              <a:cxn ang="0">
                <a:pos x="T2" y="T3"/>
              </a:cxn>
              <a:cxn ang="0">
                <a:pos x="T4" y="T5"/>
              </a:cxn>
            </a:cxnLst>
            <a:rect l="0" t="0" r="r" b="b"/>
            <a:pathLst>
              <a:path w="37" h="25">
                <a:moveTo>
                  <a:pt x="37" y="25"/>
                </a:moveTo>
                <a:lnTo>
                  <a:pt x="25" y="0"/>
                </a:lnTo>
                <a:lnTo>
                  <a:pt x="0" y="12"/>
                </a:lnTo>
              </a:path>
            </a:pathLst>
          </a:custGeom>
          <a:noFill/>
          <a:ln w="39688"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Freeform 79"/>
          <p:cNvSpPr>
            <a:spLocks/>
          </p:cNvSpPr>
          <p:nvPr/>
        </p:nvSpPr>
        <p:spPr bwMode="auto">
          <a:xfrm>
            <a:off x="2733540" y="1903271"/>
            <a:ext cx="58738" cy="39688"/>
          </a:xfrm>
          <a:custGeom>
            <a:avLst/>
            <a:gdLst>
              <a:gd name="T0" fmla="*/ 0 w 37"/>
              <a:gd name="T1" fmla="*/ 0 h 25"/>
              <a:gd name="T2" fmla="*/ 13 w 37"/>
              <a:gd name="T3" fmla="*/ 25 h 25"/>
              <a:gd name="T4" fmla="*/ 37 w 37"/>
              <a:gd name="T5" fmla="*/ 13 h 25"/>
            </a:gdLst>
            <a:ahLst/>
            <a:cxnLst>
              <a:cxn ang="0">
                <a:pos x="T0" y="T1"/>
              </a:cxn>
              <a:cxn ang="0">
                <a:pos x="T2" y="T3"/>
              </a:cxn>
              <a:cxn ang="0">
                <a:pos x="T4" y="T5"/>
              </a:cxn>
            </a:cxnLst>
            <a:rect l="0" t="0" r="r" b="b"/>
            <a:pathLst>
              <a:path w="37" h="25">
                <a:moveTo>
                  <a:pt x="0" y="0"/>
                </a:moveTo>
                <a:lnTo>
                  <a:pt x="13" y="25"/>
                </a:lnTo>
                <a:lnTo>
                  <a:pt x="37" y="13"/>
                </a:lnTo>
              </a:path>
            </a:pathLst>
          </a:custGeom>
          <a:noFill/>
          <a:ln w="39688"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737342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odacom Key Business Outcomes</a:t>
            </a:r>
          </a:p>
        </p:txBody>
      </p:sp>
      <p:grpSp>
        <p:nvGrpSpPr>
          <p:cNvPr id="5" name="Group 4"/>
          <p:cNvGrpSpPr/>
          <p:nvPr/>
        </p:nvGrpSpPr>
        <p:grpSpPr>
          <a:xfrm>
            <a:off x="2224730" y="1962462"/>
            <a:ext cx="1363681" cy="2313839"/>
            <a:chOff x="4356182" y="1103953"/>
            <a:chExt cx="1363681" cy="2313839"/>
          </a:xfrm>
        </p:grpSpPr>
        <p:pic>
          <p:nvPicPr>
            <p:cNvPr id="62" name="Picture 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56182" y="1103953"/>
              <a:ext cx="1285875" cy="1285875"/>
            </a:xfrm>
            <a:prstGeom prst="rect">
              <a:avLst/>
            </a:prstGeom>
          </p:spPr>
        </p:pic>
        <p:sp>
          <p:nvSpPr>
            <p:cNvPr id="64" name="TextBox 63"/>
            <p:cNvSpPr txBox="1"/>
            <p:nvPr/>
          </p:nvSpPr>
          <p:spPr>
            <a:xfrm>
              <a:off x="4356182" y="2402129"/>
              <a:ext cx="1363681" cy="1015663"/>
            </a:xfrm>
            <a:prstGeom prst="rect">
              <a:avLst/>
            </a:prstGeom>
            <a:noFill/>
          </p:spPr>
          <p:txBody>
            <a:bodyPr wrap="square" rtlCol="0">
              <a:spAutoFit/>
            </a:bodyPr>
            <a:lstStyle/>
            <a:p>
              <a:pPr algn="ctr"/>
              <a:r>
                <a:rPr lang="en-US" sz="1200" dirty="0">
                  <a:latin typeface="+mn-lt"/>
                </a:rPr>
                <a:t>Simplified Network offers </a:t>
              </a:r>
              <a:r>
                <a:rPr lang="en-US" sz="1200" b="1" dirty="0">
                  <a:solidFill>
                    <a:srgbClr val="E60000"/>
                  </a:solidFill>
                  <a:latin typeface="+mn-lt"/>
                </a:rPr>
                <a:t>faster time to revenue with SLA</a:t>
              </a:r>
              <a:endParaRPr lang="en-US" sz="1200" dirty="0">
                <a:solidFill>
                  <a:srgbClr val="E60000"/>
                </a:solidFill>
                <a:latin typeface="+mn-lt"/>
              </a:endParaRPr>
            </a:p>
          </p:txBody>
        </p:sp>
      </p:grpSp>
      <p:grpSp>
        <p:nvGrpSpPr>
          <p:cNvPr id="4" name="Group 3"/>
          <p:cNvGrpSpPr/>
          <p:nvPr/>
        </p:nvGrpSpPr>
        <p:grpSpPr>
          <a:xfrm>
            <a:off x="569923" y="1962462"/>
            <a:ext cx="1294196" cy="2296779"/>
            <a:chOff x="2524951" y="1128709"/>
            <a:chExt cx="1294196" cy="2296779"/>
          </a:xfrm>
        </p:grpSpPr>
        <p:pic>
          <p:nvPicPr>
            <p:cNvPr id="65" name="Picture 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33270" y="1128709"/>
              <a:ext cx="1285877" cy="1285877"/>
            </a:xfrm>
            <a:prstGeom prst="rect">
              <a:avLst/>
            </a:prstGeom>
          </p:spPr>
        </p:pic>
        <p:sp>
          <p:nvSpPr>
            <p:cNvPr id="66" name="TextBox 65"/>
            <p:cNvSpPr txBox="1"/>
            <p:nvPr/>
          </p:nvSpPr>
          <p:spPr>
            <a:xfrm>
              <a:off x="2524951" y="2409825"/>
              <a:ext cx="1276335" cy="1015663"/>
            </a:xfrm>
            <a:prstGeom prst="rect">
              <a:avLst/>
            </a:prstGeom>
            <a:noFill/>
          </p:spPr>
          <p:txBody>
            <a:bodyPr wrap="square" rtlCol="0">
              <a:spAutoFit/>
            </a:bodyPr>
            <a:lstStyle/>
            <a:p>
              <a:pPr algn="ctr"/>
              <a:r>
                <a:rPr lang="en-US" sz="1200" dirty="0">
                  <a:latin typeface="+mn-lt"/>
                </a:rPr>
                <a:t>Converged end-to-end Network offers </a:t>
              </a:r>
              <a:r>
                <a:rPr lang="en-US" sz="1200" b="1" dirty="0">
                  <a:solidFill>
                    <a:srgbClr val="E60000"/>
                  </a:solidFill>
                  <a:latin typeface="+mn-lt"/>
                </a:rPr>
                <a:t>faster time to service</a:t>
              </a:r>
            </a:p>
          </p:txBody>
        </p:sp>
      </p:grpSp>
      <p:grpSp>
        <p:nvGrpSpPr>
          <p:cNvPr id="6" name="Group 5"/>
          <p:cNvGrpSpPr/>
          <p:nvPr/>
        </p:nvGrpSpPr>
        <p:grpSpPr>
          <a:xfrm>
            <a:off x="3966883" y="1962462"/>
            <a:ext cx="1296579" cy="2313839"/>
            <a:chOff x="5686440" y="1111649"/>
            <a:chExt cx="1296579" cy="2313839"/>
          </a:xfrm>
        </p:grpSpPr>
        <p:pic>
          <p:nvPicPr>
            <p:cNvPr id="67" name="Picture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a:off x="5697144" y="1111649"/>
              <a:ext cx="1285875" cy="1285875"/>
            </a:xfrm>
            <a:prstGeom prst="rect">
              <a:avLst/>
            </a:prstGeom>
          </p:spPr>
        </p:pic>
        <p:sp>
          <p:nvSpPr>
            <p:cNvPr id="68" name="TextBox 67"/>
            <p:cNvSpPr txBox="1"/>
            <p:nvPr/>
          </p:nvSpPr>
          <p:spPr>
            <a:xfrm>
              <a:off x="5686440" y="2409825"/>
              <a:ext cx="1276335" cy="1015663"/>
            </a:xfrm>
            <a:prstGeom prst="rect">
              <a:avLst/>
            </a:prstGeom>
            <a:noFill/>
          </p:spPr>
          <p:txBody>
            <a:bodyPr wrap="square" rtlCol="0">
              <a:spAutoFit/>
            </a:bodyPr>
            <a:lstStyle/>
            <a:p>
              <a:pPr algn="ctr"/>
              <a:r>
                <a:rPr lang="en-US" sz="1200" dirty="0">
                  <a:latin typeface="+mn-lt"/>
                </a:rPr>
                <a:t>Automation </a:t>
              </a:r>
              <a:r>
                <a:rPr lang="en-US" sz="1200" b="1" dirty="0">
                  <a:solidFill>
                    <a:srgbClr val="E60000"/>
                  </a:solidFill>
                  <a:latin typeface="+mn-lt"/>
                </a:rPr>
                <a:t>reduces OPEX </a:t>
              </a:r>
              <a:r>
                <a:rPr lang="en-US" sz="1200" dirty="0">
                  <a:latin typeface="+mn-lt"/>
                </a:rPr>
                <a:t>while enabling precision workflows</a:t>
              </a:r>
            </a:p>
          </p:txBody>
        </p:sp>
      </p:grpSp>
      <p:grpSp>
        <p:nvGrpSpPr>
          <p:cNvPr id="14" name="Group 13"/>
          <p:cNvGrpSpPr/>
          <p:nvPr/>
        </p:nvGrpSpPr>
        <p:grpSpPr>
          <a:xfrm>
            <a:off x="7384463" y="1926661"/>
            <a:ext cx="1441021" cy="2496479"/>
            <a:chOff x="7384462" y="1342213"/>
            <a:chExt cx="1441021" cy="2496479"/>
          </a:xfrm>
        </p:grpSpPr>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86845" y="1342213"/>
              <a:ext cx="1285875" cy="1285875"/>
            </a:xfrm>
            <a:prstGeom prst="rect">
              <a:avLst/>
            </a:prstGeom>
          </p:spPr>
        </p:pic>
        <p:sp>
          <p:nvSpPr>
            <p:cNvPr id="110" name="TextBox 109"/>
            <p:cNvSpPr txBox="1"/>
            <p:nvPr/>
          </p:nvSpPr>
          <p:spPr>
            <a:xfrm>
              <a:off x="7384462" y="2638363"/>
              <a:ext cx="1441021" cy="1200329"/>
            </a:xfrm>
            <a:prstGeom prst="rect">
              <a:avLst/>
            </a:prstGeom>
            <a:noFill/>
          </p:spPr>
          <p:txBody>
            <a:bodyPr wrap="square" rtlCol="0">
              <a:spAutoFit/>
            </a:bodyPr>
            <a:lstStyle/>
            <a:p>
              <a:pPr algn="ctr"/>
              <a:r>
                <a:rPr lang="en-US" sz="1200" dirty="0">
                  <a:latin typeface="+mn-lt"/>
                </a:rPr>
                <a:t>Converged SDN enables creation of </a:t>
              </a:r>
              <a:r>
                <a:rPr lang="en-US" sz="1200" b="1" dirty="0">
                  <a:solidFill>
                    <a:srgbClr val="00B050"/>
                  </a:solidFill>
                  <a:latin typeface="+mn-lt"/>
                </a:rPr>
                <a:t> </a:t>
              </a:r>
              <a:r>
                <a:rPr lang="en-US" sz="1200" b="1" dirty="0">
                  <a:solidFill>
                    <a:srgbClr val="E60000"/>
                  </a:solidFill>
                  <a:latin typeface="+mn-lt"/>
                </a:rPr>
                <a:t>“Any G” services </a:t>
              </a:r>
              <a:r>
                <a:rPr lang="en-US" sz="1200" dirty="0">
                  <a:latin typeface="+mn-lt"/>
                </a:rPr>
                <a:t>and new revenue opportunities</a:t>
              </a:r>
            </a:p>
          </p:txBody>
        </p:sp>
      </p:grpSp>
      <p:grpSp>
        <p:nvGrpSpPr>
          <p:cNvPr id="12" name="Group 11"/>
          <p:cNvGrpSpPr/>
          <p:nvPr/>
        </p:nvGrpSpPr>
        <p:grpSpPr>
          <a:xfrm>
            <a:off x="5640715" y="1926662"/>
            <a:ext cx="1441021" cy="2683171"/>
            <a:chOff x="5982366" y="1111648"/>
            <a:chExt cx="1441021" cy="2683171"/>
          </a:xfrm>
        </p:grpSpPr>
        <p:pic>
          <p:nvPicPr>
            <p:cNvPr id="111" name="Picture 1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62555" y="1111648"/>
              <a:ext cx="1285875" cy="1285875"/>
            </a:xfrm>
            <a:prstGeom prst="rect">
              <a:avLst/>
            </a:prstGeom>
          </p:spPr>
        </p:pic>
        <p:sp>
          <p:nvSpPr>
            <p:cNvPr id="112" name="TextBox 111"/>
            <p:cNvSpPr txBox="1"/>
            <p:nvPr/>
          </p:nvSpPr>
          <p:spPr>
            <a:xfrm>
              <a:off x="5982366" y="2409824"/>
              <a:ext cx="1441021" cy="1384995"/>
            </a:xfrm>
            <a:prstGeom prst="rect">
              <a:avLst/>
            </a:prstGeom>
            <a:noFill/>
          </p:spPr>
          <p:txBody>
            <a:bodyPr wrap="square" rtlCol="0">
              <a:spAutoFit/>
            </a:bodyPr>
            <a:lstStyle/>
            <a:p>
              <a:pPr algn="ctr"/>
              <a:r>
                <a:rPr lang="en-US" sz="1200" dirty="0">
                  <a:latin typeface="+mn-lt"/>
                </a:rPr>
                <a:t>Real-Time telemetry and analytics enable new services &amp; provide </a:t>
              </a:r>
              <a:r>
                <a:rPr lang="en-US" sz="1200" b="1" dirty="0">
                  <a:solidFill>
                    <a:srgbClr val="E60000"/>
                  </a:solidFill>
                  <a:latin typeface="+mn-lt"/>
                </a:rPr>
                <a:t>better utilization of CAPEX </a:t>
              </a:r>
            </a:p>
          </p:txBody>
        </p:sp>
      </p:grpSp>
      <p:sp>
        <p:nvSpPr>
          <p:cNvPr id="3" name="TextBox 2"/>
          <p:cNvSpPr txBox="1"/>
          <p:nvPr/>
        </p:nvSpPr>
        <p:spPr>
          <a:xfrm>
            <a:off x="659831" y="1240156"/>
            <a:ext cx="8000967" cy="523220"/>
          </a:xfrm>
          <a:prstGeom prst="rect">
            <a:avLst/>
          </a:prstGeom>
          <a:noFill/>
        </p:spPr>
        <p:txBody>
          <a:bodyPr wrap="square" rtlCol="0">
            <a:spAutoFit/>
          </a:bodyPr>
          <a:lstStyle/>
          <a:p>
            <a:pPr algn="ctr"/>
            <a:r>
              <a:rPr lang="en-US" sz="1400" dirty="0"/>
              <a:t>The Converged Network Design is </a:t>
            </a:r>
            <a:r>
              <a:rPr lang="en-US" sz="1400" b="1" dirty="0"/>
              <a:t>simplistic</a:t>
            </a:r>
            <a:r>
              <a:rPr lang="en-US" sz="1400" dirty="0"/>
              <a:t>, making it </a:t>
            </a:r>
            <a:r>
              <a:rPr lang="en-US" sz="1400" b="1" dirty="0"/>
              <a:t>easy</a:t>
            </a:r>
            <a:r>
              <a:rPr lang="en-US" sz="1400" dirty="0"/>
              <a:t> for </a:t>
            </a:r>
            <a:r>
              <a:rPr lang="en-US" sz="1400" dirty="0">
                <a:solidFill>
                  <a:srgbClr val="E60000"/>
                </a:solidFill>
              </a:rPr>
              <a:t>Vodacom</a:t>
            </a:r>
            <a:r>
              <a:rPr lang="en-US" sz="1400" dirty="0"/>
              <a:t> to deploy an </a:t>
            </a:r>
            <a:r>
              <a:rPr lang="en-US" sz="1400" b="1" dirty="0"/>
              <a:t>automated</a:t>
            </a:r>
            <a:r>
              <a:rPr lang="en-US" sz="1400" dirty="0"/>
              <a:t> network that delivers faster time to revenue.</a:t>
            </a:r>
          </a:p>
        </p:txBody>
      </p:sp>
    </p:spTree>
    <p:extLst>
      <p:ext uri="{BB962C8B-B14F-4D97-AF65-F5344CB8AC3E}">
        <p14:creationId xmlns:p14="http://schemas.microsoft.com/office/powerpoint/2010/main" val="214021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6" name="Прямоугольник 1">
            <a:extLst>
              <a:ext uri="{FF2B5EF4-FFF2-40B4-BE49-F238E27FC236}">
                <a16:creationId xmlns:a16="http://schemas.microsoft.com/office/drawing/2014/main" id="{7EA0483C-CD49-42A1-908E-383A6BDFDDEA}"/>
              </a:ext>
            </a:extLst>
          </p:cNvPr>
          <p:cNvSpPr/>
          <p:nvPr/>
        </p:nvSpPr>
        <p:spPr>
          <a:xfrm>
            <a:off x="7541983" y="3951766"/>
            <a:ext cx="1038110" cy="1170138"/>
          </a:xfrm>
          <a:prstGeom prst="rect">
            <a:avLst/>
          </a:prstGeom>
          <a:gradFill>
            <a:gsLst>
              <a:gs pos="100000">
                <a:sysClr val="window" lastClr="FFFFFF">
                  <a:lumMod val="85000"/>
                </a:sysClr>
              </a:gs>
              <a:gs pos="0">
                <a:sysClr val="window" lastClr="FFFFFF">
                  <a:lumMod val="95000"/>
                  <a:alpha val="10000"/>
                </a:sysClr>
              </a:gs>
            </a:gsLst>
            <a:lin ang="5400000" scaled="1"/>
          </a:gradFill>
          <a:ln w="12700" cap="flat" cmpd="sng" algn="ctr">
            <a:noFill/>
            <a:prstDash val="solid"/>
            <a:miter lim="800000"/>
          </a:ln>
          <a:effectLst/>
        </p:spPr>
        <p:txBody>
          <a:bodyPr rtlCol="0" anchor="ctr"/>
          <a:lstStyle/>
          <a:p>
            <a:pPr algn="ctr" defTabSz="914105">
              <a:defRPr/>
            </a:pPr>
            <a:endParaRPr lang="ru-RU" kern="0">
              <a:solidFill>
                <a:prstClr val="white"/>
              </a:solidFill>
              <a:latin typeface="Calibri"/>
            </a:endParaRPr>
          </a:p>
        </p:txBody>
      </p:sp>
      <p:sp>
        <p:nvSpPr>
          <p:cNvPr id="185" name="Прямоугольник 1">
            <a:extLst>
              <a:ext uri="{FF2B5EF4-FFF2-40B4-BE49-F238E27FC236}">
                <a16:creationId xmlns:a16="http://schemas.microsoft.com/office/drawing/2014/main" id="{4AB0DF7D-F2D4-4753-93EE-8D536A1E5BB1}"/>
              </a:ext>
            </a:extLst>
          </p:cNvPr>
          <p:cNvSpPr/>
          <p:nvPr/>
        </p:nvSpPr>
        <p:spPr>
          <a:xfrm>
            <a:off x="5656086" y="3951766"/>
            <a:ext cx="1615464" cy="1170138"/>
          </a:xfrm>
          <a:prstGeom prst="rect">
            <a:avLst/>
          </a:prstGeom>
          <a:gradFill>
            <a:gsLst>
              <a:gs pos="100000">
                <a:sysClr val="window" lastClr="FFFFFF">
                  <a:lumMod val="85000"/>
                </a:sysClr>
              </a:gs>
              <a:gs pos="0">
                <a:sysClr val="window" lastClr="FFFFFF">
                  <a:lumMod val="95000"/>
                  <a:alpha val="10000"/>
                </a:sysClr>
              </a:gs>
            </a:gsLst>
            <a:lin ang="5400000" scaled="1"/>
          </a:gradFill>
          <a:ln w="12700" cap="flat" cmpd="sng" algn="ctr">
            <a:noFill/>
            <a:prstDash val="solid"/>
            <a:miter lim="800000"/>
          </a:ln>
          <a:effectLst/>
        </p:spPr>
        <p:txBody>
          <a:bodyPr rtlCol="0" anchor="ctr"/>
          <a:lstStyle/>
          <a:p>
            <a:pPr algn="ctr" defTabSz="914105">
              <a:defRPr/>
            </a:pPr>
            <a:endParaRPr lang="ru-RU" kern="0">
              <a:solidFill>
                <a:prstClr val="white"/>
              </a:solidFill>
              <a:latin typeface="Calibri"/>
            </a:endParaRPr>
          </a:p>
        </p:txBody>
      </p:sp>
      <p:sp>
        <p:nvSpPr>
          <p:cNvPr id="184" name="Прямоугольник 1">
            <a:extLst>
              <a:ext uri="{FF2B5EF4-FFF2-40B4-BE49-F238E27FC236}">
                <a16:creationId xmlns:a16="http://schemas.microsoft.com/office/drawing/2014/main" id="{B7156680-805F-408F-B965-317CB23FB3B3}"/>
              </a:ext>
            </a:extLst>
          </p:cNvPr>
          <p:cNvSpPr/>
          <p:nvPr/>
        </p:nvSpPr>
        <p:spPr>
          <a:xfrm>
            <a:off x="4613899" y="3951766"/>
            <a:ext cx="876487" cy="1170138"/>
          </a:xfrm>
          <a:prstGeom prst="rect">
            <a:avLst/>
          </a:prstGeom>
          <a:gradFill>
            <a:gsLst>
              <a:gs pos="100000">
                <a:sysClr val="window" lastClr="FFFFFF">
                  <a:lumMod val="85000"/>
                </a:sysClr>
              </a:gs>
              <a:gs pos="0">
                <a:sysClr val="window" lastClr="FFFFFF">
                  <a:lumMod val="95000"/>
                  <a:alpha val="10000"/>
                </a:sysClr>
              </a:gs>
            </a:gsLst>
            <a:lin ang="5400000" scaled="1"/>
          </a:gradFill>
          <a:ln w="12700" cap="flat" cmpd="sng" algn="ctr">
            <a:noFill/>
            <a:prstDash val="solid"/>
            <a:miter lim="800000"/>
          </a:ln>
          <a:effectLst/>
        </p:spPr>
        <p:txBody>
          <a:bodyPr rtlCol="0" anchor="ctr"/>
          <a:lstStyle/>
          <a:p>
            <a:pPr algn="ctr" defTabSz="914105">
              <a:defRPr/>
            </a:pPr>
            <a:endParaRPr lang="ru-RU" kern="0">
              <a:solidFill>
                <a:prstClr val="white"/>
              </a:solidFill>
              <a:latin typeface="Calibri"/>
            </a:endParaRPr>
          </a:p>
        </p:txBody>
      </p:sp>
      <p:sp>
        <p:nvSpPr>
          <p:cNvPr id="170" name="TextBox 169">
            <a:extLst>
              <a:ext uri="{FF2B5EF4-FFF2-40B4-BE49-F238E27FC236}">
                <a16:creationId xmlns:a16="http://schemas.microsoft.com/office/drawing/2014/main" id="{1950F6DB-D083-4E35-A237-D852442095CB}"/>
              </a:ext>
            </a:extLst>
          </p:cNvPr>
          <p:cNvSpPr txBox="1"/>
          <p:nvPr/>
        </p:nvSpPr>
        <p:spPr>
          <a:xfrm>
            <a:off x="216967" y="4916191"/>
            <a:ext cx="3375816" cy="181637"/>
          </a:xfrm>
          <a:prstGeom prst="rect">
            <a:avLst/>
          </a:prstGeom>
          <a:solidFill>
            <a:schemeClr val="bg2"/>
          </a:solidFill>
        </p:spPr>
        <p:txBody>
          <a:bodyPr wrap="square" rtlCol="0">
            <a:noAutofit/>
          </a:bodyPr>
          <a:lstStyle/>
          <a:p>
            <a:endParaRPr lang="en-US" sz="900" dirty="0">
              <a:solidFill>
                <a:schemeClr val="accent1"/>
              </a:solidFill>
            </a:endParaRPr>
          </a:p>
        </p:txBody>
      </p:sp>
      <p:sp>
        <p:nvSpPr>
          <p:cNvPr id="183" name="Прямоугольник 1">
            <a:extLst>
              <a:ext uri="{FF2B5EF4-FFF2-40B4-BE49-F238E27FC236}">
                <a16:creationId xmlns:a16="http://schemas.microsoft.com/office/drawing/2014/main" id="{1B51CA42-3C7C-474A-89C2-958F0E86B6AB}"/>
              </a:ext>
            </a:extLst>
          </p:cNvPr>
          <p:cNvSpPr/>
          <p:nvPr/>
        </p:nvSpPr>
        <p:spPr>
          <a:xfrm>
            <a:off x="2581161" y="3951766"/>
            <a:ext cx="876487" cy="1170138"/>
          </a:xfrm>
          <a:prstGeom prst="rect">
            <a:avLst/>
          </a:prstGeom>
          <a:gradFill>
            <a:gsLst>
              <a:gs pos="100000">
                <a:sysClr val="window" lastClr="FFFFFF">
                  <a:lumMod val="85000"/>
                </a:sysClr>
              </a:gs>
              <a:gs pos="0">
                <a:sysClr val="window" lastClr="FFFFFF">
                  <a:lumMod val="95000"/>
                  <a:alpha val="10000"/>
                </a:sysClr>
              </a:gs>
            </a:gsLst>
            <a:lin ang="5400000" scaled="1"/>
          </a:gradFill>
          <a:ln w="12700" cap="flat" cmpd="sng" algn="ctr">
            <a:noFill/>
            <a:prstDash val="solid"/>
            <a:miter lim="800000"/>
          </a:ln>
          <a:effectLst/>
        </p:spPr>
        <p:txBody>
          <a:bodyPr rtlCol="0" anchor="ctr"/>
          <a:lstStyle/>
          <a:p>
            <a:pPr algn="ctr" defTabSz="914105">
              <a:defRPr/>
            </a:pPr>
            <a:endParaRPr lang="ru-RU" kern="0">
              <a:solidFill>
                <a:prstClr val="white"/>
              </a:solidFill>
              <a:latin typeface="Calibri"/>
            </a:endParaRPr>
          </a:p>
        </p:txBody>
      </p:sp>
      <p:cxnSp>
        <p:nvCxnSpPr>
          <p:cNvPr id="23" name="Straight Connector 22">
            <a:extLst>
              <a:ext uri="{FF2B5EF4-FFF2-40B4-BE49-F238E27FC236}">
                <a16:creationId xmlns:a16="http://schemas.microsoft.com/office/drawing/2014/main" id="{56CC1B31-C039-447B-AC98-7870651B3516}"/>
              </a:ext>
            </a:extLst>
          </p:cNvPr>
          <p:cNvCxnSpPr>
            <a:cxnSpLocks/>
          </p:cNvCxnSpPr>
          <p:nvPr/>
        </p:nvCxnSpPr>
        <p:spPr>
          <a:xfrm>
            <a:off x="3041795" y="4610900"/>
            <a:ext cx="0" cy="215179"/>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57D43FD4-5E96-4B87-9564-D0F7341A1FE0}"/>
              </a:ext>
            </a:extLst>
          </p:cNvPr>
          <p:cNvSpPr/>
          <p:nvPr/>
        </p:nvSpPr>
        <p:spPr>
          <a:xfrm>
            <a:off x="1617560" y="1258368"/>
            <a:ext cx="7525458" cy="1301818"/>
          </a:xfrm>
          <a:prstGeom prst="rect">
            <a:avLst/>
          </a:prstGeom>
          <a:gradFill>
            <a:gsLst>
              <a:gs pos="0">
                <a:srgbClr val="00B0F0"/>
              </a:gs>
              <a:gs pos="79000">
                <a:schemeClr val="accent1">
                  <a:lumMod val="45000"/>
                  <a:lumOff val="55000"/>
                </a:schemeClr>
              </a:gs>
              <a:gs pos="98000">
                <a:schemeClr val="bg2"/>
              </a:gs>
            </a:gsLst>
            <a:lin ang="5400000" scaled="1"/>
          </a:gradFill>
          <a:ln w="3175">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D4966945-0B8F-44C7-92B2-98183A86B6BE}"/>
              </a:ext>
            </a:extLst>
          </p:cNvPr>
          <p:cNvSpPr/>
          <p:nvPr/>
        </p:nvSpPr>
        <p:spPr>
          <a:xfrm>
            <a:off x="2270944" y="2674535"/>
            <a:ext cx="6872075" cy="1258759"/>
          </a:xfrm>
          <a:prstGeom prst="rect">
            <a:avLst/>
          </a:prstGeom>
          <a:gradFill flip="none" rotWithShape="1">
            <a:gsLst>
              <a:gs pos="0">
                <a:schemeClr val="tx1">
                  <a:lumMod val="50000"/>
                  <a:lumOff val="50000"/>
                </a:schemeClr>
              </a:gs>
              <a:gs pos="79000">
                <a:schemeClr val="tx1">
                  <a:lumMod val="25000"/>
                  <a:lumOff val="75000"/>
                </a:schemeClr>
              </a:gs>
              <a:gs pos="98000">
                <a:schemeClr val="bg2"/>
              </a:gs>
            </a:gsLst>
            <a:lin ang="5400000" scaled="1"/>
            <a:tileRect/>
          </a:gradFill>
          <a:ln w="3175">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Title 1">
            <a:extLst>
              <a:ext uri="{FF2B5EF4-FFF2-40B4-BE49-F238E27FC236}">
                <a16:creationId xmlns:a16="http://schemas.microsoft.com/office/drawing/2014/main" id="{B66489AB-5645-47F9-A8F9-20CBC8BB04D8}"/>
              </a:ext>
            </a:extLst>
          </p:cNvPr>
          <p:cNvSpPr>
            <a:spLocks noGrp="1"/>
          </p:cNvSpPr>
          <p:nvPr>
            <p:ph type="title"/>
          </p:nvPr>
        </p:nvSpPr>
        <p:spPr>
          <a:xfrm>
            <a:off x="109493" y="-61179"/>
            <a:ext cx="8345488" cy="73183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5</a:t>
            </a:r>
            <a:r>
              <a:rPr lang="en-US" baseline="30000" dirty="0"/>
              <a:t>th</a:t>
            </a:r>
            <a:r>
              <a:rPr lang="en-US" dirty="0"/>
              <a:t> Generation: Plan of Record</a:t>
            </a:r>
            <a:endParaRPr lang="en-US" sz="1400" dirty="0"/>
          </a:p>
        </p:txBody>
      </p:sp>
      <p:pic>
        <p:nvPicPr>
          <p:cNvPr id="3" name="Picture 2">
            <a:extLst>
              <a:ext uri="{FF2B5EF4-FFF2-40B4-BE49-F238E27FC236}">
                <a16:creationId xmlns:a16="http://schemas.microsoft.com/office/drawing/2014/main" id="{BDF2EB9D-FB87-44A0-BE44-C5926D271652}"/>
              </a:ext>
            </a:extLst>
          </p:cNvPr>
          <p:cNvPicPr>
            <a:picLocks noChangeAspect="1"/>
          </p:cNvPicPr>
          <p:nvPr/>
        </p:nvPicPr>
        <p:blipFill>
          <a:blip r:embed="rId3"/>
          <a:stretch>
            <a:fillRect/>
          </a:stretch>
        </p:blipFill>
        <p:spPr>
          <a:xfrm>
            <a:off x="-982" y="2201586"/>
            <a:ext cx="1537877" cy="1194199"/>
          </a:xfrm>
          <a:prstGeom prst="rect">
            <a:avLst/>
          </a:prstGeom>
        </p:spPr>
      </p:pic>
      <p:pic>
        <p:nvPicPr>
          <p:cNvPr id="6" name="Picture 5">
            <a:extLst>
              <a:ext uri="{FF2B5EF4-FFF2-40B4-BE49-F238E27FC236}">
                <a16:creationId xmlns:a16="http://schemas.microsoft.com/office/drawing/2014/main" id="{7A40B743-E6E5-4073-BAB2-2975E7F6B626}"/>
              </a:ext>
            </a:extLst>
          </p:cNvPr>
          <p:cNvPicPr>
            <a:picLocks noChangeAspect="1"/>
          </p:cNvPicPr>
          <p:nvPr/>
        </p:nvPicPr>
        <p:blipFill>
          <a:blip r:embed="rId4"/>
          <a:stretch>
            <a:fillRect/>
          </a:stretch>
        </p:blipFill>
        <p:spPr>
          <a:xfrm>
            <a:off x="1640588" y="3004534"/>
            <a:ext cx="545085" cy="731837"/>
          </a:xfrm>
          <a:prstGeom prst="rect">
            <a:avLst/>
          </a:prstGeom>
        </p:spPr>
      </p:pic>
      <p:sp>
        <p:nvSpPr>
          <p:cNvPr id="102" name="Right Bracket 101">
            <a:extLst>
              <a:ext uri="{FF2B5EF4-FFF2-40B4-BE49-F238E27FC236}">
                <a16:creationId xmlns:a16="http://schemas.microsoft.com/office/drawing/2014/main" id="{0DB39167-85F0-4897-8908-8759858A422D}"/>
              </a:ext>
            </a:extLst>
          </p:cNvPr>
          <p:cNvSpPr/>
          <p:nvPr/>
        </p:nvSpPr>
        <p:spPr>
          <a:xfrm flipH="1">
            <a:off x="1581986" y="1258367"/>
            <a:ext cx="114583" cy="2704197"/>
          </a:xfrm>
          <a:prstGeom prst="rightBracket">
            <a:avLst/>
          </a:prstGeom>
          <a:ln w="76200" cmpd="thickThi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075">
              <a:defRPr/>
            </a:pPr>
            <a:endParaRPr lang="en-US" sz="1900">
              <a:solidFill>
                <a:srgbClr val="282828"/>
              </a:solidFill>
              <a:latin typeface="CiscoSansTT ExtraLight"/>
            </a:endParaRPr>
          </a:p>
        </p:txBody>
      </p:sp>
      <p:sp>
        <p:nvSpPr>
          <p:cNvPr id="103" name="Right Bracket 102">
            <a:extLst>
              <a:ext uri="{FF2B5EF4-FFF2-40B4-BE49-F238E27FC236}">
                <a16:creationId xmlns:a16="http://schemas.microsoft.com/office/drawing/2014/main" id="{5A0EB69A-59F6-4BE8-89DC-7B99F0EBC0FA}"/>
              </a:ext>
            </a:extLst>
          </p:cNvPr>
          <p:cNvSpPr/>
          <p:nvPr/>
        </p:nvSpPr>
        <p:spPr>
          <a:xfrm flipH="1">
            <a:off x="2243832" y="2690587"/>
            <a:ext cx="145349" cy="1271976"/>
          </a:xfrm>
          <a:prstGeom prst="rightBracket">
            <a:avLst/>
          </a:prstGeom>
          <a:noFill/>
          <a:ln w="69850" cmpd="thickThi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075">
              <a:defRPr/>
            </a:pPr>
            <a:endParaRPr lang="en-US" sz="1900">
              <a:solidFill>
                <a:srgbClr val="282828"/>
              </a:solidFill>
              <a:latin typeface="CiscoSansTT ExtraLight"/>
            </a:endParaRPr>
          </a:p>
        </p:txBody>
      </p:sp>
      <p:sp>
        <p:nvSpPr>
          <p:cNvPr id="105" name="Прямоугольник с двумя скругленными соседними углами 4">
            <a:extLst>
              <a:ext uri="{FF2B5EF4-FFF2-40B4-BE49-F238E27FC236}">
                <a16:creationId xmlns:a16="http://schemas.microsoft.com/office/drawing/2014/main" id="{A31BF583-FB5D-4C26-9405-32EB3FC7B362}"/>
              </a:ext>
            </a:extLst>
          </p:cNvPr>
          <p:cNvSpPr/>
          <p:nvPr/>
        </p:nvSpPr>
        <p:spPr>
          <a:xfrm rot="5400000">
            <a:off x="5556837" y="826596"/>
            <a:ext cx="397936" cy="6669875"/>
          </a:xfrm>
          <a:prstGeom prst="round2SameRect">
            <a:avLst>
              <a:gd name="adj1" fmla="val 50000"/>
              <a:gd name="adj2" fmla="val 0"/>
            </a:avLst>
          </a:prstGeom>
          <a:solidFill>
            <a:srgbClr val="0070C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lIns="45699" tIns="22849" rIns="45699" bIns="22849" rtlCol="0" anchor="ctr"/>
          <a:lstStyle/>
          <a:p>
            <a:pPr algn="ctr"/>
            <a:endParaRPr lang="ru-RU" b="1" dirty="0">
              <a:latin typeface="DIN Pro Regular" panose="020B0504020101020102" pitchFamily="34" charset="0"/>
              <a:cs typeface="DIN Pro Regular" panose="020B0504020101020102" pitchFamily="34" charset="0"/>
            </a:endParaRPr>
          </a:p>
        </p:txBody>
      </p:sp>
      <p:sp>
        <p:nvSpPr>
          <p:cNvPr id="106" name="Text Box 62">
            <a:extLst>
              <a:ext uri="{FF2B5EF4-FFF2-40B4-BE49-F238E27FC236}">
                <a16:creationId xmlns:a16="http://schemas.microsoft.com/office/drawing/2014/main" id="{F02142E9-6054-4F81-8D02-4F3EEB3341C6}"/>
              </a:ext>
            </a:extLst>
          </p:cNvPr>
          <p:cNvSpPr txBox="1">
            <a:spLocks noChangeArrowheads="1"/>
          </p:cNvSpPr>
          <p:nvPr/>
        </p:nvSpPr>
        <p:spPr bwMode="auto">
          <a:xfrm>
            <a:off x="2378855" y="1701152"/>
            <a:ext cx="1325880" cy="268867"/>
          </a:xfrm>
          <a:prstGeom prst="roundRect">
            <a:avLst/>
          </a:prstGeom>
          <a:solidFill>
            <a:schemeClr val="accent3"/>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lvl1pPr>
              <a:defRPr sz="2400">
                <a:solidFill>
                  <a:schemeClr val="tx1"/>
                </a:solidFill>
                <a:latin typeface="Helvetica 45 Light" pitchFamily="34" charset="0"/>
              </a:defRPr>
            </a:lvl1pPr>
            <a:lvl2pPr marL="742950" indent="-285750">
              <a:defRPr sz="2400">
                <a:solidFill>
                  <a:schemeClr val="tx1"/>
                </a:solidFill>
                <a:latin typeface="Helvetica 45 Light" pitchFamily="34" charset="0"/>
              </a:defRPr>
            </a:lvl2pPr>
            <a:lvl3pPr marL="1143000" indent="-228600">
              <a:defRPr sz="2400">
                <a:solidFill>
                  <a:schemeClr val="tx1"/>
                </a:solidFill>
                <a:latin typeface="Helvetica 45 Light" pitchFamily="34" charset="0"/>
              </a:defRPr>
            </a:lvl3pPr>
            <a:lvl4pPr marL="1600200" indent="-228600">
              <a:defRPr sz="2400">
                <a:solidFill>
                  <a:schemeClr val="tx1"/>
                </a:solidFill>
                <a:latin typeface="Helvetica 45 Light" pitchFamily="34" charset="0"/>
              </a:defRPr>
            </a:lvl4pPr>
            <a:lvl5pPr marL="2057400" indent="-228600">
              <a:defRPr sz="2400">
                <a:solidFill>
                  <a:schemeClr val="tx1"/>
                </a:solidFill>
                <a:latin typeface="Helvetica 45 Light" pitchFamily="34" charset="0"/>
              </a:defRPr>
            </a:lvl5pPr>
            <a:lvl6pPr marL="2514600" indent="-228600" fontAlgn="base">
              <a:spcBef>
                <a:spcPct val="0"/>
              </a:spcBef>
              <a:spcAft>
                <a:spcPct val="0"/>
              </a:spcAft>
              <a:defRPr sz="2400">
                <a:solidFill>
                  <a:schemeClr val="tx1"/>
                </a:solidFill>
                <a:latin typeface="Helvetica 45 Light" pitchFamily="34" charset="0"/>
              </a:defRPr>
            </a:lvl6pPr>
            <a:lvl7pPr marL="2971800" indent="-228600" fontAlgn="base">
              <a:spcBef>
                <a:spcPct val="0"/>
              </a:spcBef>
              <a:spcAft>
                <a:spcPct val="0"/>
              </a:spcAft>
              <a:defRPr sz="2400">
                <a:solidFill>
                  <a:schemeClr val="tx1"/>
                </a:solidFill>
                <a:latin typeface="Helvetica 45 Light" pitchFamily="34" charset="0"/>
              </a:defRPr>
            </a:lvl7pPr>
            <a:lvl8pPr marL="3429000" indent="-228600" fontAlgn="base">
              <a:spcBef>
                <a:spcPct val="0"/>
              </a:spcBef>
              <a:spcAft>
                <a:spcPct val="0"/>
              </a:spcAft>
              <a:defRPr sz="2400">
                <a:solidFill>
                  <a:schemeClr val="tx1"/>
                </a:solidFill>
                <a:latin typeface="Helvetica 45 Light" pitchFamily="34" charset="0"/>
              </a:defRPr>
            </a:lvl8pPr>
            <a:lvl9pPr marL="3886200" indent="-228600" fontAlgn="base">
              <a:spcBef>
                <a:spcPct val="0"/>
              </a:spcBef>
              <a:spcAft>
                <a:spcPct val="0"/>
              </a:spcAft>
              <a:defRPr sz="2400">
                <a:solidFill>
                  <a:schemeClr val="tx1"/>
                </a:solidFill>
                <a:latin typeface="Helvetica 45 Light" pitchFamily="34" charset="0"/>
              </a:defRPr>
            </a:lvl9pPr>
          </a:lstStyle>
          <a:p>
            <a:pPr algn="ctr" defTabSz="457178">
              <a:defRPr/>
            </a:pPr>
            <a:r>
              <a:rPr lang="en-US" sz="1100" b="1" dirty="0">
                <a:solidFill>
                  <a:schemeClr val="bg2"/>
                </a:solidFill>
                <a:latin typeface="Arial" panose="020B0604020202020204" pitchFamily="34" charset="0"/>
                <a:cs typeface="Arial" panose="020B0604020202020204" pitchFamily="34" charset="0"/>
              </a:rPr>
              <a:t>32x100G </a:t>
            </a:r>
            <a:r>
              <a:rPr lang="en-US" sz="1050" b="1" dirty="0">
                <a:solidFill>
                  <a:schemeClr val="bg2"/>
                </a:solidFill>
                <a:latin typeface="Arial" panose="020B0604020202020204" pitchFamily="34" charset="0"/>
                <a:cs typeface="Arial" panose="020B0604020202020204" pitchFamily="34" charset="0"/>
              </a:rPr>
              <a:t>TR</a:t>
            </a:r>
            <a:endParaRPr lang="en-US" sz="1050" dirty="0">
              <a:solidFill>
                <a:schemeClr val="bg2"/>
              </a:solidFill>
              <a:latin typeface="Arial" panose="020B0604020202020204" pitchFamily="34" charset="0"/>
              <a:cs typeface="Arial" panose="020B0604020202020204" pitchFamily="34" charset="0"/>
            </a:endParaRPr>
          </a:p>
        </p:txBody>
      </p:sp>
      <p:sp>
        <p:nvSpPr>
          <p:cNvPr id="107" name="Text Box 62">
            <a:extLst>
              <a:ext uri="{FF2B5EF4-FFF2-40B4-BE49-F238E27FC236}">
                <a16:creationId xmlns:a16="http://schemas.microsoft.com/office/drawing/2014/main" id="{E9C122A9-70E7-4F33-AAD5-38C0F545AB6D}"/>
              </a:ext>
            </a:extLst>
          </p:cNvPr>
          <p:cNvSpPr txBox="1">
            <a:spLocks noChangeArrowheads="1"/>
          </p:cNvSpPr>
          <p:nvPr/>
        </p:nvSpPr>
        <p:spPr bwMode="auto">
          <a:xfrm>
            <a:off x="2378855" y="3007261"/>
            <a:ext cx="1325880" cy="268867"/>
          </a:xfrm>
          <a:prstGeom prst="roundRect">
            <a:avLst/>
          </a:prstGeom>
          <a:solidFill>
            <a:schemeClr val="accent3"/>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lvl1pPr>
              <a:defRPr sz="2400">
                <a:solidFill>
                  <a:schemeClr val="tx1"/>
                </a:solidFill>
                <a:latin typeface="Helvetica 45 Light" pitchFamily="34" charset="0"/>
              </a:defRPr>
            </a:lvl1pPr>
            <a:lvl2pPr marL="742950" indent="-285750">
              <a:defRPr sz="2400">
                <a:solidFill>
                  <a:schemeClr val="tx1"/>
                </a:solidFill>
                <a:latin typeface="Helvetica 45 Light" pitchFamily="34" charset="0"/>
              </a:defRPr>
            </a:lvl2pPr>
            <a:lvl3pPr marL="1143000" indent="-228600">
              <a:defRPr sz="2400">
                <a:solidFill>
                  <a:schemeClr val="tx1"/>
                </a:solidFill>
                <a:latin typeface="Helvetica 45 Light" pitchFamily="34" charset="0"/>
              </a:defRPr>
            </a:lvl3pPr>
            <a:lvl4pPr marL="1600200" indent="-228600">
              <a:defRPr sz="2400">
                <a:solidFill>
                  <a:schemeClr val="tx1"/>
                </a:solidFill>
                <a:latin typeface="Helvetica 45 Light" pitchFamily="34" charset="0"/>
              </a:defRPr>
            </a:lvl4pPr>
            <a:lvl5pPr marL="2057400" indent="-228600">
              <a:defRPr sz="2400">
                <a:solidFill>
                  <a:schemeClr val="tx1"/>
                </a:solidFill>
                <a:latin typeface="Helvetica 45 Light" pitchFamily="34" charset="0"/>
              </a:defRPr>
            </a:lvl5pPr>
            <a:lvl6pPr marL="2514600" indent="-228600" fontAlgn="base">
              <a:spcBef>
                <a:spcPct val="0"/>
              </a:spcBef>
              <a:spcAft>
                <a:spcPct val="0"/>
              </a:spcAft>
              <a:defRPr sz="2400">
                <a:solidFill>
                  <a:schemeClr val="tx1"/>
                </a:solidFill>
                <a:latin typeface="Helvetica 45 Light" pitchFamily="34" charset="0"/>
              </a:defRPr>
            </a:lvl6pPr>
            <a:lvl7pPr marL="2971800" indent="-228600" fontAlgn="base">
              <a:spcBef>
                <a:spcPct val="0"/>
              </a:spcBef>
              <a:spcAft>
                <a:spcPct val="0"/>
              </a:spcAft>
              <a:defRPr sz="2400">
                <a:solidFill>
                  <a:schemeClr val="tx1"/>
                </a:solidFill>
                <a:latin typeface="Helvetica 45 Light" pitchFamily="34" charset="0"/>
              </a:defRPr>
            </a:lvl7pPr>
            <a:lvl8pPr marL="3429000" indent="-228600" fontAlgn="base">
              <a:spcBef>
                <a:spcPct val="0"/>
              </a:spcBef>
              <a:spcAft>
                <a:spcPct val="0"/>
              </a:spcAft>
              <a:defRPr sz="2400">
                <a:solidFill>
                  <a:schemeClr val="tx1"/>
                </a:solidFill>
                <a:latin typeface="Helvetica 45 Light" pitchFamily="34" charset="0"/>
              </a:defRPr>
            </a:lvl8pPr>
            <a:lvl9pPr marL="3886200" indent="-228600" fontAlgn="base">
              <a:spcBef>
                <a:spcPct val="0"/>
              </a:spcBef>
              <a:spcAft>
                <a:spcPct val="0"/>
              </a:spcAft>
              <a:defRPr sz="2400">
                <a:solidFill>
                  <a:schemeClr val="tx1"/>
                </a:solidFill>
                <a:latin typeface="Helvetica 45 Light" pitchFamily="34" charset="0"/>
              </a:defRPr>
            </a:lvl9pPr>
          </a:lstStyle>
          <a:p>
            <a:pPr algn="ctr" defTabSz="457178">
              <a:defRPr/>
            </a:pPr>
            <a:r>
              <a:rPr lang="en-US" sz="1100" b="1" dirty="0">
                <a:solidFill>
                  <a:schemeClr val="bg2"/>
                </a:solidFill>
                <a:latin typeface="Arial" panose="020B0604020202020204" pitchFamily="34" charset="0"/>
                <a:cs typeface="Arial" panose="020B0604020202020204" pitchFamily="34" charset="0"/>
              </a:rPr>
              <a:t> 16x100G </a:t>
            </a:r>
            <a:r>
              <a:rPr lang="en-US" sz="1050" b="1" dirty="0">
                <a:solidFill>
                  <a:schemeClr val="bg2"/>
                </a:solidFill>
                <a:latin typeface="Arial" panose="020B0604020202020204" pitchFamily="34" charset="0"/>
                <a:cs typeface="Arial" panose="020B0604020202020204" pitchFamily="34" charset="0"/>
              </a:rPr>
              <a:t>TR</a:t>
            </a:r>
            <a:endParaRPr lang="en-US" sz="1050" dirty="0">
              <a:solidFill>
                <a:schemeClr val="bg2"/>
              </a:solidFill>
              <a:latin typeface="Arial" panose="020B06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BA70C5A6-0DB0-4692-88E8-779964DA3B92}"/>
              </a:ext>
            </a:extLst>
          </p:cNvPr>
          <p:cNvGrpSpPr/>
          <p:nvPr/>
        </p:nvGrpSpPr>
        <p:grpSpPr>
          <a:xfrm>
            <a:off x="2754601" y="3956728"/>
            <a:ext cx="574388" cy="663002"/>
            <a:chOff x="2570595" y="3543614"/>
            <a:chExt cx="574388" cy="663003"/>
          </a:xfrm>
        </p:grpSpPr>
        <p:sp>
          <p:nvSpPr>
            <p:cNvPr id="9" name="Oval 8">
              <a:extLst>
                <a:ext uri="{FF2B5EF4-FFF2-40B4-BE49-F238E27FC236}">
                  <a16:creationId xmlns:a16="http://schemas.microsoft.com/office/drawing/2014/main" id="{49A97843-075D-4B0A-A583-7A722F4AB971}"/>
                </a:ext>
              </a:extLst>
            </p:cNvPr>
            <p:cNvSpPr/>
            <p:nvPr/>
          </p:nvSpPr>
          <p:spPr>
            <a:xfrm>
              <a:off x="2791680" y="3761743"/>
              <a:ext cx="132219" cy="132219"/>
            </a:xfrm>
            <a:prstGeom prst="ellipse">
              <a:avLst/>
            </a:prstGeom>
            <a:solidFill>
              <a:schemeClr val="bg2"/>
            </a:solidFill>
            <a:ln w="635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129C525F-A3ED-42C9-88CB-EE60B02AC366}"/>
                </a:ext>
              </a:extLst>
            </p:cNvPr>
            <p:cNvSpPr txBox="1"/>
            <p:nvPr/>
          </p:nvSpPr>
          <p:spPr>
            <a:xfrm>
              <a:off x="2571748" y="3543614"/>
              <a:ext cx="572082" cy="230832"/>
            </a:xfrm>
            <a:prstGeom prst="rect">
              <a:avLst/>
            </a:prstGeom>
            <a:noFill/>
          </p:spPr>
          <p:txBody>
            <a:bodyPr wrap="square" rtlCol="0">
              <a:spAutoFit/>
            </a:bodyPr>
            <a:lstStyle/>
            <a:p>
              <a:pPr algn="ctr"/>
              <a:r>
                <a:rPr lang="en-US" sz="900" b="1" i="1" dirty="0">
                  <a:solidFill>
                    <a:schemeClr val="bg2"/>
                  </a:solidFill>
                </a:rPr>
                <a:t>6.5.15</a:t>
              </a:r>
            </a:p>
          </p:txBody>
        </p:sp>
        <p:sp>
          <p:nvSpPr>
            <p:cNvPr id="13" name="TextBox 12">
              <a:extLst>
                <a:ext uri="{FF2B5EF4-FFF2-40B4-BE49-F238E27FC236}">
                  <a16:creationId xmlns:a16="http://schemas.microsoft.com/office/drawing/2014/main" id="{34BF9C67-0F7A-4262-8232-B3DDE22569E5}"/>
                </a:ext>
              </a:extLst>
            </p:cNvPr>
            <p:cNvSpPr txBox="1"/>
            <p:nvPr/>
          </p:nvSpPr>
          <p:spPr>
            <a:xfrm>
              <a:off x="2570595" y="3975785"/>
              <a:ext cx="574388" cy="230832"/>
            </a:xfrm>
            <a:prstGeom prst="rect">
              <a:avLst/>
            </a:prstGeom>
            <a:noFill/>
          </p:spPr>
          <p:txBody>
            <a:bodyPr wrap="square" rtlCol="0">
              <a:spAutoFit/>
            </a:bodyPr>
            <a:lstStyle/>
            <a:p>
              <a:pPr algn="ctr"/>
              <a:r>
                <a:rPr lang="en-US" sz="900" dirty="0"/>
                <a:t>Sep 18</a:t>
              </a:r>
            </a:p>
          </p:txBody>
        </p:sp>
      </p:grpSp>
      <p:sp>
        <p:nvSpPr>
          <p:cNvPr id="131" name="Text Box 62">
            <a:extLst>
              <a:ext uri="{FF2B5EF4-FFF2-40B4-BE49-F238E27FC236}">
                <a16:creationId xmlns:a16="http://schemas.microsoft.com/office/drawing/2014/main" id="{6F72A9CE-530D-4D6E-9579-8D8ACEFC3C55}"/>
              </a:ext>
            </a:extLst>
          </p:cNvPr>
          <p:cNvSpPr txBox="1">
            <a:spLocks noChangeArrowheads="1"/>
          </p:cNvSpPr>
          <p:nvPr/>
        </p:nvSpPr>
        <p:spPr bwMode="auto">
          <a:xfrm>
            <a:off x="5168359" y="1707772"/>
            <a:ext cx="1324471" cy="268867"/>
          </a:xfrm>
          <a:prstGeom prst="roundRect">
            <a:avLst/>
          </a:prstGeom>
          <a:solidFill>
            <a:schemeClr val="accent2">
              <a:lumMod val="75000"/>
            </a:schemeClr>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lvl1pPr>
              <a:defRPr sz="2400">
                <a:solidFill>
                  <a:schemeClr val="tx1"/>
                </a:solidFill>
                <a:latin typeface="Helvetica 45 Light" pitchFamily="34" charset="0"/>
              </a:defRPr>
            </a:lvl1pPr>
            <a:lvl2pPr marL="742950" indent="-285750">
              <a:defRPr sz="2400">
                <a:solidFill>
                  <a:schemeClr val="tx1"/>
                </a:solidFill>
                <a:latin typeface="Helvetica 45 Light" pitchFamily="34" charset="0"/>
              </a:defRPr>
            </a:lvl2pPr>
            <a:lvl3pPr marL="1143000" indent="-228600">
              <a:defRPr sz="2400">
                <a:solidFill>
                  <a:schemeClr val="tx1"/>
                </a:solidFill>
                <a:latin typeface="Helvetica 45 Light" pitchFamily="34" charset="0"/>
              </a:defRPr>
            </a:lvl3pPr>
            <a:lvl4pPr marL="1600200" indent="-228600">
              <a:defRPr sz="2400">
                <a:solidFill>
                  <a:schemeClr val="tx1"/>
                </a:solidFill>
                <a:latin typeface="Helvetica 45 Light" pitchFamily="34" charset="0"/>
              </a:defRPr>
            </a:lvl4pPr>
            <a:lvl5pPr marL="2057400" indent="-228600">
              <a:defRPr sz="2400">
                <a:solidFill>
                  <a:schemeClr val="tx1"/>
                </a:solidFill>
                <a:latin typeface="Helvetica 45 Light" pitchFamily="34" charset="0"/>
              </a:defRPr>
            </a:lvl5pPr>
            <a:lvl6pPr marL="2514600" indent="-228600" fontAlgn="base">
              <a:spcBef>
                <a:spcPct val="0"/>
              </a:spcBef>
              <a:spcAft>
                <a:spcPct val="0"/>
              </a:spcAft>
              <a:defRPr sz="2400">
                <a:solidFill>
                  <a:schemeClr val="tx1"/>
                </a:solidFill>
                <a:latin typeface="Helvetica 45 Light" pitchFamily="34" charset="0"/>
              </a:defRPr>
            </a:lvl6pPr>
            <a:lvl7pPr marL="2971800" indent="-228600" fontAlgn="base">
              <a:spcBef>
                <a:spcPct val="0"/>
              </a:spcBef>
              <a:spcAft>
                <a:spcPct val="0"/>
              </a:spcAft>
              <a:defRPr sz="2400">
                <a:solidFill>
                  <a:schemeClr val="tx1"/>
                </a:solidFill>
                <a:latin typeface="Helvetica 45 Light" pitchFamily="34" charset="0"/>
              </a:defRPr>
            </a:lvl7pPr>
            <a:lvl8pPr marL="3429000" indent="-228600" fontAlgn="base">
              <a:spcBef>
                <a:spcPct val="0"/>
              </a:spcBef>
              <a:spcAft>
                <a:spcPct val="0"/>
              </a:spcAft>
              <a:defRPr sz="2400">
                <a:solidFill>
                  <a:schemeClr val="tx1"/>
                </a:solidFill>
                <a:latin typeface="Helvetica 45 Light" pitchFamily="34" charset="0"/>
              </a:defRPr>
            </a:lvl8pPr>
            <a:lvl9pPr marL="3886200" indent="-228600" fontAlgn="base">
              <a:spcBef>
                <a:spcPct val="0"/>
              </a:spcBef>
              <a:spcAft>
                <a:spcPct val="0"/>
              </a:spcAft>
              <a:defRPr sz="2400">
                <a:solidFill>
                  <a:schemeClr val="tx1"/>
                </a:solidFill>
                <a:latin typeface="Helvetica 45 Light" pitchFamily="34" charset="0"/>
              </a:defRPr>
            </a:lvl9pPr>
          </a:lstStyle>
          <a:p>
            <a:pPr algn="ctr" defTabSz="457178">
              <a:defRPr/>
            </a:pPr>
            <a:r>
              <a:rPr lang="en-US" sz="1100" b="1" dirty="0">
                <a:solidFill>
                  <a:srgbClr val="FFFFFF"/>
                </a:solidFill>
                <a:latin typeface="Arial" panose="020B0604020202020204" pitchFamily="34" charset="0"/>
                <a:cs typeface="Arial" panose="020B0604020202020204" pitchFamily="34" charset="0"/>
              </a:rPr>
              <a:t>32x100G </a:t>
            </a:r>
            <a:r>
              <a:rPr lang="en-US" sz="1050" b="1" dirty="0">
                <a:solidFill>
                  <a:srgbClr val="FFFFFF"/>
                </a:solidFill>
                <a:latin typeface="Arial" panose="020B0604020202020204" pitchFamily="34" charset="0"/>
                <a:cs typeface="Arial" panose="020B0604020202020204" pitchFamily="34" charset="0"/>
              </a:rPr>
              <a:t>SE/TR</a:t>
            </a:r>
            <a:endParaRPr lang="en-US" sz="1050" dirty="0">
              <a:solidFill>
                <a:srgbClr val="FFFFFF"/>
              </a:solidFill>
              <a:latin typeface="Arial" panose="020B0604020202020204" pitchFamily="34" charset="0"/>
              <a:cs typeface="Arial" panose="020B0604020202020204" pitchFamily="34" charset="0"/>
            </a:endParaRPr>
          </a:p>
        </p:txBody>
      </p:sp>
      <p:sp>
        <p:nvSpPr>
          <p:cNvPr id="132" name="Text Box 62">
            <a:extLst>
              <a:ext uri="{FF2B5EF4-FFF2-40B4-BE49-F238E27FC236}">
                <a16:creationId xmlns:a16="http://schemas.microsoft.com/office/drawing/2014/main" id="{5FF78529-877C-4E8B-AEE0-F4B3F3932B2F}"/>
              </a:ext>
            </a:extLst>
          </p:cNvPr>
          <p:cNvSpPr txBox="1">
            <a:spLocks noChangeArrowheads="1"/>
          </p:cNvSpPr>
          <p:nvPr/>
        </p:nvSpPr>
        <p:spPr bwMode="auto">
          <a:xfrm>
            <a:off x="5534787" y="3278853"/>
            <a:ext cx="1324471" cy="268867"/>
          </a:xfrm>
          <a:prstGeom prst="roundRect">
            <a:avLst/>
          </a:prstGeom>
          <a:solidFill>
            <a:schemeClr val="accent2">
              <a:lumMod val="75000"/>
            </a:schemeClr>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lvl1pPr>
              <a:defRPr sz="2400">
                <a:solidFill>
                  <a:schemeClr val="tx1"/>
                </a:solidFill>
                <a:latin typeface="Helvetica 45 Light" pitchFamily="34" charset="0"/>
              </a:defRPr>
            </a:lvl1pPr>
            <a:lvl2pPr marL="742950" indent="-285750">
              <a:defRPr sz="2400">
                <a:solidFill>
                  <a:schemeClr val="tx1"/>
                </a:solidFill>
                <a:latin typeface="Helvetica 45 Light" pitchFamily="34" charset="0"/>
              </a:defRPr>
            </a:lvl2pPr>
            <a:lvl3pPr marL="1143000" indent="-228600">
              <a:defRPr sz="2400">
                <a:solidFill>
                  <a:schemeClr val="tx1"/>
                </a:solidFill>
                <a:latin typeface="Helvetica 45 Light" pitchFamily="34" charset="0"/>
              </a:defRPr>
            </a:lvl3pPr>
            <a:lvl4pPr marL="1600200" indent="-228600">
              <a:defRPr sz="2400">
                <a:solidFill>
                  <a:schemeClr val="tx1"/>
                </a:solidFill>
                <a:latin typeface="Helvetica 45 Light" pitchFamily="34" charset="0"/>
              </a:defRPr>
            </a:lvl4pPr>
            <a:lvl5pPr marL="2057400" indent="-228600">
              <a:defRPr sz="2400">
                <a:solidFill>
                  <a:schemeClr val="tx1"/>
                </a:solidFill>
                <a:latin typeface="Helvetica 45 Light" pitchFamily="34" charset="0"/>
              </a:defRPr>
            </a:lvl5pPr>
            <a:lvl6pPr marL="2514600" indent="-228600" fontAlgn="base">
              <a:spcBef>
                <a:spcPct val="0"/>
              </a:spcBef>
              <a:spcAft>
                <a:spcPct val="0"/>
              </a:spcAft>
              <a:defRPr sz="2400">
                <a:solidFill>
                  <a:schemeClr val="tx1"/>
                </a:solidFill>
                <a:latin typeface="Helvetica 45 Light" pitchFamily="34" charset="0"/>
              </a:defRPr>
            </a:lvl6pPr>
            <a:lvl7pPr marL="2971800" indent="-228600" fontAlgn="base">
              <a:spcBef>
                <a:spcPct val="0"/>
              </a:spcBef>
              <a:spcAft>
                <a:spcPct val="0"/>
              </a:spcAft>
              <a:defRPr sz="2400">
                <a:solidFill>
                  <a:schemeClr val="tx1"/>
                </a:solidFill>
                <a:latin typeface="Helvetica 45 Light" pitchFamily="34" charset="0"/>
              </a:defRPr>
            </a:lvl7pPr>
            <a:lvl8pPr marL="3429000" indent="-228600" fontAlgn="base">
              <a:spcBef>
                <a:spcPct val="0"/>
              </a:spcBef>
              <a:spcAft>
                <a:spcPct val="0"/>
              </a:spcAft>
              <a:defRPr sz="2400">
                <a:solidFill>
                  <a:schemeClr val="tx1"/>
                </a:solidFill>
                <a:latin typeface="Helvetica 45 Light" pitchFamily="34" charset="0"/>
              </a:defRPr>
            </a:lvl8pPr>
            <a:lvl9pPr marL="3886200" indent="-228600" fontAlgn="base">
              <a:spcBef>
                <a:spcPct val="0"/>
              </a:spcBef>
              <a:spcAft>
                <a:spcPct val="0"/>
              </a:spcAft>
              <a:defRPr sz="2400">
                <a:solidFill>
                  <a:schemeClr val="tx1"/>
                </a:solidFill>
                <a:latin typeface="Helvetica 45 Light" pitchFamily="34" charset="0"/>
              </a:defRPr>
            </a:lvl9pPr>
          </a:lstStyle>
          <a:p>
            <a:pPr algn="ctr" defTabSz="457178">
              <a:defRPr/>
            </a:pPr>
            <a:r>
              <a:rPr lang="en-US" sz="1100" b="1" dirty="0">
                <a:solidFill>
                  <a:srgbClr val="FFFFFF"/>
                </a:solidFill>
                <a:latin typeface="Arial" panose="020B0604020202020204" pitchFamily="34" charset="0"/>
                <a:cs typeface="Arial" panose="020B0604020202020204" pitchFamily="34" charset="0"/>
              </a:rPr>
              <a:t>0.8T Comb </a:t>
            </a:r>
            <a:r>
              <a:rPr lang="en-US" sz="1050" b="1" dirty="0">
                <a:solidFill>
                  <a:srgbClr val="FFFFFF"/>
                </a:solidFill>
                <a:latin typeface="Arial" panose="020B0604020202020204" pitchFamily="34" charset="0"/>
                <a:cs typeface="Arial" panose="020B0604020202020204" pitchFamily="34" charset="0"/>
              </a:rPr>
              <a:t>SE/TR</a:t>
            </a:r>
            <a:endParaRPr lang="en-US" sz="1050" dirty="0">
              <a:solidFill>
                <a:srgbClr val="FFFFFF"/>
              </a:solidFill>
              <a:latin typeface="Arial" panose="020B0604020202020204" pitchFamily="34" charset="0"/>
              <a:cs typeface="Arial" panose="020B0604020202020204" pitchFamily="34" charset="0"/>
            </a:endParaRPr>
          </a:p>
        </p:txBody>
      </p:sp>
      <p:sp>
        <p:nvSpPr>
          <p:cNvPr id="133" name="Text Box 62">
            <a:extLst>
              <a:ext uri="{FF2B5EF4-FFF2-40B4-BE49-F238E27FC236}">
                <a16:creationId xmlns:a16="http://schemas.microsoft.com/office/drawing/2014/main" id="{8ACD7F8C-8199-45AD-B1D3-706BF2DBCE78}"/>
              </a:ext>
            </a:extLst>
          </p:cNvPr>
          <p:cNvSpPr txBox="1">
            <a:spLocks noChangeArrowheads="1"/>
          </p:cNvSpPr>
          <p:nvPr/>
        </p:nvSpPr>
        <p:spPr bwMode="auto">
          <a:xfrm>
            <a:off x="5534787" y="2690588"/>
            <a:ext cx="1324471" cy="268867"/>
          </a:xfrm>
          <a:prstGeom prst="roundRect">
            <a:avLst/>
          </a:prstGeom>
          <a:solidFill>
            <a:schemeClr val="accent2">
              <a:lumMod val="75000"/>
            </a:schemeClr>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lvl1pPr>
              <a:defRPr sz="2400">
                <a:solidFill>
                  <a:schemeClr val="tx1"/>
                </a:solidFill>
                <a:latin typeface="Helvetica 45 Light" pitchFamily="34" charset="0"/>
              </a:defRPr>
            </a:lvl1pPr>
            <a:lvl2pPr marL="742950" indent="-285750">
              <a:defRPr sz="2400">
                <a:solidFill>
                  <a:schemeClr val="tx1"/>
                </a:solidFill>
                <a:latin typeface="Helvetica 45 Light" pitchFamily="34" charset="0"/>
              </a:defRPr>
            </a:lvl2pPr>
            <a:lvl3pPr marL="1143000" indent="-228600">
              <a:defRPr sz="2400">
                <a:solidFill>
                  <a:schemeClr val="tx1"/>
                </a:solidFill>
                <a:latin typeface="Helvetica 45 Light" pitchFamily="34" charset="0"/>
              </a:defRPr>
            </a:lvl3pPr>
            <a:lvl4pPr marL="1600200" indent="-228600">
              <a:defRPr sz="2400">
                <a:solidFill>
                  <a:schemeClr val="tx1"/>
                </a:solidFill>
                <a:latin typeface="Helvetica 45 Light" pitchFamily="34" charset="0"/>
              </a:defRPr>
            </a:lvl4pPr>
            <a:lvl5pPr marL="2057400" indent="-228600">
              <a:defRPr sz="2400">
                <a:solidFill>
                  <a:schemeClr val="tx1"/>
                </a:solidFill>
                <a:latin typeface="Helvetica 45 Light" pitchFamily="34" charset="0"/>
              </a:defRPr>
            </a:lvl5pPr>
            <a:lvl6pPr marL="2514600" indent="-228600" fontAlgn="base">
              <a:spcBef>
                <a:spcPct val="0"/>
              </a:spcBef>
              <a:spcAft>
                <a:spcPct val="0"/>
              </a:spcAft>
              <a:defRPr sz="2400">
                <a:solidFill>
                  <a:schemeClr val="tx1"/>
                </a:solidFill>
                <a:latin typeface="Helvetica 45 Light" pitchFamily="34" charset="0"/>
              </a:defRPr>
            </a:lvl6pPr>
            <a:lvl7pPr marL="2971800" indent="-228600" fontAlgn="base">
              <a:spcBef>
                <a:spcPct val="0"/>
              </a:spcBef>
              <a:spcAft>
                <a:spcPct val="0"/>
              </a:spcAft>
              <a:defRPr sz="2400">
                <a:solidFill>
                  <a:schemeClr val="tx1"/>
                </a:solidFill>
                <a:latin typeface="Helvetica 45 Light" pitchFamily="34" charset="0"/>
              </a:defRPr>
            </a:lvl7pPr>
            <a:lvl8pPr marL="3429000" indent="-228600" fontAlgn="base">
              <a:spcBef>
                <a:spcPct val="0"/>
              </a:spcBef>
              <a:spcAft>
                <a:spcPct val="0"/>
              </a:spcAft>
              <a:defRPr sz="2400">
                <a:solidFill>
                  <a:schemeClr val="tx1"/>
                </a:solidFill>
                <a:latin typeface="Helvetica 45 Light" pitchFamily="34" charset="0"/>
              </a:defRPr>
            </a:lvl8pPr>
            <a:lvl9pPr marL="3886200" indent="-228600" fontAlgn="base">
              <a:spcBef>
                <a:spcPct val="0"/>
              </a:spcBef>
              <a:spcAft>
                <a:spcPct val="0"/>
              </a:spcAft>
              <a:defRPr sz="2400">
                <a:solidFill>
                  <a:schemeClr val="tx1"/>
                </a:solidFill>
                <a:latin typeface="Helvetica 45 Light" pitchFamily="34" charset="0"/>
              </a:defRPr>
            </a:lvl9pPr>
          </a:lstStyle>
          <a:p>
            <a:pPr algn="ctr" defTabSz="457178">
              <a:defRPr/>
            </a:pPr>
            <a:r>
              <a:rPr lang="en-US" sz="1100" b="1" dirty="0">
                <a:solidFill>
                  <a:srgbClr val="FFFFFF"/>
                </a:solidFill>
                <a:latin typeface="Arial" panose="020B0604020202020204" pitchFamily="34" charset="0"/>
                <a:cs typeface="Arial" panose="020B0604020202020204" pitchFamily="34" charset="0"/>
              </a:rPr>
              <a:t>2T Comb SE/TR</a:t>
            </a:r>
            <a:endParaRPr lang="en-US" sz="1050" dirty="0">
              <a:solidFill>
                <a:srgbClr val="FFFFFF"/>
              </a:solidFill>
              <a:latin typeface="Arial" panose="020B0604020202020204" pitchFamily="34" charset="0"/>
              <a:cs typeface="Arial" panose="020B0604020202020204" pitchFamily="34" charset="0"/>
            </a:endParaRPr>
          </a:p>
        </p:txBody>
      </p:sp>
      <p:sp>
        <p:nvSpPr>
          <p:cNvPr id="139" name="Text Box 62">
            <a:extLst>
              <a:ext uri="{FF2B5EF4-FFF2-40B4-BE49-F238E27FC236}">
                <a16:creationId xmlns:a16="http://schemas.microsoft.com/office/drawing/2014/main" id="{11B1A85A-80F4-4EB9-9A53-829659B8B21A}"/>
              </a:ext>
            </a:extLst>
          </p:cNvPr>
          <p:cNvSpPr txBox="1">
            <a:spLocks noChangeArrowheads="1"/>
          </p:cNvSpPr>
          <p:nvPr/>
        </p:nvSpPr>
        <p:spPr bwMode="auto">
          <a:xfrm>
            <a:off x="7791855" y="1982594"/>
            <a:ext cx="1174312" cy="234815"/>
          </a:xfrm>
          <a:prstGeom prst="roundRect">
            <a:avLst/>
          </a:prstGeom>
          <a:solidFill>
            <a:schemeClr val="accent1">
              <a:lumMod val="50000"/>
            </a:schemeClr>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lvl1pPr>
              <a:defRPr sz="2400">
                <a:solidFill>
                  <a:schemeClr val="tx1"/>
                </a:solidFill>
                <a:latin typeface="Helvetica 45 Light" pitchFamily="34" charset="0"/>
              </a:defRPr>
            </a:lvl1pPr>
            <a:lvl2pPr marL="742950" indent="-285750">
              <a:defRPr sz="2400">
                <a:solidFill>
                  <a:schemeClr val="tx1"/>
                </a:solidFill>
                <a:latin typeface="Helvetica 45 Light" pitchFamily="34" charset="0"/>
              </a:defRPr>
            </a:lvl2pPr>
            <a:lvl3pPr marL="1143000" indent="-228600">
              <a:defRPr sz="2400">
                <a:solidFill>
                  <a:schemeClr val="tx1"/>
                </a:solidFill>
                <a:latin typeface="Helvetica 45 Light" pitchFamily="34" charset="0"/>
              </a:defRPr>
            </a:lvl3pPr>
            <a:lvl4pPr marL="1600200" indent="-228600">
              <a:defRPr sz="2400">
                <a:solidFill>
                  <a:schemeClr val="tx1"/>
                </a:solidFill>
                <a:latin typeface="Helvetica 45 Light" pitchFamily="34" charset="0"/>
              </a:defRPr>
            </a:lvl4pPr>
            <a:lvl5pPr marL="2057400" indent="-228600">
              <a:defRPr sz="2400">
                <a:solidFill>
                  <a:schemeClr val="tx1"/>
                </a:solidFill>
                <a:latin typeface="Helvetica 45 Light" pitchFamily="34" charset="0"/>
              </a:defRPr>
            </a:lvl5pPr>
            <a:lvl6pPr marL="2514600" indent="-228600" fontAlgn="base">
              <a:spcBef>
                <a:spcPct val="0"/>
              </a:spcBef>
              <a:spcAft>
                <a:spcPct val="0"/>
              </a:spcAft>
              <a:defRPr sz="2400">
                <a:solidFill>
                  <a:schemeClr val="tx1"/>
                </a:solidFill>
                <a:latin typeface="Helvetica 45 Light" pitchFamily="34" charset="0"/>
              </a:defRPr>
            </a:lvl6pPr>
            <a:lvl7pPr marL="2971800" indent="-228600" fontAlgn="base">
              <a:spcBef>
                <a:spcPct val="0"/>
              </a:spcBef>
              <a:spcAft>
                <a:spcPct val="0"/>
              </a:spcAft>
              <a:defRPr sz="2400">
                <a:solidFill>
                  <a:schemeClr val="tx1"/>
                </a:solidFill>
                <a:latin typeface="Helvetica 45 Light" pitchFamily="34" charset="0"/>
              </a:defRPr>
            </a:lvl7pPr>
            <a:lvl8pPr marL="3429000" indent="-228600" fontAlgn="base">
              <a:spcBef>
                <a:spcPct val="0"/>
              </a:spcBef>
              <a:spcAft>
                <a:spcPct val="0"/>
              </a:spcAft>
              <a:defRPr sz="2400">
                <a:solidFill>
                  <a:schemeClr val="tx1"/>
                </a:solidFill>
                <a:latin typeface="Helvetica 45 Light" pitchFamily="34" charset="0"/>
              </a:defRPr>
            </a:lvl8pPr>
            <a:lvl9pPr marL="3886200" indent="-228600" fontAlgn="base">
              <a:spcBef>
                <a:spcPct val="0"/>
              </a:spcBef>
              <a:spcAft>
                <a:spcPct val="0"/>
              </a:spcAft>
              <a:defRPr sz="2400">
                <a:solidFill>
                  <a:schemeClr val="tx1"/>
                </a:solidFill>
                <a:latin typeface="Helvetica 45 Light" pitchFamily="34" charset="0"/>
              </a:defRPr>
            </a:lvl9pPr>
          </a:lstStyle>
          <a:p>
            <a:pPr algn="ctr" defTabSz="457178">
              <a:defRPr/>
            </a:pPr>
            <a:r>
              <a:rPr lang="en-US" sz="900" b="1" dirty="0">
                <a:solidFill>
                  <a:srgbClr val="FFFFFF"/>
                </a:solidFill>
                <a:latin typeface="Arial" panose="020B0604020202020204" pitchFamily="34" charset="0"/>
                <a:cs typeface="Arial" panose="020B0604020202020204" pitchFamily="34" charset="0"/>
              </a:rPr>
              <a:t>2.4T Comb SE/TR</a:t>
            </a:r>
            <a:endParaRPr lang="en-US" sz="900" dirty="0">
              <a:solidFill>
                <a:srgbClr val="FFFFFF"/>
              </a:solidFill>
              <a:latin typeface="Arial" panose="020B0604020202020204" pitchFamily="34" charset="0"/>
              <a:cs typeface="Arial" panose="020B0604020202020204" pitchFamily="34" charset="0"/>
            </a:endParaRPr>
          </a:p>
        </p:txBody>
      </p:sp>
      <p:sp>
        <p:nvSpPr>
          <p:cNvPr id="140" name="Text Box 62">
            <a:extLst>
              <a:ext uri="{FF2B5EF4-FFF2-40B4-BE49-F238E27FC236}">
                <a16:creationId xmlns:a16="http://schemas.microsoft.com/office/drawing/2014/main" id="{243878F9-8F63-4943-80CC-760CF8AB8802}"/>
              </a:ext>
            </a:extLst>
          </p:cNvPr>
          <p:cNvSpPr txBox="1">
            <a:spLocks noChangeArrowheads="1"/>
          </p:cNvSpPr>
          <p:nvPr/>
        </p:nvSpPr>
        <p:spPr bwMode="auto">
          <a:xfrm>
            <a:off x="7791855" y="1342491"/>
            <a:ext cx="1104376" cy="234815"/>
          </a:xfrm>
          <a:prstGeom prst="roundRect">
            <a:avLst/>
          </a:prstGeom>
          <a:solidFill>
            <a:schemeClr val="accent1">
              <a:lumMod val="50000"/>
            </a:schemeClr>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lvl1pPr>
              <a:defRPr sz="2400">
                <a:solidFill>
                  <a:schemeClr val="tx1"/>
                </a:solidFill>
                <a:latin typeface="Helvetica 45 Light" pitchFamily="34" charset="0"/>
              </a:defRPr>
            </a:lvl1pPr>
            <a:lvl2pPr marL="742950" indent="-285750">
              <a:defRPr sz="2400">
                <a:solidFill>
                  <a:schemeClr val="tx1"/>
                </a:solidFill>
                <a:latin typeface="Helvetica 45 Light" pitchFamily="34" charset="0"/>
              </a:defRPr>
            </a:lvl2pPr>
            <a:lvl3pPr marL="1143000" indent="-228600">
              <a:defRPr sz="2400">
                <a:solidFill>
                  <a:schemeClr val="tx1"/>
                </a:solidFill>
                <a:latin typeface="Helvetica 45 Light" pitchFamily="34" charset="0"/>
              </a:defRPr>
            </a:lvl3pPr>
            <a:lvl4pPr marL="1600200" indent="-228600">
              <a:defRPr sz="2400">
                <a:solidFill>
                  <a:schemeClr val="tx1"/>
                </a:solidFill>
                <a:latin typeface="Helvetica 45 Light" pitchFamily="34" charset="0"/>
              </a:defRPr>
            </a:lvl4pPr>
            <a:lvl5pPr marL="2057400" indent="-228600">
              <a:defRPr sz="2400">
                <a:solidFill>
                  <a:schemeClr val="tx1"/>
                </a:solidFill>
                <a:latin typeface="Helvetica 45 Light" pitchFamily="34" charset="0"/>
              </a:defRPr>
            </a:lvl5pPr>
            <a:lvl6pPr marL="2514600" indent="-228600" fontAlgn="base">
              <a:spcBef>
                <a:spcPct val="0"/>
              </a:spcBef>
              <a:spcAft>
                <a:spcPct val="0"/>
              </a:spcAft>
              <a:defRPr sz="2400">
                <a:solidFill>
                  <a:schemeClr val="tx1"/>
                </a:solidFill>
                <a:latin typeface="Helvetica 45 Light" pitchFamily="34" charset="0"/>
              </a:defRPr>
            </a:lvl6pPr>
            <a:lvl7pPr marL="2971800" indent="-228600" fontAlgn="base">
              <a:spcBef>
                <a:spcPct val="0"/>
              </a:spcBef>
              <a:spcAft>
                <a:spcPct val="0"/>
              </a:spcAft>
              <a:defRPr sz="2400">
                <a:solidFill>
                  <a:schemeClr val="tx1"/>
                </a:solidFill>
                <a:latin typeface="Helvetica 45 Light" pitchFamily="34" charset="0"/>
              </a:defRPr>
            </a:lvl7pPr>
            <a:lvl8pPr marL="3429000" indent="-228600" fontAlgn="base">
              <a:spcBef>
                <a:spcPct val="0"/>
              </a:spcBef>
              <a:spcAft>
                <a:spcPct val="0"/>
              </a:spcAft>
              <a:defRPr sz="2400">
                <a:solidFill>
                  <a:schemeClr val="tx1"/>
                </a:solidFill>
                <a:latin typeface="Helvetica 45 Light" pitchFamily="34" charset="0"/>
              </a:defRPr>
            </a:lvl8pPr>
            <a:lvl9pPr marL="3886200" indent="-228600" fontAlgn="base">
              <a:spcBef>
                <a:spcPct val="0"/>
              </a:spcBef>
              <a:spcAft>
                <a:spcPct val="0"/>
              </a:spcAft>
              <a:defRPr sz="2400">
                <a:solidFill>
                  <a:schemeClr val="tx1"/>
                </a:solidFill>
                <a:latin typeface="Helvetica 45 Light" pitchFamily="34" charset="0"/>
              </a:defRPr>
            </a:lvl9pPr>
          </a:lstStyle>
          <a:p>
            <a:pPr algn="ctr" defTabSz="457178">
              <a:defRPr/>
            </a:pPr>
            <a:r>
              <a:rPr lang="en-US" sz="900" b="1" dirty="0">
                <a:solidFill>
                  <a:srgbClr val="FFFFFF"/>
                </a:solidFill>
                <a:latin typeface="Arial" panose="020B0604020202020204" pitchFamily="34" charset="0"/>
                <a:cs typeface="Arial" panose="020B0604020202020204" pitchFamily="34" charset="0"/>
              </a:rPr>
              <a:t>10X400G SE/TR</a:t>
            </a:r>
            <a:endParaRPr lang="en-US" sz="900" dirty="0">
              <a:solidFill>
                <a:srgbClr val="FFFFFF"/>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13E61949-B4DC-4BF6-A294-9C051EF660B7}"/>
              </a:ext>
            </a:extLst>
          </p:cNvPr>
          <p:cNvGrpSpPr/>
          <p:nvPr/>
        </p:nvGrpSpPr>
        <p:grpSpPr>
          <a:xfrm>
            <a:off x="3693256" y="3956728"/>
            <a:ext cx="574388" cy="663002"/>
            <a:chOff x="3694238" y="3543614"/>
            <a:chExt cx="574388" cy="663003"/>
          </a:xfrm>
        </p:grpSpPr>
        <p:sp>
          <p:nvSpPr>
            <p:cNvPr id="145" name="Oval 144">
              <a:extLst>
                <a:ext uri="{FF2B5EF4-FFF2-40B4-BE49-F238E27FC236}">
                  <a16:creationId xmlns:a16="http://schemas.microsoft.com/office/drawing/2014/main" id="{DF4AED78-EF39-462F-87F2-EA73CB5889CF}"/>
                </a:ext>
              </a:extLst>
            </p:cNvPr>
            <p:cNvSpPr/>
            <p:nvPr/>
          </p:nvSpPr>
          <p:spPr>
            <a:xfrm>
              <a:off x="3915323" y="3761743"/>
              <a:ext cx="132219" cy="132219"/>
            </a:xfrm>
            <a:prstGeom prst="ellipse">
              <a:avLst/>
            </a:prstGeom>
            <a:solidFill>
              <a:schemeClr val="bg2"/>
            </a:solidFill>
            <a:ln w="635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TextBox 145">
              <a:extLst>
                <a:ext uri="{FF2B5EF4-FFF2-40B4-BE49-F238E27FC236}">
                  <a16:creationId xmlns:a16="http://schemas.microsoft.com/office/drawing/2014/main" id="{8F3B7DBA-1DAC-43EE-AE9C-AB2D697D7B0D}"/>
                </a:ext>
              </a:extLst>
            </p:cNvPr>
            <p:cNvSpPr txBox="1"/>
            <p:nvPr/>
          </p:nvSpPr>
          <p:spPr>
            <a:xfrm>
              <a:off x="3695391" y="3543614"/>
              <a:ext cx="572082" cy="230832"/>
            </a:xfrm>
            <a:prstGeom prst="rect">
              <a:avLst/>
            </a:prstGeom>
            <a:noFill/>
          </p:spPr>
          <p:txBody>
            <a:bodyPr wrap="square" rtlCol="0">
              <a:spAutoFit/>
            </a:bodyPr>
            <a:lstStyle/>
            <a:p>
              <a:pPr algn="ctr"/>
              <a:r>
                <a:rPr lang="en-US" sz="900" b="1" i="1" dirty="0">
                  <a:solidFill>
                    <a:schemeClr val="bg2"/>
                  </a:solidFill>
                </a:rPr>
                <a:t>6.6.2</a:t>
              </a:r>
            </a:p>
          </p:txBody>
        </p:sp>
        <p:sp>
          <p:nvSpPr>
            <p:cNvPr id="147" name="TextBox 146">
              <a:extLst>
                <a:ext uri="{FF2B5EF4-FFF2-40B4-BE49-F238E27FC236}">
                  <a16:creationId xmlns:a16="http://schemas.microsoft.com/office/drawing/2014/main" id="{64B4488B-F318-4FBC-BCDC-CCDCFCC8996E}"/>
                </a:ext>
              </a:extLst>
            </p:cNvPr>
            <p:cNvSpPr txBox="1"/>
            <p:nvPr/>
          </p:nvSpPr>
          <p:spPr>
            <a:xfrm>
              <a:off x="3694238" y="3975785"/>
              <a:ext cx="574388" cy="230832"/>
            </a:xfrm>
            <a:prstGeom prst="rect">
              <a:avLst/>
            </a:prstGeom>
            <a:noFill/>
          </p:spPr>
          <p:txBody>
            <a:bodyPr wrap="square" rtlCol="0">
              <a:spAutoFit/>
            </a:bodyPr>
            <a:lstStyle/>
            <a:p>
              <a:pPr algn="ctr"/>
              <a:r>
                <a:rPr lang="en-US" sz="900" dirty="0"/>
                <a:t>Apr 19</a:t>
              </a:r>
            </a:p>
          </p:txBody>
        </p:sp>
      </p:grpSp>
      <p:grpSp>
        <p:nvGrpSpPr>
          <p:cNvPr id="17" name="Group 16">
            <a:extLst>
              <a:ext uri="{FF2B5EF4-FFF2-40B4-BE49-F238E27FC236}">
                <a16:creationId xmlns:a16="http://schemas.microsoft.com/office/drawing/2014/main" id="{5484D1B5-F1AE-44A9-BA5F-2669864BD1D7}"/>
              </a:ext>
            </a:extLst>
          </p:cNvPr>
          <p:cNvGrpSpPr/>
          <p:nvPr/>
        </p:nvGrpSpPr>
        <p:grpSpPr>
          <a:xfrm>
            <a:off x="4740958" y="3951765"/>
            <a:ext cx="655970" cy="663002"/>
            <a:chOff x="4741940" y="3538651"/>
            <a:chExt cx="655970" cy="663003"/>
          </a:xfrm>
        </p:grpSpPr>
        <p:sp>
          <p:nvSpPr>
            <p:cNvPr id="148" name="Oval 147">
              <a:extLst>
                <a:ext uri="{FF2B5EF4-FFF2-40B4-BE49-F238E27FC236}">
                  <a16:creationId xmlns:a16="http://schemas.microsoft.com/office/drawing/2014/main" id="{D6CF293E-AF2D-4DB5-A358-0591F1C1636C}"/>
                </a:ext>
              </a:extLst>
            </p:cNvPr>
            <p:cNvSpPr/>
            <p:nvPr/>
          </p:nvSpPr>
          <p:spPr>
            <a:xfrm>
              <a:off x="5003816" y="3756780"/>
              <a:ext cx="132219" cy="132219"/>
            </a:xfrm>
            <a:prstGeom prst="ellipse">
              <a:avLst/>
            </a:prstGeom>
            <a:solidFill>
              <a:schemeClr val="bg2"/>
            </a:solidFill>
            <a:ln w="635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37F570AF-7E3C-407E-ACD8-30E299385B3F}"/>
                </a:ext>
              </a:extLst>
            </p:cNvPr>
            <p:cNvSpPr txBox="1"/>
            <p:nvPr/>
          </p:nvSpPr>
          <p:spPr>
            <a:xfrm>
              <a:off x="4783884" y="3538651"/>
              <a:ext cx="572082" cy="230832"/>
            </a:xfrm>
            <a:prstGeom prst="rect">
              <a:avLst/>
            </a:prstGeom>
            <a:noFill/>
          </p:spPr>
          <p:txBody>
            <a:bodyPr wrap="square" rtlCol="0">
              <a:spAutoFit/>
            </a:bodyPr>
            <a:lstStyle/>
            <a:p>
              <a:pPr algn="ctr"/>
              <a:r>
                <a:rPr lang="en-US" sz="900" b="1" i="1" dirty="0">
                  <a:solidFill>
                    <a:schemeClr val="bg2"/>
                  </a:solidFill>
                </a:rPr>
                <a:t>7.1.1</a:t>
              </a:r>
            </a:p>
          </p:txBody>
        </p:sp>
        <p:sp>
          <p:nvSpPr>
            <p:cNvPr id="150" name="TextBox 149">
              <a:extLst>
                <a:ext uri="{FF2B5EF4-FFF2-40B4-BE49-F238E27FC236}">
                  <a16:creationId xmlns:a16="http://schemas.microsoft.com/office/drawing/2014/main" id="{944B4CAA-04AE-4293-AB26-3F4BCAD23E31}"/>
                </a:ext>
              </a:extLst>
            </p:cNvPr>
            <p:cNvSpPr txBox="1"/>
            <p:nvPr/>
          </p:nvSpPr>
          <p:spPr>
            <a:xfrm>
              <a:off x="4741940" y="3970822"/>
              <a:ext cx="655970" cy="230832"/>
            </a:xfrm>
            <a:prstGeom prst="rect">
              <a:avLst/>
            </a:prstGeom>
            <a:noFill/>
          </p:spPr>
          <p:txBody>
            <a:bodyPr wrap="square" rtlCol="0">
              <a:spAutoFit/>
            </a:bodyPr>
            <a:lstStyle/>
            <a:p>
              <a:pPr algn="ctr"/>
              <a:r>
                <a:rPr lang="en-US" sz="900" dirty="0"/>
                <a:t>Feb 19</a:t>
              </a:r>
            </a:p>
          </p:txBody>
        </p:sp>
      </p:grpSp>
      <p:sp>
        <p:nvSpPr>
          <p:cNvPr id="151" name="Oval 150">
            <a:extLst>
              <a:ext uri="{FF2B5EF4-FFF2-40B4-BE49-F238E27FC236}">
                <a16:creationId xmlns:a16="http://schemas.microsoft.com/office/drawing/2014/main" id="{96DC986F-2F6E-4469-8F3B-0D77AD028080}"/>
              </a:ext>
            </a:extLst>
          </p:cNvPr>
          <p:cNvSpPr/>
          <p:nvPr/>
        </p:nvSpPr>
        <p:spPr>
          <a:xfrm>
            <a:off x="6382826" y="4174859"/>
            <a:ext cx="132219" cy="132219"/>
          </a:xfrm>
          <a:prstGeom prst="ellipse">
            <a:avLst/>
          </a:prstGeom>
          <a:solidFill>
            <a:schemeClr val="bg2"/>
          </a:solidFill>
          <a:ln w="635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TextBox 151">
            <a:extLst>
              <a:ext uri="{FF2B5EF4-FFF2-40B4-BE49-F238E27FC236}">
                <a16:creationId xmlns:a16="http://schemas.microsoft.com/office/drawing/2014/main" id="{C460E71C-5F13-43DC-9610-615DCF285DF9}"/>
              </a:ext>
            </a:extLst>
          </p:cNvPr>
          <p:cNvSpPr txBox="1"/>
          <p:nvPr/>
        </p:nvSpPr>
        <p:spPr>
          <a:xfrm>
            <a:off x="6100710" y="3956730"/>
            <a:ext cx="693377" cy="230832"/>
          </a:xfrm>
          <a:prstGeom prst="rect">
            <a:avLst/>
          </a:prstGeom>
          <a:noFill/>
        </p:spPr>
        <p:txBody>
          <a:bodyPr wrap="square" rtlCol="0">
            <a:spAutoFit/>
          </a:bodyPr>
          <a:lstStyle/>
          <a:p>
            <a:pPr algn="ctr"/>
            <a:r>
              <a:rPr lang="en-US" sz="900" b="1" i="1" dirty="0">
                <a:solidFill>
                  <a:schemeClr val="bg2"/>
                </a:solidFill>
              </a:rPr>
              <a:t>Q2 CY20</a:t>
            </a:r>
          </a:p>
        </p:txBody>
      </p:sp>
      <p:sp>
        <p:nvSpPr>
          <p:cNvPr id="153" name="TextBox 152">
            <a:extLst>
              <a:ext uri="{FF2B5EF4-FFF2-40B4-BE49-F238E27FC236}">
                <a16:creationId xmlns:a16="http://schemas.microsoft.com/office/drawing/2014/main" id="{22CC0EA6-0B13-4127-8816-8925BA14C96D}"/>
              </a:ext>
            </a:extLst>
          </p:cNvPr>
          <p:cNvSpPr txBox="1"/>
          <p:nvPr/>
        </p:nvSpPr>
        <p:spPr>
          <a:xfrm>
            <a:off x="6100709" y="4385740"/>
            <a:ext cx="882768" cy="230832"/>
          </a:xfrm>
          <a:prstGeom prst="rect">
            <a:avLst/>
          </a:prstGeom>
          <a:noFill/>
        </p:spPr>
        <p:txBody>
          <a:bodyPr wrap="square" rtlCol="0">
            <a:spAutoFit/>
          </a:bodyPr>
          <a:lstStyle/>
          <a:p>
            <a:pPr algn="ctr"/>
            <a:r>
              <a:rPr lang="en-US" sz="900" dirty="0"/>
              <a:t>May-Jul 20</a:t>
            </a:r>
          </a:p>
        </p:txBody>
      </p:sp>
      <p:grpSp>
        <p:nvGrpSpPr>
          <p:cNvPr id="15" name="Group 14">
            <a:extLst>
              <a:ext uri="{FF2B5EF4-FFF2-40B4-BE49-F238E27FC236}">
                <a16:creationId xmlns:a16="http://schemas.microsoft.com/office/drawing/2014/main" id="{98D32FD1-315A-41C5-863A-20E0955E147E}"/>
              </a:ext>
            </a:extLst>
          </p:cNvPr>
          <p:cNvGrpSpPr/>
          <p:nvPr/>
        </p:nvGrpSpPr>
        <p:grpSpPr>
          <a:xfrm>
            <a:off x="7672867" y="3939062"/>
            <a:ext cx="907225" cy="663002"/>
            <a:chOff x="7673848" y="3525948"/>
            <a:chExt cx="907225" cy="663003"/>
          </a:xfrm>
        </p:grpSpPr>
        <p:sp>
          <p:nvSpPr>
            <p:cNvPr id="156" name="Oval 155">
              <a:extLst>
                <a:ext uri="{FF2B5EF4-FFF2-40B4-BE49-F238E27FC236}">
                  <a16:creationId xmlns:a16="http://schemas.microsoft.com/office/drawing/2014/main" id="{E6B78D39-4BD4-4DD1-839C-EDBAD2C019A8}"/>
                </a:ext>
              </a:extLst>
            </p:cNvPr>
            <p:cNvSpPr/>
            <p:nvPr/>
          </p:nvSpPr>
          <p:spPr>
            <a:xfrm>
              <a:off x="7963791" y="3744077"/>
              <a:ext cx="132219" cy="132219"/>
            </a:xfrm>
            <a:prstGeom prst="ellipse">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TextBox 156">
              <a:extLst>
                <a:ext uri="{FF2B5EF4-FFF2-40B4-BE49-F238E27FC236}">
                  <a16:creationId xmlns:a16="http://schemas.microsoft.com/office/drawing/2014/main" id="{379355C2-E91D-4AAB-9D30-886E10B40C9E}"/>
                </a:ext>
              </a:extLst>
            </p:cNvPr>
            <p:cNvSpPr txBox="1"/>
            <p:nvPr/>
          </p:nvSpPr>
          <p:spPr>
            <a:xfrm>
              <a:off x="7673848" y="3525948"/>
              <a:ext cx="712103" cy="230832"/>
            </a:xfrm>
            <a:prstGeom prst="rect">
              <a:avLst/>
            </a:prstGeom>
            <a:noFill/>
            <a:ln>
              <a:noFill/>
            </a:ln>
          </p:spPr>
          <p:txBody>
            <a:bodyPr wrap="square" rtlCol="0">
              <a:spAutoFit/>
            </a:bodyPr>
            <a:lstStyle/>
            <a:p>
              <a:pPr algn="ctr"/>
              <a:r>
                <a:rPr lang="en-US" sz="900" b="1" i="1" dirty="0">
                  <a:solidFill>
                    <a:schemeClr val="bg2"/>
                  </a:solidFill>
                </a:rPr>
                <a:t>2H CY20</a:t>
              </a:r>
            </a:p>
          </p:txBody>
        </p:sp>
        <p:sp>
          <p:nvSpPr>
            <p:cNvPr id="158" name="TextBox 157">
              <a:extLst>
                <a:ext uri="{FF2B5EF4-FFF2-40B4-BE49-F238E27FC236}">
                  <a16:creationId xmlns:a16="http://schemas.microsoft.com/office/drawing/2014/main" id="{4AD6CCE7-1C02-4083-BA9B-E797B9FD8496}"/>
                </a:ext>
              </a:extLst>
            </p:cNvPr>
            <p:cNvSpPr txBox="1"/>
            <p:nvPr/>
          </p:nvSpPr>
          <p:spPr>
            <a:xfrm>
              <a:off x="7701914" y="3958119"/>
              <a:ext cx="879159" cy="230832"/>
            </a:xfrm>
            <a:prstGeom prst="rect">
              <a:avLst/>
            </a:prstGeom>
            <a:noFill/>
            <a:ln>
              <a:noFill/>
            </a:ln>
          </p:spPr>
          <p:txBody>
            <a:bodyPr wrap="square" rtlCol="0">
              <a:spAutoFit/>
            </a:bodyPr>
            <a:lstStyle/>
            <a:p>
              <a:pPr algn="ctr"/>
              <a:r>
                <a:rPr lang="en-US" sz="900" dirty="0"/>
                <a:t>Oct-Nov 20</a:t>
              </a:r>
            </a:p>
          </p:txBody>
        </p:sp>
      </p:grpSp>
      <p:grpSp>
        <p:nvGrpSpPr>
          <p:cNvPr id="160" name="Group 159">
            <a:extLst>
              <a:ext uri="{FF2B5EF4-FFF2-40B4-BE49-F238E27FC236}">
                <a16:creationId xmlns:a16="http://schemas.microsoft.com/office/drawing/2014/main" id="{8DD000B3-319C-489C-8968-52E3DDE003D4}"/>
              </a:ext>
            </a:extLst>
          </p:cNvPr>
          <p:cNvGrpSpPr/>
          <p:nvPr/>
        </p:nvGrpSpPr>
        <p:grpSpPr>
          <a:xfrm>
            <a:off x="5490387" y="6773"/>
            <a:ext cx="3600358" cy="381616"/>
            <a:chOff x="1764931" y="544058"/>
            <a:chExt cx="2928789" cy="381616"/>
          </a:xfrm>
        </p:grpSpPr>
        <p:sp>
          <p:nvSpPr>
            <p:cNvPr id="161" name="Rectangle 160">
              <a:extLst>
                <a:ext uri="{FF2B5EF4-FFF2-40B4-BE49-F238E27FC236}">
                  <a16:creationId xmlns:a16="http://schemas.microsoft.com/office/drawing/2014/main" id="{FB725BB9-4BC1-4C10-86AC-FC127018038B}"/>
                </a:ext>
              </a:extLst>
            </p:cNvPr>
            <p:cNvSpPr/>
            <p:nvPr/>
          </p:nvSpPr>
          <p:spPr>
            <a:xfrm>
              <a:off x="1764931" y="544058"/>
              <a:ext cx="2928789" cy="381282"/>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Text Box 62">
              <a:extLst>
                <a:ext uri="{FF2B5EF4-FFF2-40B4-BE49-F238E27FC236}">
                  <a16:creationId xmlns:a16="http://schemas.microsoft.com/office/drawing/2014/main" id="{4A44AE29-DEDE-40FF-9067-88693E7CC680}"/>
                </a:ext>
              </a:extLst>
            </p:cNvPr>
            <p:cNvSpPr txBox="1">
              <a:spLocks noChangeArrowheads="1"/>
            </p:cNvSpPr>
            <p:nvPr/>
          </p:nvSpPr>
          <p:spPr bwMode="auto">
            <a:xfrm>
              <a:off x="3091253" y="544160"/>
              <a:ext cx="1546232" cy="381514"/>
            </a:xfrm>
            <a:prstGeom prst="rect">
              <a:avLst/>
            </a:prstGeom>
            <a:solidFill>
              <a:schemeClr val="accent1">
                <a:lumMod val="50000"/>
              </a:schemeClr>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defPPr>
                <a:defRPr lang="en-US"/>
              </a:defPPr>
              <a:lvl1pPr algn="ctr" defTabSz="457189">
                <a:defRPr sz="1100" b="1">
                  <a:solidFill>
                    <a:srgbClr val="FFFFFF"/>
                  </a:solidFill>
                  <a:latin typeface="Arial" panose="020B0604020202020204" pitchFamily="34" charset="0"/>
                  <a:cs typeface="Arial" panose="020B0604020202020204" pitchFamily="34" charset="0"/>
                </a:defRPr>
              </a:lvl1pPr>
              <a:lvl2pPr marL="742950" indent="-285750">
                <a:defRPr sz="2400">
                  <a:latin typeface="Helvetica 45 Light" pitchFamily="34" charset="0"/>
                </a:defRPr>
              </a:lvl2pPr>
              <a:lvl3pPr marL="1143000" indent="-228600">
                <a:defRPr sz="2400">
                  <a:latin typeface="Helvetica 45 Light" pitchFamily="34" charset="0"/>
                </a:defRPr>
              </a:lvl3pPr>
              <a:lvl4pPr marL="1600200" indent="-228600">
                <a:defRPr sz="2400">
                  <a:latin typeface="Helvetica 45 Light" pitchFamily="34" charset="0"/>
                </a:defRPr>
              </a:lvl4pPr>
              <a:lvl5pPr marL="2057400" indent="-228600">
                <a:defRPr sz="2400">
                  <a:latin typeface="Helvetica 45 Light" pitchFamily="34" charset="0"/>
                </a:defRPr>
              </a:lvl5pPr>
              <a:lvl6pPr marL="2514600" indent="-228600" fontAlgn="base">
                <a:spcBef>
                  <a:spcPct val="0"/>
                </a:spcBef>
                <a:spcAft>
                  <a:spcPct val="0"/>
                </a:spcAft>
                <a:defRPr sz="2400">
                  <a:latin typeface="Helvetica 45 Light" pitchFamily="34" charset="0"/>
                </a:defRPr>
              </a:lvl6pPr>
              <a:lvl7pPr marL="2971800" indent="-228600" fontAlgn="base">
                <a:spcBef>
                  <a:spcPct val="0"/>
                </a:spcBef>
                <a:spcAft>
                  <a:spcPct val="0"/>
                </a:spcAft>
                <a:defRPr sz="2400">
                  <a:latin typeface="Helvetica 45 Light" pitchFamily="34" charset="0"/>
                </a:defRPr>
              </a:lvl7pPr>
              <a:lvl8pPr marL="3429000" indent="-228600" fontAlgn="base">
                <a:spcBef>
                  <a:spcPct val="0"/>
                </a:spcBef>
                <a:spcAft>
                  <a:spcPct val="0"/>
                </a:spcAft>
                <a:defRPr sz="2400">
                  <a:latin typeface="Helvetica 45 Light" pitchFamily="34" charset="0"/>
                </a:defRPr>
              </a:lvl8pPr>
              <a:lvl9pPr marL="3886200" indent="-228600" fontAlgn="base">
                <a:spcBef>
                  <a:spcPct val="0"/>
                </a:spcBef>
                <a:spcAft>
                  <a:spcPct val="0"/>
                </a:spcAft>
                <a:defRPr sz="2400">
                  <a:latin typeface="Helvetica 45 Light" pitchFamily="34" charset="0"/>
                </a:defRPr>
              </a:lvl9pPr>
            </a:lstStyle>
            <a:p>
              <a:r>
                <a:rPr lang="en-US" sz="1000" dirty="0"/>
                <a:t>5</a:t>
              </a:r>
              <a:r>
                <a:rPr lang="en-US" sz="1000" baseline="30000" dirty="0"/>
                <a:t>th</a:t>
              </a:r>
              <a:r>
                <a:rPr lang="en-US" sz="1000" dirty="0"/>
                <a:t> Gen Phase II </a:t>
              </a:r>
            </a:p>
            <a:p>
              <a:r>
                <a:rPr lang="en-US" sz="1000" dirty="0"/>
                <a:t>(Not </a:t>
              </a:r>
              <a:r>
                <a:rPr lang="en-US" sz="1000" dirty="0" err="1"/>
                <a:t>EC’ed</a:t>
              </a:r>
              <a:r>
                <a:rPr lang="en-US" sz="1000" dirty="0"/>
                <a:t> yet)</a:t>
              </a:r>
            </a:p>
          </p:txBody>
        </p:sp>
        <p:sp>
          <p:nvSpPr>
            <p:cNvPr id="163" name="Text Box 62">
              <a:extLst>
                <a:ext uri="{FF2B5EF4-FFF2-40B4-BE49-F238E27FC236}">
                  <a16:creationId xmlns:a16="http://schemas.microsoft.com/office/drawing/2014/main" id="{E2E97DC5-50FD-4315-901B-091A721685F5}"/>
                </a:ext>
              </a:extLst>
            </p:cNvPr>
            <p:cNvSpPr txBox="1">
              <a:spLocks noChangeArrowheads="1"/>
            </p:cNvSpPr>
            <p:nvPr/>
          </p:nvSpPr>
          <p:spPr bwMode="auto">
            <a:xfrm>
              <a:off x="1864879" y="616733"/>
              <a:ext cx="1171438" cy="227625"/>
            </a:xfrm>
            <a:prstGeom prst="rect">
              <a:avLst/>
            </a:prstGeom>
            <a:solidFill>
              <a:schemeClr val="accent3"/>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defPPr>
                <a:defRPr lang="en-US"/>
              </a:defPPr>
              <a:lvl1pPr algn="ctr" defTabSz="457189">
                <a:defRPr sz="1100" b="1">
                  <a:solidFill>
                    <a:srgbClr val="FFFFFF"/>
                  </a:solidFill>
                  <a:latin typeface="Arial" panose="020B0604020202020204" pitchFamily="34" charset="0"/>
                  <a:cs typeface="Arial" panose="020B0604020202020204" pitchFamily="34" charset="0"/>
                </a:defRPr>
              </a:lvl1pPr>
              <a:lvl2pPr marL="742950" indent="-285750">
                <a:defRPr sz="2400">
                  <a:latin typeface="Helvetica 45 Light" pitchFamily="34" charset="0"/>
                </a:defRPr>
              </a:lvl2pPr>
              <a:lvl3pPr marL="1143000" indent="-228600">
                <a:defRPr sz="2400">
                  <a:latin typeface="Helvetica 45 Light" pitchFamily="34" charset="0"/>
                </a:defRPr>
              </a:lvl3pPr>
              <a:lvl4pPr marL="1600200" indent="-228600">
                <a:defRPr sz="2400">
                  <a:latin typeface="Helvetica 45 Light" pitchFamily="34" charset="0"/>
                </a:defRPr>
              </a:lvl4pPr>
              <a:lvl5pPr marL="2057400" indent="-228600">
                <a:defRPr sz="2400">
                  <a:latin typeface="Helvetica 45 Light" pitchFamily="34" charset="0"/>
                </a:defRPr>
              </a:lvl5pPr>
              <a:lvl6pPr marL="2514600" indent="-228600" fontAlgn="base">
                <a:spcBef>
                  <a:spcPct val="0"/>
                </a:spcBef>
                <a:spcAft>
                  <a:spcPct val="0"/>
                </a:spcAft>
                <a:defRPr sz="2400">
                  <a:latin typeface="Helvetica 45 Light" pitchFamily="34" charset="0"/>
                </a:defRPr>
              </a:lvl6pPr>
              <a:lvl7pPr marL="2971800" indent="-228600" fontAlgn="base">
                <a:spcBef>
                  <a:spcPct val="0"/>
                </a:spcBef>
                <a:spcAft>
                  <a:spcPct val="0"/>
                </a:spcAft>
                <a:defRPr sz="2400">
                  <a:latin typeface="Helvetica 45 Light" pitchFamily="34" charset="0"/>
                </a:defRPr>
              </a:lvl7pPr>
              <a:lvl8pPr marL="3429000" indent="-228600" fontAlgn="base">
                <a:spcBef>
                  <a:spcPct val="0"/>
                </a:spcBef>
                <a:spcAft>
                  <a:spcPct val="0"/>
                </a:spcAft>
                <a:defRPr sz="2400">
                  <a:latin typeface="Helvetica 45 Light" pitchFamily="34" charset="0"/>
                </a:defRPr>
              </a:lvl8pPr>
              <a:lvl9pPr marL="3886200" indent="-228600" fontAlgn="base">
                <a:spcBef>
                  <a:spcPct val="0"/>
                </a:spcBef>
                <a:spcAft>
                  <a:spcPct val="0"/>
                </a:spcAft>
                <a:defRPr sz="2400">
                  <a:latin typeface="Helvetica 45 Light" pitchFamily="34" charset="0"/>
                </a:defRPr>
              </a:lvl9pPr>
            </a:lstStyle>
            <a:p>
              <a:r>
                <a:rPr lang="en-US" sz="1000" dirty="0">
                  <a:solidFill>
                    <a:schemeClr val="tx2"/>
                  </a:solidFill>
                </a:rPr>
                <a:t>4</a:t>
              </a:r>
              <a:r>
                <a:rPr lang="en-US" sz="1000" baseline="30000" dirty="0">
                  <a:solidFill>
                    <a:schemeClr val="tx2"/>
                  </a:solidFill>
                </a:rPr>
                <a:t>th</a:t>
              </a:r>
              <a:r>
                <a:rPr lang="en-US" sz="1000" dirty="0">
                  <a:solidFill>
                    <a:schemeClr val="tx2"/>
                  </a:solidFill>
                </a:rPr>
                <a:t> Gen (Orderable)</a:t>
              </a:r>
            </a:p>
          </p:txBody>
        </p:sp>
      </p:grpSp>
      <p:sp>
        <p:nvSpPr>
          <p:cNvPr id="164" name="Rectangle 163">
            <a:extLst>
              <a:ext uri="{FF2B5EF4-FFF2-40B4-BE49-F238E27FC236}">
                <a16:creationId xmlns:a16="http://schemas.microsoft.com/office/drawing/2014/main" id="{D63E4565-275E-4297-875C-D23578D84FE7}"/>
              </a:ext>
            </a:extLst>
          </p:cNvPr>
          <p:cNvSpPr/>
          <p:nvPr/>
        </p:nvSpPr>
        <p:spPr>
          <a:xfrm>
            <a:off x="5125222" y="1291206"/>
            <a:ext cx="1799099" cy="2445166"/>
          </a:xfrm>
          <a:prstGeom prst="rect">
            <a:avLst/>
          </a:prstGeom>
          <a:noFill/>
          <a:ln w="19050">
            <a:solidFill>
              <a:srgbClr val="00333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dirty="0">
              <a:solidFill>
                <a:srgbClr val="005073"/>
              </a:solidFill>
              <a:latin typeface="CiscoSansTT ExtraLight"/>
            </a:endParaRPr>
          </a:p>
        </p:txBody>
      </p:sp>
      <p:sp>
        <p:nvSpPr>
          <p:cNvPr id="165" name="Rectangle 164">
            <a:extLst>
              <a:ext uri="{FF2B5EF4-FFF2-40B4-BE49-F238E27FC236}">
                <a16:creationId xmlns:a16="http://schemas.microsoft.com/office/drawing/2014/main" id="{4A8988B6-47BE-49F0-8BD7-5E31DBD5BD72}"/>
              </a:ext>
            </a:extLst>
          </p:cNvPr>
          <p:cNvSpPr/>
          <p:nvPr/>
        </p:nvSpPr>
        <p:spPr>
          <a:xfrm>
            <a:off x="7053300" y="1305173"/>
            <a:ext cx="1956578" cy="2431198"/>
          </a:xfrm>
          <a:prstGeom prst="rect">
            <a:avLst/>
          </a:prstGeom>
          <a:noFill/>
          <a:ln w="19050">
            <a:solidFill>
              <a:srgbClr val="00333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dirty="0">
              <a:solidFill>
                <a:srgbClr val="005073"/>
              </a:solidFill>
              <a:latin typeface="CiscoSansTT ExtraLight"/>
            </a:endParaRPr>
          </a:p>
        </p:txBody>
      </p:sp>
      <p:sp>
        <p:nvSpPr>
          <p:cNvPr id="21" name="TextBox 20">
            <a:extLst>
              <a:ext uri="{FF2B5EF4-FFF2-40B4-BE49-F238E27FC236}">
                <a16:creationId xmlns:a16="http://schemas.microsoft.com/office/drawing/2014/main" id="{EE350F13-1237-4B3A-9406-A25504F42CCB}"/>
              </a:ext>
            </a:extLst>
          </p:cNvPr>
          <p:cNvSpPr txBox="1"/>
          <p:nvPr/>
        </p:nvSpPr>
        <p:spPr>
          <a:xfrm>
            <a:off x="1567895" y="2283538"/>
            <a:ext cx="1119567" cy="430887"/>
          </a:xfrm>
          <a:prstGeom prst="rect">
            <a:avLst/>
          </a:prstGeom>
          <a:noFill/>
        </p:spPr>
        <p:txBody>
          <a:bodyPr wrap="square" rtlCol="0">
            <a:spAutoFit/>
          </a:bodyPr>
          <a:lstStyle/>
          <a:p>
            <a:r>
              <a:rPr lang="en-US" sz="1100" b="1" dirty="0"/>
              <a:t>7 FABRIC LCs</a:t>
            </a:r>
          </a:p>
        </p:txBody>
      </p:sp>
      <p:sp>
        <p:nvSpPr>
          <p:cNvPr id="166" name="TextBox 165">
            <a:extLst>
              <a:ext uri="{FF2B5EF4-FFF2-40B4-BE49-F238E27FC236}">
                <a16:creationId xmlns:a16="http://schemas.microsoft.com/office/drawing/2014/main" id="{03F826E8-DB99-415D-A825-C5B316A1B91F}"/>
              </a:ext>
            </a:extLst>
          </p:cNvPr>
          <p:cNvSpPr txBox="1"/>
          <p:nvPr/>
        </p:nvSpPr>
        <p:spPr>
          <a:xfrm>
            <a:off x="2291774" y="3641695"/>
            <a:ext cx="1119567" cy="430887"/>
          </a:xfrm>
          <a:prstGeom prst="rect">
            <a:avLst/>
          </a:prstGeom>
          <a:noFill/>
        </p:spPr>
        <p:txBody>
          <a:bodyPr wrap="square" rtlCol="0">
            <a:spAutoFit/>
          </a:bodyPr>
          <a:lstStyle/>
          <a:p>
            <a:r>
              <a:rPr lang="en-US" sz="1100" b="1" dirty="0"/>
              <a:t>5 FABRIC LCs</a:t>
            </a:r>
          </a:p>
        </p:txBody>
      </p:sp>
      <p:sp>
        <p:nvSpPr>
          <p:cNvPr id="171" name="TextBox 170">
            <a:extLst>
              <a:ext uri="{FF2B5EF4-FFF2-40B4-BE49-F238E27FC236}">
                <a16:creationId xmlns:a16="http://schemas.microsoft.com/office/drawing/2014/main" id="{20478104-9A96-41AA-BEB6-E8CCCCD9DF0F}"/>
              </a:ext>
            </a:extLst>
          </p:cNvPr>
          <p:cNvSpPr txBox="1"/>
          <p:nvPr/>
        </p:nvSpPr>
        <p:spPr>
          <a:xfrm>
            <a:off x="4454224" y="4834911"/>
            <a:ext cx="1201861" cy="196170"/>
          </a:xfrm>
          <a:prstGeom prst="rect">
            <a:avLst/>
          </a:prstGeom>
          <a:noFill/>
        </p:spPr>
        <p:txBody>
          <a:bodyPr wrap="square" rtlCol="0" anchor="ctr">
            <a:noAutofit/>
          </a:bodyPr>
          <a:lstStyle/>
          <a:p>
            <a:pPr algn="ctr"/>
            <a:r>
              <a:rPr lang="en-US" sz="1000" dirty="0">
                <a:solidFill>
                  <a:schemeClr val="tx2"/>
                </a:solidFill>
              </a:rPr>
              <a:t>5</a:t>
            </a:r>
            <a:r>
              <a:rPr lang="en-US" sz="1000" baseline="30000" dirty="0">
                <a:solidFill>
                  <a:schemeClr val="tx2"/>
                </a:solidFill>
              </a:rPr>
              <a:t>th</a:t>
            </a:r>
            <a:r>
              <a:rPr lang="en-US" sz="1000" dirty="0">
                <a:solidFill>
                  <a:schemeClr val="tx2"/>
                </a:solidFill>
              </a:rPr>
              <a:t> Gen PH-I EFT</a:t>
            </a:r>
          </a:p>
        </p:txBody>
      </p:sp>
      <p:sp>
        <p:nvSpPr>
          <p:cNvPr id="169" name="TextBox 168">
            <a:extLst>
              <a:ext uri="{FF2B5EF4-FFF2-40B4-BE49-F238E27FC236}">
                <a16:creationId xmlns:a16="http://schemas.microsoft.com/office/drawing/2014/main" id="{08F6D71B-B0F8-46CB-9B5A-304B124FED1C}"/>
              </a:ext>
            </a:extLst>
          </p:cNvPr>
          <p:cNvSpPr txBox="1"/>
          <p:nvPr/>
        </p:nvSpPr>
        <p:spPr>
          <a:xfrm>
            <a:off x="2568072" y="4834911"/>
            <a:ext cx="889574" cy="213166"/>
          </a:xfrm>
          <a:prstGeom prst="rect">
            <a:avLst/>
          </a:prstGeom>
          <a:noFill/>
        </p:spPr>
        <p:txBody>
          <a:bodyPr wrap="square" rtlCol="0" anchor="ctr">
            <a:noAutofit/>
          </a:bodyPr>
          <a:lstStyle/>
          <a:p>
            <a:pPr algn="ctr"/>
            <a:r>
              <a:rPr lang="en-US" sz="1000" dirty="0">
                <a:solidFill>
                  <a:schemeClr val="tx2"/>
                </a:solidFill>
              </a:rPr>
              <a:t>4</a:t>
            </a:r>
            <a:r>
              <a:rPr lang="en-US" sz="1000" baseline="30000" dirty="0">
                <a:solidFill>
                  <a:schemeClr val="tx2"/>
                </a:solidFill>
              </a:rPr>
              <a:t>th</a:t>
            </a:r>
            <a:r>
              <a:rPr lang="en-US" sz="1000" dirty="0">
                <a:solidFill>
                  <a:schemeClr val="tx2"/>
                </a:solidFill>
              </a:rPr>
              <a:t> Gen FCS</a:t>
            </a:r>
          </a:p>
        </p:txBody>
      </p:sp>
      <p:sp>
        <p:nvSpPr>
          <p:cNvPr id="172" name="TextBox 171">
            <a:extLst>
              <a:ext uri="{FF2B5EF4-FFF2-40B4-BE49-F238E27FC236}">
                <a16:creationId xmlns:a16="http://schemas.microsoft.com/office/drawing/2014/main" id="{B9D5B759-2695-411B-B905-2D6FC8B8369D}"/>
              </a:ext>
            </a:extLst>
          </p:cNvPr>
          <p:cNvSpPr txBox="1"/>
          <p:nvPr/>
        </p:nvSpPr>
        <p:spPr>
          <a:xfrm>
            <a:off x="5959963" y="4834911"/>
            <a:ext cx="1118894" cy="213166"/>
          </a:xfrm>
          <a:prstGeom prst="rect">
            <a:avLst/>
          </a:prstGeom>
          <a:noFill/>
        </p:spPr>
        <p:txBody>
          <a:bodyPr wrap="square" rtlCol="0" anchor="ctr">
            <a:noAutofit/>
          </a:bodyPr>
          <a:lstStyle/>
          <a:p>
            <a:pPr algn="ctr"/>
            <a:r>
              <a:rPr lang="en-US" sz="1000" dirty="0">
                <a:solidFill>
                  <a:schemeClr val="tx2"/>
                </a:solidFill>
              </a:rPr>
              <a:t>5</a:t>
            </a:r>
            <a:r>
              <a:rPr lang="en-US" sz="1000" baseline="30000" dirty="0">
                <a:solidFill>
                  <a:schemeClr val="tx2"/>
                </a:solidFill>
              </a:rPr>
              <a:t>th</a:t>
            </a:r>
            <a:r>
              <a:rPr lang="en-US" sz="1000" dirty="0">
                <a:solidFill>
                  <a:schemeClr val="tx2"/>
                </a:solidFill>
              </a:rPr>
              <a:t> Gen PH-I GA</a:t>
            </a:r>
          </a:p>
        </p:txBody>
      </p:sp>
      <p:sp>
        <p:nvSpPr>
          <p:cNvPr id="174" name="TextBox 173">
            <a:extLst>
              <a:ext uri="{FF2B5EF4-FFF2-40B4-BE49-F238E27FC236}">
                <a16:creationId xmlns:a16="http://schemas.microsoft.com/office/drawing/2014/main" id="{23122BBB-4967-41D3-857B-BF2A83C67063}"/>
              </a:ext>
            </a:extLst>
          </p:cNvPr>
          <p:cNvSpPr txBox="1"/>
          <p:nvPr/>
        </p:nvSpPr>
        <p:spPr>
          <a:xfrm>
            <a:off x="7446318" y="4834911"/>
            <a:ext cx="1229441" cy="182880"/>
          </a:xfrm>
          <a:prstGeom prst="rect">
            <a:avLst/>
          </a:prstGeom>
          <a:noFill/>
        </p:spPr>
        <p:txBody>
          <a:bodyPr wrap="square" rtlCol="0" anchor="ctr">
            <a:noAutofit/>
          </a:bodyPr>
          <a:lstStyle/>
          <a:p>
            <a:pPr algn="ctr"/>
            <a:r>
              <a:rPr lang="en-US" sz="1000" dirty="0">
                <a:solidFill>
                  <a:schemeClr val="tx2"/>
                </a:solidFill>
              </a:rPr>
              <a:t>5</a:t>
            </a:r>
            <a:r>
              <a:rPr lang="en-US" sz="1000" baseline="30000" dirty="0">
                <a:solidFill>
                  <a:schemeClr val="tx2"/>
                </a:solidFill>
              </a:rPr>
              <a:t>th</a:t>
            </a:r>
            <a:r>
              <a:rPr lang="en-US" sz="1000" dirty="0">
                <a:solidFill>
                  <a:schemeClr val="tx2"/>
                </a:solidFill>
              </a:rPr>
              <a:t> Gen PH-II</a:t>
            </a:r>
          </a:p>
        </p:txBody>
      </p:sp>
      <p:cxnSp>
        <p:nvCxnSpPr>
          <p:cNvPr id="176" name="Straight Connector 175">
            <a:extLst>
              <a:ext uri="{FF2B5EF4-FFF2-40B4-BE49-F238E27FC236}">
                <a16:creationId xmlns:a16="http://schemas.microsoft.com/office/drawing/2014/main" id="{DCC53E15-90F9-4876-A89D-90B282848610}"/>
              </a:ext>
            </a:extLst>
          </p:cNvPr>
          <p:cNvCxnSpPr>
            <a:cxnSpLocks/>
          </p:cNvCxnSpPr>
          <p:nvPr/>
        </p:nvCxnSpPr>
        <p:spPr>
          <a:xfrm>
            <a:off x="5068943" y="4624333"/>
            <a:ext cx="0" cy="188312"/>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20C77154-B9D2-43E0-B772-EC2E7934D4EA}"/>
              </a:ext>
            </a:extLst>
          </p:cNvPr>
          <p:cNvCxnSpPr>
            <a:cxnSpLocks/>
          </p:cNvCxnSpPr>
          <p:nvPr/>
        </p:nvCxnSpPr>
        <p:spPr>
          <a:xfrm>
            <a:off x="6448934" y="4624333"/>
            <a:ext cx="0" cy="188312"/>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AD6888FD-1306-440B-BD86-20CAE6A83CD7}"/>
              </a:ext>
            </a:extLst>
          </p:cNvPr>
          <p:cNvCxnSpPr>
            <a:cxnSpLocks/>
          </p:cNvCxnSpPr>
          <p:nvPr/>
        </p:nvCxnSpPr>
        <p:spPr>
          <a:xfrm>
            <a:off x="8021587" y="4624333"/>
            <a:ext cx="0" cy="188312"/>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73FC6EB3-A434-4200-85ED-E7CCCBC522B4}"/>
              </a:ext>
            </a:extLst>
          </p:cNvPr>
          <p:cNvSpPr txBox="1"/>
          <p:nvPr/>
        </p:nvSpPr>
        <p:spPr>
          <a:xfrm>
            <a:off x="5385027" y="992299"/>
            <a:ext cx="1293575" cy="307777"/>
          </a:xfrm>
          <a:prstGeom prst="rect">
            <a:avLst/>
          </a:prstGeom>
          <a:noFill/>
        </p:spPr>
        <p:txBody>
          <a:bodyPr wrap="square" rtlCol="0">
            <a:spAutoFit/>
          </a:bodyPr>
          <a:lstStyle/>
          <a:p>
            <a:pPr algn="ctr" defTabSz="457178"/>
            <a:r>
              <a:rPr lang="en-US" sz="1400" dirty="0">
                <a:solidFill>
                  <a:srgbClr val="282828"/>
                </a:solidFill>
                <a:latin typeface="Arial Black" panose="020B0A04020102020204" pitchFamily="34" charset="0"/>
              </a:rPr>
              <a:t>PHASE-I</a:t>
            </a:r>
            <a:endParaRPr lang="en-US" sz="1400" dirty="0">
              <a:solidFill>
                <a:srgbClr val="282828"/>
              </a:solidFill>
              <a:latin typeface="CiscoSansTT ExtraLight"/>
            </a:endParaRPr>
          </a:p>
        </p:txBody>
      </p:sp>
      <p:sp>
        <p:nvSpPr>
          <p:cNvPr id="190" name="TextBox 189">
            <a:extLst>
              <a:ext uri="{FF2B5EF4-FFF2-40B4-BE49-F238E27FC236}">
                <a16:creationId xmlns:a16="http://schemas.microsoft.com/office/drawing/2014/main" id="{FE8B86DC-FAFA-4F7E-8680-544532ECE7BC}"/>
              </a:ext>
            </a:extLst>
          </p:cNvPr>
          <p:cNvSpPr txBox="1"/>
          <p:nvPr/>
        </p:nvSpPr>
        <p:spPr>
          <a:xfrm>
            <a:off x="7316022" y="989925"/>
            <a:ext cx="1293575" cy="307777"/>
          </a:xfrm>
          <a:prstGeom prst="rect">
            <a:avLst/>
          </a:prstGeom>
          <a:noFill/>
        </p:spPr>
        <p:txBody>
          <a:bodyPr wrap="square" rtlCol="0">
            <a:spAutoFit/>
          </a:bodyPr>
          <a:lstStyle/>
          <a:p>
            <a:pPr algn="ctr" defTabSz="457178"/>
            <a:r>
              <a:rPr lang="en-US" sz="1400" dirty="0">
                <a:solidFill>
                  <a:srgbClr val="282828"/>
                </a:solidFill>
                <a:latin typeface="Arial Black" panose="020B0A04020102020204" pitchFamily="34" charset="0"/>
              </a:rPr>
              <a:t>PHASE-II</a:t>
            </a:r>
            <a:endParaRPr lang="en-US" sz="1400" dirty="0">
              <a:solidFill>
                <a:srgbClr val="282828"/>
              </a:solidFill>
              <a:latin typeface="CiscoSansTT ExtraLight"/>
            </a:endParaRPr>
          </a:p>
        </p:txBody>
      </p:sp>
      <p:grpSp>
        <p:nvGrpSpPr>
          <p:cNvPr id="27" name="Group 26">
            <a:extLst>
              <a:ext uri="{FF2B5EF4-FFF2-40B4-BE49-F238E27FC236}">
                <a16:creationId xmlns:a16="http://schemas.microsoft.com/office/drawing/2014/main" id="{F60717C9-87E8-4654-A71A-E4F12CE4214D}"/>
              </a:ext>
            </a:extLst>
          </p:cNvPr>
          <p:cNvGrpSpPr/>
          <p:nvPr/>
        </p:nvGrpSpPr>
        <p:grpSpPr>
          <a:xfrm>
            <a:off x="145637" y="542487"/>
            <a:ext cx="2853772" cy="369135"/>
            <a:chOff x="145636" y="542486"/>
            <a:chExt cx="2853772" cy="369134"/>
          </a:xfrm>
        </p:grpSpPr>
        <p:sp>
          <p:nvSpPr>
            <p:cNvPr id="194" name="Nexus Box">
              <a:extLst>
                <a:ext uri="{FF2B5EF4-FFF2-40B4-BE49-F238E27FC236}">
                  <a16:creationId xmlns:a16="http://schemas.microsoft.com/office/drawing/2014/main" id="{9699E5B5-6F2C-43F3-9151-561E244282E9}"/>
                </a:ext>
              </a:extLst>
            </p:cNvPr>
            <p:cNvSpPr/>
            <p:nvPr/>
          </p:nvSpPr>
          <p:spPr>
            <a:xfrm rot="10800000" flipV="1">
              <a:off x="145636" y="563756"/>
              <a:ext cx="2853770" cy="312471"/>
            </a:xfrm>
            <a:prstGeom prst="roundRect">
              <a:avLst>
                <a:gd name="adj" fmla="val 5330"/>
              </a:avLst>
            </a:prstGeom>
            <a:gradFill>
              <a:gsLst>
                <a:gs pos="98000">
                  <a:schemeClr val="tx2">
                    <a:lumMod val="20000"/>
                    <a:lumOff val="80000"/>
                  </a:schemeClr>
                </a:gs>
                <a:gs pos="0">
                  <a:srgbClr val="1F1F1F">
                    <a:alpha val="0"/>
                  </a:srgbClr>
                </a:gs>
              </a:gsLst>
              <a:lin ang="5400000" scaled="1"/>
            </a:gradFill>
            <a:ln w="3175">
              <a:gradFill flip="none" rotWithShape="1">
                <a:gsLst>
                  <a:gs pos="2000">
                    <a:schemeClr val="tx1">
                      <a:lumMod val="75000"/>
                      <a:lumOff val="25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68526" tIns="34264" rIns="68526" bIns="34264" rtlCol="0" anchor="t"/>
            <a:lstStyle/>
            <a:p>
              <a:pPr defTabSz="457075">
                <a:defRPr/>
              </a:pPr>
              <a:endParaRPr lang="en-US" sz="1125">
                <a:solidFill>
                  <a:srgbClr val="E7E6E6"/>
                </a:solidFill>
                <a:latin typeface="CiscoSansTT ExtraLight"/>
              </a:endParaRPr>
            </a:p>
          </p:txBody>
        </p:sp>
        <p:sp>
          <p:nvSpPr>
            <p:cNvPr id="195" name="TextBox 194">
              <a:extLst>
                <a:ext uri="{FF2B5EF4-FFF2-40B4-BE49-F238E27FC236}">
                  <a16:creationId xmlns:a16="http://schemas.microsoft.com/office/drawing/2014/main" id="{9E097C53-381D-4E82-BAA3-E52C708E4634}"/>
                </a:ext>
              </a:extLst>
            </p:cNvPr>
            <p:cNvSpPr txBox="1"/>
            <p:nvPr/>
          </p:nvSpPr>
          <p:spPr>
            <a:xfrm>
              <a:off x="160964" y="542486"/>
              <a:ext cx="2838444" cy="369134"/>
            </a:xfrm>
            <a:prstGeom prst="rect">
              <a:avLst/>
            </a:prstGeom>
            <a:noFill/>
          </p:spPr>
          <p:txBody>
            <a:bodyPr wrap="square" lIns="91373" tIns="45686" rIns="91373" bIns="45686" rtlCol="0" anchor="ctr">
              <a:spAutoFit/>
            </a:bodyPr>
            <a:lstStyle/>
            <a:p>
              <a:pPr algn="ctr" defTabSz="457075">
                <a:defRPr/>
              </a:pPr>
              <a:r>
                <a:rPr lang="en-US" sz="1799" dirty="0">
                  <a:solidFill>
                    <a:srgbClr val="00137B"/>
                  </a:solidFill>
                </a:rPr>
                <a:t>4x Capacity increase</a:t>
              </a:r>
            </a:p>
          </p:txBody>
        </p:sp>
      </p:grpSp>
      <p:grpSp>
        <p:nvGrpSpPr>
          <p:cNvPr id="28" name="Group 27">
            <a:extLst>
              <a:ext uri="{FF2B5EF4-FFF2-40B4-BE49-F238E27FC236}">
                <a16:creationId xmlns:a16="http://schemas.microsoft.com/office/drawing/2014/main" id="{3CB5D4F6-6232-43F8-9687-FB4E6ACF4A0C}"/>
              </a:ext>
            </a:extLst>
          </p:cNvPr>
          <p:cNvGrpSpPr/>
          <p:nvPr/>
        </p:nvGrpSpPr>
        <p:grpSpPr>
          <a:xfrm>
            <a:off x="3197197" y="542487"/>
            <a:ext cx="2991373" cy="369135"/>
            <a:chOff x="3197196" y="542486"/>
            <a:chExt cx="2991372" cy="369134"/>
          </a:xfrm>
        </p:grpSpPr>
        <p:sp>
          <p:nvSpPr>
            <p:cNvPr id="192" name="Nexus Box">
              <a:extLst>
                <a:ext uri="{FF2B5EF4-FFF2-40B4-BE49-F238E27FC236}">
                  <a16:creationId xmlns:a16="http://schemas.microsoft.com/office/drawing/2014/main" id="{6302329E-88F6-446A-8B20-B810F95C1A91}"/>
                </a:ext>
              </a:extLst>
            </p:cNvPr>
            <p:cNvSpPr/>
            <p:nvPr/>
          </p:nvSpPr>
          <p:spPr>
            <a:xfrm rot="10800000" flipV="1">
              <a:off x="3197198" y="577506"/>
              <a:ext cx="2934704" cy="312471"/>
            </a:xfrm>
            <a:prstGeom prst="roundRect">
              <a:avLst>
                <a:gd name="adj" fmla="val 5330"/>
              </a:avLst>
            </a:prstGeom>
            <a:gradFill>
              <a:gsLst>
                <a:gs pos="98000">
                  <a:schemeClr val="tx2">
                    <a:lumMod val="20000"/>
                    <a:lumOff val="80000"/>
                  </a:schemeClr>
                </a:gs>
                <a:gs pos="0">
                  <a:srgbClr val="1F1F1F">
                    <a:alpha val="0"/>
                  </a:srgbClr>
                </a:gs>
              </a:gsLst>
              <a:lin ang="5400000" scaled="1"/>
            </a:gradFill>
            <a:ln w="3175">
              <a:gradFill flip="none" rotWithShape="1">
                <a:gsLst>
                  <a:gs pos="2000">
                    <a:schemeClr val="tx1">
                      <a:lumMod val="75000"/>
                      <a:lumOff val="25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68526" tIns="34264" rIns="68526" bIns="34264" rtlCol="0" anchor="t"/>
            <a:lstStyle/>
            <a:p>
              <a:pPr defTabSz="457075">
                <a:defRPr/>
              </a:pPr>
              <a:endParaRPr lang="en-US" sz="1125">
                <a:solidFill>
                  <a:srgbClr val="E7E6E6"/>
                </a:solidFill>
                <a:latin typeface="CiscoSansTT ExtraLight"/>
              </a:endParaRPr>
            </a:p>
          </p:txBody>
        </p:sp>
        <p:sp>
          <p:nvSpPr>
            <p:cNvPr id="196" name="TextBox 195">
              <a:extLst>
                <a:ext uri="{FF2B5EF4-FFF2-40B4-BE49-F238E27FC236}">
                  <a16:creationId xmlns:a16="http://schemas.microsoft.com/office/drawing/2014/main" id="{A024CEE8-CD28-49D3-8722-5363069713F7}"/>
                </a:ext>
              </a:extLst>
            </p:cNvPr>
            <p:cNvSpPr txBox="1"/>
            <p:nvPr/>
          </p:nvSpPr>
          <p:spPr>
            <a:xfrm>
              <a:off x="3197196" y="542486"/>
              <a:ext cx="2991372" cy="369134"/>
            </a:xfrm>
            <a:prstGeom prst="rect">
              <a:avLst/>
            </a:prstGeom>
            <a:noFill/>
          </p:spPr>
          <p:txBody>
            <a:bodyPr wrap="square" lIns="91373" tIns="45686" rIns="91373" bIns="45686" rtlCol="0" anchor="ctr">
              <a:spAutoFit/>
            </a:bodyPr>
            <a:lstStyle/>
            <a:p>
              <a:pPr algn="ctr" defTabSz="457075">
                <a:defRPr/>
              </a:pPr>
              <a:r>
                <a:rPr lang="en-US" sz="1799" dirty="0">
                  <a:solidFill>
                    <a:srgbClr val="00137B"/>
                  </a:solidFill>
                </a:rPr>
                <a:t>Powered by IOS XR 64-bit</a:t>
              </a:r>
            </a:p>
          </p:txBody>
        </p:sp>
      </p:grpSp>
      <p:grpSp>
        <p:nvGrpSpPr>
          <p:cNvPr id="26" name="Group 25">
            <a:extLst>
              <a:ext uri="{FF2B5EF4-FFF2-40B4-BE49-F238E27FC236}">
                <a16:creationId xmlns:a16="http://schemas.microsoft.com/office/drawing/2014/main" id="{5FBD27B2-C022-45CA-84C9-D9A39E520170}"/>
              </a:ext>
            </a:extLst>
          </p:cNvPr>
          <p:cNvGrpSpPr/>
          <p:nvPr/>
        </p:nvGrpSpPr>
        <p:grpSpPr>
          <a:xfrm>
            <a:off x="6257174" y="542486"/>
            <a:ext cx="2761464" cy="369135"/>
            <a:chOff x="6257174" y="542486"/>
            <a:chExt cx="2761464" cy="369134"/>
          </a:xfrm>
        </p:grpSpPr>
        <p:sp>
          <p:nvSpPr>
            <p:cNvPr id="193" name="Nexus Box">
              <a:extLst>
                <a:ext uri="{FF2B5EF4-FFF2-40B4-BE49-F238E27FC236}">
                  <a16:creationId xmlns:a16="http://schemas.microsoft.com/office/drawing/2014/main" id="{4C2ED5CA-E8EA-4E4A-BE7F-08B3539F3BDA}"/>
                </a:ext>
              </a:extLst>
            </p:cNvPr>
            <p:cNvSpPr/>
            <p:nvPr/>
          </p:nvSpPr>
          <p:spPr>
            <a:xfrm rot="10800000" flipV="1">
              <a:off x="6306740" y="563756"/>
              <a:ext cx="2703138" cy="312471"/>
            </a:xfrm>
            <a:prstGeom prst="roundRect">
              <a:avLst>
                <a:gd name="adj" fmla="val 5330"/>
              </a:avLst>
            </a:prstGeom>
            <a:gradFill>
              <a:gsLst>
                <a:gs pos="98000">
                  <a:schemeClr val="tx2">
                    <a:lumMod val="20000"/>
                    <a:lumOff val="80000"/>
                  </a:schemeClr>
                </a:gs>
                <a:gs pos="0">
                  <a:srgbClr val="1F1F1F">
                    <a:alpha val="0"/>
                  </a:srgbClr>
                </a:gs>
              </a:gsLst>
              <a:lin ang="5400000" scaled="1"/>
            </a:gradFill>
            <a:ln w="3175">
              <a:gradFill flip="none" rotWithShape="1">
                <a:gsLst>
                  <a:gs pos="2000">
                    <a:schemeClr val="tx1">
                      <a:lumMod val="75000"/>
                      <a:lumOff val="25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68526" tIns="34264" rIns="68526" bIns="34264" rtlCol="0" anchor="t"/>
            <a:lstStyle/>
            <a:p>
              <a:pPr defTabSz="457075">
                <a:defRPr/>
              </a:pPr>
              <a:endParaRPr lang="en-US" sz="1125">
                <a:solidFill>
                  <a:srgbClr val="E7E6E6"/>
                </a:solidFill>
                <a:latin typeface="CiscoSansTT ExtraLight"/>
              </a:endParaRPr>
            </a:p>
          </p:txBody>
        </p:sp>
        <p:sp>
          <p:nvSpPr>
            <p:cNvPr id="197" name="TextBox 196">
              <a:extLst>
                <a:ext uri="{FF2B5EF4-FFF2-40B4-BE49-F238E27FC236}">
                  <a16:creationId xmlns:a16="http://schemas.microsoft.com/office/drawing/2014/main" id="{0A60B574-BD1E-423F-851A-0EAFA176FC85}"/>
                </a:ext>
              </a:extLst>
            </p:cNvPr>
            <p:cNvSpPr txBox="1"/>
            <p:nvPr/>
          </p:nvSpPr>
          <p:spPr>
            <a:xfrm>
              <a:off x="6257174" y="542486"/>
              <a:ext cx="2761464" cy="369134"/>
            </a:xfrm>
            <a:prstGeom prst="rect">
              <a:avLst/>
            </a:prstGeom>
            <a:noFill/>
          </p:spPr>
          <p:txBody>
            <a:bodyPr wrap="square" lIns="91373" tIns="45686" rIns="91373" bIns="45686" rtlCol="0" anchor="ctr">
              <a:spAutoFit/>
            </a:bodyPr>
            <a:lstStyle/>
            <a:p>
              <a:pPr algn="ctr" defTabSz="457075">
                <a:defRPr/>
              </a:pPr>
              <a:r>
                <a:rPr lang="en-US" sz="1799" dirty="0">
                  <a:solidFill>
                    <a:srgbClr val="00137B"/>
                  </a:solidFill>
                </a:rPr>
                <a:t>Lower TCO</a:t>
              </a:r>
            </a:p>
          </p:txBody>
        </p:sp>
      </p:grpSp>
      <p:sp>
        <p:nvSpPr>
          <p:cNvPr id="198" name="Arrow: Pentagon 197">
            <a:extLst>
              <a:ext uri="{FF2B5EF4-FFF2-40B4-BE49-F238E27FC236}">
                <a16:creationId xmlns:a16="http://schemas.microsoft.com/office/drawing/2014/main" id="{B515ECAA-33C9-4F42-87E1-69CEF8B38BF3}"/>
              </a:ext>
            </a:extLst>
          </p:cNvPr>
          <p:cNvSpPr/>
          <p:nvPr/>
        </p:nvSpPr>
        <p:spPr>
          <a:xfrm>
            <a:off x="112072" y="4558483"/>
            <a:ext cx="2020680" cy="549673"/>
          </a:xfrm>
          <a:prstGeom prst="homePlate">
            <a:avLst>
              <a:gd name="adj" fmla="val 0"/>
            </a:avLst>
          </a:prstGeom>
          <a:solidFill>
            <a:schemeClr val="tx1">
              <a:lumMod val="75000"/>
              <a:lumOff val="25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14378">
              <a:defRPr/>
            </a:pPr>
            <a:endParaRPr lang="en-US" kern="0" dirty="0">
              <a:solidFill>
                <a:schemeClr val="bg2"/>
              </a:solidFill>
              <a:latin typeface="CiscoSansTT ExtraLight"/>
            </a:endParaRPr>
          </a:p>
        </p:txBody>
      </p:sp>
      <p:sp>
        <p:nvSpPr>
          <p:cNvPr id="199" name="Trapezoid 198">
            <a:extLst>
              <a:ext uri="{FF2B5EF4-FFF2-40B4-BE49-F238E27FC236}">
                <a16:creationId xmlns:a16="http://schemas.microsoft.com/office/drawing/2014/main" id="{BEC1901F-1235-44C4-9059-1E11A1C857E0}"/>
              </a:ext>
            </a:extLst>
          </p:cNvPr>
          <p:cNvSpPr/>
          <p:nvPr/>
        </p:nvSpPr>
        <p:spPr>
          <a:xfrm>
            <a:off x="120690" y="4263772"/>
            <a:ext cx="2025152" cy="261138"/>
          </a:xfrm>
          <a:prstGeom prst="trapezoid">
            <a:avLst>
              <a:gd name="adj" fmla="val 182283"/>
            </a:avLst>
          </a:prstGeom>
          <a:gradFill flip="none" rotWithShape="1">
            <a:gsLst>
              <a:gs pos="72000">
                <a:schemeClr val="bg2">
                  <a:lumMod val="95000"/>
                </a:schemeClr>
              </a:gs>
              <a:gs pos="1000">
                <a:schemeClr val="tx1">
                  <a:lumMod val="50000"/>
                  <a:lumOff val="50000"/>
                </a:schemeClr>
              </a:gs>
              <a:gs pos="100000">
                <a:schemeClr val="bg2"/>
              </a:gs>
            </a:gsLst>
            <a:lin ang="16200000" scaled="1"/>
            <a:tileRect/>
          </a:gradFill>
          <a:ln w="25400" cap="flat" cmpd="sng" algn="ctr">
            <a:noFill/>
            <a:prstDash val="solid"/>
          </a:ln>
          <a:effectLst/>
        </p:spPr>
        <p:txBody>
          <a:bodyPr rtlCol="0" anchor="ctr"/>
          <a:lstStyle/>
          <a:p>
            <a:pPr algn="ctr" defTabSz="1219139">
              <a:defRPr/>
            </a:pPr>
            <a:endParaRPr lang="en-US" sz="2400" kern="0" dirty="0">
              <a:solidFill>
                <a:srgbClr val="FFFFFF"/>
              </a:solidFill>
              <a:latin typeface="Arial"/>
            </a:endParaRPr>
          </a:p>
        </p:txBody>
      </p:sp>
      <p:sp>
        <p:nvSpPr>
          <p:cNvPr id="200" name="TextBox 199">
            <a:extLst>
              <a:ext uri="{FF2B5EF4-FFF2-40B4-BE49-F238E27FC236}">
                <a16:creationId xmlns:a16="http://schemas.microsoft.com/office/drawing/2014/main" id="{81465126-06F1-44A9-B7D1-2C61155CD0F8}"/>
              </a:ext>
            </a:extLst>
          </p:cNvPr>
          <p:cNvSpPr txBox="1"/>
          <p:nvPr/>
        </p:nvSpPr>
        <p:spPr>
          <a:xfrm>
            <a:off x="234379" y="4653841"/>
            <a:ext cx="1707554" cy="377240"/>
          </a:xfrm>
          <a:prstGeom prst="rect">
            <a:avLst/>
          </a:prstGeom>
          <a:noFill/>
        </p:spPr>
        <p:txBody>
          <a:bodyPr wrap="square" rtlCol="0" anchor="ctr">
            <a:noAutofit/>
          </a:bodyPr>
          <a:lstStyle/>
          <a:p>
            <a:pPr algn="ctr" defTabSz="914378">
              <a:defRPr/>
            </a:pPr>
            <a:r>
              <a:rPr lang="en-US" sz="1200" kern="0" dirty="0">
                <a:solidFill>
                  <a:schemeClr val="bg2"/>
                </a:solidFill>
                <a:latin typeface="Arial Black" panose="020B0A04020102020204" pitchFamily="34" charset="0"/>
              </a:rPr>
              <a:t>SW MILESTONES</a:t>
            </a:r>
          </a:p>
        </p:txBody>
      </p:sp>
      <p:sp>
        <p:nvSpPr>
          <p:cNvPr id="76" name="TextBox 75">
            <a:extLst>
              <a:ext uri="{FF2B5EF4-FFF2-40B4-BE49-F238E27FC236}">
                <a16:creationId xmlns:a16="http://schemas.microsoft.com/office/drawing/2014/main" id="{C91CFED4-D104-4266-9B81-1C59270D912A}"/>
              </a:ext>
            </a:extLst>
          </p:cNvPr>
          <p:cNvSpPr txBox="1"/>
          <p:nvPr/>
        </p:nvSpPr>
        <p:spPr>
          <a:xfrm>
            <a:off x="145637" y="916639"/>
            <a:ext cx="2809797" cy="230832"/>
          </a:xfrm>
          <a:prstGeom prst="rect">
            <a:avLst/>
          </a:prstGeom>
          <a:solidFill>
            <a:schemeClr val="accent6">
              <a:lumMod val="75000"/>
            </a:schemeClr>
          </a:solidFill>
        </p:spPr>
        <p:txBody>
          <a:bodyPr wrap="square" rtlCol="0">
            <a:spAutoFit/>
          </a:bodyPr>
          <a:lstStyle/>
          <a:p>
            <a:r>
              <a:rPr lang="en-US" sz="900" dirty="0">
                <a:solidFill>
                  <a:schemeClr val="bg2"/>
                </a:solidFill>
              </a:rPr>
              <a:t>Roadmap subject to change without prior notice</a:t>
            </a:r>
          </a:p>
        </p:txBody>
      </p:sp>
      <p:sp>
        <p:nvSpPr>
          <p:cNvPr id="77" name="Text Box 62">
            <a:extLst>
              <a:ext uri="{FF2B5EF4-FFF2-40B4-BE49-F238E27FC236}">
                <a16:creationId xmlns:a16="http://schemas.microsoft.com/office/drawing/2014/main" id="{330695C7-001E-44D2-ABBA-A75238ECD528}"/>
              </a:ext>
            </a:extLst>
          </p:cNvPr>
          <p:cNvSpPr txBox="1">
            <a:spLocks noChangeArrowheads="1"/>
          </p:cNvSpPr>
          <p:nvPr/>
        </p:nvSpPr>
        <p:spPr bwMode="auto">
          <a:xfrm>
            <a:off x="3409509" y="2345768"/>
            <a:ext cx="1581592" cy="268867"/>
          </a:xfrm>
          <a:prstGeom prst="roundRect">
            <a:avLst/>
          </a:prstGeom>
          <a:solidFill>
            <a:srgbClr val="282828">
              <a:lumMod val="75000"/>
              <a:lumOff val="25000"/>
            </a:srgbClr>
          </a:solidFill>
          <a:ln w="19050" algn="ctr">
            <a:solidFill>
              <a:srgbClr val="FFFFFF"/>
            </a:solidFill>
            <a:miter lim="800000"/>
            <a:headEnd/>
            <a:tailEnd/>
          </a:ln>
          <a:effectLst/>
          <a:scene3d>
            <a:camera prst="orthographicFront"/>
            <a:lightRig rig="threePt" dir="t"/>
          </a:scene3d>
          <a:sp3d>
            <a:bevelT/>
          </a:sp3d>
        </p:spPr>
        <p:txBody>
          <a:bodyPr wrap="square" lIns="73025" tIns="36512" rIns="73025" bIns="36512" anchor="ctr">
            <a:spAutoFit/>
          </a:bodyPr>
          <a:lstStyle>
            <a:lvl1pPr>
              <a:defRPr sz="2400">
                <a:solidFill>
                  <a:schemeClr val="tx1"/>
                </a:solidFill>
                <a:latin typeface="Helvetica 45 Light" pitchFamily="34" charset="0"/>
              </a:defRPr>
            </a:lvl1pPr>
            <a:lvl2pPr marL="742950" indent="-285750">
              <a:defRPr sz="2400">
                <a:solidFill>
                  <a:schemeClr val="tx1"/>
                </a:solidFill>
                <a:latin typeface="Helvetica 45 Light" pitchFamily="34" charset="0"/>
              </a:defRPr>
            </a:lvl2pPr>
            <a:lvl3pPr marL="1143000" indent="-228600">
              <a:defRPr sz="2400">
                <a:solidFill>
                  <a:schemeClr val="tx1"/>
                </a:solidFill>
                <a:latin typeface="Helvetica 45 Light" pitchFamily="34" charset="0"/>
              </a:defRPr>
            </a:lvl3pPr>
            <a:lvl4pPr marL="1600200" indent="-228600">
              <a:defRPr sz="2400">
                <a:solidFill>
                  <a:schemeClr val="tx1"/>
                </a:solidFill>
                <a:latin typeface="Helvetica 45 Light" pitchFamily="34" charset="0"/>
              </a:defRPr>
            </a:lvl4pPr>
            <a:lvl5pPr marL="2057400" indent="-228600">
              <a:defRPr sz="2400">
                <a:solidFill>
                  <a:schemeClr val="tx1"/>
                </a:solidFill>
                <a:latin typeface="Helvetica 45 Light" pitchFamily="34" charset="0"/>
              </a:defRPr>
            </a:lvl5pPr>
            <a:lvl6pPr marL="2514600" indent="-228600" fontAlgn="base">
              <a:spcBef>
                <a:spcPct val="0"/>
              </a:spcBef>
              <a:spcAft>
                <a:spcPct val="0"/>
              </a:spcAft>
              <a:defRPr sz="2400">
                <a:solidFill>
                  <a:schemeClr val="tx1"/>
                </a:solidFill>
                <a:latin typeface="Helvetica 45 Light" pitchFamily="34" charset="0"/>
              </a:defRPr>
            </a:lvl6pPr>
            <a:lvl7pPr marL="2971800" indent="-228600" fontAlgn="base">
              <a:spcBef>
                <a:spcPct val="0"/>
              </a:spcBef>
              <a:spcAft>
                <a:spcPct val="0"/>
              </a:spcAft>
              <a:defRPr sz="2400">
                <a:solidFill>
                  <a:schemeClr val="tx1"/>
                </a:solidFill>
                <a:latin typeface="Helvetica 45 Light" pitchFamily="34" charset="0"/>
              </a:defRPr>
            </a:lvl7pPr>
            <a:lvl8pPr marL="3429000" indent="-228600" fontAlgn="base">
              <a:spcBef>
                <a:spcPct val="0"/>
              </a:spcBef>
              <a:spcAft>
                <a:spcPct val="0"/>
              </a:spcAft>
              <a:defRPr sz="2400">
                <a:solidFill>
                  <a:schemeClr val="tx1"/>
                </a:solidFill>
                <a:latin typeface="Helvetica 45 Light" pitchFamily="34" charset="0"/>
              </a:defRPr>
            </a:lvl8pPr>
            <a:lvl9pPr marL="3886200" indent="-228600" fontAlgn="base">
              <a:spcBef>
                <a:spcPct val="0"/>
              </a:spcBef>
              <a:spcAft>
                <a:spcPct val="0"/>
              </a:spcAft>
              <a:defRPr sz="2400">
                <a:solidFill>
                  <a:schemeClr val="tx1"/>
                </a:solidFill>
                <a:latin typeface="Helvetica 45 Light" pitchFamily="34" charset="0"/>
              </a:defRPr>
            </a:lvl9pPr>
          </a:lstStyle>
          <a:p>
            <a:pPr algn="ctr" defTabSz="457178">
              <a:defRPr/>
            </a:pPr>
            <a:r>
              <a:rPr lang="en-US" sz="1100" b="1" kern="0" dirty="0">
                <a:solidFill>
                  <a:srgbClr val="FFFFFF"/>
                </a:solidFill>
                <a:latin typeface="Arial" panose="020B0604020202020204" pitchFamily="34" charset="0"/>
                <a:cs typeface="Arial" panose="020B0604020202020204" pitchFamily="34" charset="0"/>
              </a:rPr>
              <a:t> 16x100G </a:t>
            </a:r>
            <a:r>
              <a:rPr lang="en-US" sz="1050" b="1" kern="0" dirty="0">
                <a:solidFill>
                  <a:srgbClr val="FFFFFF"/>
                </a:solidFill>
                <a:latin typeface="Arial" panose="020B0604020202020204" pitchFamily="34" charset="0"/>
                <a:cs typeface="Arial" panose="020B0604020202020204" pitchFamily="34" charset="0"/>
              </a:rPr>
              <a:t>7-fab SE</a:t>
            </a:r>
            <a:endParaRPr lang="en-US" sz="1050" kern="0" dirty="0">
              <a:solidFill>
                <a:srgbClr val="FFFFFF"/>
              </a:solidFill>
              <a:latin typeface="Arial" panose="020B0604020202020204" pitchFamily="34" charset="0"/>
              <a:cs typeface="Arial" panose="020B0604020202020204" pitchFamily="34" charset="0"/>
            </a:endParaRPr>
          </a:p>
        </p:txBody>
      </p:sp>
      <p:sp>
        <p:nvSpPr>
          <p:cNvPr id="78" name="Text Box 62">
            <a:extLst>
              <a:ext uri="{FF2B5EF4-FFF2-40B4-BE49-F238E27FC236}">
                <a16:creationId xmlns:a16="http://schemas.microsoft.com/office/drawing/2014/main" id="{20FDDDBA-D41D-5047-B0EE-C43240CFFC36}"/>
              </a:ext>
            </a:extLst>
          </p:cNvPr>
          <p:cNvSpPr txBox="1">
            <a:spLocks noChangeArrowheads="1"/>
          </p:cNvSpPr>
          <p:nvPr/>
        </p:nvSpPr>
        <p:spPr bwMode="auto">
          <a:xfrm>
            <a:off x="7433633" y="2556045"/>
            <a:ext cx="1104197" cy="388048"/>
          </a:xfrm>
          <a:prstGeom prst="roundRect">
            <a:avLst/>
          </a:prstGeom>
          <a:solidFill>
            <a:schemeClr val="accent1">
              <a:lumMod val="50000"/>
            </a:schemeClr>
          </a:solidFill>
          <a:ln w="19050" algn="ctr">
            <a:solidFill>
              <a:schemeClr val="bg2"/>
            </a:solidFill>
            <a:miter lim="800000"/>
            <a:headEnd/>
            <a:tailEnd/>
          </a:ln>
          <a:effectLst/>
          <a:scene3d>
            <a:camera prst="orthographicFront"/>
            <a:lightRig rig="threePt" dir="t"/>
          </a:scene3d>
          <a:sp3d>
            <a:bevelT/>
          </a:sp3d>
        </p:spPr>
        <p:txBody>
          <a:bodyPr wrap="square" lIns="73025" tIns="36512" rIns="73025" bIns="36512" anchor="ctr">
            <a:spAutoFit/>
          </a:bodyPr>
          <a:lstStyle>
            <a:lvl1pPr>
              <a:defRPr sz="2400">
                <a:solidFill>
                  <a:schemeClr val="tx1"/>
                </a:solidFill>
                <a:latin typeface="Helvetica 45 Light" pitchFamily="34" charset="0"/>
              </a:defRPr>
            </a:lvl1pPr>
            <a:lvl2pPr marL="742950" indent="-285750">
              <a:defRPr sz="2400">
                <a:solidFill>
                  <a:schemeClr val="tx1"/>
                </a:solidFill>
                <a:latin typeface="Helvetica 45 Light" pitchFamily="34" charset="0"/>
              </a:defRPr>
            </a:lvl2pPr>
            <a:lvl3pPr marL="1143000" indent="-228600">
              <a:defRPr sz="2400">
                <a:solidFill>
                  <a:schemeClr val="tx1"/>
                </a:solidFill>
                <a:latin typeface="Helvetica 45 Light" pitchFamily="34" charset="0"/>
              </a:defRPr>
            </a:lvl3pPr>
            <a:lvl4pPr marL="1600200" indent="-228600">
              <a:defRPr sz="2400">
                <a:solidFill>
                  <a:schemeClr val="tx1"/>
                </a:solidFill>
                <a:latin typeface="Helvetica 45 Light" pitchFamily="34" charset="0"/>
              </a:defRPr>
            </a:lvl4pPr>
            <a:lvl5pPr marL="2057400" indent="-228600">
              <a:defRPr sz="2400">
                <a:solidFill>
                  <a:schemeClr val="tx1"/>
                </a:solidFill>
                <a:latin typeface="Helvetica 45 Light" pitchFamily="34" charset="0"/>
              </a:defRPr>
            </a:lvl5pPr>
            <a:lvl6pPr marL="2514600" indent="-228600" fontAlgn="base">
              <a:spcBef>
                <a:spcPct val="0"/>
              </a:spcBef>
              <a:spcAft>
                <a:spcPct val="0"/>
              </a:spcAft>
              <a:defRPr sz="2400">
                <a:solidFill>
                  <a:schemeClr val="tx1"/>
                </a:solidFill>
                <a:latin typeface="Helvetica 45 Light" pitchFamily="34" charset="0"/>
              </a:defRPr>
            </a:lvl6pPr>
            <a:lvl7pPr marL="2971800" indent="-228600" fontAlgn="base">
              <a:spcBef>
                <a:spcPct val="0"/>
              </a:spcBef>
              <a:spcAft>
                <a:spcPct val="0"/>
              </a:spcAft>
              <a:defRPr sz="2400">
                <a:solidFill>
                  <a:schemeClr val="tx1"/>
                </a:solidFill>
                <a:latin typeface="Helvetica 45 Light" pitchFamily="34" charset="0"/>
              </a:defRPr>
            </a:lvl7pPr>
            <a:lvl8pPr marL="3429000" indent="-228600" fontAlgn="base">
              <a:spcBef>
                <a:spcPct val="0"/>
              </a:spcBef>
              <a:spcAft>
                <a:spcPct val="0"/>
              </a:spcAft>
              <a:defRPr sz="2400">
                <a:solidFill>
                  <a:schemeClr val="tx1"/>
                </a:solidFill>
                <a:latin typeface="Helvetica 45 Light" pitchFamily="34" charset="0"/>
              </a:defRPr>
            </a:lvl8pPr>
            <a:lvl9pPr marL="3886200" indent="-228600" fontAlgn="base">
              <a:spcBef>
                <a:spcPct val="0"/>
              </a:spcBef>
              <a:spcAft>
                <a:spcPct val="0"/>
              </a:spcAft>
              <a:defRPr sz="2400">
                <a:solidFill>
                  <a:schemeClr val="tx1"/>
                </a:solidFill>
                <a:latin typeface="Helvetica 45 Light" pitchFamily="34" charset="0"/>
              </a:defRPr>
            </a:lvl9pPr>
          </a:lstStyle>
          <a:p>
            <a:pPr algn="ctr" defTabSz="457178">
              <a:defRPr/>
            </a:pPr>
            <a:r>
              <a:rPr lang="en-US" sz="900" b="1" dirty="0">
                <a:solidFill>
                  <a:srgbClr val="FFFFFF"/>
                </a:solidFill>
                <a:latin typeface="Arial" panose="020B0604020202020204" pitchFamily="34" charset="0"/>
                <a:cs typeface="Arial" panose="020B0604020202020204" pitchFamily="34" charset="0"/>
              </a:rPr>
              <a:t>ASR9903</a:t>
            </a:r>
          </a:p>
          <a:p>
            <a:pPr algn="ctr" defTabSz="457178">
              <a:defRPr/>
            </a:pPr>
            <a:r>
              <a:rPr lang="en-US" sz="900" b="1" dirty="0">
                <a:solidFill>
                  <a:srgbClr val="FFFFFF"/>
                </a:solidFill>
                <a:latin typeface="Arial" panose="020B0604020202020204" pitchFamily="34" charset="0"/>
                <a:cs typeface="Arial" panose="020B0604020202020204" pitchFamily="34" charset="0"/>
              </a:rPr>
              <a:t>3RU – 3.2T</a:t>
            </a:r>
            <a:endParaRPr lang="en-US" sz="825"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1825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6" name="Rectangle 177">
            <a:extLst>
              <a:ext uri="{FF2B5EF4-FFF2-40B4-BE49-F238E27FC236}">
                <a16:creationId xmlns:a16="http://schemas.microsoft.com/office/drawing/2014/main" id="{FD6B2D72-53C5-4544-8E96-919ADFDEED7B}"/>
              </a:ext>
            </a:extLst>
          </p:cNvPr>
          <p:cNvSpPr txBox="1">
            <a:spLocks noChangeArrowheads="1"/>
          </p:cNvSpPr>
          <p:nvPr/>
        </p:nvSpPr>
        <p:spPr bwMode="auto">
          <a:xfrm>
            <a:off x="148622" y="65915"/>
            <a:ext cx="7707313"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a:t>BNG key functions </a:t>
            </a:r>
            <a:endParaRPr lang="en-US" sz="1800">
              <a:solidFill>
                <a:schemeClr val="tx1"/>
              </a:solidFill>
            </a:endParaRPr>
          </a:p>
        </p:txBody>
      </p:sp>
      <p:pic>
        <p:nvPicPr>
          <p:cNvPr id="13" name="Picture 12">
            <a:extLst>
              <a:ext uri="{FF2B5EF4-FFF2-40B4-BE49-F238E27FC236}">
                <a16:creationId xmlns:a16="http://schemas.microsoft.com/office/drawing/2014/main" id="{F3D9AF23-0859-4C46-AD2F-3EFEDEF30EFF}"/>
              </a:ext>
            </a:extLst>
          </p:cNvPr>
          <p:cNvPicPr>
            <a:picLocks noChangeAspect="1"/>
          </p:cNvPicPr>
          <p:nvPr/>
        </p:nvPicPr>
        <p:blipFill rotWithShape="1">
          <a:blip r:embed="rId3"/>
          <a:srcRect l="35276" t="32611" r="19877" b="11220"/>
          <a:stretch/>
        </p:blipFill>
        <p:spPr>
          <a:xfrm>
            <a:off x="493664" y="605254"/>
            <a:ext cx="5649084" cy="3979860"/>
          </a:xfrm>
          <a:prstGeom prst="rect">
            <a:avLst/>
          </a:prstGeom>
        </p:spPr>
      </p:pic>
    </p:spTree>
    <p:extLst>
      <p:ext uri="{BB962C8B-B14F-4D97-AF65-F5344CB8AC3E}">
        <p14:creationId xmlns:p14="http://schemas.microsoft.com/office/powerpoint/2010/main" val="3262918364"/>
      </p:ext>
    </p:extLst>
  </p:cSld>
  <p:clrMapOvr>
    <a:masterClrMapping/>
  </p:clrMapOvr>
  <p:transition>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447488-6F0D-4127-8DE1-DFB3E761B963}"/>
              </a:ext>
            </a:extLst>
          </p:cNvPr>
          <p:cNvSpPr>
            <a:spLocks noGrp="1"/>
          </p:cNvSpPr>
          <p:nvPr>
            <p:ph type="ctrTitle"/>
          </p:nvPr>
        </p:nvSpPr>
        <p:spPr/>
        <p:txBody>
          <a:bodyPr/>
          <a:lstStyle/>
          <a:p>
            <a:r>
              <a:rPr lang="en-ZA" dirty="0"/>
              <a:t>Converged IP Transport</a:t>
            </a:r>
          </a:p>
        </p:txBody>
      </p:sp>
    </p:spTree>
    <p:extLst>
      <p:ext uri="{BB962C8B-B14F-4D97-AF65-F5344CB8AC3E}">
        <p14:creationId xmlns:p14="http://schemas.microsoft.com/office/powerpoint/2010/main" val="837074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604" imgH="606" progId="TCLayout.ActiveDocument.1">
                  <p:embed/>
                </p:oleObj>
              </mc:Choice>
              <mc:Fallback>
                <p:oleObj name="think-cell Slide" r:id="rId6" imgW="604" imgH="606"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base"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5073"/>
              </a:solidFill>
              <a:effectLst/>
              <a:uLnTx/>
              <a:uFillTx/>
              <a:latin typeface="CiscoSansTT ExtraLight"/>
              <a:ea typeface="+mn-ea"/>
              <a:cs typeface="+mn-cs"/>
              <a:sym typeface="CiscoSansTT ExtraLight"/>
            </a:endParaRPr>
          </a:p>
        </p:txBody>
      </p:sp>
      <p:sp>
        <p:nvSpPr>
          <p:cNvPr id="4" name="Rounded Rectangle 3"/>
          <p:cNvSpPr/>
          <p:nvPr/>
        </p:nvSpPr>
        <p:spPr>
          <a:xfrm>
            <a:off x="972301" y="2076316"/>
            <a:ext cx="1505298" cy="652796"/>
          </a:xfrm>
          <a:prstGeom prst="roundRect">
            <a:avLst>
              <a:gd name="adj" fmla="val 0"/>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Service</a:t>
            </a:r>
          </a:p>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Orchestration and Programmability</a:t>
            </a:r>
          </a:p>
        </p:txBody>
      </p:sp>
      <p:sp>
        <p:nvSpPr>
          <p:cNvPr id="5" name="Rounded Rectangle 4"/>
          <p:cNvSpPr/>
          <p:nvPr/>
        </p:nvSpPr>
        <p:spPr>
          <a:xfrm>
            <a:off x="972300" y="3029283"/>
            <a:ext cx="1519303" cy="363432"/>
          </a:xfrm>
          <a:prstGeom prst="roundRect">
            <a:avLst>
              <a:gd name="adj" fmla="val 0"/>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Service</a:t>
            </a:r>
          </a:p>
        </p:txBody>
      </p:sp>
      <p:sp>
        <p:nvSpPr>
          <p:cNvPr id="6" name="Rounded Rectangle 5"/>
          <p:cNvSpPr/>
          <p:nvPr/>
        </p:nvSpPr>
        <p:spPr>
          <a:xfrm>
            <a:off x="972301" y="3844939"/>
            <a:ext cx="1519302" cy="405464"/>
          </a:xfrm>
          <a:prstGeom prst="roundRect">
            <a:avLst>
              <a:gd name="adj" fmla="val 0"/>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Transport</a:t>
            </a:r>
          </a:p>
        </p:txBody>
      </p:sp>
      <p:sp>
        <p:nvSpPr>
          <p:cNvPr id="3" name="Rounded Rectangle 2"/>
          <p:cNvSpPr/>
          <p:nvPr/>
        </p:nvSpPr>
        <p:spPr>
          <a:xfrm>
            <a:off x="972300" y="1320025"/>
            <a:ext cx="1431535" cy="497515"/>
          </a:xfrm>
          <a:prstGeom prst="roundRect">
            <a:avLst>
              <a:gd name="adj" fmla="val 0"/>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Converge </a:t>
            </a:r>
          </a:p>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IP + Optical</a:t>
            </a:r>
          </a:p>
        </p:txBody>
      </p:sp>
      <p:sp>
        <p:nvSpPr>
          <p:cNvPr id="13" name="Rectangle 12"/>
          <p:cNvSpPr/>
          <p:nvPr/>
        </p:nvSpPr>
        <p:spPr>
          <a:xfrm>
            <a:off x="2600809" y="1305612"/>
            <a:ext cx="6173007" cy="497732"/>
          </a:xfrm>
          <a:prstGeom prst="roundRect">
            <a:avLst/>
          </a:prstGeom>
          <a:noFill/>
          <a:ln w="12700">
            <a:solidFill>
              <a:schemeClr val="accent1"/>
            </a:solid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5" name="Rectangle 14"/>
          <p:cNvSpPr/>
          <p:nvPr/>
        </p:nvSpPr>
        <p:spPr>
          <a:xfrm>
            <a:off x="2600808" y="3002084"/>
            <a:ext cx="6165348" cy="517296"/>
          </a:xfrm>
          <a:prstGeom prst="roundRect">
            <a:avLst>
              <a:gd name="adj" fmla="val 14550"/>
            </a:avLst>
          </a:prstGeom>
          <a:noFill/>
          <a:ln w="12700">
            <a:solidFill>
              <a:schemeClr val="accent5"/>
            </a:solidFill>
          </a:ln>
          <a:effectLst/>
        </p:spPr>
        <p:style>
          <a:lnRef idx="1">
            <a:schemeClr val="accent5"/>
          </a:lnRef>
          <a:fillRef idx="3">
            <a:schemeClr val="accent5"/>
          </a:fillRef>
          <a:effectRef idx="2">
            <a:schemeClr val="accent5"/>
          </a:effectRef>
          <a:fontRef idx="minor">
            <a:schemeClr val="lt1"/>
          </a:fontRef>
        </p:style>
        <p:txBody>
          <a:bodyPr rtlCol="0" anchor="ctr"/>
          <a:lstStyle/>
          <a:p>
            <a:pPr marL="3175" lvl="3">
              <a:defRPr/>
            </a:pPr>
            <a:r>
              <a:rPr lang="en-US" sz="1200" dirty="0">
                <a:solidFill>
                  <a:schemeClr val="tx1"/>
                </a:solidFill>
              </a:rPr>
              <a:t>Converged Services Layer: Ethernet VPN (EVPN) and L3VPN</a:t>
            </a:r>
          </a:p>
        </p:txBody>
      </p:sp>
      <p:sp>
        <p:nvSpPr>
          <p:cNvPr id="16" name="Rectangle 15"/>
          <p:cNvSpPr/>
          <p:nvPr/>
        </p:nvSpPr>
        <p:spPr>
          <a:xfrm>
            <a:off x="2604626" y="3597507"/>
            <a:ext cx="6153924" cy="652679"/>
          </a:xfrm>
          <a:prstGeom prst="roundRect">
            <a:avLst>
              <a:gd name="adj" fmla="val 9262"/>
            </a:avLst>
          </a:prstGeom>
          <a:noFill/>
          <a:ln w="12700">
            <a:solidFill>
              <a:schemeClr val="accent3"/>
            </a:solidFill>
          </a:ln>
          <a:effectLst/>
        </p:spPr>
        <p:style>
          <a:lnRef idx="1">
            <a:schemeClr val="accent5"/>
          </a:lnRef>
          <a:fillRef idx="3">
            <a:schemeClr val="accent5"/>
          </a:fillRef>
          <a:effectRef idx="2">
            <a:schemeClr val="accent5"/>
          </a:effectRef>
          <a:fontRef idx="minor">
            <a:schemeClr val="lt1"/>
          </a:fontRef>
        </p:style>
        <p:txBody>
          <a:bodyPr rtlCol="0" anchor="ctr"/>
          <a:lstStyle/>
          <a:p>
            <a:pPr marL="3175" lvl="3">
              <a:defRPr/>
            </a:pPr>
            <a:r>
              <a:rPr lang="en-US" sz="1200" dirty="0">
                <a:solidFill>
                  <a:schemeClr val="tx1"/>
                </a:solidFill>
              </a:rPr>
              <a:t>API driven, Intent based, Programmable SR implementation</a:t>
            </a:r>
          </a:p>
          <a:p>
            <a:pPr marL="3175" lvl="3">
              <a:defRPr/>
            </a:pPr>
            <a:r>
              <a:rPr lang="en-US" sz="1200" dirty="0">
                <a:solidFill>
                  <a:schemeClr val="tx1"/>
                </a:solidFill>
              </a:rPr>
              <a:t>SR MPLS or SRv6 based underlay transport foundation</a:t>
            </a:r>
          </a:p>
        </p:txBody>
      </p:sp>
      <p:sp>
        <p:nvSpPr>
          <p:cNvPr id="104" name="Rounded Rectangle 103"/>
          <p:cNvSpPr/>
          <p:nvPr/>
        </p:nvSpPr>
        <p:spPr>
          <a:xfrm>
            <a:off x="2600808" y="1856204"/>
            <a:ext cx="6161561" cy="1090920"/>
          </a:xfrm>
          <a:prstGeom prst="roundRect">
            <a:avLst>
              <a:gd name="adj" fmla="val 7936"/>
            </a:avLst>
          </a:prstGeom>
          <a:noFill/>
          <a:ln w="12700">
            <a:solidFill>
              <a:schemeClr val="accent2"/>
            </a:solidFill>
          </a:ln>
          <a:effectLst/>
        </p:spPr>
        <p:style>
          <a:lnRef idx="1">
            <a:schemeClr val="accent4"/>
          </a:lnRef>
          <a:fillRef idx="3">
            <a:schemeClr val="accent4"/>
          </a:fillRef>
          <a:effectRef idx="2">
            <a:schemeClr val="accent4"/>
          </a:effectRef>
          <a:fontRef idx="minor">
            <a:schemeClr val="lt1"/>
          </a:fontRef>
        </p:style>
        <p:txBody>
          <a:bodyPr rtlCol="0" anchor="ctr"/>
          <a:lstStyle/>
          <a:p>
            <a:pPr marL="3175" lvl="3">
              <a:defRPr/>
            </a:pPr>
            <a:endParaRPr lang="en-US" sz="1200" dirty="0">
              <a:solidFill>
                <a:schemeClr val="tx1"/>
              </a:solidFill>
            </a:endParaRPr>
          </a:p>
        </p:txBody>
      </p:sp>
      <p:sp>
        <p:nvSpPr>
          <p:cNvPr id="11" name="Title 10"/>
          <p:cNvSpPr>
            <a:spLocks noGrp="1"/>
          </p:cNvSpPr>
          <p:nvPr>
            <p:ph type="title"/>
          </p:nvPr>
        </p:nvSpPr>
        <p:spPr/>
        <p:txBody>
          <a:bodyPr/>
          <a:lstStyle/>
          <a:p>
            <a:r>
              <a:rPr lang="en-US" dirty="0"/>
              <a:t>Metro Transport Building Blocks</a:t>
            </a:r>
          </a:p>
        </p:txBody>
      </p:sp>
      <p:pic>
        <p:nvPicPr>
          <p:cNvPr id="74" name="Picture 7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23660" y="2934955"/>
            <a:ext cx="548640" cy="548640"/>
          </a:xfrm>
          <a:prstGeom prst="rect">
            <a:avLst/>
          </a:prstGeom>
        </p:spPr>
      </p:pic>
      <p:pic>
        <p:nvPicPr>
          <p:cNvPr id="75" name="Picture 7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23660" y="2104418"/>
            <a:ext cx="548640" cy="548640"/>
          </a:xfrm>
          <a:prstGeom prst="rect">
            <a:avLst/>
          </a:prstGeom>
        </p:spPr>
      </p:pic>
      <p:pic>
        <p:nvPicPr>
          <p:cNvPr id="76" name="Picture 7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23660" y="3765491"/>
            <a:ext cx="548640" cy="548640"/>
          </a:xfrm>
          <a:prstGeom prst="rect">
            <a:avLst/>
          </a:prstGeom>
        </p:spPr>
      </p:pic>
      <p:sp>
        <p:nvSpPr>
          <p:cNvPr id="77" name="Rounded Rectangle 76"/>
          <p:cNvSpPr/>
          <p:nvPr/>
        </p:nvSpPr>
        <p:spPr>
          <a:xfrm>
            <a:off x="2703590" y="1947021"/>
            <a:ext cx="2344019" cy="402249"/>
          </a:xfrm>
          <a:prstGeom prst="roundRect">
            <a:avLst>
              <a:gd name="adj" fmla="val 50000"/>
            </a:avLst>
          </a:prstGeom>
          <a:solidFill>
            <a:schemeClr val="accent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lvl="0">
              <a:defRPr/>
            </a:pPr>
            <a:r>
              <a:rPr lang="en-US" sz="1050" dirty="0">
                <a:solidFill>
                  <a:srgbClr val="FFFFFF"/>
                </a:solidFill>
              </a:rPr>
              <a:t>Automation Workflow Capability</a:t>
            </a:r>
          </a:p>
        </p:txBody>
      </p:sp>
      <p:sp>
        <p:nvSpPr>
          <p:cNvPr id="81" name="Rounded Rectangle 80"/>
          <p:cNvSpPr/>
          <p:nvPr/>
        </p:nvSpPr>
        <p:spPr>
          <a:xfrm>
            <a:off x="5113382" y="1944556"/>
            <a:ext cx="2344019" cy="402249"/>
          </a:xfrm>
          <a:prstGeom prst="roundRect">
            <a:avLst>
              <a:gd name="adj" fmla="val 50000"/>
            </a:avLst>
          </a:prstGeom>
          <a:solidFill>
            <a:schemeClr val="accent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lvl="0">
              <a:defRPr/>
            </a:pPr>
            <a:r>
              <a:rPr lang="en-US" sz="1050" dirty="0">
                <a:solidFill>
                  <a:srgbClr val="FFFFFF"/>
                </a:solidFill>
              </a:rPr>
              <a:t>Dynamic SW/SR Control</a:t>
            </a:r>
          </a:p>
        </p:txBody>
      </p:sp>
      <p:sp>
        <p:nvSpPr>
          <p:cNvPr id="82" name="Rounded Rectangle 81"/>
          <p:cNvSpPr/>
          <p:nvPr/>
        </p:nvSpPr>
        <p:spPr>
          <a:xfrm>
            <a:off x="2703589" y="2450160"/>
            <a:ext cx="2344019" cy="402249"/>
          </a:xfrm>
          <a:prstGeom prst="roundRect">
            <a:avLst>
              <a:gd name="adj" fmla="val 50000"/>
            </a:avLst>
          </a:prstGeom>
          <a:solidFill>
            <a:schemeClr val="accent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lvl="0">
              <a:defRPr/>
            </a:pPr>
            <a:r>
              <a:rPr lang="en-US" sz="1050" dirty="0">
                <a:solidFill>
                  <a:srgbClr val="FFFFFF"/>
                </a:solidFill>
              </a:rPr>
              <a:t>Real time WAN Traffic Mgmt Control</a:t>
            </a:r>
          </a:p>
        </p:txBody>
      </p:sp>
      <p:sp>
        <p:nvSpPr>
          <p:cNvPr id="83" name="Rounded Rectangle 82"/>
          <p:cNvSpPr/>
          <p:nvPr/>
        </p:nvSpPr>
        <p:spPr>
          <a:xfrm>
            <a:off x="5113382" y="2450338"/>
            <a:ext cx="2344019" cy="402249"/>
          </a:xfrm>
          <a:prstGeom prst="roundRect">
            <a:avLst>
              <a:gd name="adj" fmla="val 50000"/>
            </a:avLst>
          </a:prstGeom>
          <a:solidFill>
            <a:schemeClr val="accent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lvl="0">
              <a:defRPr/>
            </a:pPr>
            <a:r>
              <a:rPr lang="en-US" sz="1050" dirty="0">
                <a:solidFill>
                  <a:srgbClr val="FFFFFF"/>
                </a:solidFill>
              </a:rPr>
              <a:t>ML/AI Enhanced Mgmt Tools</a:t>
            </a:r>
          </a:p>
        </p:txBody>
      </p:sp>
      <p:pic>
        <p:nvPicPr>
          <p:cNvPr id="26" name="Picture 25">
            <a:extLst>
              <a:ext uri="{FF2B5EF4-FFF2-40B4-BE49-F238E27FC236}">
                <a16:creationId xmlns:a16="http://schemas.microsoft.com/office/drawing/2014/main" id="{D0206A38-5A93-4023-BDE8-D75BB21A298D}"/>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98002" y="1298837"/>
            <a:ext cx="577342" cy="577341"/>
          </a:xfrm>
          <a:prstGeom prst="rect">
            <a:avLst/>
          </a:prstGeom>
        </p:spPr>
      </p:pic>
      <p:sp>
        <p:nvSpPr>
          <p:cNvPr id="10" name="Rectangle 9"/>
          <p:cNvSpPr/>
          <p:nvPr/>
        </p:nvSpPr>
        <p:spPr>
          <a:xfrm>
            <a:off x="2703589" y="1349130"/>
            <a:ext cx="5878436" cy="461665"/>
          </a:xfrm>
          <a:prstGeom prst="rect">
            <a:avLst/>
          </a:prstGeom>
        </p:spPr>
        <p:txBody>
          <a:bodyPr wrap="square">
            <a:spAutoFit/>
          </a:bodyPr>
          <a:lstStyle/>
          <a:p>
            <a:pPr marL="3175" lvl="3">
              <a:defRPr/>
            </a:pPr>
            <a:r>
              <a:rPr lang="en-US" sz="1200" dirty="0">
                <a:latin typeface="+mn-lt"/>
              </a:rPr>
              <a:t>Aggregation &amp; Pre-Aggregation Routers with CFP2 100/200G ports supporting Digital Coherent Optics.   </a:t>
            </a:r>
          </a:p>
        </p:txBody>
      </p:sp>
    </p:spTree>
    <p:extLst>
      <p:ext uri="{BB962C8B-B14F-4D97-AF65-F5344CB8AC3E}">
        <p14:creationId xmlns:p14="http://schemas.microsoft.com/office/powerpoint/2010/main" val="2177353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Converged SDN-enabled IP Transport</a:t>
            </a:r>
            <a:endParaRPr lang="en-US" dirty="0">
              <a:solidFill>
                <a:srgbClr val="FF0000"/>
              </a:solidFill>
            </a:endParaRPr>
          </a:p>
        </p:txBody>
      </p:sp>
      <p:grpSp>
        <p:nvGrpSpPr>
          <p:cNvPr id="957" name="Group 956">
            <a:extLst>
              <a:ext uri="{FF2B5EF4-FFF2-40B4-BE49-F238E27FC236}">
                <a16:creationId xmlns:a16="http://schemas.microsoft.com/office/drawing/2014/main" id="{64452086-9719-44DE-8388-739CF1B77595}"/>
              </a:ext>
            </a:extLst>
          </p:cNvPr>
          <p:cNvGrpSpPr/>
          <p:nvPr/>
        </p:nvGrpSpPr>
        <p:grpSpPr>
          <a:xfrm>
            <a:off x="732673" y="1268480"/>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dirty="0"/>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dirty="0"/>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dirty="0"/>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
        <p:nvSpPr>
          <p:cNvPr id="226" name="Rectangle: Rounded Corners 349">
            <a:extLst>
              <a:ext uri="{FF2B5EF4-FFF2-40B4-BE49-F238E27FC236}">
                <a16:creationId xmlns:a16="http://schemas.microsoft.com/office/drawing/2014/main" id="{D1251564-DF79-4FFB-ADD0-871162AA87A4}"/>
              </a:ext>
            </a:extLst>
          </p:cNvPr>
          <p:cNvSpPr/>
          <p:nvPr/>
        </p:nvSpPr>
        <p:spPr>
          <a:xfrm>
            <a:off x="3512" y="3362093"/>
            <a:ext cx="9144000" cy="1791801"/>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27" name="Arrow: Bent 226">
            <a:extLst>
              <a:ext uri="{FF2B5EF4-FFF2-40B4-BE49-F238E27FC236}">
                <a16:creationId xmlns:a16="http://schemas.microsoft.com/office/drawing/2014/main" id="{6D126190-DE9E-4985-9098-7A0C06B9846F}"/>
              </a:ext>
            </a:extLst>
          </p:cNvPr>
          <p:cNvSpPr/>
          <p:nvPr/>
        </p:nvSpPr>
        <p:spPr>
          <a:xfrm rot="10800000">
            <a:off x="6617406" y="4221787"/>
            <a:ext cx="2102707" cy="921713"/>
          </a:xfrm>
          <a:prstGeom prst="bentArrow">
            <a:avLst>
              <a:gd name="adj1" fmla="val 25000"/>
              <a:gd name="adj2" fmla="val 25000"/>
              <a:gd name="adj3" fmla="val 25000"/>
              <a:gd name="adj4" fmla="val 14199"/>
            </a:avLst>
          </a:prstGeom>
          <a:solidFill>
            <a:srgbClr val="00BCEB">
              <a:alpha val="1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228" name="Arrow: Bent 227">
            <a:extLst>
              <a:ext uri="{FF2B5EF4-FFF2-40B4-BE49-F238E27FC236}">
                <a16:creationId xmlns:a16="http://schemas.microsoft.com/office/drawing/2014/main" id="{5A804E31-2368-4115-B08F-69919940B037}"/>
              </a:ext>
            </a:extLst>
          </p:cNvPr>
          <p:cNvSpPr/>
          <p:nvPr/>
        </p:nvSpPr>
        <p:spPr>
          <a:xfrm>
            <a:off x="6568394" y="3597875"/>
            <a:ext cx="2102707" cy="921713"/>
          </a:xfrm>
          <a:prstGeom prst="bentArrow">
            <a:avLst>
              <a:gd name="adj1" fmla="val 25000"/>
              <a:gd name="adj2" fmla="val 25000"/>
              <a:gd name="adj3" fmla="val 25704"/>
              <a:gd name="adj4" fmla="val 14199"/>
            </a:avLst>
          </a:prstGeom>
          <a:solidFill>
            <a:srgbClr val="00BCEB">
              <a:alpha val="1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282828"/>
              </a:solidFill>
              <a:effectLst/>
              <a:uLnTx/>
              <a:uFillTx/>
              <a:latin typeface="CiscoSansTT ExtraLight"/>
              <a:ea typeface="+mn-ea"/>
              <a:cs typeface="+mn-cs"/>
            </a:endParaRPr>
          </a:p>
        </p:txBody>
      </p:sp>
      <p:graphicFrame>
        <p:nvGraphicFramePr>
          <p:cNvPr id="229" name="Table 228">
            <a:extLst>
              <a:ext uri="{FF2B5EF4-FFF2-40B4-BE49-F238E27FC236}">
                <a16:creationId xmlns:a16="http://schemas.microsoft.com/office/drawing/2014/main" id="{85274BA5-EEE4-44C6-8FDB-629D832A042D}"/>
              </a:ext>
            </a:extLst>
          </p:cNvPr>
          <p:cNvGraphicFramePr>
            <a:graphicFrameLocks noGrp="1"/>
          </p:cNvGraphicFramePr>
          <p:nvPr/>
        </p:nvGraphicFramePr>
        <p:xfrm>
          <a:off x="542979" y="3780024"/>
          <a:ext cx="2153678" cy="1112520"/>
        </p:xfrm>
        <a:graphic>
          <a:graphicData uri="http://schemas.openxmlformats.org/drawingml/2006/table">
            <a:tbl>
              <a:tblPr>
                <a:tableStyleId>{C083E6E3-FA7D-4D7B-A595-EF9225AFEA82}</a:tableStyleId>
              </a:tblPr>
              <a:tblGrid>
                <a:gridCol w="1076839">
                  <a:extLst>
                    <a:ext uri="{9D8B030D-6E8A-4147-A177-3AD203B41FA5}">
                      <a16:colId xmlns:a16="http://schemas.microsoft.com/office/drawing/2014/main" val="1669241252"/>
                    </a:ext>
                  </a:extLst>
                </a:gridCol>
                <a:gridCol w="1076839">
                  <a:extLst>
                    <a:ext uri="{9D8B030D-6E8A-4147-A177-3AD203B41FA5}">
                      <a16:colId xmlns:a16="http://schemas.microsoft.com/office/drawing/2014/main" val="3203567132"/>
                    </a:ext>
                  </a:extLst>
                </a:gridCol>
              </a:tblGrid>
              <a:tr h="370840">
                <a:tc>
                  <a:txBody>
                    <a:bodyPr/>
                    <a:lstStyle/>
                    <a:p>
                      <a:r>
                        <a:rPr lang="en-US" sz="800" dirty="0">
                          <a:solidFill>
                            <a:schemeClr val="bg2"/>
                          </a:solidFill>
                        </a:rPr>
                        <a:t>Collaboration Services</a:t>
                      </a:r>
                    </a:p>
                  </a:txBody>
                  <a:tcPr/>
                </a:tc>
                <a:tc>
                  <a:txBody>
                    <a:bodyPr/>
                    <a:lstStyle/>
                    <a:p>
                      <a:r>
                        <a:rPr lang="en-US" sz="800" dirty="0">
                          <a:solidFill>
                            <a:schemeClr val="bg2"/>
                          </a:solidFill>
                        </a:rPr>
                        <a:t>Smart City / </a:t>
                      </a:r>
                      <a:br>
                        <a:rPr lang="en-US" sz="800" dirty="0">
                          <a:solidFill>
                            <a:schemeClr val="bg2"/>
                          </a:solidFill>
                        </a:rPr>
                      </a:br>
                      <a:r>
                        <a:rPr lang="en-US" sz="800" dirty="0">
                          <a:solidFill>
                            <a:schemeClr val="bg2"/>
                          </a:solidFill>
                        </a:rPr>
                        <a:t>IoT</a:t>
                      </a:r>
                    </a:p>
                  </a:txBody>
                  <a:tcPr/>
                </a:tc>
                <a:extLst>
                  <a:ext uri="{0D108BD9-81ED-4DB2-BD59-A6C34878D82A}">
                    <a16:rowId xmlns:a16="http://schemas.microsoft.com/office/drawing/2014/main" val="1361453354"/>
                  </a:ext>
                </a:extLst>
              </a:tr>
              <a:tr h="370840">
                <a:tc>
                  <a:txBody>
                    <a:bodyPr/>
                    <a:lstStyle/>
                    <a:p>
                      <a:r>
                        <a:rPr lang="en-US" sz="800" dirty="0">
                          <a:solidFill>
                            <a:schemeClr val="bg2"/>
                          </a:solidFill>
                        </a:rPr>
                        <a:t>Security </a:t>
                      </a:r>
                      <a:br>
                        <a:rPr lang="en-US" sz="800" dirty="0">
                          <a:solidFill>
                            <a:schemeClr val="bg2"/>
                          </a:solidFill>
                        </a:rPr>
                      </a:br>
                      <a:r>
                        <a:rPr lang="en-US" sz="800" dirty="0">
                          <a:solidFill>
                            <a:schemeClr val="bg2"/>
                          </a:solidFill>
                        </a:rPr>
                        <a:t>Services</a:t>
                      </a:r>
                    </a:p>
                  </a:txBody>
                  <a:tcPr/>
                </a:tc>
                <a:tc>
                  <a:txBody>
                    <a:bodyPr/>
                    <a:lstStyle/>
                    <a:p>
                      <a:r>
                        <a:rPr lang="en-US" sz="800" dirty="0">
                          <a:solidFill>
                            <a:schemeClr val="bg2"/>
                          </a:solidFill>
                        </a:rPr>
                        <a:t>Enterprise</a:t>
                      </a:r>
                      <a:r>
                        <a:rPr lang="en-US" sz="800" baseline="0" dirty="0">
                          <a:solidFill>
                            <a:schemeClr val="bg2"/>
                          </a:solidFill>
                        </a:rPr>
                        <a:t> / Public Sector Applications</a:t>
                      </a:r>
                      <a:endParaRPr lang="en-US" sz="800" dirty="0">
                        <a:solidFill>
                          <a:schemeClr val="bg2"/>
                        </a:solidFill>
                      </a:endParaRPr>
                    </a:p>
                  </a:txBody>
                  <a:tcPr/>
                </a:tc>
                <a:extLst>
                  <a:ext uri="{0D108BD9-81ED-4DB2-BD59-A6C34878D82A}">
                    <a16:rowId xmlns:a16="http://schemas.microsoft.com/office/drawing/2014/main" val="288228981"/>
                  </a:ext>
                </a:extLst>
              </a:tr>
              <a:tr h="370840">
                <a:tc>
                  <a:txBody>
                    <a:bodyPr/>
                    <a:lstStyle/>
                    <a:p>
                      <a:r>
                        <a:rPr lang="en-US" sz="800" dirty="0">
                          <a:solidFill>
                            <a:schemeClr val="bg2"/>
                          </a:solidFill>
                        </a:rPr>
                        <a:t>AR / VR /</a:t>
                      </a:r>
                      <a:r>
                        <a:rPr lang="en-US" sz="800" baseline="0" dirty="0">
                          <a:solidFill>
                            <a:schemeClr val="bg2"/>
                          </a:solidFill>
                        </a:rPr>
                        <a:t> </a:t>
                      </a:r>
                      <a:br>
                        <a:rPr lang="en-US" sz="800" baseline="0" dirty="0">
                          <a:solidFill>
                            <a:schemeClr val="bg2"/>
                          </a:solidFill>
                        </a:rPr>
                      </a:br>
                      <a:r>
                        <a:rPr lang="en-US" sz="800" baseline="0" dirty="0">
                          <a:solidFill>
                            <a:schemeClr val="bg2"/>
                          </a:solidFill>
                        </a:rPr>
                        <a:t>Gaming</a:t>
                      </a:r>
                      <a:endParaRPr lang="en-US" sz="800" dirty="0">
                        <a:solidFill>
                          <a:schemeClr val="bg2"/>
                        </a:solidFill>
                      </a:endParaRPr>
                    </a:p>
                  </a:txBody>
                  <a:tcPr/>
                </a:tc>
                <a:tc>
                  <a:txBody>
                    <a:bodyPr/>
                    <a:lstStyle/>
                    <a:p>
                      <a:r>
                        <a:rPr lang="en-US" sz="800" dirty="0">
                          <a:solidFill>
                            <a:schemeClr val="bg2"/>
                          </a:solidFill>
                        </a:rPr>
                        <a:t>Legacy</a:t>
                      </a:r>
                      <a:br>
                        <a:rPr lang="en-US" sz="800" dirty="0">
                          <a:solidFill>
                            <a:schemeClr val="bg2"/>
                          </a:solidFill>
                        </a:rPr>
                      </a:br>
                      <a:r>
                        <a:rPr lang="en-US" sz="800" dirty="0">
                          <a:solidFill>
                            <a:schemeClr val="bg2"/>
                          </a:solidFill>
                        </a:rPr>
                        <a:t>Services</a:t>
                      </a:r>
                    </a:p>
                  </a:txBody>
                  <a:tcPr/>
                </a:tc>
                <a:extLst>
                  <a:ext uri="{0D108BD9-81ED-4DB2-BD59-A6C34878D82A}">
                    <a16:rowId xmlns:a16="http://schemas.microsoft.com/office/drawing/2014/main" val="1449680389"/>
                  </a:ext>
                </a:extLst>
              </a:tr>
            </a:tbl>
          </a:graphicData>
        </a:graphic>
      </p:graphicFrame>
      <p:sp>
        <p:nvSpPr>
          <p:cNvPr id="230" name="Rectangle: Rounded Corners 229">
            <a:extLst>
              <a:ext uri="{FF2B5EF4-FFF2-40B4-BE49-F238E27FC236}">
                <a16:creationId xmlns:a16="http://schemas.microsoft.com/office/drawing/2014/main" id="{3E938C49-2C13-4165-B822-D0B50BD7614C}"/>
              </a:ext>
            </a:extLst>
          </p:cNvPr>
          <p:cNvSpPr/>
          <p:nvPr/>
        </p:nvSpPr>
        <p:spPr>
          <a:xfrm>
            <a:off x="1011" y="3073265"/>
            <a:ext cx="9144000" cy="295115"/>
          </a:xfrm>
          <a:prstGeom prst="roundRect">
            <a:avLst>
              <a:gd name="adj"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Converged Network for all Wireline and Wireless Services</a:t>
            </a:r>
          </a:p>
        </p:txBody>
      </p:sp>
      <p:sp>
        <p:nvSpPr>
          <p:cNvPr id="231" name="TextBox 230">
            <a:extLst>
              <a:ext uri="{FF2B5EF4-FFF2-40B4-BE49-F238E27FC236}">
                <a16:creationId xmlns:a16="http://schemas.microsoft.com/office/drawing/2014/main" id="{7E363AC9-FD8D-4C85-A74A-2D9080B492D5}"/>
              </a:ext>
            </a:extLst>
          </p:cNvPr>
          <p:cNvSpPr txBox="1"/>
          <p:nvPr/>
        </p:nvSpPr>
        <p:spPr>
          <a:xfrm>
            <a:off x="70034" y="3394711"/>
            <a:ext cx="2520357"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BAB18"/>
                </a:solidFill>
                <a:effectLst/>
                <a:uLnTx/>
                <a:uFillTx/>
                <a:latin typeface="CiscoSansTT ExtraLight"/>
                <a:ea typeface="ＭＳ Ｐゴシック" charset="0"/>
              </a:rPr>
              <a:t>Any Access - Any Service</a:t>
            </a:r>
          </a:p>
        </p:txBody>
      </p:sp>
      <p:sp>
        <p:nvSpPr>
          <p:cNvPr id="232" name="TextBox 231">
            <a:extLst>
              <a:ext uri="{FF2B5EF4-FFF2-40B4-BE49-F238E27FC236}">
                <a16:creationId xmlns:a16="http://schemas.microsoft.com/office/drawing/2014/main" id="{D128EC69-38C0-4BD2-899B-744975493E65}"/>
              </a:ext>
            </a:extLst>
          </p:cNvPr>
          <p:cNvSpPr txBox="1"/>
          <p:nvPr/>
        </p:nvSpPr>
        <p:spPr>
          <a:xfrm>
            <a:off x="2922835" y="3394711"/>
            <a:ext cx="3108464"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BAB18"/>
                </a:solidFill>
                <a:effectLst/>
                <a:uLnTx/>
                <a:uFillTx/>
                <a:latin typeface="CiscoSansTT ExtraLight"/>
                <a:ea typeface="ＭＳ Ｐゴシック" charset="0"/>
              </a:rPr>
              <a:t>Routing + Optical Convergence</a:t>
            </a:r>
          </a:p>
        </p:txBody>
      </p:sp>
      <p:sp>
        <p:nvSpPr>
          <p:cNvPr id="233" name="TextBox 232">
            <a:extLst>
              <a:ext uri="{FF2B5EF4-FFF2-40B4-BE49-F238E27FC236}">
                <a16:creationId xmlns:a16="http://schemas.microsoft.com/office/drawing/2014/main" id="{841FDA62-B709-4C4D-890F-E96FF9911D90}"/>
              </a:ext>
            </a:extLst>
          </p:cNvPr>
          <p:cNvSpPr txBox="1"/>
          <p:nvPr/>
        </p:nvSpPr>
        <p:spPr>
          <a:xfrm>
            <a:off x="6168811" y="3394711"/>
            <a:ext cx="2905156"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BAB18"/>
                </a:solidFill>
                <a:effectLst/>
                <a:uLnTx/>
                <a:uFillTx/>
                <a:latin typeface="CiscoSansTT ExtraLight"/>
                <a:ea typeface="ＭＳ Ｐゴシック" charset="0"/>
              </a:rPr>
              <a:t>SDN-enabled Service Delivery</a:t>
            </a:r>
          </a:p>
        </p:txBody>
      </p:sp>
      <p:grpSp>
        <p:nvGrpSpPr>
          <p:cNvPr id="234" name="Group 233">
            <a:extLst>
              <a:ext uri="{FF2B5EF4-FFF2-40B4-BE49-F238E27FC236}">
                <a16:creationId xmlns:a16="http://schemas.microsoft.com/office/drawing/2014/main" id="{01919632-CFDA-4935-AB95-C35DB74774B6}"/>
              </a:ext>
            </a:extLst>
          </p:cNvPr>
          <p:cNvGrpSpPr/>
          <p:nvPr/>
        </p:nvGrpSpPr>
        <p:grpSpPr>
          <a:xfrm>
            <a:off x="3175045" y="3834336"/>
            <a:ext cx="2826922" cy="664449"/>
            <a:chOff x="3009763" y="3875253"/>
            <a:chExt cx="2904330" cy="606833"/>
          </a:xfrm>
        </p:grpSpPr>
        <p:grpSp>
          <p:nvGrpSpPr>
            <p:cNvPr id="235" name="Group 234">
              <a:extLst>
                <a:ext uri="{FF2B5EF4-FFF2-40B4-BE49-F238E27FC236}">
                  <a16:creationId xmlns:a16="http://schemas.microsoft.com/office/drawing/2014/main" id="{BB211C37-7746-461C-A3EB-F35D7A24CF1C}"/>
                </a:ext>
              </a:extLst>
            </p:cNvPr>
            <p:cNvGrpSpPr/>
            <p:nvPr/>
          </p:nvGrpSpPr>
          <p:grpSpPr>
            <a:xfrm>
              <a:off x="5360147" y="3932278"/>
              <a:ext cx="553946" cy="502920"/>
              <a:chOff x="3107456" y="1416189"/>
              <a:chExt cx="519429" cy="517682"/>
            </a:xfrm>
            <a:solidFill>
              <a:schemeClr val="bg2"/>
            </a:solidFill>
          </p:grpSpPr>
          <p:sp>
            <p:nvSpPr>
              <p:cNvPr id="271" name="Oval 270">
                <a:extLst>
                  <a:ext uri="{FF2B5EF4-FFF2-40B4-BE49-F238E27FC236}">
                    <a16:creationId xmlns:a16="http://schemas.microsoft.com/office/drawing/2014/main" id="{DFC9988E-6B8A-4154-BEA2-B767C4BF2E61}"/>
                  </a:ext>
                </a:extLst>
              </p:cNvPr>
              <p:cNvSpPr/>
              <p:nvPr/>
            </p:nvSpPr>
            <p:spPr>
              <a:xfrm>
                <a:off x="3107456" y="1416189"/>
                <a:ext cx="519429" cy="51768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72" name="Group 271">
                <a:extLst>
                  <a:ext uri="{FF2B5EF4-FFF2-40B4-BE49-F238E27FC236}">
                    <a16:creationId xmlns:a16="http://schemas.microsoft.com/office/drawing/2014/main" id="{B72D4C75-786A-4AB0-8014-8A13FC7B32CA}"/>
                  </a:ext>
                </a:extLst>
              </p:cNvPr>
              <p:cNvGrpSpPr/>
              <p:nvPr/>
            </p:nvGrpSpPr>
            <p:grpSpPr>
              <a:xfrm rot="5400000">
                <a:off x="3186142" y="1495624"/>
                <a:ext cx="363100" cy="339098"/>
                <a:chOff x="2746951" y="-3197140"/>
                <a:chExt cx="4576546" cy="4274050"/>
              </a:xfrm>
              <a:grpFill/>
            </p:grpSpPr>
            <p:sp>
              <p:nvSpPr>
                <p:cNvPr id="273" name="Freeform: Shape 272">
                  <a:extLst>
                    <a:ext uri="{FF2B5EF4-FFF2-40B4-BE49-F238E27FC236}">
                      <a16:creationId xmlns:a16="http://schemas.microsoft.com/office/drawing/2014/main" id="{2D942994-3FEA-4449-9D41-598B907748D3}"/>
                    </a:ext>
                  </a:extLst>
                </p:cNvPr>
                <p:cNvSpPr/>
                <p:nvPr/>
              </p:nvSpPr>
              <p:spPr>
                <a:xfrm rot="5400000">
                  <a:off x="4602063" y="-3016788"/>
                  <a:ext cx="2153137" cy="1792433"/>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4" name="Freeform: Shape 273">
                  <a:extLst>
                    <a:ext uri="{FF2B5EF4-FFF2-40B4-BE49-F238E27FC236}">
                      <a16:creationId xmlns:a16="http://schemas.microsoft.com/office/drawing/2014/main" id="{18CB3828-571E-47FB-B487-9A458806DD07}"/>
                    </a:ext>
                  </a:extLst>
                </p:cNvPr>
                <p:cNvSpPr/>
                <p:nvPr/>
              </p:nvSpPr>
              <p:spPr>
                <a:xfrm rot="16200000">
                  <a:off x="5350696" y="-895892"/>
                  <a:ext cx="2153145"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5" name="Freeform: Shape 274">
                  <a:extLst>
                    <a:ext uri="{FF2B5EF4-FFF2-40B4-BE49-F238E27FC236}">
                      <a16:creationId xmlns:a16="http://schemas.microsoft.com/office/drawing/2014/main" id="{852999F5-8E52-4EE2-BBE0-9E2622D58AC1}"/>
                    </a:ext>
                  </a:extLst>
                </p:cNvPr>
                <p:cNvSpPr/>
                <p:nvPr/>
              </p:nvSpPr>
              <p:spPr>
                <a:xfrm rot="5400000">
                  <a:off x="2566611" y="-3016793"/>
                  <a:ext cx="2153137"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6" name="Freeform: Shape 275">
                  <a:extLst>
                    <a:ext uri="{FF2B5EF4-FFF2-40B4-BE49-F238E27FC236}">
                      <a16:creationId xmlns:a16="http://schemas.microsoft.com/office/drawing/2014/main" id="{311EEB6A-9635-45F6-8A01-66BF2C1F4165}"/>
                    </a:ext>
                  </a:extLst>
                </p:cNvPr>
                <p:cNvSpPr/>
                <p:nvPr/>
              </p:nvSpPr>
              <p:spPr>
                <a:xfrm rot="16200000">
                  <a:off x="3315258" y="-895895"/>
                  <a:ext cx="2153152"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sp>
          <p:nvSpPr>
            <p:cNvPr id="236" name="Arrow: Right 235">
              <a:extLst>
                <a:ext uri="{FF2B5EF4-FFF2-40B4-BE49-F238E27FC236}">
                  <a16:creationId xmlns:a16="http://schemas.microsoft.com/office/drawing/2014/main" id="{70266483-33C0-4767-AE0D-C80999405A4C}"/>
                </a:ext>
              </a:extLst>
            </p:cNvPr>
            <p:cNvSpPr/>
            <p:nvPr/>
          </p:nvSpPr>
          <p:spPr>
            <a:xfrm>
              <a:off x="3009763" y="3875253"/>
              <a:ext cx="2196713" cy="606833"/>
            </a:xfrm>
            <a:prstGeom prst="rightArrow">
              <a:avLst>
                <a:gd name="adj1" fmla="val 82149"/>
                <a:gd name="adj2" fmla="val 50000"/>
              </a:avLst>
            </a:prstGeom>
            <a:solidFill>
              <a:schemeClr val="bg2">
                <a:alpha val="1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37" name="Group 236">
              <a:extLst>
                <a:ext uri="{FF2B5EF4-FFF2-40B4-BE49-F238E27FC236}">
                  <a16:creationId xmlns:a16="http://schemas.microsoft.com/office/drawing/2014/main" id="{58A7949D-95DA-4574-A724-E99F1DDCA0F0}"/>
                </a:ext>
              </a:extLst>
            </p:cNvPr>
            <p:cNvGrpSpPr/>
            <p:nvPr/>
          </p:nvGrpSpPr>
          <p:grpSpPr>
            <a:xfrm>
              <a:off x="3425189" y="4030780"/>
              <a:ext cx="440538" cy="295778"/>
              <a:chOff x="1434371" y="3498776"/>
              <a:chExt cx="608935" cy="479425"/>
            </a:xfrm>
          </p:grpSpPr>
          <p:grpSp>
            <p:nvGrpSpPr>
              <p:cNvPr id="265" name="Group 264">
                <a:extLst>
                  <a:ext uri="{FF2B5EF4-FFF2-40B4-BE49-F238E27FC236}">
                    <a16:creationId xmlns:a16="http://schemas.microsoft.com/office/drawing/2014/main" id="{5B11D5D3-E6F8-4449-AC19-08F3F66D2629}"/>
                  </a:ext>
                </a:extLst>
              </p:cNvPr>
              <p:cNvGrpSpPr/>
              <p:nvPr/>
            </p:nvGrpSpPr>
            <p:grpSpPr>
              <a:xfrm>
                <a:off x="1434371" y="3498776"/>
                <a:ext cx="608935" cy="479425"/>
                <a:chOff x="1434371" y="3501603"/>
                <a:chExt cx="608935" cy="479425"/>
              </a:xfrm>
            </p:grpSpPr>
            <p:cxnSp>
              <p:nvCxnSpPr>
                <p:cNvPr id="269" name="Straight Connector 268">
                  <a:extLst>
                    <a:ext uri="{FF2B5EF4-FFF2-40B4-BE49-F238E27FC236}">
                      <a16:creationId xmlns:a16="http://schemas.microsoft.com/office/drawing/2014/main" id="{DEFDDDB5-5038-4E22-AA97-9A1E2339B81C}"/>
                    </a:ext>
                  </a:extLst>
                </p:cNvPr>
                <p:cNvCxnSpPr>
                  <a:cxnSpLocks/>
                </p:cNvCxnSpPr>
                <p:nvPr/>
              </p:nvCxnSpPr>
              <p:spPr>
                <a:xfrm>
                  <a:off x="1434371" y="3981028"/>
                  <a:ext cx="608935" cy="0"/>
                </a:xfrm>
                <a:prstGeom prst="line">
                  <a:avLst/>
                </a:prstGeom>
                <a:ln w="22225" cap="rnd">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89265B6E-DB33-4ADA-A79A-1BA37E23B6CE}"/>
                    </a:ext>
                  </a:extLst>
                </p:cNvPr>
                <p:cNvCxnSpPr>
                  <a:cxnSpLocks/>
                </p:cNvCxnSpPr>
                <p:nvPr/>
              </p:nvCxnSpPr>
              <p:spPr>
                <a:xfrm>
                  <a:off x="1434371" y="3501603"/>
                  <a:ext cx="608935" cy="0"/>
                </a:xfrm>
                <a:prstGeom prst="line">
                  <a:avLst/>
                </a:prstGeom>
                <a:ln w="22225" cap="rnd">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6" name="Group 265">
                <a:extLst>
                  <a:ext uri="{FF2B5EF4-FFF2-40B4-BE49-F238E27FC236}">
                    <a16:creationId xmlns:a16="http://schemas.microsoft.com/office/drawing/2014/main" id="{D0C19952-3C99-4264-8A43-2C6CD0A1657F}"/>
                  </a:ext>
                </a:extLst>
              </p:cNvPr>
              <p:cNvGrpSpPr/>
              <p:nvPr/>
            </p:nvGrpSpPr>
            <p:grpSpPr>
              <a:xfrm>
                <a:off x="1434371" y="3634741"/>
                <a:ext cx="608935" cy="207496"/>
                <a:chOff x="1434371" y="3501603"/>
                <a:chExt cx="608935" cy="479425"/>
              </a:xfrm>
            </p:grpSpPr>
            <p:cxnSp>
              <p:nvCxnSpPr>
                <p:cNvPr id="267" name="Straight Connector 266">
                  <a:extLst>
                    <a:ext uri="{FF2B5EF4-FFF2-40B4-BE49-F238E27FC236}">
                      <a16:creationId xmlns:a16="http://schemas.microsoft.com/office/drawing/2014/main" id="{B8DF5A7C-BCF9-40D0-BE6A-70FA65465C04}"/>
                    </a:ext>
                  </a:extLst>
                </p:cNvPr>
                <p:cNvCxnSpPr>
                  <a:cxnSpLocks/>
                </p:cNvCxnSpPr>
                <p:nvPr/>
              </p:nvCxnSpPr>
              <p:spPr>
                <a:xfrm>
                  <a:off x="1434371" y="3981028"/>
                  <a:ext cx="608935" cy="0"/>
                </a:xfrm>
                <a:prstGeom prst="line">
                  <a:avLst/>
                </a:prstGeom>
                <a:ln w="22225" cap="rnd">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532FCDA8-7555-44F2-BA2C-51D7E72291A8}"/>
                    </a:ext>
                  </a:extLst>
                </p:cNvPr>
                <p:cNvCxnSpPr>
                  <a:cxnSpLocks/>
                </p:cNvCxnSpPr>
                <p:nvPr/>
              </p:nvCxnSpPr>
              <p:spPr>
                <a:xfrm>
                  <a:off x="1434371" y="3501603"/>
                  <a:ext cx="608935" cy="0"/>
                </a:xfrm>
                <a:prstGeom prst="line">
                  <a:avLst/>
                </a:prstGeom>
                <a:ln w="22225" cap="rnd">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38" name="Group 237">
              <a:extLst>
                <a:ext uri="{FF2B5EF4-FFF2-40B4-BE49-F238E27FC236}">
                  <a16:creationId xmlns:a16="http://schemas.microsoft.com/office/drawing/2014/main" id="{BE701F0F-AC62-4991-BF80-D2E6F637032F}"/>
                </a:ext>
              </a:extLst>
            </p:cNvPr>
            <p:cNvGrpSpPr/>
            <p:nvPr/>
          </p:nvGrpSpPr>
          <p:grpSpPr>
            <a:xfrm>
              <a:off x="4168510" y="4030780"/>
              <a:ext cx="592037" cy="295778"/>
              <a:chOff x="2461828" y="3498776"/>
              <a:chExt cx="818344" cy="479425"/>
            </a:xfrm>
          </p:grpSpPr>
          <p:cxnSp>
            <p:nvCxnSpPr>
              <p:cNvPr id="259" name="Straight Connector 258">
                <a:extLst>
                  <a:ext uri="{FF2B5EF4-FFF2-40B4-BE49-F238E27FC236}">
                    <a16:creationId xmlns:a16="http://schemas.microsoft.com/office/drawing/2014/main" id="{362368A0-4A88-4DD7-8BC1-79BB505281F7}"/>
                  </a:ext>
                </a:extLst>
              </p:cNvPr>
              <p:cNvCxnSpPr>
                <a:cxnSpLocks/>
              </p:cNvCxnSpPr>
              <p:nvPr/>
            </p:nvCxnSpPr>
            <p:spPr>
              <a:xfrm flipV="1">
                <a:off x="2461828" y="3745706"/>
                <a:ext cx="813581" cy="232495"/>
              </a:xfrm>
              <a:prstGeom prst="line">
                <a:avLst/>
              </a:prstGeom>
              <a:ln w="22225"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61AB16CD-DE4D-42E3-AFDD-2A05DC8B5811}"/>
                  </a:ext>
                </a:extLst>
              </p:cNvPr>
              <p:cNvCxnSpPr>
                <a:cxnSpLocks/>
              </p:cNvCxnSpPr>
              <p:nvPr/>
            </p:nvCxnSpPr>
            <p:spPr>
              <a:xfrm>
                <a:off x="2461828" y="3498776"/>
                <a:ext cx="818344" cy="239787"/>
              </a:xfrm>
              <a:prstGeom prst="line">
                <a:avLst/>
              </a:prstGeom>
              <a:ln w="22225"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09494DDF-1473-4562-9649-B39F3325EE56}"/>
                  </a:ext>
                </a:extLst>
              </p:cNvPr>
              <p:cNvCxnSpPr>
                <a:cxnSpLocks/>
              </p:cNvCxnSpPr>
              <p:nvPr/>
            </p:nvCxnSpPr>
            <p:spPr>
              <a:xfrm flipV="1">
                <a:off x="2461828" y="3742134"/>
                <a:ext cx="808819" cy="100103"/>
              </a:xfrm>
              <a:prstGeom prst="line">
                <a:avLst/>
              </a:prstGeom>
              <a:ln w="22225"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919EFF2F-6212-4EAD-A8E1-CE14CC6E1F05}"/>
                  </a:ext>
                </a:extLst>
              </p:cNvPr>
              <p:cNvCxnSpPr>
                <a:cxnSpLocks/>
              </p:cNvCxnSpPr>
              <p:nvPr/>
            </p:nvCxnSpPr>
            <p:spPr>
              <a:xfrm>
                <a:off x="2461828" y="3634741"/>
                <a:ext cx="817153" cy="103822"/>
              </a:xfrm>
              <a:prstGeom prst="line">
                <a:avLst/>
              </a:prstGeom>
              <a:ln w="22225"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39" name="Group 238">
              <a:extLst>
                <a:ext uri="{FF2B5EF4-FFF2-40B4-BE49-F238E27FC236}">
                  <a16:creationId xmlns:a16="http://schemas.microsoft.com/office/drawing/2014/main" id="{FDCD50CF-5892-42B5-AF5E-328357AFC7D5}"/>
                </a:ext>
              </a:extLst>
            </p:cNvPr>
            <p:cNvGrpSpPr/>
            <p:nvPr/>
          </p:nvGrpSpPr>
          <p:grpSpPr>
            <a:xfrm>
              <a:off x="3036114" y="3975980"/>
              <a:ext cx="475366" cy="405378"/>
              <a:chOff x="3119641" y="1416189"/>
              <a:chExt cx="507244" cy="507244"/>
            </a:xfrm>
          </p:grpSpPr>
          <p:sp>
            <p:nvSpPr>
              <p:cNvPr id="249" name="Oval 248">
                <a:extLst>
                  <a:ext uri="{FF2B5EF4-FFF2-40B4-BE49-F238E27FC236}">
                    <a16:creationId xmlns:a16="http://schemas.microsoft.com/office/drawing/2014/main" id="{E7743CB9-0B11-40F6-BDDA-E9913DD4F676}"/>
                  </a:ext>
                </a:extLst>
              </p:cNvPr>
              <p:cNvSpPr/>
              <p:nvPr/>
            </p:nvSpPr>
            <p:spPr>
              <a:xfrm>
                <a:off x="3119641" y="1416189"/>
                <a:ext cx="507244" cy="507244"/>
              </a:xfrm>
              <a:prstGeom prst="ellipse">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50" name="Group 249">
                <a:extLst>
                  <a:ext uri="{FF2B5EF4-FFF2-40B4-BE49-F238E27FC236}">
                    <a16:creationId xmlns:a16="http://schemas.microsoft.com/office/drawing/2014/main" id="{0700FFCB-B1C3-44AE-B268-2987CB46FEC9}"/>
                  </a:ext>
                </a:extLst>
              </p:cNvPr>
              <p:cNvGrpSpPr/>
              <p:nvPr/>
            </p:nvGrpSpPr>
            <p:grpSpPr>
              <a:xfrm rot="5400000">
                <a:off x="3186142" y="1495624"/>
                <a:ext cx="363100" cy="339098"/>
                <a:chOff x="2746951" y="-3197140"/>
                <a:chExt cx="4576546" cy="4274050"/>
              </a:xfrm>
              <a:solidFill>
                <a:schemeClr val="bg2"/>
              </a:solidFill>
            </p:grpSpPr>
            <p:sp>
              <p:nvSpPr>
                <p:cNvPr id="251" name="Freeform: Shape 250">
                  <a:extLst>
                    <a:ext uri="{FF2B5EF4-FFF2-40B4-BE49-F238E27FC236}">
                      <a16:creationId xmlns:a16="http://schemas.microsoft.com/office/drawing/2014/main" id="{CC6C7133-8571-4F31-AFEA-445EB05CFDB9}"/>
                    </a:ext>
                  </a:extLst>
                </p:cNvPr>
                <p:cNvSpPr/>
                <p:nvPr/>
              </p:nvSpPr>
              <p:spPr>
                <a:xfrm rot="5400000">
                  <a:off x="4602063" y="-3016788"/>
                  <a:ext cx="2153137" cy="1792433"/>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52" name="Freeform: Shape 251">
                  <a:extLst>
                    <a:ext uri="{FF2B5EF4-FFF2-40B4-BE49-F238E27FC236}">
                      <a16:creationId xmlns:a16="http://schemas.microsoft.com/office/drawing/2014/main" id="{4D8DBC7F-797E-4A58-B8EC-99BABF7C8F8D}"/>
                    </a:ext>
                  </a:extLst>
                </p:cNvPr>
                <p:cNvSpPr/>
                <p:nvPr/>
              </p:nvSpPr>
              <p:spPr>
                <a:xfrm rot="16200000">
                  <a:off x="5350696" y="-895892"/>
                  <a:ext cx="2153145"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53" name="Freeform: Shape 252">
                  <a:extLst>
                    <a:ext uri="{FF2B5EF4-FFF2-40B4-BE49-F238E27FC236}">
                      <a16:creationId xmlns:a16="http://schemas.microsoft.com/office/drawing/2014/main" id="{36413D0B-0C7F-466B-9C67-B1DBF419CD0F}"/>
                    </a:ext>
                  </a:extLst>
                </p:cNvPr>
                <p:cNvSpPr/>
                <p:nvPr/>
              </p:nvSpPr>
              <p:spPr>
                <a:xfrm rot="5400000">
                  <a:off x="2566611" y="-3016793"/>
                  <a:ext cx="2153137"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54" name="Freeform: Shape 253">
                  <a:extLst>
                    <a:ext uri="{FF2B5EF4-FFF2-40B4-BE49-F238E27FC236}">
                      <a16:creationId xmlns:a16="http://schemas.microsoft.com/office/drawing/2014/main" id="{F5E2F333-0376-442B-A9A4-F35ED460C3CC}"/>
                    </a:ext>
                  </a:extLst>
                </p:cNvPr>
                <p:cNvSpPr/>
                <p:nvPr/>
              </p:nvSpPr>
              <p:spPr>
                <a:xfrm rot="16200000">
                  <a:off x="3315258" y="-895895"/>
                  <a:ext cx="2153152"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grpSp>
          <p:nvGrpSpPr>
            <p:cNvPr id="240" name="Group 239">
              <a:extLst>
                <a:ext uri="{FF2B5EF4-FFF2-40B4-BE49-F238E27FC236}">
                  <a16:creationId xmlns:a16="http://schemas.microsoft.com/office/drawing/2014/main" id="{BA7F3710-BA40-4011-9C81-0C154A14F7EF}"/>
                </a:ext>
              </a:extLst>
            </p:cNvPr>
            <p:cNvGrpSpPr/>
            <p:nvPr/>
          </p:nvGrpSpPr>
          <p:grpSpPr>
            <a:xfrm>
              <a:off x="3779436" y="3975980"/>
              <a:ext cx="475366" cy="405378"/>
              <a:chOff x="1224607" y="3805450"/>
              <a:chExt cx="433812" cy="433812"/>
            </a:xfrm>
          </p:grpSpPr>
          <p:sp>
            <p:nvSpPr>
              <p:cNvPr id="244" name="Oval 243">
                <a:extLst>
                  <a:ext uri="{FF2B5EF4-FFF2-40B4-BE49-F238E27FC236}">
                    <a16:creationId xmlns:a16="http://schemas.microsoft.com/office/drawing/2014/main" id="{9932DC3D-7F55-4B36-9D99-B206C804E702}"/>
                  </a:ext>
                </a:extLst>
              </p:cNvPr>
              <p:cNvSpPr/>
              <p:nvPr/>
            </p:nvSpPr>
            <p:spPr>
              <a:xfrm>
                <a:off x="1224607" y="3805450"/>
                <a:ext cx="433812" cy="433812"/>
              </a:xfrm>
              <a:prstGeom prst="ellipse">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45" name="Freeform: Shape 244">
                <a:extLst>
                  <a:ext uri="{FF2B5EF4-FFF2-40B4-BE49-F238E27FC236}">
                    <a16:creationId xmlns:a16="http://schemas.microsoft.com/office/drawing/2014/main" id="{15AC2BF3-10E1-4545-BC3B-AF8F5E7ED4A6}"/>
                  </a:ext>
                </a:extLst>
              </p:cNvPr>
              <p:cNvSpPr/>
              <p:nvPr/>
            </p:nvSpPr>
            <p:spPr>
              <a:xfrm rot="8100000">
                <a:off x="1433937" y="3896072"/>
                <a:ext cx="146098" cy="121623"/>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46" name="Freeform: Shape 245">
                <a:extLst>
                  <a:ext uri="{FF2B5EF4-FFF2-40B4-BE49-F238E27FC236}">
                    <a16:creationId xmlns:a16="http://schemas.microsoft.com/office/drawing/2014/main" id="{16D43E14-9B8D-4C89-94FC-16F1C80256B8}"/>
                  </a:ext>
                </a:extLst>
              </p:cNvPr>
              <p:cNvSpPr/>
              <p:nvPr/>
            </p:nvSpPr>
            <p:spPr>
              <a:xfrm rot="18900000">
                <a:off x="1302990" y="4027019"/>
                <a:ext cx="146098" cy="121623"/>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47" name="Freeform: Shape 246">
                <a:extLst>
                  <a:ext uri="{FF2B5EF4-FFF2-40B4-BE49-F238E27FC236}">
                    <a16:creationId xmlns:a16="http://schemas.microsoft.com/office/drawing/2014/main" id="{08053A5E-B717-4B9D-93F3-36AABF095506}"/>
                  </a:ext>
                </a:extLst>
              </p:cNvPr>
              <p:cNvSpPr/>
              <p:nvPr/>
            </p:nvSpPr>
            <p:spPr>
              <a:xfrm rot="13500000">
                <a:off x="1433937" y="4027017"/>
                <a:ext cx="146098" cy="121624"/>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48" name="Freeform: Shape 247">
                <a:extLst>
                  <a:ext uri="{FF2B5EF4-FFF2-40B4-BE49-F238E27FC236}">
                    <a16:creationId xmlns:a16="http://schemas.microsoft.com/office/drawing/2014/main" id="{187076D9-FBC2-454E-AD7C-FFFE55E2D527}"/>
                  </a:ext>
                </a:extLst>
              </p:cNvPr>
              <p:cNvSpPr/>
              <p:nvPr/>
            </p:nvSpPr>
            <p:spPr>
              <a:xfrm rot="2700000">
                <a:off x="1302991" y="3896072"/>
                <a:ext cx="146098" cy="121624"/>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nvGrpSpPr>
            <p:cNvPr id="241" name="Group 240">
              <a:extLst>
                <a:ext uri="{FF2B5EF4-FFF2-40B4-BE49-F238E27FC236}">
                  <a16:creationId xmlns:a16="http://schemas.microsoft.com/office/drawing/2014/main" id="{9046DF05-79E9-4164-A605-F1D9872D3189}"/>
                </a:ext>
              </a:extLst>
            </p:cNvPr>
            <p:cNvGrpSpPr/>
            <p:nvPr/>
          </p:nvGrpSpPr>
          <p:grpSpPr>
            <a:xfrm>
              <a:off x="4522757" y="3975980"/>
              <a:ext cx="442534" cy="405378"/>
              <a:chOff x="2051694" y="3805450"/>
              <a:chExt cx="403850" cy="433812"/>
            </a:xfrm>
          </p:grpSpPr>
          <p:sp>
            <p:nvSpPr>
              <p:cNvPr id="242" name="Oval 241">
                <a:extLst>
                  <a:ext uri="{FF2B5EF4-FFF2-40B4-BE49-F238E27FC236}">
                    <a16:creationId xmlns:a16="http://schemas.microsoft.com/office/drawing/2014/main" id="{C0D28CFA-EEEC-4B76-842C-A7AA24F76592}"/>
                  </a:ext>
                </a:extLst>
              </p:cNvPr>
              <p:cNvSpPr/>
              <p:nvPr/>
            </p:nvSpPr>
            <p:spPr>
              <a:xfrm>
                <a:off x="2051694" y="3805450"/>
                <a:ext cx="403850" cy="433812"/>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43" name="Freeform 594">
                <a:extLst>
                  <a:ext uri="{FF2B5EF4-FFF2-40B4-BE49-F238E27FC236}">
                    <a16:creationId xmlns:a16="http://schemas.microsoft.com/office/drawing/2014/main" id="{AEA0E6C8-FF15-447C-89CD-C40498B95BBC}"/>
                  </a:ext>
                </a:extLst>
              </p:cNvPr>
              <p:cNvSpPr>
                <a:spLocks noChangeAspect="1" noEditPoints="1"/>
              </p:cNvSpPr>
              <p:nvPr/>
            </p:nvSpPr>
            <p:spPr bwMode="auto">
              <a:xfrm>
                <a:off x="2074640" y="3844008"/>
                <a:ext cx="357958" cy="356695"/>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grpSp>
        <p:nvGrpSpPr>
          <p:cNvPr id="277" name="Group 276">
            <a:extLst>
              <a:ext uri="{FF2B5EF4-FFF2-40B4-BE49-F238E27FC236}">
                <a16:creationId xmlns:a16="http://schemas.microsoft.com/office/drawing/2014/main" id="{B57E3068-3727-4169-86C9-5BDDB7E5BACA}"/>
              </a:ext>
            </a:extLst>
          </p:cNvPr>
          <p:cNvGrpSpPr/>
          <p:nvPr/>
        </p:nvGrpSpPr>
        <p:grpSpPr>
          <a:xfrm>
            <a:off x="3124056" y="4498786"/>
            <a:ext cx="2941951" cy="507831"/>
            <a:chOff x="3028644" y="4498786"/>
            <a:chExt cx="2941951" cy="507831"/>
          </a:xfrm>
        </p:grpSpPr>
        <p:sp>
          <p:nvSpPr>
            <p:cNvPr id="278" name="TextBox 277">
              <a:extLst>
                <a:ext uri="{FF2B5EF4-FFF2-40B4-BE49-F238E27FC236}">
                  <a16:creationId xmlns:a16="http://schemas.microsoft.com/office/drawing/2014/main" id="{9F5C64A6-888C-4842-9A52-046C685CD031}"/>
                </a:ext>
              </a:extLst>
            </p:cNvPr>
            <p:cNvSpPr txBox="1"/>
            <p:nvPr/>
          </p:nvSpPr>
          <p:spPr>
            <a:xfrm>
              <a:off x="3028644" y="4637285"/>
              <a:ext cx="547482" cy="230832"/>
            </a:xfrm>
            <a:prstGeom prst="rect">
              <a:avLst/>
            </a:prstGeom>
            <a:noFill/>
            <a:ln w="19050">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rPr>
                <a:t>Router</a:t>
              </a:r>
            </a:p>
          </p:txBody>
        </p:sp>
        <p:sp>
          <p:nvSpPr>
            <p:cNvPr id="279" name="TextBox 278">
              <a:extLst>
                <a:ext uri="{FF2B5EF4-FFF2-40B4-BE49-F238E27FC236}">
                  <a16:creationId xmlns:a16="http://schemas.microsoft.com/office/drawing/2014/main" id="{EC157C33-CBB2-4CDF-9145-A49CE49D2AEA}"/>
                </a:ext>
              </a:extLst>
            </p:cNvPr>
            <p:cNvSpPr txBox="1"/>
            <p:nvPr/>
          </p:nvSpPr>
          <p:spPr>
            <a:xfrm>
              <a:off x="4517086" y="4637285"/>
              <a:ext cx="607203" cy="230832"/>
            </a:xfrm>
            <a:prstGeom prst="rect">
              <a:avLst/>
            </a:prstGeom>
            <a:noFill/>
            <a:ln w="19050">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iscoSansTT ExtraLight"/>
                  <a:ea typeface="ＭＳ Ｐゴシック" charset="0"/>
                </a:rPr>
                <a:t>ROADM</a:t>
              </a:r>
              <a:endPar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sp>
          <p:nvSpPr>
            <p:cNvPr id="280" name="TextBox 279">
              <a:extLst>
                <a:ext uri="{FF2B5EF4-FFF2-40B4-BE49-F238E27FC236}">
                  <a16:creationId xmlns:a16="http://schemas.microsoft.com/office/drawing/2014/main" id="{FCB8AC1A-4126-4F35-A7EB-949C70A6BC6B}"/>
                </a:ext>
              </a:extLst>
            </p:cNvPr>
            <p:cNvSpPr txBox="1"/>
            <p:nvPr/>
          </p:nvSpPr>
          <p:spPr>
            <a:xfrm>
              <a:off x="3680407" y="4568035"/>
              <a:ext cx="688145" cy="369332"/>
            </a:xfrm>
            <a:prstGeom prst="rect">
              <a:avLst/>
            </a:prstGeom>
            <a:noFill/>
            <a:ln w="19050">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rPr>
                <a:t> DCI o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rPr>
                <a:t>OTN </a:t>
              </a:r>
            </a:p>
          </p:txBody>
        </p:sp>
        <p:grpSp>
          <p:nvGrpSpPr>
            <p:cNvPr id="281" name="Group 280">
              <a:extLst>
                <a:ext uri="{FF2B5EF4-FFF2-40B4-BE49-F238E27FC236}">
                  <a16:creationId xmlns:a16="http://schemas.microsoft.com/office/drawing/2014/main" id="{B3114E47-AD02-478B-A3C6-05F860DBFE82}"/>
                </a:ext>
              </a:extLst>
            </p:cNvPr>
            <p:cNvGrpSpPr>
              <a:grpSpLocks noChangeAspect="1"/>
            </p:cNvGrpSpPr>
            <p:nvPr/>
          </p:nvGrpSpPr>
          <p:grpSpPr>
            <a:xfrm>
              <a:off x="4381256" y="4688668"/>
              <a:ext cx="151090" cy="128067"/>
              <a:chOff x="1579728" y="2192901"/>
              <a:chExt cx="496986" cy="493986"/>
            </a:xfrm>
          </p:grpSpPr>
          <p:sp>
            <p:nvSpPr>
              <p:cNvPr id="289" name="Freeform 664">
                <a:extLst>
                  <a:ext uri="{FF2B5EF4-FFF2-40B4-BE49-F238E27FC236}">
                    <a16:creationId xmlns:a16="http://schemas.microsoft.com/office/drawing/2014/main" id="{6770286A-1A35-4110-936C-E6097C835F9A}"/>
                  </a:ext>
                </a:extLst>
              </p:cNvPr>
              <p:cNvSpPr>
                <a:spLocks noChangeAspect="1"/>
              </p:cNvSpPr>
              <p:nvPr/>
            </p:nvSpPr>
            <p:spPr bwMode="auto">
              <a:xfrm>
                <a:off x="1759722" y="2192901"/>
                <a:ext cx="134996" cy="493986"/>
              </a:xfrm>
              <a:custGeom>
                <a:avLst/>
                <a:gdLst>
                  <a:gd name="T0" fmla="*/ 29 w 57"/>
                  <a:gd name="T1" fmla="*/ 209 h 209"/>
                  <a:gd name="T2" fmla="*/ 29 w 57"/>
                  <a:gd name="T3" fmla="*/ 209 h 209"/>
                  <a:gd name="T4" fmla="*/ 0 w 57"/>
                  <a:gd name="T5" fmla="*/ 181 h 209"/>
                  <a:gd name="T6" fmla="*/ 0 w 57"/>
                  <a:gd name="T7" fmla="*/ 28 h 209"/>
                  <a:gd name="T8" fmla="*/ 29 w 57"/>
                  <a:gd name="T9" fmla="*/ 0 h 209"/>
                  <a:gd name="T10" fmla="*/ 57 w 57"/>
                  <a:gd name="T11" fmla="*/ 28 h 209"/>
                  <a:gd name="T12" fmla="*/ 57 w 57"/>
                  <a:gd name="T13" fmla="*/ 181 h 209"/>
                  <a:gd name="T14" fmla="*/ 29 w 57"/>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9">
                    <a:moveTo>
                      <a:pt x="29" y="209"/>
                    </a:moveTo>
                    <a:cubicBezTo>
                      <a:pt x="29" y="209"/>
                      <a:pt x="29" y="209"/>
                      <a:pt x="29" y="209"/>
                    </a:cubicBezTo>
                    <a:cubicBezTo>
                      <a:pt x="13" y="209"/>
                      <a:pt x="0" y="196"/>
                      <a:pt x="0" y="181"/>
                    </a:cubicBezTo>
                    <a:cubicBezTo>
                      <a:pt x="0" y="28"/>
                      <a:pt x="0" y="28"/>
                      <a:pt x="0" y="28"/>
                    </a:cubicBezTo>
                    <a:cubicBezTo>
                      <a:pt x="0" y="13"/>
                      <a:pt x="13" y="0"/>
                      <a:pt x="29" y="0"/>
                    </a:cubicBezTo>
                    <a:cubicBezTo>
                      <a:pt x="45" y="0"/>
                      <a:pt x="57" y="13"/>
                      <a:pt x="57" y="28"/>
                    </a:cubicBezTo>
                    <a:cubicBezTo>
                      <a:pt x="57" y="181"/>
                      <a:pt x="57" y="181"/>
                      <a:pt x="57" y="181"/>
                    </a:cubicBezTo>
                    <a:cubicBezTo>
                      <a:pt x="57" y="196"/>
                      <a:pt x="45" y="209"/>
                      <a:pt x="29" y="209"/>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90" name="Freeform 665">
                <a:extLst>
                  <a:ext uri="{FF2B5EF4-FFF2-40B4-BE49-F238E27FC236}">
                    <a16:creationId xmlns:a16="http://schemas.microsoft.com/office/drawing/2014/main" id="{49678F88-104C-4B4F-AA25-99C54C991792}"/>
                  </a:ext>
                </a:extLst>
              </p:cNvPr>
              <p:cNvSpPr>
                <a:spLocks noChangeAspect="1"/>
              </p:cNvSpPr>
              <p:nvPr/>
            </p:nvSpPr>
            <p:spPr bwMode="auto">
              <a:xfrm>
                <a:off x="1579728" y="2368943"/>
                <a:ext cx="496986" cy="134996"/>
              </a:xfrm>
              <a:custGeom>
                <a:avLst/>
                <a:gdLst>
                  <a:gd name="T0" fmla="*/ 0 w 210"/>
                  <a:gd name="T1" fmla="*/ 28 h 57"/>
                  <a:gd name="T2" fmla="*/ 0 w 210"/>
                  <a:gd name="T3" fmla="*/ 28 h 57"/>
                  <a:gd name="T4" fmla="*/ 29 w 210"/>
                  <a:gd name="T5" fmla="*/ 0 h 57"/>
                  <a:gd name="T6" fmla="*/ 181 w 210"/>
                  <a:gd name="T7" fmla="*/ 0 h 57"/>
                  <a:gd name="T8" fmla="*/ 210 w 210"/>
                  <a:gd name="T9" fmla="*/ 28 h 57"/>
                  <a:gd name="T10" fmla="*/ 181 w 210"/>
                  <a:gd name="T11" fmla="*/ 57 h 57"/>
                  <a:gd name="T12" fmla="*/ 29 w 210"/>
                  <a:gd name="T13" fmla="*/ 57 h 57"/>
                  <a:gd name="T14" fmla="*/ 0 w 210"/>
                  <a:gd name="T15" fmla="*/ 2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7">
                    <a:moveTo>
                      <a:pt x="0" y="28"/>
                    </a:moveTo>
                    <a:cubicBezTo>
                      <a:pt x="0" y="28"/>
                      <a:pt x="0" y="28"/>
                      <a:pt x="0" y="28"/>
                    </a:cubicBezTo>
                    <a:cubicBezTo>
                      <a:pt x="0" y="13"/>
                      <a:pt x="13" y="0"/>
                      <a:pt x="29" y="0"/>
                    </a:cubicBezTo>
                    <a:cubicBezTo>
                      <a:pt x="181" y="0"/>
                      <a:pt x="181" y="0"/>
                      <a:pt x="181" y="0"/>
                    </a:cubicBezTo>
                    <a:cubicBezTo>
                      <a:pt x="197" y="0"/>
                      <a:pt x="210" y="13"/>
                      <a:pt x="210" y="28"/>
                    </a:cubicBezTo>
                    <a:cubicBezTo>
                      <a:pt x="210" y="44"/>
                      <a:pt x="197" y="57"/>
                      <a:pt x="181" y="57"/>
                    </a:cubicBezTo>
                    <a:cubicBezTo>
                      <a:pt x="29" y="57"/>
                      <a:pt x="29" y="57"/>
                      <a:pt x="29" y="57"/>
                    </a:cubicBezTo>
                    <a:cubicBezTo>
                      <a:pt x="13" y="57"/>
                      <a:pt x="0" y="44"/>
                      <a:pt x="0" y="2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91" name="Rectangle 290">
                <a:extLst>
                  <a:ext uri="{FF2B5EF4-FFF2-40B4-BE49-F238E27FC236}">
                    <a16:creationId xmlns:a16="http://schemas.microsoft.com/office/drawing/2014/main" id="{FE6979AA-12D8-4544-A330-944C708EB7CC}"/>
                  </a:ext>
                </a:extLst>
              </p:cNvPr>
              <p:cNvSpPr/>
              <p:nvPr/>
            </p:nvSpPr>
            <p:spPr>
              <a:xfrm>
                <a:off x="1759636" y="2367857"/>
                <a:ext cx="137160" cy="137160"/>
              </a:xfrm>
              <a:prstGeom prst="rect">
                <a:avLst/>
              </a:prstGeom>
              <a:solidFill>
                <a:schemeClr val="bg2"/>
              </a:solid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284" name="Group 283">
              <a:extLst>
                <a:ext uri="{FF2B5EF4-FFF2-40B4-BE49-F238E27FC236}">
                  <a16:creationId xmlns:a16="http://schemas.microsoft.com/office/drawing/2014/main" id="{CA277D2C-B416-4C8D-80B9-35AA86D7D8A5}"/>
                </a:ext>
              </a:extLst>
            </p:cNvPr>
            <p:cNvGrpSpPr>
              <a:grpSpLocks noChangeAspect="1"/>
            </p:cNvGrpSpPr>
            <p:nvPr/>
          </p:nvGrpSpPr>
          <p:grpSpPr>
            <a:xfrm>
              <a:off x="3548602" y="4688668"/>
              <a:ext cx="151090" cy="128067"/>
              <a:chOff x="1579728" y="2192901"/>
              <a:chExt cx="496986" cy="493986"/>
            </a:xfrm>
          </p:grpSpPr>
          <p:sp>
            <p:nvSpPr>
              <p:cNvPr id="286" name="Freeform 664">
                <a:extLst>
                  <a:ext uri="{FF2B5EF4-FFF2-40B4-BE49-F238E27FC236}">
                    <a16:creationId xmlns:a16="http://schemas.microsoft.com/office/drawing/2014/main" id="{BE2A6D83-D587-4E96-A215-C6A269DF8C73}"/>
                  </a:ext>
                </a:extLst>
              </p:cNvPr>
              <p:cNvSpPr>
                <a:spLocks noChangeAspect="1"/>
              </p:cNvSpPr>
              <p:nvPr/>
            </p:nvSpPr>
            <p:spPr bwMode="auto">
              <a:xfrm>
                <a:off x="1759722" y="2192901"/>
                <a:ext cx="134996" cy="493986"/>
              </a:xfrm>
              <a:custGeom>
                <a:avLst/>
                <a:gdLst>
                  <a:gd name="T0" fmla="*/ 29 w 57"/>
                  <a:gd name="T1" fmla="*/ 209 h 209"/>
                  <a:gd name="T2" fmla="*/ 29 w 57"/>
                  <a:gd name="T3" fmla="*/ 209 h 209"/>
                  <a:gd name="T4" fmla="*/ 0 w 57"/>
                  <a:gd name="T5" fmla="*/ 181 h 209"/>
                  <a:gd name="T6" fmla="*/ 0 w 57"/>
                  <a:gd name="T7" fmla="*/ 28 h 209"/>
                  <a:gd name="T8" fmla="*/ 29 w 57"/>
                  <a:gd name="T9" fmla="*/ 0 h 209"/>
                  <a:gd name="T10" fmla="*/ 57 w 57"/>
                  <a:gd name="T11" fmla="*/ 28 h 209"/>
                  <a:gd name="T12" fmla="*/ 57 w 57"/>
                  <a:gd name="T13" fmla="*/ 181 h 209"/>
                  <a:gd name="T14" fmla="*/ 29 w 57"/>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9">
                    <a:moveTo>
                      <a:pt x="29" y="209"/>
                    </a:moveTo>
                    <a:cubicBezTo>
                      <a:pt x="29" y="209"/>
                      <a:pt x="29" y="209"/>
                      <a:pt x="29" y="209"/>
                    </a:cubicBezTo>
                    <a:cubicBezTo>
                      <a:pt x="13" y="209"/>
                      <a:pt x="0" y="196"/>
                      <a:pt x="0" y="181"/>
                    </a:cubicBezTo>
                    <a:cubicBezTo>
                      <a:pt x="0" y="28"/>
                      <a:pt x="0" y="28"/>
                      <a:pt x="0" y="28"/>
                    </a:cubicBezTo>
                    <a:cubicBezTo>
                      <a:pt x="0" y="13"/>
                      <a:pt x="13" y="0"/>
                      <a:pt x="29" y="0"/>
                    </a:cubicBezTo>
                    <a:cubicBezTo>
                      <a:pt x="45" y="0"/>
                      <a:pt x="57" y="13"/>
                      <a:pt x="57" y="28"/>
                    </a:cubicBezTo>
                    <a:cubicBezTo>
                      <a:pt x="57" y="181"/>
                      <a:pt x="57" y="181"/>
                      <a:pt x="57" y="181"/>
                    </a:cubicBezTo>
                    <a:cubicBezTo>
                      <a:pt x="57" y="196"/>
                      <a:pt x="45" y="209"/>
                      <a:pt x="29" y="209"/>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87" name="Freeform 665">
                <a:extLst>
                  <a:ext uri="{FF2B5EF4-FFF2-40B4-BE49-F238E27FC236}">
                    <a16:creationId xmlns:a16="http://schemas.microsoft.com/office/drawing/2014/main" id="{97295213-8AB0-4E8E-B9B7-FCFE5E9D07BD}"/>
                  </a:ext>
                </a:extLst>
              </p:cNvPr>
              <p:cNvSpPr>
                <a:spLocks noChangeAspect="1"/>
              </p:cNvSpPr>
              <p:nvPr/>
            </p:nvSpPr>
            <p:spPr bwMode="auto">
              <a:xfrm>
                <a:off x="1579728" y="2368943"/>
                <a:ext cx="496986" cy="134996"/>
              </a:xfrm>
              <a:custGeom>
                <a:avLst/>
                <a:gdLst>
                  <a:gd name="T0" fmla="*/ 0 w 210"/>
                  <a:gd name="T1" fmla="*/ 28 h 57"/>
                  <a:gd name="T2" fmla="*/ 0 w 210"/>
                  <a:gd name="T3" fmla="*/ 28 h 57"/>
                  <a:gd name="T4" fmla="*/ 29 w 210"/>
                  <a:gd name="T5" fmla="*/ 0 h 57"/>
                  <a:gd name="T6" fmla="*/ 181 w 210"/>
                  <a:gd name="T7" fmla="*/ 0 h 57"/>
                  <a:gd name="T8" fmla="*/ 210 w 210"/>
                  <a:gd name="T9" fmla="*/ 28 h 57"/>
                  <a:gd name="T10" fmla="*/ 181 w 210"/>
                  <a:gd name="T11" fmla="*/ 57 h 57"/>
                  <a:gd name="T12" fmla="*/ 29 w 210"/>
                  <a:gd name="T13" fmla="*/ 57 h 57"/>
                  <a:gd name="T14" fmla="*/ 0 w 210"/>
                  <a:gd name="T15" fmla="*/ 2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7">
                    <a:moveTo>
                      <a:pt x="0" y="28"/>
                    </a:moveTo>
                    <a:cubicBezTo>
                      <a:pt x="0" y="28"/>
                      <a:pt x="0" y="28"/>
                      <a:pt x="0" y="28"/>
                    </a:cubicBezTo>
                    <a:cubicBezTo>
                      <a:pt x="0" y="13"/>
                      <a:pt x="13" y="0"/>
                      <a:pt x="29" y="0"/>
                    </a:cubicBezTo>
                    <a:cubicBezTo>
                      <a:pt x="181" y="0"/>
                      <a:pt x="181" y="0"/>
                      <a:pt x="181" y="0"/>
                    </a:cubicBezTo>
                    <a:cubicBezTo>
                      <a:pt x="197" y="0"/>
                      <a:pt x="210" y="13"/>
                      <a:pt x="210" y="28"/>
                    </a:cubicBezTo>
                    <a:cubicBezTo>
                      <a:pt x="210" y="44"/>
                      <a:pt x="197" y="57"/>
                      <a:pt x="181" y="57"/>
                    </a:cubicBezTo>
                    <a:cubicBezTo>
                      <a:pt x="29" y="57"/>
                      <a:pt x="29" y="57"/>
                      <a:pt x="29" y="57"/>
                    </a:cubicBezTo>
                    <a:cubicBezTo>
                      <a:pt x="13" y="57"/>
                      <a:pt x="0" y="44"/>
                      <a:pt x="0" y="2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88" name="Rectangle 287">
                <a:extLst>
                  <a:ext uri="{FF2B5EF4-FFF2-40B4-BE49-F238E27FC236}">
                    <a16:creationId xmlns:a16="http://schemas.microsoft.com/office/drawing/2014/main" id="{35837512-000F-4B62-8960-7ED1620C9EEE}"/>
                  </a:ext>
                </a:extLst>
              </p:cNvPr>
              <p:cNvSpPr/>
              <p:nvPr/>
            </p:nvSpPr>
            <p:spPr>
              <a:xfrm>
                <a:off x="1759636" y="2367857"/>
                <a:ext cx="137160" cy="137160"/>
              </a:xfrm>
              <a:prstGeom prst="rect">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285" name="TextBox 284">
              <a:extLst>
                <a:ext uri="{FF2B5EF4-FFF2-40B4-BE49-F238E27FC236}">
                  <a16:creationId xmlns:a16="http://schemas.microsoft.com/office/drawing/2014/main" id="{6CA5E0F8-42C0-4FA4-8A44-E7CF5BF4806B}"/>
                </a:ext>
              </a:extLst>
            </p:cNvPr>
            <p:cNvSpPr txBox="1"/>
            <p:nvPr/>
          </p:nvSpPr>
          <p:spPr>
            <a:xfrm>
              <a:off x="5363392" y="4498786"/>
              <a:ext cx="607203" cy="507831"/>
            </a:xfrm>
            <a:prstGeom prst="rect">
              <a:avLst/>
            </a:prstGeom>
            <a:noFill/>
            <a:ln w="19050">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iscoSansTT ExtraLight"/>
                  <a:ea typeface="ＭＳ Ｐゴシック" charset="0"/>
                </a:rPr>
                <a:t>Rout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rPr>
                <a:t>Optics</a:t>
              </a:r>
            </a:p>
          </p:txBody>
        </p:sp>
      </p:grpSp>
      <p:cxnSp>
        <p:nvCxnSpPr>
          <p:cNvPr id="292" name="Straight Connector 291">
            <a:extLst>
              <a:ext uri="{FF2B5EF4-FFF2-40B4-BE49-F238E27FC236}">
                <a16:creationId xmlns:a16="http://schemas.microsoft.com/office/drawing/2014/main" id="{A897550E-B21E-41E0-95E0-42D731F570D9}"/>
              </a:ext>
            </a:extLst>
          </p:cNvPr>
          <p:cNvCxnSpPr/>
          <p:nvPr/>
        </p:nvCxnSpPr>
        <p:spPr>
          <a:xfrm flipV="1">
            <a:off x="5285986" y="4698514"/>
            <a:ext cx="166664" cy="3193"/>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20C05877-FFBB-436E-AEC0-100F7333EC15}"/>
              </a:ext>
            </a:extLst>
          </p:cNvPr>
          <p:cNvCxnSpPr/>
          <p:nvPr/>
        </p:nvCxnSpPr>
        <p:spPr>
          <a:xfrm flipV="1">
            <a:off x="5287316" y="4787306"/>
            <a:ext cx="166664" cy="3193"/>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94" name="Rectangle 293">
            <a:extLst>
              <a:ext uri="{FF2B5EF4-FFF2-40B4-BE49-F238E27FC236}">
                <a16:creationId xmlns:a16="http://schemas.microsoft.com/office/drawing/2014/main" id="{E60E874E-B634-40C1-B381-EC189717A7AE}"/>
              </a:ext>
            </a:extLst>
          </p:cNvPr>
          <p:cNvSpPr/>
          <p:nvPr/>
        </p:nvSpPr>
        <p:spPr>
          <a:xfrm>
            <a:off x="6915819" y="3724424"/>
            <a:ext cx="1512268" cy="3944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iscoSansTT ExtraLight"/>
                <a:ea typeface="+mn-ea"/>
                <a:cs typeface="CiscoSansTT Light" panose="020B0503020201020303" pitchFamily="34" charset="0"/>
              </a:rPr>
              <a:t>intent based automation</a:t>
            </a:r>
          </a:p>
        </p:txBody>
      </p:sp>
      <p:pic>
        <p:nvPicPr>
          <p:cNvPr id="295" name="Picture 294">
            <a:extLst>
              <a:ext uri="{FF2B5EF4-FFF2-40B4-BE49-F238E27FC236}">
                <a16:creationId xmlns:a16="http://schemas.microsoft.com/office/drawing/2014/main" id="{F6068295-824E-4FDA-A4AD-87CBFD5D92A9}"/>
              </a:ext>
            </a:extLst>
          </p:cNvPr>
          <p:cNvPicPr preferRelativeResize="0">
            <a:picLocks/>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338197" y="4037962"/>
            <a:ext cx="667512" cy="667512"/>
          </a:xfrm>
          <a:prstGeom prst="rect">
            <a:avLst/>
          </a:prstGeom>
          <a:solidFill>
            <a:schemeClr val="bg1"/>
          </a:solidFill>
          <a:ln>
            <a:noFill/>
          </a:ln>
        </p:spPr>
      </p:pic>
      <p:sp>
        <p:nvSpPr>
          <p:cNvPr id="296" name="Rectangle 295">
            <a:extLst>
              <a:ext uri="{FF2B5EF4-FFF2-40B4-BE49-F238E27FC236}">
                <a16:creationId xmlns:a16="http://schemas.microsoft.com/office/drawing/2014/main" id="{518EBBDD-F7BE-47EA-8461-B400FC6EFDEC}"/>
              </a:ext>
            </a:extLst>
          </p:cNvPr>
          <p:cNvSpPr/>
          <p:nvPr/>
        </p:nvSpPr>
        <p:spPr>
          <a:xfrm>
            <a:off x="8033914" y="4225688"/>
            <a:ext cx="875756" cy="29206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iscoSansTT ExtraLight"/>
                <a:ea typeface="+mn-ea"/>
                <a:cs typeface="CiscoSansTT Light" panose="020B0503020201020303" pitchFamily="34" charset="0"/>
              </a:rPr>
              <a:t>open, programmable</a:t>
            </a:r>
          </a:p>
        </p:txBody>
      </p:sp>
      <p:sp>
        <p:nvSpPr>
          <p:cNvPr id="297" name="Rectangle 296">
            <a:extLst>
              <a:ext uri="{FF2B5EF4-FFF2-40B4-BE49-F238E27FC236}">
                <a16:creationId xmlns:a16="http://schemas.microsoft.com/office/drawing/2014/main" id="{106B454D-1597-4FD4-AB2B-E2349171F39C}"/>
              </a:ext>
            </a:extLst>
          </p:cNvPr>
          <p:cNvSpPr/>
          <p:nvPr/>
        </p:nvSpPr>
        <p:spPr>
          <a:xfrm>
            <a:off x="6836644" y="4733378"/>
            <a:ext cx="1670619" cy="3114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iscoSansTT ExtraLight"/>
                <a:ea typeface="+mn-ea"/>
                <a:cs typeface="CiscoSansTT Light" panose="020B0503020201020303" pitchFamily="34" charset="0"/>
              </a:rPr>
              <a:t>third-party application hosting</a:t>
            </a:r>
          </a:p>
        </p:txBody>
      </p:sp>
      <p:sp>
        <p:nvSpPr>
          <p:cNvPr id="298" name="Rectangle 297">
            <a:extLst>
              <a:ext uri="{FF2B5EF4-FFF2-40B4-BE49-F238E27FC236}">
                <a16:creationId xmlns:a16="http://schemas.microsoft.com/office/drawing/2014/main" id="{7CCB838A-6552-4CF0-B7BA-7488F9735655}"/>
              </a:ext>
            </a:extLst>
          </p:cNvPr>
          <p:cNvSpPr/>
          <p:nvPr/>
        </p:nvSpPr>
        <p:spPr>
          <a:xfrm>
            <a:off x="6398627" y="4260156"/>
            <a:ext cx="859378" cy="2231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iscoSansTT ExtraLight"/>
                <a:ea typeface="+mn-ea"/>
                <a:cs typeface="CiscoSansTT Light" panose="020B0503020201020303" pitchFamily="34" charset="0"/>
              </a:rPr>
              <a:t>analytics ready</a:t>
            </a:r>
          </a:p>
        </p:txBody>
      </p:sp>
      <p:grpSp>
        <p:nvGrpSpPr>
          <p:cNvPr id="299" name="Group 298">
            <a:extLst>
              <a:ext uri="{FF2B5EF4-FFF2-40B4-BE49-F238E27FC236}">
                <a16:creationId xmlns:a16="http://schemas.microsoft.com/office/drawing/2014/main" id="{2B8064D0-F187-42FF-A11B-B17CFF849783}"/>
              </a:ext>
            </a:extLst>
          </p:cNvPr>
          <p:cNvGrpSpPr/>
          <p:nvPr/>
        </p:nvGrpSpPr>
        <p:grpSpPr>
          <a:xfrm>
            <a:off x="364337" y="3862177"/>
            <a:ext cx="1302939" cy="952351"/>
            <a:chOff x="364337" y="3862177"/>
            <a:chExt cx="1302939" cy="952351"/>
          </a:xfrm>
        </p:grpSpPr>
        <p:grpSp>
          <p:nvGrpSpPr>
            <p:cNvPr id="300" name="Group 105">
              <a:extLst>
                <a:ext uri="{FF2B5EF4-FFF2-40B4-BE49-F238E27FC236}">
                  <a16:creationId xmlns:a16="http://schemas.microsoft.com/office/drawing/2014/main" id="{6F6D90D3-75F4-4256-B80E-2EF9083CBD96}"/>
                </a:ext>
              </a:extLst>
            </p:cNvPr>
            <p:cNvGrpSpPr>
              <a:grpSpLocks noChangeAspect="1"/>
            </p:cNvGrpSpPr>
            <p:nvPr/>
          </p:nvGrpSpPr>
          <p:grpSpPr bwMode="auto">
            <a:xfrm>
              <a:off x="1468565" y="4261129"/>
              <a:ext cx="181559" cy="160449"/>
              <a:chOff x="1991" y="1544"/>
              <a:chExt cx="961" cy="906"/>
            </a:xfrm>
          </p:grpSpPr>
          <p:sp>
            <p:nvSpPr>
              <p:cNvPr id="328" name="Freeform 116">
                <a:extLst>
                  <a:ext uri="{FF2B5EF4-FFF2-40B4-BE49-F238E27FC236}">
                    <a16:creationId xmlns:a16="http://schemas.microsoft.com/office/drawing/2014/main" id="{4FAE424A-2508-42C4-8524-B2E936B9811D}"/>
                  </a:ext>
                </a:extLst>
              </p:cNvPr>
              <p:cNvSpPr>
                <a:spLocks/>
              </p:cNvSpPr>
              <p:nvPr/>
            </p:nvSpPr>
            <p:spPr bwMode="auto">
              <a:xfrm>
                <a:off x="2517" y="1846"/>
                <a:ext cx="435" cy="604"/>
              </a:xfrm>
              <a:custGeom>
                <a:avLst/>
                <a:gdLst>
                  <a:gd name="T0" fmla="*/ 5 w 52"/>
                  <a:gd name="T1" fmla="*/ 0 h 74"/>
                  <a:gd name="T2" fmla="*/ 0 w 52"/>
                  <a:gd name="T3" fmla="*/ 5 h 74"/>
                  <a:gd name="T4" fmla="*/ 0 w 52"/>
                  <a:gd name="T5" fmla="*/ 74 h 74"/>
                  <a:gd name="T6" fmla="*/ 52 w 52"/>
                  <a:gd name="T7" fmla="*/ 74 h 74"/>
                  <a:gd name="T8" fmla="*/ 52 w 52"/>
                  <a:gd name="T9" fmla="*/ 5 h 74"/>
                  <a:gd name="T10" fmla="*/ 47 w 52"/>
                  <a:gd name="T11" fmla="*/ 0 h 74"/>
                  <a:gd name="T12" fmla="*/ 5 w 52"/>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2" h="74">
                    <a:moveTo>
                      <a:pt x="5" y="0"/>
                    </a:moveTo>
                    <a:cubicBezTo>
                      <a:pt x="2" y="0"/>
                      <a:pt x="0" y="2"/>
                      <a:pt x="0" y="5"/>
                    </a:cubicBezTo>
                    <a:cubicBezTo>
                      <a:pt x="0" y="74"/>
                      <a:pt x="0" y="74"/>
                      <a:pt x="0" y="74"/>
                    </a:cubicBezTo>
                    <a:cubicBezTo>
                      <a:pt x="52" y="74"/>
                      <a:pt x="52" y="74"/>
                      <a:pt x="52" y="74"/>
                    </a:cubicBezTo>
                    <a:cubicBezTo>
                      <a:pt x="52" y="5"/>
                      <a:pt x="52" y="5"/>
                      <a:pt x="52" y="5"/>
                    </a:cubicBezTo>
                    <a:cubicBezTo>
                      <a:pt x="52" y="2"/>
                      <a:pt x="50" y="0"/>
                      <a:pt x="47" y="0"/>
                    </a:cubicBezTo>
                    <a:lnTo>
                      <a:pt x="5"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29" name="Freeform 106">
                <a:extLst>
                  <a:ext uri="{FF2B5EF4-FFF2-40B4-BE49-F238E27FC236}">
                    <a16:creationId xmlns:a16="http://schemas.microsoft.com/office/drawing/2014/main" id="{60BBBB1D-9EF3-4015-9DE7-AC75CAA1B7BF}"/>
                  </a:ext>
                </a:extLst>
              </p:cNvPr>
              <p:cNvSpPr>
                <a:spLocks/>
              </p:cNvSpPr>
              <p:nvPr/>
            </p:nvSpPr>
            <p:spPr bwMode="auto">
              <a:xfrm>
                <a:off x="1991" y="1544"/>
                <a:ext cx="585" cy="906"/>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0" name="Rectangle 107">
                <a:extLst>
                  <a:ext uri="{FF2B5EF4-FFF2-40B4-BE49-F238E27FC236}">
                    <a16:creationId xmlns:a16="http://schemas.microsoft.com/office/drawing/2014/main" id="{552EBE4D-59EF-43B6-933B-47C1B0646465}"/>
                  </a:ext>
                </a:extLst>
              </p:cNvPr>
              <p:cNvSpPr>
                <a:spLocks noChangeArrowheads="1"/>
              </p:cNvSpPr>
              <p:nvPr/>
            </p:nvSpPr>
            <p:spPr bwMode="auto">
              <a:xfrm>
                <a:off x="2099"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1" name="Rectangle 108">
                <a:extLst>
                  <a:ext uri="{FF2B5EF4-FFF2-40B4-BE49-F238E27FC236}">
                    <a16:creationId xmlns:a16="http://schemas.microsoft.com/office/drawing/2014/main" id="{220B1BBA-6E30-4EC8-9AF5-4D96C26BED16}"/>
                  </a:ext>
                </a:extLst>
              </p:cNvPr>
              <p:cNvSpPr>
                <a:spLocks noChangeArrowheads="1"/>
              </p:cNvSpPr>
              <p:nvPr/>
            </p:nvSpPr>
            <p:spPr bwMode="auto">
              <a:xfrm>
                <a:off x="2241"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2" name="Rectangle 109">
                <a:extLst>
                  <a:ext uri="{FF2B5EF4-FFF2-40B4-BE49-F238E27FC236}">
                    <a16:creationId xmlns:a16="http://schemas.microsoft.com/office/drawing/2014/main" id="{9B325ED7-60AF-47A9-8332-833CA8C831E1}"/>
                  </a:ext>
                </a:extLst>
              </p:cNvPr>
              <p:cNvSpPr>
                <a:spLocks noChangeArrowheads="1"/>
              </p:cNvSpPr>
              <p:nvPr/>
            </p:nvSpPr>
            <p:spPr bwMode="auto">
              <a:xfrm>
                <a:off x="2383"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3" name="Rectangle 110">
                <a:extLst>
                  <a:ext uri="{FF2B5EF4-FFF2-40B4-BE49-F238E27FC236}">
                    <a16:creationId xmlns:a16="http://schemas.microsoft.com/office/drawing/2014/main" id="{8E6813C6-18A2-4802-9CEE-1F9663886AF6}"/>
                  </a:ext>
                </a:extLst>
              </p:cNvPr>
              <p:cNvSpPr>
                <a:spLocks noChangeArrowheads="1"/>
              </p:cNvSpPr>
              <p:nvPr/>
            </p:nvSpPr>
            <p:spPr bwMode="auto">
              <a:xfrm>
                <a:off x="2099"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4" name="Rectangle 111">
                <a:extLst>
                  <a:ext uri="{FF2B5EF4-FFF2-40B4-BE49-F238E27FC236}">
                    <a16:creationId xmlns:a16="http://schemas.microsoft.com/office/drawing/2014/main" id="{DEC0F5D0-C0B9-4180-81C7-A4531477EC7E}"/>
                  </a:ext>
                </a:extLst>
              </p:cNvPr>
              <p:cNvSpPr>
                <a:spLocks noChangeArrowheads="1"/>
              </p:cNvSpPr>
              <p:nvPr/>
            </p:nvSpPr>
            <p:spPr bwMode="auto">
              <a:xfrm>
                <a:off x="2241"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5" name="Rectangle 112">
                <a:extLst>
                  <a:ext uri="{FF2B5EF4-FFF2-40B4-BE49-F238E27FC236}">
                    <a16:creationId xmlns:a16="http://schemas.microsoft.com/office/drawing/2014/main" id="{7C09AD2F-59B8-4D72-AC72-F2B35B8A7327}"/>
                  </a:ext>
                </a:extLst>
              </p:cNvPr>
              <p:cNvSpPr>
                <a:spLocks noChangeArrowheads="1"/>
              </p:cNvSpPr>
              <p:nvPr/>
            </p:nvSpPr>
            <p:spPr bwMode="auto">
              <a:xfrm>
                <a:off x="2383"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6" name="Rectangle 113">
                <a:extLst>
                  <a:ext uri="{FF2B5EF4-FFF2-40B4-BE49-F238E27FC236}">
                    <a16:creationId xmlns:a16="http://schemas.microsoft.com/office/drawing/2014/main" id="{14B5BAA0-7C8B-4071-AA47-40FBDA3B2B8E}"/>
                  </a:ext>
                </a:extLst>
              </p:cNvPr>
              <p:cNvSpPr>
                <a:spLocks noChangeArrowheads="1"/>
              </p:cNvSpPr>
              <p:nvPr/>
            </p:nvSpPr>
            <p:spPr bwMode="auto">
              <a:xfrm>
                <a:off x="2099"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7" name="Rectangle 114">
                <a:extLst>
                  <a:ext uri="{FF2B5EF4-FFF2-40B4-BE49-F238E27FC236}">
                    <a16:creationId xmlns:a16="http://schemas.microsoft.com/office/drawing/2014/main" id="{AA724F36-FEC1-4B7C-A6BC-9D1D990D7EA8}"/>
                  </a:ext>
                </a:extLst>
              </p:cNvPr>
              <p:cNvSpPr>
                <a:spLocks noChangeArrowheads="1"/>
              </p:cNvSpPr>
              <p:nvPr/>
            </p:nvSpPr>
            <p:spPr bwMode="auto">
              <a:xfrm>
                <a:off x="2241"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8" name="Rectangle 115">
                <a:extLst>
                  <a:ext uri="{FF2B5EF4-FFF2-40B4-BE49-F238E27FC236}">
                    <a16:creationId xmlns:a16="http://schemas.microsoft.com/office/drawing/2014/main" id="{8EC9D1E5-698A-435C-8EE3-E012234781DF}"/>
                  </a:ext>
                </a:extLst>
              </p:cNvPr>
              <p:cNvSpPr>
                <a:spLocks noChangeArrowheads="1"/>
              </p:cNvSpPr>
              <p:nvPr/>
            </p:nvSpPr>
            <p:spPr bwMode="auto">
              <a:xfrm>
                <a:off x="2383"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39" name="Rectangle 117">
                <a:extLst>
                  <a:ext uri="{FF2B5EF4-FFF2-40B4-BE49-F238E27FC236}">
                    <a16:creationId xmlns:a16="http://schemas.microsoft.com/office/drawing/2014/main" id="{A4050D7B-805D-42C5-A163-3B8C1559BFED}"/>
                  </a:ext>
                </a:extLst>
              </p:cNvPr>
              <p:cNvSpPr>
                <a:spLocks noChangeArrowheads="1"/>
              </p:cNvSpPr>
              <p:nvPr/>
            </p:nvSpPr>
            <p:spPr bwMode="auto">
              <a:xfrm>
                <a:off x="2629"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40" name="Rectangle 118">
                <a:extLst>
                  <a:ext uri="{FF2B5EF4-FFF2-40B4-BE49-F238E27FC236}">
                    <a16:creationId xmlns:a16="http://schemas.microsoft.com/office/drawing/2014/main" id="{C09192B3-9B58-4591-8925-E604A9368092}"/>
                  </a:ext>
                </a:extLst>
              </p:cNvPr>
              <p:cNvSpPr>
                <a:spLocks noChangeArrowheads="1"/>
              </p:cNvSpPr>
              <p:nvPr/>
            </p:nvSpPr>
            <p:spPr bwMode="auto">
              <a:xfrm>
                <a:off x="2725" y="1927"/>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41" name="Rectangle 119">
                <a:extLst>
                  <a:ext uri="{FF2B5EF4-FFF2-40B4-BE49-F238E27FC236}">
                    <a16:creationId xmlns:a16="http://schemas.microsoft.com/office/drawing/2014/main" id="{2B13A656-0F17-46FB-B28A-9266A1A3EBE2}"/>
                  </a:ext>
                </a:extLst>
              </p:cNvPr>
              <p:cNvSpPr>
                <a:spLocks noChangeArrowheads="1"/>
              </p:cNvSpPr>
              <p:nvPr/>
            </p:nvSpPr>
            <p:spPr bwMode="auto">
              <a:xfrm>
                <a:off x="2823"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42" name="Rectangle 120">
                <a:extLst>
                  <a:ext uri="{FF2B5EF4-FFF2-40B4-BE49-F238E27FC236}">
                    <a16:creationId xmlns:a16="http://schemas.microsoft.com/office/drawing/2014/main" id="{0E120697-880F-459F-AF3A-2268878C17F5}"/>
                  </a:ext>
                </a:extLst>
              </p:cNvPr>
              <p:cNvSpPr>
                <a:spLocks noChangeArrowheads="1"/>
              </p:cNvSpPr>
              <p:nvPr/>
            </p:nvSpPr>
            <p:spPr bwMode="auto">
              <a:xfrm>
                <a:off x="2629"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43" name="Rectangle 121">
                <a:extLst>
                  <a:ext uri="{FF2B5EF4-FFF2-40B4-BE49-F238E27FC236}">
                    <a16:creationId xmlns:a16="http://schemas.microsoft.com/office/drawing/2014/main" id="{4968B763-5AE8-4576-8E36-867D0342FC31}"/>
                  </a:ext>
                </a:extLst>
              </p:cNvPr>
              <p:cNvSpPr>
                <a:spLocks noChangeArrowheads="1"/>
              </p:cNvSpPr>
              <p:nvPr/>
            </p:nvSpPr>
            <p:spPr bwMode="auto">
              <a:xfrm>
                <a:off x="2725" y="2189"/>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44" name="Rectangle 122">
                <a:extLst>
                  <a:ext uri="{FF2B5EF4-FFF2-40B4-BE49-F238E27FC236}">
                    <a16:creationId xmlns:a16="http://schemas.microsoft.com/office/drawing/2014/main" id="{09B48724-E3E4-43FB-BAA9-DF911BAA77ED}"/>
                  </a:ext>
                </a:extLst>
              </p:cNvPr>
              <p:cNvSpPr>
                <a:spLocks noChangeArrowheads="1"/>
              </p:cNvSpPr>
              <p:nvPr/>
            </p:nvSpPr>
            <p:spPr bwMode="auto">
              <a:xfrm>
                <a:off x="2823"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45" name="Rectangle 123">
                <a:extLst>
                  <a:ext uri="{FF2B5EF4-FFF2-40B4-BE49-F238E27FC236}">
                    <a16:creationId xmlns:a16="http://schemas.microsoft.com/office/drawing/2014/main" id="{618D01AE-3646-4A9C-8434-D4035CD379F1}"/>
                  </a:ext>
                </a:extLst>
              </p:cNvPr>
              <p:cNvSpPr>
                <a:spLocks noChangeArrowheads="1"/>
              </p:cNvSpPr>
              <p:nvPr/>
            </p:nvSpPr>
            <p:spPr bwMode="auto">
              <a:xfrm>
                <a:off x="2629"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46" name="Rectangle 124">
                <a:extLst>
                  <a:ext uri="{FF2B5EF4-FFF2-40B4-BE49-F238E27FC236}">
                    <a16:creationId xmlns:a16="http://schemas.microsoft.com/office/drawing/2014/main" id="{CFE7258D-13EF-42EC-B010-41C46BF2F8EF}"/>
                  </a:ext>
                </a:extLst>
              </p:cNvPr>
              <p:cNvSpPr>
                <a:spLocks noChangeArrowheads="1"/>
              </p:cNvSpPr>
              <p:nvPr/>
            </p:nvSpPr>
            <p:spPr bwMode="auto">
              <a:xfrm>
                <a:off x="2725" y="2058"/>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47" name="Rectangle 125">
                <a:extLst>
                  <a:ext uri="{FF2B5EF4-FFF2-40B4-BE49-F238E27FC236}">
                    <a16:creationId xmlns:a16="http://schemas.microsoft.com/office/drawing/2014/main" id="{8FE8C637-C7D7-46BD-AA78-6DE7A9055271}"/>
                  </a:ext>
                </a:extLst>
              </p:cNvPr>
              <p:cNvSpPr>
                <a:spLocks noChangeArrowheads="1"/>
              </p:cNvSpPr>
              <p:nvPr/>
            </p:nvSpPr>
            <p:spPr bwMode="auto">
              <a:xfrm>
                <a:off x="2823"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grpSp>
          <p:nvGrpSpPr>
            <p:cNvPr id="301" name="Group 30">
              <a:extLst>
                <a:ext uri="{FF2B5EF4-FFF2-40B4-BE49-F238E27FC236}">
                  <a16:creationId xmlns:a16="http://schemas.microsoft.com/office/drawing/2014/main" id="{E920EFD0-23D3-4BF1-A1C4-A4B51489694C}"/>
                </a:ext>
              </a:extLst>
            </p:cNvPr>
            <p:cNvGrpSpPr>
              <a:grpSpLocks noChangeAspect="1"/>
            </p:cNvGrpSpPr>
            <p:nvPr/>
          </p:nvGrpSpPr>
          <p:grpSpPr bwMode="auto">
            <a:xfrm>
              <a:off x="403958" y="4601371"/>
              <a:ext cx="103097" cy="172423"/>
              <a:chOff x="1972" y="0"/>
              <a:chExt cx="1816" cy="3240"/>
            </a:xfrm>
          </p:grpSpPr>
          <p:sp>
            <p:nvSpPr>
              <p:cNvPr id="324" name="Freeform 31">
                <a:extLst>
                  <a:ext uri="{FF2B5EF4-FFF2-40B4-BE49-F238E27FC236}">
                    <a16:creationId xmlns:a16="http://schemas.microsoft.com/office/drawing/2014/main" id="{60B66044-DF78-4350-9EB0-58D9F7FF1646}"/>
                  </a:ext>
                </a:extLst>
              </p:cNvPr>
              <p:cNvSpPr>
                <a:spLocks noEditPoints="1"/>
              </p:cNvSpPr>
              <p:nvPr/>
            </p:nvSpPr>
            <p:spPr bwMode="auto">
              <a:xfrm>
                <a:off x="1972" y="68"/>
                <a:ext cx="1816" cy="3172"/>
              </a:xfrm>
              <a:custGeom>
                <a:avLst/>
                <a:gdLst>
                  <a:gd name="T0" fmla="*/ 5035 w 5479"/>
                  <a:gd name="T1" fmla="*/ 2296 h 9591"/>
                  <a:gd name="T2" fmla="*/ 2739 w 5479"/>
                  <a:gd name="T3" fmla="*/ 4592 h 9591"/>
                  <a:gd name="T4" fmla="*/ 443 w 5479"/>
                  <a:gd name="T5" fmla="*/ 2296 h 9591"/>
                  <a:gd name="T6" fmla="*/ 2739 w 5479"/>
                  <a:gd name="T7" fmla="*/ 0 h 9591"/>
                  <a:gd name="T8" fmla="*/ 5035 w 5479"/>
                  <a:gd name="T9" fmla="*/ 2296 h 9591"/>
                  <a:gd name="T10" fmla="*/ 5479 w 5479"/>
                  <a:gd name="T11" fmla="*/ 7187 h 9591"/>
                  <a:gd name="T12" fmla="*/ 5479 w 5479"/>
                  <a:gd name="T13" fmla="*/ 7187 h 9591"/>
                  <a:gd name="T14" fmla="*/ 5479 w 5479"/>
                  <a:gd name="T15" fmla="*/ 9591 h 9591"/>
                  <a:gd name="T16" fmla="*/ 0 w 5479"/>
                  <a:gd name="T17" fmla="*/ 9591 h 9591"/>
                  <a:gd name="T18" fmla="*/ 0 w 5479"/>
                  <a:gd name="T19" fmla="*/ 7187 h 9591"/>
                  <a:gd name="T20" fmla="*/ 1712 w 5479"/>
                  <a:gd name="T21" fmla="*/ 5488 h 9591"/>
                  <a:gd name="T22" fmla="*/ 3768 w 5479"/>
                  <a:gd name="T23" fmla="*/ 5488 h 9591"/>
                  <a:gd name="T24" fmla="*/ 5479 w 5479"/>
                  <a:gd name="T25" fmla="*/ 7187 h 9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9" h="9591">
                    <a:moveTo>
                      <a:pt x="5035" y="2296"/>
                    </a:moveTo>
                    <a:cubicBezTo>
                      <a:pt x="5035" y="3564"/>
                      <a:pt x="4007" y="4592"/>
                      <a:pt x="2739" y="4592"/>
                    </a:cubicBezTo>
                    <a:cubicBezTo>
                      <a:pt x="1471" y="4592"/>
                      <a:pt x="443" y="3564"/>
                      <a:pt x="443" y="2296"/>
                    </a:cubicBezTo>
                    <a:cubicBezTo>
                      <a:pt x="443" y="1028"/>
                      <a:pt x="1471" y="0"/>
                      <a:pt x="2739" y="0"/>
                    </a:cubicBezTo>
                    <a:cubicBezTo>
                      <a:pt x="4007" y="0"/>
                      <a:pt x="5035" y="1028"/>
                      <a:pt x="5035" y="2296"/>
                    </a:cubicBezTo>
                    <a:close/>
                    <a:moveTo>
                      <a:pt x="5479" y="7187"/>
                    </a:moveTo>
                    <a:cubicBezTo>
                      <a:pt x="5479" y="7187"/>
                      <a:pt x="5479" y="7187"/>
                      <a:pt x="5479" y="7187"/>
                    </a:cubicBezTo>
                    <a:cubicBezTo>
                      <a:pt x="5479" y="9591"/>
                      <a:pt x="5479" y="9591"/>
                      <a:pt x="5479" y="9591"/>
                    </a:cubicBezTo>
                    <a:cubicBezTo>
                      <a:pt x="0" y="9591"/>
                      <a:pt x="0" y="9591"/>
                      <a:pt x="0" y="9591"/>
                    </a:cubicBezTo>
                    <a:cubicBezTo>
                      <a:pt x="0" y="7187"/>
                      <a:pt x="0" y="7187"/>
                      <a:pt x="0" y="7187"/>
                    </a:cubicBezTo>
                    <a:cubicBezTo>
                      <a:pt x="0" y="6247"/>
                      <a:pt x="766" y="5488"/>
                      <a:pt x="1712" y="5488"/>
                    </a:cubicBezTo>
                    <a:cubicBezTo>
                      <a:pt x="1712" y="5488"/>
                      <a:pt x="1712" y="5488"/>
                      <a:pt x="3768" y="5488"/>
                    </a:cubicBezTo>
                    <a:cubicBezTo>
                      <a:pt x="4714" y="5488"/>
                      <a:pt x="5479" y="6247"/>
                      <a:pt x="5479" y="7187"/>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25" name="Freeform 32">
                <a:extLst>
                  <a:ext uri="{FF2B5EF4-FFF2-40B4-BE49-F238E27FC236}">
                    <a16:creationId xmlns:a16="http://schemas.microsoft.com/office/drawing/2014/main" id="{CC2AD0B7-79E8-4C18-ABC5-EECC6760A9DF}"/>
                  </a:ext>
                </a:extLst>
              </p:cNvPr>
              <p:cNvSpPr>
                <a:spLocks noEditPoints="1"/>
              </p:cNvSpPr>
              <p:nvPr/>
            </p:nvSpPr>
            <p:spPr bwMode="auto">
              <a:xfrm>
                <a:off x="2637" y="0"/>
                <a:ext cx="1055" cy="828"/>
              </a:xfrm>
              <a:custGeom>
                <a:avLst/>
                <a:gdLst>
                  <a:gd name="T0" fmla="*/ 2244 w 3184"/>
                  <a:gd name="T1" fmla="*/ 2136 h 2504"/>
                  <a:gd name="T2" fmla="*/ 2244 w 3184"/>
                  <a:gd name="T3" fmla="*/ 2312 h 2504"/>
                  <a:gd name="T4" fmla="*/ 2112 w 3184"/>
                  <a:gd name="T5" fmla="*/ 2444 h 2504"/>
                  <a:gd name="T6" fmla="*/ 968 w 3184"/>
                  <a:gd name="T7" fmla="*/ 2444 h 2504"/>
                  <a:gd name="T8" fmla="*/ 836 w 3184"/>
                  <a:gd name="T9" fmla="*/ 2312 h 2504"/>
                  <a:gd name="T10" fmla="*/ 836 w 3184"/>
                  <a:gd name="T11" fmla="*/ 2136 h 2504"/>
                  <a:gd name="T12" fmla="*/ 968 w 3184"/>
                  <a:gd name="T13" fmla="*/ 2004 h 2504"/>
                  <a:gd name="T14" fmla="*/ 2112 w 3184"/>
                  <a:gd name="T15" fmla="*/ 2004 h 2504"/>
                  <a:gd name="T16" fmla="*/ 2244 w 3184"/>
                  <a:gd name="T17" fmla="*/ 2136 h 2504"/>
                  <a:gd name="T18" fmla="*/ 734 w 3184"/>
                  <a:gd name="T19" fmla="*/ 55 h 2504"/>
                  <a:gd name="T20" fmla="*/ 426 w 3184"/>
                  <a:gd name="T21" fmla="*/ 74 h 2504"/>
                  <a:gd name="T22" fmla="*/ 308 w 3184"/>
                  <a:gd name="T23" fmla="*/ 0 h 2504"/>
                  <a:gd name="T24" fmla="*/ 132 w 3184"/>
                  <a:gd name="T25" fmla="*/ 0 h 2504"/>
                  <a:gd name="T26" fmla="*/ 0 w 3184"/>
                  <a:gd name="T27" fmla="*/ 132 h 2504"/>
                  <a:gd name="T28" fmla="*/ 0 w 3184"/>
                  <a:gd name="T29" fmla="*/ 1277 h 2504"/>
                  <a:gd name="T30" fmla="*/ 132 w 3184"/>
                  <a:gd name="T31" fmla="*/ 1409 h 2504"/>
                  <a:gd name="T32" fmla="*/ 308 w 3184"/>
                  <a:gd name="T33" fmla="*/ 1409 h 2504"/>
                  <a:gd name="T34" fmla="*/ 440 w 3184"/>
                  <a:gd name="T35" fmla="*/ 1277 h 2504"/>
                  <a:gd name="T36" fmla="*/ 440 w 3184"/>
                  <a:gd name="T37" fmla="*/ 227 h 2504"/>
                  <a:gd name="T38" fmla="*/ 734 w 3184"/>
                  <a:gd name="T39" fmla="*/ 208 h 2504"/>
                  <a:gd name="T40" fmla="*/ 3030 w 3184"/>
                  <a:gd name="T41" fmla="*/ 2504 h 2504"/>
                  <a:gd name="T42" fmla="*/ 3184 w 3184"/>
                  <a:gd name="T43" fmla="*/ 2504 h 2504"/>
                  <a:gd name="T44" fmla="*/ 734 w 3184"/>
                  <a:gd name="T45" fmla="*/ 55 h 2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4" h="2504">
                    <a:moveTo>
                      <a:pt x="2244" y="2136"/>
                    </a:moveTo>
                    <a:cubicBezTo>
                      <a:pt x="2244" y="2312"/>
                      <a:pt x="2244" y="2312"/>
                      <a:pt x="2244" y="2312"/>
                    </a:cubicBezTo>
                    <a:cubicBezTo>
                      <a:pt x="2244" y="2385"/>
                      <a:pt x="2185" y="2444"/>
                      <a:pt x="2112" y="2444"/>
                    </a:cubicBezTo>
                    <a:cubicBezTo>
                      <a:pt x="968" y="2444"/>
                      <a:pt x="968" y="2444"/>
                      <a:pt x="968" y="2444"/>
                    </a:cubicBezTo>
                    <a:cubicBezTo>
                      <a:pt x="895" y="2444"/>
                      <a:pt x="836" y="2385"/>
                      <a:pt x="836" y="2312"/>
                    </a:cubicBezTo>
                    <a:cubicBezTo>
                      <a:pt x="836" y="2136"/>
                      <a:pt x="836" y="2136"/>
                      <a:pt x="836" y="2136"/>
                    </a:cubicBezTo>
                    <a:cubicBezTo>
                      <a:pt x="836" y="2064"/>
                      <a:pt x="895" y="2004"/>
                      <a:pt x="968" y="2004"/>
                    </a:cubicBezTo>
                    <a:cubicBezTo>
                      <a:pt x="2112" y="2004"/>
                      <a:pt x="2112" y="2004"/>
                      <a:pt x="2112" y="2004"/>
                    </a:cubicBezTo>
                    <a:cubicBezTo>
                      <a:pt x="2185" y="2004"/>
                      <a:pt x="2244" y="2064"/>
                      <a:pt x="2244" y="2136"/>
                    </a:cubicBezTo>
                    <a:close/>
                    <a:moveTo>
                      <a:pt x="734" y="55"/>
                    </a:moveTo>
                    <a:cubicBezTo>
                      <a:pt x="630" y="55"/>
                      <a:pt x="527" y="61"/>
                      <a:pt x="426" y="74"/>
                    </a:cubicBezTo>
                    <a:cubicBezTo>
                      <a:pt x="405" y="30"/>
                      <a:pt x="360" y="0"/>
                      <a:pt x="308" y="0"/>
                    </a:cubicBezTo>
                    <a:cubicBezTo>
                      <a:pt x="132" y="0"/>
                      <a:pt x="132" y="0"/>
                      <a:pt x="132" y="0"/>
                    </a:cubicBezTo>
                    <a:cubicBezTo>
                      <a:pt x="59" y="0"/>
                      <a:pt x="0" y="60"/>
                      <a:pt x="0" y="132"/>
                    </a:cubicBezTo>
                    <a:cubicBezTo>
                      <a:pt x="0" y="1277"/>
                      <a:pt x="0" y="1277"/>
                      <a:pt x="0" y="1277"/>
                    </a:cubicBezTo>
                    <a:cubicBezTo>
                      <a:pt x="0" y="1349"/>
                      <a:pt x="59" y="1409"/>
                      <a:pt x="132" y="1409"/>
                    </a:cubicBezTo>
                    <a:cubicBezTo>
                      <a:pt x="308" y="1409"/>
                      <a:pt x="308" y="1409"/>
                      <a:pt x="308" y="1409"/>
                    </a:cubicBezTo>
                    <a:cubicBezTo>
                      <a:pt x="381" y="1409"/>
                      <a:pt x="440" y="1349"/>
                      <a:pt x="440" y="1277"/>
                    </a:cubicBezTo>
                    <a:cubicBezTo>
                      <a:pt x="440" y="227"/>
                      <a:pt x="440" y="227"/>
                      <a:pt x="440" y="227"/>
                    </a:cubicBezTo>
                    <a:cubicBezTo>
                      <a:pt x="536" y="215"/>
                      <a:pt x="635" y="208"/>
                      <a:pt x="734" y="208"/>
                    </a:cubicBezTo>
                    <a:cubicBezTo>
                      <a:pt x="2002" y="208"/>
                      <a:pt x="3030" y="1236"/>
                      <a:pt x="3030" y="2504"/>
                    </a:cubicBezTo>
                    <a:cubicBezTo>
                      <a:pt x="3184" y="2504"/>
                      <a:pt x="3184" y="2504"/>
                      <a:pt x="3184" y="2504"/>
                    </a:cubicBezTo>
                    <a:cubicBezTo>
                      <a:pt x="3184" y="1151"/>
                      <a:pt x="2087" y="55"/>
                      <a:pt x="734" y="55"/>
                    </a:cubicBezTo>
                    <a:close/>
                  </a:path>
                </a:pathLst>
              </a:custGeom>
              <a:solidFill>
                <a:srgbClr val="018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26" name="Freeform 33">
                <a:extLst>
                  <a:ext uri="{FF2B5EF4-FFF2-40B4-BE49-F238E27FC236}">
                    <a16:creationId xmlns:a16="http://schemas.microsoft.com/office/drawing/2014/main" id="{40EE1C52-0C40-40FB-A2A0-90299098C74D}"/>
                  </a:ext>
                </a:extLst>
              </p:cNvPr>
              <p:cNvSpPr>
                <a:spLocks/>
              </p:cNvSpPr>
              <p:nvPr/>
            </p:nvSpPr>
            <p:spPr bwMode="auto">
              <a:xfrm>
                <a:off x="3285" y="466"/>
                <a:ext cx="453" cy="539"/>
              </a:xfrm>
              <a:custGeom>
                <a:avLst/>
                <a:gdLst>
                  <a:gd name="T0" fmla="*/ 1367 w 1367"/>
                  <a:gd name="T1" fmla="*/ 387 h 1631"/>
                  <a:gd name="T2" fmla="*/ 1367 w 1367"/>
                  <a:gd name="T3" fmla="*/ 1244 h 1631"/>
                  <a:gd name="T4" fmla="*/ 980 w 1367"/>
                  <a:gd name="T5" fmla="*/ 1631 h 1631"/>
                  <a:gd name="T6" fmla="*/ 387 w 1367"/>
                  <a:gd name="T7" fmla="*/ 1631 h 1631"/>
                  <a:gd name="T8" fmla="*/ 0 w 1367"/>
                  <a:gd name="T9" fmla="*/ 1244 h 1631"/>
                  <a:gd name="T10" fmla="*/ 0 w 1367"/>
                  <a:gd name="T11" fmla="*/ 387 h 1631"/>
                  <a:gd name="T12" fmla="*/ 387 w 1367"/>
                  <a:gd name="T13" fmla="*/ 0 h 1631"/>
                  <a:gd name="T14" fmla="*/ 980 w 1367"/>
                  <a:gd name="T15" fmla="*/ 0 h 1631"/>
                  <a:gd name="T16" fmla="*/ 1367 w 1367"/>
                  <a:gd name="T17" fmla="*/ 387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7" h="1631">
                    <a:moveTo>
                      <a:pt x="1367" y="387"/>
                    </a:moveTo>
                    <a:cubicBezTo>
                      <a:pt x="1367" y="1244"/>
                      <a:pt x="1367" y="1244"/>
                      <a:pt x="1367" y="1244"/>
                    </a:cubicBezTo>
                    <a:cubicBezTo>
                      <a:pt x="1367" y="1457"/>
                      <a:pt x="1193" y="1631"/>
                      <a:pt x="980" y="1631"/>
                    </a:cubicBezTo>
                    <a:cubicBezTo>
                      <a:pt x="387" y="1631"/>
                      <a:pt x="387" y="1631"/>
                      <a:pt x="387" y="1631"/>
                    </a:cubicBezTo>
                    <a:cubicBezTo>
                      <a:pt x="174" y="1631"/>
                      <a:pt x="0" y="1457"/>
                      <a:pt x="0" y="1244"/>
                    </a:cubicBezTo>
                    <a:cubicBezTo>
                      <a:pt x="0" y="387"/>
                      <a:pt x="0" y="387"/>
                      <a:pt x="0" y="387"/>
                    </a:cubicBezTo>
                    <a:cubicBezTo>
                      <a:pt x="0" y="174"/>
                      <a:pt x="174" y="0"/>
                      <a:pt x="387" y="0"/>
                    </a:cubicBezTo>
                    <a:cubicBezTo>
                      <a:pt x="980" y="0"/>
                      <a:pt x="980" y="0"/>
                      <a:pt x="980" y="0"/>
                    </a:cubicBezTo>
                    <a:cubicBezTo>
                      <a:pt x="1193" y="0"/>
                      <a:pt x="1367" y="174"/>
                      <a:pt x="1367" y="387"/>
                    </a:cubicBezTo>
                    <a:close/>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27" name="Oval 34">
                <a:extLst>
                  <a:ext uri="{FF2B5EF4-FFF2-40B4-BE49-F238E27FC236}">
                    <a16:creationId xmlns:a16="http://schemas.microsoft.com/office/drawing/2014/main" id="{F9C0110F-A069-499E-A6F5-FD493F1B48D0}"/>
                  </a:ext>
                </a:extLst>
              </p:cNvPr>
              <p:cNvSpPr>
                <a:spLocks noChangeArrowheads="1"/>
              </p:cNvSpPr>
              <p:nvPr/>
            </p:nvSpPr>
            <p:spPr bwMode="auto">
              <a:xfrm>
                <a:off x="2380" y="406"/>
                <a:ext cx="658" cy="658"/>
              </a:xfrm>
              <a:prstGeom prst="ellipse">
                <a:avLst/>
              </a:prstGeom>
              <a:solidFill>
                <a:srgbClr val="0147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grpSp>
          <p:nvGrpSpPr>
            <p:cNvPr id="302" name="Group 301">
              <a:extLst>
                <a:ext uri="{FF2B5EF4-FFF2-40B4-BE49-F238E27FC236}">
                  <a16:creationId xmlns:a16="http://schemas.microsoft.com/office/drawing/2014/main" id="{5E920872-06D2-4432-89FB-F81342361524}"/>
                </a:ext>
              </a:extLst>
            </p:cNvPr>
            <p:cNvGrpSpPr/>
            <p:nvPr/>
          </p:nvGrpSpPr>
          <p:grpSpPr>
            <a:xfrm>
              <a:off x="1497841" y="3875253"/>
              <a:ext cx="123007" cy="159268"/>
              <a:chOff x="359686" y="1973323"/>
              <a:chExt cx="331311" cy="457636"/>
            </a:xfrm>
          </p:grpSpPr>
          <p:sp>
            <p:nvSpPr>
              <p:cNvPr id="320" name="Rectangle: Rounded Corners 763">
                <a:extLst>
                  <a:ext uri="{FF2B5EF4-FFF2-40B4-BE49-F238E27FC236}">
                    <a16:creationId xmlns:a16="http://schemas.microsoft.com/office/drawing/2014/main" id="{1FA3A058-30F1-47AA-8C97-76A7964A2324}"/>
                  </a:ext>
                </a:extLst>
              </p:cNvPr>
              <p:cNvSpPr/>
              <p:nvPr/>
            </p:nvSpPr>
            <p:spPr>
              <a:xfrm>
                <a:off x="402186" y="2146685"/>
                <a:ext cx="245299" cy="127431"/>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321" name="Group 320">
                <a:extLst>
                  <a:ext uri="{FF2B5EF4-FFF2-40B4-BE49-F238E27FC236}">
                    <a16:creationId xmlns:a16="http://schemas.microsoft.com/office/drawing/2014/main" id="{FF25C242-D66F-42A1-8024-E85A40D4355A}"/>
                  </a:ext>
                </a:extLst>
              </p:cNvPr>
              <p:cNvGrpSpPr/>
              <p:nvPr/>
            </p:nvGrpSpPr>
            <p:grpSpPr>
              <a:xfrm>
                <a:off x="359686" y="1973323"/>
                <a:ext cx="331311" cy="457636"/>
                <a:chOff x="649288" y="3575048"/>
                <a:chExt cx="220663" cy="304799"/>
              </a:xfrm>
            </p:grpSpPr>
            <p:sp>
              <p:nvSpPr>
                <p:cNvPr id="322" name="Freeform 63">
                  <a:extLst>
                    <a:ext uri="{FF2B5EF4-FFF2-40B4-BE49-F238E27FC236}">
                      <a16:creationId xmlns:a16="http://schemas.microsoft.com/office/drawing/2014/main" id="{499595D0-8912-4B1E-ACB8-FCBE5A3B31D5}"/>
                    </a:ext>
                  </a:extLst>
                </p:cNvPr>
                <p:cNvSpPr>
                  <a:spLocks noEditPoints="1"/>
                </p:cNvSpPr>
                <p:nvPr/>
              </p:nvSpPr>
              <p:spPr bwMode="auto">
                <a:xfrm>
                  <a:off x="649288" y="3808410"/>
                  <a:ext cx="220663" cy="71437"/>
                </a:xfrm>
                <a:custGeom>
                  <a:avLst/>
                  <a:gdLst>
                    <a:gd name="T0" fmla="*/ 213 w 213"/>
                    <a:gd name="T1" fmla="*/ 71 h 71"/>
                    <a:gd name="T2" fmla="*/ 186 w 213"/>
                    <a:gd name="T3" fmla="*/ 71 h 71"/>
                    <a:gd name="T4" fmla="*/ 184 w 213"/>
                    <a:gd name="T5" fmla="*/ 69 h 71"/>
                    <a:gd name="T6" fmla="*/ 176 w 213"/>
                    <a:gd name="T7" fmla="*/ 64 h 71"/>
                    <a:gd name="T8" fmla="*/ 38 w 213"/>
                    <a:gd name="T9" fmla="*/ 64 h 71"/>
                    <a:gd name="T10" fmla="*/ 29 w 213"/>
                    <a:gd name="T11" fmla="*/ 69 h 71"/>
                    <a:gd name="T12" fmla="*/ 27 w 213"/>
                    <a:gd name="T13" fmla="*/ 71 h 71"/>
                    <a:gd name="T14" fmla="*/ 0 w 213"/>
                    <a:gd name="T15" fmla="*/ 71 h 71"/>
                    <a:gd name="T16" fmla="*/ 48 w 213"/>
                    <a:gd name="T17" fmla="*/ 0 h 71"/>
                    <a:gd name="T18" fmla="*/ 165 w 213"/>
                    <a:gd name="T19" fmla="*/ 0 h 71"/>
                    <a:gd name="T20" fmla="*/ 187 w 213"/>
                    <a:gd name="T21" fmla="*/ 34 h 71"/>
                    <a:gd name="T22" fmla="*/ 213 w 213"/>
                    <a:gd name="T23" fmla="*/ 71 h 71"/>
                    <a:gd name="T24" fmla="*/ 47 w 213"/>
                    <a:gd name="T25" fmla="*/ 41 h 71"/>
                    <a:gd name="T26" fmla="*/ 166 w 213"/>
                    <a:gd name="T27" fmla="*/ 41 h 71"/>
                    <a:gd name="T28" fmla="*/ 157 w 213"/>
                    <a:gd name="T29" fmla="*/ 29 h 71"/>
                    <a:gd name="T30" fmla="*/ 146 w 213"/>
                    <a:gd name="T31" fmla="*/ 23 h 71"/>
                    <a:gd name="T32" fmla="*/ 66 w 213"/>
                    <a:gd name="T33" fmla="*/ 23 h 71"/>
                    <a:gd name="T34" fmla="*/ 54 w 213"/>
                    <a:gd name="T35" fmla="*/ 29 h 71"/>
                    <a:gd name="T36" fmla="*/ 47 w 213"/>
                    <a:gd name="T37" fmla="*/ 4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3" h="71">
                      <a:moveTo>
                        <a:pt x="213" y="71"/>
                      </a:moveTo>
                      <a:cubicBezTo>
                        <a:pt x="186" y="71"/>
                        <a:pt x="186" y="71"/>
                        <a:pt x="186" y="71"/>
                      </a:cubicBezTo>
                      <a:cubicBezTo>
                        <a:pt x="184" y="69"/>
                        <a:pt x="184" y="69"/>
                        <a:pt x="184" y="69"/>
                      </a:cubicBezTo>
                      <a:cubicBezTo>
                        <a:pt x="182" y="66"/>
                        <a:pt x="179" y="64"/>
                        <a:pt x="176" y="64"/>
                      </a:cubicBezTo>
                      <a:cubicBezTo>
                        <a:pt x="38" y="64"/>
                        <a:pt x="38" y="64"/>
                        <a:pt x="38" y="64"/>
                      </a:cubicBezTo>
                      <a:cubicBezTo>
                        <a:pt x="35" y="64"/>
                        <a:pt x="31" y="66"/>
                        <a:pt x="29" y="69"/>
                      </a:cubicBezTo>
                      <a:cubicBezTo>
                        <a:pt x="27" y="71"/>
                        <a:pt x="27" y="71"/>
                        <a:pt x="27" y="71"/>
                      </a:cubicBezTo>
                      <a:cubicBezTo>
                        <a:pt x="0" y="71"/>
                        <a:pt x="0" y="71"/>
                        <a:pt x="0" y="71"/>
                      </a:cubicBezTo>
                      <a:cubicBezTo>
                        <a:pt x="48" y="0"/>
                        <a:pt x="48" y="0"/>
                        <a:pt x="48" y="0"/>
                      </a:cubicBezTo>
                      <a:cubicBezTo>
                        <a:pt x="165" y="0"/>
                        <a:pt x="165" y="0"/>
                        <a:pt x="165" y="0"/>
                      </a:cubicBezTo>
                      <a:cubicBezTo>
                        <a:pt x="165" y="0"/>
                        <a:pt x="180" y="23"/>
                        <a:pt x="187" y="34"/>
                      </a:cubicBezTo>
                      <a:cubicBezTo>
                        <a:pt x="196" y="46"/>
                        <a:pt x="204" y="59"/>
                        <a:pt x="213" y="71"/>
                      </a:cubicBezTo>
                      <a:close/>
                      <a:moveTo>
                        <a:pt x="47" y="41"/>
                      </a:moveTo>
                      <a:cubicBezTo>
                        <a:pt x="166" y="41"/>
                        <a:pt x="166" y="41"/>
                        <a:pt x="166" y="41"/>
                      </a:cubicBezTo>
                      <a:cubicBezTo>
                        <a:pt x="157" y="29"/>
                        <a:pt x="157" y="29"/>
                        <a:pt x="157" y="29"/>
                      </a:cubicBezTo>
                      <a:cubicBezTo>
                        <a:pt x="155" y="25"/>
                        <a:pt x="150" y="23"/>
                        <a:pt x="146" y="23"/>
                      </a:cubicBezTo>
                      <a:cubicBezTo>
                        <a:pt x="66" y="23"/>
                        <a:pt x="66" y="23"/>
                        <a:pt x="66" y="23"/>
                      </a:cubicBezTo>
                      <a:cubicBezTo>
                        <a:pt x="61" y="23"/>
                        <a:pt x="56" y="25"/>
                        <a:pt x="54" y="29"/>
                      </a:cubicBezTo>
                      <a:lnTo>
                        <a:pt x="47" y="4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323" name="Freeform 64">
                  <a:extLst>
                    <a:ext uri="{FF2B5EF4-FFF2-40B4-BE49-F238E27FC236}">
                      <a16:creationId xmlns:a16="http://schemas.microsoft.com/office/drawing/2014/main" id="{A79523ED-59FB-47CD-AEED-2260057EF58B}"/>
                    </a:ext>
                  </a:extLst>
                </p:cNvPr>
                <p:cNvSpPr>
                  <a:spLocks noEditPoints="1"/>
                </p:cNvSpPr>
                <p:nvPr/>
              </p:nvSpPr>
              <p:spPr bwMode="auto">
                <a:xfrm>
                  <a:off x="668338" y="3575048"/>
                  <a:ext cx="182563" cy="212725"/>
                </a:xfrm>
                <a:custGeom>
                  <a:avLst/>
                  <a:gdLst>
                    <a:gd name="T0" fmla="*/ 177 w 177"/>
                    <a:gd name="T1" fmla="*/ 18 h 211"/>
                    <a:gd name="T2" fmla="*/ 160 w 177"/>
                    <a:gd name="T3" fmla="*/ 0 h 211"/>
                    <a:gd name="T4" fmla="*/ 17 w 177"/>
                    <a:gd name="T5" fmla="*/ 0 h 211"/>
                    <a:gd name="T6" fmla="*/ 0 w 177"/>
                    <a:gd name="T7" fmla="*/ 18 h 211"/>
                    <a:gd name="T8" fmla="*/ 0 w 177"/>
                    <a:gd name="T9" fmla="*/ 193 h 211"/>
                    <a:gd name="T10" fmla="*/ 17 w 177"/>
                    <a:gd name="T11" fmla="*/ 211 h 211"/>
                    <a:gd name="T12" fmla="*/ 160 w 177"/>
                    <a:gd name="T13" fmla="*/ 211 h 211"/>
                    <a:gd name="T14" fmla="*/ 177 w 177"/>
                    <a:gd name="T15" fmla="*/ 193 h 211"/>
                    <a:gd name="T16" fmla="*/ 177 w 177"/>
                    <a:gd name="T17" fmla="*/ 18 h 211"/>
                    <a:gd name="T18" fmla="*/ 156 w 177"/>
                    <a:gd name="T19" fmla="*/ 64 h 211"/>
                    <a:gd name="T20" fmla="*/ 116 w 177"/>
                    <a:gd name="T21" fmla="*/ 104 h 211"/>
                    <a:gd name="T22" fmla="*/ 58 w 177"/>
                    <a:gd name="T23" fmla="*/ 104 h 211"/>
                    <a:gd name="T24" fmla="*/ 19 w 177"/>
                    <a:gd name="T25" fmla="*/ 64 h 211"/>
                    <a:gd name="T26" fmla="*/ 19 w 177"/>
                    <a:gd name="T27" fmla="*/ 64 h 211"/>
                    <a:gd name="T28" fmla="*/ 58 w 177"/>
                    <a:gd name="T29" fmla="*/ 25 h 211"/>
                    <a:gd name="T30" fmla="*/ 116 w 177"/>
                    <a:gd name="T31" fmla="*/ 25 h 211"/>
                    <a:gd name="T32" fmla="*/ 156 w 177"/>
                    <a:gd name="T33" fmla="*/ 64 h 211"/>
                    <a:gd name="T34" fmla="*/ 39 w 177"/>
                    <a:gd name="T35" fmla="*/ 186 h 211"/>
                    <a:gd name="T36" fmla="*/ 20 w 177"/>
                    <a:gd name="T37" fmla="*/ 168 h 211"/>
                    <a:gd name="T38" fmla="*/ 39 w 177"/>
                    <a:gd name="T39" fmla="*/ 149 h 211"/>
                    <a:gd name="T40" fmla="*/ 57 w 177"/>
                    <a:gd name="T41" fmla="*/ 168 h 211"/>
                    <a:gd name="T42" fmla="*/ 39 w 177"/>
                    <a:gd name="T43" fmla="*/ 186 h 211"/>
                    <a:gd name="T44" fmla="*/ 139 w 177"/>
                    <a:gd name="T45" fmla="*/ 186 h 211"/>
                    <a:gd name="T46" fmla="*/ 121 w 177"/>
                    <a:gd name="T47" fmla="*/ 168 h 211"/>
                    <a:gd name="T48" fmla="*/ 139 w 177"/>
                    <a:gd name="T49" fmla="*/ 149 h 211"/>
                    <a:gd name="T50" fmla="*/ 157 w 177"/>
                    <a:gd name="T51" fmla="*/ 168 h 211"/>
                    <a:gd name="T52" fmla="*/ 139 w 177"/>
                    <a:gd name="T53" fmla="*/ 18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211">
                      <a:moveTo>
                        <a:pt x="177" y="18"/>
                      </a:moveTo>
                      <a:cubicBezTo>
                        <a:pt x="177" y="8"/>
                        <a:pt x="170" y="0"/>
                        <a:pt x="160" y="0"/>
                      </a:cubicBezTo>
                      <a:cubicBezTo>
                        <a:pt x="17" y="0"/>
                        <a:pt x="17" y="0"/>
                        <a:pt x="17" y="0"/>
                      </a:cubicBezTo>
                      <a:cubicBezTo>
                        <a:pt x="7" y="0"/>
                        <a:pt x="0" y="8"/>
                        <a:pt x="0" y="18"/>
                      </a:cubicBezTo>
                      <a:cubicBezTo>
                        <a:pt x="0" y="193"/>
                        <a:pt x="0" y="193"/>
                        <a:pt x="0" y="193"/>
                      </a:cubicBezTo>
                      <a:cubicBezTo>
                        <a:pt x="0" y="203"/>
                        <a:pt x="7" y="211"/>
                        <a:pt x="17" y="211"/>
                      </a:cubicBezTo>
                      <a:cubicBezTo>
                        <a:pt x="160" y="211"/>
                        <a:pt x="160" y="211"/>
                        <a:pt x="160" y="211"/>
                      </a:cubicBezTo>
                      <a:cubicBezTo>
                        <a:pt x="170" y="211"/>
                        <a:pt x="177" y="203"/>
                        <a:pt x="177" y="193"/>
                      </a:cubicBezTo>
                      <a:lnTo>
                        <a:pt x="177" y="18"/>
                      </a:lnTo>
                      <a:close/>
                      <a:moveTo>
                        <a:pt x="156" y="64"/>
                      </a:moveTo>
                      <a:cubicBezTo>
                        <a:pt x="156" y="86"/>
                        <a:pt x="138" y="104"/>
                        <a:pt x="116" y="104"/>
                      </a:cubicBezTo>
                      <a:cubicBezTo>
                        <a:pt x="58" y="104"/>
                        <a:pt x="58" y="104"/>
                        <a:pt x="58" y="104"/>
                      </a:cubicBezTo>
                      <a:cubicBezTo>
                        <a:pt x="36" y="104"/>
                        <a:pt x="19" y="86"/>
                        <a:pt x="19" y="64"/>
                      </a:cubicBezTo>
                      <a:cubicBezTo>
                        <a:pt x="19" y="64"/>
                        <a:pt x="19" y="64"/>
                        <a:pt x="19" y="64"/>
                      </a:cubicBezTo>
                      <a:cubicBezTo>
                        <a:pt x="19" y="43"/>
                        <a:pt x="36" y="25"/>
                        <a:pt x="58" y="25"/>
                      </a:cubicBezTo>
                      <a:cubicBezTo>
                        <a:pt x="116" y="25"/>
                        <a:pt x="116" y="25"/>
                        <a:pt x="116" y="25"/>
                      </a:cubicBezTo>
                      <a:cubicBezTo>
                        <a:pt x="138" y="25"/>
                        <a:pt x="156" y="43"/>
                        <a:pt x="156" y="64"/>
                      </a:cubicBezTo>
                      <a:close/>
                      <a:moveTo>
                        <a:pt x="39" y="186"/>
                      </a:moveTo>
                      <a:cubicBezTo>
                        <a:pt x="28" y="186"/>
                        <a:pt x="20" y="178"/>
                        <a:pt x="20" y="168"/>
                      </a:cubicBezTo>
                      <a:cubicBezTo>
                        <a:pt x="20" y="158"/>
                        <a:pt x="28" y="149"/>
                        <a:pt x="39" y="149"/>
                      </a:cubicBezTo>
                      <a:cubicBezTo>
                        <a:pt x="49" y="149"/>
                        <a:pt x="57" y="158"/>
                        <a:pt x="57" y="168"/>
                      </a:cubicBezTo>
                      <a:cubicBezTo>
                        <a:pt x="57" y="178"/>
                        <a:pt x="49" y="186"/>
                        <a:pt x="39" y="186"/>
                      </a:cubicBezTo>
                      <a:close/>
                      <a:moveTo>
                        <a:pt x="139" y="186"/>
                      </a:moveTo>
                      <a:cubicBezTo>
                        <a:pt x="129" y="186"/>
                        <a:pt x="121" y="178"/>
                        <a:pt x="121" y="168"/>
                      </a:cubicBezTo>
                      <a:cubicBezTo>
                        <a:pt x="121" y="158"/>
                        <a:pt x="129" y="149"/>
                        <a:pt x="139" y="149"/>
                      </a:cubicBezTo>
                      <a:cubicBezTo>
                        <a:pt x="149" y="149"/>
                        <a:pt x="157" y="158"/>
                        <a:pt x="157" y="168"/>
                      </a:cubicBezTo>
                      <a:cubicBezTo>
                        <a:pt x="157" y="178"/>
                        <a:pt x="149" y="186"/>
                        <a:pt x="139" y="18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grpSp>
        <p:grpSp>
          <p:nvGrpSpPr>
            <p:cNvPr id="303" name="Group 302">
              <a:extLst>
                <a:ext uri="{FF2B5EF4-FFF2-40B4-BE49-F238E27FC236}">
                  <a16:creationId xmlns:a16="http://schemas.microsoft.com/office/drawing/2014/main" id="{AF418B23-297B-4509-BEBB-524B41C4EE9E}"/>
                </a:ext>
              </a:extLst>
            </p:cNvPr>
            <p:cNvGrpSpPr>
              <a:grpSpLocks noChangeAspect="1"/>
            </p:cNvGrpSpPr>
            <p:nvPr/>
          </p:nvGrpSpPr>
          <p:grpSpPr>
            <a:xfrm>
              <a:off x="364337" y="4241293"/>
              <a:ext cx="182338" cy="169296"/>
              <a:chOff x="7217546" y="3327525"/>
              <a:chExt cx="524977" cy="519986"/>
            </a:xfrm>
            <a:solidFill>
              <a:schemeClr val="accent1"/>
            </a:solidFill>
          </p:grpSpPr>
          <p:sp>
            <p:nvSpPr>
              <p:cNvPr id="315" name="Freeform 108">
                <a:extLst>
                  <a:ext uri="{FF2B5EF4-FFF2-40B4-BE49-F238E27FC236}">
                    <a16:creationId xmlns:a16="http://schemas.microsoft.com/office/drawing/2014/main" id="{8FC29353-D64B-41D7-B313-E1008DE61BB5}"/>
                  </a:ext>
                </a:extLst>
              </p:cNvPr>
              <p:cNvSpPr>
                <a:spLocks/>
              </p:cNvSpPr>
              <p:nvPr/>
            </p:nvSpPr>
            <p:spPr bwMode="auto">
              <a:xfrm>
                <a:off x="7225541" y="3327525"/>
                <a:ext cx="516982" cy="387987"/>
              </a:xfrm>
              <a:custGeom>
                <a:avLst/>
                <a:gdLst>
                  <a:gd name="T0" fmla="*/ 199 w 219"/>
                  <a:gd name="T1" fmla="*/ 164 h 164"/>
                  <a:gd name="T2" fmla="*/ 197 w 219"/>
                  <a:gd name="T3" fmla="*/ 164 h 164"/>
                  <a:gd name="T4" fmla="*/ 194 w 219"/>
                  <a:gd name="T5" fmla="*/ 156 h 164"/>
                  <a:gd name="T6" fmla="*/ 199 w 219"/>
                  <a:gd name="T7" fmla="*/ 81 h 164"/>
                  <a:gd name="T8" fmla="*/ 150 w 219"/>
                  <a:gd name="T9" fmla="*/ 25 h 164"/>
                  <a:gd name="T10" fmla="*/ 75 w 219"/>
                  <a:gd name="T11" fmla="*/ 20 h 164"/>
                  <a:gd name="T12" fmla="*/ 19 w 219"/>
                  <a:gd name="T13" fmla="*/ 70 h 164"/>
                  <a:gd name="T14" fmla="*/ 12 w 219"/>
                  <a:gd name="T15" fmla="*/ 90 h 164"/>
                  <a:gd name="T16" fmla="*/ 5 w 219"/>
                  <a:gd name="T17" fmla="*/ 94 h 164"/>
                  <a:gd name="T18" fmla="*/ 0 w 219"/>
                  <a:gd name="T19" fmla="*/ 87 h 164"/>
                  <a:gd name="T20" fmla="*/ 9 w 219"/>
                  <a:gd name="T21" fmla="*/ 65 h 164"/>
                  <a:gd name="T22" fmla="*/ 71 w 219"/>
                  <a:gd name="T23" fmla="*/ 10 h 164"/>
                  <a:gd name="T24" fmla="*/ 155 w 219"/>
                  <a:gd name="T25" fmla="*/ 15 h 164"/>
                  <a:gd name="T26" fmla="*/ 210 w 219"/>
                  <a:gd name="T27" fmla="*/ 78 h 164"/>
                  <a:gd name="T28" fmla="*/ 204 w 219"/>
                  <a:gd name="T29" fmla="*/ 161 h 164"/>
                  <a:gd name="T30" fmla="*/ 199 w 219"/>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64">
                    <a:moveTo>
                      <a:pt x="199" y="164"/>
                    </a:moveTo>
                    <a:cubicBezTo>
                      <a:pt x="198" y="164"/>
                      <a:pt x="197" y="164"/>
                      <a:pt x="197" y="164"/>
                    </a:cubicBezTo>
                    <a:cubicBezTo>
                      <a:pt x="194" y="162"/>
                      <a:pt x="193" y="159"/>
                      <a:pt x="194" y="156"/>
                    </a:cubicBezTo>
                    <a:cubicBezTo>
                      <a:pt x="206" y="133"/>
                      <a:pt x="207" y="106"/>
                      <a:pt x="199" y="81"/>
                    </a:cubicBezTo>
                    <a:cubicBezTo>
                      <a:pt x="191" y="57"/>
                      <a:pt x="173" y="37"/>
                      <a:pt x="150" y="25"/>
                    </a:cubicBezTo>
                    <a:cubicBezTo>
                      <a:pt x="126" y="14"/>
                      <a:pt x="100" y="12"/>
                      <a:pt x="75" y="20"/>
                    </a:cubicBezTo>
                    <a:cubicBezTo>
                      <a:pt x="50" y="29"/>
                      <a:pt x="31" y="46"/>
                      <a:pt x="19" y="70"/>
                    </a:cubicBezTo>
                    <a:cubicBezTo>
                      <a:pt x="16" y="76"/>
                      <a:pt x="13" y="83"/>
                      <a:pt x="12" y="90"/>
                    </a:cubicBezTo>
                    <a:cubicBezTo>
                      <a:pt x="11" y="93"/>
                      <a:pt x="8" y="95"/>
                      <a:pt x="5" y="94"/>
                    </a:cubicBezTo>
                    <a:cubicBezTo>
                      <a:pt x="2" y="94"/>
                      <a:pt x="0" y="90"/>
                      <a:pt x="0" y="87"/>
                    </a:cubicBezTo>
                    <a:cubicBezTo>
                      <a:pt x="2" y="80"/>
                      <a:pt x="5" y="72"/>
                      <a:pt x="9" y="65"/>
                    </a:cubicBezTo>
                    <a:cubicBezTo>
                      <a:pt x="22" y="38"/>
                      <a:pt x="44" y="19"/>
                      <a:pt x="71" y="10"/>
                    </a:cubicBezTo>
                    <a:cubicBezTo>
                      <a:pt x="99" y="0"/>
                      <a:pt x="129" y="2"/>
                      <a:pt x="155" y="15"/>
                    </a:cubicBezTo>
                    <a:cubicBezTo>
                      <a:pt x="181" y="28"/>
                      <a:pt x="200" y="50"/>
                      <a:pt x="210" y="78"/>
                    </a:cubicBezTo>
                    <a:cubicBezTo>
                      <a:pt x="219" y="105"/>
                      <a:pt x="217" y="135"/>
                      <a:pt x="204" y="161"/>
                    </a:cubicBezTo>
                    <a:cubicBezTo>
                      <a:pt x="203" y="163"/>
                      <a:pt x="201" y="164"/>
                      <a:pt x="199"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16" name="Freeform 109">
                <a:extLst>
                  <a:ext uri="{FF2B5EF4-FFF2-40B4-BE49-F238E27FC236}">
                    <a16:creationId xmlns:a16="http://schemas.microsoft.com/office/drawing/2014/main" id="{C7FAAA83-7812-45F6-9149-FD5AD259E86D}"/>
                  </a:ext>
                </a:extLst>
              </p:cNvPr>
              <p:cNvSpPr>
                <a:spLocks/>
              </p:cNvSpPr>
              <p:nvPr/>
            </p:nvSpPr>
            <p:spPr bwMode="auto">
              <a:xfrm>
                <a:off x="7255539" y="3509518"/>
                <a:ext cx="302990" cy="316990"/>
              </a:xfrm>
              <a:custGeom>
                <a:avLst/>
                <a:gdLst>
                  <a:gd name="T0" fmla="*/ 50 w 128"/>
                  <a:gd name="T1" fmla="*/ 134 h 134"/>
                  <a:gd name="T2" fmla="*/ 45 w 128"/>
                  <a:gd name="T3" fmla="*/ 131 h 134"/>
                  <a:gd name="T4" fmla="*/ 47 w 128"/>
                  <a:gd name="T5" fmla="*/ 123 h 134"/>
                  <a:gd name="T6" fmla="*/ 94 w 128"/>
                  <a:gd name="T7" fmla="*/ 81 h 134"/>
                  <a:gd name="T8" fmla="*/ 113 w 128"/>
                  <a:gd name="T9" fmla="*/ 40 h 134"/>
                  <a:gd name="T10" fmla="*/ 102 w 128"/>
                  <a:gd name="T11" fmla="*/ 18 h 134"/>
                  <a:gd name="T12" fmla="*/ 76 w 128"/>
                  <a:gd name="T13" fmla="*/ 27 h 134"/>
                  <a:gd name="T14" fmla="*/ 71 w 128"/>
                  <a:gd name="T15" fmla="*/ 37 h 134"/>
                  <a:gd name="T16" fmla="*/ 53 w 128"/>
                  <a:gd name="T17" fmla="*/ 70 h 134"/>
                  <a:gd name="T18" fmla="*/ 8 w 128"/>
                  <a:gd name="T19" fmla="*/ 96 h 134"/>
                  <a:gd name="T20" fmla="*/ 1 w 128"/>
                  <a:gd name="T21" fmla="*/ 92 h 134"/>
                  <a:gd name="T22" fmla="*/ 4 w 128"/>
                  <a:gd name="T23" fmla="*/ 85 h 134"/>
                  <a:gd name="T24" fmla="*/ 44 w 128"/>
                  <a:gd name="T25" fmla="*/ 63 h 134"/>
                  <a:gd name="T26" fmla="*/ 61 w 128"/>
                  <a:gd name="T27" fmla="*/ 32 h 134"/>
                  <a:gd name="T28" fmla="*/ 65 w 128"/>
                  <a:gd name="T29" fmla="*/ 22 h 134"/>
                  <a:gd name="T30" fmla="*/ 107 w 128"/>
                  <a:gd name="T31" fmla="*/ 8 h 134"/>
                  <a:gd name="T32" fmla="*/ 123 w 128"/>
                  <a:gd name="T33" fmla="*/ 44 h 134"/>
                  <a:gd name="T34" fmla="*/ 104 w 128"/>
                  <a:gd name="T35" fmla="*/ 88 h 134"/>
                  <a:gd name="T36" fmla="*/ 52 w 128"/>
                  <a:gd name="T37" fmla="*/ 133 h 134"/>
                  <a:gd name="T38" fmla="*/ 50 w 128"/>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4">
                    <a:moveTo>
                      <a:pt x="50" y="134"/>
                    </a:moveTo>
                    <a:cubicBezTo>
                      <a:pt x="48" y="134"/>
                      <a:pt x="46" y="133"/>
                      <a:pt x="45" y="131"/>
                    </a:cubicBezTo>
                    <a:cubicBezTo>
                      <a:pt x="43" y="128"/>
                      <a:pt x="44" y="125"/>
                      <a:pt x="47" y="123"/>
                    </a:cubicBezTo>
                    <a:cubicBezTo>
                      <a:pt x="47" y="123"/>
                      <a:pt x="78" y="106"/>
                      <a:pt x="94" y="81"/>
                    </a:cubicBezTo>
                    <a:cubicBezTo>
                      <a:pt x="104" y="67"/>
                      <a:pt x="110" y="48"/>
                      <a:pt x="113" y="40"/>
                    </a:cubicBezTo>
                    <a:cubicBezTo>
                      <a:pt x="116" y="30"/>
                      <a:pt x="113" y="23"/>
                      <a:pt x="102" y="18"/>
                    </a:cubicBezTo>
                    <a:cubicBezTo>
                      <a:pt x="93" y="13"/>
                      <a:pt x="81" y="17"/>
                      <a:pt x="76" y="27"/>
                    </a:cubicBezTo>
                    <a:cubicBezTo>
                      <a:pt x="74" y="30"/>
                      <a:pt x="73" y="33"/>
                      <a:pt x="71" y="37"/>
                    </a:cubicBezTo>
                    <a:cubicBezTo>
                      <a:pt x="66" y="47"/>
                      <a:pt x="61" y="60"/>
                      <a:pt x="53" y="70"/>
                    </a:cubicBezTo>
                    <a:cubicBezTo>
                      <a:pt x="41" y="86"/>
                      <a:pt x="9" y="96"/>
                      <a:pt x="8" y="96"/>
                    </a:cubicBezTo>
                    <a:cubicBezTo>
                      <a:pt x="5" y="97"/>
                      <a:pt x="2" y="95"/>
                      <a:pt x="1" y="92"/>
                    </a:cubicBezTo>
                    <a:cubicBezTo>
                      <a:pt x="0" y="89"/>
                      <a:pt x="1" y="86"/>
                      <a:pt x="4" y="85"/>
                    </a:cubicBezTo>
                    <a:cubicBezTo>
                      <a:pt x="13" y="83"/>
                      <a:pt x="36" y="74"/>
                      <a:pt x="44" y="63"/>
                    </a:cubicBezTo>
                    <a:cubicBezTo>
                      <a:pt x="51" y="54"/>
                      <a:pt x="56" y="42"/>
                      <a:pt x="61" y="32"/>
                    </a:cubicBezTo>
                    <a:cubicBezTo>
                      <a:pt x="62" y="28"/>
                      <a:pt x="64" y="25"/>
                      <a:pt x="65" y="22"/>
                    </a:cubicBezTo>
                    <a:cubicBezTo>
                      <a:pt x="73" y="6"/>
                      <a:pt x="92" y="0"/>
                      <a:pt x="107" y="8"/>
                    </a:cubicBezTo>
                    <a:cubicBezTo>
                      <a:pt x="123" y="15"/>
                      <a:pt x="128" y="28"/>
                      <a:pt x="123" y="44"/>
                    </a:cubicBezTo>
                    <a:cubicBezTo>
                      <a:pt x="121" y="52"/>
                      <a:pt x="114" y="72"/>
                      <a:pt x="104" y="88"/>
                    </a:cubicBezTo>
                    <a:cubicBezTo>
                      <a:pt x="86" y="115"/>
                      <a:pt x="54" y="132"/>
                      <a:pt x="52" y="133"/>
                    </a:cubicBezTo>
                    <a:cubicBezTo>
                      <a:pt x="51" y="134"/>
                      <a:pt x="51" y="134"/>
                      <a:pt x="5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17" name="Freeform 110">
                <a:extLst>
                  <a:ext uri="{FF2B5EF4-FFF2-40B4-BE49-F238E27FC236}">
                    <a16:creationId xmlns:a16="http://schemas.microsoft.com/office/drawing/2014/main" id="{2204DD0D-3202-4C3C-BE68-CB90C961F603}"/>
                  </a:ext>
                </a:extLst>
              </p:cNvPr>
              <p:cNvSpPr>
                <a:spLocks/>
              </p:cNvSpPr>
              <p:nvPr/>
            </p:nvSpPr>
            <p:spPr bwMode="auto">
              <a:xfrm>
                <a:off x="7227540" y="3455525"/>
                <a:ext cx="398986" cy="391986"/>
              </a:xfrm>
              <a:custGeom>
                <a:avLst/>
                <a:gdLst>
                  <a:gd name="T0" fmla="*/ 94 w 169"/>
                  <a:gd name="T1" fmla="*/ 166 h 166"/>
                  <a:gd name="T2" fmla="*/ 89 w 169"/>
                  <a:gd name="T3" fmla="*/ 164 h 166"/>
                  <a:gd name="T4" fmla="*/ 90 w 169"/>
                  <a:gd name="T5" fmla="*/ 156 h 166"/>
                  <a:gd name="T6" fmla="*/ 129 w 169"/>
                  <a:gd name="T7" fmla="*/ 117 h 166"/>
                  <a:gd name="T8" fmla="*/ 147 w 169"/>
                  <a:gd name="T9" fmla="*/ 77 h 166"/>
                  <a:gd name="T10" fmla="*/ 126 w 169"/>
                  <a:gd name="T11" fmla="*/ 18 h 166"/>
                  <a:gd name="T12" fmla="*/ 64 w 169"/>
                  <a:gd name="T13" fmla="*/ 39 h 166"/>
                  <a:gd name="T14" fmla="*/ 63 w 169"/>
                  <a:gd name="T15" fmla="*/ 42 h 166"/>
                  <a:gd name="T16" fmla="*/ 49 w 169"/>
                  <a:gd name="T17" fmla="*/ 71 h 166"/>
                  <a:gd name="T18" fmla="*/ 7 w 169"/>
                  <a:gd name="T19" fmla="*/ 96 h 166"/>
                  <a:gd name="T20" fmla="*/ 0 w 169"/>
                  <a:gd name="T21" fmla="*/ 92 h 166"/>
                  <a:gd name="T22" fmla="*/ 5 w 169"/>
                  <a:gd name="T23" fmla="*/ 85 h 166"/>
                  <a:gd name="T24" fmla="*/ 40 w 169"/>
                  <a:gd name="T25" fmla="*/ 65 h 166"/>
                  <a:gd name="T26" fmla="*/ 52 w 169"/>
                  <a:gd name="T27" fmla="*/ 39 h 166"/>
                  <a:gd name="T28" fmla="*/ 54 w 169"/>
                  <a:gd name="T29" fmla="*/ 33 h 166"/>
                  <a:gd name="T30" fmla="*/ 87 w 169"/>
                  <a:gd name="T31" fmla="*/ 5 h 166"/>
                  <a:gd name="T32" fmla="*/ 131 w 169"/>
                  <a:gd name="T33" fmla="*/ 7 h 166"/>
                  <a:gd name="T34" fmla="*/ 158 w 169"/>
                  <a:gd name="T35" fmla="*/ 81 h 166"/>
                  <a:gd name="T36" fmla="*/ 138 w 169"/>
                  <a:gd name="T37" fmla="*/ 123 h 166"/>
                  <a:gd name="T38" fmla="*/ 97 w 169"/>
                  <a:gd name="T39" fmla="*/ 165 h 166"/>
                  <a:gd name="T40" fmla="*/ 94 w 169"/>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166">
                    <a:moveTo>
                      <a:pt x="94" y="166"/>
                    </a:moveTo>
                    <a:cubicBezTo>
                      <a:pt x="92" y="166"/>
                      <a:pt x="91" y="166"/>
                      <a:pt x="89" y="164"/>
                    </a:cubicBezTo>
                    <a:cubicBezTo>
                      <a:pt x="87" y="162"/>
                      <a:pt x="88" y="158"/>
                      <a:pt x="90" y="156"/>
                    </a:cubicBezTo>
                    <a:cubicBezTo>
                      <a:pt x="91" y="156"/>
                      <a:pt x="115" y="137"/>
                      <a:pt x="129" y="117"/>
                    </a:cubicBezTo>
                    <a:cubicBezTo>
                      <a:pt x="136" y="106"/>
                      <a:pt x="142" y="93"/>
                      <a:pt x="147" y="77"/>
                    </a:cubicBezTo>
                    <a:cubicBezTo>
                      <a:pt x="157" y="48"/>
                      <a:pt x="150" y="29"/>
                      <a:pt x="126" y="18"/>
                    </a:cubicBezTo>
                    <a:cubicBezTo>
                      <a:pt x="103" y="6"/>
                      <a:pt x="77" y="16"/>
                      <a:pt x="64" y="39"/>
                    </a:cubicBezTo>
                    <a:cubicBezTo>
                      <a:pt x="64" y="39"/>
                      <a:pt x="63" y="41"/>
                      <a:pt x="63" y="42"/>
                    </a:cubicBezTo>
                    <a:cubicBezTo>
                      <a:pt x="60" y="49"/>
                      <a:pt x="56" y="60"/>
                      <a:pt x="49" y="71"/>
                    </a:cubicBezTo>
                    <a:cubicBezTo>
                      <a:pt x="39" y="88"/>
                      <a:pt x="9" y="96"/>
                      <a:pt x="7" y="96"/>
                    </a:cubicBezTo>
                    <a:cubicBezTo>
                      <a:pt x="4" y="97"/>
                      <a:pt x="1" y="95"/>
                      <a:pt x="0" y="92"/>
                    </a:cubicBezTo>
                    <a:cubicBezTo>
                      <a:pt x="0" y="89"/>
                      <a:pt x="2" y="86"/>
                      <a:pt x="5" y="85"/>
                    </a:cubicBezTo>
                    <a:cubicBezTo>
                      <a:pt x="12" y="83"/>
                      <a:pt x="33" y="76"/>
                      <a:pt x="40" y="65"/>
                    </a:cubicBezTo>
                    <a:cubicBezTo>
                      <a:pt x="46" y="55"/>
                      <a:pt x="50" y="45"/>
                      <a:pt x="52" y="39"/>
                    </a:cubicBezTo>
                    <a:cubicBezTo>
                      <a:pt x="53" y="36"/>
                      <a:pt x="53" y="34"/>
                      <a:pt x="54" y="33"/>
                    </a:cubicBezTo>
                    <a:cubicBezTo>
                      <a:pt x="62" y="20"/>
                      <a:pt x="73" y="10"/>
                      <a:pt x="87" y="5"/>
                    </a:cubicBezTo>
                    <a:cubicBezTo>
                      <a:pt x="102" y="0"/>
                      <a:pt x="117" y="1"/>
                      <a:pt x="131" y="7"/>
                    </a:cubicBezTo>
                    <a:cubicBezTo>
                      <a:pt x="160" y="22"/>
                      <a:pt x="169" y="46"/>
                      <a:pt x="158" y="81"/>
                    </a:cubicBezTo>
                    <a:cubicBezTo>
                      <a:pt x="152" y="98"/>
                      <a:pt x="146" y="112"/>
                      <a:pt x="138" y="123"/>
                    </a:cubicBezTo>
                    <a:cubicBezTo>
                      <a:pt x="123" y="145"/>
                      <a:pt x="98" y="164"/>
                      <a:pt x="97" y="165"/>
                    </a:cubicBezTo>
                    <a:cubicBezTo>
                      <a:pt x="96" y="166"/>
                      <a:pt x="95" y="166"/>
                      <a:pt x="9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18" name="Freeform 111">
                <a:extLst>
                  <a:ext uri="{FF2B5EF4-FFF2-40B4-BE49-F238E27FC236}">
                    <a16:creationId xmlns:a16="http://schemas.microsoft.com/office/drawing/2014/main" id="{B4E16469-5886-4AFE-813E-EF8B7F2597D0}"/>
                  </a:ext>
                </a:extLst>
              </p:cNvPr>
              <p:cNvSpPr>
                <a:spLocks/>
              </p:cNvSpPr>
              <p:nvPr/>
            </p:nvSpPr>
            <p:spPr bwMode="auto">
              <a:xfrm>
                <a:off x="7217546" y="3370522"/>
                <a:ext cx="479985" cy="464986"/>
              </a:xfrm>
              <a:custGeom>
                <a:avLst/>
                <a:gdLst>
                  <a:gd name="T0" fmla="*/ 141 w 203"/>
                  <a:gd name="T1" fmla="*/ 197 h 197"/>
                  <a:gd name="T2" fmla="*/ 137 w 203"/>
                  <a:gd name="T3" fmla="*/ 196 h 197"/>
                  <a:gd name="T4" fmla="*/ 137 w 203"/>
                  <a:gd name="T5" fmla="*/ 188 h 197"/>
                  <a:gd name="T6" fmla="*/ 171 w 203"/>
                  <a:gd name="T7" fmla="*/ 133 h 197"/>
                  <a:gd name="T8" fmla="*/ 141 w 203"/>
                  <a:gd name="T9" fmla="*/ 30 h 197"/>
                  <a:gd name="T10" fmla="*/ 45 w 203"/>
                  <a:gd name="T11" fmla="*/ 63 h 197"/>
                  <a:gd name="T12" fmla="*/ 41 w 203"/>
                  <a:gd name="T13" fmla="*/ 75 h 197"/>
                  <a:gd name="T14" fmla="*/ 38 w 203"/>
                  <a:gd name="T15" fmla="*/ 82 h 197"/>
                  <a:gd name="T16" fmla="*/ 7 w 203"/>
                  <a:gd name="T17" fmla="*/ 106 h 197"/>
                  <a:gd name="T18" fmla="*/ 0 w 203"/>
                  <a:gd name="T19" fmla="*/ 102 h 197"/>
                  <a:gd name="T20" fmla="*/ 5 w 203"/>
                  <a:gd name="T21" fmla="*/ 95 h 197"/>
                  <a:gd name="T22" fmla="*/ 28 w 203"/>
                  <a:gd name="T23" fmla="*/ 78 h 197"/>
                  <a:gd name="T24" fmla="*/ 30 w 203"/>
                  <a:gd name="T25" fmla="*/ 72 h 197"/>
                  <a:gd name="T26" fmla="*/ 35 w 203"/>
                  <a:gd name="T27" fmla="*/ 58 h 197"/>
                  <a:gd name="T28" fmla="*/ 146 w 203"/>
                  <a:gd name="T29" fmla="*/ 20 h 197"/>
                  <a:gd name="T30" fmla="*/ 182 w 203"/>
                  <a:gd name="T31" fmla="*/ 137 h 197"/>
                  <a:gd name="T32" fmla="*/ 146 w 203"/>
                  <a:gd name="T33" fmla="*/ 195 h 197"/>
                  <a:gd name="T34" fmla="*/ 141 w 203"/>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7">
                    <a:moveTo>
                      <a:pt x="141" y="197"/>
                    </a:moveTo>
                    <a:cubicBezTo>
                      <a:pt x="140" y="197"/>
                      <a:pt x="139" y="197"/>
                      <a:pt x="137" y="196"/>
                    </a:cubicBezTo>
                    <a:cubicBezTo>
                      <a:pt x="135" y="194"/>
                      <a:pt x="135" y="190"/>
                      <a:pt x="137" y="188"/>
                    </a:cubicBezTo>
                    <a:cubicBezTo>
                      <a:pt x="137" y="188"/>
                      <a:pt x="159" y="163"/>
                      <a:pt x="171" y="133"/>
                    </a:cubicBezTo>
                    <a:cubicBezTo>
                      <a:pt x="190" y="86"/>
                      <a:pt x="179" y="49"/>
                      <a:pt x="141" y="30"/>
                    </a:cubicBezTo>
                    <a:cubicBezTo>
                      <a:pt x="106" y="13"/>
                      <a:pt x="62" y="27"/>
                      <a:pt x="45" y="63"/>
                    </a:cubicBezTo>
                    <a:cubicBezTo>
                      <a:pt x="43" y="67"/>
                      <a:pt x="42" y="71"/>
                      <a:pt x="41" y="75"/>
                    </a:cubicBezTo>
                    <a:cubicBezTo>
                      <a:pt x="40" y="77"/>
                      <a:pt x="39" y="80"/>
                      <a:pt x="38" y="82"/>
                    </a:cubicBezTo>
                    <a:cubicBezTo>
                      <a:pt x="32" y="100"/>
                      <a:pt x="8" y="106"/>
                      <a:pt x="7" y="106"/>
                    </a:cubicBezTo>
                    <a:cubicBezTo>
                      <a:pt x="4" y="107"/>
                      <a:pt x="1" y="105"/>
                      <a:pt x="0" y="102"/>
                    </a:cubicBezTo>
                    <a:cubicBezTo>
                      <a:pt x="0" y="99"/>
                      <a:pt x="1" y="96"/>
                      <a:pt x="5" y="95"/>
                    </a:cubicBezTo>
                    <a:cubicBezTo>
                      <a:pt x="5" y="95"/>
                      <a:pt x="24" y="91"/>
                      <a:pt x="28" y="78"/>
                    </a:cubicBezTo>
                    <a:cubicBezTo>
                      <a:pt x="28" y="76"/>
                      <a:pt x="29" y="74"/>
                      <a:pt x="30" y="72"/>
                    </a:cubicBezTo>
                    <a:cubicBezTo>
                      <a:pt x="31" y="67"/>
                      <a:pt x="32" y="63"/>
                      <a:pt x="35" y="58"/>
                    </a:cubicBezTo>
                    <a:cubicBezTo>
                      <a:pt x="55" y="17"/>
                      <a:pt x="105" y="0"/>
                      <a:pt x="146" y="20"/>
                    </a:cubicBezTo>
                    <a:cubicBezTo>
                      <a:pt x="190" y="41"/>
                      <a:pt x="203" y="85"/>
                      <a:pt x="182" y="137"/>
                    </a:cubicBezTo>
                    <a:cubicBezTo>
                      <a:pt x="169" y="169"/>
                      <a:pt x="146" y="194"/>
                      <a:pt x="146" y="195"/>
                    </a:cubicBezTo>
                    <a:cubicBezTo>
                      <a:pt x="144" y="197"/>
                      <a:pt x="143" y="197"/>
                      <a:pt x="14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19" name="Freeform 112">
                <a:extLst>
                  <a:ext uri="{FF2B5EF4-FFF2-40B4-BE49-F238E27FC236}">
                    <a16:creationId xmlns:a16="http://schemas.microsoft.com/office/drawing/2014/main" id="{3768B01E-6088-4343-A818-4C7BD715244B}"/>
                  </a:ext>
                </a:extLst>
              </p:cNvPr>
              <p:cNvSpPr>
                <a:spLocks/>
              </p:cNvSpPr>
              <p:nvPr/>
            </p:nvSpPr>
            <p:spPr bwMode="auto">
              <a:xfrm>
                <a:off x="7295551" y="3585518"/>
                <a:ext cx="191993" cy="202993"/>
              </a:xfrm>
              <a:custGeom>
                <a:avLst/>
                <a:gdLst>
                  <a:gd name="T0" fmla="*/ 7 w 81"/>
                  <a:gd name="T1" fmla="*/ 86 h 86"/>
                  <a:gd name="T2" fmla="*/ 2 w 81"/>
                  <a:gd name="T3" fmla="*/ 83 h 86"/>
                  <a:gd name="T4" fmla="*/ 4 w 81"/>
                  <a:gd name="T5" fmla="*/ 75 h 86"/>
                  <a:gd name="T6" fmla="*/ 45 w 81"/>
                  <a:gd name="T7" fmla="*/ 48 h 86"/>
                  <a:gd name="T8" fmla="*/ 69 w 81"/>
                  <a:gd name="T9" fmla="*/ 5 h 86"/>
                  <a:gd name="T10" fmla="*/ 76 w 81"/>
                  <a:gd name="T11" fmla="*/ 0 h 86"/>
                  <a:gd name="T12" fmla="*/ 81 w 81"/>
                  <a:gd name="T13" fmla="*/ 7 h 86"/>
                  <a:gd name="T14" fmla="*/ 54 w 81"/>
                  <a:gd name="T15" fmla="*/ 56 h 86"/>
                  <a:gd name="T16" fmla="*/ 9 w 81"/>
                  <a:gd name="T17" fmla="*/ 86 h 86"/>
                  <a:gd name="T18" fmla="*/ 7 w 8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6">
                    <a:moveTo>
                      <a:pt x="7" y="86"/>
                    </a:moveTo>
                    <a:cubicBezTo>
                      <a:pt x="5" y="86"/>
                      <a:pt x="3" y="85"/>
                      <a:pt x="2" y="83"/>
                    </a:cubicBezTo>
                    <a:cubicBezTo>
                      <a:pt x="0" y="80"/>
                      <a:pt x="2" y="76"/>
                      <a:pt x="4" y="75"/>
                    </a:cubicBezTo>
                    <a:cubicBezTo>
                      <a:pt x="5" y="75"/>
                      <a:pt x="33" y="62"/>
                      <a:pt x="45" y="48"/>
                    </a:cubicBezTo>
                    <a:cubicBezTo>
                      <a:pt x="65" y="26"/>
                      <a:pt x="69" y="5"/>
                      <a:pt x="69" y="5"/>
                    </a:cubicBezTo>
                    <a:cubicBezTo>
                      <a:pt x="70" y="2"/>
                      <a:pt x="73" y="0"/>
                      <a:pt x="76" y="0"/>
                    </a:cubicBezTo>
                    <a:cubicBezTo>
                      <a:pt x="79" y="1"/>
                      <a:pt x="81" y="4"/>
                      <a:pt x="81" y="7"/>
                    </a:cubicBezTo>
                    <a:cubicBezTo>
                      <a:pt x="80" y="8"/>
                      <a:pt x="75" y="31"/>
                      <a:pt x="54" y="56"/>
                    </a:cubicBezTo>
                    <a:cubicBezTo>
                      <a:pt x="39" y="72"/>
                      <a:pt x="10" y="85"/>
                      <a:pt x="9" y="86"/>
                    </a:cubicBezTo>
                    <a:cubicBezTo>
                      <a:pt x="8" y="86"/>
                      <a:pt x="8" y="86"/>
                      <a:pt x="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grpSp>
          <p:nvGrpSpPr>
            <p:cNvPr id="304" name="Group 303">
              <a:extLst>
                <a:ext uri="{FF2B5EF4-FFF2-40B4-BE49-F238E27FC236}">
                  <a16:creationId xmlns:a16="http://schemas.microsoft.com/office/drawing/2014/main" id="{02E1FBBF-5EB8-42B8-8181-F4305771AD3B}"/>
                </a:ext>
              </a:extLst>
            </p:cNvPr>
            <p:cNvGrpSpPr/>
            <p:nvPr/>
          </p:nvGrpSpPr>
          <p:grpSpPr>
            <a:xfrm>
              <a:off x="366082" y="3862177"/>
              <a:ext cx="178849" cy="160357"/>
              <a:chOff x="6493428" y="-20381"/>
              <a:chExt cx="1290463" cy="1234331"/>
            </a:xfrm>
          </p:grpSpPr>
          <p:grpSp>
            <p:nvGrpSpPr>
              <p:cNvPr id="306" name="Group 4">
                <a:extLst>
                  <a:ext uri="{FF2B5EF4-FFF2-40B4-BE49-F238E27FC236}">
                    <a16:creationId xmlns:a16="http://schemas.microsoft.com/office/drawing/2014/main" id="{09EB34D2-3D9B-4DBF-9632-36C9957804AC}"/>
                  </a:ext>
                </a:extLst>
              </p:cNvPr>
              <p:cNvGrpSpPr>
                <a:grpSpLocks noChangeAspect="1"/>
              </p:cNvGrpSpPr>
              <p:nvPr/>
            </p:nvGrpSpPr>
            <p:grpSpPr bwMode="auto">
              <a:xfrm>
                <a:off x="6493428" y="299646"/>
                <a:ext cx="412157" cy="883191"/>
                <a:chOff x="598" y="1936"/>
                <a:chExt cx="287" cy="615"/>
              </a:xfrm>
              <a:solidFill>
                <a:schemeClr val="accent2"/>
              </a:solidFill>
            </p:grpSpPr>
            <p:sp>
              <p:nvSpPr>
                <p:cNvPr id="313" name="Freeform 6">
                  <a:extLst>
                    <a:ext uri="{FF2B5EF4-FFF2-40B4-BE49-F238E27FC236}">
                      <a16:creationId xmlns:a16="http://schemas.microsoft.com/office/drawing/2014/main" id="{183F723F-99EB-407A-8659-0F2B3BFD06D0}"/>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14" name="Freeform 7">
                  <a:extLst>
                    <a:ext uri="{FF2B5EF4-FFF2-40B4-BE49-F238E27FC236}">
                      <a16:creationId xmlns:a16="http://schemas.microsoft.com/office/drawing/2014/main" id="{C96F9578-B597-460F-834F-FB1D459B840A}"/>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grpSp>
            <p:nvGrpSpPr>
              <p:cNvPr id="307" name="Group 4">
                <a:extLst>
                  <a:ext uri="{FF2B5EF4-FFF2-40B4-BE49-F238E27FC236}">
                    <a16:creationId xmlns:a16="http://schemas.microsoft.com/office/drawing/2014/main" id="{684D6367-D660-4BA1-BAC0-8AEA7092C2A4}"/>
                  </a:ext>
                </a:extLst>
              </p:cNvPr>
              <p:cNvGrpSpPr>
                <a:grpSpLocks noChangeAspect="1"/>
              </p:cNvGrpSpPr>
              <p:nvPr/>
            </p:nvGrpSpPr>
            <p:grpSpPr bwMode="auto">
              <a:xfrm>
                <a:off x="7371734" y="299646"/>
                <a:ext cx="412157" cy="883191"/>
                <a:chOff x="598" y="1936"/>
                <a:chExt cx="287" cy="615"/>
              </a:xfrm>
              <a:solidFill>
                <a:schemeClr val="accent1"/>
              </a:solidFill>
            </p:grpSpPr>
            <p:sp>
              <p:nvSpPr>
                <p:cNvPr id="311" name="Freeform 6">
                  <a:extLst>
                    <a:ext uri="{FF2B5EF4-FFF2-40B4-BE49-F238E27FC236}">
                      <a16:creationId xmlns:a16="http://schemas.microsoft.com/office/drawing/2014/main" id="{EEC9EE54-AAE3-41C0-A7D6-50F160DBBBD5}"/>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12" name="Freeform 7">
                  <a:extLst>
                    <a:ext uri="{FF2B5EF4-FFF2-40B4-BE49-F238E27FC236}">
                      <a16:creationId xmlns:a16="http://schemas.microsoft.com/office/drawing/2014/main" id="{8B786CE3-312C-41DB-BBAD-9CF919AE1757}"/>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grpSp>
            <p:nvGrpSpPr>
              <p:cNvPr id="308" name="Group 4">
                <a:extLst>
                  <a:ext uri="{FF2B5EF4-FFF2-40B4-BE49-F238E27FC236}">
                    <a16:creationId xmlns:a16="http://schemas.microsoft.com/office/drawing/2014/main" id="{240A278D-EE4C-4D97-BD5A-D335C457665B}"/>
                  </a:ext>
                </a:extLst>
              </p:cNvPr>
              <p:cNvGrpSpPr>
                <a:grpSpLocks noChangeAspect="1"/>
              </p:cNvGrpSpPr>
              <p:nvPr/>
            </p:nvGrpSpPr>
            <p:grpSpPr bwMode="auto">
              <a:xfrm>
                <a:off x="6846909" y="-20381"/>
                <a:ext cx="576018" cy="1234331"/>
                <a:chOff x="598" y="1936"/>
                <a:chExt cx="287" cy="615"/>
              </a:xfrm>
              <a:solidFill>
                <a:schemeClr val="accent5"/>
              </a:solidFill>
            </p:grpSpPr>
            <p:sp>
              <p:nvSpPr>
                <p:cNvPr id="309" name="Freeform 6">
                  <a:extLst>
                    <a:ext uri="{FF2B5EF4-FFF2-40B4-BE49-F238E27FC236}">
                      <a16:creationId xmlns:a16="http://schemas.microsoft.com/office/drawing/2014/main" id="{5CC537E1-8A08-4414-8A35-2B2FECC07AA4}"/>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10" name="Freeform 7">
                  <a:extLst>
                    <a:ext uri="{FF2B5EF4-FFF2-40B4-BE49-F238E27FC236}">
                      <a16:creationId xmlns:a16="http://schemas.microsoft.com/office/drawing/2014/main" id="{654712E8-3D1A-4060-8B78-793E3AAA4BCE}"/>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grpSp>
        <p:pic>
          <p:nvPicPr>
            <p:cNvPr id="305" name="Picture 304">
              <a:extLst>
                <a:ext uri="{FF2B5EF4-FFF2-40B4-BE49-F238E27FC236}">
                  <a16:creationId xmlns:a16="http://schemas.microsoft.com/office/drawing/2014/main" id="{396D856D-E53C-4709-A39C-E6B9F21A9C3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451412" y="4598664"/>
              <a:ext cx="215864" cy="215864"/>
            </a:xfrm>
            <a:prstGeom prst="rect">
              <a:avLst/>
            </a:prstGeom>
          </p:spPr>
        </p:pic>
      </p:grpSp>
    </p:spTree>
    <p:extLst>
      <p:ext uri="{BB962C8B-B14F-4D97-AF65-F5344CB8AC3E}">
        <p14:creationId xmlns:p14="http://schemas.microsoft.com/office/powerpoint/2010/main" val="314637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Rounded Corners 90">
            <a:extLst>
              <a:ext uri="{FF2B5EF4-FFF2-40B4-BE49-F238E27FC236}">
                <a16:creationId xmlns:a16="http://schemas.microsoft.com/office/drawing/2014/main" id="{C92EE6C5-6A94-4E85-AF4C-22448E76EFF9}"/>
              </a:ext>
            </a:extLst>
          </p:cNvPr>
          <p:cNvSpPr/>
          <p:nvPr/>
        </p:nvSpPr>
        <p:spPr>
          <a:xfrm>
            <a:off x="152104" y="702929"/>
            <a:ext cx="4313415" cy="2604233"/>
          </a:xfrm>
          <a:prstGeom prst="roundRect">
            <a:avLst>
              <a:gd name="adj" fmla="val 8978"/>
            </a:avLst>
          </a:prstGeom>
          <a:solidFill>
            <a:schemeClr val="bg2">
              <a:lumMod val="9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lIns="27432" tIns="9144" rIns="27432" bIns="27432" rtlCol="0" anchor="t"/>
          <a:lstStyle/>
          <a:p>
            <a:pPr algn="ctr"/>
            <a:r>
              <a:rPr lang="en-US" sz="1400" dirty="0"/>
              <a:t>Traditional</a:t>
            </a:r>
          </a:p>
        </p:txBody>
      </p:sp>
      <p:sp>
        <p:nvSpPr>
          <p:cNvPr id="187" name="Rectangle: Rounded Corners 151">
            <a:extLst>
              <a:ext uri="{FF2B5EF4-FFF2-40B4-BE49-F238E27FC236}">
                <a16:creationId xmlns:a16="http://schemas.microsoft.com/office/drawing/2014/main" id="{A30E78AC-1500-4F7C-8681-942592E2E8A9}"/>
              </a:ext>
            </a:extLst>
          </p:cNvPr>
          <p:cNvSpPr/>
          <p:nvPr/>
        </p:nvSpPr>
        <p:spPr>
          <a:xfrm>
            <a:off x="4678482" y="702929"/>
            <a:ext cx="4313415" cy="2604233"/>
          </a:xfrm>
          <a:prstGeom prst="roundRect">
            <a:avLst>
              <a:gd name="adj" fmla="val 10650"/>
            </a:avLst>
          </a:prstGeom>
          <a:solidFill>
            <a:schemeClr val="bg2">
              <a:lumMod val="9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9144" rIns="27432" bIns="27432" numCol="1" spcCol="0" rtlCol="0" fromWordArt="0" anchor="t" anchorCtr="0" forceAA="0" compatLnSpc="1">
            <a:prstTxWarp prst="textNoShape">
              <a:avLst/>
            </a:prstTxWarp>
            <a:noAutofit/>
          </a:bodyPr>
          <a:lstStyle/>
          <a:p>
            <a:pPr algn="ctr"/>
            <a:r>
              <a:rPr lang="en-US" sz="1400" dirty="0"/>
              <a:t>IPoEoF with Operational Simplification</a:t>
            </a:r>
          </a:p>
        </p:txBody>
      </p:sp>
      <p:graphicFrame>
        <p:nvGraphicFramePr>
          <p:cNvPr id="27" name="Object 26" hidden="1">
            <a:extLst>
              <a:ext uri="{FF2B5EF4-FFF2-40B4-BE49-F238E27FC236}">
                <a16:creationId xmlns:a16="http://schemas.microsoft.com/office/drawing/2014/main" id="{5D6EEB79-CA5B-4EB6-AA2E-9B5B2A4227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6" imgW="604" imgH="606" progId="TCLayout.ActiveDocument.1">
                  <p:embed/>
                </p:oleObj>
              </mc:Choice>
              <mc:Fallback>
                <p:oleObj name="think-cell Slide" r:id="rId6" imgW="604" imgH="606" progId="TCLayout.ActiveDocument.1">
                  <p:embed/>
                  <p:pic>
                    <p:nvPicPr>
                      <p:cNvPr id="27" name="Object 26" hidden="1">
                        <a:extLst>
                          <a:ext uri="{FF2B5EF4-FFF2-40B4-BE49-F238E27FC236}">
                            <a16:creationId xmlns:a16="http://schemas.microsoft.com/office/drawing/2014/main" id="{5D6EEB79-CA5B-4EB6-AA2E-9B5B2A4227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E828A6F6-A236-4E98-A1D7-5896A7E2F36D}"/>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sp>
        <p:nvSpPr>
          <p:cNvPr id="2" name="Title 1"/>
          <p:cNvSpPr>
            <a:spLocks noGrp="1"/>
          </p:cNvSpPr>
          <p:nvPr>
            <p:ph type="title"/>
          </p:nvPr>
        </p:nvSpPr>
        <p:spPr>
          <a:xfrm>
            <a:off x="437766" y="254603"/>
            <a:ext cx="8345488" cy="731837"/>
          </a:xfrm>
        </p:spPr>
        <p:txBody>
          <a:bodyPr anchor="t"/>
          <a:lstStyle/>
          <a:p>
            <a:r>
              <a:rPr lang="en-US" dirty="0"/>
              <a:t>Converging IP and Optical Networks</a:t>
            </a:r>
          </a:p>
        </p:txBody>
      </p:sp>
      <p:pic>
        <p:nvPicPr>
          <p:cNvPr id="67" name="Picture 66">
            <a:extLst>
              <a:ext uri="{FF2B5EF4-FFF2-40B4-BE49-F238E27FC236}">
                <a16:creationId xmlns:a16="http://schemas.microsoft.com/office/drawing/2014/main" id="{EE96617D-9260-364D-9A4D-F48AA3D502E0}"/>
              </a:ext>
            </a:extLst>
          </p:cNvPr>
          <p:cNvPicPr>
            <a:picLocks noChangeAspect="1"/>
          </p:cNvPicPr>
          <p:nvPr/>
        </p:nvPicPr>
        <p:blipFill>
          <a:blip r:embed="rId8">
            <a:alphaModFix amt="50000"/>
            <a:lum bright="70000" contrast="-70000"/>
          </a:blip>
          <a:stretch>
            <a:fillRect/>
          </a:stretch>
        </p:blipFill>
        <p:spPr>
          <a:xfrm>
            <a:off x="6624260" y="4551914"/>
            <a:ext cx="2077780" cy="331986"/>
          </a:xfrm>
          <a:prstGeom prst="rect">
            <a:avLst/>
          </a:prstGeom>
        </p:spPr>
      </p:pic>
      <p:cxnSp>
        <p:nvCxnSpPr>
          <p:cNvPr id="178" name="Straight Arrow Connector 177">
            <a:extLst>
              <a:ext uri="{FF2B5EF4-FFF2-40B4-BE49-F238E27FC236}">
                <a16:creationId xmlns:a16="http://schemas.microsoft.com/office/drawing/2014/main" id="{7540D542-9571-3247-8D03-8B2CC847143B}"/>
              </a:ext>
            </a:extLst>
          </p:cNvPr>
          <p:cNvCxnSpPr>
            <a:cxnSpLocks/>
          </p:cNvCxnSpPr>
          <p:nvPr/>
        </p:nvCxnSpPr>
        <p:spPr>
          <a:xfrm flipV="1">
            <a:off x="6828060" y="1920965"/>
            <a:ext cx="8118" cy="575321"/>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276B10F4-92CA-4644-95CE-B004C5F4AA37}"/>
              </a:ext>
            </a:extLst>
          </p:cNvPr>
          <p:cNvGrpSpPr/>
          <p:nvPr/>
        </p:nvGrpSpPr>
        <p:grpSpPr>
          <a:xfrm>
            <a:off x="4962364" y="1073787"/>
            <a:ext cx="3747628" cy="1923095"/>
            <a:chOff x="4831455" y="1239725"/>
            <a:chExt cx="2086718" cy="1796477"/>
          </a:xfrm>
        </p:grpSpPr>
        <p:grpSp>
          <p:nvGrpSpPr>
            <p:cNvPr id="4" name="Group 3"/>
            <p:cNvGrpSpPr/>
            <p:nvPr/>
          </p:nvGrpSpPr>
          <p:grpSpPr>
            <a:xfrm>
              <a:off x="5079125" y="2573633"/>
              <a:ext cx="1630730" cy="462569"/>
              <a:chOff x="962391" y="3350054"/>
              <a:chExt cx="2516990" cy="549243"/>
            </a:xfrm>
            <a:solidFill>
              <a:schemeClr val="bg2">
                <a:lumMod val="95000"/>
              </a:schemeClr>
            </a:solidFill>
          </p:grpSpPr>
          <p:sp>
            <p:nvSpPr>
              <p:cNvPr id="86" name="Can 85">
                <a:extLst>
                  <a:ext uri="{FF2B5EF4-FFF2-40B4-BE49-F238E27FC236}">
                    <a16:creationId xmlns:a16="http://schemas.microsoft.com/office/drawing/2014/main" id="{9772BD91-235C-3440-A4C4-818B3BCF3D53}"/>
                  </a:ext>
                </a:extLst>
              </p:cNvPr>
              <p:cNvSpPr/>
              <p:nvPr/>
            </p:nvSpPr>
            <p:spPr>
              <a:xfrm rot="16200000">
                <a:off x="2136495" y="2628024"/>
                <a:ext cx="169085" cy="2244242"/>
              </a:xfrm>
              <a:prstGeom prst="can">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tangle 86">
                <a:extLst>
                  <a:ext uri="{FF2B5EF4-FFF2-40B4-BE49-F238E27FC236}">
                    <a16:creationId xmlns:a16="http://schemas.microsoft.com/office/drawing/2014/main" id="{09D68B7E-C282-FD4D-9C34-F35EF47A8CD4}"/>
                  </a:ext>
                </a:extLst>
              </p:cNvPr>
              <p:cNvSpPr/>
              <p:nvPr/>
            </p:nvSpPr>
            <p:spPr>
              <a:xfrm>
                <a:off x="1056085" y="3591812"/>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87">
                <a:extLst>
                  <a:ext uri="{FF2B5EF4-FFF2-40B4-BE49-F238E27FC236}">
                    <a16:creationId xmlns:a16="http://schemas.microsoft.com/office/drawing/2014/main" id="{CA63971D-36A3-D04E-B5FA-C7DD97FB852C}"/>
                  </a:ext>
                </a:extLst>
              </p:cNvPr>
              <p:cNvSpPr/>
              <p:nvPr/>
            </p:nvSpPr>
            <p:spPr>
              <a:xfrm>
                <a:off x="3315751" y="3584896"/>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88">
                <a:extLst>
                  <a:ext uri="{FF2B5EF4-FFF2-40B4-BE49-F238E27FC236}">
                    <a16:creationId xmlns:a16="http://schemas.microsoft.com/office/drawing/2014/main" id="{510CBEB3-7B86-7E4D-9C18-5CDB1FCAB027}"/>
                  </a:ext>
                </a:extLst>
              </p:cNvPr>
              <p:cNvSpPr/>
              <p:nvPr/>
            </p:nvSpPr>
            <p:spPr>
              <a:xfrm>
                <a:off x="3409387" y="3584897"/>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a:extLst>
                  <a:ext uri="{FF2B5EF4-FFF2-40B4-BE49-F238E27FC236}">
                    <a16:creationId xmlns:a16="http://schemas.microsoft.com/office/drawing/2014/main" id="{93AB7F01-CC50-4848-951A-20773F787AD0}"/>
                  </a:ext>
                </a:extLst>
              </p:cNvPr>
              <p:cNvSpPr/>
              <p:nvPr/>
            </p:nvSpPr>
            <p:spPr>
              <a:xfrm>
                <a:off x="2105342" y="3586998"/>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93">
                <a:extLst>
                  <a:ext uri="{FF2B5EF4-FFF2-40B4-BE49-F238E27FC236}">
                    <a16:creationId xmlns:a16="http://schemas.microsoft.com/office/drawing/2014/main" id="{796B2536-0710-774F-BD0D-F02B9D365E73}"/>
                  </a:ext>
                </a:extLst>
              </p:cNvPr>
              <p:cNvSpPr/>
              <p:nvPr/>
            </p:nvSpPr>
            <p:spPr>
              <a:xfrm>
                <a:off x="2190374" y="3584897"/>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a:extLst>
                  <a:ext uri="{FF2B5EF4-FFF2-40B4-BE49-F238E27FC236}">
                    <a16:creationId xmlns:a16="http://schemas.microsoft.com/office/drawing/2014/main" id="{C850D137-A914-0740-9DCF-00BB503E7786}"/>
                  </a:ext>
                </a:extLst>
              </p:cNvPr>
              <p:cNvCxnSpPr>
                <a:cxnSpLocks/>
              </p:cNvCxnSpPr>
              <p:nvPr/>
            </p:nvCxnSpPr>
            <p:spPr>
              <a:xfrm>
                <a:off x="1069796" y="3481154"/>
                <a:ext cx="1" cy="206407"/>
              </a:xfrm>
              <a:prstGeom prst="line">
                <a:avLst/>
              </a:prstGeom>
              <a:grpFill/>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785F73E-762E-0E4C-8881-433EDFCE55F4}"/>
                  </a:ext>
                </a:extLst>
              </p:cNvPr>
              <p:cNvCxnSpPr>
                <a:cxnSpLocks/>
              </p:cNvCxnSpPr>
              <p:nvPr/>
            </p:nvCxnSpPr>
            <p:spPr>
              <a:xfrm>
                <a:off x="1087320" y="3479505"/>
                <a:ext cx="1" cy="206407"/>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53D7F64-2D9B-4E4A-8EDD-88457ACF26D2}"/>
                  </a:ext>
                </a:extLst>
              </p:cNvPr>
              <p:cNvCxnSpPr>
                <a:cxnSpLocks/>
              </p:cNvCxnSpPr>
              <p:nvPr/>
            </p:nvCxnSpPr>
            <p:spPr>
              <a:xfrm>
                <a:off x="1110324" y="3455814"/>
                <a:ext cx="1" cy="206407"/>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07" name="Can 106">
                <a:extLst>
                  <a:ext uri="{FF2B5EF4-FFF2-40B4-BE49-F238E27FC236}">
                    <a16:creationId xmlns:a16="http://schemas.microsoft.com/office/drawing/2014/main" id="{1A17457D-C71F-044C-A440-0A9ED7BC8529}"/>
                  </a:ext>
                </a:extLst>
              </p:cNvPr>
              <p:cNvSpPr/>
              <p:nvPr/>
            </p:nvSpPr>
            <p:spPr>
              <a:xfrm>
                <a:off x="995911" y="3350054"/>
                <a:ext cx="185854" cy="143021"/>
              </a:xfrm>
              <a:prstGeom prst="can">
                <a:avLst/>
              </a:prstGeom>
              <a:solidFill>
                <a:srgbClr val="00D2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2" name="Picture 141">
                <a:extLst>
                  <a:ext uri="{FF2B5EF4-FFF2-40B4-BE49-F238E27FC236}">
                    <a16:creationId xmlns:a16="http://schemas.microsoft.com/office/drawing/2014/main" id="{FCB49099-13E3-504B-91F8-250847AC92C2}"/>
                  </a:ext>
                </a:extLst>
              </p:cNvPr>
              <p:cNvPicPr>
                <a:picLocks noChangeAspect="1"/>
              </p:cNvPicPr>
              <p:nvPr/>
            </p:nvPicPr>
            <p:blipFill>
              <a:blip r:embed="rId9">
                <a:alphaModFix amt="50000"/>
              </a:blip>
              <a:stretch>
                <a:fillRect/>
              </a:stretch>
            </p:blipFill>
            <p:spPr>
              <a:xfrm>
                <a:off x="1336100" y="3629748"/>
                <a:ext cx="169093" cy="268559"/>
              </a:xfrm>
              <a:prstGeom prst="rect">
                <a:avLst/>
              </a:prstGeom>
              <a:grpFill/>
            </p:spPr>
          </p:pic>
          <p:pic>
            <p:nvPicPr>
              <p:cNvPr id="143" name="Picture 142">
                <a:extLst>
                  <a:ext uri="{FF2B5EF4-FFF2-40B4-BE49-F238E27FC236}">
                    <a16:creationId xmlns:a16="http://schemas.microsoft.com/office/drawing/2014/main" id="{298E5737-E460-AB41-B452-CE781FE9D072}"/>
                  </a:ext>
                </a:extLst>
              </p:cNvPr>
              <p:cNvPicPr>
                <a:picLocks noChangeAspect="1"/>
              </p:cNvPicPr>
              <p:nvPr/>
            </p:nvPicPr>
            <p:blipFill>
              <a:blip r:embed="rId9">
                <a:alphaModFix amt="50000"/>
              </a:blip>
              <a:stretch>
                <a:fillRect/>
              </a:stretch>
            </p:blipFill>
            <p:spPr>
              <a:xfrm>
                <a:off x="1715395" y="3630738"/>
                <a:ext cx="169093" cy="268559"/>
              </a:xfrm>
              <a:prstGeom prst="rect">
                <a:avLst/>
              </a:prstGeom>
              <a:grpFill/>
            </p:spPr>
          </p:pic>
          <p:pic>
            <p:nvPicPr>
              <p:cNvPr id="144" name="Picture 143">
                <a:extLst>
                  <a:ext uri="{FF2B5EF4-FFF2-40B4-BE49-F238E27FC236}">
                    <a16:creationId xmlns:a16="http://schemas.microsoft.com/office/drawing/2014/main" id="{90FCD977-2EE1-1941-90F7-8F77FA2AC2C7}"/>
                  </a:ext>
                </a:extLst>
              </p:cNvPr>
              <p:cNvPicPr>
                <a:picLocks noChangeAspect="1"/>
              </p:cNvPicPr>
              <p:nvPr/>
            </p:nvPicPr>
            <p:blipFill>
              <a:blip r:embed="rId9">
                <a:alphaModFix amt="50000"/>
              </a:blip>
              <a:stretch>
                <a:fillRect/>
              </a:stretch>
            </p:blipFill>
            <p:spPr>
              <a:xfrm>
                <a:off x="2533728" y="3629748"/>
                <a:ext cx="169093" cy="268559"/>
              </a:xfrm>
              <a:prstGeom prst="rect">
                <a:avLst/>
              </a:prstGeom>
              <a:grpFill/>
            </p:spPr>
          </p:pic>
          <p:pic>
            <p:nvPicPr>
              <p:cNvPr id="145" name="Picture 144">
                <a:extLst>
                  <a:ext uri="{FF2B5EF4-FFF2-40B4-BE49-F238E27FC236}">
                    <a16:creationId xmlns:a16="http://schemas.microsoft.com/office/drawing/2014/main" id="{4BC89936-485F-824C-957C-C1E8FE9D51D0}"/>
                  </a:ext>
                </a:extLst>
              </p:cNvPr>
              <p:cNvPicPr>
                <a:picLocks noChangeAspect="1"/>
              </p:cNvPicPr>
              <p:nvPr/>
            </p:nvPicPr>
            <p:blipFill>
              <a:blip r:embed="rId9">
                <a:alphaModFix amt="50000"/>
              </a:blip>
              <a:stretch>
                <a:fillRect/>
              </a:stretch>
            </p:blipFill>
            <p:spPr>
              <a:xfrm>
                <a:off x="2913023" y="3630738"/>
                <a:ext cx="169093" cy="268559"/>
              </a:xfrm>
              <a:prstGeom prst="rect">
                <a:avLst/>
              </a:prstGeom>
              <a:grpFill/>
            </p:spPr>
          </p:pic>
          <p:cxnSp>
            <p:nvCxnSpPr>
              <p:cNvPr id="146" name="Straight Connector 145">
                <a:extLst>
                  <a:ext uri="{FF2B5EF4-FFF2-40B4-BE49-F238E27FC236}">
                    <a16:creationId xmlns:a16="http://schemas.microsoft.com/office/drawing/2014/main" id="{837E7C84-7A2B-5341-8FB0-8391DFB8FC25}"/>
                  </a:ext>
                </a:extLst>
              </p:cNvPr>
              <p:cNvCxnSpPr>
                <a:cxnSpLocks/>
              </p:cNvCxnSpPr>
              <p:nvPr/>
            </p:nvCxnSpPr>
            <p:spPr>
              <a:xfrm>
                <a:off x="1243328" y="3685994"/>
                <a:ext cx="878539" cy="0"/>
              </a:xfrm>
              <a:prstGeom prst="line">
                <a:avLst/>
              </a:prstGeom>
              <a:grpFill/>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B18E695-8E7E-AF4E-AEA0-0729D6E0C840}"/>
                  </a:ext>
                </a:extLst>
              </p:cNvPr>
              <p:cNvCxnSpPr>
                <a:cxnSpLocks/>
              </p:cNvCxnSpPr>
              <p:nvPr/>
            </p:nvCxnSpPr>
            <p:spPr>
              <a:xfrm>
                <a:off x="2121867" y="3474872"/>
                <a:ext cx="1" cy="206407"/>
              </a:xfrm>
              <a:prstGeom prst="line">
                <a:avLst/>
              </a:prstGeom>
              <a:grpFill/>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4DB68C7-A90A-E940-85BD-C10A1E64736F}"/>
                  </a:ext>
                </a:extLst>
              </p:cNvPr>
              <p:cNvCxnSpPr>
                <a:cxnSpLocks/>
              </p:cNvCxnSpPr>
              <p:nvPr/>
            </p:nvCxnSpPr>
            <p:spPr>
              <a:xfrm>
                <a:off x="2237873" y="3685994"/>
                <a:ext cx="1074130" cy="0"/>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291B8FBF-5D5B-2643-8120-C82B0BF9B014}"/>
                  </a:ext>
                </a:extLst>
              </p:cNvPr>
              <p:cNvCxnSpPr>
                <a:cxnSpLocks/>
              </p:cNvCxnSpPr>
              <p:nvPr/>
            </p:nvCxnSpPr>
            <p:spPr>
              <a:xfrm>
                <a:off x="2242422" y="3481694"/>
                <a:ext cx="1" cy="206407"/>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7866FD4-2B3B-A146-8177-D11C0DA29ED6}"/>
                  </a:ext>
                </a:extLst>
              </p:cNvPr>
              <p:cNvCxnSpPr>
                <a:cxnSpLocks/>
              </p:cNvCxnSpPr>
              <p:nvPr/>
            </p:nvCxnSpPr>
            <p:spPr>
              <a:xfrm>
                <a:off x="3353134" y="3469135"/>
                <a:ext cx="0" cy="255111"/>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27757B02-459E-1546-B9D4-0203F7F8A582}"/>
                  </a:ext>
                </a:extLst>
              </p:cNvPr>
              <p:cNvCxnSpPr>
                <a:cxnSpLocks/>
              </p:cNvCxnSpPr>
              <p:nvPr/>
            </p:nvCxnSpPr>
            <p:spPr>
              <a:xfrm flipH="1">
                <a:off x="3330913" y="3481694"/>
                <a:ext cx="2" cy="202280"/>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87345B79-7F79-D949-B305-BE98B05E10FD}"/>
                  </a:ext>
                </a:extLst>
              </p:cNvPr>
              <p:cNvCxnSpPr>
                <a:cxnSpLocks/>
              </p:cNvCxnSpPr>
              <p:nvPr/>
            </p:nvCxnSpPr>
            <p:spPr>
              <a:xfrm>
                <a:off x="2219495" y="3383613"/>
                <a:ext cx="2076" cy="381819"/>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AD33B312-033B-8840-AD60-4142BEA40830}"/>
                  </a:ext>
                </a:extLst>
              </p:cNvPr>
              <p:cNvCxnSpPr>
                <a:cxnSpLocks/>
              </p:cNvCxnSpPr>
              <p:nvPr/>
            </p:nvCxnSpPr>
            <p:spPr>
              <a:xfrm>
                <a:off x="2216710" y="3772256"/>
                <a:ext cx="1168554" cy="0"/>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B32831C3-7274-4041-AE82-F43D36DE3298}"/>
                  </a:ext>
                </a:extLst>
              </p:cNvPr>
              <p:cNvCxnSpPr>
                <a:cxnSpLocks/>
              </p:cNvCxnSpPr>
              <p:nvPr/>
            </p:nvCxnSpPr>
            <p:spPr>
              <a:xfrm>
                <a:off x="3375853" y="3463497"/>
                <a:ext cx="0" cy="310420"/>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DA406A1A-8514-9B42-81DB-CCCC680EDC95}"/>
                  </a:ext>
                </a:extLst>
              </p:cNvPr>
              <p:cNvCxnSpPr>
                <a:cxnSpLocks/>
              </p:cNvCxnSpPr>
              <p:nvPr/>
            </p:nvCxnSpPr>
            <p:spPr>
              <a:xfrm flipH="1">
                <a:off x="1062300" y="3686474"/>
                <a:ext cx="220635" cy="0"/>
              </a:xfrm>
              <a:prstGeom prst="line">
                <a:avLst/>
              </a:prstGeom>
              <a:grpFill/>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F8534BE7-2112-2245-934D-0DD9361EF650}"/>
                  </a:ext>
                </a:extLst>
              </p:cNvPr>
              <p:cNvCxnSpPr>
                <a:cxnSpLocks/>
              </p:cNvCxnSpPr>
              <p:nvPr/>
            </p:nvCxnSpPr>
            <p:spPr>
              <a:xfrm>
                <a:off x="1087655" y="3725533"/>
                <a:ext cx="246814" cy="0"/>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5CB3CE90-8A68-E440-BEDF-D3F3DA308A61}"/>
                  </a:ext>
                </a:extLst>
              </p:cNvPr>
              <p:cNvCxnSpPr>
                <a:cxnSpLocks/>
              </p:cNvCxnSpPr>
              <p:nvPr/>
            </p:nvCxnSpPr>
            <p:spPr>
              <a:xfrm>
                <a:off x="1088476" y="3519794"/>
                <a:ext cx="1" cy="206407"/>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933C72A0-DC4B-2F41-9D31-97213909739D}"/>
                  </a:ext>
                </a:extLst>
              </p:cNvPr>
              <p:cNvCxnSpPr>
                <a:cxnSpLocks/>
              </p:cNvCxnSpPr>
              <p:nvPr/>
            </p:nvCxnSpPr>
            <p:spPr>
              <a:xfrm>
                <a:off x="1104878" y="3655871"/>
                <a:ext cx="1050481" cy="1511"/>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64A83F6-1310-4B49-9403-ED123E0A9225}"/>
                  </a:ext>
                </a:extLst>
              </p:cNvPr>
              <p:cNvCxnSpPr>
                <a:cxnSpLocks/>
              </p:cNvCxnSpPr>
              <p:nvPr/>
            </p:nvCxnSpPr>
            <p:spPr>
              <a:xfrm>
                <a:off x="2161249" y="3452639"/>
                <a:ext cx="1" cy="206407"/>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0" name="Can 159">
                <a:extLst>
                  <a:ext uri="{FF2B5EF4-FFF2-40B4-BE49-F238E27FC236}">
                    <a16:creationId xmlns:a16="http://schemas.microsoft.com/office/drawing/2014/main" id="{582206BC-8EEF-344F-ADDB-FD887D2B7DDB}"/>
                  </a:ext>
                </a:extLst>
              </p:cNvPr>
              <p:cNvSpPr/>
              <p:nvPr/>
            </p:nvSpPr>
            <p:spPr>
              <a:xfrm>
                <a:off x="3230523" y="3353525"/>
                <a:ext cx="185854" cy="146048"/>
              </a:xfrm>
              <a:prstGeom prst="can">
                <a:avLst/>
              </a:prstGeom>
              <a:solidFill>
                <a:srgbClr val="00D2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Rectangle 160">
                <a:extLst>
                  <a:ext uri="{FF2B5EF4-FFF2-40B4-BE49-F238E27FC236}">
                    <a16:creationId xmlns:a16="http://schemas.microsoft.com/office/drawing/2014/main" id="{D80E5DB9-39E6-464B-B246-0102028C0B05}"/>
                  </a:ext>
                </a:extLst>
              </p:cNvPr>
              <p:cNvSpPr/>
              <p:nvPr/>
            </p:nvSpPr>
            <p:spPr>
              <a:xfrm>
                <a:off x="1032296" y="3432816"/>
                <a:ext cx="45719" cy="45719"/>
              </a:xfrm>
              <a:prstGeom prst="rect">
                <a:avLst/>
              </a:prstGeom>
              <a:grp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3" name="Straight Connector 162">
                <a:extLst>
                  <a:ext uri="{FF2B5EF4-FFF2-40B4-BE49-F238E27FC236}">
                    <a16:creationId xmlns:a16="http://schemas.microsoft.com/office/drawing/2014/main" id="{8AE8C1B1-4967-0346-B1DB-13A4A90928DB}"/>
                  </a:ext>
                </a:extLst>
              </p:cNvPr>
              <p:cNvCxnSpPr>
                <a:cxnSpLocks/>
              </p:cNvCxnSpPr>
              <p:nvPr/>
            </p:nvCxnSpPr>
            <p:spPr>
              <a:xfrm>
                <a:off x="2141500" y="3470450"/>
                <a:ext cx="0" cy="255111"/>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DC544475-3595-124C-A33F-2688BD8F450F}"/>
                  </a:ext>
                </a:extLst>
              </p:cNvPr>
              <p:cNvCxnSpPr>
                <a:cxnSpLocks/>
              </p:cNvCxnSpPr>
              <p:nvPr/>
            </p:nvCxnSpPr>
            <p:spPr>
              <a:xfrm>
                <a:off x="1083643" y="3724247"/>
                <a:ext cx="1059749" cy="0"/>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6EB8D86-EEB7-F040-8EC2-374B707D969F}"/>
                  </a:ext>
                </a:extLst>
              </p:cNvPr>
              <p:cNvCxnSpPr>
                <a:cxnSpLocks/>
              </p:cNvCxnSpPr>
              <p:nvPr/>
            </p:nvCxnSpPr>
            <p:spPr>
              <a:xfrm>
                <a:off x="2196374" y="3519019"/>
                <a:ext cx="1" cy="206407"/>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9DE23C0-2B52-9849-A40F-F7ACBBA9D8CC}"/>
                  </a:ext>
                </a:extLst>
              </p:cNvPr>
              <p:cNvCxnSpPr>
                <a:cxnSpLocks/>
              </p:cNvCxnSpPr>
              <p:nvPr/>
            </p:nvCxnSpPr>
            <p:spPr>
              <a:xfrm>
                <a:off x="2195471" y="3723474"/>
                <a:ext cx="1089551" cy="0"/>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9DD1AAC4-48E7-CE48-B55A-A54664672D6C}"/>
                  </a:ext>
                </a:extLst>
              </p:cNvPr>
              <p:cNvCxnSpPr>
                <a:cxnSpLocks/>
              </p:cNvCxnSpPr>
              <p:nvPr/>
            </p:nvCxnSpPr>
            <p:spPr>
              <a:xfrm flipH="1">
                <a:off x="3084932" y="3724246"/>
                <a:ext cx="274930" cy="0"/>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B65DA04-196E-B44D-AC87-634E09399042}"/>
                  </a:ext>
                </a:extLst>
              </p:cNvPr>
              <p:cNvCxnSpPr>
                <a:cxnSpLocks/>
              </p:cNvCxnSpPr>
              <p:nvPr/>
            </p:nvCxnSpPr>
            <p:spPr>
              <a:xfrm>
                <a:off x="2195122" y="3446566"/>
                <a:ext cx="1" cy="206407"/>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A85968F1-4AC7-7F46-AC94-1936340B0226}"/>
                  </a:ext>
                </a:extLst>
              </p:cNvPr>
              <p:cNvCxnSpPr>
                <a:cxnSpLocks/>
              </p:cNvCxnSpPr>
              <p:nvPr/>
            </p:nvCxnSpPr>
            <p:spPr>
              <a:xfrm flipH="1">
                <a:off x="3057442" y="3685519"/>
                <a:ext cx="274930" cy="0"/>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3E5211AE-BC2A-9040-9B93-DE359CFD52F4}"/>
                  </a:ext>
                </a:extLst>
              </p:cNvPr>
              <p:cNvSpPr/>
              <p:nvPr/>
            </p:nvSpPr>
            <p:spPr>
              <a:xfrm>
                <a:off x="962391" y="3594000"/>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Can 170">
                <a:extLst>
                  <a:ext uri="{FF2B5EF4-FFF2-40B4-BE49-F238E27FC236}">
                    <a16:creationId xmlns:a16="http://schemas.microsoft.com/office/drawing/2014/main" id="{551696A9-6D53-0549-8EBD-0BE249F5CC95}"/>
                  </a:ext>
                </a:extLst>
              </p:cNvPr>
              <p:cNvSpPr/>
              <p:nvPr/>
            </p:nvSpPr>
            <p:spPr>
              <a:xfrm>
                <a:off x="2096477" y="3350154"/>
                <a:ext cx="185854" cy="142922"/>
              </a:xfrm>
              <a:prstGeom prst="can">
                <a:avLst/>
              </a:prstGeom>
              <a:solidFill>
                <a:srgbClr val="00D2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76" name="Straight Arrow Connector 175">
              <a:extLst>
                <a:ext uri="{FF2B5EF4-FFF2-40B4-BE49-F238E27FC236}">
                  <a16:creationId xmlns:a16="http://schemas.microsoft.com/office/drawing/2014/main" id="{79210C0B-AD3C-8A41-BBB6-5B6030720960}"/>
                </a:ext>
              </a:extLst>
            </p:cNvPr>
            <p:cNvCxnSpPr>
              <a:cxnSpLocks/>
            </p:cNvCxnSpPr>
            <p:nvPr/>
          </p:nvCxnSpPr>
          <p:spPr>
            <a:xfrm flipV="1">
              <a:off x="5196123" y="1962904"/>
              <a:ext cx="337395" cy="614219"/>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77FE4B50-A209-3F41-BFCA-26FE5CB0978B}"/>
                </a:ext>
              </a:extLst>
            </p:cNvPr>
            <p:cNvCxnSpPr>
              <a:cxnSpLocks/>
            </p:cNvCxnSpPr>
            <p:nvPr/>
          </p:nvCxnSpPr>
          <p:spPr>
            <a:xfrm flipV="1">
              <a:off x="5513831" y="2022894"/>
              <a:ext cx="279131" cy="620929"/>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D8F82C18-08C8-3041-96DB-AD91D22FCE6D}"/>
                </a:ext>
              </a:extLst>
            </p:cNvPr>
            <p:cNvCxnSpPr>
              <a:cxnSpLocks/>
            </p:cNvCxnSpPr>
            <p:nvPr/>
          </p:nvCxnSpPr>
          <p:spPr>
            <a:xfrm flipH="1" flipV="1">
              <a:off x="6139042" y="1967367"/>
              <a:ext cx="203877" cy="659854"/>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494378FE-37EC-2A43-A8CC-0A26308EC6C1}"/>
                </a:ext>
              </a:extLst>
            </p:cNvPr>
            <p:cNvCxnSpPr>
              <a:cxnSpLocks/>
            </p:cNvCxnSpPr>
            <p:nvPr/>
          </p:nvCxnSpPr>
          <p:spPr>
            <a:xfrm flipH="1" flipV="1">
              <a:off x="6412071" y="2005446"/>
              <a:ext cx="171861" cy="48354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6EF80138-E383-2C4C-8748-0735A0F668B9}"/>
                </a:ext>
              </a:extLst>
            </p:cNvPr>
            <p:cNvSpPr txBox="1"/>
            <p:nvPr/>
          </p:nvSpPr>
          <p:spPr>
            <a:xfrm>
              <a:off x="4831455" y="2012781"/>
              <a:ext cx="508050" cy="201259"/>
            </a:xfrm>
            <a:prstGeom prst="rect">
              <a:avLst/>
            </a:prstGeom>
            <a:noFill/>
          </p:spPr>
          <p:txBody>
            <a:bodyPr wrap="none" rtlCol="0">
              <a:spAutoFit/>
            </a:bodyPr>
            <a:lstStyle/>
            <a:p>
              <a:r>
                <a:rPr lang="en-US" sz="800" b="1" dirty="0">
                  <a:latin typeface="+mn-lt"/>
                </a:rPr>
                <a:t>Netconf / Yang </a:t>
              </a:r>
            </a:p>
          </p:txBody>
        </p:sp>
        <p:grpSp>
          <p:nvGrpSpPr>
            <p:cNvPr id="13" name="Group 12"/>
            <p:cNvGrpSpPr/>
            <p:nvPr/>
          </p:nvGrpSpPr>
          <p:grpSpPr>
            <a:xfrm>
              <a:off x="4836804" y="1239725"/>
              <a:ext cx="2081369" cy="719216"/>
              <a:chOff x="358445" y="1675182"/>
              <a:chExt cx="3313784" cy="880896"/>
            </a:xfrm>
          </p:grpSpPr>
          <p:sp>
            <p:nvSpPr>
              <p:cNvPr id="9" name="Rectangle 8"/>
              <p:cNvSpPr/>
              <p:nvPr/>
            </p:nvSpPr>
            <p:spPr>
              <a:xfrm>
                <a:off x="358445" y="1675182"/>
                <a:ext cx="3313784" cy="880896"/>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p:cNvGrpSpPr/>
              <p:nvPr/>
            </p:nvGrpSpPr>
            <p:grpSpPr>
              <a:xfrm>
                <a:off x="2444338" y="1743170"/>
                <a:ext cx="1141824" cy="736685"/>
                <a:chOff x="1707085" y="1743169"/>
                <a:chExt cx="1141825" cy="736684"/>
              </a:xfrm>
            </p:grpSpPr>
            <p:sp>
              <p:nvSpPr>
                <p:cNvPr id="8" name="Rectangle 7"/>
                <p:cNvSpPr/>
                <p:nvPr/>
              </p:nvSpPr>
              <p:spPr>
                <a:xfrm>
                  <a:off x="1707085" y="1743169"/>
                  <a:ext cx="1141825" cy="73668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b="1" dirty="0"/>
                    <a:t>EPN-M</a:t>
                  </a:r>
                </a:p>
              </p:txBody>
            </p:sp>
            <p:sp>
              <p:nvSpPr>
                <p:cNvPr id="10" name="Rounded Rectangle 9"/>
                <p:cNvSpPr/>
                <p:nvPr/>
              </p:nvSpPr>
              <p:spPr>
                <a:xfrm>
                  <a:off x="1798312" y="1982419"/>
                  <a:ext cx="959371" cy="409651"/>
                </a:xfrm>
                <a:prstGeom prst="round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1911339" y="2018996"/>
                  <a:ext cx="733316" cy="8778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Rectangle 173"/>
                <p:cNvSpPr/>
                <p:nvPr/>
              </p:nvSpPr>
              <p:spPr>
                <a:xfrm>
                  <a:off x="1911339" y="2145794"/>
                  <a:ext cx="733316" cy="8778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5" name="Rectangle 174"/>
                <p:cNvSpPr/>
                <p:nvPr/>
              </p:nvSpPr>
              <p:spPr>
                <a:xfrm>
                  <a:off x="1911339" y="2272591"/>
                  <a:ext cx="733316" cy="8778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Rectangle 60"/>
              <p:cNvSpPr/>
              <p:nvPr/>
            </p:nvSpPr>
            <p:spPr>
              <a:xfrm>
                <a:off x="437765" y="1743170"/>
                <a:ext cx="1863248" cy="7366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b="1" dirty="0"/>
                  <a:t>Crosswork</a:t>
                </a:r>
              </a:p>
            </p:txBody>
          </p:sp>
          <p:sp>
            <p:nvSpPr>
              <p:cNvPr id="62" name="Rounded Rectangle 61"/>
              <p:cNvSpPr/>
              <p:nvPr/>
            </p:nvSpPr>
            <p:spPr>
              <a:xfrm>
                <a:off x="541325" y="1982417"/>
                <a:ext cx="1668464" cy="409652"/>
              </a:xfrm>
              <a:prstGeom prst="round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p:cNvGrpSpPr/>
              <p:nvPr/>
            </p:nvGrpSpPr>
            <p:grpSpPr>
              <a:xfrm>
                <a:off x="611043" y="2018639"/>
                <a:ext cx="1516694" cy="341734"/>
                <a:chOff x="623955" y="2018639"/>
                <a:chExt cx="1516695" cy="341734"/>
              </a:xfrm>
            </p:grpSpPr>
            <p:sp>
              <p:nvSpPr>
                <p:cNvPr id="63" name="Rectangle 62"/>
                <p:cNvSpPr/>
                <p:nvPr/>
              </p:nvSpPr>
              <p:spPr>
                <a:xfrm>
                  <a:off x="1407334" y="2018995"/>
                  <a:ext cx="733316" cy="877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64"/>
                <p:cNvSpPr/>
                <p:nvPr/>
              </p:nvSpPr>
              <p:spPr>
                <a:xfrm>
                  <a:off x="1407334" y="2272590"/>
                  <a:ext cx="733316" cy="877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p:cNvSpPr/>
                <p:nvPr/>
              </p:nvSpPr>
              <p:spPr>
                <a:xfrm>
                  <a:off x="623956" y="2018639"/>
                  <a:ext cx="733316" cy="877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ectangle 67"/>
                <p:cNvSpPr/>
                <p:nvPr/>
              </p:nvSpPr>
              <p:spPr>
                <a:xfrm>
                  <a:off x="623955" y="2145438"/>
                  <a:ext cx="1512051" cy="89634"/>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ectangle 68"/>
                <p:cNvSpPr/>
                <p:nvPr/>
              </p:nvSpPr>
              <p:spPr>
                <a:xfrm>
                  <a:off x="623956" y="2272234"/>
                  <a:ext cx="733316" cy="877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sp>
        <p:nvSpPr>
          <p:cNvPr id="85" name="Rectangle: Rounded Corners 349">
            <a:extLst>
              <a:ext uri="{FF2B5EF4-FFF2-40B4-BE49-F238E27FC236}">
                <a16:creationId xmlns:a16="http://schemas.microsoft.com/office/drawing/2014/main" id="{E10BEF28-6ED9-4D89-A698-9B4E4D84E933}"/>
              </a:ext>
            </a:extLst>
          </p:cNvPr>
          <p:cNvSpPr/>
          <p:nvPr/>
        </p:nvSpPr>
        <p:spPr>
          <a:xfrm>
            <a:off x="0" y="3642034"/>
            <a:ext cx="9147176" cy="1501466"/>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113" name="TextBox 112">
            <a:extLst>
              <a:ext uri="{FF2B5EF4-FFF2-40B4-BE49-F238E27FC236}">
                <a16:creationId xmlns:a16="http://schemas.microsoft.com/office/drawing/2014/main" id="{25D099EE-95EA-46F1-A28B-EBDBB35880A7}"/>
              </a:ext>
            </a:extLst>
          </p:cNvPr>
          <p:cNvSpPr txBox="1"/>
          <p:nvPr/>
        </p:nvSpPr>
        <p:spPr>
          <a:xfrm>
            <a:off x="7329002" y="4314861"/>
            <a:ext cx="1380718" cy="738664"/>
          </a:xfrm>
          <a:prstGeom prst="rect">
            <a:avLst/>
          </a:prstGeom>
          <a:noFill/>
        </p:spPr>
        <p:txBody>
          <a:bodyPr wrap="square" rtlCol="0">
            <a:spAutoFit/>
          </a:bodyPr>
          <a:lstStyle/>
          <a:p>
            <a:r>
              <a:rPr lang="en-US" sz="1050" dirty="0">
                <a:solidFill>
                  <a:schemeClr val="bg2"/>
                </a:solidFill>
                <a:latin typeface="+mn-lt"/>
              </a:rPr>
              <a:t>Leverages industry standards</a:t>
            </a:r>
          </a:p>
          <a:p>
            <a:endParaRPr lang="en-US" sz="1050" dirty="0">
              <a:solidFill>
                <a:schemeClr val="bg2"/>
              </a:solidFill>
              <a:latin typeface="+mn-lt"/>
            </a:endParaRPr>
          </a:p>
          <a:p>
            <a:endParaRPr lang="en-US" sz="1050" dirty="0">
              <a:solidFill>
                <a:schemeClr val="bg2"/>
              </a:solidFill>
              <a:latin typeface="+mn-lt"/>
            </a:endParaRPr>
          </a:p>
        </p:txBody>
      </p:sp>
      <p:sp>
        <p:nvSpPr>
          <p:cNvPr id="114" name="TextBox 113">
            <a:extLst>
              <a:ext uri="{FF2B5EF4-FFF2-40B4-BE49-F238E27FC236}">
                <a16:creationId xmlns:a16="http://schemas.microsoft.com/office/drawing/2014/main" id="{72616906-71E2-4790-9B8B-B596B9AF9268}"/>
              </a:ext>
            </a:extLst>
          </p:cNvPr>
          <p:cNvSpPr txBox="1"/>
          <p:nvPr/>
        </p:nvSpPr>
        <p:spPr>
          <a:xfrm>
            <a:off x="1750928" y="4314861"/>
            <a:ext cx="1380718" cy="738664"/>
          </a:xfrm>
          <a:prstGeom prst="rect">
            <a:avLst/>
          </a:prstGeom>
          <a:noFill/>
        </p:spPr>
        <p:txBody>
          <a:bodyPr wrap="square" rtlCol="0">
            <a:spAutoFit/>
          </a:bodyPr>
          <a:lstStyle/>
          <a:p>
            <a:r>
              <a:rPr lang="en-US" sz="1050" dirty="0">
                <a:solidFill>
                  <a:schemeClr val="bg2"/>
                </a:solidFill>
                <a:latin typeface="+mn-lt"/>
              </a:rPr>
              <a:t>Simplifies planning and feasibility</a:t>
            </a:r>
          </a:p>
          <a:p>
            <a:endParaRPr lang="en-US" sz="1050" dirty="0">
              <a:solidFill>
                <a:schemeClr val="bg2"/>
              </a:solidFill>
              <a:latin typeface="+mn-lt"/>
            </a:endParaRPr>
          </a:p>
          <a:p>
            <a:endParaRPr lang="en-US" sz="1050" dirty="0">
              <a:solidFill>
                <a:schemeClr val="bg2"/>
              </a:solidFill>
              <a:latin typeface="+mn-lt"/>
            </a:endParaRPr>
          </a:p>
        </p:txBody>
      </p:sp>
      <p:sp>
        <p:nvSpPr>
          <p:cNvPr id="115" name="TextBox 114">
            <a:extLst>
              <a:ext uri="{FF2B5EF4-FFF2-40B4-BE49-F238E27FC236}">
                <a16:creationId xmlns:a16="http://schemas.microsoft.com/office/drawing/2014/main" id="{8E8A4883-858C-47D2-801A-7C912B9BFFA0}"/>
              </a:ext>
            </a:extLst>
          </p:cNvPr>
          <p:cNvSpPr txBox="1"/>
          <p:nvPr/>
        </p:nvSpPr>
        <p:spPr>
          <a:xfrm>
            <a:off x="3162004" y="4314861"/>
            <a:ext cx="1380718" cy="738664"/>
          </a:xfrm>
          <a:prstGeom prst="rect">
            <a:avLst/>
          </a:prstGeom>
          <a:noFill/>
        </p:spPr>
        <p:txBody>
          <a:bodyPr wrap="square" rtlCol="0">
            <a:spAutoFit/>
          </a:bodyPr>
          <a:lstStyle/>
          <a:p>
            <a:r>
              <a:rPr lang="en-US" sz="1050" dirty="0">
                <a:solidFill>
                  <a:schemeClr val="bg2"/>
                </a:solidFill>
                <a:latin typeface="+mn-lt"/>
              </a:rPr>
              <a:t>Moves management and control closer to the service</a:t>
            </a:r>
          </a:p>
        </p:txBody>
      </p:sp>
      <p:sp>
        <p:nvSpPr>
          <p:cNvPr id="116" name="TextBox 115">
            <a:extLst>
              <a:ext uri="{FF2B5EF4-FFF2-40B4-BE49-F238E27FC236}">
                <a16:creationId xmlns:a16="http://schemas.microsoft.com/office/drawing/2014/main" id="{F475F807-FF00-4B39-8EB7-2BA3B1F77832}"/>
              </a:ext>
            </a:extLst>
          </p:cNvPr>
          <p:cNvSpPr txBox="1"/>
          <p:nvPr/>
        </p:nvSpPr>
        <p:spPr>
          <a:xfrm>
            <a:off x="4578598" y="4314861"/>
            <a:ext cx="1380718" cy="738664"/>
          </a:xfrm>
          <a:prstGeom prst="rect">
            <a:avLst/>
          </a:prstGeom>
          <a:noFill/>
        </p:spPr>
        <p:txBody>
          <a:bodyPr wrap="square" rtlCol="0">
            <a:spAutoFit/>
          </a:bodyPr>
          <a:lstStyle/>
          <a:p>
            <a:r>
              <a:rPr lang="en-US" sz="1050" dirty="0">
                <a:solidFill>
                  <a:schemeClr val="bg2"/>
                </a:solidFill>
                <a:latin typeface="+mn-lt"/>
              </a:rPr>
              <a:t>Reduces power and footprint</a:t>
            </a:r>
          </a:p>
          <a:p>
            <a:endParaRPr lang="en-US" sz="1050" dirty="0">
              <a:solidFill>
                <a:schemeClr val="bg2"/>
              </a:solidFill>
              <a:latin typeface="+mn-lt"/>
            </a:endParaRPr>
          </a:p>
          <a:p>
            <a:endParaRPr lang="en-US" sz="1050" dirty="0">
              <a:solidFill>
                <a:schemeClr val="bg2"/>
              </a:solidFill>
              <a:latin typeface="+mn-lt"/>
            </a:endParaRPr>
          </a:p>
        </p:txBody>
      </p:sp>
      <p:sp>
        <p:nvSpPr>
          <p:cNvPr id="117" name="TextBox 116">
            <a:extLst>
              <a:ext uri="{FF2B5EF4-FFF2-40B4-BE49-F238E27FC236}">
                <a16:creationId xmlns:a16="http://schemas.microsoft.com/office/drawing/2014/main" id="{EF3F4F94-D896-4819-A5F5-C86BD4FBAC24}"/>
              </a:ext>
            </a:extLst>
          </p:cNvPr>
          <p:cNvSpPr txBox="1"/>
          <p:nvPr/>
        </p:nvSpPr>
        <p:spPr>
          <a:xfrm>
            <a:off x="5953799" y="4314861"/>
            <a:ext cx="1380718" cy="1061829"/>
          </a:xfrm>
          <a:prstGeom prst="rect">
            <a:avLst/>
          </a:prstGeom>
          <a:noFill/>
        </p:spPr>
        <p:txBody>
          <a:bodyPr wrap="square" rtlCol="0">
            <a:spAutoFit/>
          </a:bodyPr>
          <a:lstStyle/>
          <a:p>
            <a:r>
              <a:rPr lang="en-US" sz="1050" dirty="0">
                <a:solidFill>
                  <a:schemeClr val="bg2"/>
                </a:solidFill>
                <a:latin typeface="+mn-lt"/>
              </a:rPr>
              <a:t>Enables the sharing of network information for services</a:t>
            </a:r>
          </a:p>
          <a:p>
            <a:endParaRPr lang="en-US" sz="1050" dirty="0">
              <a:solidFill>
                <a:schemeClr val="bg2"/>
              </a:solidFill>
              <a:latin typeface="+mn-lt"/>
            </a:endParaRPr>
          </a:p>
          <a:p>
            <a:endParaRPr lang="en-US" sz="1050" dirty="0">
              <a:solidFill>
                <a:schemeClr val="bg2"/>
              </a:solidFill>
              <a:latin typeface="+mn-lt"/>
            </a:endParaRPr>
          </a:p>
        </p:txBody>
      </p:sp>
      <p:sp>
        <p:nvSpPr>
          <p:cNvPr id="118" name="TextBox 117">
            <a:extLst>
              <a:ext uri="{FF2B5EF4-FFF2-40B4-BE49-F238E27FC236}">
                <a16:creationId xmlns:a16="http://schemas.microsoft.com/office/drawing/2014/main" id="{807023EA-44C5-406D-A03D-F3FA2072449F}"/>
              </a:ext>
            </a:extLst>
          </p:cNvPr>
          <p:cNvSpPr txBox="1"/>
          <p:nvPr/>
        </p:nvSpPr>
        <p:spPr>
          <a:xfrm>
            <a:off x="452995" y="4314861"/>
            <a:ext cx="1380718" cy="738664"/>
          </a:xfrm>
          <a:prstGeom prst="rect">
            <a:avLst/>
          </a:prstGeom>
          <a:noFill/>
        </p:spPr>
        <p:txBody>
          <a:bodyPr wrap="square" rtlCol="0">
            <a:spAutoFit/>
          </a:bodyPr>
          <a:lstStyle/>
          <a:p>
            <a:r>
              <a:rPr lang="en-US" sz="1050" dirty="0">
                <a:solidFill>
                  <a:schemeClr val="bg2"/>
                </a:solidFill>
                <a:latin typeface="+mn-lt"/>
              </a:rPr>
              <a:t>Provides a single Interface</a:t>
            </a:r>
          </a:p>
          <a:p>
            <a:endParaRPr lang="en-US" sz="1050" dirty="0">
              <a:solidFill>
                <a:schemeClr val="bg2"/>
              </a:solidFill>
              <a:latin typeface="+mn-lt"/>
            </a:endParaRPr>
          </a:p>
          <a:p>
            <a:endParaRPr lang="en-US" sz="1050" dirty="0">
              <a:solidFill>
                <a:schemeClr val="bg2"/>
              </a:solidFill>
              <a:latin typeface="+mn-lt"/>
            </a:endParaRPr>
          </a:p>
        </p:txBody>
      </p:sp>
      <p:sp>
        <p:nvSpPr>
          <p:cNvPr id="19" name="Rectangle: Rounded Corners 18">
            <a:extLst>
              <a:ext uri="{FF2B5EF4-FFF2-40B4-BE49-F238E27FC236}">
                <a16:creationId xmlns:a16="http://schemas.microsoft.com/office/drawing/2014/main" id="{1515E483-88A5-4C13-9EA6-94DBC7AA65B5}"/>
              </a:ext>
            </a:extLst>
          </p:cNvPr>
          <p:cNvSpPr/>
          <p:nvPr/>
        </p:nvSpPr>
        <p:spPr>
          <a:xfrm>
            <a:off x="897510" y="1300983"/>
            <a:ext cx="3375198" cy="1458768"/>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5" name="Group 224">
            <a:extLst>
              <a:ext uri="{FF2B5EF4-FFF2-40B4-BE49-F238E27FC236}">
                <a16:creationId xmlns:a16="http://schemas.microsoft.com/office/drawing/2014/main" id="{22F3FE38-D7D1-48FB-82EC-FE0BB43D6210}"/>
              </a:ext>
            </a:extLst>
          </p:cNvPr>
          <p:cNvGrpSpPr/>
          <p:nvPr/>
        </p:nvGrpSpPr>
        <p:grpSpPr>
          <a:xfrm>
            <a:off x="973753" y="1366964"/>
            <a:ext cx="3316871" cy="1356620"/>
            <a:chOff x="860757" y="1494377"/>
            <a:chExt cx="2735083" cy="972844"/>
          </a:xfrm>
        </p:grpSpPr>
        <p:sp>
          <p:nvSpPr>
            <p:cNvPr id="226" name="Can 15">
              <a:extLst>
                <a:ext uri="{FF2B5EF4-FFF2-40B4-BE49-F238E27FC236}">
                  <a16:creationId xmlns:a16="http://schemas.microsoft.com/office/drawing/2014/main" id="{7A5E763F-B76D-476F-8832-43F85D284DEC}"/>
                </a:ext>
              </a:extLst>
            </p:cNvPr>
            <p:cNvSpPr/>
            <p:nvPr/>
          </p:nvSpPr>
          <p:spPr>
            <a:xfrm rot="16200000">
              <a:off x="2109485" y="1098229"/>
              <a:ext cx="169085" cy="2203263"/>
            </a:xfrm>
            <a:prstGeom prst="can">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7" name="Preparation 60">
              <a:extLst>
                <a:ext uri="{FF2B5EF4-FFF2-40B4-BE49-F238E27FC236}">
                  <a16:creationId xmlns:a16="http://schemas.microsoft.com/office/drawing/2014/main" id="{9083DFD8-5D47-4461-BB57-92BB028A09C8}"/>
                </a:ext>
              </a:extLst>
            </p:cNvPr>
            <p:cNvSpPr/>
            <p:nvPr/>
          </p:nvSpPr>
          <p:spPr>
            <a:xfrm>
              <a:off x="3185434" y="2084191"/>
              <a:ext cx="282298" cy="215724"/>
            </a:xfrm>
            <a:prstGeom prst="flowChartPreparati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8" name="Preparation 61">
              <a:extLst>
                <a:ext uri="{FF2B5EF4-FFF2-40B4-BE49-F238E27FC236}">
                  <a16:creationId xmlns:a16="http://schemas.microsoft.com/office/drawing/2014/main" id="{D3F63D78-1027-4AC1-876C-D13EE56ED046}"/>
                </a:ext>
              </a:extLst>
            </p:cNvPr>
            <p:cNvSpPr/>
            <p:nvPr/>
          </p:nvSpPr>
          <p:spPr>
            <a:xfrm>
              <a:off x="1991695" y="2083099"/>
              <a:ext cx="282298" cy="211997"/>
            </a:xfrm>
            <a:prstGeom prst="flowChartPreparati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Preparation 62">
              <a:extLst>
                <a:ext uri="{FF2B5EF4-FFF2-40B4-BE49-F238E27FC236}">
                  <a16:creationId xmlns:a16="http://schemas.microsoft.com/office/drawing/2014/main" id="{A95B4827-E9BD-4679-9A0C-FF10C7BB9AB6}"/>
                </a:ext>
              </a:extLst>
            </p:cNvPr>
            <p:cNvSpPr/>
            <p:nvPr/>
          </p:nvSpPr>
          <p:spPr>
            <a:xfrm>
              <a:off x="909126" y="2070694"/>
              <a:ext cx="290739" cy="217635"/>
            </a:xfrm>
            <a:prstGeom prst="flowChartPreparati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0" name="Straight Connector 229">
              <a:extLst>
                <a:ext uri="{FF2B5EF4-FFF2-40B4-BE49-F238E27FC236}">
                  <a16:creationId xmlns:a16="http://schemas.microsoft.com/office/drawing/2014/main" id="{99664659-0341-409B-B064-7AE29ECB2789}"/>
                </a:ext>
              </a:extLst>
            </p:cNvPr>
            <p:cNvCxnSpPr>
              <a:cxnSpLocks/>
            </p:cNvCxnSpPr>
            <p:nvPr/>
          </p:nvCxnSpPr>
          <p:spPr>
            <a:xfrm>
              <a:off x="2192648" y="1629830"/>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2516F770-FAFA-4754-B4EA-4D4D32B0228F}"/>
                </a:ext>
              </a:extLst>
            </p:cNvPr>
            <p:cNvCxnSpPr>
              <a:cxnSpLocks/>
            </p:cNvCxnSpPr>
            <p:nvPr/>
          </p:nvCxnSpPr>
          <p:spPr>
            <a:xfrm>
              <a:off x="2076642" y="1635708"/>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E4934FCE-E5BC-4FEE-97F2-F8608767BA65}"/>
                </a:ext>
              </a:extLst>
            </p:cNvPr>
            <p:cNvCxnSpPr>
              <a:cxnSpLocks/>
            </p:cNvCxnSpPr>
            <p:nvPr/>
          </p:nvCxnSpPr>
          <p:spPr>
            <a:xfrm>
              <a:off x="984817" y="1930869"/>
              <a:ext cx="1" cy="20640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0686A62-0563-455F-959E-836002C565C1}"/>
                </a:ext>
              </a:extLst>
            </p:cNvPr>
            <p:cNvCxnSpPr>
              <a:cxnSpLocks/>
            </p:cNvCxnSpPr>
            <p:nvPr/>
          </p:nvCxnSpPr>
          <p:spPr>
            <a:xfrm>
              <a:off x="1009837" y="1944212"/>
              <a:ext cx="1" cy="206407"/>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A2DB9184-D1AB-45F9-8607-35EEA5479053}"/>
                </a:ext>
              </a:extLst>
            </p:cNvPr>
            <p:cNvCxnSpPr>
              <a:cxnSpLocks/>
            </p:cNvCxnSpPr>
            <p:nvPr/>
          </p:nvCxnSpPr>
          <p:spPr>
            <a:xfrm>
              <a:off x="1034858" y="1913212"/>
              <a:ext cx="1" cy="20640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11EEF6A7-D1DB-489B-B665-0C325EBD87B4}"/>
                </a:ext>
              </a:extLst>
            </p:cNvPr>
            <p:cNvCxnSpPr>
              <a:cxnSpLocks/>
            </p:cNvCxnSpPr>
            <p:nvPr/>
          </p:nvCxnSpPr>
          <p:spPr>
            <a:xfrm>
              <a:off x="1062825" y="1905529"/>
              <a:ext cx="1" cy="20640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C7D9DB50-3704-476B-9FC8-62736E354B66}"/>
                </a:ext>
              </a:extLst>
            </p:cNvPr>
            <p:cNvCxnSpPr>
              <a:cxnSpLocks/>
            </p:cNvCxnSpPr>
            <p:nvPr/>
          </p:nvCxnSpPr>
          <p:spPr>
            <a:xfrm>
              <a:off x="1085689" y="1907803"/>
              <a:ext cx="1" cy="206407"/>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1D5B8351-64AF-44BD-9048-223A7DEFE140}"/>
                </a:ext>
              </a:extLst>
            </p:cNvPr>
            <p:cNvCxnSpPr>
              <a:cxnSpLocks/>
            </p:cNvCxnSpPr>
            <p:nvPr/>
          </p:nvCxnSpPr>
          <p:spPr>
            <a:xfrm>
              <a:off x="987091" y="1633433"/>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FF34AFB8-AF95-43FF-BB12-166BCDDCF7DA}"/>
                </a:ext>
              </a:extLst>
            </p:cNvPr>
            <p:cNvCxnSpPr>
              <a:cxnSpLocks/>
            </p:cNvCxnSpPr>
            <p:nvPr/>
          </p:nvCxnSpPr>
          <p:spPr>
            <a:xfrm>
              <a:off x="1012111" y="1622059"/>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1344981B-FD67-45AB-8D82-CC2789735DCF}"/>
                </a:ext>
              </a:extLst>
            </p:cNvPr>
            <p:cNvCxnSpPr>
              <a:cxnSpLocks/>
            </p:cNvCxnSpPr>
            <p:nvPr/>
          </p:nvCxnSpPr>
          <p:spPr>
            <a:xfrm>
              <a:off x="1037132" y="1633431"/>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99200E8C-78CB-4E5F-9E75-2569E0D51C53}"/>
                </a:ext>
              </a:extLst>
            </p:cNvPr>
            <p:cNvCxnSpPr>
              <a:cxnSpLocks/>
            </p:cNvCxnSpPr>
            <p:nvPr/>
          </p:nvCxnSpPr>
          <p:spPr>
            <a:xfrm>
              <a:off x="1065099" y="1625748"/>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B0383F56-0F16-462E-B0DE-90D34CA4E1C7}"/>
                </a:ext>
              </a:extLst>
            </p:cNvPr>
            <p:cNvCxnSpPr>
              <a:cxnSpLocks/>
            </p:cNvCxnSpPr>
            <p:nvPr/>
          </p:nvCxnSpPr>
          <p:spPr>
            <a:xfrm>
              <a:off x="1094669" y="1628022"/>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47BAAEE1-C0C3-4093-BCFD-C01D4A04FFB5}"/>
                </a:ext>
              </a:extLst>
            </p:cNvPr>
            <p:cNvCxnSpPr>
              <a:cxnSpLocks/>
            </p:cNvCxnSpPr>
            <p:nvPr/>
          </p:nvCxnSpPr>
          <p:spPr>
            <a:xfrm>
              <a:off x="1119690" y="1630296"/>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43" name="Can 3">
              <a:extLst>
                <a:ext uri="{FF2B5EF4-FFF2-40B4-BE49-F238E27FC236}">
                  <a16:creationId xmlns:a16="http://schemas.microsoft.com/office/drawing/2014/main" id="{9C3E9EB8-1CE9-46D1-B16D-13A2E91F5FBF}"/>
                </a:ext>
              </a:extLst>
            </p:cNvPr>
            <p:cNvSpPr/>
            <p:nvPr/>
          </p:nvSpPr>
          <p:spPr>
            <a:xfrm>
              <a:off x="957937" y="1500439"/>
              <a:ext cx="185854" cy="143021"/>
            </a:xfrm>
            <a:prstGeom prst="ca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4" name="Picture 243">
              <a:extLst>
                <a:ext uri="{FF2B5EF4-FFF2-40B4-BE49-F238E27FC236}">
                  <a16:creationId xmlns:a16="http://schemas.microsoft.com/office/drawing/2014/main" id="{96B16863-4B94-4AE6-AA5F-BEE3FE752B0D}"/>
                </a:ext>
              </a:extLst>
            </p:cNvPr>
            <p:cNvPicPr>
              <a:picLocks noChangeAspect="1"/>
            </p:cNvPicPr>
            <p:nvPr/>
          </p:nvPicPr>
          <p:blipFill>
            <a:blip r:embed="rId9">
              <a:alphaModFix amt="50000"/>
            </a:blip>
            <a:stretch>
              <a:fillRect/>
            </a:stretch>
          </p:blipFill>
          <p:spPr>
            <a:xfrm>
              <a:off x="1288601" y="2079463"/>
              <a:ext cx="169093" cy="268559"/>
            </a:xfrm>
            <a:prstGeom prst="rect">
              <a:avLst/>
            </a:prstGeom>
          </p:spPr>
        </p:pic>
        <p:pic>
          <p:nvPicPr>
            <p:cNvPr id="245" name="Picture 244">
              <a:extLst>
                <a:ext uri="{FF2B5EF4-FFF2-40B4-BE49-F238E27FC236}">
                  <a16:creationId xmlns:a16="http://schemas.microsoft.com/office/drawing/2014/main" id="{04CDF392-B1AC-41C6-B8B9-3D3729590460}"/>
                </a:ext>
              </a:extLst>
            </p:cNvPr>
            <p:cNvPicPr>
              <a:picLocks noChangeAspect="1"/>
            </p:cNvPicPr>
            <p:nvPr/>
          </p:nvPicPr>
          <p:blipFill>
            <a:blip r:embed="rId9">
              <a:alphaModFix amt="50000"/>
            </a:blip>
            <a:stretch>
              <a:fillRect/>
            </a:stretch>
          </p:blipFill>
          <p:spPr>
            <a:xfrm>
              <a:off x="1667896" y="2080453"/>
              <a:ext cx="169093" cy="268559"/>
            </a:xfrm>
            <a:prstGeom prst="rect">
              <a:avLst/>
            </a:prstGeom>
          </p:spPr>
        </p:pic>
        <p:pic>
          <p:nvPicPr>
            <p:cNvPr id="246" name="Picture 245">
              <a:extLst>
                <a:ext uri="{FF2B5EF4-FFF2-40B4-BE49-F238E27FC236}">
                  <a16:creationId xmlns:a16="http://schemas.microsoft.com/office/drawing/2014/main" id="{E0CB69A1-DDFB-416F-BC86-27B0423F4292}"/>
                </a:ext>
              </a:extLst>
            </p:cNvPr>
            <p:cNvPicPr>
              <a:picLocks noChangeAspect="1"/>
            </p:cNvPicPr>
            <p:nvPr/>
          </p:nvPicPr>
          <p:blipFill>
            <a:blip r:embed="rId9">
              <a:alphaModFix amt="50000"/>
            </a:blip>
            <a:stretch>
              <a:fillRect/>
            </a:stretch>
          </p:blipFill>
          <p:spPr>
            <a:xfrm>
              <a:off x="2486229" y="2079463"/>
              <a:ext cx="169093" cy="268559"/>
            </a:xfrm>
            <a:prstGeom prst="rect">
              <a:avLst/>
            </a:prstGeom>
          </p:spPr>
        </p:pic>
        <p:pic>
          <p:nvPicPr>
            <p:cNvPr id="247" name="Picture 246">
              <a:extLst>
                <a:ext uri="{FF2B5EF4-FFF2-40B4-BE49-F238E27FC236}">
                  <a16:creationId xmlns:a16="http://schemas.microsoft.com/office/drawing/2014/main" id="{3CA02D7A-323B-40A6-A6CC-48E1FB2270FE}"/>
                </a:ext>
              </a:extLst>
            </p:cNvPr>
            <p:cNvPicPr>
              <a:picLocks noChangeAspect="1"/>
            </p:cNvPicPr>
            <p:nvPr/>
          </p:nvPicPr>
          <p:blipFill>
            <a:blip r:embed="rId9">
              <a:alphaModFix amt="50000"/>
            </a:blip>
            <a:stretch>
              <a:fillRect/>
            </a:stretch>
          </p:blipFill>
          <p:spPr>
            <a:xfrm>
              <a:off x="2865524" y="2080453"/>
              <a:ext cx="169093" cy="268559"/>
            </a:xfrm>
            <a:prstGeom prst="rect">
              <a:avLst/>
            </a:prstGeom>
          </p:spPr>
        </p:pic>
        <p:cxnSp>
          <p:nvCxnSpPr>
            <p:cNvPr id="248" name="Straight Connector 247">
              <a:extLst>
                <a:ext uri="{FF2B5EF4-FFF2-40B4-BE49-F238E27FC236}">
                  <a16:creationId xmlns:a16="http://schemas.microsoft.com/office/drawing/2014/main" id="{60A0B284-45CB-4D43-A170-CF8AA719CBBA}"/>
                </a:ext>
              </a:extLst>
            </p:cNvPr>
            <p:cNvCxnSpPr>
              <a:cxnSpLocks/>
            </p:cNvCxnSpPr>
            <p:nvPr/>
          </p:nvCxnSpPr>
          <p:spPr>
            <a:xfrm>
              <a:off x="1195829" y="2135709"/>
              <a:ext cx="8785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EB29F669-A430-4F13-A2D9-A422472F0248}"/>
                </a:ext>
              </a:extLst>
            </p:cNvPr>
            <p:cNvCxnSpPr>
              <a:cxnSpLocks/>
            </p:cNvCxnSpPr>
            <p:nvPr/>
          </p:nvCxnSpPr>
          <p:spPr>
            <a:xfrm>
              <a:off x="2072855" y="1929119"/>
              <a:ext cx="1" cy="20640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867F4AFF-B6CA-40B3-9DCB-72023AA36C7E}"/>
                </a:ext>
              </a:extLst>
            </p:cNvPr>
            <p:cNvCxnSpPr>
              <a:cxnSpLocks/>
            </p:cNvCxnSpPr>
            <p:nvPr/>
          </p:nvCxnSpPr>
          <p:spPr>
            <a:xfrm>
              <a:off x="2190374" y="2135709"/>
              <a:ext cx="107413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A71C9B4-019E-42D2-B45C-8C4CA7BD75FA}"/>
                </a:ext>
              </a:extLst>
            </p:cNvPr>
            <p:cNvCxnSpPr>
              <a:cxnSpLocks/>
            </p:cNvCxnSpPr>
            <p:nvPr/>
          </p:nvCxnSpPr>
          <p:spPr>
            <a:xfrm>
              <a:off x="2194923" y="1931409"/>
              <a:ext cx="1" cy="20640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9FFB592-CF94-4025-AF24-63ECD1525E52}"/>
                </a:ext>
              </a:extLst>
            </p:cNvPr>
            <p:cNvCxnSpPr>
              <a:cxnSpLocks/>
            </p:cNvCxnSpPr>
            <p:nvPr/>
          </p:nvCxnSpPr>
          <p:spPr>
            <a:xfrm>
              <a:off x="3305635" y="1918850"/>
              <a:ext cx="0" cy="255111"/>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5BD6CB9B-108D-4DE2-B924-F0CC84EFDC38}"/>
                </a:ext>
              </a:extLst>
            </p:cNvPr>
            <p:cNvCxnSpPr>
              <a:cxnSpLocks/>
            </p:cNvCxnSpPr>
            <p:nvPr/>
          </p:nvCxnSpPr>
          <p:spPr>
            <a:xfrm>
              <a:off x="3295656" y="1610780"/>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49EFBF23-FE20-4B34-AE97-DB0774858CB4}"/>
                </a:ext>
              </a:extLst>
            </p:cNvPr>
            <p:cNvCxnSpPr>
              <a:cxnSpLocks/>
            </p:cNvCxnSpPr>
            <p:nvPr/>
          </p:nvCxnSpPr>
          <p:spPr>
            <a:xfrm flipH="1">
              <a:off x="1174953" y="2175089"/>
              <a:ext cx="213068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3327CC2C-475F-4823-B375-F35F7150D52B}"/>
                </a:ext>
              </a:extLst>
            </p:cNvPr>
            <p:cNvCxnSpPr>
              <a:cxnSpLocks/>
            </p:cNvCxnSpPr>
            <p:nvPr/>
          </p:nvCxnSpPr>
          <p:spPr>
            <a:xfrm flipH="1">
              <a:off x="3257177" y="2129299"/>
              <a:ext cx="1" cy="337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C63D1882-0F7A-4BBC-9DB7-409A23552200}"/>
                </a:ext>
              </a:extLst>
            </p:cNvPr>
            <p:cNvCxnSpPr>
              <a:cxnSpLocks/>
            </p:cNvCxnSpPr>
            <p:nvPr/>
          </p:nvCxnSpPr>
          <p:spPr>
            <a:xfrm>
              <a:off x="1193554" y="2260814"/>
              <a:ext cx="87853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607E322E-67BA-449C-9230-8918525BE34D}"/>
                </a:ext>
              </a:extLst>
            </p:cNvPr>
            <p:cNvCxnSpPr>
              <a:cxnSpLocks/>
            </p:cNvCxnSpPr>
            <p:nvPr/>
          </p:nvCxnSpPr>
          <p:spPr>
            <a:xfrm>
              <a:off x="2067544" y="2260814"/>
              <a:ext cx="1" cy="20640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6ED1CDE-ED35-4298-ADC3-C8044D9CAD67}"/>
                </a:ext>
              </a:extLst>
            </p:cNvPr>
            <p:cNvCxnSpPr>
              <a:cxnSpLocks/>
            </p:cNvCxnSpPr>
            <p:nvPr/>
          </p:nvCxnSpPr>
          <p:spPr>
            <a:xfrm>
              <a:off x="2130768" y="1833328"/>
              <a:ext cx="2076" cy="3818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03B97A20-CB97-46C3-8484-7277098910C2}"/>
                </a:ext>
              </a:extLst>
            </p:cNvPr>
            <p:cNvCxnSpPr>
              <a:cxnSpLocks/>
            </p:cNvCxnSpPr>
            <p:nvPr/>
          </p:nvCxnSpPr>
          <p:spPr>
            <a:xfrm>
              <a:off x="2133042" y="1617945"/>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B81583CB-9A9A-43FE-921E-524D98D149A9}"/>
                </a:ext>
              </a:extLst>
            </p:cNvPr>
            <p:cNvCxnSpPr>
              <a:cxnSpLocks/>
            </p:cNvCxnSpPr>
            <p:nvPr/>
          </p:nvCxnSpPr>
          <p:spPr>
            <a:xfrm>
              <a:off x="2127983" y="2221971"/>
              <a:ext cx="116855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013656F8-4066-4858-9486-EB566818F5C5}"/>
                </a:ext>
              </a:extLst>
            </p:cNvPr>
            <p:cNvCxnSpPr>
              <a:cxnSpLocks/>
            </p:cNvCxnSpPr>
            <p:nvPr/>
          </p:nvCxnSpPr>
          <p:spPr>
            <a:xfrm flipH="1">
              <a:off x="3294622" y="2227472"/>
              <a:ext cx="800" cy="23974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3B3897BF-AC41-4DF8-A542-994A1AE835B5}"/>
                </a:ext>
              </a:extLst>
            </p:cNvPr>
            <p:cNvCxnSpPr>
              <a:cxnSpLocks/>
            </p:cNvCxnSpPr>
            <p:nvPr/>
          </p:nvCxnSpPr>
          <p:spPr>
            <a:xfrm>
              <a:off x="2139286" y="2246010"/>
              <a:ext cx="1" cy="20640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FF9F7071-EAF8-40F3-9097-C995FBCE82FB}"/>
                </a:ext>
              </a:extLst>
            </p:cNvPr>
            <p:cNvCxnSpPr>
              <a:cxnSpLocks/>
            </p:cNvCxnSpPr>
            <p:nvPr/>
          </p:nvCxnSpPr>
          <p:spPr>
            <a:xfrm>
              <a:off x="2139286" y="2247866"/>
              <a:ext cx="1216614"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69D65AA3-5148-4139-B6A7-8F0F70A08C5A}"/>
                </a:ext>
              </a:extLst>
            </p:cNvPr>
            <p:cNvCxnSpPr>
              <a:cxnSpLocks/>
            </p:cNvCxnSpPr>
            <p:nvPr/>
          </p:nvCxnSpPr>
          <p:spPr>
            <a:xfrm>
              <a:off x="3359475" y="1914301"/>
              <a:ext cx="0" cy="33371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D6779D93-AB36-4755-B2BA-F8D049FE7F55}"/>
                </a:ext>
              </a:extLst>
            </p:cNvPr>
            <p:cNvCxnSpPr>
              <a:cxnSpLocks/>
            </p:cNvCxnSpPr>
            <p:nvPr/>
          </p:nvCxnSpPr>
          <p:spPr>
            <a:xfrm>
              <a:off x="3356884" y="1609852"/>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0AC472AC-40D5-4043-AA50-80A280D02618}"/>
                </a:ext>
              </a:extLst>
            </p:cNvPr>
            <p:cNvCxnSpPr>
              <a:cxnSpLocks/>
            </p:cNvCxnSpPr>
            <p:nvPr/>
          </p:nvCxnSpPr>
          <p:spPr>
            <a:xfrm>
              <a:off x="1083906" y="2220399"/>
              <a:ext cx="1023954"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912BE52C-10A8-4F5D-BCBA-DC4D93968256}"/>
                </a:ext>
              </a:extLst>
            </p:cNvPr>
            <p:cNvCxnSpPr>
              <a:cxnSpLocks/>
            </p:cNvCxnSpPr>
            <p:nvPr/>
          </p:nvCxnSpPr>
          <p:spPr>
            <a:xfrm flipH="1">
              <a:off x="2107456" y="2222413"/>
              <a:ext cx="937" cy="229174"/>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40AD6A51-BBA6-453C-97DB-7B853A8E4A7E}"/>
                </a:ext>
              </a:extLst>
            </p:cNvPr>
            <p:cNvCxnSpPr>
              <a:cxnSpLocks/>
            </p:cNvCxnSpPr>
            <p:nvPr/>
          </p:nvCxnSpPr>
          <p:spPr>
            <a:xfrm>
              <a:off x="1085918" y="2014300"/>
              <a:ext cx="1" cy="206407"/>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89D56D54-4CFE-414B-AD9B-1942592C10C7}"/>
                </a:ext>
              </a:extLst>
            </p:cNvPr>
            <p:cNvCxnSpPr>
              <a:cxnSpLocks/>
            </p:cNvCxnSpPr>
            <p:nvPr/>
          </p:nvCxnSpPr>
          <p:spPr>
            <a:xfrm flipH="1">
              <a:off x="984817" y="2136189"/>
              <a:ext cx="22063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D254C153-27AA-48B4-900A-FB0E7A58D03A}"/>
                </a:ext>
              </a:extLst>
            </p:cNvPr>
            <p:cNvCxnSpPr>
              <a:cxnSpLocks/>
            </p:cNvCxnSpPr>
            <p:nvPr/>
          </p:nvCxnSpPr>
          <p:spPr>
            <a:xfrm>
              <a:off x="1006424" y="2175248"/>
              <a:ext cx="246814"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BA92E3D2-9B11-4716-99B1-585F284DF148}"/>
                </a:ext>
              </a:extLst>
            </p:cNvPr>
            <p:cNvCxnSpPr>
              <a:cxnSpLocks/>
            </p:cNvCxnSpPr>
            <p:nvPr/>
          </p:nvCxnSpPr>
          <p:spPr>
            <a:xfrm>
              <a:off x="1010420" y="1969506"/>
              <a:ext cx="1" cy="206407"/>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29355F5E-B497-4D29-844D-7CDCE7C678EF}"/>
                </a:ext>
              </a:extLst>
            </p:cNvPr>
            <p:cNvCxnSpPr>
              <a:cxnSpLocks/>
            </p:cNvCxnSpPr>
            <p:nvPr/>
          </p:nvCxnSpPr>
          <p:spPr>
            <a:xfrm>
              <a:off x="1034476" y="2053610"/>
              <a:ext cx="1" cy="20640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24C143A9-227A-4C94-84F3-62FE08FED958}"/>
                </a:ext>
              </a:extLst>
            </p:cNvPr>
            <p:cNvCxnSpPr>
              <a:cxnSpLocks/>
            </p:cNvCxnSpPr>
            <p:nvPr/>
          </p:nvCxnSpPr>
          <p:spPr>
            <a:xfrm flipH="1">
              <a:off x="1039823" y="2258710"/>
              <a:ext cx="29566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26AF95EA-9530-40EE-958F-E1DC707AD73D}"/>
                </a:ext>
              </a:extLst>
            </p:cNvPr>
            <p:cNvCxnSpPr>
              <a:cxnSpLocks/>
            </p:cNvCxnSpPr>
            <p:nvPr/>
          </p:nvCxnSpPr>
          <p:spPr>
            <a:xfrm>
              <a:off x="1057379" y="2105586"/>
              <a:ext cx="1050481" cy="151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08258ACF-4C29-4033-8A39-8CED0FC98A71}"/>
                </a:ext>
              </a:extLst>
            </p:cNvPr>
            <p:cNvCxnSpPr>
              <a:cxnSpLocks/>
            </p:cNvCxnSpPr>
            <p:nvPr/>
          </p:nvCxnSpPr>
          <p:spPr>
            <a:xfrm>
              <a:off x="2113750" y="1902354"/>
              <a:ext cx="1" cy="20640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3174D6EE-94E3-4002-A6BE-8A2D065E8709}"/>
                </a:ext>
              </a:extLst>
            </p:cNvPr>
            <p:cNvCxnSpPr>
              <a:cxnSpLocks/>
            </p:cNvCxnSpPr>
            <p:nvPr/>
          </p:nvCxnSpPr>
          <p:spPr>
            <a:xfrm>
              <a:off x="2108475" y="1621902"/>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77" name="Rectangle 276">
              <a:extLst>
                <a:ext uri="{FF2B5EF4-FFF2-40B4-BE49-F238E27FC236}">
                  <a16:creationId xmlns:a16="http://schemas.microsoft.com/office/drawing/2014/main" id="{EB7586A1-DFF2-4FC0-8B82-F5C068E1F4AD}"/>
                </a:ext>
              </a:extLst>
            </p:cNvPr>
            <p:cNvSpPr/>
            <p:nvPr/>
          </p:nvSpPr>
          <p:spPr>
            <a:xfrm rot="5400000">
              <a:off x="3278534" y="1717209"/>
              <a:ext cx="154733" cy="312234"/>
            </a:xfrm>
            <a:prstGeom prst="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8" name="Can 16">
              <a:extLst>
                <a:ext uri="{FF2B5EF4-FFF2-40B4-BE49-F238E27FC236}">
                  <a16:creationId xmlns:a16="http://schemas.microsoft.com/office/drawing/2014/main" id="{242838F4-4648-4E2A-8510-BADFA5F9B0B4}"/>
                </a:ext>
              </a:extLst>
            </p:cNvPr>
            <p:cNvSpPr/>
            <p:nvPr/>
          </p:nvSpPr>
          <p:spPr>
            <a:xfrm>
              <a:off x="2048978" y="1500539"/>
              <a:ext cx="185854" cy="142922"/>
            </a:xfrm>
            <a:prstGeom prst="ca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9" name="Can 18">
              <a:extLst>
                <a:ext uri="{FF2B5EF4-FFF2-40B4-BE49-F238E27FC236}">
                  <a16:creationId xmlns:a16="http://schemas.microsoft.com/office/drawing/2014/main" id="{62D162BE-0E81-4D5B-B28C-584BB89D7771}"/>
                </a:ext>
              </a:extLst>
            </p:cNvPr>
            <p:cNvSpPr/>
            <p:nvPr/>
          </p:nvSpPr>
          <p:spPr>
            <a:xfrm>
              <a:off x="3264504" y="1494377"/>
              <a:ext cx="185854" cy="146048"/>
            </a:xfrm>
            <a:prstGeom prst="ca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TextBox 279">
              <a:extLst>
                <a:ext uri="{FF2B5EF4-FFF2-40B4-BE49-F238E27FC236}">
                  <a16:creationId xmlns:a16="http://schemas.microsoft.com/office/drawing/2014/main" id="{62F2F310-761A-4B5F-8C16-8261BBC575CA}"/>
                </a:ext>
              </a:extLst>
            </p:cNvPr>
            <p:cNvSpPr txBox="1"/>
            <p:nvPr/>
          </p:nvSpPr>
          <p:spPr>
            <a:xfrm>
              <a:off x="3382320" y="1758072"/>
              <a:ext cx="213520" cy="230832"/>
            </a:xfrm>
            <a:prstGeom prst="rect">
              <a:avLst/>
            </a:prstGeom>
            <a:noFill/>
          </p:spPr>
          <p:txBody>
            <a:bodyPr wrap="none" rtlCol="0">
              <a:spAutoFit/>
            </a:bodyPr>
            <a:lstStyle/>
            <a:p>
              <a:r>
                <a:rPr lang="en-US" sz="300" dirty="0">
                  <a:latin typeface="+mn-lt"/>
                </a:rPr>
                <a:t>O</a:t>
              </a:r>
            </a:p>
            <a:p>
              <a:r>
                <a:rPr lang="en-US" sz="300" dirty="0">
                  <a:latin typeface="+mn-lt"/>
                </a:rPr>
                <a:t>E</a:t>
              </a:r>
            </a:p>
            <a:p>
              <a:r>
                <a:rPr lang="en-US" sz="300" dirty="0">
                  <a:latin typeface="+mn-lt"/>
                </a:rPr>
                <a:t>O</a:t>
              </a:r>
            </a:p>
          </p:txBody>
        </p:sp>
        <p:sp>
          <p:nvSpPr>
            <p:cNvPr id="281" name="TextBox 280">
              <a:extLst>
                <a:ext uri="{FF2B5EF4-FFF2-40B4-BE49-F238E27FC236}">
                  <a16:creationId xmlns:a16="http://schemas.microsoft.com/office/drawing/2014/main" id="{E464262F-FF0E-4897-95B4-45227FF36E91}"/>
                </a:ext>
              </a:extLst>
            </p:cNvPr>
            <p:cNvSpPr txBox="1"/>
            <p:nvPr/>
          </p:nvSpPr>
          <p:spPr>
            <a:xfrm>
              <a:off x="3165409" y="1765134"/>
              <a:ext cx="394660" cy="215444"/>
            </a:xfrm>
            <a:prstGeom prst="rect">
              <a:avLst/>
            </a:prstGeom>
            <a:noFill/>
          </p:spPr>
          <p:txBody>
            <a:bodyPr wrap="none" rtlCol="0">
              <a:spAutoFit/>
            </a:bodyPr>
            <a:lstStyle/>
            <a:p>
              <a:r>
                <a:rPr lang="en-US" sz="800" dirty="0">
                  <a:latin typeface="+mn-lt"/>
                </a:rPr>
                <a:t>OTN</a:t>
              </a:r>
            </a:p>
          </p:txBody>
        </p:sp>
        <p:sp>
          <p:nvSpPr>
            <p:cNvPr id="282" name="Rectangle 281">
              <a:extLst>
                <a:ext uri="{FF2B5EF4-FFF2-40B4-BE49-F238E27FC236}">
                  <a16:creationId xmlns:a16="http://schemas.microsoft.com/office/drawing/2014/main" id="{8E2DFC4A-BDE6-40AD-9C28-23C4DB4C5761}"/>
                </a:ext>
              </a:extLst>
            </p:cNvPr>
            <p:cNvSpPr/>
            <p:nvPr/>
          </p:nvSpPr>
          <p:spPr>
            <a:xfrm rot="5400000">
              <a:off x="2065684" y="1720505"/>
              <a:ext cx="154733" cy="312234"/>
            </a:xfrm>
            <a:prstGeom prst="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3" name="TextBox 282">
              <a:extLst>
                <a:ext uri="{FF2B5EF4-FFF2-40B4-BE49-F238E27FC236}">
                  <a16:creationId xmlns:a16="http://schemas.microsoft.com/office/drawing/2014/main" id="{534DF602-5B2A-45B4-A7CB-706A8F950A03}"/>
                </a:ext>
              </a:extLst>
            </p:cNvPr>
            <p:cNvSpPr txBox="1"/>
            <p:nvPr/>
          </p:nvSpPr>
          <p:spPr>
            <a:xfrm>
              <a:off x="2169470" y="1770893"/>
              <a:ext cx="213520" cy="230832"/>
            </a:xfrm>
            <a:prstGeom prst="rect">
              <a:avLst/>
            </a:prstGeom>
            <a:noFill/>
          </p:spPr>
          <p:txBody>
            <a:bodyPr wrap="none" rtlCol="0">
              <a:spAutoFit/>
            </a:bodyPr>
            <a:lstStyle/>
            <a:p>
              <a:r>
                <a:rPr lang="en-US" sz="300" dirty="0">
                  <a:latin typeface="+mn-lt"/>
                </a:rPr>
                <a:t>O</a:t>
              </a:r>
            </a:p>
            <a:p>
              <a:r>
                <a:rPr lang="en-US" sz="300" dirty="0">
                  <a:latin typeface="+mn-lt"/>
                </a:rPr>
                <a:t>E</a:t>
              </a:r>
            </a:p>
            <a:p>
              <a:r>
                <a:rPr lang="en-US" sz="300" dirty="0">
                  <a:latin typeface="+mn-lt"/>
                </a:rPr>
                <a:t>O</a:t>
              </a:r>
            </a:p>
          </p:txBody>
        </p:sp>
        <p:sp>
          <p:nvSpPr>
            <p:cNvPr id="284" name="TextBox 283">
              <a:extLst>
                <a:ext uri="{FF2B5EF4-FFF2-40B4-BE49-F238E27FC236}">
                  <a16:creationId xmlns:a16="http://schemas.microsoft.com/office/drawing/2014/main" id="{C9AD1038-EE20-4112-9A55-68C661840198}"/>
                </a:ext>
              </a:extLst>
            </p:cNvPr>
            <p:cNvSpPr txBox="1"/>
            <p:nvPr/>
          </p:nvSpPr>
          <p:spPr>
            <a:xfrm>
              <a:off x="1952559" y="1777955"/>
              <a:ext cx="394660" cy="215444"/>
            </a:xfrm>
            <a:prstGeom prst="rect">
              <a:avLst/>
            </a:prstGeom>
            <a:noFill/>
          </p:spPr>
          <p:txBody>
            <a:bodyPr wrap="none" rtlCol="0">
              <a:spAutoFit/>
            </a:bodyPr>
            <a:lstStyle/>
            <a:p>
              <a:r>
                <a:rPr lang="en-US" sz="800" dirty="0">
                  <a:latin typeface="+mn-lt"/>
                </a:rPr>
                <a:t>OTN</a:t>
              </a:r>
            </a:p>
          </p:txBody>
        </p:sp>
        <p:sp>
          <p:nvSpPr>
            <p:cNvPr id="285" name="Rectangle 284">
              <a:extLst>
                <a:ext uri="{FF2B5EF4-FFF2-40B4-BE49-F238E27FC236}">
                  <a16:creationId xmlns:a16="http://schemas.microsoft.com/office/drawing/2014/main" id="{15244172-38BA-45EB-8A9D-351168DD3D35}"/>
                </a:ext>
              </a:extLst>
            </p:cNvPr>
            <p:cNvSpPr/>
            <p:nvPr/>
          </p:nvSpPr>
          <p:spPr>
            <a:xfrm rot="5400000">
              <a:off x="973882" y="1730363"/>
              <a:ext cx="154733" cy="312234"/>
            </a:xfrm>
            <a:prstGeom prst="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6" name="TextBox 285">
              <a:extLst>
                <a:ext uri="{FF2B5EF4-FFF2-40B4-BE49-F238E27FC236}">
                  <a16:creationId xmlns:a16="http://schemas.microsoft.com/office/drawing/2014/main" id="{92041A52-969D-4B75-BB82-9878FABA9057}"/>
                </a:ext>
              </a:extLst>
            </p:cNvPr>
            <p:cNvSpPr txBox="1"/>
            <p:nvPr/>
          </p:nvSpPr>
          <p:spPr>
            <a:xfrm>
              <a:off x="1077668" y="1768051"/>
              <a:ext cx="213520" cy="230832"/>
            </a:xfrm>
            <a:prstGeom prst="rect">
              <a:avLst/>
            </a:prstGeom>
            <a:noFill/>
          </p:spPr>
          <p:txBody>
            <a:bodyPr wrap="none" rtlCol="0">
              <a:spAutoFit/>
            </a:bodyPr>
            <a:lstStyle/>
            <a:p>
              <a:r>
                <a:rPr lang="en-US" sz="300" dirty="0">
                  <a:latin typeface="+mn-lt"/>
                </a:rPr>
                <a:t>O</a:t>
              </a:r>
            </a:p>
            <a:p>
              <a:r>
                <a:rPr lang="en-US" sz="300" dirty="0">
                  <a:latin typeface="+mn-lt"/>
                </a:rPr>
                <a:t>E</a:t>
              </a:r>
            </a:p>
            <a:p>
              <a:r>
                <a:rPr lang="en-US" sz="300" dirty="0">
                  <a:latin typeface="+mn-lt"/>
                </a:rPr>
                <a:t>O</a:t>
              </a:r>
            </a:p>
          </p:txBody>
        </p:sp>
        <p:sp>
          <p:nvSpPr>
            <p:cNvPr id="287" name="TextBox 286">
              <a:extLst>
                <a:ext uri="{FF2B5EF4-FFF2-40B4-BE49-F238E27FC236}">
                  <a16:creationId xmlns:a16="http://schemas.microsoft.com/office/drawing/2014/main" id="{430C5B19-749A-4176-A3AA-DF4BE9A7023E}"/>
                </a:ext>
              </a:extLst>
            </p:cNvPr>
            <p:cNvSpPr txBox="1"/>
            <p:nvPr/>
          </p:nvSpPr>
          <p:spPr>
            <a:xfrm>
              <a:off x="860757" y="1775113"/>
              <a:ext cx="394660" cy="189577"/>
            </a:xfrm>
            <a:prstGeom prst="rect">
              <a:avLst/>
            </a:prstGeom>
            <a:noFill/>
          </p:spPr>
          <p:txBody>
            <a:bodyPr wrap="square" rtlCol="0">
              <a:spAutoFit/>
            </a:bodyPr>
            <a:lstStyle/>
            <a:p>
              <a:r>
                <a:rPr lang="en-US" sz="800" dirty="0">
                  <a:latin typeface="+mn-lt"/>
                </a:rPr>
                <a:t>OTN</a:t>
              </a:r>
            </a:p>
          </p:txBody>
        </p:sp>
      </p:grpSp>
      <p:sp>
        <p:nvSpPr>
          <p:cNvPr id="6" name="TextBox 5">
            <a:extLst>
              <a:ext uri="{FF2B5EF4-FFF2-40B4-BE49-F238E27FC236}">
                <a16:creationId xmlns:a16="http://schemas.microsoft.com/office/drawing/2014/main" id="{DCA15BF8-41CA-4EC5-ACE2-D575FBCD6B7F}"/>
              </a:ext>
            </a:extLst>
          </p:cNvPr>
          <p:cNvSpPr txBox="1"/>
          <p:nvPr/>
        </p:nvSpPr>
        <p:spPr>
          <a:xfrm>
            <a:off x="263372" y="1788954"/>
            <a:ext cx="479510" cy="200055"/>
          </a:xfrm>
          <a:prstGeom prst="rect">
            <a:avLst/>
          </a:prstGeom>
          <a:solidFill>
            <a:schemeClr val="tx1">
              <a:lumMod val="50000"/>
              <a:lumOff val="50000"/>
            </a:schemeClr>
          </a:solidFill>
        </p:spPr>
        <p:txBody>
          <a:bodyPr wrap="square" rtlCol="0">
            <a:spAutoFit/>
          </a:bodyPr>
          <a:lstStyle/>
          <a:p>
            <a:pPr algn="ctr"/>
            <a:r>
              <a:rPr lang="en-US" sz="700" dirty="0">
                <a:latin typeface="+mn-lt"/>
              </a:rPr>
              <a:t>OTN</a:t>
            </a:r>
          </a:p>
        </p:txBody>
      </p:sp>
      <p:sp>
        <p:nvSpPr>
          <p:cNvPr id="162" name="TextBox 161">
            <a:extLst>
              <a:ext uri="{FF2B5EF4-FFF2-40B4-BE49-F238E27FC236}">
                <a16:creationId xmlns:a16="http://schemas.microsoft.com/office/drawing/2014/main" id="{4D2780D5-6FD5-4932-AC5D-A3D89F198348}"/>
              </a:ext>
            </a:extLst>
          </p:cNvPr>
          <p:cNvSpPr txBox="1"/>
          <p:nvPr/>
        </p:nvSpPr>
        <p:spPr>
          <a:xfrm>
            <a:off x="267457" y="1345764"/>
            <a:ext cx="479510" cy="215444"/>
          </a:xfrm>
          <a:prstGeom prst="rect">
            <a:avLst/>
          </a:prstGeom>
          <a:solidFill>
            <a:srgbClr val="00D2EE"/>
          </a:solidFill>
        </p:spPr>
        <p:txBody>
          <a:bodyPr wrap="square" rtlCol="0">
            <a:spAutoFit/>
          </a:bodyPr>
          <a:lstStyle/>
          <a:p>
            <a:pPr algn="ctr"/>
            <a:r>
              <a:rPr lang="en-US" sz="700" dirty="0">
                <a:latin typeface="+mn-lt"/>
              </a:rPr>
              <a:t>IP</a:t>
            </a:r>
            <a:r>
              <a:rPr lang="en-US" sz="800" dirty="0">
                <a:latin typeface="+mn-lt"/>
              </a:rPr>
              <a:t> </a:t>
            </a:r>
          </a:p>
        </p:txBody>
      </p:sp>
      <p:sp>
        <p:nvSpPr>
          <p:cNvPr id="172" name="TextBox 171">
            <a:extLst>
              <a:ext uri="{FF2B5EF4-FFF2-40B4-BE49-F238E27FC236}">
                <a16:creationId xmlns:a16="http://schemas.microsoft.com/office/drawing/2014/main" id="{C32EABDE-0931-4843-95FB-3A81D9DA770D}"/>
              </a:ext>
            </a:extLst>
          </p:cNvPr>
          <p:cNvSpPr txBox="1"/>
          <p:nvPr/>
        </p:nvSpPr>
        <p:spPr>
          <a:xfrm>
            <a:off x="252237" y="2225470"/>
            <a:ext cx="488772" cy="200055"/>
          </a:xfrm>
          <a:prstGeom prst="rect">
            <a:avLst/>
          </a:prstGeom>
          <a:solidFill>
            <a:schemeClr val="bg1"/>
          </a:solidFill>
        </p:spPr>
        <p:txBody>
          <a:bodyPr wrap="square" rtlCol="0">
            <a:spAutoFit/>
          </a:bodyPr>
          <a:lstStyle/>
          <a:p>
            <a:r>
              <a:rPr lang="en-US" sz="700" dirty="0">
                <a:solidFill>
                  <a:schemeClr val="bg2"/>
                </a:solidFill>
                <a:latin typeface="+mn-lt"/>
              </a:rPr>
              <a:t>Optical</a:t>
            </a:r>
          </a:p>
        </p:txBody>
      </p:sp>
      <p:sp>
        <p:nvSpPr>
          <p:cNvPr id="15" name="TextBox 14">
            <a:extLst>
              <a:ext uri="{FF2B5EF4-FFF2-40B4-BE49-F238E27FC236}">
                <a16:creationId xmlns:a16="http://schemas.microsoft.com/office/drawing/2014/main" id="{01F66A27-E8B4-4B8E-887D-68342BB6AFBA}"/>
              </a:ext>
            </a:extLst>
          </p:cNvPr>
          <p:cNvSpPr txBox="1"/>
          <p:nvPr/>
        </p:nvSpPr>
        <p:spPr>
          <a:xfrm>
            <a:off x="132479" y="1004747"/>
            <a:ext cx="819455" cy="338554"/>
          </a:xfrm>
          <a:prstGeom prst="rect">
            <a:avLst/>
          </a:prstGeom>
          <a:noFill/>
        </p:spPr>
        <p:txBody>
          <a:bodyPr wrap="none" rtlCol="0">
            <a:spAutoFit/>
          </a:bodyPr>
          <a:lstStyle/>
          <a:p>
            <a:pPr algn="ctr"/>
            <a:r>
              <a:rPr lang="en-US" sz="800" b="1" dirty="0">
                <a:latin typeface="+mn-lt"/>
              </a:rPr>
              <a:t>Management </a:t>
            </a:r>
            <a:br>
              <a:rPr lang="en-US" sz="800" b="1" dirty="0">
                <a:latin typeface="+mn-lt"/>
              </a:rPr>
            </a:br>
            <a:r>
              <a:rPr lang="en-US" sz="800" b="1" dirty="0">
                <a:latin typeface="+mn-lt"/>
              </a:rPr>
              <a:t>Domains</a:t>
            </a:r>
          </a:p>
        </p:txBody>
      </p:sp>
      <p:cxnSp>
        <p:nvCxnSpPr>
          <p:cNvPr id="183" name="Straight Arrow Connector 182">
            <a:extLst>
              <a:ext uri="{FF2B5EF4-FFF2-40B4-BE49-F238E27FC236}">
                <a16:creationId xmlns:a16="http://schemas.microsoft.com/office/drawing/2014/main" id="{73BD9E5B-1F70-41B9-BCBB-31C7D236F65C}"/>
              </a:ext>
            </a:extLst>
          </p:cNvPr>
          <p:cNvCxnSpPr>
            <a:cxnSpLocks/>
          </p:cNvCxnSpPr>
          <p:nvPr/>
        </p:nvCxnSpPr>
        <p:spPr>
          <a:xfrm>
            <a:off x="729309" y="2322432"/>
            <a:ext cx="301965" cy="1887"/>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3471EFF-8D4B-464E-835D-CEE93AD3513C}"/>
              </a:ext>
            </a:extLst>
          </p:cNvPr>
          <p:cNvSpPr txBox="1"/>
          <p:nvPr/>
        </p:nvSpPr>
        <p:spPr>
          <a:xfrm>
            <a:off x="5775612" y="2990308"/>
            <a:ext cx="2429207" cy="307777"/>
          </a:xfrm>
          <a:prstGeom prst="rect">
            <a:avLst/>
          </a:prstGeom>
          <a:noFill/>
        </p:spPr>
        <p:txBody>
          <a:bodyPr wrap="square" rtlCol="0">
            <a:spAutoFit/>
          </a:bodyPr>
          <a:lstStyle/>
          <a:p>
            <a:r>
              <a:rPr lang="en-US" sz="700" dirty="0">
                <a:solidFill>
                  <a:schemeClr val="bg1"/>
                </a:solidFill>
                <a:latin typeface="+mj-lt"/>
              </a:rPr>
              <a:t>EPN-M providing E2E Management and FCAPS</a:t>
            </a:r>
          </a:p>
          <a:p>
            <a:r>
              <a:rPr lang="en-US" sz="700" dirty="0">
                <a:solidFill>
                  <a:schemeClr val="bg1"/>
                </a:solidFill>
                <a:latin typeface="+mj-lt"/>
              </a:rPr>
              <a:t>E2E Automation with Crosswork Platform</a:t>
            </a:r>
          </a:p>
        </p:txBody>
      </p:sp>
      <p:cxnSp>
        <p:nvCxnSpPr>
          <p:cNvPr id="182" name="Straight Arrow Connector 181">
            <a:extLst>
              <a:ext uri="{FF2B5EF4-FFF2-40B4-BE49-F238E27FC236}">
                <a16:creationId xmlns:a16="http://schemas.microsoft.com/office/drawing/2014/main" id="{3F2D72D7-8606-4C35-8621-50771C565FEA}"/>
              </a:ext>
            </a:extLst>
          </p:cNvPr>
          <p:cNvCxnSpPr>
            <a:cxnSpLocks/>
          </p:cNvCxnSpPr>
          <p:nvPr/>
        </p:nvCxnSpPr>
        <p:spPr>
          <a:xfrm>
            <a:off x="730446" y="1901306"/>
            <a:ext cx="301965" cy="1887"/>
          </a:xfrm>
          <a:prstGeom prst="straightConnector1">
            <a:avLst/>
          </a:prstGeom>
          <a:ln>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50DE2208-E594-4257-97FA-360A3B571C96}"/>
              </a:ext>
            </a:extLst>
          </p:cNvPr>
          <p:cNvCxnSpPr>
            <a:cxnSpLocks/>
          </p:cNvCxnSpPr>
          <p:nvPr/>
        </p:nvCxnSpPr>
        <p:spPr>
          <a:xfrm>
            <a:off x="738186" y="1484161"/>
            <a:ext cx="301965" cy="1887"/>
          </a:xfrm>
          <a:prstGeom prst="straightConnector1">
            <a:avLst/>
          </a:prstGeom>
          <a:ln>
            <a:solidFill>
              <a:srgbClr val="00D2EE"/>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5CFD15E2-50F9-481D-BE9C-111C6284B84B}"/>
              </a:ext>
            </a:extLst>
          </p:cNvPr>
          <p:cNvSpPr txBox="1"/>
          <p:nvPr/>
        </p:nvSpPr>
        <p:spPr>
          <a:xfrm>
            <a:off x="4979407" y="2206708"/>
            <a:ext cx="793807" cy="200055"/>
          </a:xfrm>
          <a:prstGeom prst="rect">
            <a:avLst/>
          </a:prstGeom>
          <a:noFill/>
        </p:spPr>
        <p:txBody>
          <a:bodyPr wrap="none" rtlCol="0">
            <a:spAutoFit/>
          </a:bodyPr>
          <a:lstStyle/>
          <a:p>
            <a:r>
              <a:rPr lang="en-US" sz="700" b="1" dirty="0">
                <a:latin typeface="+mn-lt"/>
              </a:rPr>
              <a:t>DCO - ZR/ZR+</a:t>
            </a:r>
          </a:p>
        </p:txBody>
      </p:sp>
      <p:cxnSp>
        <p:nvCxnSpPr>
          <p:cNvPr id="21" name="Straight Arrow Connector 20">
            <a:extLst>
              <a:ext uri="{FF2B5EF4-FFF2-40B4-BE49-F238E27FC236}">
                <a16:creationId xmlns:a16="http://schemas.microsoft.com/office/drawing/2014/main" id="{5715C5C3-FA15-44E2-96E0-EA9E19775E39}"/>
              </a:ext>
            </a:extLst>
          </p:cNvPr>
          <p:cNvCxnSpPr>
            <a:endCxn id="107" idx="2"/>
          </p:cNvCxnSpPr>
          <p:nvPr/>
        </p:nvCxnSpPr>
        <p:spPr>
          <a:xfrm>
            <a:off x="5256907" y="2373617"/>
            <a:ext cx="189261" cy="1925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8" name="Isosceles Triangle 187"/>
          <p:cNvSpPr/>
          <p:nvPr/>
        </p:nvSpPr>
        <p:spPr>
          <a:xfrm rot="5400000">
            <a:off x="4489494" y="1849779"/>
            <a:ext cx="165691" cy="117019"/>
          </a:xfrm>
          <a:prstGeom prst="triangl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9" name="TextBox 188">
            <a:extLst>
              <a:ext uri="{FF2B5EF4-FFF2-40B4-BE49-F238E27FC236}">
                <a16:creationId xmlns:a16="http://schemas.microsoft.com/office/drawing/2014/main" id="{1AA9D26F-8D25-44CB-8E7A-934A72A9A1DD}"/>
              </a:ext>
            </a:extLst>
          </p:cNvPr>
          <p:cNvSpPr txBox="1"/>
          <p:nvPr/>
        </p:nvSpPr>
        <p:spPr>
          <a:xfrm>
            <a:off x="0" y="3351122"/>
            <a:ext cx="9147176" cy="292608"/>
          </a:xfrm>
          <a:prstGeom prst="rect">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b="1">
                <a:solidFill>
                  <a:schemeClr val="bg1">
                    <a:lumMod val="20000"/>
                    <a:lumOff val="80000"/>
                  </a:schemeClr>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b="0" dirty="0">
                <a:solidFill>
                  <a:schemeClr val="accent5"/>
                </a:solidFill>
              </a:rPr>
              <a:t>Benefits</a:t>
            </a:r>
          </a:p>
        </p:txBody>
      </p:sp>
      <p:grpSp>
        <p:nvGrpSpPr>
          <p:cNvPr id="17" name="Group 16"/>
          <p:cNvGrpSpPr/>
          <p:nvPr/>
        </p:nvGrpSpPr>
        <p:grpSpPr>
          <a:xfrm>
            <a:off x="855436" y="3701798"/>
            <a:ext cx="7433128" cy="576072"/>
            <a:chOff x="859387" y="3701798"/>
            <a:chExt cx="7433128" cy="576072"/>
          </a:xfrm>
        </p:grpSpPr>
        <p:pic>
          <p:nvPicPr>
            <p:cNvPr id="190" name="Picture 189"/>
            <p:cNvPicPr preferRelativeResize="0">
              <a:picLocks noChangeAspect="1"/>
            </p:cNvPicPr>
            <p:nvPr/>
          </p:nvPicPr>
          <p:blipFill>
            <a:blip r:embed="rId10">
              <a:extLst>
                <a:ext uri="{28A0092B-C50C-407E-A947-70E740481C1C}">
                  <a14:useLocalDpi xmlns:a14="http://schemas.microsoft.com/office/drawing/2010/main" val="0"/>
                </a:ext>
              </a:extLst>
            </a:blip>
            <a:stretch>
              <a:fillRect/>
            </a:stretch>
          </p:blipFill>
          <p:spPr>
            <a:xfrm>
              <a:off x="859387" y="3701798"/>
              <a:ext cx="576072" cy="576072"/>
            </a:xfrm>
            <a:prstGeom prst="rect">
              <a:avLst/>
            </a:prstGeom>
          </p:spPr>
        </p:pic>
        <p:pic>
          <p:nvPicPr>
            <p:cNvPr id="191" name="Picture 19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30798" y="3701798"/>
              <a:ext cx="576072" cy="576072"/>
            </a:xfrm>
            <a:prstGeom prst="rect">
              <a:avLst/>
            </a:prstGeom>
          </p:spPr>
        </p:pic>
        <p:pic>
          <p:nvPicPr>
            <p:cNvPr id="192" name="Picture 19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602209" y="3701798"/>
              <a:ext cx="576072" cy="576072"/>
            </a:xfrm>
            <a:prstGeom prst="rect">
              <a:avLst/>
            </a:prstGeom>
          </p:spPr>
        </p:pic>
        <p:pic>
          <p:nvPicPr>
            <p:cNvPr id="193" name="Picture 19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973620" y="3701798"/>
              <a:ext cx="576072" cy="576072"/>
            </a:xfrm>
            <a:prstGeom prst="rect">
              <a:avLst/>
            </a:prstGeom>
          </p:spPr>
        </p:pic>
        <p:grpSp>
          <p:nvGrpSpPr>
            <p:cNvPr id="16" name="Group 15"/>
            <p:cNvGrpSpPr/>
            <p:nvPr/>
          </p:nvGrpSpPr>
          <p:grpSpPr>
            <a:xfrm>
              <a:off x="6345031" y="3701798"/>
              <a:ext cx="576072" cy="576072"/>
              <a:chOff x="6381715" y="3679632"/>
              <a:chExt cx="576072" cy="576072"/>
            </a:xfrm>
          </p:grpSpPr>
          <p:sp>
            <p:nvSpPr>
              <p:cNvPr id="14" name="Oval 13"/>
              <p:cNvSpPr/>
              <p:nvPr/>
            </p:nvSpPr>
            <p:spPr>
              <a:xfrm>
                <a:off x="6381715" y="3679632"/>
                <a:ext cx="576072" cy="57607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1" name="Group 100">
                <a:extLst>
                  <a:ext uri="{FF2B5EF4-FFF2-40B4-BE49-F238E27FC236}">
                    <a16:creationId xmlns:a16="http://schemas.microsoft.com/office/drawing/2014/main" id="{74C34F12-A02A-41A2-BF72-44B60134BF26}"/>
                  </a:ext>
                </a:extLst>
              </p:cNvPr>
              <p:cNvGrpSpPr/>
              <p:nvPr/>
            </p:nvGrpSpPr>
            <p:grpSpPr>
              <a:xfrm>
                <a:off x="6483245" y="3777180"/>
                <a:ext cx="373013" cy="380977"/>
                <a:chOff x="2249561" y="-736"/>
                <a:chExt cx="4653288" cy="4752627"/>
              </a:xfrm>
              <a:solidFill>
                <a:schemeClr val="tx2"/>
              </a:solidFill>
            </p:grpSpPr>
            <p:sp>
              <p:nvSpPr>
                <p:cNvPr id="102" name="Oval 101">
                  <a:extLst>
                    <a:ext uri="{FF2B5EF4-FFF2-40B4-BE49-F238E27FC236}">
                      <a16:creationId xmlns:a16="http://schemas.microsoft.com/office/drawing/2014/main" id="{0D9C78C2-3302-4221-9672-67E11F53A477}"/>
                    </a:ext>
                  </a:extLst>
                </p:cNvPr>
                <p:cNvSpPr/>
                <p:nvPr/>
              </p:nvSpPr>
              <p:spPr>
                <a:xfrm>
                  <a:off x="2249561" y="1280178"/>
                  <a:ext cx="1768210" cy="176821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a:extLst>
                    <a:ext uri="{FF2B5EF4-FFF2-40B4-BE49-F238E27FC236}">
                      <a16:creationId xmlns:a16="http://schemas.microsoft.com/office/drawing/2014/main" id="{7B7AD4D7-07AD-4754-8356-F3AC2AD9079A}"/>
                    </a:ext>
                  </a:extLst>
                </p:cNvPr>
                <p:cNvSpPr/>
                <p:nvPr/>
              </p:nvSpPr>
              <p:spPr>
                <a:xfrm>
                  <a:off x="5134639" y="2983681"/>
                  <a:ext cx="1768210" cy="176821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Oval 107">
                  <a:extLst>
                    <a:ext uri="{FF2B5EF4-FFF2-40B4-BE49-F238E27FC236}">
                      <a16:creationId xmlns:a16="http://schemas.microsoft.com/office/drawing/2014/main" id="{0D329230-A41B-41BA-B1CE-B6BB6F365DB1}"/>
                    </a:ext>
                  </a:extLst>
                </p:cNvPr>
                <p:cNvSpPr/>
                <p:nvPr/>
              </p:nvSpPr>
              <p:spPr>
                <a:xfrm>
                  <a:off x="5007503" y="-736"/>
                  <a:ext cx="1345512" cy="134551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108">
                  <a:extLst>
                    <a:ext uri="{FF2B5EF4-FFF2-40B4-BE49-F238E27FC236}">
                      <a16:creationId xmlns:a16="http://schemas.microsoft.com/office/drawing/2014/main" id="{FBEF83AA-9071-42F5-98F7-F7D4813B01E3}"/>
                    </a:ext>
                  </a:extLst>
                </p:cNvPr>
                <p:cNvSpPr/>
                <p:nvPr/>
              </p:nvSpPr>
              <p:spPr>
                <a:xfrm rot="19632973">
                  <a:off x="3647638" y="1160429"/>
                  <a:ext cx="1749416" cy="50103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109">
                  <a:extLst>
                    <a:ext uri="{FF2B5EF4-FFF2-40B4-BE49-F238E27FC236}">
                      <a16:creationId xmlns:a16="http://schemas.microsoft.com/office/drawing/2014/main" id="{EF21CD6C-4EE7-49E4-BF30-C3AC224671CC}"/>
                    </a:ext>
                  </a:extLst>
                </p:cNvPr>
                <p:cNvSpPr/>
                <p:nvPr/>
              </p:nvSpPr>
              <p:spPr>
                <a:xfrm rot="12485598">
                  <a:off x="3690909" y="2780121"/>
                  <a:ext cx="1749416" cy="50103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194" name="Picture 19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716443" y="3701798"/>
              <a:ext cx="576072" cy="576072"/>
            </a:xfrm>
            <a:prstGeom prst="rect">
              <a:avLst/>
            </a:prstGeom>
          </p:spPr>
        </p:pic>
      </p:grpSp>
    </p:spTree>
    <p:extLst>
      <p:ext uri="{BB962C8B-B14F-4D97-AF65-F5344CB8AC3E}">
        <p14:creationId xmlns:p14="http://schemas.microsoft.com/office/powerpoint/2010/main" val="146626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Optimized IP + Optical Transport</a:t>
            </a:r>
            <a:endParaRPr lang="en-US" dirty="0">
              <a:solidFill>
                <a:srgbClr val="FF0000"/>
              </a:solidFill>
            </a:endParaRPr>
          </a:p>
        </p:txBody>
      </p:sp>
      <p:grpSp>
        <p:nvGrpSpPr>
          <p:cNvPr id="3" name="Group 2">
            <a:extLst>
              <a:ext uri="{FF2B5EF4-FFF2-40B4-BE49-F238E27FC236}">
                <a16:creationId xmlns:a16="http://schemas.microsoft.com/office/drawing/2014/main" id="{14B171A3-DE7C-4969-A919-FA2A017E1134}"/>
              </a:ext>
            </a:extLst>
          </p:cNvPr>
          <p:cNvGrpSpPr/>
          <p:nvPr/>
        </p:nvGrpSpPr>
        <p:grpSpPr>
          <a:xfrm>
            <a:off x="2239219" y="3481266"/>
            <a:ext cx="1260000" cy="924333"/>
            <a:chOff x="2239219" y="3481266"/>
            <a:chExt cx="1260000" cy="924333"/>
          </a:xfrm>
        </p:grpSpPr>
        <p:sp>
          <p:nvSpPr>
            <p:cNvPr id="201" name="Rectangle 200">
              <a:extLst>
                <a:ext uri="{FF2B5EF4-FFF2-40B4-BE49-F238E27FC236}">
                  <a16:creationId xmlns:a16="http://schemas.microsoft.com/office/drawing/2014/main" id="{3EF047EF-11D1-41B6-821C-C8ECA589C835}"/>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ACCESS</a:t>
              </a:r>
            </a:p>
          </p:txBody>
        </p:sp>
        <p:sp>
          <p:nvSpPr>
            <p:cNvPr id="221" name="Rectangle 220">
              <a:extLst>
                <a:ext uri="{FF2B5EF4-FFF2-40B4-BE49-F238E27FC236}">
                  <a16:creationId xmlns:a16="http://schemas.microsoft.com/office/drawing/2014/main" id="{FFC6004D-6F68-45EC-9B4F-319DF8A980D0}"/>
                </a:ext>
              </a:extLst>
            </p:cNvPr>
            <p:cNvSpPr/>
            <p:nvPr/>
          </p:nvSpPr>
          <p:spPr>
            <a:xfrm>
              <a:off x="2239219"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p:txBody>
        </p:sp>
      </p:grpSp>
      <p:grpSp>
        <p:nvGrpSpPr>
          <p:cNvPr id="5" name="Group 4">
            <a:extLst>
              <a:ext uri="{FF2B5EF4-FFF2-40B4-BE49-F238E27FC236}">
                <a16:creationId xmlns:a16="http://schemas.microsoft.com/office/drawing/2014/main" id="{AD2CD189-A6AB-4309-9975-3451F0F33CBC}"/>
              </a:ext>
            </a:extLst>
          </p:cNvPr>
          <p:cNvGrpSpPr/>
          <p:nvPr/>
        </p:nvGrpSpPr>
        <p:grpSpPr>
          <a:xfrm>
            <a:off x="3745220" y="3481266"/>
            <a:ext cx="1260000" cy="924333"/>
            <a:chOff x="3745220" y="3481266"/>
            <a:chExt cx="1260000" cy="924333"/>
          </a:xfrm>
        </p:grpSpPr>
        <p:sp>
          <p:nvSpPr>
            <p:cNvPr id="225" name="Rectangle 224">
              <a:extLst>
                <a:ext uri="{FF2B5EF4-FFF2-40B4-BE49-F238E27FC236}">
                  <a16:creationId xmlns:a16="http://schemas.microsoft.com/office/drawing/2014/main" id="{9549725F-1DCD-4054-A384-BEAD5555E153}"/>
                </a:ext>
              </a:extLst>
            </p:cNvPr>
            <p:cNvSpPr/>
            <p:nvPr/>
          </p:nvSpPr>
          <p:spPr>
            <a:xfrm>
              <a:off x="3768442"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PRE-AGG</a:t>
              </a:r>
            </a:p>
          </p:txBody>
        </p:sp>
        <p:sp>
          <p:nvSpPr>
            <p:cNvPr id="226" name="Rectangle 225">
              <a:extLst>
                <a:ext uri="{FF2B5EF4-FFF2-40B4-BE49-F238E27FC236}">
                  <a16:creationId xmlns:a16="http://schemas.microsoft.com/office/drawing/2014/main" id="{90B8F912-2C94-466B-AA10-D7D51A80AA7D}"/>
                </a:ext>
              </a:extLst>
            </p:cNvPr>
            <p:cNvSpPr/>
            <p:nvPr/>
          </p:nvSpPr>
          <p:spPr>
            <a:xfrm>
              <a:off x="3745220"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5xx</a:t>
              </a:r>
            </a:p>
          </p:txBody>
        </p:sp>
      </p:grpSp>
      <p:grpSp>
        <p:nvGrpSpPr>
          <p:cNvPr id="6" name="Group 5">
            <a:extLst>
              <a:ext uri="{FF2B5EF4-FFF2-40B4-BE49-F238E27FC236}">
                <a16:creationId xmlns:a16="http://schemas.microsoft.com/office/drawing/2014/main" id="{3A9B98AA-0052-4BE2-8635-250E89A90826}"/>
              </a:ext>
            </a:extLst>
          </p:cNvPr>
          <p:cNvGrpSpPr/>
          <p:nvPr/>
        </p:nvGrpSpPr>
        <p:grpSpPr>
          <a:xfrm>
            <a:off x="5251221" y="3481266"/>
            <a:ext cx="1260000" cy="924333"/>
            <a:chOff x="5251221" y="3481266"/>
            <a:chExt cx="1260000" cy="924333"/>
          </a:xfrm>
        </p:grpSpPr>
        <p:sp>
          <p:nvSpPr>
            <p:cNvPr id="227" name="Rectangle 226">
              <a:extLst>
                <a:ext uri="{FF2B5EF4-FFF2-40B4-BE49-F238E27FC236}">
                  <a16:creationId xmlns:a16="http://schemas.microsoft.com/office/drawing/2014/main" id="{2EC7F1FD-2F4E-4C38-BC4B-99C3574F471B}"/>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IP Core</a:t>
              </a:r>
            </a:p>
          </p:txBody>
        </p:sp>
        <p:sp>
          <p:nvSpPr>
            <p:cNvPr id="228" name="Rectangle 227">
              <a:extLst>
                <a:ext uri="{FF2B5EF4-FFF2-40B4-BE49-F238E27FC236}">
                  <a16:creationId xmlns:a16="http://schemas.microsoft.com/office/drawing/2014/main" id="{EF3A3F2A-E60E-43F0-ABFB-48DBCA1F5F2E}"/>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5xx</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00" dirty="0">
                  <a:solidFill>
                    <a:srgbClr val="005073"/>
                  </a:solidFill>
                  <a:latin typeface="CiscoSansTT" panose="020B0503020201020303" pitchFamily="34" charset="0"/>
                  <a:cs typeface="CiscoSansTT" panose="020B0503020201020303" pitchFamily="34" charset="0"/>
                </a:rPr>
                <a:t>ASR9k</a:t>
              </a:r>
              <a:endPar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endParaRPr>
            </a:p>
          </p:txBody>
        </p:sp>
      </p:grpSp>
      <p:grpSp>
        <p:nvGrpSpPr>
          <p:cNvPr id="2" name="Group 1">
            <a:extLst>
              <a:ext uri="{FF2B5EF4-FFF2-40B4-BE49-F238E27FC236}">
                <a16:creationId xmlns:a16="http://schemas.microsoft.com/office/drawing/2014/main" id="{C1DC86CA-08CD-4826-94F1-5C8EB42EFC67}"/>
              </a:ext>
            </a:extLst>
          </p:cNvPr>
          <p:cNvGrpSpPr/>
          <p:nvPr/>
        </p:nvGrpSpPr>
        <p:grpSpPr>
          <a:xfrm>
            <a:off x="733218" y="3481266"/>
            <a:ext cx="1260000" cy="924333"/>
            <a:chOff x="733218" y="3481266"/>
            <a:chExt cx="1260000" cy="924333"/>
          </a:xfrm>
        </p:grpSpPr>
        <p:sp>
          <p:nvSpPr>
            <p:cNvPr id="229" name="Rectangle 228">
              <a:extLst>
                <a:ext uri="{FF2B5EF4-FFF2-40B4-BE49-F238E27FC236}">
                  <a16:creationId xmlns:a16="http://schemas.microsoft.com/office/drawing/2014/main" id="{A075285E-91AD-4310-8CDC-10DBD109C30B}"/>
                </a:ext>
              </a:extLst>
            </p:cNvPr>
            <p:cNvSpPr/>
            <p:nvPr/>
          </p:nvSpPr>
          <p:spPr>
            <a:xfrm>
              <a:off x="733218"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VRAN</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p:txBody>
        </p:sp>
        <p:sp>
          <p:nvSpPr>
            <p:cNvPr id="230" name="Rectangle 229">
              <a:extLst>
                <a:ext uri="{FF2B5EF4-FFF2-40B4-BE49-F238E27FC236}">
                  <a16:creationId xmlns:a16="http://schemas.microsoft.com/office/drawing/2014/main" id="{7A1264B6-D59E-4D6B-989E-30EEC84CA26C}"/>
                </a:ext>
              </a:extLst>
            </p:cNvPr>
            <p:cNvSpPr/>
            <p:nvPr/>
          </p:nvSpPr>
          <p:spPr>
            <a:xfrm>
              <a:off x="752600"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RAN / Cell Rx</a:t>
              </a:r>
              <a:endParaRPr lang="en-US" sz="1000" b="1" dirty="0">
                <a:solidFill>
                  <a:schemeClr val="bg2"/>
                </a:solidFill>
                <a:latin typeface="CiscoSansTT" panose="020B0503020201020303" pitchFamily="34" charset="0"/>
                <a:cs typeface="CiscoSansTT" panose="020B0503020201020303" pitchFamily="34" charset="0"/>
              </a:endParaRPr>
            </a:p>
          </p:txBody>
        </p:sp>
      </p:grpSp>
      <p:grpSp>
        <p:nvGrpSpPr>
          <p:cNvPr id="414" name="Group 413">
            <a:extLst>
              <a:ext uri="{FF2B5EF4-FFF2-40B4-BE49-F238E27FC236}">
                <a16:creationId xmlns:a16="http://schemas.microsoft.com/office/drawing/2014/main" id="{071CB512-0945-485F-ADA9-5E97A8D50389}"/>
              </a:ext>
            </a:extLst>
          </p:cNvPr>
          <p:cNvGrpSpPr/>
          <p:nvPr/>
        </p:nvGrpSpPr>
        <p:grpSpPr>
          <a:xfrm>
            <a:off x="732673" y="1788912"/>
            <a:ext cx="7368255" cy="1567451"/>
            <a:chOff x="732673" y="1788912"/>
            <a:chExt cx="7368255" cy="1567451"/>
          </a:xfrm>
        </p:grpSpPr>
        <p:sp>
          <p:nvSpPr>
            <p:cNvPr id="415" name="Rectangle: Rounded Corners 152">
              <a:extLst>
                <a:ext uri="{FF2B5EF4-FFF2-40B4-BE49-F238E27FC236}">
                  <a16:creationId xmlns:a16="http://schemas.microsoft.com/office/drawing/2014/main" id="{66433419-550A-47AB-8785-816C2443B4E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6" name="Oval 415">
              <a:extLst>
                <a:ext uri="{FF2B5EF4-FFF2-40B4-BE49-F238E27FC236}">
                  <a16:creationId xmlns:a16="http://schemas.microsoft.com/office/drawing/2014/main" id="{A682726D-FB62-4139-A8B8-CE14DC4CFDE3}"/>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7" name="Group 416">
              <a:extLst>
                <a:ext uri="{FF2B5EF4-FFF2-40B4-BE49-F238E27FC236}">
                  <a16:creationId xmlns:a16="http://schemas.microsoft.com/office/drawing/2014/main" id="{2A30886C-70E2-4EE4-B625-E1429A1E714D}"/>
                </a:ext>
              </a:extLst>
            </p:cNvPr>
            <p:cNvGrpSpPr/>
            <p:nvPr/>
          </p:nvGrpSpPr>
          <p:grpSpPr>
            <a:xfrm rot="16200000">
              <a:off x="1787492" y="2428962"/>
              <a:ext cx="393048" cy="893063"/>
              <a:chOff x="1053576" y="845943"/>
              <a:chExt cx="429692" cy="976323"/>
            </a:xfrm>
          </p:grpSpPr>
          <p:sp>
            <p:nvSpPr>
              <p:cNvPr id="580" name="Arc 579">
                <a:extLst>
                  <a:ext uri="{FF2B5EF4-FFF2-40B4-BE49-F238E27FC236}">
                    <a16:creationId xmlns:a16="http://schemas.microsoft.com/office/drawing/2014/main" id="{A16FAA23-EE7E-48E5-AAED-0EB383EE5810}"/>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81" name="Straight Connector 580">
                <a:extLst>
                  <a:ext uri="{FF2B5EF4-FFF2-40B4-BE49-F238E27FC236}">
                    <a16:creationId xmlns:a16="http://schemas.microsoft.com/office/drawing/2014/main" id="{C5D63DF3-6922-4184-9AC5-A69A8D20FC96}"/>
                  </a:ext>
                </a:extLst>
              </p:cNvPr>
              <p:cNvCxnSpPr>
                <a:cxnSpLocks/>
                <a:endCxn id="580"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9D43D8EF-F1D0-4356-8F95-EEFDDD5F1CD0}"/>
                  </a:ext>
                </a:extLst>
              </p:cNvPr>
              <p:cNvCxnSpPr>
                <a:cxnSpLocks/>
                <a:stCxn id="580"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8" name="Group 417">
              <a:extLst>
                <a:ext uri="{FF2B5EF4-FFF2-40B4-BE49-F238E27FC236}">
                  <a16:creationId xmlns:a16="http://schemas.microsoft.com/office/drawing/2014/main" id="{432B770E-B2CA-47A6-B185-F021B746C2E4}"/>
                </a:ext>
              </a:extLst>
            </p:cNvPr>
            <p:cNvGrpSpPr/>
            <p:nvPr/>
          </p:nvGrpSpPr>
          <p:grpSpPr>
            <a:xfrm>
              <a:off x="1139370" y="2057674"/>
              <a:ext cx="874980" cy="214533"/>
              <a:chOff x="1053577" y="1587731"/>
              <a:chExt cx="956555" cy="234534"/>
            </a:xfrm>
          </p:grpSpPr>
          <p:sp>
            <p:nvSpPr>
              <p:cNvPr id="577" name="Arc 576">
                <a:extLst>
                  <a:ext uri="{FF2B5EF4-FFF2-40B4-BE49-F238E27FC236}">
                    <a16:creationId xmlns:a16="http://schemas.microsoft.com/office/drawing/2014/main" id="{57C513BC-7515-47A3-9E87-79DB1B11B8BA}"/>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8" name="Straight Connector 577">
                <a:extLst>
                  <a:ext uri="{FF2B5EF4-FFF2-40B4-BE49-F238E27FC236}">
                    <a16:creationId xmlns:a16="http://schemas.microsoft.com/office/drawing/2014/main" id="{CDC375ED-E430-4E96-8678-10DB5A94CFCC}"/>
                  </a:ext>
                </a:extLst>
              </p:cNvPr>
              <p:cNvCxnSpPr>
                <a:cxnSpLocks/>
                <a:endCxn id="577"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7CA68352-600C-49C4-A8BE-4AF25C2746F1}"/>
                  </a:ext>
                </a:extLst>
              </p:cNvPr>
              <p:cNvCxnSpPr>
                <a:cxnSpLocks/>
                <a:stCxn id="577"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77484D01-673D-4BCA-9347-47C4749CDD1D}"/>
                </a:ext>
              </a:extLst>
            </p:cNvPr>
            <p:cNvGrpSpPr/>
            <p:nvPr/>
          </p:nvGrpSpPr>
          <p:grpSpPr>
            <a:xfrm>
              <a:off x="1471454" y="2049161"/>
              <a:ext cx="874980" cy="168558"/>
              <a:chOff x="1416621" y="1599856"/>
              <a:chExt cx="956555" cy="184273"/>
            </a:xfrm>
          </p:grpSpPr>
          <p:sp>
            <p:nvSpPr>
              <p:cNvPr id="574" name="Arc 573">
                <a:extLst>
                  <a:ext uri="{FF2B5EF4-FFF2-40B4-BE49-F238E27FC236}">
                    <a16:creationId xmlns:a16="http://schemas.microsoft.com/office/drawing/2014/main" id="{84F879B2-C39C-4576-BADF-40F022935540}"/>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5" name="Straight Connector 574">
                <a:extLst>
                  <a:ext uri="{FF2B5EF4-FFF2-40B4-BE49-F238E27FC236}">
                    <a16:creationId xmlns:a16="http://schemas.microsoft.com/office/drawing/2014/main" id="{3C895289-37F1-4AB2-89A8-F3D013BD1C05}"/>
                  </a:ext>
                </a:extLst>
              </p:cNvPr>
              <p:cNvCxnSpPr>
                <a:cxnSpLocks/>
                <a:endCxn id="574"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27FF5772-7A24-4D80-883A-3CD3BCDD08A5}"/>
                  </a:ext>
                </a:extLst>
              </p:cNvPr>
              <p:cNvCxnSpPr>
                <a:cxnSpLocks/>
                <a:stCxn id="574"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0" name="Group 419">
              <a:extLst>
                <a:ext uri="{FF2B5EF4-FFF2-40B4-BE49-F238E27FC236}">
                  <a16:creationId xmlns:a16="http://schemas.microsoft.com/office/drawing/2014/main" id="{4D1338F0-ADE4-4547-AB21-D99037D0EB08}"/>
                </a:ext>
              </a:extLst>
            </p:cNvPr>
            <p:cNvGrpSpPr/>
            <p:nvPr/>
          </p:nvGrpSpPr>
          <p:grpSpPr>
            <a:xfrm>
              <a:off x="1802844" y="1995223"/>
              <a:ext cx="662063" cy="168558"/>
              <a:chOff x="1778907" y="1564701"/>
              <a:chExt cx="723787" cy="184273"/>
            </a:xfrm>
          </p:grpSpPr>
          <p:sp>
            <p:nvSpPr>
              <p:cNvPr id="571" name="Arc 570">
                <a:extLst>
                  <a:ext uri="{FF2B5EF4-FFF2-40B4-BE49-F238E27FC236}">
                    <a16:creationId xmlns:a16="http://schemas.microsoft.com/office/drawing/2014/main" id="{AA310D21-499B-4346-BAE9-91B856CC3103}"/>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2" name="Straight Connector 571">
                <a:extLst>
                  <a:ext uri="{FF2B5EF4-FFF2-40B4-BE49-F238E27FC236}">
                    <a16:creationId xmlns:a16="http://schemas.microsoft.com/office/drawing/2014/main" id="{9B9B4120-F430-432E-A23B-D11A96DEC292}"/>
                  </a:ext>
                </a:extLst>
              </p:cNvPr>
              <p:cNvCxnSpPr>
                <a:cxnSpLocks/>
                <a:endCxn id="57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83857221-5A81-4E04-8751-2A3018CEBC97}"/>
                  </a:ext>
                </a:extLst>
              </p:cNvPr>
              <p:cNvCxnSpPr>
                <a:cxnSpLocks/>
                <a:stCxn id="57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21" name="Oval 420">
              <a:extLst>
                <a:ext uri="{FF2B5EF4-FFF2-40B4-BE49-F238E27FC236}">
                  <a16:creationId xmlns:a16="http://schemas.microsoft.com/office/drawing/2014/main" id="{0BEF32C6-12FD-4C09-8875-5F0D7F7769F8}"/>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2" name="Oval 421">
              <a:extLst>
                <a:ext uri="{FF2B5EF4-FFF2-40B4-BE49-F238E27FC236}">
                  <a16:creationId xmlns:a16="http://schemas.microsoft.com/office/drawing/2014/main" id="{0AF9A0BF-9022-4B92-B184-D9FCF1D8C408}"/>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3" name="Oval 422">
              <a:extLst>
                <a:ext uri="{FF2B5EF4-FFF2-40B4-BE49-F238E27FC236}">
                  <a16:creationId xmlns:a16="http://schemas.microsoft.com/office/drawing/2014/main" id="{0CC49AC7-A33D-4FEF-ACF5-AD3D023C8AE7}"/>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4" name="Straight Connector 423">
              <a:extLst>
                <a:ext uri="{FF2B5EF4-FFF2-40B4-BE49-F238E27FC236}">
                  <a16:creationId xmlns:a16="http://schemas.microsoft.com/office/drawing/2014/main" id="{995F8BA5-9E35-4B52-879A-2548EB66172C}"/>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425" name="Oval 424">
              <a:extLst>
                <a:ext uri="{FF2B5EF4-FFF2-40B4-BE49-F238E27FC236}">
                  <a16:creationId xmlns:a16="http://schemas.microsoft.com/office/drawing/2014/main" id="{90632BCF-B697-4128-9C32-5C01C39BF526}"/>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6" name="Group 425">
              <a:extLst>
                <a:ext uri="{FF2B5EF4-FFF2-40B4-BE49-F238E27FC236}">
                  <a16:creationId xmlns:a16="http://schemas.microsoft.com/office/drawing/2014/main" id="{5C4445D5-41F3-463F-A207-EDE6BE4BE80C}"/>
                </a:ext>
              </a:extLst>
            </p:cNvPr>
            <p:cNvGrpSpPr/>
            <p:nvPr/>
          </p:nvGrpSpPr>
          <p:grpSpPr>
            <a:xfrm>
              <a:off x="4825353" y="1970648"/>
              <a:ext cx="2313166" cy="911499"/>
              <a:chOff x="6257463" y="1617978"/>
              <a:chExt cx="1576956" cy="996478"/>
            </a:xfrm>
          </p:grpSpPr>
          <p:grpSp>
            <p:nvGrpSpPr>
              <p:cNvPr id="561" name="Group 560">
                <a:extLst>
                  <a:ext uri="{FF2B5EF4-FFF2-40B4-BE49-F238E27FC236}">
                    <a16:creationId xmlns:a16="http://schemas.microsoft.com/office/drawing/2014/main" id="{956CA148-D73E-49CB-A1BF-0C90FB1DEEF1}"/>
                  </a:ext>
                </a:extLst>
              </p:cNvPr>
              <p:cNvGrpSpPr/>
              <p:nvPr/>
            </p:nvGrpSpPr>
            <p:grpSpPr>
              <a:xfrm>
                <a:off x="6296881" y="2015544"/>
                <a:ext cx="1537538" cy="598912"/>
                <a:chOff x="6652481" y="2039451"/>
                <a:chExt cx="1537538" cy="598912"/>
              </a:xfrm>
              <a:solidFill>
                <a:schemeClr val="bg2">
                  <a:lumMod val="85000"/>
                </a:schemeClr>
              </a:solidFill>
            </p:grpSpPr>
            <p:sp>
              <p:nvSpPr>
                <p:cNvPr id="567" name="Rectangle: Rounded Corners 6">
                  <a:extLst>
                    <a:ext uri="{FF2B5EF4-FFF2-40B4-BE49-F238E27FC236}">
                      <a16:creationId xmlns:a16="http://schemas.microsoft.com/office/drawing/2014/main" id="{01501ED8-E98F-4EE4-9F45-325F9DBC10DF}"/>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8" name="Rectangle: Rounded Corners 140">
                  <a:extLst>
                    <a:ext uri="{FF2B5EF4-FFF2-40B4-BE49-F238E27FC236}">
                      <a16:creationId xmlns:a16="http://schemas.microsoft.com/office/drawing/2014/main" id="{93E4A046-27AC-43C4-B0DF-F87ED4B5DA9F}"/>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9" name="Rectangle: Rounded Corners 141">
                  <a:extLst>
                    <a:ext uri="{FF2B5EF4-FFF2-40B4-BE49-F238E27FC236}">
                      <a16:creationId xmlns:a16="http://schemas.microsoft.com/office/drawing/2014/main" id="{9616CBC8-9838-4315-89D8-127ABE451E7D}"/>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0" name="Rectangle: Rounded Corners 142">
                  <a:extLst>
                    <a:ext uri="{FF2B5EF4-FFF2-40B4-BE49-F238E27FC236}">
                      <a16:creationId xmlns:a16="http://schemas.microsoft.com/office/drawing/2014/main" id="{30554F36-9E80-4563-9646-709761B1BDB3}"/>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62" name="Group 561">
                <a:extLst>
                  <a:ext uri="{FF2B5EF4-FFF2-40B4-BE49-F238E27FC236}">
                    <a16:creationId xmlns:a16="http://schemas.microsoft.com/office/drawing/2014/main" id="{811F7F10-406B-42FA-B163-018089FC37E8}"/>
                  </a:ext>
                </a:extLst>
              </p:cNvPr>
              <p:cNvGrpSpPr/>
              <p:nvPr/>
            </p:nvGrpSpPr>
            <p:grpSpPr>
              <a:xfrm>
                <a:off x="6257463" y="1617978"/>
                <a:ext cx="1553564" cy="594092"/>
                <a:chOff x="6606761" y="1479381"/>
                <a:chExt cx="1566167" cy="598912"/>
              </a:xfrm>
              <a:solidFill>
                <a:schemeClr val="bg2">
                  <a:lumMod val="85000"/>
                </a:schemeClr>
              </a:solidFill>
            </p:grpSpPr>
            <p:sp>
              <p:nvSpPr>
                <p:cNvPr id="563" name="Rectangle: Rounded Corners 148">
                  <a:extLst>
                    <a:ext uri="{FF2B5EF4-FFF2-40B4-BE49-F238E27FC236}">
                      <a16:creationId xmlns:a16="http://schemas.microsoft.com/office/drawing/2014/main" id="{0AB7D6CD-102A-4040-A63B-D37FFF75E6A6}"/>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4" name="Rectangle: Rounded Corners 149">
                  <a:extLst>
                    <a:ext uri="{FF2B5EF4-FFF2-40B4-BE49-F238E27FC236}">
                      <a16:creationId xmlns:a16="http://schemas.microsoft.com/office/drawing/2014/main" id="{0996C544-FC8C-4FE2-97AD-33EFC3A5162A}"/>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5" name="Rectangle: Rounded Corners 150">
                  <a:extLst>
                    <a:ext uri="{FF2B5EF4-FFF2-40B4-BE49-F238E27FC236}">
                      <a16:creationId xmlns:a16="http://schemas.microsoft.com/office/drawing/2014/main" id="{C7F8E6C2-C791-4A6A-A317-19977F4D3B57}"/>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6" name="Rectangle: Rounded Corners 151">
                  <a:extLst>
                    <a:ext uri="{FF2B5EF4-FFF2-40B4-BE49-F238E27FC236}">
                      <a16:creationId xmlns:a16="http://schemas.microsoft.com/office/drawing/2014/main" id="{616874A7-B343-466F-BD95-6C7CE7FCFC3C}"/>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7" name="Group 426">
              <a:extLst>
                <a:ext uri="{FF2B5EF4-FFF2-40B4-BE49-F238E27FC236}">
                  <a16:creationId xmlns:a16="http://schemas.microsoft.com/office/drawing/2014/main" id="{5D80F346-7841-4064-8F45-5080D7E9DC1B}"/>
                </a:ext>
              </a:extLst>
            </p:cNvPr>
            <p:cNvGrpSpPr/>
            <p:nvPr/>
          </p:nvGrpSpPr>
          <p:grpSpPr>
            <a:xfrm>
              <a:off x="4495170" y="1970649"/>
              <a:ext cx="1509591" cy="909293"/>
              <a:chOff x="4722239" y="1617979"/>
              <a:chExt cx="1650330" cy="994067"/>
            </a:xfrm>
          </p:grpSpPr>
          <p:grpSp>
            <p:nvGrpSpPr>
              <p:cNvPr id="551" name="Group 550">
                <a:extLst>
                  <a:ext uri="{FF2B5EF4-FFF2-40B4-BE49-F238E27FC236}">
                    <a16:creationId xmlns:a16="http://schemas.microsoft.com/office/drawing/2014/main" id="{70735880-CB88-4F6E-BE49-E2C976899E04}"/>
                  </a:ext>
                </a:extLst>
              </p:cNvPr>
              <p:cNvGrpSpPr/>
              <p:nvPr/>
            </p:nvGrpSpPr>
            <p:grpSpPr>
              <a:xfrm>
                <a:off x="4722239" y="1617979"/>
                <a:ext cx="1604404" cy="594092"/>
                <a:chOff x="5071331" y="1479382"/>
                <a:chExt cx="1617419" cy="598911"/>
              </a:xfrm>
              <a:solidFill>
                <a:schemeClr val="bg2">
                  <a:lumMod val="85000"/>
                </a:schemeClr>
              </a:solidFill>
            </p:grpSpPr>
            <p:sp>
              <p:nvSpPr>
                <p:cNvPr id="557" name="Rectangle: Rounded Corners 161">
                  <a:extLst>
                    <a:ext uri="{FF2B5EF4-FFF2-40B4-BE49-F238E27FC236}">
                      <a16:creationId xmlns:a16="http://schemas.microsoft.com/office/drawing/2014/main" id="{C9FB7876-AFB3-44DE-A594-5F9585F63CE2}"/>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8" name="Rectangle: Rounded Corners 162">
                  <a:extLst>
                    <a:ext uri="{FF2B5EF4-FFF2-40B4-BE49-F238E27FC236}">
                      <a16:creationId xmlns:a16="http://schemas.microsoft.com/office/drawing/2014/main" id="{9069F53D-7B23-4895-AB98-F502C3135F7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9" name="Rectangle: Rounded Corners 163">
                  <a:extLst>
                    <a:ext uri="{FF2B5EF4-FFF2-40B4-BE49-F238E27FC236}">
                      <a16:creationId xmlns:a16="http://schemas.microsoft.com/office/drawing/2014/main" id="{0FEC1854-4A88-4E22-85E7-6AFA65819298}"/>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0" name="Rectangle: Rounded Corners 164">
                  <a:extLst>
                    <a:ext uri="{FF2B5EF4-FFF2-40B4-BE49-F238E27FC236}">
                      <a16:creationId xmlns:a16="http://schemas.microsoft.com/office/drawing/2014/main" id="{59DDFF06-7989-4A31-ACE7-E67617574590}"/>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52" name="Group 551">
                <a:extLst>
                  <a:ext uri="{FF2B5EF4-FFF2-40B4-BE49-F238E27FC236}">
                    <a16:creationId xmlns:a16="http://schemas.microsoft.com/office/drawing/2014/main" id="{432A5446-55DA-4B1F-9D75-58015CAB0B7C}"/>
                  </a:ext>
                </a:extLst>
              </p:cNvPr>
              <p:cNvGrpSpPr/>
              <p:nvPr/>
            </p:nvGrpSpPr>
            <p:grpSpPr>
              <a:xfrm>
                <a:off x="4819003" y="2017956"/>
                <a:ext cx="1553566" cy="594090"/>
                <a:chOff x="5168302" y="2039452"/>
                <a:chExt cx="1566168" cy="598911"/>
              </a:xfrm>
              <a:solidFill>
                <a:schemeClr val="bg2">
                  <a:lumMod val="85000"/>
                </a:schemeClr>
              </a:solidFill>
            </p:grpSpPr>
            <p:sp>
              <p:nvSpPr>
                <p:cNvPr id="553" name="Rectangle: Rounded Corners 165">
                  <a:extLst>
                    <a:ext uri="{FF2B5EF4-FFF2-40B4-BE49-F238E27FC236}">
                      <a16:creationId xmlns:a16="http://schemas.microsoft.com/office/drawing/2014/main" id="{795B5F93-BF38-4327-877F-C2259E566CDF}"/>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4" name="Rectangle: Rounded Corners 166">
                  <a:extLst>
                    <a:ext uri="{FF2B5EF4-FFF2-40B4-BE49-F238E27FC236}">
                      <a16:creationId xmlns:a16="http://schemas.microsoft.com/office/drawing/2014/main" id="{C231098D-D5A5-42B1-8C77-6AEF5CD87E24}"/>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5" name="Rectangle: Rounded Corners 167">
                  <a:extLst>
                    <a:ext uri="{FF2B5EF4-FFF2-40B4-BE49-F238E27FC236}">
                      <a16:creationId xmlns:a16="http://schemas.microsoft.com/office/drawing/2014/main" id="{2F367DA3-71AA-4057-9384-191AD63633BC}"/>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6" name="Rectangle: Rounded Corners 168">
                  <a:extLst>
                    <a:ext uri="{FF2B5EF4-FFF2-40B4-BE49-F238E27FC236}">
                      <a16:creationId xmlns:a16="http://schemas.microsoft.com/office/drawing/2014/main" id="{E3577BD0-241E-4838-96E2-43B3BB637DB5}"/>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8" name="Group 427">
              <a:extLst>
                <a:ext uri="{FF2B5EF4-FFF2-40B4-BE49-F238E27FC236}">
                  <a16:creationId xmlns:a16="http://schemas.microsoft.com/office/drawing/2014/main" id="{D50D2B2A-A262-4F70-B228-744CCEC7EFBE}"/>
                </a:ext>
              </a:extLst>
            </p:cNvPr>
            <p:cNvGrpSpPr/>
            <p:nvPr/>
          </p:nvGrpSpPr>
          <p:grpSpPr>
            <a:xfrm>
              <a:off x="3086190" y="2006242"/>
              <a:ext cx="1509592" cy="909292"/>
              <a:chOff x="3181899" y="1656890"/>
              <a:chExt cx="1650332" cy="994066"/>
            </a:xfrm>
          </p:grpSpPr>
          <p:grpSp>
            <p:nvGrpSpPr>
              <p:cNvPr id="541" name="Group 540">
                <a:extLst>
                  <a:ext uri="{FF2B5EF4-FFF2-40B4-BE49-F238E27FC236}">
                    <a16:creationId xmlns:a16="http://schemas.microsoft.com/office/drawing/2014/main" id="{68CA2F72-0AB6-43B0-94D7-A2D2A5BE7D50}"/>
                  </a:ext>
                </a:extLst>
              </p:cNvPr>
              <p:cNvGrpSpPr/>
              <p:nvPr/>
            </p:nvGrpSpPr>
            <p:grpSpPr>
              <a:xfrm>
                <a:off x="3227827" y="2056864"/>
                <a:ext cx="1604404" cy="594092"/>
                <a:chOff x="3576919" y="2078361"/>
                <a:chExt cx="1617419" cy="598911"/>
              </a:xfrm>
              <a:solidFill>
                <a:schemeClr val="bg2">
                  <a:lumMod val="85000"/>
                </a:schemeClr>
              </a:solidFill>
            </p:grpSpPr>
            <p:sp>
              <p:nvSpPr>
                <p:cNvPr id="547" name="Rectangle: Rounded Corners 170">
                  <a:extLst>
                    <a:ext uri="{FF2B5EF4-FFF2-40B4-BE49-F238E27FC236}">
                      <a16:creationId xmlns:a16="http://schemas.microsoft.com/office/drawing/2014/main" id="{7EDED468-34A3-4D1E-8BE3-BCA9B4BD62C5}"/>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8" name="Rectangle: Rounded Corners 172">
                  <a:extLst>
                    <a:ext uri="{FF2B5EF4-FFF2-40B4-BE49-F238E27FC236}">
                      <a16:creationId xmlns:a16="http://schemas.microsoft.com/office/drawing/2014/main" id="{A6569433-62FA-47AC-99A0-0166244F2536}"/>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9" name="Rectangle: Rounded Corners 173">
                  <a:extLst>
                    <a:ext uri="{FF2B5EF4-FFF2-40B4-BE49-F238E27FC236}">
                      <a16:creationId xmlns:a16="http://schemas.microsoft.com/office/drawing/2014/main" id="{4247FAD5-D390-4BAA-8759-658E0BD2B186}"/>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0" name="Rectangle: Rounded Corners 174">
                  <a:extLst>
                    <a:ext uri="{FF2B5EF4-FFF2-40B4-BE49-F238E27FC236}">
                      <a16:creationId xmlns:a16="http://schemas.microsoft.com/office/drawing/2014/main" id="{2A335CB2-F045-45B1-9CD5-1AF09C775DED}"/>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42" name="Group 541">
                <a:extLst>
                  <a:ext uri="{FF2B5EF4-FFF2-40B4-BE49-F238E27FC236}">
                    <a16:creationId xmlns:a16="http://schemas.microsoft.com/office/drawing/2014/main" id="{3A809CAC-23C7-49B0-BFDB-739FA295FF08}"/>
                  </a:ext>
                </a:extLst>
              </p:cNvPr>
              <p:cNvGrpSpPr/>
              <p:nvPr/>
            </p:nvGrpSpPr>
            <p:grpSpPr>
              <a:xfrm>
                <a:off x="3181899" y="1656890"/>
                <a:ext cx="1443175" cy="594090"/>
                <a:chOff x="3531199" y="1518292"/>
                <a:chExt cx="1454882" cy="598911"/>
              </a:xfrm>
              <a:solidFill>
                <a:schemeClr val="bg2">
                  <a:lumMod val="85000"/>
                </a:schemeClr>
              </a:solidFill>
            </p:grpSpPr>
            <p:sp>
              <p:nvSpPr>
                <p:cNvPr id="543" name="Rectangle: Rounded Corners 175">
                  <a:extLst>
                    <a:ext uri="{FF2B5EF4-FFF2-40B4-BE49-F238E27FC236}">
                      <a16:creationId xmlns:a16="http://schemas.microsoft.com/office/drawing/2014/main" id="{6689CB55-9603-45FA-95EF-8EC89E5AD3C8}"/>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4" name="Rectangle: Rounded Corners 176">
                  <a:extLst>
                    <a:ext uri="{FF2B5EF4-FFF2-40B4-BE49-F238E27FC236}">
                      <a16:creationId xmlns:a16="http://schemas.microsoft.com/office/drawing/2014/main" id="{AA44B59E-9EC7-420C-95B2-504B3077B974}"/>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5" name="Rectangle: Rounded Corners 177">
                  <a:extLst>
                    <a:ext uri="{FF2B5EF4-FFF2-40B4-BE49-F238E27FC236}">
                      <a16:creationId xmlns:a16="http://schemas.microsoft.com/office/drawing/2014/main" id="{0F584308-9C74-4352-8591-A7AD5261180D}"/>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6" name="Rectangle: Rounded Corners 178">
                  <a:extLst>
                    <a:ext uri="{FF2B5EF4-FFF2-40B4-BE49-F238E27FC236}">
                      <a16:creationId xmlns:a16="http://schemas.microsoft.com/office/drawing/2014/main" id="{B913CE34-C127-47F2-9AC9-5CF9EABCAC94}"/>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9" name="Group 428">
              <a:extLst>
                <a:ext uri="{FF2B5EF4-FFF2-40B4-BE49-F238E27FC236}">
                  <a16:creationId xmlns:a16="http://schemas.microsoft.com/office/drawing/2014/main" id="{586E91CF-9E4A-45D6-A583-6EA74A7E2649}"/>
                </a:ext>
              </a:extLst>
            </p:cNvPr>
            <p:cNvGrpSpPr/>
            <p:nvPr/>
          </p:nvGrpSpPr>
          <p:grpSpPr>
            <a:xfrm>
              <a:off x="1799537" y="2094016"/>
              <a:ext cx="1491424" cy="749099"/>
              <a:chOff x="6621828" y="1373655"/>
              <a:chExt cx="1630470" cy="818938"/>
            </a:xfrm>
            <a:solidFill>
              <a:schemeClr val="bg2">
                <a:lumMod val="85000"/>
              </a:schemeClr>
            </a:solidFill>
          </p:grpSpPr>
          <p:sp>
            <p:nvSpPr>
              <p:cNvPr id="535" name="Rectangle: Rounded Corners 190">
                <a:extLst>
                  <a:ext uri="{FF2B5EF4-FFF2-40B4-BE49-F238E27FC236}">
                    <a16:creationId xmlns:a16="http://schemas.microsoft.com/office/drawing/2014/main" id="{948E9081-CD96-436A-AC4B-6F72F056F6F8}"/>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6" name="Rectangle: Rounded Corners 191">
                <a:extLst>
                  <a:ext uri="{FF2B5EF4-FFF2-40B4-BE49-F238E27FC236}">
                    <a16:creationId xmlns:a16="http://schemas.microsoft.com/office/drawing/2014/main" id="{A81A9705-D467-46F0-82B8-A01D92179FFE}"/>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7" name="Rectangle: Rounded Corners 192">
                <a:extLst>
                  <a:ext uri="{FF2B5EF4-FFF2-40B4-BE49-F238E27FC236}">
                    <a16:creationId xmlns:a16="http://schemas.microsoft.com/office/drawing/2014/main" id="{4B0F9048-BE28-43F0-96E5-4D865F5ECDC0}"/>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8" name="Rectangle: Rounded Corners 194">
                <a:extLst>
                  <a:ext uri="{FF2B5EF4-FFF2-40B4-BE49-F238E27FC236}">
                    <a16:creationId xmlns:a16="http://schemas.microsoft.com/office/drawing/2014/main" id="{B8646E8C-09E9-438A-9ADC-920A0A4C960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9" name="Rectangle: Rounded Corners 228">
                <a:extLst>
                  <a:ext uri="{FF2B5EF4-FFF2-40B4-BE49-F238E27FC236}">
                    <a16:creationId xmlns:a16="http://schemas.microsoft.com/office/drawing/2014/main" id="{ABFE1E99-17E1-4515-9676-CFBB2B12E140}"/>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0" name="Rectangle: Rounded Corners 229">
                <a:extLst>
                  <a:ext uri="{FF2B5EF4-FFF2-40B4-BE49-F238E27FC236}">
                    <a16:creationId xmlns:a16="http://schemas.microsoft.com/office/drawing/2014/main" id="{345A3AA8-488D-4048-847B-D088EF17E615}"/>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30" name="TextBox 429">
              <a:extLst>
                <a:ext uri="{FF2B5EF4-FFF2-40B4-BE49-F238E27FC236}">
                  <a16:creationId xmlns:a16="http://schemas.microsoft.com/office/drawing/2014/main" id="{DD827FBC-E349-4877-AEDA-0A05594455BB}"/>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431" name="TextBox 430">
              <a:extLst>
                <a:ext uri="{FF2B5EF4-FFF2-40B4-BE49-F238E27FC236}">
                  <a16:creationId xmlns:a16="http://schemas.microsoft.com/office/drawing/2014/main" id="{0D38132E-92B8-46F3-8471-C7B7E4004432}"/>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432" name="TextBox 431">
              <a:extLst>
                <a:ext uri="{FF2B5EF4-FFF2-40B4-BE49-F238E27FC236}">
                  <a16:creationId xmlns:a16="http://schemas.microsoft.com/office/drawing/2014/main" id="{DD953ADC-8E6E-40DA-94CD-7FEB9B7597A5}"/>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433" name="Group 432">
              <a:extLst>
                <a:ext uri="{FF2B5EF4-FFF2-40B4-BE49-F238E27FC236}">
                  <a16:creationId xmlns:a16="http://schemas.microsoft.com/office/drawing/2014/main" id="{87602542-FAC5-4BDF-A4A8-E22544CC64CA}"/>
                </a:ext>
              </a:extLst>
            </p:cNvPr>
            <p:cNvGrpSpPr/>
            <p:nvPr/>
          </p:nvGrpSpPr>
          <p:grpSpPr>
            <a:xfrm>
              <a:off x="1722376" y="1935055"/>
              <a:ext cx="160263" cy="98451"/>
              <a:chOff x="3221673" y="3946130"/>
              <a:chExt cx="521162" cy="320153"/>
            </a:xfrm>
            <a:solidFill>
              <a:schemeClr val="accent2"/>
            </a:solidFill>
          </p:grpSpPr>
          <p:sp>
            <p:nvSpPr>
              <p:cNvPr id="533" name="Freeform 7">
                <a:extLst>
                  <a:ext uri="{FF2B5EF4-FFF2-40B4-BE49-F238E27FC236}">
                    <a16:creationId xmlns:a16="http://schemas.microsoft.com/office/drawing/2014/main" id="{44606877-F029-42A7-A114-540FC6D2EB8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dirty="0"/>
              </a:p>
            </p:txBody>
          </p:sp>
          <p:sp>
            <p:nvSpPr>
              <p:cNvPr id="534" name="Freeform 23">
                <a:extLst>
                  <a:ext uri="{FF2B5EF4-FFF2-40B4-BE49-F238E27FC236}">
                    <a16:creationId xmlns:a16="http://schemas.microsoft.com/office/drawing/2014/main" id="{1EFE0505-9F96-469E-9392-1786AC943DE9}"/>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4" name="Group 433">
              <a:extLst>
                <a:ext uri="{FF2B5EF4-FFF2-40B4-BE49-F238E27FC236}">
                  <a16:creationId xmlns:a16="http://schemas.microsoft.com/office/drawing/2014/main" id="{C28A7165-8CA8-44C4-8A59-A7D8E81FF47B}"/>
                </a:ext>
              </a:extLst>
            </p:cNvPr>
            <p:cNvGrpSpPr/>
            <p:nvPr/>
          </p:nvGrpSpPr>
          <p:grpSpPr>
            <a:xfrm>
              <a:off x="1388809" y="1934661"/>
              <a:ext cx="166060" cy="99240"/>
              <a:chOff x="3202819" y="3711222"/>
              <a:chExt cx="348044" cy="207998"/>
            </a:xfrm>
            <a:solidFill>
              <a:schemeClr val="accent1"/>
            </a:solidFill>
          </p:grpSpPr>
          <p:sp>
            <p:nvSpPr>
              <p:cNvPr id="531" name="Freeform 77">
                <a:extLst>
                  <a:ext uri="{FF2B5EF4-FFF2-40B4-BE49-F238E27FC236}">
                    <a16:creationId xmlns:a16="http://schemas.microsoft.com/office/drawing/2014/main" id="{0D888EA3-13EC-45DB-AAE2-A56AD4DD2DE8}"/>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dirty="0"/>
              </a:p>
            </p:txBody>
          </p:sp>
          <p:sp>
            <p:nvSpPr>
              <p:cNvPr id="532" name="Freeform 23">
                <a:extLst>
                  <a:ext uri="{FF2B5EF4-FFF2-40B4-BE49-F238E27FC236}">
                    <a16:creationId xmlns:a16="http://schemas.microsoft.com/office/drawing/2014/main" id="{6624EDAD-8189-4B6B-8442-6C185C3DD7C9}"/>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5" name="Group 434">
              <a:extLst>
                <a:ext uri="{FF2B5EF4-FFF2-40B4-BE49-F238E27FC236}">
                  <a16:creationId xmlns:a16="http://schemas.microsoft.com/office/drawing/2014/main" id="{D2919D61-9C74-4C04-BFD5-01A8206B7D7B}"/>
                </a:ext>
              </a:extLst>
            </p:cNvPr>
            <p:cNvGrpSpPr/>
            <p:nvPr/>
          </p:nvGrpSpPr>
          <p:grpSpPr>
            <a:xfrm>
              <a:off x="1061637" y="1935056"/>
              <a:ext cx="159067" cy="98449"/>
              <a:chOff x="974446" y="1475289"/>
              <a:chExt cx="173897" cy="107627"/>
            </a:xfrm>
            <a:solidFill>
              <a:schemeClr val="accent5"/>
            </a:solidFill>
          </p:grpSpPr>
          <p:sp>
            <p:nvSpPr>
              <p:cNvPr id="529" name="Freeform 11">
                <a:extLst>
                  <a:ext uri="{FF2B5EF4-FFF2-40B4-BE49-F238E27FC236}">
                    <a16:creationId xmlns:a16="http://schemas.microsoft.com/office/drawing/2014/main" id="{4E9113F6-2F11-4E76-B340-4B987A625CA1}"/>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530" name="Freeform 23">
                <a:extLst>
                  <a:ext uri="{FF2B5EF4-FFF2-40B4-BE49-F238E27FC236}">
                    <a16:creationId xmlns:a16="http://schemas.microsoft.com/office/drawing/2014/main" id="{682E4B11-CF1B-4398-A5E4-8C26E5DBD780}"/>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6" name="Group 435">
              <a:extLst>
                <a:ext uri="{FF2B5EF4-FFF2-40B4-BE49-F238E27FC236}">
                  <a16:creationId xmlns:a16="http://schemas.microsoft.com/office/drawing/2014/main" id="{112D7826-9847-4F1D-93C1-BCC449056B80}"/>
                </a:ext>
              </a:extLst>
            </p:cNvPr>
            <p:cNvGrpSpPr/>
            <p:nvPr/>
          </p:nvGrpSpPr>
          <p:grpSpPr>
            <a:xfrm>
              <a:off x="3062826" y="1914581"/>
              <a:ext cx="396817" cy="396817"/>
              <a:chOff x="3119641" y="1416189"/>
              <a:chExt cx="507244" cy="507244"/>
            </a:xfrm>
          </p:grpSpPr>
          <p:sp>
            <p:nvSpPr>
              <p:cNvPr id="522" name="Oval 521">
                <a:extLst>
                  <a:ext uri="{FF2B5EF4-FFF2-40B4-BE49-F238E27FC236}">
                    <a16:creationId xmlns:a16="http://schemas.microsoft.com/office/drawing/2014/main" id="{FAF32BE9-140A-40B9-A600-1739866C6B11}"/>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23" name="Group 522">
                <a:extLst>
                  <a:ext uri="{FF2B5EF4-FFF2-40B4-BE49-F238E27FC236}">
                    <a16:creationId xmlns:a16="http://schemas.microsoft.com/office/drawing/2014/main" id="{0794BBE5-51EE-4FA6-A7BC-B40A0815E5B2}"/>
                  </a:ext>
                </a:extLst>
              </p:cNvPr>
              <p:cNvGrpSpPr/>
              <p:nvPr/>
            </p:nvGrpSpPr>
            <p:grpSpPr>
              <a:xfrm>
                <a:off x="3179583" y="1476131"/>
                <a:ext cx="387360" cy="387360"/>
                <a:chOff x="2652535" y="-3571486"/>
                <a:chExt cx="4882348" cy="4882348"/>
              </a:xfrm>
              <a:solidFill>
                <a:schemeClr val="bg2"/>
              </a:solidFill>
            </p:grpSpPr>
            <p:sp>
              <p:nvSpPr>
                <p:cNvPr id="524" name="Freeform: Shape 298">
                  <a:extLst>
                    <a:ext uri="{FF2B5EF4-FFF2-40B4-BE49-F238E27FC236}">
                      <a16:creationId xmlns:a16="http://schemas.microsoft.com/office/drawing/2014/main" id="{B6D34471-2586-44CC-A072-68C45F52015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5" name="Freeform: Shape 299">
                  <a:extLst>
                    <a:ext uri="{FF2B5EF4-FFF2-40B4-BE49-F238E27FC236}">
                      <a16:creationId xmlns:a16="http://schemas.microsoft.com/office/drawing/2014/main" id="{87998161-2C76-4547-A932-04AF8E27D76C}"/>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26" name="Group 525">
                  <a:extLst>
                    <a:ext uri="{FF2B5EF4-FFF2-40B4-BE49-F238E27FC236}">
                      <a16:creationId xmlns:a16="http://schemas.microsoft.com/office/drawing/2014/main" id="{5E05D5C0-0427-4C95-ABA5-718A3BDFEFF0}"/>
                    </a:ext>
                  </a:extLst>
                </p:cNvPr>
                <p:cNvGrpSpPr/>
                <p:nvPr/>
              </p:nvGrpSpPr>
              <p:grpSpPr>
                <a:xfrm rot="5400000">
                  <a:off x="4197485" y="-3571486"/>
                  <a:ext cx="1792447" cy="4882348"/>
                  <a:chOff x="4197485" y="-3571486"/>
                  <a:chExt cx="1792447" cy="4882348"/>
                </a:xfrm>
                <a:grpFill/>
              </p:grpSpPr>
              <p:sp>
                <p:nvSpPr>
                  <p:cNvPr id="527" name="Freeform: Shape 301">
                    <a:extLst>
                      <a:ext uri="{FF2B5EF4-FFF2-40B4-BE49-F238E27FC236}">
                        <a16:creationId xmlns:a16="http://schemas.microsoft.com/office/drawing/2014/main" id="{61C0F6FB-D11D-4480-AF46-C2AC70CFD4DB}"/>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8" name="Freeform: Shape 302">
                    <a:extLst>
                      <a:ext uri="{FF2B5EF4-FFF2-40B4-BE49-F238E27FC236}">
                        <a16:creationId xmlns:a16="http://schemas.microsoft.com/office/drawing/2014/main" id="{8DAF4521-520B-4B6E-953E-E2D93606A29D}"/>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7" name="Group 436">
              <a:extLst>
                <a:ext uri="{FF2B5EF4-FFF2-40B4-BE49-F238E27FC236}">
                  <a16:creationId xmlns:a16="http://schemas.microsoft.com/office/drawing/2014/main" id="{6DC4E5BB-A596-442A-BFD2-D6A06384EB94}"/>
                </a:ext>
              </a:extLst>
            </p:cNvPr>
            <p:cNvGrpSpPr/>
            <p:nvPr/>
          </p:nvGrpSpPr>
          <p:grpSpPr>
            <a:xfrm>
              <a:off x="3062826" y="2564265"/>
              <a:ext cx="396817" cy="396817"/>
              <a:chOff x="3119641" y="2126443"/>
              <a:chExt cx="507244" cy="507244"/>
            </a:xfrm>
          </p:grpSpPr>
          <p:sp>
            <p:nvSpPr>
              <p:cNvPr id="515" name="Oval 514">
                <a:extLst>
                  <a:ext uri="{FF2B5EF4-FFF2-40B4-BE49-F238E27FC236}">
                    <a16:creationId xmlns:a16="http://schemas.microsoft.com/office/drawing/2014/main" id="{EE2A51AF-E4F4-49EF-9844-407D862CF80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16" name="Group 515">
                <a:extLst>
                  <a:ext uri="{FF2B5EF4-FFF2-40B4-BE49-F238E27FC236}">
                    <a16:creationId xmlns:a16="http://schemas.microsoft.com/office/drawing/2014/main" id="{C65B9FD2-2960-4082-98DD-139CA43AC038}"/>
                  </a:ext>
                </a:extLst>
              </p:cNvPr>
              <p:cNvGrpSpPr/>
              <p:nvPr/>
            </p:nvGrpSpPr>
            <p:grpSpPr>
              <a:xfrm>
                <a:off x="3179583" y="2186385"/>
                <a:ext cx="387360" cy="387360"/>
                <a:chOff x="2652535" y="-3571486"/>
                <a:chExt cx="4882348" cy="4882348"/>
              </a:xfrm>
              <a:solidFill>
                <a:schemeClr val="bg2"/>
              </a:solidFill>
            </p:grpSpPr>
            <p:sp>
              <p:nvSpPr>
                <p:cNvPr id="517" name="Freeform: Shape 310">
                  <a:extLst>
                    <a:ext uri="{FF2B5EF4-FFF2-40B4-BE49-F238E27FC236}">
                      <a16:creationId xmlns:a16="http://schemas.microsoft.com/office/drawing/2014/main" id="{D911AB50-D703-4670-9C78-6D9D3D91590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8" name="Freeform: Shape 311">
                  <a:extLst>
                    <a:ext uri="{FF2B5EF4-FFF2-40B4-BE49-F238E27FC236}">
                      <a16:creationId xmlns:a16="http://schemas.microsoft.com/office/drawing/2014/main" id="{A2876FE9-9C7B-4FB4-8267-F695D2D54A0F}"/>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9" name="Group 518">
                  <a:extLst>
                    <a:ext uri="{FF2B5EF4-FFF2-40B4-BE49-F238E27FC236}">
                      <a16:creationId xmlns:a16="http://schemas.microsoft.com/office/drawing/2014/main" id="{D557623F-B3D1-4FE9-84DE-9A42F1E60D9C}"/>
                    </a:ext>
                  </a:extLst>
                </p:cNvPr>
                <p:cNvGrpSpPr/>
                <p:nvPr/>
              </p:nvGrpSpPr>
              <p:grpSpPr>
                <a:xfrm rot="5400000">
                  <a:off x="4197485" y="-3571486"/>
                  <a:ext cx="1792447" cy="4882348"/>
                  <a:chOff x="4197485" y="-3571486"/>
                  <a:chExt cx="1792447" cy="4882348"/>
                </a:xfrm>
                <a:grpFill/>
              </p:grpSpPr>
              <p:sp>
                <p:nvSpPr>
                  <p:cNvPr id="520" name="Freeform: Shape 313">
                    <a:extLst>
                      <a:ext uri="{FF2B5EF4-FFF2-40B4-BE49-F238E27FC236}">
                        <a16:creationId xmlns:a16="http://schemas.microsoft.com/office/drawing/2014/main" id="{18AACA6B-044E-4DE0-A1B0-8AEAB855435C}"/>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1" name="Freeform: Shape 314">
                    <a:extLst>
                      <a:ext uri="{FF2B5EF4-FFF2-40B4-BE49-F238E27FC236}">
                        <a16:creationId xmlns:a16="http://schemas.microsoft.com/office/drawing/2014/main" id="{C27F08E9-BE5C-4412-8720-129DB0A0FA70}"/>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8" name="Group 437">
              <a:extLst>
                <a:ext uri="{FF2B5EF4-FFF2-40B4-BE49-F238E27FC236}">
                  <a16:creationId xmlns:a16="http://schemas.microsoft.com/office/drawing/2014/main" id="{70890142-3569-473A-832F-558767F2DD9B}"/>
                </a:ext>
              </a:extLst>
            </p:cNvPr>
            <p:cNvGrpSpPr/>
            <p:nvPr/>
          </p:nvGrpSpPr>
          <p:grpSpPr>
            <a:xfrm>
              <a:off x="4413642" y="1914581"/>
              <a:ext cx="396817" cy="396817"/>
              <a:chOff x="4596394" y="1416189"/>
              <a:chExt cx="507244" cy="507244"/>
            </a:xfrm>
          </p:grpSpPr>
          <p:sp>
            <p:nvSpPr>
              <p:cNvPr id="508" name="Oval 507">
                <a:extLst>
                  <a:ext uri="{FF2B5EF4-FFF2-40B4-BE49-F238E27FC236}">
                    <a16:creationId xmlns:a16="http://schemas.microsoft.com/office/drawing/2014/main" id="{A9CE2AC4-C299-4E2F-9222-25489092AFE9}"/>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9" name="Group 508">
                <a:extLst>
                  <a:ext uri="{FF2B5EF4-FFF2-40B4-BE49-F238E27FC236}">
                    <a16:creationId xmlns:a16="http://schemas.microsoft.com/office/drawing/2014/main" id="{BD680461-FA82-4D8F-8BD5-7A40D4367162}"/>
                  </a:ext>
                </a:extLst>
              </p:cNvPr>
              <p:cNvGrpSpPr/>
              <p:nvPr/>
            </p:nvGrpSpPr>
            <p:grpSpPr>
              <a:xfrm>
                <a:off x="4656336" y="1476131"/>
                <a:ext cx="387360" cy="387360"/>
                <a:chOff x="2652535" y="-3571486"/>
                <a:chExt cx="4882348" cy="4882348"/>
              </a:xfrm>
              <a:solidFill>
                <a:schemeClr val="bg2"/>
              </a:solidFill>
            </p:grpSpPr>
            <p:sp>
              <p:nvSpPr>
                <p:cNvPr id="510" name="Freeform: Shape 316">
                  <a:extLst>
                    <a:ext uri="{FF2B5EF4-FFF2-40B4-BE49-F238E27FC236}">
                      <a16:creationId xmlns:a16="http://schemas.microsoft.com/office/drawing/2014/main" id="{31E69456-1D42-4E0A-85FB-8A5C250668B9}"/>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1" name="Freeform: Shape 317">
                  <a:extLst>
                    <a:ext uri="{FF2B5EF4-FFF2-40B4-BE49-F238E27FC236}">
                      <a16:creationId xmlns:a16="http://schemas.microsoft.com/office/drawing/2014/main" id="{94BFB5DF-AE4C-4465-B5FD-F5FB87FECA12}"/>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2" name="Group 511">
                  <a:extLst>
                    <a:ext uri="{FF2B5EF4-FFF2-40B4-BE49-F238E27FC236}">
                      <a16:creationId xmlns:a16="http://schemas.microsoft.com/office/drawing/2014/main" id="{7719C80D-DADA-487F-B8E3-6DEF17D8FE48}"/>
                    </a:ext>
                  </a:extLst>
                </p:cNvPr>
                <p:cNvGrpSpPr/>
                <p:nvPr/>
              </p:nvGrpSpPr>
              <p:grpSpPr>
                <a:xfrm rot="5400000">
                  <a:off x="4197485" y="-3571486"/>
                  <a:ext cx="1792447" cy="4882348"/>
                  <a:chOff x="4197485" y="-3571486"/>
                  <a:chExt cx="1792447" cy="4882348"/>
                </a:xfrm>
                <a:grpFill/>
              </p:grpSpPr>
              <p:sp>
                <p:nvSpPr>
                  <p:cNvPr id="513" name="Freeform: Shape 319">
                    <a:extLst>
                      <a:ext uri="{FF2B5EF4-FFF2-40B4-BE49-F238E27FC236}">
                        <a16:creationId xmlns:a16="http://schemas.microsoft.com/office/drawing/2014/main" id="{71D479D3-E51E-4A38-ABDE-0A071DF8575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4" name="Freeform: Shape 320">
                    <a:extLst>
                      <a:ext uri="{FF2B5EF4-FFF2-40B4-BE49-F238E27FC236}">
                        <a16:creationId xmlns:a16="http://schemas.microsoft.com/office/drawing/2014/main" id="{E735D331-70C1-400C-9326-EA4D68024BFB}"/>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9" name="Group 438">
              <a:extLst>
                <a:ext uri="{FF2B5EF4-FFF2-40B4-BE49-F238E27FC236}">
                  <a16:creationId xmlns:a16="http://schemas.microsoft.com/office/drawing/2014/main" id="{89B6FE3C-095B-4EC4-B9F3-08B8797C98F4}"/>
                </a:ext>
              </a:extLst>
            </p:cNvPr>
            <p:cNvGrpSpPr/>
            <p:nvPr/>
          </p:nvGrpSpPr>
          <p:grpSpPr>
            <a:xfrm>
              <a:off x="4413642" y="2564265"/>
              <a:ext cx="396817" cy="396817"/>
              <a:chOff x="4596394" y="2126443"/>
              <a:chExt cx="507244" cy="507244"/>
            </a:xfrm>
          </p:grpSpPr>
          <p:sp>
            <p:nvSpPr>
              <p:cNvPr id="501" name="Oval 500">
                <a:extLst>
                  <a:ext uri="{FF2B5EF4-FFF2-40B4-BE49-F238E27FC236}">
                    <a16:creationId xmlns:a16="http://schemas.microsoft.com/office/drawing/2014/main" id="{5777650D-9B57-4CFA-B6CF-DF3651C58B11}"/>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2" name="Group 501">
                <a:extLst>
                  <a:ext uri="{FF2B5EF4-FFF2-40B4-BE49-F238E27FC236}">
                    <a16:creationId xmlns:a16="http://schemas.microsoft.com/office/drawing/2014/main" id="{5D20FC79-6FBB-4967-8601-ED6181D5FB9D}"/>
                  </a:ext>
                </a:extLst>
              </p:cNvPr>
              <p:cNvGrpSpPr/>
              <p:nvPr/>
            </p:nvGrpSpPr>
            <p:grpSpPr>
              <a:xfrm>
                <a:off x="4656336" y="2186385"/>
                <a:ext cx="387360" cy="387360"/>
                <a:chOff x="2652535" y="-3571486"/>
                <a:chExt cx="4882348" cy="4882348"/>
              </a:xfrm>
              <a:solidFill>
                <a:schemeClr val="bg2"/>
              </a:solidFill>
            </p:grpSpPr>
            <p:sp>
              <p:nvSpPr>
                <p:cNvPr id="503" name="Freeform: Shape 322">
                  <a:extLst>
                    <a:ext uri="{FF2B5EF4-FFF2-40B4-BE49-F238E27FC236}">
                      <a16:creationId xmlns:a16="http://schemas.microsoft.com/office/drawing/2014/main" id="{043DE606-CE78-4762-85B6-66ED2DA9C2AB}"/>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4" name="Freeform: Shape 323">
                  <a:extLst>
                    <a:ext uri="{FF2B5EF4-FFF2-40B4-BE49-F238E27FC236}">
                      <a16:creationId xmlns:a16="http://schemas.microsoft.com/office/drawing/2014/main" id="{499FDDB3-6530-4BC4-9CA3-03400FBE9DB1}"/>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05" name="Group 504">
                  <a:extLst>
                    <a:ext uri="{FF2B5EF4-FFF2-40B4-BE49-F238E27FC236}">
                      <a16:creationId xmlns:a16="http://schemas.microsoft.com/office/drawing/2014/main" id="{C0FC8086-3DF7-4B20-972E-26389864236B}"/>
                    </a:ext>
                  </a:extLst>
                </p:cNvPr>
                <p:cNvGrpSpPr/>
                <p:nvPr/>
              </p:nvGrpSpPr>
              <p:grpSpPr>
                <a:xfrm rot="5400000">
                  <a:off x="4197485" y="-3571486"/>
                  <a:ext cx="1792447" cy="4882348"/>
                  <a:chOff x="4197485" y="-3571486"/>
                  <a:chExt cx="1792447" cy="4882348"/>
                </a:xfrm>
                <a:grpFill/>
              </p:grpSpPr>
              <p:sp>
                <p:nvSpPr>
                  <p:cNvPr id="506" name="Freeform: Shape 325">
                    <a:extLst>
                      <a:ext uri="{FF2B5EF4-FFF2-40B4-BE49-F238E27FC236}">
                        <a16:creationId xmlns:a16="http://schemas.microsoft.com/office/drawing/2014/main" id="{3990668B-3509-4E04-8CFA-E231CDD396D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7" name="Freeform: Shape 326">
                    <a:extLst>
                      <a:ext uri="{FF2B5EF4-FFF2-40B4-BE49-F238E27FC236}">
                        <a16:creationId xmlns:a16="http://schemas.microsoft.com/office/drawing/2014/main" id="{2D720520-3E98-408A-A376-D3A8BFDAD44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40" name="Group 439">
              <a:extLst>
                <a:ext uri="{FF2B5EF4-FFF2-40B4-BE49-F238E27FC236}">
                  <a16:creationId xmlns:a16="http://schemas.microsoft.com/office/drawing/2014/main" id="{543B5AFA-85EF-4554-B3B0-24715B822CE9}"/>
                </a:ext>
              </a:extLst>
            </p:cNvPr>
            <p:cNvGrpSpPr/>
            <p:nvPr/>
          </p:nvGrpSpPr>
          <p:grpSpPr>
            <a:xfrm>
              <a:off x="6807004" y="1957907"/>
              <a:ext cx="819226" cy="517562"/>
              <a:chOff x="6444145" y="1701124"/>
              <a:chExt cx="1280626" cy="802839"/>
            </a:xfrm>
            <a:solidFill>
              <a:schemeClr val="tx2"/>
            </a:solidFill>
          </p:grpSpPr>
          <p:grpSp>
            <p:nvGrpSpPr>
              <p:cNvPr id="495" name="Group 494">
                <a:extLst>
                  <a:ext uri="{FF2B5EF4-FFF2-40B4-BE49-F238E27FC236}">
                    <a16:creationId xmlns:a16="http://schemas.microsoft.com/office/drawing/2014/main" id="{0ABED0C7-E167-4BEE-8EA8-2A7D0265C401}"/>
                  </a:ext>
                </a:extLst>
              </p:cNvPr>
              <p:cNvGrpSpPr/>
              <p:nvPr/>
            </p:nvGrpSpPr>
            <p:grpSpPr>
              <a:xfrm>
                <a:off x="6444145" y="2041258"/>
                <a:ext cx="1280626" cy="462705"/>
                <a:chOff x="6799745" y="2065165"/>
                <a:chExt cx="1280626" cy="462705"/>
              </a:xfrm>
              <a:grpFill/>
            </p:grpSpPr>
            <p:sp>
              <p:nvSpPr>
                <p:cNvPr id="499" name="Rectangle: Rounded Corners 351">
                  <a:extLst>
                    <a:ext uri="{FF2B5EF4-FFF2-40B4-BE49-F238E27FC236}">
                      <a16:creationId xmlns:a16="http://schemas.microsoft.com/office/drawing/2014/main" id="{6EEE55C2-2F45-4B6B-8105-24BF4D96233B}"/>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0" name="Rectangle: Rounded Corners 353">
                  <a:extLst>
                    <a:ext uri="{FF2B5EF4-FFF2-40B4-BE49-F238E27FC236}">
                      <a16:creationId xmlns:a16="http://schemas.microsoft.com/office/drawing/2014/main" id="{9B14800E-E859-446E-9997-E3531B0CAB75}"/>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6" name="Group 495">
                <a:extLst>
                  <a:ext uri="{FF2B5EF4-FFF2-40B4-BE49-F238E27FC236}">
                    <a16:creationId xmlns:a16="http://schemas.microsoft.com/office/drawing/2014/main" id="{7E1C808C-1610-4066-A009-E0F824BEC39C}"/>
                  </a:ext>
                </a:extLst>
              </p:cNvPr>
              <p:cNvGrpSpPr/>
              <p:nvPr/>
            </p:nvGrpSpPr>
            <p:grpSpPr>
              <a:xfrm>
                <a:off x="6691732" y="1701124"/>
                <a:ext cx="956368" cy="458033"/>
                <a:chOff x="7044558" y="1563201"/>
                <a:chExt cx="964127" cy="461749"/>
              </a:xfrm>
              <a:grpFill/>
            </p:grpSpPr>
            <p:sp>
              <p:nvSpPr>
                <p:cNvPr id="497" name="Rectangle: Rounded Corners 347">
                  <a:extLst>
                    <a:ext uri="{FF2B5EF4-FFF2-40B4-BE49-F238E27FC236}">
                      <a16:creationId xmlns:a16="http://schemas.microsoft.com/office/drawing/2014/main" id="{E8AC8778-54B5-47A9-8B25-EF1E3C9D77EC}"/>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8" name="Rectangle: Rounded Corners 348">
                  <a:extLst>
                    <a:ext uri="{FF2B5EF4-FFF2-40B4-BE49-F238E27FC236}">
                      <a16:creationId xmlns:a16="http://schemas.microsoft.com/office/drawing/2014/main" id="{EC798BCC-6951-4246-A2C7-FCF9DF9CEDC4}"/>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41" name="Group 440">
              <a:extLst>
                <a:ext uri="{FF2B5EF4-FFF2-40B4-BE49-F238E27FC236}">
                  <a16:creationId xmlns:a16="http://schemas.microsoft.com/office/drawing/2014/main" id="{C63B6FA3-3978-4224-AD05-93C4EADB2523}"/>
                </a:ext>
              </a:extLst>
            </p:cNvPr>
            <p:cNvGrpSpPr/>
            <p:nvPr/>
          </p:nvGrpSpPr>
          <p:grpSpPr>
            <a:xfrm>
              <a:off x="6999001" y="2588405"/>
              <a:ext cx="228070" cy="228070"/>
              <a:chOff x="7547191" y="1416189"/>
              <a:chExt cx="507244" cy="507244"/>
            </a:xfrm>
          </p:grpSpPr>
          <p:sp>
            <p:nvSpPr>
              <p:cNvPr id="493" name="Oval 492">
                <a:extLst>
                  <a:ext uri="{FF2B5EF4-FFF2-40B4-BE49-F238E27FC236}">
                    <a16:creationId xmlns:a16="http://schemas.microsoft.com/office/drawing/2014/main" id="{4723C510-30DA-4862-A533-8D77660422C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4" name="Freeform 594">
                <a:extLst>
                  <a:ext uri="{FF2B5EF4-FFF2-40B4-BE49-F238E27FC236}">
                    <a16:creationId xmlns:a16="http://schemas.microsoft.com/office/drawing/2014/main" id="{C0FC5380-4990-4834-BC3B-B2289600229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2" name="Group 441">
              <a:extLst>
                <a:ext uri="{FF2B5EF4-FFF2-40B4-BE49-F238E27FC236}">
                  <a16:creationId xmlns:a16="http://schemas.microsoft.com/office/drawing/2014/main" id="{8D925D69-8DBE-4ABE-B9FB-BED633744961}"/>
                </a:ext>
              </a:extLst>
            </p:cNvPr>
            <p:cNvGrpSpPr/>
            <p:nvPr/>
          </p:nvGrpSpPr>
          <p:grpSpPr>
            <a:xfrm>
              <a:off x="4858902" y="2770027"/>
              <a:ext cx="860793" cy="301990"/>
              <a:chOff x="5119882" y="2533650"/>
              <a:chExt cx="941045" cy="425467"/>
            </a:xfrm>
          </p:grpSpPr>
          <p:sp>
            <p:nvSpPr>
              <p:cNvPr id="489" name="Rounded Rectangle 133">
                <a:extLst>
                  <a:ext uri="{FF2B5EF4-FFF2-40B4-BE49-F238E27FC236}">
                    <a16:creationId xmlns:a16="http://schemas.microsoft.com/office/drawing/2014/main" id="{FF2DD8BC-42E6-42F8-BD2C-DD9034706B27}"/>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490" name="Group 489">
                <a:extLst>
                  <a:ext uri="{FF2B5EF4-FFF2-40B4-BE49-F238E27FC236}">
                    <a16:creationId xmlns:a16="http://schemas.microsoft.com/office/drawing/2014/main" id="{A8192E02-DE98-4FB6-9D91-6DE3385CA2D3}"/>
                  </a:ext>
                </a:extLst>
              </p:cNvPr>
              <p:cNvGrpSpPr/>
              <p:nvPr/>
            </p:nvGrpSpPr>
            <p:grpSpPr>
              <a:xfrm>
                <a:off x="5538458" y="2727217"/>
                <a:ext cx="433750" cy="208020"/>
                <a:chOff x="7583358" y="2759986"/>
                <a:chExt cx="552936" cy="265180"/>
              </a:xfrm>
            </p:grpSpPr>
            <p:pic>
              <p:nvPicPr>
                <p:cNvPr id="491" name="Picture 490">
                  <a:extLst>
                    <a:ext uri="{FF2B5EF4-FFF2-40B4-BE49-F238E27FC236}">
                      <a16:creationId xmlns:a16="http://schemas.microsoft.com/office/drawing/2014/main" id="{76ED62FA-AA91-4E80-81FA-57B33408FE59}"/>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492" name="Picture 491">
                  <a:extLst>
                    <a:ext uri="{FF2B5EF4-FFF2-40B4-BE49-F238E27FC236}">
                      <a16:creationId xmlns:a16="http://schemas.microsoft.com/office/drawing/2014/main" id="{76458EF2-0644-4E3C-B36E-FA2C76D5C060}"/>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443" name="Group 442">
              <a:extLst>
                <a:ext uri="{FF2B5EF4-FFF2-40B4-BE49-F238E27FC236}">
                  <a16:creationId xmlns:a16="http://schemas.microsoft.com/office/drawing/2014/main" id="{773CAD21-9D91-4880-91CB-8632888BA955}"/>
                </a:ext>
              </a:extLst>
            </p:cNvPr>
            <p:cNvGrpSpPr/>
            <p:nvPr/>
          </p:nvGrpSpPr>
          <p:grpSpPr>
            <a:xfrm>
              <a:off x="5413022" y="2657499"/>
              <a:ext cx="228070" cy="228070"/>
              <a:chOff x="7547191" y="1416189"/>
              <a:chExt cx="507244" cy="507244"/>
            </a:xfrm>
          </p:grpSpPr>
          <p:sp>
            <p:nvSpPr>
              <p:cNvPr id="487" name="Oval 486">
                <a:extLst>
                  <a:ext uri="{FF2B5EF4-FFF2-40B4-BE49-F238E27FC236}">
                    <a16:creationId xmlns:a16="http://schemas.microsoft.com/office/drawing/2014/main" id="{848492BE-6AEE-4DE7-8E55-00931E25FB1D}"/>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8" name="Freeform 594">
                <a:extLst>
                  <a:ext uri="{FF2B5EF4-FFF2-40B4-BE49-F238E27FC236}">
                    <a16:creationId xmlns:a16="http://schemas.microsoft.com/office/drawing/2014/main" id="{1B9253D0-2887-4A95-903A-E786E5E94DA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4" name="Group 443">
              <a:extLst>
                <a:ext uri="{FF2B5EF4-FFF2-40B4-BE49-F238E27FC236}">
                  <a16:creationId xmlns:a16="http://schemas.microsoft.com/office/drawing/2014/main" id="{6001D150-F09C-4497-89A7-52FD55C916C5}"/>
                </a:ext>
              </a:extLst>
            </p:cNvPr>
            <p:cNvGrpSpPr/>
            <p:nvPr/>
          </p:nvGrpSpPr>
          <p:grpSpPr>
            <a:xfrm>
              <a:off x="3509160" y="2770027"/>
              <a:ext cx="860793" cy="301990"/>
              <a:chOff x="3644303" y="2533650"/>
              <a:chExt cx="941045" cy="425467"/>
            </a:xfrm>
          </p:grpSpPr>
          <p:sp>
            <p:nvSpPr>
              <p:cNvPr id="483" name="Rounded Rectangle 133">
                <a:extLst>
                  <a:ext uri="{FF2B5EF4-FFF2-40B4-BE49-F238E27FC236}">
                    <a16:creationId xmlns:a16="http://schemas.microsoft.com/office/drawing/2014/main" id="{2E40B311-4BDC-456D-A766-0699C4C3786F}"/>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484" name="Group 483">
                <a:extLst>
                  <a:ext uri="{FF2B5EF4-FFF2-40B4-BE49-F238E27FC236}">
                    <a16:creationId xmlns:a16="http://schemas.microsoft.com/office/drawing/2014/main" id="{248947A1-0973-4E24-9CED-8E13F2C8499B}"/>
                  </a:ext>
                </a:extLst>
              </p:cNvPr>
              <p:cNvGrpSpPr/>
              <p:nvPr/>
            </p:nvGrpSpPr>
            <p:grpSpPr>
              <a:xfrm>
                <a:off x="4086942" y="2727217"/>
                <a:ext cx="433750" cy="208020"/>
                <a:chOff x="7614033" y="2759986"/>
                <a:chExt cx="552936" cy="265180"/>
              </a:xfrm>
            </p:grpSpPr>
            <p:pic>
              <p:nvPicPr>
                <p:cNvPr id="485" name="Picture 484">
                  <a:extLst>
                    <a:ext uri="{FF2B5EF4-FFF2-40B4-BE49-F238E27FC236}">
                      <a16:creationId xmlns:a16="http://schemas.microsoft.com/office/drawing/2014/main" id="{452152A9-8B77-4A34-9E6E-F0601FD50502}"/>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486" name="Picture 485">
                  <a:extLst>
                    <a:ext uri="{FF2B5EF4-FFF2-40B4-BE49-F238E27FC236}">
                      <a16:creationId xmlns:a16="http://schemas.microsoft.com/office/drawing/2014/main" id="{4A0C2DC7-B41E-408C-A6CD-6DAD568A99EC}"/>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445" name="Group 444">
              <a:extLst>
                <a:ext uri="{FF2B5EF4-FFF2-40B4-BE49-F238E27FC236}">
                  <a16:creationId xmlns:a16="http://schemas.microsoft.com/office/drawing/2014/main" id="{C1CB96D0-DEE8-435B-A0A1-FE7D1B35E27F}"/>
                </a:ext>
              </a:extLst>
            </p:cNvPr>
            <p:cNvGrpSpPr/>
            <p:nvPr/>
          </p:nvGrpSpPr>
          <p:grpSpPr>
            <a:xfrm>
              <a:off x="3939637" y="2657113"/>
              <a:ext cx="228070" cy="228070"/>
              <a:chOff x="7547191" y="1416189"/>
              <a:chExt cx="507244" cy="507244"/>
            </a:xfrm>
          </p:grpSpPr>
          <p:sp>
            <p:nvSpPr>
              <p:cNvPr id="481" name="Oval 480">
                <a:extLst>
                  <a:ext uri="{FF2B5EF4-FFF2-40B4-BE49-F238E27FC236}">
                    <a16:creationId xmlns:a16="http://schemas.microsoft.com/office/drawing/2014/main" id="{29746104-574E-4466-A23F-772ECD9FE040}"/>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2" name="Freeform 594">
                <a:extLst>
                  <a:ext uri="{FF2B5EF4-FFF2-40B4-BE49-F238E27FC236}">
                    <a16:creationId xmlns:a16="http://schemas.microsoft.com/office/drawing/2014/main" id="{F5129EEF-8AAC-4651-8416-2BA909CF281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6" name="Rectangle: Rounded Corners 692">
              <a:extLst>
                <a:ext uri="{FF2B5EF4-FFF2-40B4-BE49-F238E27FC236}">
                  <a16:creationId xmlns:a16="http://schemas.microsoft.com/office/drawing/2014/main" id="{FC092C90-E2BA-467F-8EE9-3E251A0DF86A}"/>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447" name="Rectangle: Rounded Corners 705">
              <a:extLst>
                <a:ext uri="{FF2B5EF4-FFF2-40B4-BE49-F238E27FC236}">
                  <a16:creationId xmlns:a16="http://schemas.microsoft.com/office/drawing/2014/main" id="{5CB2C742-01C6-4857-B3D8-C772FCA5A06F}"/>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448" name="Group 4">
              <a:extLst>
                <a:ext uri="{FF2B5EF4-FFF2-40B4-BE49-F238E27FC236}">
                  <a16:creationId xmlns:a16="http://schemas.microsoft.com/office/drawing/2014/main" id="{15D18056-467A-4FA9-8D1A-A5AF6F7C41E9}"/>
                </a:ext>
              </a:extLst>
            </p:cNvPr>
            <p:cNvGrpSpPr>
              <a:grpSpLocks noChangeAspect="1"/>
            </p:cNvGrpSpPr>
            <p:nvPr/>
          </p:nvGrpSpPr>
          <p:grpSpPr bwMode="auto">
            <a:xfrm>
              <a:off x="1353273" y="2463094"/>
              <a:ext cx="248989" cy="188487"/>
              <a:chOff x="740" y="0"/>
              <a:chExt cx="4280" cy="3240"/>
            </a:xfrm>
          </p:grpSpPr>
          <p:sp>
            <p:nvSpPr>
              <p:cNvPr id="477" name="Freeform 5">
                <a:extLst>
                  <a:ext uri="{FF2B5EF4-FFF2-40B4-BE49-F238E27FC236}">
                    <a16:creationId xmlns:a16="http://schemas.microsoft.com/office/drawing/2014/main" id="{65FC7727-8A13-40AE-8AC1-88633514B97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6">
                <a:extLst>
                  <a:ext uri="{FF2B5EF4-FFF2-40B4-BE49-F238E27FC236}">
                    <a16:creationId xmlns:a16="http://schemas.microsoft.com/office/drawing/2014/main" id="{DDF17004-0224-41C3-B951-97523F5150B9}"/>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7">
                <a:extLst>
                  <a:ext uri="{FF2B5EF4-FFF2-40B4-BE49-F238E27FC236}">
                    <a16:creationId xmlns:a16="http://schemas.microsoft.com/office/drawing/2014/main" id="{FDF2E347-99FE-4824-9A46-C403D8281700}"/>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8">
                <a:extLst>
                  <a:ext uri="{FF2B5EF4-FFF2-40B4-BE49-F238E27FC236}">
                    <a16:creationId xmlns:a16="http://schemas.microsoft.com/office/drawing/2014/main" id="{74D41575-10D5-489D-B28B-9CBA612FEE8B}"/>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9" name="Group 448">
              <a:extLst>
                <a:ext uri="{FF2B5EF4-FFF2-40B4-BE49-F238E27FC236}">
                  <a16:creationId xmlns:a16="http://schemas.microsoft.com/office/drawing/2014/main" id="{FA1AF6D8-447B-40BB-9B3D-6F08C9B648EC}"/>
                </a:ext>
              </a:extLst>
            </p:cNvPr>
            <p:cNvGrpSpPr/>
            <p:nvPr/>
          </p:nvGrpSpPr>
          <p:grpSpPr>
            <a:xfrm>
              <a:off x="1390132" y="2956526"/>
              <a:ext cx="167022" cy="230402"/>
              <a:chOff x="858973" y="1403744"/>
              <a:chExt cx="643458" cy="887629"/>
            </a:xfrm>
          </p:grpSpPr>
          <p:grpSp>
            <p:nvGrpSpPr>
              <p:cNvPr id="471" name="Group 470">
                <a:extLst>
                  <a:ext uri="{FF2B5EF4-FFF2-40B4-BE49-F238E27FC236}">
                    <a16:creationId xmlns:a16="http://schemas.microsoft.com/office/drawing/2014/main" id="{F6A03258-BC60-41B2-A973-45E038DB28AB}"/>
                  </a:ext>
                </a:extLst>
              </p:cNvPr>
              <p:cNvGrpSpPr/>
              <p:nvPr/>
            </p:nvGrpSpPr>
            <p:grpSpPr>
              <a:xfrm>
                <a:off x="858973" y="1403744"/>
                <a:ext cx="643458" cy="887629"/>
                <a:chOff x="565417" y="1536835"/>
                <a:chExt cx="996124" cy="1374120"/>
              </a:xfrm>
            </p:grpSpPr>
            <p:sp>
              <p:nvSpPr>
                <p:cNvPr id="473" name="Rounded Rectangle 63">
                  <a:extLst>
                    <a:ext uri="{FF2B5EF4-FFF2-40B4-BE49-F238E27FC236}">
                      <a16:creationId xmlns:a16="http://schemas.microsoft.com/office/drawing/2014/main" id="{1D11127F-F274-4A31-86A0-A6F597D58337}"/>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4" name="Group 473">
                  <a:extLst>
                    <a:ext uri="{FF2B5EF4-FFF2-40B4-BE49-F238E27FC236}">
                      <a16:creationId xmlns:a16="http://schemas.microsoft.com/office/drawing/2014/main" id="{73E11985-FBC5-4740-83CE-CC1E583D5B18}"/>
                    </a:ext>
                  </a:extLst>
                </p:cNvPr>
                <p:cNvGrpSpPr/>
                <p:nvPr/>
              </p:nvGrpSpPr>
              <p:grpSpPr>
                <a:xfrm>
                  <a:off x="565417" y="1536835"/>
                  <a:ext cx="996124" cy="1374120"/>
                  <a:chOff x="352800" y="-7200"/>
                  <a:chExt cx="1984680" cy="2737800"/>
                </a:xfrm>
              </p:grpSpPr>
              <p:sp>
                <p:nvSpPr>
                  <p:cNvPr id="475" name="Freeform: Shape 1">
                    <a:extLst>
                      <a:ext uri="{FF2B5EF4-FFF2-40B4-BE49-F238E27FC236}">
                        <a16:creationId xmlns:a16="http://schemas.microsoft.com/office/drawing/2014/main" id="{6B3412FA-3465-4711-ACEE-DE88DE2B421F}"/>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sp>
                <p:nvSpPr>
                  <p:cNvPr id="476" name="Freeform 57">
                    <a:extLst>
                      <a:ext uri="{FF2B5EF4-FFF2-40B4-BE49-F238E27FC236}">
                        <a16:creationId xmlns:a16="http://schemas.microsoft.com/office/drawing/2014/main" id="{BAEF2B69-C195-44BF-A5CC-738163E396BC}"/>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grpSp>
          </p:grpSp>
          <p:sp>
            <p:nvSpPr>
              <p:cNvPr id="472" name="Freeform: Shape 796">
                <a:extLst>
                  <a:ext uri="{FF2B5EF4-FFF2-40B4-BE49-F238E27FC236}">
                    <a16:creationId xmlns:a16="http://schemas.microsoft.com/office/drawing/2014/main" id="{4948C2C3-C430-4A7E-8724-49E422E04777}"/>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grpSp>
        <p:sp>
          <p:nvSpPr>
            <p:cNvPr id="450" name="TextBox 449">
              <a:extLst>
                <a:ext uri="{FF2B5EF4-FFF2-40B4-BE49-F238E27FC236}">
                  <a16:creationId xmlns:a16="http://schemas.microsoft.com/office/drawing/2014/main" id="{E20BCDB2-51AF-4798-BCD7-35E56E0D843F}"/>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451" name="TextBox 450">
              <a:extLst>
                <a:ext uri="{FF2B5EF4-FFF2-40B4-BE49-F238E27FC236}">
                  <a16:creationId xmlns:a16="http://schemas.microsoft.com/office/drawing/2014/main" id="{46D7D0DF-4CA4-4B79-AAC1-B1ECA893DB8A}"/>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452" name="Rectangle 451">
              <a:extLst>
                <a:ext uri="{FF2B5EF4-FFF2-40B4-BE49-F238E27FC236}">
                  <a16:creationId xmlns:a16="http://schemas.microsoft.com/office/drawing/2014/main" id="{686BF0DC-3F10-4B8E-B886-26575645F808}"/>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453" name="Rectangle 452">
              <a:extLst>
                <a:ext uri="{FF2B5EF4-FFF2-40B4-BE49-F238E27FC236}">
                  <a16:creationId xmlns:a16="http://schemas.microsoft.com/office/drawing/2014/main" id="{748048A7-1FF7-444C-AF54-075CB5B0BEEE}"/>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454" name="Picture 453">
              <a:extLst>
                <a:ext uri="{FF2B5EF4-FFF2-40B4-BE49-F238E27FC236}">
                  <a16:creationId xmlns:a16="http://schemas.microsoft.com/office/drawing/2014/main" id="{CD6C2954-35B0-4CAE-9435-003A578CEB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455" name="Picture 454">
              <a:extLst>
                <a:ext uri="{FF2B5EF4-FFF2-40B4-BE49-F238E27FC236}">
                  <a16:creationId xmlns:a16="http://schemas.microsoft.com/office/drawing/2014/main" id="{644629DF-F9F5-4492-A6BB-CCD66F0919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56" name="Rectangle: Rounded Corners 455">
              <a:extLst>
                <a:ext uri="{FF2B5EF4-FFF2-40B4-BE49-F238E27FC236}">
                  <a16:creationId xmlns:a16="http://schemas.microsoft.com/office/drawing/2014/main" id="{54AA5980-04C4-492F-8621-45F327D2CBBF}"/>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57" name="Rectangle: Rounded Corners 456">
              <a:extLst>
                <a:ext uri="{FF2B5EF4-FFF2-40B4-BE49-F238E27FC236}">
                  <a16:creationId xmlns:a16="http://schemas.microsoft.com/office/drawing/2014/main" id="{0A090C3F-D22A-4AB5-B59E-A26979BECA42}"/>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58" name="Rectangle: Rounded Corners 457">
              <a:extLst>
                <a:ext uri="{FF2B5EF4-FFF2-40B4-BE49-F238E27FC236}">
                  <a16:creationId xmlns:a16="http://schemas.microsoft.com/office/drawing/2014/main" id="{10921F29-01AD-498D-8D44-C3CC5FB48C8A}"/>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63" name="Oval 462">
              <a:extLst>
                <a:ext uri="{FF2B5EF4-FFF2-40B4-BE49-F238E27FC236}">
                  <a16:creationId xmlns:a16="http://schemas.microsoft.com/office/drawing/2014/main" id="{B08A8156-EFAE-4CAF-8437-5538E20D9E07}"/>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8" name="Freeform 23">
              <a:extLst>
                <a:ext uri="{FF2B5EF4-FFF2-40B4-BE49-F238E27FC236}">
                  <a16:creationId xmlns:a16="http://schemas.microsoft.com/office/drawing/2014/main" id="{8BFA84BE-30F8-4169-82FD-46C3C576A35B}"/>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dirty="0"/>
            </a:p>
          </p:txBody>
        </p:sp>
        <p:sp>
          <p:nvSpPr>
            <p:cNvPr id="469" name="Arc 468">
              <a:extLst>
                <a:ext uri="{FF2B5EF4-FFF2-40B4-BE49-F238E27FC236}">
                  <a16:creationId xmlns:a16="http://schemas.microsoft.com/office/drawing/2014/main" id="{3DD8EC98-66B9-48C2-BCDD-3FB8AEC873C6}"/>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470" name="Picture 469">
              <a:extLst>
                <a:ext uri="{FF2B5EF4-FFF2-40B4-BE49-F238E27FC236}">
                  <a16:creationId xmlns:a16="http://schemas.microsoft.com/office/drawing/2014/main" id="{97701729-C8EF-4672-A468-288A3BBCBAB7}"/>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grpSp>
        <p:nvGrpSpPr>
          <p:cNvPr id="180" name="Group 179">
            <a:extLst>
              <a:ext uri="{FF2B5EF4-FFF2-40B4-BE49-F238E27FC236}">
                <a16:creationId xmlns:a16="http://schemas.microsoft.com/office/drawing/2014/main" id="{129D7A5A-8E3E-4FD2-B0FB-47C49F615B78}"/>
              </a:ext>
            </a:extLst>
          </p:cNvPr>
          <p:cNvGrpSpPr/>
          <p:nvPr/>
        </p:nvGrpSpPr>
        <p:grpSpPr>
          <a:xfrm>
            <a:off x="2085124" y="1138669"/>
            <a:ext cx="5019081" cy="556743"/>
            <a:chOff x="2239219" y="3481266"/>
            <a:chExt cx="1260000" cy="556743"/>
          </a:xfrm>
        </p:grpSpPr>
        <p:sp>
          <p:nvSpPr>
            <p:cNvPr id="181" name="Rectangle 180">
              <a:extLst>
                <a:ext uri="{FF2B5EF4-FFF2-40B4-BE49-F238E27FC236}">
                  <a16:creationId xmlns:a16="http://schemas.microsoft.com/office/drawing/2014/main" id="{FBADDD96-E7B0-4E66-9B4A-0F1F5FC7527D}"/>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Automation</a:t>
              </a:r>
            </a:p>
          </p:txBody>
        </p:sp>
        <p:sp>
          <p:nvSpPr>
            <p:cNvPr id="182" name="Rectangle 181">
              <a:extLst>
                <a:ext uri="{FF2B5EF4-FFF2-40B4-BE49-F238E27FC236}">
                  <a16:creationId xmlns:a16="http://schemas.microsoft.com/office/drawing/2014/main" id="{709758CA-A3A5-4E35-A024-3AEB70BEC6E8}"/>
                </a:ext>
              </a:extLst>
            </p:cNvPr>
            <p:cNvSpPr/>
            <p:nvPr/>
          </p:nvSpPr>
          <p:spPr>
            <a:xfrm>
              <a:off x="2239219" y="3865599"/>
              <a:ext cx="1260000" cy="17241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SO/SR-PCE + Crosswork + WAE + XRv9000 + EPN-M</a:t>
              </a:r>
            </a:p>
          </p:txBody>
        </p:sp>
      </p:grpSp>
      <p:grpSp>
        <p:nvGrpSpPr>
          <p:cNvPr id="190" name="Group 189">
            <a:extLst>
              <a:ext uri="{FF2B5EF4-FFF2-40B4-BE49-F238E27FC236}">
                <a16:creationId xmlns:a16="http://schemas.microsoft.com/office/drawing/2014/main" id="{9D3B26CB-27D6-48EA-8E5A-4B05FACC7C72}"/>
              </a:ext>
            </a:extLst>
          </p:cNvPr>
          <p:cNvGrpSpPr/>
          <p:nvPr/>
        </p:nvGrpSpPr>
        <p:grpSpPr>
          <a:xfrm>
            <a:off x="6748582" y="3483065"/>
            <a:ext cx="1260000" cy="924333"/>
            <a:chOff x="5251221" y="3481266"/>
            <a:chExt cx="1260000" cy="924333"/>
          </a:xfrm>
        </p:grpSpPr>
        <p:sp>
          <p:nvSpPr>
            <p:cNvPr id="191" name="Rectangle 190">
              <a:extLst>
                <a:ext uri="{FF2B5EF4-FFF2-40B4-BE49-F238E27FC236}">
                  <a16:creationId xmlns:a16="http://schemas.microsoft.com/office/drawing/2014/main" id="{C84DF5FD-4DAC-47E5-AEBE-6F6BCEE042FD}"/>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Optical</a:t>
              </a:r>
            </a:p>
          </p:txBody>
        </p:sp>
        <p:sp>
          <p:nvSpPr>
            <p:cNvPr id="192" name="Rectangle 191">
              <a:extLst>
                <a:ext uri="{FF2B5EF4-FFF2-40B4-BE49-F238E27FC236}">
                  <a16:creationId xmlns:a16="http://schemas.microsoft.com/office/drawing/2014/main" id="{6ACAFD75-740B-4FE3-A142-3544A5A1595A}"/>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1k</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2k</a:t>
              </a:r>
            </a:p>
          </p:txBody>
        </p:sp>
      </p:grpSp>
    </p:spTree>
    <p:extLst>
      <p:ext uri="{BB962C8B-B14F-4D97-AF65-F5344CB8AC3E}">
        <p14:creationId xmlns:p14="http://schemas.microsoft.com/office/powerpoint/2010/main" val="313868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400G OTN XP</a:t>
            </a:r>
          </a:p>
        </p:txBody>
      </p:sp>
      <p:sp>
        <p:nvSpPr>
          <p:cNvPr id="28" name="Rectangle 27"/>
          <p:cNvSpPr/>
          <p:nvPr/>
        </p:nvSpPr>
        <p:spPr>
          <a:xfrm>
            <a:off x="551189" y="1077913"/>
            <a:ext cx="2377440" cy="1728506"/>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29" name="Rectangle 28"/>
          <p:cNvSpPr/>
          <p:nvPr/>
        </p:nvSpPr>
        <p:spPr>
          <a:xfrm>
            <a:off x="551189" y="2806420"/>
            <a:ext cx="2377440" cy="1910044"/>
          </a:xfrm>
          <a:prstGeom prst="rect">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30" name="Rectangle 29"/>
          <p:cNvSpPr/>
          <p:nvPr/>
        </p:nvSpPr>
        <p:spPr>
          <a:xfrm>
            <a:off x="3393122" y="2806420"/>
            <a:ext cx="2377440" cy="1910044"/>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31" name="Rectangle 30"/>
          <p:cNvSpPr/>
          <p:nvPr/>
        </p:nvSpPr>
        <p:spPr>
          <a:xfrm>
            <a:off x="6210779" y="2806420"/>
            <a:ext cx="2377440" cy="1910044"/>
          </a:xfrm>
          <a:prstGeom prst="rect">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32" name="Freeform 5"/>
          <p:cNvSpPr>
            <a:spLocks noEditPoints="1"/>
          </p:cNvSpPr>
          <p:nvPr/>
        </p:nvSpPr>
        <p:spPr bwMode="auto">
          <a:xfrm>
            <a:off x="1280836" y="1261844"/>
            <a:ext cx="918146" cy="918146"/>
          </a:xfrm>
          <a:custGeom>
            <a:avLst/>
            <a:gdLst>
              <a:gd name="T0" fmla="*/ 182 w 232"/>
              <a:gd name="T1" fmla="*/ 50 h 232"/>
              <a:gd name="T2" fmla="*/ 92 w 232"/>
              <a:gd name="T3" fmla="*/ 27 h 232"/>
              <a:gd name="T4" fmla="*/ 27 w 232"/>
              <a:gd name="T5" fmla="*/ 92 h 232"/>
              <a:gd name="T6" fmla="*/ 51 w 232"/>
              <a:gd name="T7" fmla="*/ 182 h 232"/>
              <a:gd name="T8" fmla="*/ 140 w 232"/>
              <a:gd name="T9" fmla="*/ 206 h 232"/>
              <a:gd name="T10" fmla="*/ 206 w 232"/>
              <a:gd name="T11" fmla="*/ 140 h 232"/>
              <a:gd name="T12" fmla="*/ 116 w 232"/>
              <a:gd name="T13" fmla="*/ 44 h 232"/>
              <a:gd name="T14" fmla="*/ 62 w 232"/>
              <a:gd name="T15" fmla="*/ 116 h 232"/>
              <a:gd name="T16" fmla="*/ 135 w 232"/>
              <a:gd name="T17" fmla="*/ 131 h 232"/>
              <a:gd name="T18" fmla="*/ 134 w 232"/>
              <a:gd name="T19" fmla="*/ 138 h 232"/>
              <a:gd name="T20" fmla="*/ 130 w 232"/>
              <a:gd name="T21" fmla="*/ 143 h 232"/>
              <a:gd name="T22" fmla="*/ 124 w 232"/>
              <a:gd name="T23" fmla="*/ 146 h 232"/>
              <a:gd name="T24" fmla="*/ 119 w 232"/>
              <a:gd name="T25" fmla="*/ 156 h 232"/>
              <a:gd name="T26" fmla="*/ 107 w 232"/>
              <a:gd name="T27" fmla="*/ 145 h 232"/>
              <a:gd name="T28" fmla="*/ 104 w 232"/>
              <a:gd name="T29" fmla="*/ 142 h 232"/>
              <a:gd name="T30" fmla="*/ 94 w 232"/>
              <a:gd name="T31" fmla="*/ 146 h 232"/>
              <a:gd name="T32" fmla="*/ 103 w 232"/>
              <a:gd name="T33" fmla="*/ 126 h 232"/>
              <a:gd name="T34" fmla="*/ 104 w 232"/>
              <a:gd name="T35" fmla="*/ 131 h 232"/>
              <a:gd name="T36" fmla="*/ 107 w 232"/>
              <a:gd name="T37" fmla="*/ 135 h 232"/>
              <a:gd name="T38" fmla="*/ 112 w 232"/>
              <a:gd name="T39" fmla="*/ 138 h 232"/>
              <a:gd name="T40" fmla="*/ 118 w 232"/>
              <a:gd name="T41" fmla="*/ 137 h 232"/>
              <a:gd name="T42" fmla="*/ 123 w 232"/>
              <a:gd name="T43" fmla="*/ 134 h 232"/>
              <a:gd name="T44" fmla="*/ 123 w 232"/>
              <a:gd name="T45" fmla="*/ 127 h 232"/>
              <a:gd name="T46" fmla="*/ 120 w 232"/>
              <a:gd name="T47" fmla="*/ 123 h 232"/>
              <a:gd name="T48" fmla="*/ 115 w 232"/>
              <a:gd name="T49" fmla="*/ 120 h 232"/>
              <a:gd name="T50" fmla="*/ 107 w 232"/>
              <a:gd name="T51" fmla="*/ 118 h 232"/>
              <a:gd name="T52" fmla="*/ 102 w 232"/>
              <a:gd name="T53" fmla="*/ 115 h 232"/>
              <a:gd name="T54" fmla="*/ 97 w 232"/>
              <a:gd name="T55" fmla="*/ 111 h 232"/>
              <a:gd name="T56" fmla="*/ 94 w 232"/>
              <a:gd name="T57" fmla="*/ 105 h 232"/>
              <a:gd name="T58" fmla="*/ 94 w 232"/>
              <a:gd name="T59" fmla="*/ 98 h 232"/>
              <a:gd name="T60" fmla="*/ 96 w 232"/>
              <a:gd name="T61" fmla="*/ 92 h 232"/>
              <a:gd name="T62" fmla="*/ 101 w 232"/>
              <a:gd name="T63" fmla="*/ 87 h 232"/>
              <a:gd name="T64" fmla="*/ 107 w 232"/>
              <a:gd name="T65" fmla="*/ 84 h 232"/>
              <a:gd name="T66" fmla="*/ 119 w 232"/>
              <a:gd name="T67" fmla="*/ 75 h 232"/>
              <a:gd name="T68" fmla="*/ 122 w 232"/>
              <a:gd name="T69" fmla="*/ 86 h 232"/>
              <a:gd name="T70" fmla="*/ 124 w 232"/>
              <a:gd name="T71" fmla="*/ 89 h 232"/>
              <a:gd name="T72" fmla="*/ 134 w 232"/>
              <a:gd name="T73" fmla="*/ 106 h 232"/>
              <a:gd name="T74" fmla="*/ 124 w 232"/>
              <a:gd name="T75" fmla="*/ 102 h 232"/>
              <a:gd name="T76" fmla="*/ 122 w 232"/>
              <a:gd name="T77" fmla="*/ 97 h 232"/>
              <a:gd name="T78" fmla="*/ 119 w 232"/>
              <a:gd name="T79" fmla="*/ 95 h 232"/>
              <a:gd name="T80" fmla="*/ 115 w 232"/>
              <a:gd name="T81" fmla="*/ 93 h 232"/>
              <a:gd name="T82" fmla="*/ 108 w 232"/>
              <a:gd name="T83" fmla="*/ 94 h 232"/>
              <a:gd name="T84" fmla="*/ 105 w 232"/>
              <a:gd name="T85" fmla="*/ 99 h 232"/>
              <a:gd name="T86" fmla="*/ 107 w 232"/>
              <a:gd name="T87" fmla="*/ 104 h 232"/>
              <a:gd name="T88" fmla="*/ 114 w 232"/>
              <a:gd name="T89" fmla="*/ 108 h 232"/>
              <a:gd name="T90" fmla="*/ 120 w 232"/>
              <a:gd name="T91" fmla="*/ 111 h 232"/>
              <a:gd name="T92" fmla="*/ 126 w 232"/>
              <a:gd name="T93" fmla="*/ 113 h 232"/>
              <a:gd name="T94" fmla="*/ 131 w 232"/>
              <a:gd name="T95" fmla="*/ 117 h 232"/>
              <a:gd name="T96" fmla="*/ 133 w 232"/>
              <a:gd name="T97" fmla="*/ 120 h 232"/>
              <a:gd name="T98" fmla="*/ 135 w 232"/>
              <a:gd name="T99" fmla="*/ 125 h 232"/>
              <a:gd name="T100" fmla="*/ 135 w 232"/>
              <a:gd name="T101" fmla="*/ 13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2" h="232">
                <a:moveTo>
                  <a:pt x="232" y="116"/>
                </a:moveTo>
                <a:cubicBezTo>
                  <a:pt x="206" y="92"/>
                  <a:pt x="206" y="92"/>
                  <a:pt x="206" y="92"/>
                </a:cubicBezTo>
                <a:cubicBezTo>
                  <a:pt x="217" y="58"/>
                  <a:pt x="217" y="58"/>
                  <a:pt x="217" y="58"/>
                </a:cubicBezTo>
                <a:cubicBezTo>
                  <a:pt x="182" y="50"/>
                  <a:pt x="182" y="50"/>
                  <a:pt x="182" y="50"/>
                </a:cubicBezTo>
                <a:cubicBezTo>
                  <a:pt x="174" y="16"/>
                  <a:pt x="174" y="16"/>
                  <a:pt x="174" y="16"/>
                </a:cubicBezTo>
                <a:cubicBezTo>
                  <a:pt x="140" y="27"/>
                  <a:pt x="140" y="27"/>
                  <a:pt x="140" y="27"/>
                </a:cubicBezTo>
                <a:cubicBezTo>
                  <a:pt x="116" y="0"/>
                  <a:pt x="116" y="0"/>
                  <a:pt x="116" y="0"/>
                </a:cubicBezTo>
                <a:cubicBezTo>
                  <a:pt x="92" y="27"/>
                  <a:pt x="92" y="27"/>
                  <a:pt x="92" y="27"/>
                </a:cubicBezTo>
                <a:cubicBezTo>
                  <a:pt x="58" y="16"/>
                  <a:pt x="58" y="16"/>
                  <a:pt x="58" y="16"/>
                </a:cubicBezTo>
                <a:cubicBezTo>
                  <a:pt x="51" y="50"/>
                  <a:pt x="51" y="50"/>
                  <a:pt x="51" y="50"/>
                </a:cubicBezTo>
                <a:cubicBezTo>
                  <a:pt x="16" y="58"/>
                  <a:pt x="16" y="58"/>
                  <a:pt x="16" y="58"/>
                </a:cubicBezTo>
                <a:cubicBezTo>
                  <a:pt x="27" y="92"/>
                  <a:pt x="27" y="92"/>
                  <a:pt x="27" y="92"/>
                </a:cubicBezTo>
                <a:cubicBezTo>
                  <a:pt x="0" y="116"/>
                  <a:pt x="0" y="116"/>
                  <a:pt x="0" y="116"/>
                </a:cubicBezTo>
                <a:cubicBezTo>
                  <a:pt x="27" y="140"/>
                  <a:pt x="27" y="140"/>
                  <a:pt x="27" y="140"/>
                </a:cubicBezTo>
                <a:cubicBezTo>
                  <a:pt x="16" y="174"/>
                  <a:pt x="16" y="174"/>
                  <a:pt x="16" y="174"/>
                </a:cubicBezTo>
                <a:cubicBezTo>
                  <a:pt x="51" y="182"/>
                  <a:pt x="51" y="182"/>
                  <a:pt x="51" y="182"/>
                </a:cubicBezTo>
                <a:cubicBezTo>
                  <a:pt x="58" y="217"/>
                  <a:pt x="58" y="217"/>
                  <a:pt x="58" y="217"/>
                </a:cubicBezTo>
                <a:cubicBezTo>
                  <a:pt x="92" y="206"/>
                  <a:pt x="92" y="206"/>
                  <a:pt x="92" y="206"/>
                </a:cubicBezTo>
                <a:cubicBezTo>
                  <a:pt x="116" y="232"/>
                  <a:pt x="116" y="232"/>
                  <a:pt x="116" y="232"/>
                </a:cubicBezTo>
                <a:cubicBezTo>
                  <a:pt x="140" y="206"/>
                  <a:pt x="140" y="206"/>
                  <a:pt x="140" y="206"/>
                </a:cubicBezTo>
                <a:cubicBezTo>
                  <a:pt x="174" y="217"/>
                  <a:pt x="174" y="217"/>
                  <a:pt x="174" y="217"/>
                </a:cubicBezTo>
                <a:cubicBezTo>
                  <a:pt x="182" y="182"/>
                  <a:pt x="182" y="182"/>
                  <a:pt x="182" y="182"/>
                </a:cubicBezTo>
                <a:cubicBezTo>
                  <a:pt x="217" y="174"/>
                  <a:pt x="217" y="174"/>
                  <a:pt x="217" y="174"/>
                </a:cubicBezTo>
                <a:cubicBezTo>
                  <a:pt x="206" y="140"/>
                  <a:pt x="206" y="140"/>
                  <a:pt x="206" y="140"/>
                </a:cubicBezTo>
                <a:lnTo>
                  <a:pt x="232" y="116"/>
                </a:lnTo>
                <a:close/>
                <a:moveTo>
                  <a:pt x="116" y="189"/>
                </a:moveTo>
                <a:cubicBezTo>
                  <a:pt x="76" y="189"/>
                  <a:pt x="44" y="156"/>
                  <a:pt x="44" y="116"/>
                </a:cubicBezTo>
                <a:cubicBezTo>
                  <a:pt x="44" y="76"/>
                  <a:pt x="76" y="44"/>
                  <a:pt x="116" y="44"/>
                </a:cubicBezTo>
                <a:cubicBezTo>
                  <a:pt x="156" y="44"/>
                  <a:pt x="189" y="76"/>
                  <a:pt x="189" y="116"/>
                </a:cubicBezTo>
                <a:cubicBezTo>
                  <a:pt x="189" y="156"/>
                  <a:pt x="156" y="189"/>
                  <a:pt x="116" y="189"/>
                </a:cubicBezTo>
                <a:close/>
                <a:moveTo>
                  <a:pt x="116" y="62"/>
                </a:moveTo>
                <a:cubicBezTo>
                  <a:pt x="87" y="62"/>
                  <a:pt x="62" y="86"/>
                  <a:pt x="62" y="116"/>
                </a:cubicBezTo>
                <a:cubicBezTo>
                  <a:pt x="62" y="146"/>
                  <a:pt x="87" y="171"/>
                  <a:pt x="116" y="171"/>
                </a:cubicBezTo>
                <a:cubicBezTo>
                  <a:pt x="146" y="171"/>
                  <a:pt x="171" y="146"/>
                  <a:pt x="171" y="116"/>
                </a:cubicBezTo>
                <a:cubicBezTo>
                  <a:pt x="171" y="86"/>
                  <a:pt x="146" y="62"/>
                  <a:pt x="116" y="62"/>
                </a:cubicBezTo>
                <a:close/>
                <a:moveTo>
                  <a:pt x="135" y="131"/>
                </a:moveTo>
                <a:cubicBezTo>
                  <a:pt x="135" y="133"/>
                  <a:pt x="135" y="133"/>
                  <a:pt x="135" y="133"/>
                </a:cubicBezTo>
                <a:cubicBezTo>
                  <a:pt x="135" y="134"/>
                  <a:pt x="135" y="134"/>
                  <a:pt x="135" y="134"/>
                </a:cubicBezTo>
                <a:cubicBezTo>
                  <a:pt x="134" y="136"/>
                  <a:pt x="134" y="136"/>
                  <a:pt x="134" y="136"/>
                </a:cubicBezTo>
                <a:cubicBezTo>
                  <a:pt x="134" y="138"/>
                  <a:pt x="134" y="138"/>
                  <a:pt x="134" y="138"/>
                </a:cubicBezTo>
                <a:cubicBezTo>
                  <a:pt x="133" y="139"/>
                  <a:pt x="133" y="139"/>
                  <a:pt x="133" y="139"/>
                </a:cubicBezTo>
                <a:cubicBezTo>
                  <a:pt x="132" y="140"/>
                  <a:pt x="132" y="140"/>
                  <a:pt x="132" y="140"/>
                </a:cubicBezTo>
                <a:cubicBezTo>
                  <a:pt x="131" y="142"/>
                  <a:pt x="131" y="142"/>
                  <a:pt x="131" y="142"/>
                </a:cubicBezTo>
                <a:cubicBezTo>
                  <a:pt x="130" y="143"/>
                  <a:pt x="130" y="143"/>
                  <a:pt x="130" y="143"/>
                </a:cubicBezTo>
                <a:cubicBezTo>
                  <a:pt x="128" y="144"/>
                  <a:pt x="128" y="144"/>
                  <a:pt x="128" y="144"/>
                </a:cubicBezTo>
                <a:cubicBezTo>
                  <a:pt x="127" y="145"/>
                  <a:pt x="127" y="145"/>
                  <a:pt x="127" y="145"/>
                </a:cubicBezTo>
                <a:cubicBezTo>
                  <a:pt x="125" y="145"/>
                  <a:pt x="125" y="145"/>
                  <a:pt x="125" y="145"/>
                </a:cubicBezTo>
                <a:cubicBezTo>
                  <a:pt x="124" y="146"/>
                  <a:pt x="124" y="146"/>
                  <a:pt x="124" y="146"/>
                </a:cubicBezTo>
                <a:cubicBezTo>
                  <a:pt x="122" y="146"/>
                  <a:pt x="122" y="146"/>
                  <a:pt x="122" y="146"/>
                </a:cubicBezTo>
                <a:cubicBezTo>
                  <a:pt x="121" y="147"/>
                  <a:pt x="121" y="147"/>
                  <a:pt x="121" y="147"/>
                </a:cubicBezTo>
                <a:cubicBezTo>
                  <a:pt x="119" y="147"/>
                  <a:pt x="119" y="147"/>
                  <a:pt x="119" y="147"/>
                </a:cubicBezTo>
                <a:cubicBezTo>
                  <a:pt x="119" y="156"/>
                  <a:pt x="119" y="156"/>
                  <a:pt x="119" y="156"/>
                </a:cubicBezTo>
                <a:cubicBezTo>
                  <a:pt x="110" y="156"/>
                  <a:pt x="110" y="156"/>
                  <a:pt x="110" y="156"/>
                </a:cubicBezTo>
                <a:cubicBezTo>
                  <a:pt x="110" y="146"/>
                  <a:pt x="110" y="146"/>
                  <a:pt x="110" y="146"/>
                </a:cubicBezTo>
                <a:cubicBezTo>
                  <a:pt x="109" y="145"/>
                  <a:pt x="109" y="145"/>
                  <a:pt x="109" y="145"/>
                </a:cubicBezTo>
                <a:cubicBezTo>
                  <a:pt x="107" y="145"/>
                  <a:pt x="107" y="145"/>
                  <a:pt x="107" y="145"/>
                </a:cubicBezTo>
                <a:cubicBezTo>
                  <a:pt x="107" y="144"/>
                  <a:pt x="107" y="144"/>
                  <a:pt x="107" y="144"/>
                </a:cubicBezTo>
                <a:cubicBezTo>
                  <a:pt x="106" y="144"/>
                  <a:pt x="106" y="144"/>
                  <a:pt x="106" y="144"/>
                </a:cubicBezTo>
                <a:cubicBezTo>
                  <a:pt x="105" y="143"/>
                  <a:pt x="105" y="143"/>
                  <a:pt x="105" y="143"/>
                </a:cubicBezTo>
                <a:cubicBezTo>
                  <a:pt x="104" y="142"/>
                  <a:pt x="104" y="142"/>
                  <a:pt x="104" y="142"/>
                </a:cubicBezTo>
                <a:cubicBezTo>
                  <a:pt x="104" y="141"/>
                  <a:pt x="104" y="141"/>
                  <a:pt x="104" y="141"/>
                </a:cubicBezTo>
                <a:cubicBezTo>
                  <a:pt x="103" y="140"/>
                  <a:pt x="103" y="140"/>
                  <a:pt x="103" y="140"/>
                </a:cubicBezTo>
                <a:cubicBezTo>
                  <a:pt x="103" y="146"/>
                  <a:pt x="103" y="146"/>
                  <a:pt x="103" y="146"/>
                </a:cubicBezTo>
                <a:cubicBezTo>
                  <a:pt x="94" y="146"/>
                  <a:pt x="94" y="146"/>
                  <a:pt x="94" y="146"/>
                </a:cubicBezTo>
                <a:cubicBezTo>
                  <a:pt x="94" y="124"/>
                  <a:pt x="94" y="124"/>
                  <a:pt x="94" y="124"/>
                </a:cubicBezTo>
                <a:cubicBezTo>
                  <a:pt x="103" y="124"/>
                  <a:pt x="103" y="124"/>
                  <a:pt x="103" y="124"/>
                </a:cubicBezTo>
                <a:cubicBezTo>
                  <a:pt x="103" y="125"/>
                  <a:pt x="103" y="125"/>
                  <a:pt x="103" y="125"/>
                </a:cubicBezTo>
                <a:cubicBezTo>
                  <a:pt x="103" y="126"/>
                  <a:pt x="103" y="126"/>
                  <a:pt x="103" y="126"/>
                </a:cubicBezTo>
                <a:cubicBezTo>
                  <a:pt x="103" y="127"/>
                  <a:pt x="103" y="127"/>
                  <a:pt x="103" y="127"/>
                </a:cubicBezTo>
                <a:cubicBezTo>
                  <a:pt x="104" y="128"/>
                  <a:pt x="104" y="128"/>
                  <a:pt x="104" y="128"/>
                </a:cubicBezTo>
                <a:cubicBezTo>
                  <a:pt x="104" y="129"/>
                  <a:pt x="104" y="129"/>
                  <a:pt x="104" y="129"/>
                </a:cubicBezTo>
                <a:cubicBezTo>
                  <a:pt x="104" y="131"/>
                  <a:pt x="104" y="131"/>
                  <a:pt x="104" y="131"/>
                </a:cubicBezTo>
                <a:cubicBezTo>
                  <a:pt x="105" y="132"/>
                  <a:pt x="105" y="132"/>
                  <a:pt x="105" y="132"/>
                </a:cubicBezTo>
                <a:cubicBezTo>
                  <a:pt x="106" y="133"/>
                  <a:pt x="106" y="133"/>
                  <a:pt x="106" y="133"/>
                </a:cubicBezTo>
                <a:cubicBezTo>
                  <a:pt x="107" y="134"/>
                  <a:pt x="107" y="134"/>
                  <a:pt x="107" y="134"/>
                </a:cubicBezTo>
                <a:cubicBezTo>
                  <a:pt x="107" y="135"/>
                  <a:pt x="107" y="135"/>
                  <a:pt x="107" y="135"/>
                </a:cubicBezTo>
                <a:cubicBezTo>
                  <a:pt x="109" y="136"/>
                  <a:pt x="109" y="136"/>
                  <a:pt x="109" y="136"/>
                </a:cubicBezTo>
                <a:cubicBezTo>
                  <a:pt x="110" y="137"/>
                  <a:pt x="110" y="137"/>
                  <a:pt x="110" y="137"/>
                </a:cubicBezTo>
                <a:cubicBezTo>
                  <a:pt x="111" y="137"/>
                  <a:pt x="111" y="137"/>
                  <a:pt x="111" y="137"/>
                </a:cubicBezTo>
                <a:cubicBezTo>
                  <a:pt x="112" y="138"/>
                  <a:pt x="112" y="138"/>
                  <a:pt x="112" y="138"/>
                </a:cubicBezTo>
                <a:cubicBezTo>
                  <a:pt x="114" y="138"/>
                  <a:pt x="114" y="138"/>
                  <a:pt x="114" y="138"/>
                </a:cubicBezTo>
                <a:cubicBezTo>
                  <a:pt x="115" y="138"/>
                  <a:pt x="115" y="138"/>
                  <a:pt x="115" y="138"/>
                </a:cubicBezTo>
                <a:cubicBezTo>
                  <a:pt x="117" y="138"/>
                  <a:pt x="117" y="138"/>
                  <a:pt x="117" y="138"/>
                </a:cubicBezTo>
                <a:cubicBezTo>
                  <a:pt x="118" y="137"/>
                  <a:pt x="118" y="137"/>
                  <a:pt x="118" y="137"/>
                </a:cubicBezTo>
                <a:cubicBezTo>
                  <a:pt x="120" y="137"/>
                  <a:pt x="120" y="137"/>
                  <a:pt x="120" y="137"/>
                </a:cubicBezTo>
                <a:cubicBezTo>
                  <a:pt x="121" y="136"/>
                  <a:pt x="121" y="136"/>
                  <a:pt x="121" y="136"/>
                </a:cubicBezTo>
                <a:cubicBezTo>
                  <a:pt x="122" y="135"/>
                  <a:pt x="122" y="135"/>
                  <a:pt x="122" y="135"/>
                </a:cubicBezTo>
                <a:cubicBezTo>
                  <a:pt x="123" y="134"/>
                  <a:pt x="123" y="134"/>
                  <a:pt x="123" y="134"/>
                </a:cubicBezTo>
                <a:cubicBezTo>
                  <a:pt x="124" y="132"/>
                  <a:pt x="124" y="132"/>
                  <a:pt x="124" y="132"/>
                </a:cubicBezTo>
                <a:cubicBezTo>
                  <a:pt x="124" y="130"/>
                  <a:pt x="124" y="130"/>
                  <a:pt x="124" y="130"/>
                </a:cubicBezTo>
                <a:cubicBezTo>
                  <a:pt x="124" y="129"/>
                  <a:pt x="124" y="129"/>
                  <a:pt x="124" y="129"/>
                </a:cubicBezTo>
                <a:cubicBezTo>
                  <a:pt x="123" y="127"/>
                  <a:pt x="123" y="127"/>
                  <a:pt x="123" y="127"/>
                </a:cubicBezTo>
                <a:cubicBezTo>
                  <a:pt x="123" y="126"/>
                  <a:pt x="123" y="126"/>
                  <a:pt x="123" y="126"/>
                </a:cubicBezTo>
                <a:cubicBezTo>
                  <a:pt x="122" y="125"/>
                  <a:pt x="122" y="125"/>
                  <a:pt x="122" y="125"/>
                </a:cubicBezTo>
                <a:cubicBezTo>
                  <a:pt x="121" y="124"/>
                  <a:pt x="121" y="124"/>
                  <a:pt x="121" y="124"/>
                </a:cubicBezTo>
                <a:cubicBezTo>
                  <a:pt x="120" y="123"/>
                  <a:pt x="120" y="123"/>
                  <a:pt x="120" y="123"/>
                </a:cubicBezTo>
                <a:cubicBezTo>
                  <a:pt x="119" y="122"/>
                  <a:pt x="119" y="122"/>
                  <a:pt x="119" y="122"/>
                </a:cubicBezTo>
                <a:cubicBezTo>
                  <a:pt x="118" y="122"/>
                  <a:pt x="118" y="122"/>
                  <a:pt x="118" y="122"/>
                </a:cubicBezTo>
                <a:cubicBezTo>
                  <a:pt x="116" y="121"/>
                  <a:pt x="116" y="121"/>
                  <a:pt x="116" y="121"/>
                </a:cubicBezTo>
                <a:cubicBezTo>
                  <a:pt x="115" y="120"/>
                  <a:pt x="115" y="120"/>
                  <a:pt x="115" y="120"/>
                </a:cubicBezTo>
                <a:cubicBezTo>
                  <a:pt x="113" y="120"/>
                  <a:pt x="113" y="120"/>
                  <a:pt x="113" y="120"/>
                </a:cubicBezTo>
                <a:cubicBezTo>
                  <a:pt x="110" y="119"/>
                  <a:pt x="110" y="119"/>
                  <a:pt x="110" y="119"/>
                </a:cubicBezTo>
                <a:cubicBezTo>
                  <a:pt x="109" y="118"/>
                  <a:pt x="109" y="118"/>
                  <a:pt x="109" y="118"/>
                </a:cubicBezTo>
                <a:cubicBezTo>
                  <a:pt x="107" y="118"/>
                  <a:pt x="107" y="118"/>
                  <a:pt x="107" y="118"/>
                </a:cubicBezTo>
                <a:cubicBezTo>
                  <a:pt x="106" y="117"/>
                  <a:pt x="106" y="117"/>
                  <a:pt x="106" y="117"/>
                </a:cubicBezTo>
                <a:cubicBezTo>
                  <a:pt x="104" y="116"/>
                  <a:pt x="104" y="116"/>
                  <a:pt x="104" y="116"/>
                </a:cubicBezTo>
                <a:cubicBezTo>
                  <a:pt x="103" y="116"/>
                  <a:pt x="103" y="116"/>
                  <a:pt x="103" y="116"/>
                </a:cubicBezTo>
                <a:cubicBezTo>
                  <a:pt x="102" y="115"/>
                  <a:pt x="102" y="115"/>
                  <a:pt x="102" y="115"/>
                </a:cubicBezTo>
                <a:cubicBezTo>
                  <a:pt x="100" y="114"/>
                  <a:pt x="100" y="114"/>
                  <a:pt x="100" y="114"/>
                </a:cubicBezTo>
                <a:cubicBezTo>
                  <a:pt x="99" y="113"/>
                  <a:pt x="99" y="113"/>
                  <a:pt x="99" y="113"/>
                </a:cubicBezTo>
                <a:cubicBezTo>
                  <a:pt x="98" y="112"/>
                  <a:pt x="98" y="112"/>
                  <a:pt x="98" y="112"/>
                </a:cubicBezTo>
                <a:cubicBezTo>
                  <a:pt x="97" y="111"/>
                  <a:pt x="97" y="111"/>
                  <a:pt x="97" y="111"/>
                </a:cubicBezTo>
                <a:cubicBezTo>
                  <a:pt x="96" y="110"/>
                  <a:pt x="96" y="110"/>
                  <a:pt x="96" y="110"/>
                </a:cubicBezTo>
                <a:cubicBezTo>
                  <a:pt x="95" y="108"/>
                  <a:pt x="95" y="108"/>
                  <a:pt x="95" y="108"/>
                </a:cubicBezTo>
                <a:cubicBezTo>
                  <a:pt x="95" y="107"/>
                  <a:pt x="95" y="107"/>
                  <a:pt x="95" y="107"/>
                </a:cubicBezTo>
                <a:cubicBezTo>
                  <a:pt x="94" y="105"/>
                  <a:pt x="94" y="105"/>
                  <a:pt x="94" y="105"/>
                </a:cubicBezTo>
                <a:cubicBezTo>
                  <a:pt x="94" y="103"/>
                  <a:pt x="94" y="103"/>
                  <a:pt x="94" y="103"/>
                </a:cubicBezTo>
                <a:cubicBezTo>
                  <a:pt x="94" y="101"/>
                  <a:pt x="94" y="101"/>
                  <a:pt x="94" y="101"/>
                </a:cubicBezTo>
                <a:cubicBezTo>
                  <a:pt x="94" y="100"/>
                  <a:pt x="94" y="100"/>
                  <a:pt x="94" y="100"/>
                </a:cubicBezTo>
                <a:cubicBezTo>
                  <a:pt x="94" y="98"/>
                  <a:pt x="94" y="98"/>
                  <a:pt x="94" y="98"/>
                </a:cubicBezTo>
                <a:cubicBezTo>
                  <a:pt x="94" y="97"/>
                  <a:pt x="94" y="97"/>
                  <a:pt x="94" y="97"/>
                </a:cubicBezTo>
                <a:cubicBezTo>
                  <a:pt x="95" y="95"/>
                  <a:pt x="95" y="95"/>
                  <a:pt x="95" y="95"/>
                </a:cubicBezTo>
                <a:cubicBezTo>
                  <a:pt x="95" y="94"/>
                  <a:pt x="95" y="94"/>
                  <a:pt x="95" y="94"/>
                </a:cubicBezTo>
                <a:cubicBezTo>
                  <a:pt x="96" y="92"/>
                  <a:pt x="96" y="92"/>
                  <a:pt x="96" y="92"/>
                </a:cubicBezTo>
                <a:cubicBezTo>
                  <a:pt x="97" y="91"/>
                  <a:pt x="97" y="91"/>
                  <a:pt x="97" y="91"/>
                </a:cubicBezTo>
                <a:cubicBezTo>
                  <a:pt x="98" y="90"/>
                  <a:pt x="98" y="90"/>
                  <a:pt x="98" y="90"/>
                </a:cubicBezTo>
                <a:cubicBezTo>
                  <a:pt x="99" y="88"/>
                  <a:pt x="99" y="88"/>
                  <a:pt x="99" y="88"/>
                </a:cubicBezTo>
                <a:cubicBezTo>
                  <a:pt x="101" y="87"/>
                  <a:pt x="101" y="87"/>
                  <a:pt x="101" y="87"/>
                </a:cubicBezTo>
                <a:cubicBezTo>
                  <a:pt x="103" y="86"/>
                  <a:pt x="103" y="86"/>
                  <a:pt x="103" y="86"/>
                </a:cubicBezTo>
                <a:cubicBezTo>
                  <a:pt x="104" y="85"/>
                  <a:pt x="104" y="85"/>
                  <a:pt x="104" y="85"/>
                </a:cubicBezTo>
                <a:cubicBezTo>
                  <a:pt x="106" y="85"/>
                  <a:pt x="106" y="85"/>
                  <a:pt x="106" y="85"/>
                </a:cubicBezTo>
                <a:cubicBezTo>
                  <a:pt x="107" y="84"/>
                  <a:pt x="107" y="84"/>
                  <a:pt x="107" y="84"/>
                </a:cubicBezTo>
                <a:cubicBezTo>
                  <a:pt x="109" y="84"/>
                  <a:pt x="109" y="84"/>
                  <a:pt x="109" y="84"/>
                </a:cubicBezTo>
                <a:cubicBezTo>
                  <a:pt x="110" y="84"/>
                  <a:pt x="110" y="84"/>
                  <a:pt x="110" y="84"/>
                </a:cubicBezTo>
                <a:cubicBezTo>
                  <a:pt x="110" y="75"/>
                  <a:pt x="110" y="75"/>
                  <a:pt x="110" y="75"/>
                </a:cubicBezTo>
                <a:cubicBezTo>
                  <a:pt x="119" y="75"/>
                  <a:pt x="119" y="75"/>
                  <a:pt x="119" y="75"/>
                </a:cubicBezTo>
                <a:cubicBezTo>
                  <a:pt x="119" y="85"/>
                  <a:pt x="119" y="85"/>
                  <a:pt x="119" y="85"/>
                </a:cubicBezTo>
                <a:cubicBezTo>
                  <a:pt x="120" y="85"/>
                  <a:pt x="120" y="85"/>
                  <a:pt x="120" y="85"/>
                </a:cubicBezTo>
                <a:cubicBezTo>
                  <a:pt x="121" y="86"/>
                  <a:pt x="121" y="86"/>
                  <a:pt x="121" y="86"/>
                </a:cubicBezTo>
                <a:cubicBezTo>
                  <a:pt x="122" y="86"/>
                  <a:pt x="122" y="86"/>
                  <a:pt x="122" y="86"/>
                </a:cubicBezTo>
                <a:cubicBezTo>
                  <a:pt x="123" y="87"/>
                  <a:pt x="123" y="87"/>
                  <a:pt x="123" y="87"/>
                </a:cubicBezTo>
                <a:cubicBezTo>
                  <a:pt x="123" y="87"/>
                  <a:pt x="123" y="87"/>
                  <a:pt x="123" y="87"/>
                </a:cubicBezTo>
                <a:cubicBezTo>
                  <a:pt x="124" y="88"/>
                  <a:pt x="124" y="88"/>
                  <a:pt x="124" y="88"/>
                </a:cubicBezTo>
                <a:cubicBezTo>
                  <a:pt x="124" y="89"/>
                  <a:pt x="124" y="89"/>
                  <a:pt x="124" y="89"/>
                </a:cubicBezTo>
                <a:cubicBezTo>
                  <a:pt x="125" y="89"/>
                  <a:pt x="125" y="89"/>
                  <a:pt x="125" y="89"/>
                </a:cubicBezTo>
                <a:cubicBezTo>
                  <a:pt x="125" y="85"/>
                  <a:pt x="125" y="85"/>
                  <a:pt x="125" y="85"/>
                </a:cubicBezTo>
                <a:cubicBezTo>
                  <a:pt x="134" y="85"/>
                  <a:pt x="134" y="85"/>
                  <a:pt x="134" y="85"/>
                </a:cubicBezTo>
                <a:cubicBezTo>
                  <a:pt x="134" y="106"/>
                  <a:pt x="134" y="106"/>
                  <a:pt x="134" y="106"/>
                </a:cubicBezTo>
                <a:cubicBezTo>
                  <a:pt x="125" y="106"/>
                  <a:pt x="125" y="106"/>
                  <a:pt x="125" y="106"/>
                </a:cubicBezTo>
                <a:cubicBezTo>
                  <a:pt x="124" y="104"/>
                  <a:pt x="124" y="104"/>
                  <a:pt x="124" y="104"/>
                </a:cubicBezTo>
                <a:cubicBezTo>
                  <a:pt x="124" y="103"/>
                  <a:pt x="124" y="103"/>
                  <a:pt x="124" y="103"/>
                </a:cubicBezTo>
                <a:cubicBezTo>
                  <a:pt x="124" y="102"/>
                  <a:pt x="124" y="102"/>
                  <a:pt x="124" y="102"/>
                </a:cubicBezTo>
                <a:cubicBezTo>
                  <a:pt x="124" y="101"/>
                  <a:pt x="124" y="101"/>
                  <a:pt x="124" y="101"/>
                </a:cubicBezTo>
                <a:cubicBezTo>
                  <a:pt x="123" y="100"/>
                  <a:pt x="123" y="100"/>
                  <a:pt x="123" y="100"/>
                </a:cubicBezTo>
                <a:cubicBezTo>
                  <a:pt x="123" y="98"/>
                  <a:pt x="123" y="98"/>
                  <a:pt x="123" y="98"/>
                </a:cubicBezTo>
                <a:cubicBezTo>
                  <a:pt x="122" y="97"/>
                  <a:pt x="122" y="97"/>
                  <a:pt x="122" y="97"/>
                </a:cubicBezTo>
                <a:cubicBezTo>
                  <a:pt x="121" y="96"/>
                  <a:pt x="121" y="96"/>
                  <a:pt x="121" y="96"/>
                </a:cubicBezTo>
                <a:cubicBezTo>
                  <a:pt x="120" y="96"/>
                  <a:pt x="120" y="96"/>
                  <a:pt x="120" y="96"/>
                </a:cubicBezTo>
                <a:cubicBezTo>
                  <a:pt x="120" y="95"/>
                  <a:pt x="120" y="95"/>
                  <a:pt x="120" y="95"/>
                </a:cubicBezTo>
                <a:cubicBezTo>
                  <a:pt x="119" y="95"/>
                  <a:pt x="119" y="95"/>
                  <a:pt x="119" y="95"/>
                </a:cubicBezTo>
                <a:cubicBezTo>
                  <a:pt x="118" y="94"/>
                  <a:pt x="118" y="94"/>
                  <a:pt x="118" y="94"/>
                </a:cubicBezTo>
                <a:cubicBezTo>
                  <a:pt x="117" y="94"/>
                  <a:pt x="117" y="94"/>
                  <a:pt x="117" y="94"/>
                </a:cubicBezTo>
                <a:cubicBezTo>
                  <a:pt x="116" y="93"/>
                  <a:pt x="116" y="93"/>
                  <a:pt x="116" y="93"/>
                </a:cubicBezTo>
                <a:cubicBezTo>
                  <a:pt x="115" y="93"/>
                  <a:pt x="115" y="93"/>
                  <a:pt x="115" y="93"/>
                </a:cubicBezTo>
                <a:cubicBezTo>
                  <a:pt x="113" y="93"/>
                  <a:pt x="113" y="93"/>
                  <a:pt x="113" y="93"/>
                </a:cubicBezTo>
                <a:cubicBezTo>
                  <a:pt x="111" y="93"/>
                  <a:pt x="111" y="93"/>
                  <a:pt x="111" y="93"/>
                </a:cubicBezTo>
                <a:cubicBezTo>
                  <a:pt x="110" y="94"/>
                  <a:pt x="110" y="94"/>
                  <a:pt x="110" y="94"/>
                </a:cubicBezTo>
                <a:cubicBezTo>
                  <a:pt x="108" y="94"/>
                  <a:pt x="108" y="94"/>
                  <a:pt x="108" y="94"/>
                </a:cubicBezTo>
                <a:cubicBezTo>
                  <a:pt x="107" y="95"/>
                  <a:pt x="107" y="95"/>
                  <a:pt x="107" y="95"/>
                </a:cubicBezTo>
                <a:cubicBezTo>
                  <a:pt x="106" y="96"/>
                  <a:pt x="106" y="96"/>
                  <a:pt x="106" y="96"/>
                </a:cubicBezTo>
                <a:cubicBezTo>
                  <a:pt x="106" y="98"/>
                  <a:pt x="106" y="98"/>
                  <a:pt x="106" y="98"/>
                </a:cubicBezTo>
                <a:cubicBezTo>
                  <a:pt x="105" y="99"/>
                  <a:pt x="105" y="99"/>
                  <a:pt x="105" y="99"/>
                </a:cubicBezTo>
                <a:cubicBezTo>
                  <a:pt x="105" y="100"/>
                  <a:pt x="105" y="100"/>
                  <a:pt x="105" y="100"/>
                </a:cubicBezTo>
                <a:cubicBezTo>
                  <a:pt x="106" y="102"/>
                  <a:pt x="106" y="102"/>
                  <a:pt x="106" y="102"/>
                </a:cubicBezTo>
                <a:cubicBezTo>
                  <a:pt x="106" y="103"/>
                  <a:pt x="106" y="103"/>
                  <a:pt x="106" y="103"/>
                </a:cubicBezTo>
                <a:cubicBezTo>
                  <a:pt x="107" y="104"/>
                  <a:pt x="107" y="104"/>
                  <a:pt x="107" y="104"/>
                </a:cubicBezTo>
                <a:cubicBezTo>
                  <a:pt x="109" y="105"/>
                  <a:pt x="109" y="105"/>
                  <a:pt x="109" y="105"/>
                </a:cubicBezTo>
                <a:cubicBezTo>
                  <a:pt x="110" y="106"/>
                  <a:pt x="110" y="106"/>
                  <a:pt x="110" y="106"/>
                </a:cubicBezTo>
                <a:cubicBezTo>
                  <a:pt x="112" y="107"/>
                  <a:pt x="112" y="107"/>
                  <a:pt x="112" y="107"/>
                </a:cubicBezTo>
                <a:cubicBezTo>
                  <a:pt x="114" y="108"/>
                  <a:pt x="114" y="108"/>
                  <a:pt x="114" y="108"/>
                </a:cubicBezTo>
                <a:cubicBezTo>
                  <a:pt x="116" y="109"/>
                  <a:pt x="116" y="109"/>
                  <a:pt x="116" y="109"/>
                </a:cubicBezTo>
                <a:cubicBezTo>
                  <a:pt x="118" y="110"/>
                  <a:pt x="118" y="110"/>
                  <a:pt x="118" y="110"/>
                </a:cubicBezTo>
                <a:cubicBezTo>
                  <a:pt x="119" y="110"/>
                  <a:pt x="119" y="110"/>
                  <a:pt x="119" y="110"/>
                </a:cubicBezTo>
                <a:cubicBezTo>
                  <a:pt x="120" y="111"/>
                  <a:pt x="120" y="111"/>
                  <a:pt x="120" y="111"/>
                </a:cubicBezTo>
                <a:cubicBezTo>
                  <a:pt x="122" y="111"/>
                  <a:pt x="122" y="111"/>
                  <a:pt x="122" y="111"/>
                </a:cubicBezTo>
                <a:cubicBezTo>
                  <a:pt x="124" y="112"/>
                  <a:pt x="124" y="112"/>
                  <a:pt x="124" y="112"/>
                </a:cubicBezTo>
                <a:cubicBezTo>
                  <a:pt x="125" y="113"/>
                  <a:pt x="125" y="113"/>
                  <a:pt x="125" y="113"/>
                </a:cubicBezTo>
                <a:cubicBezTo>
                  <a:pt x="126" y="113"/>
                  <a:pt x="126" y="113"/>
                  <a:pt x="126" y="113"/>
                </a:cubicBezTo>
                <a:cubicBezTo>
                  <a:pt x="127" y="114"/>
                  <a:pt x="127" y="114"/>
                  <a:pt x="127" y="114"/>
                </a:cubicBezTo>
                <a:cubicBezTo>
                  <a:pt x="128" y="115"/>
                  <a:pt x="128" y="115"/>
                  <a:pt x="128" y="115"/>
                </a:cubicBezTo>
                <a:cubicBezTo>
                  <a:pt x="130" y="116"/>
                  <a:pt x="130" y="116"/>
                  <a:pt x="130" y="116"/>
                </a:cubicBezTo>
                <a:cubicBezTo>
                  <a:pt x="131" y="117"/>
                  <a:pt x="131" y="117"/>
                  <a:pt x="131" y="117"/>
                </a:cubicBezTo>
                <a:cubicBezTo>
                  <a:pt x="131" y="117"/>
                  <a:pt x="131" y="117"/>
                  <a:pt x="131" y="117"/>
                </a:cubicBezTo>
                <a:cubicBezTo>
                  <a:pt x="132" y="118"/>
                  <a:pt x="132" y="118"/>
                  <a:pt x="132" y="118"/>
                </a:cubicBezTo>
                <a:cubicBezTo>
                  <a:pt x="133" y="119"/>
                  <a:pt x="133" y="119"/>
                  <a:pt x="133" y="119"/>
                </a:cubicBezTo>
                <a:cubicBezTo>
                  <a:pt x="133" y="120"/>
                  <a:pt x="133" y="120"/>
                  <a:pt x="133" y="120"/>
                </a:cubicBezTo>
                <a:cubicBezTo>
                  <a:pt x="134" y="121"/>
                  <a:pt x="134" y="121"/>
                  <a:pt x="134" y="121"/>
                </a:cubicBezTo>
                <a:cubicBezTo>
                  <a:pt x="134" y="122"/>
                  <a:pt x="134" y="122"/>
                  <a:pt x="134" y="122"/>
                </a:cubicBezTo>
                <a:cubicBezTo>
                  <a:pt x="135" y="124"/>
                  <a:pt x="135" y="124"/>
                  <a:pt x="135" y="124"/>
                </a:cubicBezTo>
                <a:cubicBezTo>
                  <a:pt x="135" y="125"/>
                  <a:pt x="135" y="125"/>
                  <a:pt x="135" y="125"/>
                </a:cubicBezTo>
                <a:cubicBezTo>
                  <a:pt x="135" y="127"/>
                  <a:pt x="135" y="127"/>
                  <a:pt x="135" y="127"/>
                </a:cubicBezTo>
                <a:cubicBezTo>
                  <a:pt x="135" y="128"/>
                  <a:pt x="135" y="128"/>
                  <a:pt x="135" y="128"/>
                </a:cubicBezTo>
                <a:cubicBezTo>
                  <a:pt x="135" y="129"/>
                  <a:pt x="135" y="129"/>
                  <a:pt x="135" y="129"/>
                </a:cubicBezTo>
                <a:lnTo>
                  <a:pt x="135" y="13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mj-lt"/>
            </a:endParaRPr>
          </a:p>
        </p:txBody>
      </p:sp>
      <p:sp>
        <p:nvSpPr>
          <p:cNvPr id="35" name="TextBox 34"/>
          <p:cNvSpPr txBox="1"/>
          <p:nvPr/>
        </p:nvSpPr>
        <p:spPr>
          <a:xfrm>
            <a:off x="1137507" y="2548839"/>
            <a:ext cx="1183339" cy="261610"/>
          </a:xfrm>
          <a:prstGeom prst="rect">
            <a:avLst/>
          </a:prstGeom>
          <a:solidFill>
            <a:schemeClr val="tx2">
              <a:lumMod val="75000"/>
            </a:schemeClr>
          </a:solidFill>
        </p:spPr>
        <p:txBody>
          <a:bodyPr wrap="square" tIns="91440" bIns="91440" rtlCol="0" anchor="ctr">
            <a:no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400" b="0" i="0" u="none" strike="noStrike" kern="0" cap="none" spc="0" normalizeH="0" baseline="0">
                <a:ln>
                  <a:noFill/>
                </a:ln>
                <a:solidFill>
                  <a:srgbClr val="FFFFFF"/>
                </a:solidFill>
                <a:effectLst/>
                <a:uLnTx/>
                <a:uFillTx/>
                <a:latin typeface="+mj-lt"/>
              </a:defRPr>
            </a:lvl1pPr>
          </a:lstStyle>
          <a:p>
            <a:r>
              <a:rPr lang="en-US" dirty="0"/>
              <a:t>Efficiency</a:t>
            </a:r>
          </a:p>
        </p:txBody>
      </p:sp>
      <p:sp>
        <p:nvSpPr>
          <p:cNvPr id="36" name="TextBox 35"/>
          <p:cNvSpPr txBox="1"/>
          <p:nvPr/>
        </p:nvSpPr>
        <p:spPr>
          <a:xfrm>
            <a:off x="551189" y="2862524"/>
            <a:ext cx="2377440" cy="1585651"/>
          </a:xfrm>
          <a:prstGeom prst="rect">
            <a:avLst/>
          </a:prstGeom>
          <a:noFill/>
        </p:spPr>
        <p:txBody>
          <a:bodyPr wrap="square" lIns="91440" tIns="45720" rIns="91440" bIns="45720" rtlCol="0">
            <a:noAutofit/>
          </a:bodyPr>
          <a:lstStyle/>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Single Line Card capable to multiplex up to 40x10GE in </a:t>
            </a:r>
            <a:br>
              <a:rPr kumimoji="0" lang="en-US" sz="1100" b="0" i="0" u="none" strike="noStrike" kern="0" cap="none" spc="0" normalizeH="0" baseline="0" noProof="0" dirty="0">
                <a:ln>
                  <a:noFill/>
                </a:ln>
                <a:solidFill>
                  <a:srgbClr val="FFFFFF"/>
                </a:solidFill>
                <a:effectLst/>
                <a:uLnTx/>
                <a:uFillTx/>
                <a:latin typeface="+mj-lt"/>
              </a:rPr>
            </a:br>
            <a:r>
              <a:rPr kumimoji="0" lang="en-US" sz="1100" b="0" i="0" u="none" strike="noStrike" kern="0" cap="none" spc="0" normalizeH="0" baseline="0" noProof="0" dirty="0">
                <a:ln>
                  <a:noFill/>
                </a:ln>
                <a:solidFill>
                  <a:srgbClr val="FFFFFF"/>
                </a:solidFill>
                <a:effectLst/>
                <a:uLnTx/>
                <a:uFillTx/>
                <a:latin typeface="+mj-lt"/>
              </a:rPr>
              <a:t>2 slots</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Future Xponder capability will optimize wavelengths usage </a:t>
            </a:r>
            <a:br>
              <a:rPr kumimoji="0" lang="en-US" sz="1100" b="0" i="0" u="none" strike="noStrike" kern="0" cap="none" spc="0" normalizeH="0" baseline="0" noProof="0" dirty="0">
                <a:ln>
                  <a:noFill/>
                </a:ln>
                <a:solidFill>
                  <a:srgbClr val="FFFFFF"/>
                </a:solidFill>
                <a:effectLst/>
                <a:uLnTx/>
                <a:uFillTx/>
                <a:latin typeface="+mj-lt"/>
              </a:rPr>
            </a:br>
            <a:r>
              <a:rPr kumimoji="0" lang="en-US" sz="1100" b="0" i="0" u="none" strike="noStrike" kern="0" cap="none" spc="0" normalizeH="0" baseline="0" noProof="0" dirty="0">
                <a:ln>
                  <a:noFill/>
                </a:ln>
                <a:solidFill>
                  <a:srgbClr val="FFFFFF"/>
                </a:solidFill>
                <a:effectLst/>
                <a:uLnTx/>
                <a:uFillTx/>
                <a:latin typeface="+mj-lt"/>
              </a:rPr>
              <a:t>for 10GE traffic aggregation</a:t>
            </a:r>
          </a:p>
        </p:txBody>
      </p:sp>
      <p:sp>
        <p:nvSpPr>
          <p:cNvPr id="37" name="Rectangle 36"/>
          <p:cNvSpPr/>
          <p:nvPr/>
        </p:nvSpPr>
        <p:spPr>
          <a:xfrm>
            <a:off x="3380984" y="1077913"/>
            <a:ext cx="2377440" cy="1728506"/>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38" name="Rectangle 37"/>
          <p:cNvSpPr/>
          <p:nvPr/>
        </p:nvSpPr>
        <p:spPr>
          <a:xfrm>
            <a:off x="6210779" y="1077913"/>
            <a:ext cx="2377440" cy="1728506"/>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42" name="Freeform 9"/>
          <p:cNvSpPr>
            <a:spLocks noEditPoints="1"/>
          </p:cNvSpPr>
          <p:nvPr/>
        </p:nvSpPr>
        <p:spPr bwMode="auto">
          <a:xfrm>
            <a:off x="4162340" y="1313553"/>
            <a:ext cx="814728" cy="814728"/>
          </a:xfrm>
          <a:custGeom>
            <a:avLst/>
            <a:gdLst>
              <a:gd name="T0" fmla="*/ 99 w 232"/>
              <a:gd name="T1" fmla="*/ 71 h 233"/>
              <a:gd name="T2" fmla="*/ 114 w 232"/>
              <a:gd name="T3" fmla="*/ 72 h 233"/>
              <a:gd name="T4" fmla="*/ 129 w 232"/>
              <a:gd name="T5" fmla="*/ 76 h 233"/>
              <a:gd name="T6" fmla="*/ 141 w 232"/>
              <a:gd name="T7" fmla="*/ 82 h 233"/>
              <a:gd name="T8" fmla="*/ 174 w 232"/>
              <a:gd name="T9" fmla="*/ 64 h 233"/>
              <a:gd name="T10" fmla="*/ 162 w 232"/>
              <a:gd name="T11" fmla="*/ 53 h 233"/>
              <a:gd name="T12" fmla="*/ 149 w 232"/>
              <a:gd name="T13" fmla="*/ 45 h 233"/>
              <a:gd name="T14" fmla="*/ 133 w 232"/>
              <a:gd name="T15" fmla="*/ 40 h 233"/>
              <a:gd name="T16" fmla="*/ 117 w 232"/>
              <a:gd name="T17" fmla="*/ 38 h 233"/>
              <a:gd name="T18" fmla="*/ 100 w 232"/>
              <a:gd name="T19" fmla="*/ 40 h 233"/>
              <a:gd name="T20" fmla="*/ 84 w 232"/>
              <a:gd name="T21" fmla="*/ 45 h 233"/>
              <a:gd name="T22" fmla="*/ 70 w 232"/>
              <a:gd name="T23" fmla="*/ 54 h 233"/>
              <a:gd name="T24" fmla="*/ 58 w 232"/>
              <a:gd name="T25" fmla="*/ 66 h 233"/>
              <a:gd name="T26" fmla="*/ 50 w 232"/>
              <a:gd name="T27" fmla="*/ 80 h 233"/>
              <a:gd name="T28" fmla="*/ 44 w 232"/>
              <a:gd name="T29" fmla="*/ 95 h 233"/>
              <a:gd name="T30" fmla="*/ 42 w 232"/>
              <a:gd name="T31" fmla="*/ 113 h 233"/>
              <a:gd name="T32" fmla="*/ 46 w 232"/>
              <a:gd name="T33" fmla="*/ 105 h 233"/>
              <a:gd name="T34" fmla="*/ 55 w 232"/>
              <a:gd name="T35" fmla="*/ 93 h 233"/>
              <a:gd name="T36" fmla="*/ 66 w 232"/>
              <a:gd name="T37" fmla="*/ 83 h 233"/>
              <a:gd name="T38" fmla="*/ 79 w 232"/>
              <a:gd name="T39" fmla="*/ 76 h 233"/>
              <a:gd name="T40" fmla="*/ 187 w 232"/>
              <a:gd name="T41" fmla="*/ 91 h 233"/>
              <a:gd name="T42" fmla="*/ 184 w 232"/>
              <a:gd name="T43" fmla="*/ 89 h 233"/>
              <a:gd name="T44" fmla="*/ 181 w 232"/>
              <a:gd name="T45" fmla="*/ 89 h 233"/>
              <a:gd name="T46" fmla="*/ 101 w 232"/>
              <a:gd name="T47" fmla="*/ 120 h 233"/>
              <a:gd name="T48" fmla="*/ 93 w 232"/>
              <a:gd name="T49" fmla="*/ 127 h 233"/>
              <a:gd name="T50" fmla="*/ 86 w 232"/>
              <a:gd name="T51" fmla="*/ 136 h 233"/>
              <a:gd name="T52" fmla="*/ 83 w 232"/>
              <a:gd name="T53" fmla="*/ 146 h 233"/>
              <a:gd name="T54" fmla="*/ 84 w 232"/>
              <a:gd name="T55" fmla="*/ 157 h 233"/>
              <a:gd name="T56" fmla="*/ 88 w 232"/>
              <a:gd name="T57" fmla="*/ 168 h 233"/>
              <a:gd name="T58" fmla="*/ 96 w 232"/>
              <a:gd name="T59" fmla="*/ 176 h 233"/>
              <a:gd name="T60" fmla="*/ 105 w 232"/>
              <a:gd name="T61" fmla="*/ 181 h 233"/>
              <a:gd name="T62" fmla="*/ 116 w 232"/>
              <a:gd name="T63" fmla="*/ 183 h 233"/>
              <a:gd name="T64" fmla="*/ 127 w 232"/>
              <a:gd name="T65" fmla="*/ 181 h 233"/>
              <a:gd name="T66" fmla="*/ 136 w 232"/>
              <a:gd name="T67" fmla="*/ 176 h 233"/>
              <a:gd name="T68" fmla="*/ 143 w 232"/>
              <a:gd name="T69" fmla="*/ 169 h 233"/>
              <a:gd name="T70" fmla="*/ 186 w 232"/>
              <a:gd name="T71" fmla="*/ 94 h 233"/>
              <a:gd name="T72" fmla="*/ 187 w 232"/>
              <a:gd name="T73" fmla="*/ 92 h 233"/>
              <a:gd name="T74" fmla="*/ 132 w 232"/>
              <a:gd name="T75" fmla="*/ 155 h 233"/>
              <a:gd name="T76" fmla="*/ 128 w 232"/>
              <a:gd name="T77" fmla="*/ 162 h 233"/>
              <a:gd name="T78" fmla="*/ 122 w 232"/>
              <a:gd name="T79" fmla="*/ 166 h 233"/>
              <a:gd name="T80" fmla="*/ 114 w 232"/>
              <a:gd name="T81" fmla="*/ 166 h 233"/>
              <a:gd name="T82" fmla="*/ 107 w 232"/>
              <a:gd name="T83" fmla="*/ 163 h 233"/>
              <a:gd name="T84" fmla="*/ 102 w 232"/>
              <a:gd name="T85" fmla="*/ 157 h 233"/>
              <a:gd name="T86" fmla="*/ 100 w 232"/>
              <a:gd name="T87" fmla="*/ 150 h 233"/>
              <a:gd name="T88" fmla="*/ 102 w 232"/>
              <a:gd name="T89" fmla="*/ 142 h 233"/>
              <a:gd name="T90" fmla="*/ 107 w 232"/>
              <a:gd name="T91" fmla="*/ 136 h 233"/>
              <a:gd name="T92" fmla="*/ 114 w 232"/>
              <a:gd name="T93" fmla="*/ 133 h 233"/>
              <a:gd name="T94" fmla="*/ 122 w 232"/>
              <a:gd name="T95" fmla="*/ 134 h 233"/>
              <a:gd name="T96" fmla="*/ 128 w 232"/>
              <a:gd name="T97" fmla="*/ 138 h 233"/>
              <a:gd name="T98" fmla="*/ 132 w 232"/>
              <a:gd name="T99" fmla="*/ 145 h 233"/>
              <a:gd name="T100" fmla="*/ 133 w 232"/>
              <a:gd name="T101" fmla="*/ 153 h 233"/>
              <a:gd name="T102" fmla="*/ 116 w 232"/>
              <a:gd name="T103" fmla="*/ 233 h 233"/>
              <a:gd name="T104" fmla="*/ 116 w 232"/>
              <a:gd name="T105" fmla="*/ 208 h 233"/>
              <a:gd name="T106" fmla="*/ 207 w 232"/>
              <a:gd name="T107" fmla="*/ 11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33">
                <a:moveTo>
                  <a:pt x="89" y="73"/>
                </a:moveTo>
                <a:cubicBezTo>
                  <a:pt x="94" y="72"/>
                  <a:pt x="94" y="72"/>
                  <a:pt x="94" y="72"/>
                </a:cubicBezTo>
                <a:cubicBezTo>
                  <a:pt x="99" y="71"/>
                  <a:pt x="99" y="71"/>
                  <a:pt x="99" y="71"/>
                </a:cubicBezTo>
                <a:cubicBezTo>
                  <a:pt x="104" y="71"/>
                  <a:pt x="104" y="71"/>
                  <a:pt x="104" y="71"/>
                </a:cubicBezTo>
                <a:cubicBezTo>
                  <a:pt x="109" y="71"/>
                  <a:pt x="109" y="71"/>
                  <a:pt x="109" y="71"/>
                </a:cubicBezTo>
                <a:cubicBezTo>
                  <a:pt x="114" y="72"/>
                  <a:pt x="114" y="72"/>
                  <a:pt x="114" y="72"/>
                </a:cubicBezTo>
                <a:cubicBezTo>
                  <a:pt x="119" y="73"/>
                  <a:pt x="119" y="73"/>
                  <a:pt x="119" y="73"/>
                </a:cubicBezTo>
                <a:cubicBezTo>
                  <a:pt x="124" y="74"/>
                  <a:pt x="124" y="74"/>
                  <a:pt x="124" y="74"/>
                </a:cubicBezTo>
                <a:cubicBezTo>
                  <a:pt x="129" y="76"/>
                  <a:pt x="129" y="76"/>
                  <a:pt x="129" y="76"/>
                </a:cubicBezTo>
                <a:cubicBezTo>
                  <a:pt x="133" y="78"/>
                  <a:pt x="133" y="78"/>
                  <a:pt x="133" y="78"/>
                </a:cubicBezTo>
                <a:cubicBezTo>
                  <a:pt x="137" y="80"/>
                  <a:pt x="137" y="80"/>
                  <a:pt x="137" y="80"/>
                </a:cubicBezTo>
                <a:cubicBezTo>
                  <a:pt x="141" y="82"/>
                  <a:pt x="141" y="82"/>
                  <a:pt x="141" y="82"/>
                </a:cubicBezTo>
                <a:cubicBezTo>
                  <a:pt x="175" y="69"/>
                  <a:pt x="175" y="69"/>
                  <a:pt x="175" y="69"/>
                </a:cubicBezTo>
                <a:cubicBezTo>
                  <a:pt x="177" y="69"/>
                  <a:pt x="177" y="69"/>
                  <a:pt x="177" y="69"/>
                </a:cubicBezTo>
                <a:cubicBezTo>
                  <a:pt x="174" y="64"/>
                  <a:pt x="174" y="64"/>
                  <a:pt x="174" y="64"/>
                </a:cubicBezTo>
                <a:cubicBezTo>
                  <a:pt x="170" y="60"/>
                  <a:pt x="170" y="60"/>
                  <a:pt x="170" y="60"/>
                </a:cubicBezTo>
                <a:cubicBezTo>
                  <a:pt x="166" y="57"/>
                  <a:pt x="166" y="57"/>
                  <a:pt x="166" y="57"/>
                </a:cubicBezTo>
                <a:cubicBezTo>
                  <a:pt x="162" y="53"/>
                  <a:pt x="162" y="53"/>
                  <a:pt x="162" y="53"/>
                </a:cubicBezTo>
                <a:cubicBezTo>
                  <a:pt x="158" y="50"/>
                  <a:pt x="158" y="50"/>
                  <a:pt x="158" y="50"/>
                </a:cubicBezTo>
                <a:cubicBezTo>
                  <a:pt x="153" y="48"/>
                  <a:pt x="153" y="48"/>
                  <a:pt x="153" y="48"/>
                </a:cubicBezTo>
                <a:cubicBezTo>
                  <a:pt x="149" y="45"/>
                  <a:pt x="149" y="45"/>
                  <a:pt x="149" y="45"/>
                </a:cubicBezTo>
                <a:cubicBezTo>
                  <a:pt x="144" y="43"/>
                  <a:pt x="144" y="43"/>
                  <a:pt x="144" y="43"/>
                </a:cubicBezTo>
                <a:cubicBezTo>
                  <a:pt x="139" y="41"/>
                  <a:pt x="139" y="41"/>
                  <a:pt x="139" y="41"/>
                </a:cubicBezTo>
                <a:cubicBezTo>
                  <a:pt x="133" y="40"/>
                  <a:pt x="133" y="40"/>
                  <a:pt x="133" y="40"/>
                </a:cubicBezTo>
                <a:cubicBezTo>
                  <a:pt x="128" y="39"/>
                  <a:pt x="128" y="39"/>
                  <a:pt x="128" y="39"/>
                </a:cubicBezTo>
                <a:cubicBezTo>
                  <a:pt x="122" y="38"/>
                  <a:pt x="122" y="38"/>
                  <a:pt x="122" y="38"/>
                </a:cubicBezTo>
                <a:cubicBezTo>
                  <a:pt x="117" y="38"/>
                  <a:pt x="117" y="38"/>
                  <a:pt x="117" y="38"/>
                </a:cubicBezTo>
                <a:cubicBezTo>
                  <a:pt x="111" y="38"/>
                  <a:pt x="111" y="38"/>
                  <a:pt x="111" y="38"/>
                </a:cubicBezTo>
                <a:cubicBezTo>
                  <a:pt x="105" y="39"/>
                  <a:pt x="105" y="39"/>
                  <a:pt x="105" y="39"/>
                </a:cubicBezTo>
                <a:cubicBezTo>
                  <a:pt x="100" y="40"/>
                  <a:pt x="100" y="40"/>
                  <a:pt x="100" y="40"/>
                </a:cubicBezTo>
                <a:cubicBezTo>
                  <a:pt x="94" y="41"/>
                  <a:pt x="94" y="41"/>
                  <a:pt x="94" y="41"/>
                </a:cubicBezTo>
                <a:cubicBezTo>
                  <a:pt x="89" y="43"/>
                  <a:pt x="89" y="43"/>
                  <a:pt x="89" y="43"/>
                </a:cubicBezTo>
                <a:cubicBezTo>
                  <a:pt x="84" y="45"/>
                  <a:pt x="84" y="45"/>
                  <a:pt x="84" y="45"/>
                </a:cubicBezTo>
                <a:cubicBezTo>
                  <a:pt x="79" y="48"/>
                  <a:pt x="79" y="48"/>
                  <a:pt x="79" y="48"/>
                </a:cubicBezTo>
                <a:cubicBezTo>
                  <a:pt x="74" y="51"/>
                  <a:pt x="74" y="51"/>
                  <a:pt x="74" y="51"/>
                </a:cubicBezTo>
                <a:cubicBezTo>
                  <a:pt x="70" y="54"/>
                  <a:pt x="70" y="54"/>
                  <a:pt x="70" y="54"/>
                </a:cubicBezTo>
                <a:cubicBezTo>
                  <a:pt x="66" y="58"/>
                  <a:pt x="66" y="58"/>
                  <a:pt x="66" y="58"/>
                </a:cubicBezTo>
                <a:cubicBezTo>
                  <a:pt x="62" y="62"/>
                  <a:pt x="62" y="62"/>
                  <a:pt x="62" y="62"/>
                </a:cubicBezTo>
                <a:cubicBezTo>
                  <a:pt x="58" y="66"/>
                  <a:pt x="58" y="66"/>
                  <a:pt x="58" y="66"/>
                </a:cubicBezTo>
                <a:cubicBezTo>
                  <a:pt x="55" y="70"/>
                  <a:pt x="55" y="70"/>
                  <a:pt x="55" y="70"/>
                </a:cubicBezTo>
                <a:cubicBezTo>
                  <a:pt x="52" y="75"/>
                  <a:pt x="52" y="75"/>
                  <a:pt x="52" y="75"/>
                </a:cubicBezTo>
                <a:cubicBezTo>
                  <a:pt x="50" y="80"/>
                  <a:pt x="50" y="80"/>
                  <a:pt x="50" y="80"/>
                </a:cubicBezTo>
                <a:cubicBezTo>
                  <a:pt x="47" y="85"/>
                  <a:pt x="47" y="85"/>
                  <a:pt x="47" y="85"/>
                </a:cubicBezTo>
                <a:cubicBezTo>
                  <a:pt x="46" y="90"/>
                  <a:pt x="46" y="90"/>
                  <a:pt x="46" y="90"/>
                </a:cubicBezTo>
                <a:cubicBezTo>
                  <a:pt x="44" y="95"/>
                  <a:pt x="44" y="95"/>
                  <a:pt x="44" y="95"/>
                </a:cubicBezTo>
                <a:cubicBezTo>
                  <a:pt x="43" y="101"/>
                  <a:pt x="43" y="101"/>
                  <a:pt x="43" y="101"/>
                </a:cubicBezTo>
                <a:cubicBezTo>
                  <a:pt x="42" y="107"/>
                  <a:pt x="42" y="107"/>
                  <a:pt x="42" y="107"/>
                </a:cubicBezTo>
                <a:cubicBezTo>
                  <a:pt x="42" y="113"/>
                  <a:pt x="42" y="113"/>
                  <a:pt x="42" y="113"/>
                </a:cubicBezTo>
                <a:cubicBezTo>
                  <a:pt x="42" y="114"/>
                  <a:pt x="42" y="114"/>
                  <a:pt x="42" y="114"/>
                </a:cubicBezTo>
                <a:cubicBezTo>
                  <a:pt x="44" y="110"/>
                  <a:pt x="44" y="110"/>
                  <a:pt x="44" y="110"/>
                </a:cubicBezTo>
                <a:cubicBezTo>
                  <a:pt x="46" y="105"/>
                  <a:pt x="46" y="105"/>
                  <a:pt x="46" y="105"/>
                </a:cubicBezTo>
                <a:cubicBezTo>
                  <a:pt x="49" y="101"/>
                  <a:pt x="49" y="101"/>
                  <a:pt x="49" y="101"/>
                </a:cubicBezTo>
                <a:cubicBezTo>
                  <a:pt x="52" y="97"/>
                  <a:pt x="52" y="97"/>
                  <a:pt x="52" y="97"/>
                </a:cubicBezTo>
                <a:cubicBezTo>
                  <a:pt x="55" y="93"/>
                  <a:pt x="55" y="93"/>
                  <a:pt x="55" y="93"/>
                </a:cubicBezTo>
                <a:cubicBezTo>
                  <a:pt x="58" y="89"/>
                  <a:pt x="58" y="89"/>
                  <a:pt x="58" y="89"/>
                </a:cubicBezTo>
                <a:cubicBezTo>
                  <a:pt x="62" y="86"/>
                  <a:pt x="62" y="86"/>
                  <a:pt x="62" y="86"/>
                </a:cubicBezTo>
                <a:cubicBezTo>
                  <a:pt x="66" y="83"/>
                  <a:pt x="66" y="83"/>
                  <a:pt x="66" y="83"/>
                </a:cubicBezTo>
                <a:cubicBezTo>
                  <a:pt x="70" y="81"/>
                  <a:pt x="70" y="81"/>
                  <a:pt x="70" y="81"/>
                </a:cubicBezTo>
                <a:cubicBezTo>
                  <a:pt x="75" y="78"/>
                  <a:pt x="75" y="78"/>
                  <a:pt x="75" y="78"/>
                </a:cubicBezTo>
                <a:cubicBezTo>
                  <a:pt x="79" y="76"/>
                  <a:pt x="79" y="76"/>
                  <a:pt x="79" y="76"/>
                </a:cubicBezTo>
                <a:cubicBezTo>
                  <a:pt x="84" y="74"/>
                  <a:pt x="84" y="74"/>
                  <a:pt x="84" y="74"/>
                </a:cubicBezTo>
                <a:lnTo>
                  <a:pt x="89" y="73"/>
                </a:lnTo>
                <a:close/>
                <a:moveTo>
                  <a:pt x="187" y="91"/>
                </a:moveTo>
                <a:cubicBezTo>
                  <a:pt x="186" y="90"/>
                  <a:pt x="186" y="90"/>
                  <a:pt x="186" y="90"/>
                </a:cubicBezTo>
                <a:cubicBezTo>
                  <a:pt x="185" y="89"/>
                  <a:pt x="185" y="89"/>
                  <a:pt x="185" y="89"/>
                </a:cubicBezTo>
                <a:cubicBezTo>
                  <a:pt x="184" y="89"/>
                  <a:pt x="184" y="89"/>
                  <a:pt x="184" y="89"/>
                </a:cubicBezTo>
                <a:cubicBezTo>
                  <a:pt x="183" y="88"/>
                  <a:pt x="183" y="88"/>
                  <a:pt x="183" y="88"/>
                </a:cubicBezTo>
                <a:cubicBezTo>
                  <a:pt x="182" y="88"/>
                  <a:pt x="182" y="88"/>
                  <a:pt x="182" y="88"/>
                </a:cubicBezTo>
                <a:cubicBezTo>
                  <a:pt x="181" y="89"/>
                  <a:pt x="181" y="89"/>
                  <a:pt x="181" y="89"/>
                </a:cubicBezTo>
                <a:cubicBezTo>
                  <a:pt x="104" y="119"/>
                  <a:pt x="104" y="119"/>
                  <a:pt x="104" y="119"/>
                </a:cubicBezTo>
                <a:cubicBezTo>
                  <a:pt x="104" y="119"/>
                  <a:pt x="104" y="119"/>
                  <a:pt x="104" y="119"/>
                </a:cubicBezTo>
                <a:cubicBezTo>
                  <a:pt x="101" y="120"/>
                  <a:pt x="101" y="120"/>
                  <a:pt x="101" y="120"/>
                </a:cubicBezTo>
                <a:cubicBezTo>
                  <a:pt x="98" y="122"/>
                  <a:pt x="98" y="122"/>
                  <a:pt x="98" y="122"/>
                </a:cubicBezTo>
                <a:cubicBezTo>
                  <a:pt x="95" y="124"/>
                  <a:pt x="95" y="124"/>
                  <a:pt x="95" y="124"/>
                </a:cubicBezTo>
                <a:cubicBezTo>
                  <a:pt x="93" y="127"/>
                  <a:pt x="93" y="127"/>
                  <a:pt x="93" y="127"/>
                </a:cubicBezTo>
                <a:cubicBezTo>
                  <a:pt x="90" y="130"/>
                  <a:pt x="90" y="130"/>
                  <a:pt x="90" y="130"/>
                </a:cubicBezTo>
                <a:cubicBezTo>
                  <a:pt x="88" y="132"/>
                  <a:pt x="88" y="132"/>
                  <a:pt x="88" y="132"/>
                </a:cubicBezTo>
                <a:cubicBezTo>
                  <a:pt x="86" y="136"/>
                  <a:pt x="86" y="136"/>
                  <a:pt x="86" y="136"/>
                </a:cubicBezTo>
                <a:cubicBezTo>
                  <a:pt x="85" y="139"/>
                  <a:pt x="85" y="139"/>
                  <a:pt x="85" y="139"/>
                </a:cubicBezTo>
                <a:cubicBezTo>
                  <a:pt x="84" y="142"/>
                  <a:pt x="84" y="142"/>
                  <a:pt x="84" y="142"/>
                </a:cubicBezTo>
                <a:cubicBezTo>
                  <a:pt x="83" y="146"/>
                  <a:pt x="83" y="146"/>
                  <a:pt x="83" y="146"/>
                </a:cubicBezTo>
                <a:cubicBezTo>
                  <a:pt x="83" y="150"/>
                  <a:pt x="83" y="150"/>
                  <a:pt x="83" y="150"/>
                </a:cubicBezTo>
                <a:cubicBezTo>
                  <a:pt x="83" y="154"/>
                  <a:pt x="83" y="154"/>
                  <a:pt x="83" y="154"/>
                </a:cubicBezTo>
                <a:cubicBezTo>
                  <a:pt x="84" y="157"/>
                  <a:pt x="84" y="157"/>
                  <a:pt x="84" y="157"/>
                </a:cubicBezTo>
                <a:cubicBezTo>
                  <a:pt x="85" y="161"/>
                  <a:pt x="85" y="161"/>
                  <a:pt x="85" y="161"/>
                </a:cubicBezTo>
                <a:cubicBezTo>
                  <a:pt x="87" y="164"/>
                  <a:pt x="87" y="164"/>
                  <a:pt x="87" y="164"/>
                </a:cubicBezTo>
                <a:cubicBezTo>
                  <a:pt x="88" y="168"/>
                  <a:pt x="88" y="168"/>
                  <a:pt x="88" y="168"/>
                </a:cubicBezTo>
                <a:cubicBezTo>
                  <a:pt x="91" y="171"/>
                  <a:pt x="91" y="171"/>
                  <a:pt x="91" y="171"/>
                </a:cubicBezTo>
                <a:cubicBezTo>
                  <a:pt x="93" y="173"/>
                  <a:pt x="93" y="173"/>
                  <a:pt x="93" y="173"/>
                </a:cubicBezTo>
                <a:cubicBezTo>
                  <a:pt x="96" y="176"/>
                  <a:pt x="96" y="176"/>
                  <a:pt x="96" y="176"/>
                </a:cubicBezTo>
                <a:cubicBezTo>
                  <a:pt x="99" y="178"/>
                  <a:pt x="99" y="178"/>
                  <a:pt x="99" y="178"/>
                </a:cubicBezTo>
                <a:cubicBezTo>
                  <a:pt x="102" y="180"/>
                  <a:pt x="102" y="180"/>
                  <a:pt x="102" y="180"/>
                </a:cubicBezTo>
                <a:cubicBezTo>
                  <a:pt x="105" y="181"/>
                  <a:pt x="105" y="181"/>
                  <a:pt x="105" y="181"/>
                </a:cubicBezTo>
                <a:cubicBezTo>
                  <a:pt x="109" y="182"/>
                  <a:pt x="109" y="182"/>
                  <a:pt x="109" y="182"/>
                </a:cubicBezTo>
                <a:cubicBezTo>
                  <a:pt x="113" y="183"/>
                  <a:pt x="113" y="183"/>
                  <a:pt x="113" y="183"/>
                </a:cubicBezTo>
                <a:cubicBezTo>
                  <a:pt x="116" y="183"/>
                  <a:pt x="116" y="183"/>
                  <a:pt x="116" y="183"/>
                </a:cubicBezTo>
                <a:cubicBezTo>
                  <a:pt x="120" y="183"/>
                  <a:pt x="120" y="183"/>
                  <a:pt x="120" y="183"/>
                </a:cubicBezTo>
                <a:cubicBezTo>
                  <a:pt x="124" y="182"/>
                  <a:pt x="124" y="182"/>
                  <a:pt x="124" y="182"/>
                </a:cubicBezTo>
                <a:cubicBezTo>
                  <a:pt x="127" y="181"/>
                  <a:pt x="127" y="181"/>
                  <a:pt x="127" y="181"/>
                </a:cubicBezTo>
                <a:cubicBezTo>
                  <a:pt x="130" y="180"/>
                  <a:pt x="130" y="180"/>
                  <a:pt x="130" y="180"/>
                </a:cubicBezTo>
                <a:cubicBezTo>
                  <a:pt x="133" y="178"/>
                  <a:pt x="133" y="178"/>
                  <a:pt x="133" y="178"/>
                </a:cubicBezTo>
                <a:cubicBezTo>
                  <a:pt x="136" y="176"/>
                  <a:pt x="136" y="176"/>
                  <a:pt x="136" y="176"/>
                </a:cubicBezTo>
                <a:cubicBezTo>
                  <a:pt x="139" y="174"/>
                  <a:pt x="139" y="174"/>
                  <a:pt x="139" y="174"/>
                </a:cubicBezTo>
                <a:cubicBezTo>
                  <a:pt x="141" y="172"/>
                  <a:pt x="141" y="172"/>
                  <a:pt x="141" y="172"/>
                </a:cubicBezTo>
                <a:cubicBezTo>
                  <a:pt x="143" y="169"/>
                  <a:pt x="143" y="169"/>
                  <a:pt x="143" y="169"/>
                </a:cubicBezTo>
                <a:cubicBezTo>
                  <a:pt x="145" y="166"/>
                  <a:pt x="145" y="166"/>
                  <a:pt x="145" y="166"/>
                </a:cubicBezTo>
                <a:cubicBezTo>
                  <a:pt x="186" y="95"/>
                  <a:pt x="186" y="95"/>
                  <a:pt x="186" y="95"/>
                </a:cubicBezTo>
                <a:cubicBezTo>
                  <a:pt x="186" y="94"/>
                  <a:pt x="186" y="94"/>
                  <a:pt x="186" y="94"/>
                </a:cubicBezTo>
                <a:cubicBezTo>
                  <a:pt x="186" y="94"/>
                  <a:pt x="186" y="94"/>
                  <a:pt x="186" y="94"/>
                </a:cubicBezTo>
                <a:cubicBezTo>
                  <a:pt x="187" y="93"/>
                  <a:pt x="187" y="93"/>
                  <a:pt x="187" y="93"/>
                </a:cubicBezTo>
                <a:cubicBezTo>
                  <a:pt x="187" y="92"/>
                  <a:pt x="187" y="92"/>
                  <a:pt x="187" y="92"/>
                </a:cubicBezTo>
                <a:lnTo>
                  <a:pt x="187" y="91"/>
                </a:lnTo>
                <a:close/>
                <a:moveTo>
                  <a:pt x="133" y="153"/>
                </a:moveTo>
                <a:cubicBezTo>
                  <a:pt x="132" y="155"/>
                  <a:pt x="132" y="155"/>
                  <a:pt x="132" y="155"/>
                </a:cubicBezTo>
                <a:cubicBezTo>
                  <a:pt x="131" y="157"/>
                  <a:pt x="131" y="157"/>
                  <a:pt x="131" y="157"/>
                </a:cubicBezTo>
                <a:cubicBezTo>
                  <a:pt x="130" y="160"/>
                  <a:pt x="130" y="160"/>
                  <a:pt x="130" y="160"/>
                </a:cubicBezTo>
                <a:cubicBezTo>
                  <a:pt x="128" y="162"/>
                  <a:pt x="128" y="162"/>
                  <a:pt x="128" y="162"/>
                </a:cubicBezTo>
                <a:cubicBezTo>
                  <a:pt x="126" y="163"/>
                  <a:pt x="126" y="163"/>
                  <a:pt x="126" y="163"/>
                </a:cubicBezTo>
                <a:cubicBezTo>
                  <a:pt x="124" y="165"/>
                  <a:pt x="124" y="165"/>
                  <a:pt x="124" y="165"/>
                </a:cubicBezTo>
                <a:cubicBezTo>
                  <a:pt x="122" y="166"/>
                  <a:pt x="122" y="166"/>
                  <a:pt x="122" y="166"/>
                </a:cubicBezTo>
                <a:cubicBezTo>
                  <a:pt x="119" y="166"/>
                  <a:pt x="119" y="166"/>
                  <a:pt x="119" y="166"/>
                </a:cubicBezTo>
                <a:cubicBezTo>
                  <a:pt x="116" y="166"/>
                  <a:pt x="116" y="166"/>
                  <a:pt x="116" y="166"/>
                </a:cubicBezTo>
                <a:cubicBezTo>
                  <a:pt x="114" y="166"/>
                  <a:pt x="114" y="166"/>
                  <a:pt x="114" y="166"/>
                </a:cubicBezTo>
                <a:cubicBezTo>
                  <a:pt x="111" y="166"/>
                  <a:pt x="111" y="166"/>
                  <a:pt x="111" y="166"/>
                </a:cubicBezTo>
                <a:cubicBezTo>
                  <a:pt x="109" y="165"/>
                  <a:pt x="109" y="165"/>
                  <a:pt x="109" y="165"/>
                </a:cubicBezTo>
                <a:cubicBezTo>
                  <a:pt x="107" y="163"/>
                  <a:pt x="107" y="163"/>
                  <a:pt x="107" y="163"/>
                </a:cubicBezTo>
                <a:cubicBezTo>
                  <a:pt x="105" y="162"/>
                  <a:pt x="105" y="162"/>
                  <a:pt x="105" y="162"/>
                </a:cubicBezTo>
                <a:cubicBezTo>
                  <a:pt x="103" y="160"/>
                  <a:pt x="103" y="160"/>
                  <a:pt x="103" y="160"/>
                </a:cubicBezTo>
                <a:cubicBezTo>
                  <a:pt x="102" y="157"/>
                  <a:pt x="102" y="157"/>
                  <a:pt x="102" y="157"/>
                </a:cubicBezTo>
                <a:cubicBezTo>
                  <a:pt x="101" y="155"/>
                  <a:pt x="101" y="155"/>
                  <a:pt x="101" y="155"/>
                </a:cubicBezTo>
                <a:cubicBezTo>
                  <a:pt x="100" y="153"/>
                  <a:pt x="100" y="153"/>
                  <a:pt x="100" y="153"/>
                </a:cubicBezTo>
                <a:cubicBezTo>
                  <a:pt x="100" y="150"/>
                  <a:pt x="100" y="150"/>
                  <a:pt x="100" y="150"/>
                </a:cubicBezTo>
                <a:cubicBezTo>
                  <a:pt x="100" y="147"/>
                  <a:pt x="100" y="147"/>
                  <a:pt x="100" y="147"/>
                </a:cubicBezTo>
                <a:cubicBezTo>
                  <a:pt x="101" y="145"/>
                  <a:pt x="101" y="145"/>
                  <a:pt x="101" y="145"/>
                </a:cubicBezTo>
                <a:cubicBezTo>
                  <a:pt x="102" y="142"/>
                  <a:pt x="102" y="142"/>
                  <a:pt x="102" y="142"/>
                </a:cubicBezTo>
                <a:cubicBezTo>
                  <a:pt x="103" y="140"/>
                  <a:pt x="103" y="140"/>
                  <a:pt x="103" y="140"/>
                </a:cubicBezTo>
                <a:cubicBezTo>
                  <a:pt x="105" y="138"/>
                  <a:pt x="105" y="138"/>
                  <a:pt x="105" y="138"/>
                </a:cubicBezTo>
                <a:cubicBezTo>
                  <a:pt x="107" y="136"/>
                  <a:pt x="107" y="136"/>
                  <a:pt x="107" y="136"/>
                </a:cubicBezTo>
                <a:cubicBezTo>
                  <a:pt x="109" y="135"/>
                  <a:pt x="109" y="135"/>
                  <a:pt x="109" y="135"/>
                </a:cubicBezTo>
                <a:cubicBezTo>
                  <a:pt x="111" y="134"/>
                  <a:pt x="111" y="134"/>
                  <a:pt x="111" y="134"/>
                </a:cubicBezTo>
                <a:cubicBezTo>
                  <a:pt x="114" y="133"/>
                  <a:pt x="114" y="133"/>
                  <a:pt x="114" y="133"/>
                </a:cubicBezTo>
                <a:cubicBezTo>
                  <a:pt x="116" y="133"/>
                  <a:pt x="116" y="133"/>
                  <a:pt x="116" y="133"/>
                </a:cubicBezTo>
                <a:cubicBezTo>
                  <a:pt x="119" y="133"/>
                  <a:pt x="119" y="133"/>
                  <a:pt x="119" y="133"/>
                </a:cubicBezTo>
                <a:cubicBezTo>
                  <a:pt x="122" y="134"/>
                  <a:pt x="122" y="134"/>
                  <a:pt x="122" y="134"/>
                </a:cubicBezTo>
                <a:cubicBezTo>
                  <a:pt x="124" y="135"/>
                  <a:pt x="124" y="135"/>
                  <a:pt x="124" y="135"/>
                </a:cubicBezTo>
                <a:cubicBezTo>
                  <a:pt x="126" y="136"/>
                  <a:pt x="126" y="136"/>
                  <a:pt x="126" y="136"/>
                </a:cubicBezTo>
                <a:cubicBezTo>
                  <a:pt x="128" y="138"/>
                  <a:pt x="128" y="138"/>
                  <a:pt x="128" y="138"/>
                </a:cubicBezTo>
                <a:cubicBezTo>
                  <a:pt x="130" y="140"/>
                  <a:pt x="130" y="140"/>
                  <a:pt x="130" y="140"/>
                </a:cubicBezTo>
                <a:cubicBezTo>
                  <a:pt x="131" y="142"/>
                  <a:pt x="131" y="142"/>
                  <a:pt x="131" y="142"/>
                </a:cubicBezTo>
                <a:cubicBezTo>
                  <a:pt x="132" y="145"/>
                  <a:pt x="132" y="145"/>
                  <a:pt x="132" y="145"/>
                </a:cubicBezTo>
                <a:cubicBezTo>
                  <a:pt x="133" y="147"/>
                  <a:pt x="133" y="147"/>
                  <a:pt x="133" y="147"/>
                </a:cubicBezTo>
                <a:cubicBezTo>
                  <a:pt x="133" y="150"/>
                  <a:pt x="133" y="150"/>
                  <a:pt x="133" y="150"/>
                </a:cubicBezTo>
                <a:lnTo>
                  <a:pt x="133" y="153"/>
                </a:lnTo>
                <a:close/>
                <a:moveTo>
                  <a:pt x="116" y="0"/>
                </a:moveTo>
                <a:cubicBezTo>
                  <a:pt x="52" y="0"/>
                  <a:pt x="0" y="52"/>
                  <a:pt x="0" y="116"/>
                </a:cubicBezTo>
                <a:cubicBezTo>
                  <a:pt x="0" y="181"/>
                  <a:pt x="52" y="233"/>
                  <a:pt x="116" y="233"/>
                </a:cubicBezTo>
                <a:cubicBezTo>
                  <a:pt x="180" y="233"/>
                  <a:pt x="232" y="181"/>
                  <a:pt x="232" y="116"/>
                </a:cubicBezTo>
                <a:cubicBezTo>
                  <a:pt x="232" y="52"/>
                  <a:pt x="180" y="0"/>
                  <a:pt x="116" y="0"/>
                </a:cubicBezTo>
                <a:close/>
                <a:moveTo>
                  <a:pt x="116" y="208"/>
                </a:moveTo>
                <a:cubicBezTo>
                  <a:pt x="66" y="208"/>
                  <a:pt x="25" y="167"/>
                  <a:pt x="25" y="116"/>
                </a:cubicBezTo>
                <a:cubicBezTo>
                  <a:pt x="25" y="66"/>
                  <a:pt x="66" y="25"/>
                  <a:pt x="116" y="25"/>
                </a:cubicBezTo>
                <a:cubicBezTo>
                  <a:pt x="167" y="25"/>
                  <a:pt x="207" y="66"/>
                  <a:pt x="207" y="116"/>
                </a:cubicBezTo>
                <a:cubicBezTo>
                  <a:pt x="207" y="167"/>
                  <a:pt x="167" y="208"/>
                  <a:pt x="116" y="2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mj-lt"/>
            </a:endParaRPr>
          </a:p>
        </p:txBody>
      </p:sp>
      <p:sp>
        <p:nvSpPr>
          <p:cNvPr id="43" name="TextBox 42"/>
          <p:cNvSpPr txBox="1"/>
          <p:nvPr/>
        </p:nvSpPr>
        <p:spPr>
          <a:xfrm>
            <a:off x="3393122" y="2862524"/>
            <a:ext cx="2377440" cy="1585651"/>
          </a:xfrm>
          <a:prstGeom prst="rect">
            <a:avLst/>
          </a:prstGeom>
          <a:noFill/>
        </p:spPr>
        <p:txBody>
          <a:bodyPr wrap="square" lIns="91440" tIns="45720" rIns="91440" bIns="45720" rtlCol="0">
            <a:noAutofit/>
          </a:bodyPr>
          <a:lstStyle/>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chemeClr val="bg2"/>
                </a:solidFill>
                <a:effectLst/>
                <a:uLnTx/>
                <a:uFillTx/>
                <a:latin typeface="+mj-lt"/>
              </a:rPr>
              <a:t>Up to 3dB improvement </a:t>
            </a:r>
            <a:br>
              <a:rPr kumimoji="0" lang="en-US" sz="1100" b="0" i="0" u="none" strike="noStrike" kern="0" cap="none" spc="0" normalizeH="0" baseline="0" noProof="0" dirty="0">
                <a:ln>
                  <a:noFill/>
                </a:ln>
                <a:solidFill>
                  <a:schemeClr val="bg2"/>
                </a:solidFill>
                <a:effectLst/>
                <a:uLnTx/>
                <a:uFillTx/>
                <a:latin typeface="+mj-lt"/>
              </a:rPr>
            </a:br>
            <a:r>
              <a:rPr kumimoji="0" lang="en-US" sz="1100" b="0" i="0" u="none" strike="noStrike" kern="0" cap="none" spc="0" normalizeH="0" baseline="0" noProof="0" dirty="0">
                <a:ln>
                  <a:noFill/>
                </a:ln>
                <a:solidFill>
                  <a:schemeClr val="bg2"/>
                </a:solidFill>
                <a:effectLst/>
                <a:uLnTx/>
                <a:uFillTx/>
                <a:latin typeface="+mj-lt"/>
              </a:rPr>
              <a:t>in OSNR performance for </a:t>
            </a:r>
            <a:br>
              <a:rPr kumimoji="0" lang="en-US" sz="1100" b="0" i="0" u="none" strike="noStrike" kern="0" cap="none" spc="0" normalizeH="0" baseline="0" noProof="0" dirty="0">
                <a:ln>
                  <a:noFill/>
                </a:ln>
                <a:solidFill>
                  <a:schemeClr val="bg2"/>
                </a:solidFill>
                <a:effectLst/>
                <a:uLnTx/>
                <a:uFillTx/>
                <a:latin typeface="+mj-lt"/>
              </a:rPr>
            </a:br>
            <a:r>
              <a:rPr kumimoji="0" lang="en-US" sz="1100" b="0" i="0" u="none" strike="noStrike" kern="0" cap="none" spc="0" normalizeH="0" baseline="0" noProof="0" dirty="0">
                <a:ln>
                  <a:noFill/>
                </a:ln>
                <a:solidFill>
                  <a:schemeClr val="bg2"/>
                </a:solidFill>
                <a:effectLst/>
                <a:uLnTx/>
                <a:uFillTx/>
                <a:latin typeface="+mj-lt"/>
              </a:rPr>
              <a:t>16-QAM</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chemeClr val="bg2"/>
                </a:solidFill>
                <a:effectLst/>
                <a:uLnTx/>
                <a:uFillTx/>
                <a:latin typeface="+mj-lt"/>
              </a:rPr>
              <a:t>8-QAM capability to have </a:t>
            </a:r>
            <a:br>
              <a:rPr kumimoji="0" lang="en-US" sz="1100" b="0" i="0" u="none" strike="noStrike" kern="0" cap="none" spc="0" normalizeH="0" baseline="0" noProof="0" dirty="0">
                <a:ln>
                  <a:noFill/>
                </a:ln>
                <a:solidFill>
                  <a:schemeClr val="bg2"/>
                </a:solidFill>
                <a:effectLst/>
                <a:uLnTx/>
                <a:uFillTx/>
                <a:latin typeface="+mj-lt"/>
              </a:rPr>
            </a:br>
            <a:r>
              <a:rPr kumimoji="0" lang="en-US" sz="1100" b="0" i="0" u="none" strike="noStrike" kern="0" cap="none" spc="0" normalizeH="0" baseline="0" noProof="0" dirty="0">
                <a:ln>
                  <a:noFill/>
                </a:ln>
                <a:solidFill>
                  <a:schemeClr val="bg2"/>
                </a:solidFill>
                <a:effectLst/>
                <a:uLnTx/>
                <a:uFillTx/>
                <a:latin typeface="+mj-lt"/>
              </a:rPr>
              <a:t>50% bandwidth improvement respect 100G QPSK over </a:t>
            </a:r>
            <a:br>
              <a:rPr kumimoji="0" lang="en-US" sz="1100" b="0" i="0" u="none" strike="noStrike" kern="0" cap="none" spc="0" normalizeH="0" baseline="0" noProof="0" dirty="0">
                <a:ln>
                  <a:noFill/>
                </a:ln>
                <a:solidFill>
                  <a:schemeClr val="bg2"/>
                </a:solidFill>
                <a:effectLst/>
                <a:uLnTx/>
                <a:uFillTx/>
                <a:latin typeface="+mj-lt"/>
              </a:rPr>
            </a:br>
            <a:r>
              <a:rPr kumimoji="0" lang="en-US" sz="1100" b="0" i="0" u="none" strike="noStrike" kern="0" cap="none" spc="0" normalizeH="0" baseline="0" noProof="0" dirty="0">
                <a:ln>
                  <a:noFill/>
                </a:ln>
                <a:solidFill>
                  <a:schemeClr val="bg2"/>
                </a:solidFill>
                <a:effectLst/>
                <a:uLnTx/>
                <a:uFillTx/>
                <a:latin typeface="+mj-lt"/>
              </a:rPr>
              <a:t>more than 2000km Links</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chemeClr val="bg2"/>
                </a:solidFill>
                <a:effectLst/>
                <a:uLnTx/>
                <a:uFillTx/>
                <a:latin typeface="+mj-lt"/>
              </a:rPr>
              <a:t>Detect and Manage Business Risk Faster and Better</a:t>
            </a:r>
          </a:p>
        </p:txBody>
      </p:sp>
      <p:sp>
        <p:nvSpPr>
          <p:cNvPr id="44" name="Freeform 5"/>
          <p:cNvSpPr>
            <a:spLocks/>
          </p:cNvSpPr>
          <p:nvPr/>
        </p:nvSpPr>
        <p:spPr bwMode="auto">
          <a:xfrm>
            <a:off x="6911819" y="1308592"/>
            <a:ext cx="975360" cy="824650"/>
          </a:xfrm>
          <a:custGeom>
            <a:avLst/>
            <a:gdLst>
              <a:gd name="T0" fmla="*/ 3809 w 5392"/>
              <a:gd name="T1" fmla="*/ 3078 h 3240"/>
              <a:gd name="T2" fmla="*/ 3666 w 5392"/>
              <a:gd name="T3" fmla="*/ 1696 h 3240"/>
              <a:gd name="T4" fmla="*/ 3583 w 5392"/>
              <a:gd name="T5" fmla="*/ 2806 h 3240"/>
              <a:gd name="T6" fmla="*/ 3500 w 5392"/>
              <a:gd name="T7" fmla="*/ 2787 h 3240"/>
              <a:gd name="T8" fmla="*/ 3366 w 5392"/>
              <a:gd name="T9" fmla="*/ 2019 h 3240"/>
              <a:gd name="T10" fmla="*/ 3236 w 5392"/>
              <a:gd name="T11" fmla="*/ 2431 h 3240"/>
              <a:gd name="T12" fmla="*/ 3148 w 5392"/>
              <a:gd name="T13" fmla="*/ 2289 h 3240"/>
              <a:gd name="T14" fmla="*/ 3009 w 5392"/>
              <a:gd name="T15" fmla="*/ 1308 h 3240"/>
              <a:gd name="T16" fmla="*/ 2925 w 5392"/>
              <a:gd name="T17" fmla="*/ 1701 h 3240"/>
              <a:gd name="T18" fmla="*/ 2789 w 5392"/>
              <a:gd name="T19" fmla="*/ 1744 h 3240"/>
              <a:gd name="T20" fmla="*/ 2612 w 5392"/>
              <a:gd name="T21" fmla="*/ 2123 h 3240"/>
              <a:gd name="T22" fmla="*/ 2508 w 5392"/>
              <a:gd name="T23" fmla="*/ 2065 h 3240"/>
              <a:gd name="T24" fmla="*/ 2330 w 5392"/>
              <a:gd name="T25" fmla="*/ 1780 h 3240"/>
              <a:gd name="T26" fmla="*/ 2222 w 5392"/>
              <a:gd name="T27" fmla="*/ 1886 h 3240"/>
              <a:gd name="T28" fmla="*/ 2103 w 5392"/>
              <a:gd name="T29" fmla="*/ 1563 h 3240"/>
              <a:gd name="T30" fmla="*/ 1986 w 5392"/>
              <a:gd name="T31" fmla="*/ 1808 h 3240"/>
              <a:gd name="T32" fmla="*/ 1790 w 5392"/>
              <a:gd name="T33" fmla="*/ 1786 h 3240"/>
              <a:gd name="T34" fmla="*/ 23 w 5392"/>
              <a:gd name="T35" fmla="*/ 1688 h 3240"/>
              <a:gd name="T36" fmla="*/ 1598 w 5392"/>
              <a:gd name="T37" fmla="*/ 1594 h 3240"/>
              <a:gd name="T38" fmla="*/ 1877 w 5392"/>
              <a:gd name="T39" fmla="*/ 1719 h 3240"/>
              <a:gd name="T40" fmla="*/ 2022 w 5392"/>
              <a:gd name="T41" fmla="*/ 1427 h 3240"/>
              <a:gd name="T42" fmla="*/ 2137 w 5392"/>
              <a:gd name="T43" fmla="*/ 1419 h 3240"/>
              <a:gd name="T44" fmla="*/ 2300 w 5392"/>
              <a:gd name="T45" fmla="*/ 1503 h 3240"/>
              <a:gd name="T46" fmla="*/ 2432 w 5392"/>
              <a:gd name="T47" fmla="*/ 1348 h 3240"/>
              <a:gd name="T48" fmla="*/ 2562 w 5392"/>
              <a:gd name="T49" fmla="*/ 1797 h 3240"/>
              <a:gd name="T50" fmla="*/ 2744 w 5392"/>
              <a:gd name="T51" fmla="*/ 1646 h 3240"/>
              <a:gd name="T52" fmla="*/ 2853 w 5392"/>
              <a:gd name="T53" fmla="*/ 1626 h 3240"/>
              <a:gd name="T54" fmla="*/ 2974 w 5392"/>
              <a:gd name="T55" fmla="*/ 925 h 3240"/>
              <a:gd name="T56" fmla="*/ 3062 w 5392"/>
              <a:gd name="T57" fmla="*/ 826 h 3240"/>
              <a:gd name="T58" fmla="*/ 3152 w 5392"/>
              <a:gd name="T59" fmla="*/ 1085 h 3240"/>
              <a:gd name="T60" fmla="*/ 3308 w 5392"/>
              <a:gd name="T61" fmla="*/ 1759 h 3240"/>
              <a:gd name="T62" fmla="*/ 3417 w 5392"/>
              <a:gd name="T63" fmla="*/ 1653 h 3240"/>
              <a:gd name="T64" fmla="*/ 3520 w 5392"/>
              <a:gd name="T65" fmla="*/ 2225 h 3240"/>
              <a:gd name="T66" fmla="*/ 3649 w 5392"/>
              <a:gd name="T67" fmla="*/ 273 h 3240"/>
              <a:gd name="T68" fmla="*/ 3739 w 5392"/>
              <a:gd name="T69" fmla="*/ 197 h 3240"/>
              <a:gd name="T70" fmla="*/ 3822 w 5392"/>
              <a:gd name="T71" fmla="*/ 930 h 3240"/>
              <a:gd name="T72" fmla="*/ 3968 w 5392"/>
              <a:gd name="T73" fmla="*/ 203 h 3240"/>
              <a:gd name="T74" fmla="*/ 4051 w 5392"/>
              <a:gd name="T75" fmla="*/ 0 h 3240"/>
              <a:gd name="T76" fmla="*/ 4123 w 5392"/>
              <a:gd name="T77" fmla="*/ 402 h 3240"/>
              <a:gd name="T78" fmla="*/ 4286 w 5392"/>
              <a:gd name="T79" fmla="*/ 1257 h 3240"/>
              <a:gd name="T80" fmla="*/ 4364 w 5392"/>
              <a:gd name="T81" fmla="*/ 1075 h 3240"/>
              <a:gd name="T82" fmla="*/ 4487 w 5392"/>
              <a:gd name="T83" fmla="*/ 1403 h 3240"/>
              <a:gd name="T84" fmla="*/ 4644 w 5392"/>
              <a:gd name="T85" fmla="*/ 1501 h 3240"/>
              <a:gd name="T86" fmla="*/ 4794 w 5392"/>
              <a:gd name="T87" fmla="*/ 1586 h 3240"/>
              <a:gd name="T88" fmla="*/ 4959 w 5392"/>
              <a:gd name="T89" fmla="*/ 1487 h 3240"/>
              <a:gd name="T90" fmla="*/ 5068 w 5392"/>
              <a:gd name="T91" fmla="*/ 1481 h 3240"/>
              <a:gd name="T92" fmla="*/ 5254 w 5392"/>
              <a:gd name="T93" fmla="*/ 1612 h 3240"/>
              <a:gd name="T94" fmla="*/ 5373 w 5392"/>
              <a:gd name="T95" fmla="*/ 1561 h 3240"/>
              <a:gd name="T96" fmla="*/ 5349 w 5392"/>
              <a:gd name="T97" fmla="*/ 1657 h 3240"/>
              <a:gd name="T98" fmla="*/ 5177 w 5392"/>
              <a:gd name="T99" fmla="*/ 1826 h 3240"/>
              <a:gd name="T100" fmla="*/ 5019 w 5392"/>
              <a:gd name="T101" fmla="*/ 1605 h 3240"/>
              <a:gd name="T102" fmla="*/ 4870 w 5392"/>
              <a:gd name="T103" fmla="*/ 1921 h 3240"/>
              <a:gd name="T104" fmla="*/ 4762 w 5392"/>
              <a:gd name="T105" fmla="*/ 1803 h 3240"/>
              <a:gd name="T106" fmla="*/ 4624 w 5392"/>
              <a:gd name="T107" fmla="*/ 1804 h 3240"/>
              <a:gd name="T108" fmla="*/ 4522 w 5392"/>
              <a:gd name="T109" fmla="*/ 1936 h 3240"/>
              <a:gd name="T110" fmla="*/ 4439 w 5392"/>
              <a:gd name="T111" fmla="*/ 1739 h 3240"/>
              <a:gd name="T112" fmla="*/ 4273 w 5392"/>
              <a:gd name="T113" fmla="*/ 2591 h 3240"/>
              <a:gd name="T114" fmla="*/ 4182 w 5392"/>
              <a:gd name="T115" fmla="*/ 2698 h 3240"/>
              <a:gd name="T116" fmla="*/ 4105 w 5392"/>
              <a:gd name="T117" fmla="*/ 2226 h 3240"/>
              <a:gd name="T118" fmla="*/ 3945 w 5392"/>
              <a:gd name="T119" fmla="*/ 3038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92" h="3240">
                <a:moveTo>
                  <a:pt x="3875" y="3240"/>
                </a:moveTo>
                <a:lnTo>
                  <a:pt x="3875" y="3240"/>
                </a:lnTo>
                <a:lnTo>
                  <a:pt x="3863" y="3240"/>
                </a:lnTo>
                <a:lnTo>
                  <a:pt x="3857" y="3239"/>
                </a:lnTo>
                <a:lnTo>
                  <a:pt x="3852" y="3238"/>
                </a:lnTo>
                <a:lnTo>
                  <a:pt x="3847" y="3235"/>
                </a:lnTo>
                <a:lnTo>
                  <a:pt x="3843" y="3232"/>
                </a:lnTo>
                <a:lnTo>
                  <a:pt x="3839" y="3227"/>
                </a:lnTo>
                <a:lnTo>
                  <a:pt x="3835" y="3220"/>
                </a:lnTo>
                <a:lnTo>
                  <a:pt x="3831" y="3211"/>
                </a:lnTo>
                <a:lnTo>
                  <a:pt x="3828" y="3201"/>
                </a:lnTo>
                <a:lnTo>
                  <a:pt x="3823" y="3187"/>
                </a:lnTo>
                <a:lnTo>
                  <a:pt x="3820" y="3172"/>
                </a:lnTo>
                <a:lnTo>
                  <a:pt x="3814" y="3131"/>
                </a:lnTo>
                <a:lnTo>
                  <a:pt x="3809" y="3078"/>
                </a:lnTo>
                <a:lnTo>
                  <a:pt x="3804" y="3010"/>
                </a:lnTo>
                <a:lnTo>
                  <a:pt x="3799" y="2924"/>
                </a:lnTo>
                <a:lnTo>
                  <a:pt x="3792" y="2818"/>
                </a:lnTo>
                <a:lnTo>
                  <a:pt x="3787" y="2692"/>
                </a:lnTo>
                <a:lnTo>
                  <a:pt x="3775" y="2371"/>
                </a:lnTo>
                <a:lnTo>
                  <a:pt x="3758" y="1942"/>
                </a:lnTo>
                <a:lnTo>
                  <a:pt x="3758" y="1942"/>
                </a:lnTo>
                <a:lnTo>
                  <a:pt x="3748" y="1645"/>
                </a:lnTo>
                <a:lnTo>
                  <a:pt x="3736" y="1337"/>
                </a:lnTo>
                <a:lnTo>
                  <a:pt x="3723" y="1038"/>
                </a:lnTo>
                <a:lnTo>
                  <a:pt x="3711" y="763"/>
                </a:lnTo>
                <a:lnTo>
                  <a:pt x="3711" y="763"/>
                </a:lnTo>
                <a:lnTo>
                  <a:pt x="3698" y="985"/>
                </a:lnTo>
                <a:lnTo>
                  <a:pt x="3687" y="1224"/>
                </a:lnTo>
                <a:lnTo>
                  <a:pt x="3666" y="1696"/>
                </a:lnTo>
                <a:lnTo>
                  <a:pt x="3666" y="1696"/>
                </a:lnTo>
                <a:lnTo>
                  <a:pt x="3651" y="2065"/>
                </a:lnTo>
                <a:lnTo>
                  <a:pt x="3638" y="2342"/>
                </a:lnTo>
                <a:lnTo>
                  <a:pt x="3632" y="2450"/>
                </a:lnTo>
                <a:lnTo>
                  <a:pt x="3627" y="2541"/>
                </a:lnTo>
                <a:lnTo>
                  <a:pt x="3622" y="2615"/>
                </a:lnTo>
                <a:lnTo>
                  <a:pt x="3616" y="2674"/>
                </a:lnTo>
                <a:lnTo>
                  <a:pt x="3611" y="2720"/>
                </a:lnTo>
                <a:lnTo>
                  <a:pt x="3604" y="2754"/>
                </a:lnTo>
                <a:lnTo>
                  <a:pt x="3601" y="2769"/>
                </a:lnTo>
                <a:lnTo>
                  <a:pt x="3598" y="2780"/>
                </a:lnTo>
                <a:lnTo>
                  <a:pt x="3594" y="2788"/>
                </a:lnTo>
                <a:lnTo>
                  <a:pt x="3591" y="2797"/>
                </a:lnTo>
                <a:lnTo>
                  <a:pt x="3587" y="2802"/>
                </a:lnTo>
                <a:lnTo>
                  <a:pt x="3583" y="2806"/>
                </a:lnTo>
                <a:lnTo>
                  <a:pt x="3577" y="2809"/>
                </a:lnTo>
                <a:lnTo>
                  <a:pt x="3572" y="2811"/>
                </a:lnTo>
                <a:lnTo>
                  <a:pt x="3567" y="2813"/>
                </a:lnTo>
                <a:lnTo>
                  <a:pt x="3562" y="2813"/>
                </a:lnTo>
                <a:lnTo>
                  <a:pt x="3550" y="2814"/>
                </a:lnTo>
                <a:lnTo>
                  <a:pt x="3550" y="2814"/>
                </a:lnTo>
                <a:lnTo>
                  <a:pt x="3538" y="2813"/>
                </a:lnTo>
                <a:lnTo>
                  <a:pt x="3529" y="2812"/>
                </a:lnTo>
                <a:lnTo>
                  <a:pt x="3524" y="2811"/>
                </a:lnTo>
                <a:lnTo>
                  <a:pt x="3520" y="2809"/>
                </a:lnTo>
                <a:lnTo>
                  <a:pt x="3515" y="2806"/>
                </a:lnTo>
                <a:lnTo>
                  <a:pt x="3511" y="2803"/>
                </a:lnTo>
                <a:lnTo>
                  <a:pt x="3507" y="2799"/>
                </a:lnTo>
                <a:lnTo>
                  <a:pt x="3504" y="2794"/>
                </a:lnTo>
                <a:lnTo>
                  <a:pt x="3500" y="2787"/>
                </a:lnTo>
                <a:lnTo>
                  <a:pt x="3497" y="2780"/>
                </a:lnTo>
                <a:lnTo>
                  <a:pt x="3490" y="2761"/>
                </a:lnTo>
                <a:lnTo>
                  <a:pt x="3483" y="2737"/>
                </a:lnTo>
                <a:lnTo>
                  <a:pt x="3477" y="2706"/>
                </a:lnTo>
                <a:lnTo>
                  <a:pt x="3470" y="2666"/>
                </a:lnTo>
                <a:lnTo>
                  <a:pt x="3463" y="2620"/>
                </a:lnTo>
                <a:lnTo>
                  <a:pt x="3456" y="2564"/>
                </a:lnTo>
                <a:lnTo>
                  <a:pt x="3438" y="2424"/>
                </a:lnTo>
                <a:lnTo>
                  <a:pt x="3417" y="2236"/>
                </a:lnTo>
                <a:lnTo>
                  <a:pt x="3417" y="2236"/>
                </a:lnTo>
                <a:lnTo>
                  <a:pt x="3400" y="2082"/>
                </a:lnTo>
                <a:lnTo>
                  <a:pt x="3381" y="1928"/>
                </a:lnTo>
                <a:lnTo>
                  <a:pt x="3381" y="1928"/>
                </a:lnTo>
                <a:lnTo>
                  <a:pt x="3366" y="2019"/>
                </a:lnTo>
                <a:lnTo>
                  <a:pt x="3366" y="2019"/>
                </a:lnTo>
                <a:lnTo>
                  <a:pt x="3346" y="2136"/>
                </a:lnTo>
                <a:lnTo>
                  <a:pt x="3328" y="2229"/>
                </a:lnTo>
                <a:lnTo>
                  <a:pt x="3320" y="2269"/>
                </a:lnTo>
                <a:lnTo>
                  <a:pt x="3313" y="2302"/>
                </a:lnTo>
                <a:lnTo>
                  <a:pt x="3306" y="2331"/>
                </a:lnTo>
                <a:lnTo>
                  <a:pt x="3298" y="2355"/>
                </a:lnTo>
                <a:lnTo>
                  <a:pt x="3291" y="2376"/>
                </a:lnTo>
                <a:lnTo>
                  <a:pt x="3283" y="2393"/>
                </a:lnTo>
                <a:lnTo>
                  <a:pt x="3275" y="2406"/>
                </a:lnTo>
                <a:lnTo>
                  <a:pt x="3266" y="2416"/>
                </a:lnTo>
                <a:lnTo>
                  <a:pt x="3262" y="2420"/>
                </a:lnTo>
                <a:lnTo>
                  <a:pt x="3257" y="2424"/>
                </a:lnTo>
                <a:lnTo>
                  <a:pt x="3252" y="2427"/>
                </a:lnTo>
                <a:lnTo>
                  <a:pt x="3247" y="2429"/>
                </a:lnTo>
                <a:lnTo>
                  <a:pt x="3236" y="2431"/>
                </a:lnTo>
                <a:lnTo>
                  <a:pt x="3224" y="2432"/>
                </a:lnTo>
                <a:lnTo>
                  <a:pt x="3224" y="2432"/>
                </a:lnTo>
                <a:lnTo>
                  <a:pt x="3213" y="2432"/>
                </a:lnTo>
                <a:lnTo>
                  <a:pt x="3201" y="2431"/>
                </a:lnTo>
                <a:lnTo>
                  <a:pt x="3197" y="2429"/>
                </a:lnTo>
                <a:lnTo>
                  <a:pt x="3192" y="2427"/>
                </a:lnTo>
                <a:lnTo>
                  <a:pt x="3188" y="2424"/>
                </a:lnTo>
                <a:lnTo>
                  <a:pt x="3184" y="2419"/>
                </a:lnTo>
                <a:lnTo>
                  <a:pt x="3180" y="2414"/>
                </a:lnTo>
                <a:lnTo>
                  <a:pt x="3175" y="2407"/>
                </a:lnTo>
                <a:lnTo>
                  <a:pt x="3171" y="2400"/>
                </a:lnTo>
                <a:lnTo>
                  <a:pt x="3168" y="2389"/>
                </a:lnTo>
                <a:lnTo>
                  <a:pt x="3161" y="2365"/>
                </a:lnTo>
                <a:lnTo>
                  <a:pt x="3155" y="2332"/>
                </a:lnTo>
                <a:lnTo>
                  <a:pt x="3148" y="2289"/>
                </a:lnTo>
                <a:lnTo>
                  <a:pt x="3141" y="2236"/>
                </a:lnTo>
                <a:lnTo>
                  <a:pt x="3134" y="2172"/>
                </a:lnTo>
                <a:lnTo>
                  <a:pt x="3127" y="2095"/>
                </a:lnTo>
                <a:lnTo>
                  <a:pt x="3110" y="1896"/>
                </a:lnTo>
                <a:lnTo>
                  <a:pt x="3091" y="1633"/>
                </a:lnTo>
                <a:lnTo>
                  <a:pt x="3091" y="1633"/>
                </a:lnTo>
                <a:lnTo>
                  <a:pt x="3069" y="1337"/>
                </a:lnTo>
                <a:lnTo>
                  <a:pt x="3058" y="1194"/>
                </a:lnTo>
                <a:lnTo>
                  <a:pt x="3045" y="1067"/>
                </a:lnTo>
                <a:lnTo>
                  <a:pt x="3045" y="1067"/>
                </a:lnTo>
                <a:lnTo>
                  <a:pt x="3038" y="1107"/>
                </a:lnTo>
                <a:lnTo>
                  <a:pt x="3031" y="1151"/>
                </a:lnTo>
                <a:lnTo>
                  <a:pt x="3024" y="1200"/>
                </a:lnTo>
                <a:lnTo>
                  <a:pt x="3016" y="1253"/>
                </a:lnTo>
                <a:lnTo>
                  <a:pt x="3009" y="1308"/>
                </a:lnTo>
                <a:lnTo>
                  <a:pt x="3002" y="1369"/>
                </a:lnTo>
                <a:lnTo>
                  <a:pt x="2996" y="1433"/>
                </a:lnTo>
                <a:lnTo>
                  <a:pt x="2989" y="1501"/>
                </a:lnTo>
                <a:lnTo>
                  <a:pt x="2989" y="1501"/>
                </a:lnTo>
                <a:lnTo>
                  <a:pt x="2984" y="1540"/>
                </a:lnTo>
                <a:lnTo>
                  <a:pt x="2979" y="1576"/>
                </a:lnTo>
                <a:lnTo>
                  <a:pt x="2971" y="1608"/>
                </a:lnTo>
                <a:lnTo>
                  <a:pt x="2967" y="1623"/>
                </a:lnTo>
                <a:lnTo>
                  <a:pt x="2963" y="1636"/>
                </a:lnTo>
                <a:lnTo>
                  <a:pt x="2957" y="1649"/>
                </a:lnTo>
                <a:lnTo>
                  <a:pt x="2952" y="1661"/>
                </a:lnTo>
                <a:lnTo>
                  <a:pt x="2946" y="1672"/>
                </a:lnTo>
                <a:lnTo>
                  <a:pt x="2940" y="1683"/>
                </a:lnTo>
                <a:lnTo>
                  <a:pt x="2933" y="1692"/>
                </a:lnTo>
                <a:lnTo>
                  <a:pt x="2925" y="1701"/>
                </a:lnTo>
                <a:lnTo>
                  <a:pt x="2918" y="1708"/>
                </a:lnTo>
                <a:lnTo>
                  <a:pt x="2910" y="1716"/>
                </a:lnTo>
                <a:lnTo>
                  <a:pt x="2910" y="1716"/>
                </a:lnTo>
                <a:lnTo>
                  <a:pt x="2903" y="1722"/>
                </a:lnTo>
                <a:lnTo>
                  <a:pt x="2894" y="1727"/>
                </a:lnTo>
                <a:lnTo>
                  <a:pt x="2886" y="1731"/>
                </a:lnTo>
                <a:lnTo>
                  <a:pt x="2878" y="1735"/>
                </a:lnTo>
                <a:lnTo>
                  <a:pt x="2862" y="1740"/>
                </a:lnTo>
                <a:lnTo>
                  <a:pt x="2846" y="1744"/>
                </a:lnTo>
                <a:lnTo>
                  <a:pt x="2831" y="1746"/>
                </a:lnTo>
                <a:lnTo>
                  <a:pt x="2817" y="1746"/>
                </a:lnTo>
                <a:lnTo>
                  <a:pt x="2792" y="1744"/>
                </a:lnTo>
                <a:lnTo>
                  <a:pt x="2792" y="1744"/>
                </a:lnTo>
                <a:lnTo>
                  <a:pt x="2789" y="1744"/>
                </a:lnTo>
                <a:lnTo>
                  <a:pt x="2789" y="1744"/>
                </a:lnTo>
                <a:lnTo>
                  <a:pt x="2780" y="1759"/>
                </a:lnTo>
                <a:lnTo>
                  <a:pt x="2768" y="1781"/>
                </a:lnTo>
                <a:lnTo>
                  <a:pt x="2757" y="1806"/>
                </a:lnTo>
                <a:lnTo>
                  <a:pt x="2745" y="1834"/>
                </a:lnTo>
                <a:lnTo>
                  <a:pt x="2720" y="1892"/>
                </a:lnTo>
                <a:lnTo>
                  <a:pt x="2699" y="1945"/>
                </a:lnTo>
                <a:lnTo>
                  <a:pt x="2699" y="1945"/>
                </a:lnTo>
                <a:lnTo>
                  <a:pt x="2678" y="1996"/>
                </a:lnTo>
                <a:lnTo>
                  <a:pt x="2662" y="2037"/>
                </a:lnTo>
                <a:lnTo>
                  <a:pt x="2646" y="2071"/>
                </a:lnTo>
                <a:lnTo>
                  <a:pt x="2639" y="2085"/>
                </a:lnTo>
                <a:lnTo>
                  <a:pt x="2633" y="2097"/>
                </a:lnTo>
                <a:lnTo>
                  <a:pt x="2626" y="2106"/>
                </a:lnTo>
                <a:lnTo>
                  <a:pt x="2620" y="2116"/>
                </a:lnTo>
                <a:lnTo>
                  <a:pt x="2612" y="2123"/>
                </a:lnTo>
                <a:lnTo>
                  <a:pt x="2605" y="2128"/>
                </a:lnTo>
                <a:lnTo>
                  <a:pt x="2598" y="2132"/>
                </a:lnTo>
                <a:lnTo>
                  <a:pt x="2591" y="2135"/>
                </a:lnTo>
                <a:lnTo>
                  <a:pt x="2582" y="2137"/>
                </a:lnTo>
                <a:lnTo>
                  <a:pt x="2573" y="2137"/>
                </a:lnTo>
                <a:lnTo>
                  <a:pt x="2573" y="2137"/>
                </a:lnTo>
                <a:lnTo>
                  <a:pt x="2563" y="2137"/>
                </a:lnTo>
                <a:lnTo>
                  <a:pt x="2553" y="2135"/>
                </a:lnTo>
                <a:lnTo>
                  <a:pt x="2545" y="2132"/>
                </a:lnTo>
                <a:lnTo>
                  <a:pt x="2538" y="2127"/>
                </a:lnTo>
                <a:lnTo>
                  <a:pt x="2532" y="2120"/>
                </a:lnTo>
                <a:lnTo>
                  <a:pt x="2524" y="2110"/>
                </a:lnTo>
                <a:lnTo>
                  <a:pt x="2519" y="2098"/>
                </a:lnTo>
                <a:lnTo>
                  <a:pt x="2513" y="2084"/>
                </a:lnTo>
                <a:lnTo>
                  <a:pt x="2508" y="2065"/>
                </a:lnTo>
                <a:lnTo>
                  <a:pt x="2502" y="2042"/>
                </a:lnTo>
                <a:lnTo>
                  <a:pt x="2490" y="1986"/>
                </a:lnTo>
                <a:lnTo>
                  <a:pt x="2477" y="1911"/>
                </a:lnTo>
                <a:lnTo>
                  <a:pt x="2460" y="1815"/>
                </a:lnTo>
                <a:lnTo>
                  <a:pt x="2460" y="1815"/>
                </a:lnTo>
                <a:lnTo>
                  <a:pt x="2434" y="1665"/>
                </a:lnTo>
                <a:lnTo>
                  <a:pt x="2419" y="1586"/>
                </a:lnTo>
                <a:lnTo>
                  <a:pt x="2404" y="1516"/>
                </a:lnTo>
                <a:lnTo>
                  <a:pt x="2404" y="1516"/>
                </a:lnTo>
                <a:lnTo>
                  <a:pt x="2392" y="1555"/>
                </a:lnTo>
                <a:lnTo>
                  <a:pt x="2381" y="1597"/>
                </a:lnTo>
                <a:lnTo>
                  <a:pt x="2359" y="1673"/>
                </a:lnTo>
                <a:lnTo>
                  <a:pt x="2359" y="1673"/>
                </a:lnTo>
                <a:lnTo>
                  <a:pt x="2344" y="1732"/>
                </a:lnTo>
                <a:lnTo>
                  <a:pt x="2330" y="1780"/>
                </a:lnTo>
                <a:lnTo>
                  <a:pt x="2318" y="1818"/>
                </a:lnTo>
                <a:lnTo>
                  <a:pt x="2313" y="1833"/>
                </a:lnTo>
                <a:lnTo>
                  <a:pt x="2306" y="1847"/>
                </a:lnTo>
                <a:lnTo>
                  <a:pt x="2300" y="1858"/>
                </a:lnTo>
                <a:lnTo>
                  <a:pt x="2295" y="1868"/>
                </a:lnTo>
                <a:lnTo>
                  <a:pt x="2288" y="1876"/>
                </a:lnTo>
                <a:lnTo>
                  <a:pt x="2282" y="1881"/>
                </a:lnTo>
                <a:lnTo>
                  <a:pt x="2274" y="1886"/>
                </a:lnTo>
                <a:lnTo>
                  <a:pt x="2266" y="1889"/>
                </a:lnTo>
                <a:lnTo>
                  <a:pt x="2257" y="1891"/>
                </a:lnTo>
                <a:lnTo>
                  <a:pt x="2248" y="1891"/>
                </a:lnTo>
                <a:lnTo>
                  <a:pt x="2248" y="1891"/>
                </a:lnTo>
                <a:lnTo>
                  <a:pt x="2238" y="1891"/>
                </a:lnTo>
                <a:lnTo>
                  <a:pt x="2230" y="1889"/>
                </a:lnTo>
                <a:lnTo>
                  <a:pt x="2222" y="1886"/>
                </a:lnTo>
                <a:lnTo>
                  <a:pt x="2214" y="1882"/>
                </a:lnTo>
                <a:lnTo>
                  <a:pt x="2208" y="1877"/>
                </a:lnTo>
                <a:lnTo>
                  <a:pt x="2202" y="1870"/>
                </a:lnTo>
                <a:lnTo>
                  <a:pt x="2197" y="1861"/>
                </a:lnTo>
                <a:lnTo>
                  <a:pt x="2191" y="1852"/>
                </a:lnTo>
                <a:lnTo>
                  <a:pt x="2186" y="1841"/>
                </a:lnTo>
                <a:lnTo>
                  <a:pt x="2181" y="1828"/>
                </a:lnTo>
                <a:lnTo>
                  <a:pt x="2171" y="1798"/>
                </a:lnTo>
                <a:lnTo>
                  <a:pt x="2161" y="1762"/>
                </a:lnTo>
                <a:lnTo>
                  <a:pt x="2148" y="1719"/>
                </a:lnTo>
                <a:lnTo>
                  <a:pt x="2148" y="1719"/>
                </a:lnTo>
                <a:lnTo>
                  <a:pt x="2136" y="1671"/>
                </a:lnTo>
                <a:lnTo>
                  <a:pt x="2120" y="1616"/>
                </a:lnTo>
                <a:lnTo>
                  <a:pt x="2111" y="1588"/>
                </a:lnTo>
                <a:lnTo>
                  <a:pt x="2103" y="1563"/>
                </a:lnTo>
                <a:lnTo>
                  <a:pt x="2094" y="1539"/>
                </a:lnTo>
                <a:lnTo>
                  <a:pt x="2085" y="1519"/>
                </a:lnTo>
                <a:lnTo>
                  <a:pt x="2085" y="1519"/>
                </a:lnTo>
                <a:lnTo>
                  <a:pt x="2079" y="1534"/>
                </a:lnTo>
                <a:lnTo>
                  <a:pt x="2072" y="1550"/>
                </a:lnTo>
                <a:lnTo>
                  <a:pt x="2059" y="1587"/>
                </a:lnTo>
                <a:lnTo>
                  <a:pt x="2049" y="1626"/>
                </a:lnTo>
                <a:lnTo>
                  <a:pt x="2039" y="1659"/>
                </a:lnTo>
                <a:lnTo>
                  <a:pt x="2039" y="1659"/>
                </a:lnTo>
                <a:lnTo>
                  <a:pt x="2027" y="1700"/>
                </a:lnTo>
                <a:lnTo>
                  <a:pt x="2016" y="1736"/>
                </a:lnTo>
                <a:lnTo>
                  <a:pt x="2005" y="1769"/>
                </a:lnTo>
                <a:lnTo>
                  <a:pt x="1998" y="1783"/>
                </a:lnTo>
                <a:lnTo>
                  <a:pt x="1992" y="1796"/>
                </a:lnTo>
                <a:lnTo>
                  <a:pt x="1986" y="1808"/>
                </a:lnTo>
                <a:lnTo>
                  <a:pt x="1979" y="1818"/>
                </a:lnTo>
                <a:lnTo>
                  <a:pt x="1972" y="1827"/>
                </a:lnTo>
                <a:lnTo>
                  <a:pt x="1963" y="1834"/>
                </a:lnTo>
                <a:lnTo>
                  <a:pt x="1954" y="1841"/>
                </a:lnTo>
                <a:lnTo>
                  <a:pt x="1944" y="1845"/>
                </a:lnTo>
                <a:lnTo>
                  <a:pt x="1933" y="1847"/>
                </a:lnTo>
                <a:lnTo>
                  <a:pt x="1922" y="1848"/>
                </a:lnTo>
                <a:lnTo>
                  <a:pt x="1922" y="1848"/>
                </a:lnTo>
                <a:lnTo>
                  <a:pt x="1908" y="1847"/>
                </a:lnTo>
                <a:lnTo>
                  <a:pt x="1893" y="1844"/>
                </a:lnTo>
                <a:lnTo>
                  <a:pt x="1879" y="1838"/>
                </a:lnTo>
                <a:lnTo>
                  <a:pt x="1862" y="1830"/>
                </a:lnTo>
                <a:lnTo>
                  <a:pt x="1846" y="1821"/>
                </a:lnTo>
                <a:lnTo>
                  <a:pt x="1828" y="1811"/>
                </a:lnTo>
                <a:lnTo>
                  <a:pt x="1790" y="1786"/>
                </a:lnTo>
                <a:lnTo>
                  <a:pt x="1790" y="1786"/>
                </a:lnTo>
                <a:lnTo>
                  <a:pt x="1743" y="1756"/>
                </a:lnTo>
                <a:lnTo>
                  <a:pt x="1718" y="1741"/>
                </a:lnTo>
                <a:lnTo>
                  <a:pt x="1693" y="1727"/>
                </a:lnTo>
                <a:lnTo>
                  <a:pt x="1668" y="1715"/>
                </a:lnTo>
                <a:lnTo>
                  <a:pt x="1643" y="1705"/>
                </a:lnTo>
                <a:lnTo>
                  <a:pt x="1632" y="1702"/>
                </a:lnTo>
                <a:lnTo>
                  <a:pt x="1619" y="1699"/>
                </a:lnTo>
                <a:lnTo>
                  <a:pt x="1609" y="1697"/>
                </a:lnTo>
                <a:lnTo>
                  <a:pt x="1598" y="1697"/>
                </a:lnTo>
                <a:lnTo>
                  <a:pt x="52" y="1697"/>
                </a:lnTo>
                <a:lnTo>
                  <a:pt x="52" y="1697"/>
                </a:lnTo>
                <a:lnTo>
                  <a:pt x="41" y="1696"/>
                </a:lnTo>
                <a:lnTo>
                  <a:pt x="32" y="1693"/>
                </a:lnTo>
                <a:lnTo>
                  <a:pt x="23" y="1688"/>
                </a:lnTo>
                <a:lnTo>
                  <a:pt x="16" y="1681"/>
                </a:lnTo>
                <a:lnTo>
                  <a:pt x="9" y="1674"/>
                </a:lnTo>
                <a:lnTo>
                  <a:pt x="4" y="1665"/>
                </a:lnTo>
                <a:lnTo>
                  <a:pt x="1" y="1656"/>
                </a:lnTo>
                <a:lnTo>
                  <a:pt x="0" y="1645"/>
                </a:lnTo>
                <a:lnTo>
                  <a:pt x="0" y="1645"/>
                </a:lnTo>
                <a:lnTo>
                  <a:pt x="1" y="1635"/>
                </a:lnTo>
                <a:lnTo>
                  <a:pt x="4" y="1625"/>
                </a:lnTo>
                <a:lnTo>
                  <a:pt x="9" y="1616"/>
                </a:lnTo>
                <a:lnTo>
                  <a:pt x="16" y="1608"/>
                </a:lnTo>
                <a:lnTo>
                  <a:pt x="23" y="1602"/>
                </a:lnTo>
                <a:lnTo>
                  <a:pt x="32" y="1598"/>
                </a:lnTo>
                <a:lnTo>
                  <a:pt x="41" y="1595"/>
                </a:lnTo>
                <a:lnTo>
                  <a:pt x="52" y="1594"/>
                </a:lnTo>
                <a:lnTo>
                  <a:pt x="1598" y="1594"/>
                </a:lnTo>
                <a:lnTo>
                  <a:pt x="1598" y="1594"/>
                </a:lnTo>
                <a:lnTo>
                  <a:pt x="1614" y="1594"/>
                </a:lnTo>
                <a:lnTo>
                  <a:pt x="1631" y="1596"/>
                </a:lnTo>
                <a:lnTo>
                  <a:pt x="1647" y="1599"/>
                </a:lnTo>
                <a:lnTo>
                  <a:pt x="1663" y="1603"/>
                </a:lnTo>
                <a:lnTo>
                  <a:pt x="1679" y="1608"/>
                </a:lnTo>
                <a:lnTo>
                  <a:pt x="1696" y="1614"/>
                </a:lnTo>
                <a:lnTo>
                  <a:pt x="1711" y="1622"/>
                </a:lnTo>
                <a:lnTo>
                  <a:pt x="1728" y="1629"/>
                </a:lnTo>
                <a:lnTo>
                  <a:pt x="1759" y="1645"/>
                </a:lnTo>
                <a:lnTo>
                  <a:pt x="1789" y="1663"/>
                </a:lnTo>
                <a:lnTo>
                  <a:pt x="1819" y="1681"/>
                </a:lnTo>
                <a:lnTo>
                  <a:pt x="1847" y="1699"/>
                </a:lnTo>
                <a:lnTo>
                  <a:pt x="1847" y="1699"/>
                </a:lnTo>
                <a:lnTo>
                  <a:pt x="1877" y="1719"/>
                </a:lnTo>
                <a:lnTo>
                  <a:pt x="1907" y="1736"/>
                </a:lnTo>
                <a:lnTo>
                  <a:pt x="1907" y="1736"/>
                </a:lnTo>
                <a:lnTo>
                  <a:pt x="1915" y="1714"/>
                </a:lnTo>
                <a:lnTo>
                  <a:pt x="1923" y="1687"/>
                </a:lnTo>
                <a:lnTo>
                  <a:pt x="1940" y="1631"/>
                </a:lnTo>
                <a:lnTo>
                  <a:pt x="1940" y="1631"/>
                </a:lnTo>
                <a:lnTo>
                  <a:pt x="1952" y="1585"/>
                </a:lnTo>
                <a:lnTo>
                  <a:pt x="1965" y="1542"/>
                </a:lnTo>
                <a:lnTo>
                  <a:pt x="1973" y="1522"/>
                </a:lnTo>
                <a:lnTo>
                  <a:pt x="1980" y="1503"/>
                </a:lnTo>
                <a:lnTo>
                  <a:pt x="1987" y="1485"/>
                </a:lnTo>
                <a:lnTo>
                  <a:pt x="1995" y="1468"/>
                </a:lnTo>
                <a:lnTo>
                  <a:pt x="2004" y="1453"/>
                </a:lnTo>
                <a:lnTo>
                  <a:pt x="2013" y="1440"/>
                </a:lnTo>
                <a:lnTo>
                  <a:pt x="2022" y="1427"/>
                </a:lnTo>
                <a:lnTo>
                  <a:pt x="2034" y="1417"/>
                </a:lnTo>
                <a:lnTo>
                  <a:pt x="2045" y="1410"/>
                </a:lnTo>
                <a:lnTo>
                  <a:pt x="2057" y="1403"/>
                </a:lnTo>
                <a:lnTo>
                  <a:pt x="2064" y="1401"/>
                </a:lnTo>
                <a:lnTo>
                  <a:pt x="2071" y="1400"/>
                </a:lnTo>
                <a:lnTo>
                  <a:pt x="2077" y="1399"/>
                </a:lnTo>
                <a:lnTo>
                  <a:pt x="2085" y="1398"/>
                </a:lnTo>
                <a:lnTo>
                  <a:pt x="2085" y="1398"/>
                </a:lnTo>
                <a:lnTo>
                  <a:pt x="2093" y="1399"/>
                </a:lnTo>
                <a:lnTo>
                  <a:pt x="2099" y="1400"/>
                </a:lnTo>
                <a:lnTo>
                  <a:pt x="2106" y="1401"/>
                </a:lnTo>
                <a:lnTo>
                  <a:pt x="2112" y="1403"/>
                </a:lnTo>
                <a:lnTo>
                  <a:pt x="2119" y="1407"/>
                </a:lnTo>
                <a:lnTo>
                  <a:pt x="2126" y="1410"/>
                </a:lnTo>
                <a:lnTo>
                  <a:pt x="2137" y="1419"/>
                </a:lnTo>
                <a:lnTo>
                  <a:pt x="2148" y="1429"/>
                </a:lnTo>
                <a:lnTo>
                  <a:pt x="2159" y="1443"/>
                </a:lnTo>
                <a:lnTo>
                  <a:pt x="2169" y="1458"/>
                </a:lnTo>
                <a:lnTo>
                  <a:pt x="2178" y="1476"/>
                </a:lnTo>
                <a:lnTo>
                  <a:pt x="2188" y="1496"/>
                </a:lnTo>
                <a:lnTo>
                  <a:pt x="2196" y="1518"/>
                </a:lnTo>
                <a:lnTo>
                  <a:pt x="2205" y="1542"/>
                </a:lnTo>
                <a:lnTo>
                  <a:pt x="2213" y="1568"/>
                </a:lnTo>
                <a:lnTo>
                  <a:pt x="2230" y="1625"/>
                </a:lnTo>
                <a:lnTo>
                  <a:pt x="2249" y="1690"/>
                </a:lnTo>
                <a:lnTo>
                  <a:pt x="2249" y="1690"/>
                </a:lnTo>
                <a:lnTo>
                  <a:pt x="2260" y="1646"/>
                </a:lnTo>
                <a:lnTo>
                  <a:pt x="2260" y="1646"/>
                </a:lnTo>
                <a:lnTo>
                  <a:pt x="2281" y="1568"/>
                </a:lnTo>
                <a:lnTo>
                  <a:pt x="2300" y="1503"/>
                </a:lnTo>
                <a:lnTo>
                  <a:pt x="2308" y="1476"/>
                </a:lnTo>
                <a:lnTo>
                  <a:pt x="2317" y="1451"/>
                </a:lnTo>
                <a:lnTo>
                  <a:pt x="2325" y="1429"/>
                </a:lnTo>
                <a:lnTo>
                  <a:pt x="2333" y="1410"/>
                </a:lnTo>
                <a:lnTo>
                  <a:pt x="2342" y="1394"/>
                </a:lnTo>
                <a:lnTo>
                  <a:pt x="2350" y="1380"/>
                </a:lnTo>
                <a:lnTo>
                  <a:pt x="2359" y="1368"/>
                </a:lnTo>
                <a:lnTo>
                  <a:pt x="2368" y="1360"/>
                </a:lnTo>
                <a:lnTo>
                  <a:pt x="2378" y="1353"/>
                </a:lnTo>
                <a:lnTo>
                  <a:pt x="2388" y="1349"/>
                </a:lnTo>
                <a:lnTo>
                  <a:pt x="2398" y="1346"/>
                </a:lnTo>
                <a:lnTo>
                  <a:pt x="2411" y="1345"/>
                </a:lnTo>
                <a:lnTo>
                  <a:pt x="2411" y="1345"/>
                </a:lnTo>
                <a:lnTo>
                  <a:pt x="2422" y="1346"/>
                </a:lnTo>
                <a:lnTo>
                  <a:pt x="2432" y="1348"/>
                </a:lnTo>
                <a:lnTo>
                  <a:pt x="2438" y="1350"/>
                </a:lnTo>
                <a:lnTo>
                  <a:pt x="2443" y="1352"/>
                </a:lnTo>
                <a:lnTo>
                  <a:pt x="2447" y="1356"/>
                </a:lnTo>
                <a:lnTo>
                  <a:pt x="2452" y="1359"/>
                </a:lnTo>
                <a:lnTo>
                  <a:pt x="2460" y="1369"/>
                </a:lnTo>
                <a:lnTo>
                  <a:pt x="2469" y="1383"/>
                </a:lnTo>
                <a:lnTo>
                  <a:pt x="2477" y="1400"/>
                </a:lnTo>
                <a:lnTo>
                  <a:pt x="2485" y="1422"/>
                </a:lnTo>
                <a:lnTo>
                  <a:pt x="2493" y="1448"/>
                </a:lnTo>
                <a:lnTo>
                  <a:pt x="2502" y="1479"/>
                </a:lnTo>
                <a:lnTo>
                  <a:pt x="2510" y="1516"/>
                </a:lnTo>
                <a:lnTo>
                  <a:pt x="2518" y="1559"/>
                </a:lnTo>
                <a:lnTo>
                  <a:pt x="2539" y="1664"/>
                </a:lnTo>
                <a:lnTo>
                  <a:pt x="2562" y="1797"/>
                </a:lnTo>
                <a:lnTo>
                  <a:pt x="2562" y="1797"/>
                </a:lnTo>
                <a:lnTo>
                  <a:pt x="2575" y="1872"/>
                </a:lnTo>
                <a:lnTo>
                  <a:pt x="2587" y="1944"/>
                </a:lnTo>
                <a:lnTo>
                  <a:pt x="2587" y="1944"/>
                </a:lnTo>
                <a:lnTo>
                  <a:pt x="2603" y="1907"/>
                </a:lnTo>
                <a:lnTo>
                  <a:pt x="2603" y="1907"/>
                </a:lnTo>
                <a:lnTo>
                  <a:pt x="2630" y="1838"/>
                </a:lnTo>
                <a:lnTo>
                  <a:pt x="2655" y="1781"/>
                </a:lnTo>
                <a:lnTo>
                  <a:pt x="2676" y="1734"/>
                </a:lnTo>
                <a:lnTo>
                  <a:pt x="2686" y="1716"/>
                </a:lnTo>
                <a:lnTo>
                  <a:pt x="2696" y="1698"/>
                </a:lnTo>
                <a:lnTo>
                  <a:pt x="2705" y="1684"/>
                </a:lnTo>
                <a:lnTo>
                  <a:pt x="2715" y="1671"/>
                </a:lnTo>
                <a:lnTo>
                  <a:pt x="2724" y="1661"/>
                </a:lnTo>
                <a:lnTo>
                  <a:pt x="2733" y="1653"/>
                </a:lnTo>
                <a:lnTo>
                  <a:pt x="2744" y="1646"/>
                </a:lnTo>
                <a:lnTo>
                  <a:pt x="2753" y="1642"/>
                </a:lnTo>
                <a:lnTo>
                  <a:pt x="2764" y="1640"/>
                </a:lnTo>
                <a:lnTo>
                  <a:pt x="2775" y="1639"/>
                </a:lnTo>
                <a:lnTo>
                  <a:pt x="2775" y="1639"/>
                </a:lnTo>
                <a:lnTo>
                  <a:pt x="2788" y="1639"/>
                </a:lnTo>
                <a:lnTo>
                  <a:pt x="2801" y="1640"/>
                </a:lnTo>
                <a:lnTo>
                  <a:pt x="2801" y="1640"/>
                </a:lnTo>
                <a:lnTo>
                  <a:pt x="2817" y="1641"/>
                </a:lnTo>
                <a:lnTo>
                  <a:pt x="2828" y="1641"/>
                </a:lnTo>
                <a:lnTo>
                  <a:pt x="2838" y="1640"/>
                </a:lnTo>
                <a:lnTo>
                  <a:pt x="2841" y="1638"/>
                </a:lnTo>
                <a:lnTo>
                  <a:pt x="2845" y="1636"/>
                </a:lnTo>
                <a:lnTo>
                  <a:pt x="2845" y="1636"/>
                </a:lnTo>
                <a:lnTo>
                  <a:pt x="2848" y="1632"/>
                </a:lnTo>
                <a:lnTo>
                  <a:pt x="2853" y="1626"/>
                </a:lnTo>
                <a:lnTo>
                  <a:pt x="2859" y="1615"/>
                </a:lnTo>
                <a:lnTo>
                  <a:pt x="2864" y="1601"/>
                </a:lnTo>
                <a:lnTo>
                  <a:pt x="2871" y="1582"/>
                </a:lnTo>
                <a:lnTo>
                  <a:pt x="2877" y="1559"/>
                </a:lnTo>
                <a:lnTo>
                  <a:pt x="2882" y="1529"/>
                </a:lnTo>
                <a:lnTo>
                  <a:pt x="2886" y="1491"/>
                </a:lnTo>
                <a:lnTo>
                  <a:pt x="2886" y="1491"/>
                </a:lnTo>
                <a:lnTo>
                  <a:pt x="2898" y="1375"/>
                </a:lnTo>
                <a:lnTo>
                  <a:pt x="2909" y="1271"/>
                </a:lnTo>
                <a:lnTo>
                  <a:pt x="2920" y="1182"/>
                </a:lnTo>
                <a:lnTo>
                  <a:pt x="2933" y="1107"/>
                </a:lnTo>
                <a:lnTo>
                  <a:pt x="2944" y="1042"/>
                </a:lnTo>
                <a:lnTo>
                  <a:pt x="2956" y="988"/>
                </a:lnTo>
                <a:lnTo>
                  <a:pt x="2968" y="945"/>
                </a:lnTo>
                <a:lnTo>
                  <a:pt x="2974" y="925"/>
                </a:lnTo>
                <a:lnTo>
                  <a:pt x="2979" y="908"/>
                </a:lnTo>
                <a:lnTo>
                  <a:pt x="2985" y="894"/>
                </a:lnTo>
                <a:lnTo>
                  <a:pt x="2991" y="882"/>
                </a:lnTo>
                <a:lnTo>
                  <a:pt x="2997" y="870"/>
                </a:lnTo>
                <a:lnTo>
                  <a:pt x="3002" y="861"/>
                </a:lnTo>
                <a:lnTo>
                  <a:pt x="3007" y="853"/>
                </a:lnTo>
                <a:lnTo>
                  <a:pt x="3012" y="846"/>
                </a:lnTo>
                <a:lnTo>
                  <a:pt x="3018" y="840"/>
                </a:lnTo>
                <a:lnTo>
                  <a:pt x="3024" y="836"/>
                </a:lnTo>
                <a:lnTo>
                  <a:pt x="3029" y="833"/>
                </a:lnTo>
                <a:lnTo>
                  <a:pt x="3034" y="830"/>
                </a:lnTo>
                <a:lnTo>
                  <a:pt x="3043" y="827"/>
                </a:lnTo>
                <a:lnTo>
                  <a:pt x="3053" y="826"/>
                </a:lnTo>
                <a:lnTo>
                  <a:pt x="3062" y="826"/>
                </a:lnTo>
                <a:lnTo>
                  <a:pt x="3062" y="826"/>
                </a:lnTo>
                <a:lnTo>
                  <a:pt x="3073" y="826"/>
                </a:lnTo>
                <a:lnTo>
                  <a:pt x="3084" y="827"/>
                </a:lnTo>
                <a:lnTo>
                  <a:pt x="3089" y="829"/>
                </a:lnTo>
                <a:lnTo>
                  <a:pt x="3094" y="831"/>
                </a:lnTo>
                <a:lnTo>
                  <a:pt x="3098" y="834"/>
                </a:lnTo>
                <a:lnTo>
                  <a:pt x="3102" y="838"/>
                </a:lnTo>
                <a:lnTo>
                  <a:pt x="3106" y="843"/>
                </a:lnTo>
                <a:lnTo>
                  <a:pt x="3110" y="851"/>
                </a:lnTo>
                <a:lnTo>
                  <a:pt x="3113" y="858"/>
                </a:lnTo>
                <a:lnTo>
                  <a:pt x="3118" y="868"/>
                </a:lnTo>
                <a:lnTo>
                  <a:pt x="3125" y="893"/>
                </a:lnTo>
                <a:lnTo>
                  <a:pt x="3131" y="926"/>
                </a:lnTo>
                <a:lnTo>
                  <a:pt x="3138" y="968"/>
                </a:lnTo>
                <a:lnTo>
                  <a:pt x="3144" y="1021"/>
                </a:lnTo>
                <a:lnTo>
                  <a:pt x="3152" y="1085"/>
                </a:lnTo>
                <a:lnTo>
                  <a:pt x="3159" y="1163"/>
                </a:lnTo>
                <a:lnTo>
                  <a:pt x="3174" y="1361"/>
                </a:lnTo>
                <a:lnTo>
                  <a:pt x="3194" y="1625"/>
                </a:lnTo>
                <a:lnTo>
                  <a:pt x="3194" y="1625"/>
                </a:lnTo>
                <a:lnTo>
                  <a:pt x="3215" y="1899"/>
                </a:lnTo>
                <a:lnTo>
                  <a:pt x="3226" y="2035"/>
                </a:lnTo>
                <a:lnTo>
                  <a:pt x="3236" y="2157"/>
                </a:lnTo>
                <a:lnTo>
                  <a:pt x="3236" y="2157"/>
                </a:lnTo>
                <a:lnTo>
                  <a:pt x="3251" y="2077"/>
                </a:lnTo>
                <a:lnTo>
                  <a:pt x="3263" y="2003"/>
                </a:lnTo>
                <a:lnTo>
                  <a:pt x="3263" y="2003"/>
                </a:lnTo>
                <a:lnTo>
                  <a:pt x="3281" y="1902"/>
                </a:lnTo>
                <a:lnTo>
                  <a:pt x="3295" y="1821"/>
                </a:lnTo>
                <a:lnTo>
                  <a:pt x="3302" y="1788"/>
                </a:lnTo>
                <a:lnTo>
                  <a:pt x="3308" y="1759"/>
                </a:lnTo>
                <a:lnTo>
                  <a:pt x="3314" y="1734"/>
                </a:lnTo>
                <a:lnTo>
                  <a:pt x="3320" y="1712"/>
                </a:lnTo>
                <a:lnTo>
                  <a:pt x="3327" y="1695"/>
                </a:lnTo>
                <a:lnTo>
                  <a:pt x="3334" y="1680"/>
                </a:lnTo>
                <a:lnTo>
                  <a:pt x="3341" y="1669"/>
                </a:lnTo>
                <a:lnTo>
                  <a:pt x="3348" y="1661"/>
                </a:lnTo>
                <a:lnTo>
                  <a:pt x="3356" y="1655"/>
                </a:lnTo>
                <a:lnTo>
                  <a:pt x="3366" y="1650"/>
                </a:lnTo>
                <a:lnTo>
                  <a:pt x="3376" y="1648"/>
                </a:lnTo>
                <a:lnTo>
                  <a:pt x="3387" y="1647"/>
                </a:lnTo>
                <a:lnTo>
                  <a:pt x="3387" y="1647"/>
                </a:lnTo>
                <a:lnTo>
                  <a:pt x="3399" y="1647"/>
                </a:lnTo>
                <a:lnTo>
                  <a:pt x="3408" y="1649"/>
                </a:lnTo>
                <a:lnTo>
                  <a:pt x="3413" y="1650"/>
                </a:lnTo>
                <a:lnTo>
                  <a:pt x="3417" y="1653"/>
                </a:lnTo>
                <a:lnTo>
                  <a:pt x="3421" y="1655"/>
                </a:lnTo>
                <a:lnTo>
                  <a:pt x="3426" y="1658"/>
                </a:lnTo>
                <a:lnTo>
                  <a:pt x="3430" y="1663"/>
                </a:lnTo>
                <a:lnTo>
                  <a:pt x="3433" y="1668"/>
                </a:lnTo>
                <a:lnTo>
                  <a:pt x="3437" y="1674"/>
                </a:lnTo>
                <a:lnTo>
                  <a:pt x="3440" y="1681"/>
                </a:lnTo>
                <a:lnTo>
                  <a:pt x="3447" y="1700"/>
                </a:lnTo>
                <a:lnTo>
                  <a:pt x="3453" y="1725"/>
                </a:lnTo>
                <a:lnTo>
                  <a:pt x="3460" y="1756"/>
                </a:lnTo>
                <a:lnTo>
                  <a:pt x="3467" y="1794"/>
                </a:lnTo>
                <a:lnTo>
                  <a:pt x="3474" y="1841"/>
                </a:lnTo>
                <a:lnTo>
                  <a:pt x="3481" y="1896"/>
                </a:lnTo>
                <a:lnTo>
                  <a:pt x="3499" y="2038"/>
                </a:lnTo>
                <a:lnTo>
                  <a:pt x="3520" y="2225"/>
                </a:lnTo>
                <a:lnTo>
                  <a:pt x="3520" y="2225"/>
                </a:lnTo>
                <a:lnTo>
                  <a:pt x="3534" y="2347"/>
                </a:lnTo>
                <a:lnTo>
                  <a:pt x="3534" y="2347"/>
                </a:lnTo>
                <a:lnTo>
                  <a:pt x="3549" y="2031"/>
                </a:lnTo>
                <a:lnTo>
                  <a:pt x="3563" y="1692"/>
                </a:lnTo>
                <a:lnTo>
                  <a:pt x="3563" y="1692"/>
                </a:lnTo>
                <a:lnTo>
                  <a:pt x="3585" y="1198"/>
                </a:lnTo>
                <a:lnTo>
                  <a:pt x="3594" y="997"/>
                </a:lnTo>
                <a:lnTo>
                  <a:pt x="3603" y="826"/>
                </a:lnTo>
                <a:lnTo>
                  <a:pt x="3612" y="681"/>
                </a:lnTo>
                <a:lnTo>
                  <a:pt x="3619" y="560"/>
                </a:lnTo>
                <a:lnTo>
                  <a:pt x="3626" y="461"/>
                </a:lnTo>
                <a:lnTo>
                  <a:pt x="3633" y="381"/>
                </a:lnTo>
                <a:lnTo>
                  <a:pt x="3642" y="319"/>
                </a:lnTo>
                <a:lnTo>
                  <a:pt x="3645" y="295"/>
                </a:lnTo>
                <a:lnTo>
                  <a:pt x="3649" y="273"/>
                </a:lnTo>
                <a:lnTo>
                  <a:pt x="3653" y="255"/>
                </a:lnTo>
                <a:lnTo>
                  <a:pt x="3657" y="240"/>
                </a:lnTo>
                <a:lnTo>
                  <a:pt x="3662" y="227"/>
                </a:lnTo>
                <a:lnTo>
                  <a:pt x="3666" y="218"/>
                </a:lnTo>
                <a:lnTo>
                  <a:pt x="3671" y="210"/>
                </a:lnTo>
                <a:lnTo>
                  <a:pt x="3677" y="205"/>
                </a:lnTo>
                <a:lnTo>
                  <a:pt x="3682" y="200"/>
                </a:lnTo>
                <a:lnTo>
                  <a:pt x="3687" y="197"/>
                </a:lnTo>
                <a:lnTo>
                  <a:pt x="3693" y="195"/>
                </a:lnTo>
                <a:lnTo>
                  <a:pt x="3699" y="194"/>
                </a:lnTo>
                <a:lnTo>
                  <a:pt x="3713" y="194"/>
                </a:lnTo>
                <a:lnTo>
                  <a:pt x="3713" y="194"/>
                </a:lnTo>
                <a:lnTo>
                  <a:pt x="3726" y="194"/>
                </a:lnTo>
                <a:lnTo>
                  <a:pt x="3732" y="195"/>
                </a:lnTo>
                <a:lnTo>
                  <a:pt x="3739" y="197"/>
                </a:lnTo>
                <a:lnTo>
                  <a:pt x="3744" y="202"/>
                </a:lnTo>
                <a:lnTo>
                  <a:pt x="3749" y="206"/>
                </a:lnTo>
                <a:lnTo>
                  <a:pt x="3754" y="213"/>
                </a:lnTo>
                <a:lnTo>
                  <a:pt x="3759" y="221"/>
                </a:lnTo>
                <a:lnTo>
                  <a:pt x="3763" y="234"/>
                </a:lnTo>
                <a:lnTo>
                  <a:pt x="3768" y="248"/>
                </a:lnTo>
                <a:lnTo>
                  <a:pt x="3773" y="266"/>
                </a:lnTo>
                <a:lnTo>
                  <a:pt x="3777" y="286"/>
                </a:lnTo>
                <a:lnTo>
                  <a:pt x="3780" y="311"/>
                </a:lnTo>
                <a:lnTo>
                  <a:pt x="3784" y="340"/>
                </a:lnTo>
                <a:lnTo>
                  <a:pt x="3791" y="412"/>
                </a:lnTo>
                <a:lnTo>
                  <a:pt x="3800" y="504"/>
                </a:lnTo>
                <a:lnTo>
                  <a:pt x="3807" y="620"/>
                </a:lnTo>
                <a:lnTo>
                  <a:pt x="3814" y="761"/>
                </a:lnTo>
                <a:lnTo>
                  <a:pt x="3822" y="930"/>
                </a:lnTo>
                <a:lnTo>
                  <a:pt x="3831" y="1130"/>
                </a:lnTo>
                <a:lnTo>
                  <a:pt x="3840" y="1362"/>
                </a:lnTo>
                <a:lnTo>
                  <a:pt x="3862" y="1938"/>
                </a:lnTo>
                <a:lnTo>
                  <a:pt x="3862" y="1938"/>
                </a:lnTo>
                <a:lnTo>
                  <a:pt x="3877" y="2339"/>
                </a:lnTo>
                <a:lnTo>
                  <a:pt x="3877" y="2339"/>
                </a:lnTo>
                <a:lnTo>
                  <a:pt x="3891" y="1983"/>
                </a:lnTo>
                <a:lnTo>
                  <a:pt x="3905" y="1618"/>
                </a:lnTo>
                <a:lnTo>
                  <a:pt x="3905" y="1618"/>
                </a:lnTo>
                <a:lnTo>
                  <a:pt x="3926" y="1084"/>
                </a:lnTo>
                <a:lnTo>
                  <a:pt x="3942" y="682"/>
                </a:lnTo>
                <a:lnTo>
                  <a:pt x="3948" y="526"/>
                </a:lnTo>
                <a:lnTo>
                  <a:pt x="3956" y="395"/>
                </a:lnTo>
                <a:lnTo>
                  <a:pt x="3962" y="287"/>
                </a:lnTo>
                <a:lnTo>
                  <a:pt x="3968" y="203"/>
                </a:lnTo>
                <a:lnTo>
                  <a:pt x="3974" y="135"/>
                </a:lnTo>
                <a:lnTo>
                  <a:pt x="3980" y="85"/>
                </a:lnTo>
                <a:lnTo>
                  <a:pt x="3985" y="65"/>
                </a:lnTo>
                <a:lnTo>
                  <a:pt x="3988" y="50"/>
                </a:lnTo>
                <a:lnTo>
                  <a:pt x="3992" y="36"/>
                </a:lnTo>
                <a:lnTo>
                  <a:pt x="3996" y="25"/>
                </a:lnTo>
                <a:lnTo>
                  <a:pt x="4000" y="17"/>
                </a:lnTo>
                <a:lnTo>
                  <a:pt x="4004" y="10"/>
                </a:lnTo>
                <a:lnTo>
                  <a:pt x="4009" y="6"/>
                </a:lnTo>
                <a:lnTo>
                  <a:pt x="4015" y="3"/>
                </a:lnTo>
                <a:lnTo>
                  <a:pt x="4020" y="1"/>
                </a:lnTo>
                <a:lnTo>
                  <a:pt x="4026" y="0"/>
                </a:lnTo>
                <a:lnTo>
                  <a:pt x="4038" y="0"/>
                </a:lnTo>
                <a:lnTo>
                  <a:pt x="4038" y="0"/>
                </a:lnTo>
                <a:lnTo>
                  <a:pt x="4051" y="0"/>
                </a:lnTo>
                <a:lnTo>
                  <a:pt x="4056" y="1"/>
                </a:lnTo>
                <a:lnTo>
                  <a:pt x="4061" y="2"/>
                </a:lnTo>
                <a:lnTo>
                  <a:pt x="4066" y="4"/>
                </a:lnTo>
                <a:lnTo>
                  <a:pt x="4071" y="8"/>
                </a:lnTo>
                <a:lnTo>
                  <a:pt x="4076" y="12"/>
                </a:lnTo>
                <a:lnTo>
                  <a:pt x="4080" y="20"/>
                </a:lnTo>
                <a:lnTo>
                  <a:pt x="4084" y="27"/>
                </a:lnTo>
                <a:lnTo>
                  <a:pt x="4087" y="37"/>
                </a:lnTo>
                <a:lnTo>
                  <a:pt x="4090" y="50"/>
                </a:lnTo>
                <a:lnTo>
                  <a:pt x="4094" y="65"/>
                </a:lnTo>
                <a:lnTo>
                  <a:pt x="4100" y="103"/>
                </a:lnTo>
                <a:lnTo>
                  <a:pt x="4107" y="155"/>
                </a:lnTo>
                <a:lnTo>
                  <a:pt x="4112" y="220"/>
                </a:lnTo>
                <a:lnTo>
                  <a:pt x="4118" y="303"/>
                </a:lnTo>
                <a:lnTo>
                  <a:pt x="4123" y="402"/>
                </a:lnTo>
                <a:lnTo>
                  <a:pt x="4130" y="523"/>
                </a:lnTo>
                <a:lnTo>
                  <a:pt x="4145" y="830"/>
                </a:lnTo>
                <a:lnTo>
                  <a:pt x="4162" y="1239"/>
                </a:lnTo>
                <a:lnTo>
                  <a:pt x="4162" y="1239"/>
                </a:lnTo>
                <a:lnTo>
                  <a:pt x="4185" y="1745"/>
                </a:lnTo>
                <a:lnTo>
                  <a:pt x="4196" y="1991"/>
                </a:lnTo>
                <a:lnTo>
                  <a:pt x="4209" y="2214"/>
                </a:lnTo>
                <a:lnTo>
                  <a:pt x="4209" y="2214"/>
                </a:lnTo>
                <a:lnTo>
                  <a:pt x="4224" y="2014"/>
                </a:lnTo>
                <a:lnTo>
                  <a:pt x="4240" y="1820"/>
                </a:lnTo>
                <a:lnTo>
                  <a:pt x="4240" y="1820"/>
                </a:lnTo>
                <a:lnTo>
                  <a:pt x="4258" y="1574"/>
                </a:lnTo>
                <a:lnTo>
                  <a:pt x="4273" y="1389"/>
                </a:lnTo>
                <a:lnTo>
                  <a:pt x="4280" y="1317"/>
                </a:lnTo>
                <a:lnTo>
                  <a:pt x="4286" y="1257"/>
                </a:lnTo>
                <a:lnTo>
                  <a:pt x="4291" y="1207"/>
                </a:lnTo>
                <a:lnTo>
                  <a:pt x="4298" y="1168"/>
                </a:lnTo>
                <a:lnTo>
                  <a:pt x="4304" y="1137"/>
                </a:lnTo>
                <a:lnTo>
                  <a:pt x="4310" y="1114"/>
                </a:lnTo>
                <a:lnTo>
                  <a:pt x="4313" y="1105"/>
                </a:lnTo>
                <a:lnTo>
                  <a:pt x="4317" y="1098"/>
                </a:lnTo>
                <a:lnTo>
                  <a:pt x="4320" y="1091"/>
                </a:lnTo>
                <a:lnTo>
                  <a:pt x="4325" y="1086"/>
                </a:lnTo>
                <a:lnTo>
                  <a:pt x="4329" y="1082"/>
                </a:lnTo>
                <a:lnTo>
                  <a:pt x="4333" y="1079"/>
                </a:lnTo>
                <a:lnTo>
                  <a:pt x="4337" y="1077"/>
                </a:lnTo>
                <a:lnTo>
                  <a:pt x="4342" y="1076"/>
                </a:lnTo>
                <a:lnTo>
                  <a:pt x="4352" y="1075"/>
                </a:lnTo>
                <a:lnTo>
                  <a:pt x="4364" y="1075"/>
                </a:lnTo>
                <a:lnTo>
                  <a:pt x="4364" y="1075"/>
                </a:lnTo>
                <a:lnTo>
                  <a:pt x="4375" y="1075"/>
                </a:lnTo>
                <a:lnTo>
                  <a:pt x="4384" y="1077"/>
                </a:lnTo>
                <a:lnTo>
                  <a:pt x="4394" y="1081"/>
                </a:lnTo>
                <a:lnTo>
                  <a:pt x="4399" y="1084"/>
                </a:lnTo>
                <a:lnTo>
                  <a:pt x="4403" y="1087"/>
                </a:lnTo>
                <a:lnTo>
                  <a:pt x="4407" y="1091"/>
                </a:lnTo>
                <a:lnTo>
                  <a:pt x="4410" y="1097"/>
                </a:lnTo>
                <a:lnTo>
                  <a:pt x="4419" y="1110"/>
                </a:lnTo>
                <a:lnTo>
                  <a:pt x="4426" y="1127"/>
                </a:lnTo>
                <a:lnTo>
                  <a:pt x="4433" y="1148"/>
                </a:lnTo>
                <a:lnTo>
                  <a:pt x="4441" y="1175"/>
                </a:lnTo>
                <a:lnTo>
                  <a:pt x="4449" y="1208"/>
                </a:lnTo>
                <a:lnTo>
                  <a:pt x="4457" y="1246"/>
                </a:lnTo>
                <a:lnTo>
                  <a:pt x="4466" y="1291"/>
                </a:lnTo>
                <a:lnTo>
                  <a:pt x="4487" y="1403"/>
                </a:lnTo>
                <a:lnTo>
                  <a:pt x="4511" y="1549"/>
                </a:lnTo>
                <a:lnTo>
                  <a:pt x="4511" y="1549"/>
                </a:lnTo>
                <a:lnTo>
                  <a:pt x="4526" y="1637"/>
                </a:lnTo>
                <a:lnTo>
                  <a:pt x="4541" y="1724"/>
                </a:lnTo>
                <a:lnTo>
                  <a:pt x="4541" y="1724"/>
                </a:lnTo>
                <a:lnTo>
                  <a:pt x="4558" y="1669"/>
                </a:lnTo>
                <a:lnTo>
                  <a:pt x="4575" y="1622"/>
                </a:lnTo>
                <a:lnTo>
                  <a:pt x="4583" y="1601"/>
                </a:lnTo>
                <a:lnTo>
                  <a:pt x="4591" y="1581"/>
                </a:lnTo>
                <a:lnTo>
                  <a:pt x="4599" y="1564"/>
                </a:lnTo>
                <a:lnTo>
                  <a:pt x="4608" y="1547"/>
                </a:lnTo>
                <a:lnTo>
                  <a:pt x="4616" y="1533"/>
                </a:lnTo>
                <a:lnTo>
                  <a:pt x="4624" y="1520"/>
                </a:lnTo>
                <a:lnTo>
                  <a:pt x="4634" y="1510"/>
                </a:lnTo>
                <a:lnTo>
                  <a:pt x="4644" y="1501"/>
                </a:lnTo>
                <a:lnTo>
                  <a:pt x="4654" y="1494"/>
                </a:lnTo>
                <a:lnTo>
                  <a:pt x="4666" y="1489"/>
                </a:lnTo>
                <a:lnTo>
                  <a:pt x="4677" y="1486"/>
                </a:lnTo>
                <a:lnTo>
                  <a:pt x="4689" y="1485"/>
                </a:lnTo>
                <a:lnTo>
                  <a:pt x="4689" y="1485"/>
                </a:lnTo>
                <a:lnTo>
                  <a:pt x="4703" y="1486"/>
                </a:lnTo>
                <a:lnTo>
                  <a:pt x="4714" y="1489"/>
                </a:lnTo>
                <a:lnTo>
                  <a:pt x="4725" y="1494"/>
                </a:lnTo>
                <a:lnTo>
                  <a:pt x="4737" y="1502"/>
                </a:lnTo>
                <a:lnTo>
                  <a:pt x="4747" y="1511"/>
                </a:lnTo>
                <a:lnTo>
                  <a:pt x="4758" y="1522"/>
                </a:lnTo>
                <a:lnTo>
                  <a:pt x="4767" y="1536"/>
                </a:lnTo>
                <a:lnTo>
                  <a:pt x="4776" y="1551"/>
                </a:lnTo>
                <a:lnTo>
                  <a:pt x="4784" y="1568"/>
                </a:lnTo>
                <a:lnTo>
                  <a:pt x="4794" y="1586"/>
                </a:lnTo>
                <a:lnTo>
                  <a:pt x="4802" y="1606"/>
                </a:lnTo>
                <a:lnTo>
                  <a:pt x="4810" y="1628"/>
                </a:lnTo>
                <a:lnTo>
                  <a:pt x="4828" y="1676"/>
                </a:lnTo>
                <a:lnTo>
                  <a:pt x="4846" y="1731"/>
                </a:lnTo>
                <a:lnTo>
                  <a:pt x="4846" y="1731"/>
                </a:lnTo>
                <a:lnTo>
                  <a:pt x="4855" y="1755"/>
                </a:lnTo>
                <a:lnTo>
                  <a:pt x="4855" y="1755"/>
                </a:lnTo>
                <a:lnTo>
                  <a:pt x="4885" y="1671"/>
                </a:lnTo>
                <a:lnTo>
                  <a:pt x="4885" y="1671"/>
                </a:lnTo>
                <a:lnTo>
                  <a:pt x="4905" y="1613"/>
                </a:lnTo>
                <a:lnTo>
                  <a:pt x="4923" y="1566"/>
                </a:lnTo>
                <a:lnTo>
                  <a:pt x="4938" y="1529"/>
                </a:lnTo>
                <a:lnTo>
                  <a:pt x="4946" y="1513"/>
                </a:lnTo>
                <a:lnTo>
                  <a:pt x="4952" y="1499"/>
                </a:lnTo>
                <a:lnTo>
                  <a:pt x="4959" y="1487"/>
                </a:lnTo>
                <a:lnTo>
                  <a:pt x="4966" y="1478"/>
                </a:lnTo>
                <a:lnTo>
                  <a:pt x="4973" y="1470"/>
                </a:lnTo>
                <a:lnTo>
                  <a:pt x="4981" y="1463"/>
                </a:lnTo>
                <a:lnTo>
                  <a:pt x="4988" y="1458"/>
                </a:lnTo>
                <a:lnTo>
                  <a:pt x="4996" y="1455"/>
                </a:lnTo>
                <a:lnTo>
                  <a:pt x="5006" y="1453"/>
                </a:lnTo>
                <a:lnTo>
                  <a:pt x="5015" y="1453"/>
                </a:lnTo>
                <a:lnTo>
                  <a:pt x="5015" y="1453"/>
                </a:lnTo>
                <a:lnTo>
                  <a:pt x="5023" y="1453"/>
                </a:lnTo>
                <a:lnTo>
                  <a:pt x="5031" y="1455"/>
                </a:lnTo>
                <a:lnTo>
                  <a:pt x="5040" y="1458"/>
                </a:lnTo>
                <a:lnTo>
                  <a:pt x="5047" y="1461"/>
                </a:lnTo>
                <a:lnTo>
                  <a:pt x="5054" y="1467"/>
                </a:lnTo>
                <a:lnTo>
                  <a:pt x="5060" y="1473"/>
                </a:lnTo>
                <a:lnTo>
                  <a:pt x="5068" y="1481"/>
                </a:lnTo>
                <a:lnTo>
                  <a:pt x="5074" y="1489"/>
                </a:lnTo>
                <a:lnTo>
                  <a:pt x="5087" y="1510"/>
                </a:lnTo>
                <a:lnTo>
                  <a:pt x="5101" y="1536"/>
                </a:lnTo>
                <a:lnTo>
                  <a:pt x="5116" y="1567"/>
                </a:lnTo>
                <a:lnTo>
                  <a:pt x="5133" y="1603"/>
                </a:lnTo>
                <a:lnTo>
                  <a:pt x="5133" y="1603"/>
                </a:lnTo>
                <a:lnTo>
                  <a:pt x="5156" y="1656"/>
                </a:lnTo>
                <a:lnTo>
                  <a:pt x="5170" y="1683"/>
                </a:lnTo>
                <a:lnTo>
                  <a:pt x="5183" y="1706"/>
                </a:lnTo>
                <a:lnTo>
                  <a:pt x="5183" y="1706"/>
                </a:lnTo>
                <a:lnTo>
                  <a:pt x="5197" y="1689"/>
                </a:lnTo>
                <a:lnTo>
                  <a:pt x="5211" y="1670"/>
                </a:lnTo>
                <a:lnTo>
                  <a:pt x="5236" y="1636"/>
                </a:lnTo>
                <a:lnTo>
                  <a:pt x="5236" y="1636"/>
                </a:lnTo>
                <a:lnTo>
                  <a:pt x="5254" y="1612"/>
                </a:lnTo>
                <a:lnTo>
                  <a:pt x="5269" y="1592"/>
                </a:lnTo>
                <a:lnTo>
                  <a:pt x="5282" y="1575"/>
                </a:lnTo>
                <a:lnTo>
                  <a:pt x="5296" y="1562"/>
                </a:lnTo>
                <a:lnTo>
                  <a:pt x="5303" y="1556"/>
                </a:lnTo>
                <a:lnTo>
                  <a:pt x="5309" y="1552"/>
                </a:lnTo>
                <a:lnTo>
                  <a:pt x="5317" y="1548"/>
                </a:lnTo>
                <a:lnTo>
                  <a:pt x="5323" y="1546"/>
                </a:lnTo>
                <a:lnTo>
                  <a:pt x="5330" y="1545"/>
                </a:lnTo>
                <a:lnTo>
                  <a:pt x="5337" y="1545"/>
                </a:lnTo>
                <a:lnTo>
                  <a:pt x="5345" y="1546"/>
                </a:lnTo>
                <a:lnTo>
                  <a:pt x="5353" y="1548"/>
                </a:lnTo>
                <a:lnTo>
                  <a:pt x="5353" y="1548"/>
                </a:lnTo>
                <a:lnTo>
                  <a:pt x="5360" y="1551"/>
                </a:lnTo>
                <a:lnTo>
                  <a:pt x="5367" y="1555"/>
                </a:lnTo>
                <a:lnTo>
                  <a:pt x="5373" y="1561"/>
                </a:lnTo>
                <a:lnTo>
                  <a:pt x="5380" y="1567"/>
                </a:lnTo>
                <a:lnTo>
                  <a:pt x="5385" y="1575"/>
                </a:lnTo>
                <a:lnTo>
                  <a:pt x="5389" y="1583"/>
                </a:lnTo>
                <a:lnTo>
                  <a:pt x="5391" y="1594"/>
                </a:lnTo>
                <a:lnTo>
                  <a:pt x="5392" y="1606"/>
                </a:lnTo>
                <a:lnTo>
                  <a:pt x="5392" y="1606"/>
                </a:lnTo>
                <a:lnTo>
                  <a:pt x="5391" y="1615"/>
                </a:lnTo>
                <a:lnTo>
                  <a:pt x="5389" y="1624"/>
                </a:lnTo>
                <a:lnTo>
                  <a:pt x="5385" y="1632"/>
                </a:lnTo>
                <a:lnTo>
                  <a:pt x="5380" y="1639"/>
                </a:lnTo>
                <a:lnTo>
                  <a:pt x="5373" y="1645"/>
                </a:lnTo>
                <a:lnTo>
                  <a:pt x="5366" y="1650"/>
                </a:lnTo>
                <a:lnTo>
                  <a:pt x="5358" y="1655"/>
                </a:lnTo>
                <a:lnTo>
                  <a:pt x="5349" y="1657"/>
                </a:lnTo>
                <a:lnTo>
                  <a:pt x="5349" y="1657"/>
                </a:lnTo>
                <a:lnTo>
                  <a:pt x="5320" y="1696"/>
                </a:lnTo>
                <a:lnTo>
                  <a:pt x="5320" y="1696"/>
                </a:lnTo>
                <a:lnTo>
                  <a:pt x="5299" y="1726"/>
                </a:lnTo>
                <a:lnTo>
                  <a:pt x="5279" y="1752"/>
                </a:lnTo>
                <a:lnTo>
                  <a:pt x="5261" y="1775"/>
                </a:lnTo>
                <a:lnTo>
                  <a:pt x="5243" y="1793"/>
                </a:lnTo>
                <a:lnTo>
                  <a:pt x="5235" y="1800"/>
                </a:lnTo>
                <a:lnTo>
                  <a:pt x="5228" y="1808"/>
                </a:lnTo>
                <a:lnTo>
                  <a:pt x="5219" y="1813"/>
                </a:lnTo>
                <a:lnTo>
                  <a:pt x="5211" y="1818"/>
                </a:lnTo>
                <a:lnTo>
                  <a:pt x="5203" y="1822"/>
                </a:lnTo>
                <a:lnTo>
                  <a:pt x="5195" y="1824"/>
                </a:lnTo>
                <a:lnTo>
                  <a:pt x="5186" y="1826"/>
                </a:lnTo>
                <a:lnTo>
                  <a:pt x="5177" y="1826"/>
                </a:lnTo>
                <a:lnTo>
                  <a:pt x="5177" y="1826"/>
                </a:lnTo>
                <a:lnTo>
                  <a:pt x="5168" y="1826"/>
                </a:lnTo>
                <a:lnTo>
                  <a:pt x="5158" y="1824"/>
                </a:lnTo>
                <a:lnTo>
                  <a:pt x="5149" y="1820"/>
                </a:lnTo>
                <a:lnTo>
                  <a:pt x="5141" y="1816"/>
                </a:lnTo>
                <a:lnTo>
                  <a:pt x="5133" y="1810"/>
                </a:lnTo>
                <a:lnTo>
                  <a:pt x="5124" y="1801"/>
                </a:lnTo>
                <a:lnTo>
                  <a:pt x="5117" y="1792"/>
                </a:lnTo>
                <a:lnTo>
                  <a:pt x="5109" y="1782"/>
                </a:lnTo>
                <a:lnTo>
                  <a:pt x="5101" y="1770"/>
                </a:lnTo>
                <a:lnTo>
                  <a:pt x="5092" y="1757"/>
                </a:lnTo>
                <a:lnTo>
                  <a:pt x="5076" y="1726"/>
                </a:lnTo>
                <a:lnTo>
                  <a:pt x="5058" y="1690"/>
                </a:lnTo>
                <a:lnTo>
                  <a:pt x="5039" y="1646"/>
                </a:lnTo>
                <a:lnTo>
                  <a:pt x="5039" y="1646"/>
                </a:lnTo>
                <a:lnTo>
                  <a:pt x="5019" y="1605"/>
                </a:lnTo>
                <a:lnTo>
                  <a:pt x="5019" y="1605"/>
                </a:lnTo>
                <a:lnTo>
                  <a:pt x="5000" y="1656"/>
                </a:lnTo>
                <a:lnTo>
                  <a:pt x="4982" y="1705"/>
                </a:lnTo>
                <a:lnTo>
                  <a:pt x="4982" y="1705"/>
                </a:lnTo>
                <a:lnTo>
                  <a:pt x="4962" y="1762"/>
                </a:lnTo>
                <a:lnTo>
                  <a:pt x="4945" y="1809"/>
                </a:lnTo>
                <a:lnTo>
                  <a:pt x="4929" y="1847"/>
                </a:lnTo>
                <a:lnTo>
                  <a:pt x="4922" y="1862"/>
                </a:lnTo>
                <a:lnTo>
                  <a:pt x="4916" y="1876"/>
                </a:lnTo>
                <a:lnTo>
                  <a:pt x="4908" y="1888"/>
                </a:lnTo>
                <a:lnTo>
                  <a:pt x="4901" y="1897"/>
                </a:lnTo>
                <a:lnTo>
                  <a:pt x="4894" y="1906"/>
                </a:lnTo>
                <a:lnTo>
                  <a:pt x="4887" y="1913"/>
                </a:lnTo>
                <a:lnTo>
                  <a:pt x="4878" y="1918"/>
                </a:lnTo>
                <a:lnTo>
                  <a:pt x="4870" y="1921"/>
                </a:lnTo>
                <a:lnTo>
                  <a:pt x="4862" y="1923"/>
                </a:lnTo>
                <a:lnTo>
                  <a:pt x="4852" y="1923"/>
                </a:lnTo>
                <a:lnTo>
                  <a:pt x="4852" y="1923"/>
                </a:lnTo>
                <a:lnTo>
                  <a:pt x="4843" y="1923"/>
                </a:lnTo>
                <a:lnTo>
                  <a:pt x="4834" y="1921"/>
                </a:lnTo>
                <a:lnTo>
                  <a:pt x="4827" y="1919"/>
                </a:lnTo>
                <a:lnTo>
                  <a:pt x="4820" y="1915"/>
                </a:lnTo>
                <a:lnTo>
                  <a:pt x="4813" y="1910"/>
                </a:lnTo>
                <a:lnTo>
                  <a:pt x="4807" y="1903"/>
                </a:lnTo>
                <a:lnTo>
                  <a:pt x="4801" y="1895"/>
                </a:lnTo>
                <a:lnTo>
                  <a:pt x="4795" y="1886"/>
                </a:lnTo>
                <a:lnTo>
                  <a:pt x="4790" y="1876"/>
                </a:lnTo>
                <a:lnTo>
                  <a:pt x="4784" y="1864"/>
                </a:lnTo>
                <a:lnTo>
                  <a:pt x="4773" y="1837"/>
                </a:lnTo>
                <a:lnTo>
                  <a:pt x="4762" y="1803"/>
                </a:lnTo>
                <a:lnTo>
                  <a:pt x="4748" y="1763"/>
                </a:lnTo>
                <a:lnTo>
                  <a:pt x="4748" y="1763"/>
                </a:lnTo>
                <a:lnTo>
                  <a:pt x="4736" y="1727"/>
                </a:lnTo>
                <a:lnTo>
                  <a:pt x="4721" y="1686"/>
                </a:lnTo>
                <a:lnTo>
                  <a:pt x="4706" y="1645"/>
                </a:lnTo>
                <a:lnTo>
                  <a:pt x="4699" y="1627"/>
                </a:lnTo>
                <a:lnTo>
                  <a:pt x="4690" y="1611"/>
                </a:lnTo>
                <a:lnTo>
                  <a:pt x="4690" y="1611"/>
                </a:lnTo>
                <a:lnTo>
                  <a:pt x="4683" y="1627"/>
                </a:lnTo>
                <a:lnTo>
                  <a:pt x="4676" y="1646"/>
                </a:lnTo>
                <a:lnTo>
                  <a:pt x="4661" y="1688"/>
                </a:lnTo>
                <a:lnTo>
                  <a:pt x="4648" y="1729"/>
                </a:lnTo>
                <a:lnTo>
                  <a:pt x="4637" y="1766"/>
                </a:lnTo>
                <a:lnTo>
                  <a:pt x="4637" y="1766"/>
                </a:lnTo>
                <a:lnTo>
                  <a:pt x="4624" y="1804"/>
                </a:lnTo>
                <a:lnTo>
                  <a:pt x="4613" y="1839"/>
                </a:lnTo>
                <a:lnTo>
                  <a:pt x="4603" y="1865"/>
                </a:lnTo>
                <a:lnTo>
                  <a:pt x="4593" y="1888"/>
                </a:lnTo>
                <a:lnTo>
                  <a:pt x="4588" y="1899"/>
                </a:lnTo>
                <a:lnTo>
                  <a:pt x="4583" y="1907"/>
                </a:lnTo>
                <a:lnTo>
                  <a:pt x="4578" y="1914"/>
                </a:lnTo>
                <a:lnTo>
                  <a:pt x="4572" y="1920"/>
                </a:lnTo>
                <a:lnTo>
                  <a:pt x="4565" y="1925"/>
                </a:lnTo>
                <a:lnTo>
                  <a:pt x="4559" y="1930"/>
                </a:lnTo>
                <a:lnTo>
                  <a:pt x="4552" y="1933"/>
                </a:lnTo>
                <a:lnTo>
                  <a:pt x="4545" y="1935"/>
                </a:lnTo>
                <a:lnTo>
                  <a:pt x="4545" y="1935"/>
                </a:lnTo>
                <a:lnTo>
                  <a:pt x="4536" y="1937"/>
                </a:lnTo>
                <a:lnTo>
                  <a:pt x="4529" y="1937"/>
                </a:lnTo>
                <a:lnTo>
                  <a:pt x="4522" y="1936"/>
                </a:lnTo>
                <a:lnTo>
                  <a:pt x="4515" y="1935"/>
                </a:lnTo>
                <a:lnTo>
                  <a:pt x="4508" y="1932"/>
                </a:lnTo>
                <a:lnTo>
                  <a:pt x="4501" y="1928"/>
                </a:lnTo>
                <a:lnTo>
                  <a:pt x="4495" y="1924"/>
                </a:lnTo>
                <a:lnTo>
                  <a:pt x="4490" y="1919"/>
                </a:lnTo>
                <a:lnTo>
                  <a:pt x="4490" y="1919"/>
                </a:lnTo>
                <a:lnTo>
                  <a:pt x="4486" y="1915"/>
                </a:lnTo>
                <a:lnTo>
                  <a:pt x="4482" y="1910"/>
                </a:lnTo>
                <a:lnTo>
                  <a:pt x="4479" y="1903"/>
                </a:lnTo>
                <a:lnTo>
                  <a:pt x="4474" y="1895"/>
                </a:lnTo>
                <a:lnTo>
                  <a:pt x="4470" y="1885"/>
                </a:lnTo>
                <a:lnTo>
                  <a:pt x="4467" y="1874"/>
                </a:lnTo>
                <a:lnTo>
                  <a:pt x="4459" y="1842"/>
                </a:lnTo>
                <a:lnTo>
                  <a:pt x="4450" y="1798"/>
                </a:lnTo>
                <a:lnTo>
                  <a:pt x="4439" y="1739"/>
                </a:lnTo>
                <a:lnTo>
                  <a:pt x="4409" y="1566"/>
                </a:lnTo>
                <a:lnTo>
                  <a:pt x="4409" y="1566"/>
                </a:lnTo>
                <a:lnTo>
                  <a:pt x="4394" y="1478"/>
                </a:lnTo>
                <a:lnTo>
                  <a:pt x="4378" y="1384"/>
                </a:lnTo>
                <a:lnTo>
                  <a:pt x="4378" y="1384"/>
                </a:lnTo>
                <a:lnTo>
                  <a:pt x="4369" y="1487"/>
                </a:lnTo>
                <a:lnTo>
                  <a:pt x="4360" y="1600"/>
                </a:lnTo>
                <a:lnTo>
                  <a:pt x="4343" y="1827"/>
                </a:lnTo>
                <a:lnTo>
                  <a:pt x="4343" y="1827"/>
                </a:lnTo>
                <a:lnTo>
                  <a:pt x="4320" y="2116"/>
                </a:lnTo>
                <a:lnTo>
                  <a:pt x="4303" y="2332"/>
                </a:lnTo>
                <a:lnTo>
                  <a:pt x="4295" y="2416"/>
                </a:lnTo>
                <a:lnTo>
                  <a:pt x="4287" y="2487"/>
                </a:lnTo>
                <a:lnTo>
                  <a:pt x="4280" y="2544"/>
                </a:lnTo>
                <a:lnTo>
                  <a:pt x="4273" y="2591"/>
                </a:lnTo>
                <a:lnTo>
                  <a:pt x="4266" y="2627"/>
                </a:lnTo>
                <a:lnTo>
                  <a:pt x="4258" y="2654"/>
                </a:lnTo>
                <a:lnTo>
                  <a:pt x="4254" y="2664"/>
                </a:lnTo>
                <a:lnTo>
                  <a:pt x="4251" y="2673"/>
                </a:lnTo>
                <a:lnTo>
                  <a:pt x="4247" y="2680"/>
                </a:lnTo>
                <a:lnTo>
                  <a:pt x="4243" y="2686"/>
                </a:lnTo>
                <a:lnTo>
                  <a:pt x="4238" y="2690"/>
                </a:lnTo>
                <a:lnTo>
                  <a:pt x="4234" y="2694"/>
                </a:lnTo>
                <a:lnTo>
                  <a:pt x="4228" y="2696"/>
                </a:lnTo>
                <a:lnTo>
                  <a:pt x="4223" y="2698"/>
                </a:lnTo>
                <a:lnTo>
                  <a:pt x="4213" y="2699"/>
                </a:lnTo>
                <a:lnTo>
                  <a:pt x="4201" y="2699"/>
                </a:lnTo>
                <a:lnTo>
                  <a:pt x="4201" y="2699"/>
                </a:lnTo>
                <a:lnTo>
                  <a:pt x="4188" y="2699"/>
                </a:lnTo>
                <a:lnTo>
                  <a:pt x="4182" y="2698"/>
                </a:lnTo>
                <a:lnTo>
                  <a:pt x="4177" y="2696"/>
                </a:lnTo>
                <a:lnTo>
                  <a:pt x="4171" y="2694"/>
                </a:lnTo>
                <a:lnTo>
                  <a:pt x="4166" y="2690"/>
                </a:lnTo>
                <a:lnTo>
                  <a:pt x="4161" y="2684"/>
                </a:lnTo>
                <a:lnTo>
                  <a:pt x="4157" y="2677"/>
                </a:lnTo>
                <a:lnTo>
                  <a:pt x="4152" y="2667"/>
                </a:lnTo>
                <a:lnTo>
                  <a:pt x="4148" y="2655"/>
                </a:lnTo>
                <a:lnTo>
                  <a:pt x="4145" y="2641"/>
                </a:lnTo>
                <a:lnTo>
                  <a:pt x="4141" y="2623"/>
                </a:lnTo>
                <a:lnTo>
                  <a:pt x="4136" y="2602"/>
                </a:lnTo>
                <a:lnTo>
                  <a:pt x="4133" y="2578"/>
                </a:lnTo>
                <a:lnTo>
                  <a:pt x="4126" y="2518"/>
                </a:lnTo>
                <a:lnTo>
                  <a:pt x="4120" y="2440"/>
                </a:lnTo>
                <a:lnTo>
                  <a:pt x="4113" y="2344"/>
                </a:lnTo>
                <a:lnTo>
                  <a:pt x="4105" y="2226"/>
                </a:lnTo>
                <a:lnTo>
                  <a:pt x="4098" y="2086"/>
                </a:lnTo>
                <a:lnTo>
                  <a:pt x="4081" y="1724"/>
                </a:lnTo>
                <a:lnTo>
                  <a:pt x="4059" y="1243"/>
                </a:lnTo>
                <a:lnTo>
                  <a:pt x="4059" y="1243"/>
                </a:lnTo>
                <a:lnTo>
                  <a:pt x="4040" y="819"/>
                </a:lnTo>
                <a:lnTo>
                  <a:pt x="4040" y="819"/>
                </a:lnTo>
                <a:lnTo>
                  <a:pt x="4024" y="1213"/>
                </a:lnTo>
                <a:lnTo>
                  <a:pt x="4008" y="1622"/>
                </a:lnTo>
                <a:lnTo>
                  <a:pt x="4008" y="1622"/>
                </a:lnTo>
                <a:lnTo>
                  <a:pt x="3988" y="2156"/>
                </a:lnTo>
                <a:lnTo>
                  <a:pt x="3971" y="2558"/>
                </a:lnTo>
                <a:lnTo>
                  <a:pt x="3965" y="2714"/>
                </a:lnTo>
                <a:lnTo>
                  <a:pt x="3958" y="2845"/>
                </a:lnTo>
                <a:lnTo>
                  <a:pt x="3952" y="2953"/>
                </a:lnTo>
                <a:lnTo>
                  <a:pt x="3945" y="3038"/>
                </a:lnTo>
                <a:lnTo>
                  <a:pt x="3939" y="3105"/>
                </a:lnTo>
                <a:lnTo>
                  <a:pt x="3933" y="3155"/>
                </a:lnTo>
                <a:lnTo>
                  <a:pt x="3929" y="3175"/>
                </a:lnTo>
                <a:lnTo>
                  <a:pt x="3926" y="3190"/>
                </a:lnTo>
                <a:lnTo>
                  <a:pt x="3922" y="3204"/>
                </a:lnTo>
                <a:lnTo>
                  <a:pt x="3917" y="3215"/>
                </a:lnTo>
                <a:lnTo>
                  <a:pt x="3913" y="3223"/>
                </a:lnTo>
                <a:lnTo>
                  <a:pt x="3909" y="3230"/>
                </a:lnTo>
                <a:lnTo>
                  <a:pt x="3904" y="3234"/>
                </a:lnTo>
                <a:lnTo>
                  <a:pt x="3899" y="3237"/>
                </a:lnTo>
                <a:lnTo>
                  <a:pt x="3894" y="3239"/>
                </a:lnTo>
                <a:lnTo>
                  <a:pt x="3887" y="3240"/>
                </a:lnTo>
                <a:lnTo>
                  <a:pt x="3875" y="3240"/>
                </a:lnTo>
                <a:lnTo>
                  <a:pt x="3875" y="324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mj-lt"/>
            </a:endParaRPr>
          </a:p>
        </p:txBody>
      </p:sp>
      <p:sp>
        <p:nvSpPr>
          <p:cNvPr id="48" name="TextBox 47"/>
          <p:cNvSpPr txBox="1"/>
          <p:nvPr/>
        </p:nvSpPr>
        <p:spPr>
          <a:xfrm>
            <a:off x="6210779" y="2862524"/>
            <a:ext cx="2377440" cy="1585651"/>
          </a:xfrm>
          <a:prstGeom prst="rect">
            <a:avLst/>
          </a:prstGeom>
          <a:noFill/>
        </p:spPr>
        <p:txBody>
          <a:bodyPr wrap="square" lIns="91440" tIns="45720" rIns="91440" bIns="45720" rtlCol="0">
            <a:noAutofit/>
          </a:bodyPr>
          <a:lstStyle/>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CFP2 WDM pluggability allows a pays as you grow strategy</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Huge variety of possible </a:t>
            </a:r>
            <a:br>
              <a:rPr kumimoji="0" lang="en-US" sz="1100" b="0" i="0" u="none" strike="noStrike" kern="0" cap="none" spc="0" normalizeH="0" baseline="0" noProof="0" dirty="0">
                <a:ln>
                  <a:noFill/>
                </a:ln>
                <a:solidFill>
                  <a:srgbClr val="FFFFFF"/>
                </a:solidFill>
                <a:effectLst/>
                <a:uLnTx/>
                <a:uFillTx/>
                <a:latin typeface="+mj-lt"/>
              </a:rPr>
            </a:br>
            <a:r>
              <a:rPr kumimoji="0" lang="en-US" sz="1100" b="0" i="0" u="none" strike="noStrike" kern="0" cap="none" spc="0" normalizeH="0" baseline="0" noProof="0" dirty="0">
                <a:ln>
                  <a:noFill/>
                </a:ln>
                <a:solidFill>
                  <a:srgbClr val="FFFFFF"/>
                </a:solidFill>
                <a:effectLst/>
                <a:uLnTx/>
                <a:uFillTx/>
                <a:latin typeface="+mj-lt"/>
              </a:rPr>
              <a:t>client support </a:t>
            </a:r>
            <a:br>
              <a:rPr kumimoji="0" lang="en-US" sz="1100" b="0" i="0" u="none" strike="noStrike" kern="0" cap="none" spc="0" normalizeH="0" baseline="0" noProof="0" dirty="0">
                <a:ln>
                  <a:noFill/>
                </a:ln>
                <a:solidFill>
                  <a:srgbClr val="FFFFFF"/>
                </a:solidFill>
                <a:effectLst/>
                <a:uLnTx/>
                <a:uFillTx/>
                <a:latin typeface="+mj-lt"/>
              </a:rPr>
            </a:br>
            <a:r>
              <a:rPr kumimoji="0" lang="en-US" sz="1100" b="0" i="0" u="none" strike="noStrike" kern="0" cap="none" spc="0" normalizeH="0" baseline="0" noProof="0" dirty="0">
                <a:ln>
                  <a:noFill/>
                </a:ln>
                <a:solidFill>
                  <a:srgbClr val="FFFFFF"/>
                </a:solidFill>
                <a:effectLst/>
                <a:uLnTx/>
                <a:uFillTx/>
                <a:latin typeface="+mj-lt"/>
              </a:rPr>
              <a:t>(e.g.:40GE or 16G FC )</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Pay as you grow bandwidth License</a:t>
            </a:r>
          </a:p>
        </p:txBody>
      </p:sp>
      <p:sp>
        <p:nvSpPr>
          <p:cNvPr id="49" name="Freeform 13"/>
          <p:cNvSpPr>
            <a:spLocks/>
          </p:cNvSpPr>
          <p:nvPr/>
        </p:nvSpPr>
        <p:spPr bwMode="auto">
          <a:xfrm>
            <a:off x="3006376" y="1572486"/>
            <a:ext cx="296862" cy="296862"/>
          </a:xfrm>
          <a:custGeom>
            <a:avLst/>
            <a:gdLst>
              <a:gd name="T0" fmla="*/ 187 w 187"/>
              <a:gd name="T1" fmla="*/ 67 h 187"/>
              <a:gd name="T2" fmla="*/ 120 w 187"/>
              <a:gd name="T3" fmla="*/ 67 h 187"/>
              <a:gd name="T4" fmla="*/ 120 w 187"/>
              <a:gd name="T5" fmla="*/ 0 h 187"/>
              <a:gd name="T6" fmla="*/ 66 w 187"/>
              <a:gd name="T7" fmla="*/ 0 h 187"/>
              <a:gd name="T8" fmla="*/ 66 w 187"/>
              <a:gd name="T9" fmla="*/ 67 h 187"/>
              <a:gd name="T10" fmla="*/ 0 w 187"/>
              <a:gd name="T11" fmla="*/ 67 h 187"/>
              <a:gd name="T12" fmla="*/ 0 w 187"/>
              <a:gd name="T13" fmla="*/ 120 h 187"/>
              <a:gd name="T14" fmla="*/ 66 w 187"/>
              <a:gd name="T15" fmla="*/ 120 h 187"/>
              <a:gd name="T16" fmla="*/ 66 w 187"/>
              <a:gd name="T17" fmla="*/ 187 h 187"/>
              <a:gd name="T18" fmla="*/ 120 w 187"/>
              <a:gd name="T19" fmla="*/ 187 h 187"/>
              <a:gd name="T20" fmla="*/ 120 w 187"/>
              <a:gd name="T21" fmla="*/ 120 h 187"/>
              <a:gd name="T22" fmla="*/ 187 w 187"/>
              <a:gd name="T23" fmla="*/ 120 h 187"/>
              <a:gd name="T24" fmla="*/ 187 w 187"/>
              <a:gd name="T25" fmla="*/ 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7">
                <a:moveTo>
                  <a:pt x="187" y="67"/>
                </a:moveTo>
                <a:lnTo>
                  <a:pt x="120" y="67"/>
                </a:lnTo>
                <a:lnTo>
                  <a:pt x="120" y="0"/>
                </a:lnTo>
                <a:lnTo>
                  <a:pt x="66" y="0"/>
                </a:lnTo>
                <a:lnTo>
                  <a:pt x="66" y="67"/>
                </a:lnTo>
                <a:lnTo>
                  <a:pt x="0" y="67"/>
                </a:lnTo>
                <a:lnTo>
                  <a:pt x="0" y="120"/>
                </a:lnTo>
                <a:lnTo>
                  <a:pt x="66" y="120"/>
                </a:lnTo>
                <a:lnTo>
                  <a:pt x="66" y="187"/>
                </a:lnTo>
                <a:lnTo>
                  <a:pt x="120" y="187"/>
                </a:lnTo>
                <a:lnTo>
                  <a:pt x="120" y="120"/>
                </a:lnTo>
                <a:lnTo>
                  <a:pt x="187" y="120"/>
                </a:lnTo>
                <a:lnTo>
                  <a:pt x="187" y="67"/>
                </a:lnTo>
                <a:close/>
              </a:path>
            </a:pathLst>
          </a:custGeom>
          <a:solidFill>
            <a:srgbClr val="676767">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mj-lt"/>
            </a:endParaRPr>
          </a:p>
        </p:txBody>
      </p:sp>
      <p:sp>
        <p:nvSpPr>
          <p:cNvPr id="50" name="Freeform 13"/>
          <p:cNvSpPr>
            <a:spLocks/>
          </p:cNvSpPr>
          <p:nvPr/>
        </p:nvSpPr>
        <p:spPr bwMode="auto">
          <a:xfrm>
            <a:off x="5836170" y="1572486"/>
            <a:ext cx="296862" cy="296862"/>
          </a:xfrm>
          <a:custGeom>
            <a:avLst/>
            <a:gdLst>
              <a:gd name="T0" fmla="*/ 187 w 187"/>
              <a:gd name="T1" fmla="*/ 67 h 187"/>
              <a:gd name="T2" fmla="*/ 120 w 187"/>
              <a:gd name="T3" fmla="*/ 67 h 187"/>
              <a:gd name="T4" fmla="*/ 120 w 187"/>
              <a:gd name="T5" fmla="*/ 0 h 187"/>
              <a:gd name="T6" fmla="*/ 66 w 187"/>
              <a:gd name="T7" fmla="*/ 0 h 187"/>
              <a:gd name="T8" fmla="*/ 66 w 187"/>
              <a:gd name="T9" fmla="*/ 67 h 187"/>
              <a:gd name="T10" fmla="*/ 0 w 187"/>
              <a:gd name="T11" fmla="*/ 67 h 187"/>
              <a:gd name="T12" fmla="*/ 0 w 187"/>
              <a:gd name="T13" fmla="*/ 120 h 187"/>
              <a:gd name="T14" fmla="*/ 66 w 187"/>
              <a:gd name="T15" fmla="*/ 120 h 187"/>
              <a:gd name="T16" fmla="*/ 66 w 187"/>
              <a:gd name="T17" fmla="*/ 187 h 187"/>
              <a:gd name="T18" fmla="*/ 120 w 187"/>
              <a:gd name="T19" fmla="*/ 187 h 187"/>
              <a:gd name="T20" fmla="*/ 120 w 187"/>
              <a:gd name="T21" fmla="*/ 120 h 187"/>
              <a:gd name="T22" fmla="*/ 187 w 187"/>
              <a:gd name="T23" fmla="*/ 120 h 187"/>
              <a:gd name="T24" fmla="*/ 187 w 187"/>
              <a:gd name="T25" fmla="*/ 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7">
                <a:moveTo>
                  <a:pt x="187" y="67"/>
                </a:moveTo>
                <a:lnTo>
                  <a:pt x="120" y="67"/>
                </a:lnTo>
                <a:lnTo>
                  <a:pt x="120" y="0"/>
                </a:lnTo>
                <a:lnTo>
                  <a:pt x="66" y="0"/>
                </a:lnTo>
                <a:lnTo>
                  <a:pt x="66" y="67"/>
                </a:lnTo>
                <a:lnTo>
                  <a:pt x="0" y="67"/>
                </a:lnTo>
                <a:lnTo>
                  <a:pt x="0" y="120"/>
                </a:lnTo>
                <a:lnTo>
                  <a:pt x="66" y="120"/>
                </a:lnTo>
                <a:lnTo>
                  <a:pt x="66" y="187"/>
                </a:lnTo>
                <a:lnTo>
                  <a:pt x="120" y="187"/>
                </a:lnTo>
                <a:lnTo>
                  <a:pt x="120" y="120"/>
                </a:lnTo>
                <a:lnTo>
                  <a:pt x="187" y="120"/>
                </a:lnTo>
                <a:lnTo>
                  <a:pt x="187" y="67"/>
                </a:lnTo>
                <a:close/>
              </a:path>
            </a:pathLst>
          </a:custGeom>
          <a:solidFill>
            <a:srgbClr val="676767">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mj-lt"/>
            </a:endParaRPr>
          </a:p>
        </p:txBody>
      </p:sp>
      <p:sp>
        <p:nvSpPr>
          <p:cNvPr id="51" name="TextBox 50"/>
          <p:cNvSpPr txBox="1"/>
          <p:nvPr/>
        </p:nvSpPr>
        <p:spPr>
          <a:xfrm>
            <a:off x="3902114" y="2548839"/>
            <a:ext cx="1359456" cy="261610"/>
          </a:xfrm>
          <a:prstGeom prst="rect">
            <a:avLst/>
          </a:prstGeom>
          <a:solidFill>
            <a:schemeClr val="accent1">
              <a:lumMod val="75000"/>
            </a:schemeClr>
          </a:solidFill>
        </p:spPr>
        <p:txBody>
          <a:bodyPr wrap="square" tIns="91440" bIns="91440" rtlCol="0" anchor="ctr">
            <a:no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400" b="0" i="0" u="none" strike="noStrike" kern="0" cap="none" spc="0" normalizeH="0" baseline="0">
                <a:ln>
                  <a:noFill/>
                </a:ln>
                <a:solidFill>
                  <a:srgbClr val="FFFFFF"/>
                </a:solidFill>
                <a:effectLst/>
                <a:uLnTx/>
                <a:uFillTx/>
                <a:latin typeface="+mj-lt"/>
              </a:defRPr>
            </a:lvl1pPr>
          </a:lstStyle>
          <a:p>
            <a:r>
              <a:rPr lang="en-US" dirty="0"/>
              <a:t>Performance</a:t>
            </a:r>
          </a:p>
        </p:txBody>
      </p:sp>
      <p:sp>
        <p:nvSpPr>
          <p:cNvPr id="52" name="TextBox 51"/>
          <p:cNvSpPr txBox="1"/>
          <p:nvPr/>
        </p:nvSpPr>
        <p:spPr>
          <a:xfrm>
            <a:off x="6719771" y="2548839"/>
            <a:ext cx="1359456" cy="261610"/>
          </a:xfrm>
          <a:prstGeom prst="rect">
            <a:avLst/>
          </a:prstGeom>
          <a:solidFill>
            <a:schemeClr val="accent2">
              <a:lumMod val="75000"/>
            </a:schemeClr>
          </a:solidFill>
        </p:spPr>
        <p:txBody>
          <a:bodyPr wrap="square" tIns="91440" bIns="91440" rtlCol="0" anchor="ctr">
            <a:no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400" b="0" i="0" u="none" strike="noStrike" kern="0" cap="none" spc="0" normalizeH="0" baseline="0">
                <a:ln>
                  <a:noFill/>
                </a:ln>
                <a:solidFill>
                  <a:srgbClr val="FFFFFF"/>
                </a:solidFill>
                <a:effectLst/>
                <a:uLnTx/>
                <a:uFillTx/>
                <a:latin typeface="+mj-lt"/>
              </a:defRPr>
            </a:lvl1pPr>
          </a:lstStyle>
          <a:p>
            <a:r>
              <a:rPr lang="en-US" dirty="0"/>
              <a:t>Flexibility</a:t>
            </a:r>
          </a:p>
        </p:txBody>
      </p:sp>
    </p:spTree>
    <p:extLst>
      <p:ext uri="{BB962C8B-B14F-4D97-AF65-F5344CB8AC3E}">
        <p14:creationId xmlns:p14="http://schemas.microsoft.com/office/powerpoint/2010/main" val="373432186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FA982-0986-4B67-ACB9-95BA45754083}"/>
              </a:ext>
            </a:extLst>
          </p:cNvPr>
          <p:cNvSpPr>
            <a:spLocks noGrp="1"/>
          </p:cNvSpPr>
          <p:nvPr>
            <p:ph type="ctrTitle"/>
          </p:nvPr>
        </p:nvSpPr>
        <p:spPr/>
        <p:txBody>
          <a:bodyPr/>
          <a:lstStyle/>
          <a:p>
            <a:r>
              <a:rPr lang="en-ZA" dirty="0"/>
              <a:t>Flexible Capacity</a:t>
            </a:r>
          </a:p>
        </p:txBody>
      </p:sp>
    </p:spTree>
    <p:extLst>
      <p:ext uri="{BB962C8B-B14F-4D97-AF65-F5344CB8AC3E}">
        <p14:creationId xmlns:p14="http://schemas.microsoft.com/office/powerpoint/2010/main" val="3034041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Flexible Consumption </a:t>
            </a:r>
            <a:br>
              <a:rPr lang="en-US" dirty="0"/>
            </a:br>
            <a:r>
              <a:rPr lang="en-US" sz="1800" dirty="0"/>
              <a:t>Capacity and Automation PAYG</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1"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7"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grpSp>
        <p:nvGrpSpPr>
          <p:cNvPr id="957" name="Group 956">
            <a:extLst>
              <a:ext uri="{FF2B5EF4-FFF2-40B4-BE49-F238E27FC236}">
                <a16:creationId xmlns:a16="http://schemas.microsoft.com/office/drawing/2014/main" id="{64452086-9719-44DE-8388-739CF1B77595}"/>
              </a:ext>
            </a:extLst>
          </p:cNvPr>
          <p:cNvGrpSpPr/>
          <p:nvPr/>
        </p:nvGrpSpPr>
        <p:grpSpPr>
          <a:xfrm>
            <a:off x="732673" y="1788912"/>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
        <p:nvSpPr>
          <p:cNvPr id="221" name="Rectangle 220">
            <a:extLst>
              <a:ext uri="{FF2B5EF4-FFF2-40B4-BE49-F238E27FC236}">
                <a16:creationId xmlns:a16="http://schemas.microsoft.com/office/drawing/2014/main" id="{85B5D98D-0635-4241-A5D8-01401122EDBB}"/>
              </a:ext>
            </a:extLst>
          </p:cNvPr>
          <p:cNvSpPr/>
          <p:nvPr/>
        </p:nvSpPr>
        <p:spPr>
          <a:xfrm>
            <a:off x="1789987" y="3422800"/>
            <a:ext cx="5945724" cy="1095412"/>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Tree>
    <p:extLst>
      <p:ext uri="{BB962C8B-B14F-4D97-AF65-F5344CB8AC3E}">
        <p14:creationId xmlns:p14="http://schemas.microsoft.com/office/powerpoint/2010/main" val="870611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1"/>
                                        </p:tgtEl>
                                        <p:attrNameLst>
                                          <p:attrName>style.visibility</p:attrName>
                                        </p:attrNameLst>
                                      </p:cBhvr>
                                      <p:to>
                                        <p:strVal val="visible"/>
                                      </p:to>
                                    </p:set>
                                    <p:animEffect transition="in" filter="fade">
                                      <p:cBhvr>
                                        <p:cTn id="7" dur="500"/>
                                        <p:tgtEl>
                                          <p:spTgt spid="2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1"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Network Segments</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1"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7"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grpSp>
        <p:nvGrpSpPr>
          <p:cNvPr id="957" name="Group 956">
            <a:extLst>
              <a:ext uri="{FF2B5EF4-FFF2-40B4-BE49-F238E27FC236}">
                <a16:creationId xmlns:a16="http://schemas.microsoft.com/office/drawing/2014/main" id="{64452086-9719-44DE-8388-739CF1B77595}"/>
              </a:ext>
            </a:extLst>
          </p:cNvPr>
          <p:cNvGrpSpPr/>
          <p:nvPr/>
        </p:nvGrpSpPr>
        <p:grpSpPr>
          <a:xfrm>
            <a:off x="732673" y="1788912"/>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Tree>
    <p:extLst>
      <p:ext uri="{BB962C8B-B14F-4D97-AF65-F5344CB8AC3E}">
        <p14:creationId xmlns:p14="http://schemas.microsoft.com/office/powerpoint/2010/main" val="224142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ectangle 138"/>
          <p:cNvSpPr/>
          <p:nvPr/>
        </p:nvSpPr>
        <p:spPr>
          <a:xfrm>
            <a:off x="4716511" y="1046176"/>
            <a:ext cx="4254413" cy="360949"/>
          </a:xfrm>
          <a:prstGeom prst="rect">
            <a:avLst/>
          </a:prstGeom>
          <a:solidFill>
            <a:srgbClr val="6EBE4A"/>
          </a:solidFill>
          <a:ln w="34925" cap="rnd">
            <a:noFill/>
            <a:round/>
            <a:headEnd/>
            <a:tailEnd/>
          </a:ln>
          <a:effectLst/>
        </p:spPr>
        <p:txBody>
          <a:bodyPr vert="horz" wrap="square" lIns="0" tIns="0" rIns="0" bIns="0" numCol="1" anchor="ctr" anchorCtr="1" compatLnSpc="1">
            <a:prstTxWarp prst="textNoShape">
              <a:avLst/>
            </a:prstTxWarp>
          </a:bodyPr>
          <a:lstStyle/>
          <a:p>
            <a:pPr marL="0" marR="0" lvl="0" indent="0" algn="ctr" defTabSz="68511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5073"/>
                </a:solidFill>
                <a:effectLst/>
                <a:uLnTx/>
                <a:uFillTx/>
                <a:latin typeface="CiscoSansTT" panose="020B0503020201020303" pitchFamily="34" charset="0"/>
                <a:ea typeface="ＭＳ Ｐゴシック"/>
                <a:cs typeface="CiscoSansTT" panose="020B0503020201020303" pitchFamily="34" charset="0"/>
              </a:rPr>
              <a:t>Customer Benefits</a:t>
            </a:r>
          </a:p>
        </p:txBody>
      </p:sp>
      <p:sp>
        <p:nvSpPr>
          <p:cNvPr id="5" name="Text Placeholder 4"/>
          <p:cNvSpPr>
            <a:spLocks noGrp="1"/>
          </p:cNvSpPr>
          <p:nvPr>
            <p:ph type="body" sz="quarter" idx="10"/>
          </p:nvPr>
        </p:nvSpPr>
        <p:spPr>
          <a:xfrm>
            <a:off x="1198783" y="1368085"/>
            <a:ext cx="2753919" cy="379386"/>
          </a:xfrm>
        </p:spPr>
        <p:txBody>
          <a:bodyPr anchor="ctr"/>
          <a:lstStyle/>
          <a:p>
            <a:pPr marL="57150" indent="0">
              <a:lnSpc>
                <a:spcPct val="100000"/>
              </a:lnSpc>
              <a:spcBef>
                <a:spcPts val="4200"/>
              </a:spcBef>
              <a:buNone/>
            </a:pPr>
            <a:r>
              <a:rPr lang="en-US" sz="1800" dirty="0"/>
              <a:t>Reduce upfront capital </a:t>
            </a:r>
          </a:p>
        </p:txBody>
      </p:sp>
      <p:sp>
        <p:nvSpPr>
          <p:cNvPr id="4" name="Title 3"/>
          <p:cNvSpPr>
            <a:spLocks noGrp="1"/>
          </p:cNvSpPr>
          <p:nvPr>
            <p:ph type="title"/>
          </p:nvPr>
        </p:nvSpPr>
        <p:spPr>
          <a:xfrm>
            <a:off x="437766" y="341313"/>
            <a:ext cx="3848848" cy="731837"/>
          </a:xfrm>
        </p:spPr>
        <p:txBody>
          <a:bodyPr/>
          <a:lstStyle/>
          <a:p>
            <a:r>
              <a:rPr lang="en-US" dirty="0"/>
              <a:t>Network Economics</a:t>
            </a:r>
          </a:p>
        </p:txBody>
      </p:sp>
      <p:grpSp>
        <p:nvGrpSpPr>
          <p:cNvPr id="120" name="Group 119"/>
          <p:cNvGrpSpPr/>
          <p:nvPr/>
        </p:nvGrpSpPr>
        <p:grpSpPr>
          <a:xfrm>
            <a:off x="4716512" y="1410671"/>
            <a:ext cx="2113988" cy="1627170"/>
            <a:chOff x="4716512" y="1146511"/>
            <a:chExt cx="2113988" cy="1627170"/>
          </a:xfrm>
        </p:grpSpPr>
        <p:sp>
          <p:nvSpPr>
            <p:cNvPr id="138" name="Rectangle 137"/>
            <p:cNvSpPr/>
            <p:nvPr/>
          </p:nvSpPr>
          <p:spPr>
            <a:xfrm>
              <a:off x="4716512" y="1146511"/>
              <a:ext cx="2100932" cy="162717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17" name="Group 116"/>
            <p:cNvGrpSpPr/>
            <p:nvPr/>
          </p:nvGrpSpPr>
          <p:grpSpPr>
            <a:xfrm>
              <a:off x="4777514" y="1687644"/>
              <a:ext cx="2052986" cy="861940"/>
              <a:chOff x="4910335" y="1860642"/>
              <a:chExt cx="1698719" cy="713202"/>
            </a:xfrm>
          </p:grpSpPr>
          <p:grpSp>
            <p:nvGrpSpPr>
              <p:cNvPr id="12" name="Group 11"/>
              <p:cNvGrpSpPr/>
              <p:nvPr/>
            </p:nvGrpSpPr>
            <p:grpSpPr>
              <a:xfrm>
                <a:off x="4910335" y="2044498"/>
                <a:ext cx="329307" cy="508774"/>
                <a:chOff x="758620" y="3455507"/>
                <a:chExt cx="399830" cy="617732"/>
              </a:xfrm>
            </p:grpSpPr>
            <p:sp>
              <p:nvSpPr>
                <p:cNvPr id="13" name="TextBox 12"/>
                <p:cNvSpPr txBox="1"/>
                <p:nvPr/>
              </p:nvSpPr>
              <p:spPr>
                <a:xfrm rot="16200000">
                  <a:off x="599230" y="3614897"/>
                  <a:ext cx="617732" cy="298951"/>
                </a:xfrm>
                <a:prstGeom prst="rect">
                  <a:avLst/>
                </a:prstGeom>
                <a:noFill/>
              </p:spPr>
              <p:txBody>
                <a:bodyPr wrap="square" rtlCol="0">
                  <a:spAutoFit/>
                </a:bodyP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iscoSansTT ExtraLight"/>
                      <a:ea typeface="Arial" charset="0"/>
                      <a:cs typeface="Arial" charset="0"/>
                    </a:rPr>
                    <a:t>Year</a:t>
                  </a:r>
                </a:p>
              </p:txBody>
            </p:sp>
            <p:sp>
              <p:nvSpPr>
                <p:cNvPr id="14" name="Oval 13"/>
                <p:cNvSpPr>
                  <a:spLocks noChangeAspect="1"/>
                </p:cNvSpPr>
                <p:nvPr/>
              </p:nvSpPr>
              <p:spPr>
                <a:xfrm>
                  <a:off x="1079675" y="3521261"/>
                  <a:ext cx="78775" cy="80973"/>
                </a:xfrm>
                <a:prstGeom prst="ellipse">
                  <a:avLst/>
                </a:prstGeom>
                <a:solidFill>
                  <a:sysClr val="window" lastClr="FFFFFF">
                    <a:lumMod val="50000"/>
                  </a:sysClr>
                </a:solidFill>
                <a:ln w="3175"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charset="0"/>
                      <a:ea typeface="Arial" charset="0"/>
                      <a:cs typeface="Arial" charset="0"/>
                    </a:rPr>
                    <a:t>1</a:t>
                  </a:r>
                </a:p>
              </p:txBody>
            </p:sp>
            <p:sp>
              <p:nvSpPr>
                <p:cNvPr id="15" name="Oval 14"/>
                <p:cNvSpPr>
                  <a:spLocks noChangeAspect="1"/>
                </p:cNvSpPr>
                <p:nvPr/>
              </p:nvSpPr>
              <p:spPr>
                <a:xfrm>
                  <a:off x="1079675" y="3629609"/>
                  <a:ext cx="78775" cy="80973"/>
                </a:xfrm>
                <a:prstGeom prst="ellipse">
                  <a:avLst/>
                </a:prstGeom>
                <a:solidFill>
                  <a:srgbClr val="FFC000"/>
                </a:solidFill>
                <a:ln w="3175"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charset="0"/>
                      <a:ea typeface="Arial" charset="0"/>
                      <a:cs typeface="Arial" charset="0"/>
                    </a:rPr>
                    <a:t>2</a:t>
                  </a:r>
                </a:p>
              </p:txBody>
            </p:sp>
            <p:sp>
              <p:nvSpPr>
                <p:cNvPr id="16" name="Oval 15"/>
                <p:cNvSpPr>
                  <a:spLocks noChangeAspect="1"/>
                </p:cNvSpPr>
                <p:nvPr/>
              </p:nvSpPr>
              <p:spPr>
                <a:xfrm>
                  <a:off x="1079675" y="3846305"/>
                  <a:ext cx="78775" cy="80973"/>
                </a:xfrm>
                <a:prstGeom prst="ellipse">
                  <a:avLst/>
                </a:prstGeom>
                <a:solidFill>
                  <a:srgbClr val="00B050"/>
                </a:solidFill>
                <a:ln w="3175"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charset="0"/>
                      <a:ea typeface="Arial" charset="0"/>
                      <a:cs typeface="Arial" charset="0"/>
                    </a:rPr>
                    <a:t>4</a:t>
                  </a:r>
                </a:p>
              </p:txBody>
            </p:sp>
            <p:sp>
              <p:nvSpPr>
                <p:cNvPr id="17" name="Oval 16"/>
                <p:cNvSpPr>
                  <a:spLocks noChangeAspect="1"/>
                </p:cNvSpPr>
                <p:nvPr/>
              </p:nvSpPr>
              <p:spPr>
                <a:xfrm>
                  <a:off x="1079675" y="3737957"/>
                  <a:ext cx="78775" cy="80973"/>
                </a:xfrm>
                <a:prstGeom prst="ellipse">
                  <a:avLst/>
                </a:prstGeom>
                <a:solidFill>
                  <a:srgbClr val="5B9BD5"/>
                </a:solidFill>
                <a:ln w="3175"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charset="0"/>
                      <a:ea typeface="Arial" charset="0"/>
                      <a:cs typeface="Arial" charset="0"/>
                    </a:rPr>
                    <a:t>3</a:t>
                  </a:r>
                </a:p>
              </p:txBody>
            </p:sp>
            <p:sp>
              <p:nvSpPr>
                <p:cNvPr id="18" name="Oval 17"/>
                <p:cNvSpPr>
                  <a:spLocks noChangeAspect="1"/>
                </p:cNvSpPr>
                <p:nvPr/>
              </p:nvSpPr>
              <p:spPr>
                <a:xfrm>
                  <a:off x="1079675" y="3954654"/>
                  <a:ext cx="78775" cy="80973"/>
                </a:xfrm>
                <a:prstGeom prst="ellipse">
                  <a:avLst/>
                </a:prstGeom>
                <a:solidFill>
                  <a:srgbClr val="FF0000"/>
                </a:solidFill>
                <a:ln w="3175"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charset="0"/>
                      <a:ea typeface="Arial" charset="0"/>
                      <a:cs typeface="Arial" charset="0"/>
                    </a:rPr>
                    <a:t>5</a:t>
                  </a:r>
                </a:p>
              </p:txBody>
            </p:sp>
          </p:grpSp>
          <p:sp>
            <p:nvSpPr>
              <p:cNvPr id="19" name="TextBox 18"/>
              <p:cNvSpPr txBox="1"/>
              <p:nvPr/>
            </p:nvSpPr>
            <p:spPr>
              <a:xfrm>
                <a:off x="5185183" y="1860642"/>
                <a:ext cx="1423871" cy="246221"/>
              </a:xfrm>
              <a:prstGeom prst="rect">
                <a:avLst/>
              </a:prstGeom>
              <a:noFill/>
            </p:spPr>
            <p:txBody>
              <a:bodyPr wrap="square" rtlCol="0">
                <a:spAutoFit/>
              </a:bodyP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iscoSansTT ExtraLight"/>
                    <a:ea typeface="Arial" charset="0"/>
                    <a:cs typeface="Arial" charset="0"/>
                  </a:rPr>
                  <a:t>Network Ports</a:t>
                </a:r>
              </a:p>
            </p:txBody>
          </p:sp>
          <p:grpSp>
            <p:nvGrpSpPr>
              <p:cNvPr id="20" name="Group 19"/>
              <p:cNvGrpSpPr/>
              <p:nvPr/>
            </p:nvGrpSpPr>
            <p:grpSpPr>
              <a:xfrm>
                <a:off x="5398006" y="2069349"/>
                <a:ext cx="1067025" cy="504495"/>
                <a:chOff x="3508200" y="3918953"/>
                <a:chExt cx="1295537" cy="612536"/>
              </a:xfrm>
            </p:grpSpPr>
            <p:sp>
              <p:nvSpPr>
                <p:cNvPr id="21" name="Rectangle 20"/>
                <p:cNvSpPr/>
                <p:nvPr/>
              </p:nvSpPr>
              <p:spPr>
                <a:xfrm>
                  <a:off x="3508200" y="3918953"/>
                  <a:ext cx="1285913" cy="612536"/>
                </a:xfrm>
                <a:prstGeom prst="rect">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22" name="Oval 21"/>
                <p:cNvSpPr>
                  <a:spLocks noChangeAspect="1"/>
                </p:cNvSpPr>
                <p:nvPr/>
              </p:nvSpPr>
              <p:spPr>
                <a:xfrm>
                  <a:off x="3526901" y="4433336"/>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23" name="Oval 22"/>
                <p:cNvSpPr>
                  <a:spLocks noChangeAspect="1"/>
                </p:cNvSpPr>
                <p:nvPr/>
              </p:nvSpPr>
              <p:spPr>
                <a:xfrm>
                  <a:off x="3655427" y="4433336"/>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24" name="Oval 23"/>
                <p:cNvSpPr>
                  <a:spLocks noChangeAspect="1"/>
                </p:cNvSpPr>
                <p:nvPr/>
              </p:nvSpPr>
              <p:spPr>
                <a:xfrm>
                  <a:off x="3783952" y="4433336"/>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25" name="Oval 24"/>
                <p:cNvSpPr>
                  <a:spLocks noChangeAspect="1"/>
                </p:cNvSpPr>
                <p:nvPr/>
              </p:nvSpPr>
              <p:spPr>
                <a:xfrm>
                  <a:off x="3912479" y="4433336"/>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26" name="Oval 25"/>
                <p:cNvSpPr>
                  <a:spLocks noChangeAspect="1"/>
                </p:cNvSpPr>
                <p:nvPr/>
              </p:nvSpPr>
              <p:spPr>
                <a:xfrm>
                  <a:off x="4041006" y="4433336"/>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27" name="Oval 26"/>
                <p:cNvSpPr>
                  <a:spLocks noChangeAspect="1"/>
                </p:cNvSpPr>
                <p:nvPr/>
              </p:nvSpPr>
              <p:spPr>
                <a:xfrm>
                  <a:off x="4169531" y="4433336"/>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28" name="Oval 27"/>
                <p:cNvSpPr>
                  <a:spLocks noChangeAspect="1"/>
                </p:cNvSpPr>
                <p:nvPr/>
              </p:nvSpPr>
              <p:spPr>
                <a:xfrm>
                  <a:off x="4298058" y="4433336"/>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29" name="Oval 28"/>
                <p:cNvSpPr>
                  <a:spLocks noChangeAspect="1"/>
                </p:cNvSpPr>
                <p:nvPr/>
              </p:nvSpPr>
              <p:spPr>
                <a:xfrm>
                  <a:off x="4426584" y="4433336"/>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0" name="Oval 29"/>
                <p:cNvSpPr>
                  <a:spLocks noChangeAspect="1"/>
                </p:cNvSpPr>
                <p:nvPr/>
              </p:nvSpPr>
              <p:spPr>
                <a:xfrm>
                  <a:off x="4555109" y="4433336"/>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1" name="Oval 30"/>
                <p:cNvSpPr>
                  <a:spLocks noChangeAspect="1"/>
                </p:cNvSpPr>
                <p:nvPr/>
              </p:nvSpPr>
              <p:spPr>
                <a:xfrm>
                  <a:off x="4683635" y="4433334"/>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2" name="Oval 31"/>
                <p:cNvSpPr>
                  <a:spLocks noChangeAspect="1"/>
                </p:cNvSpPr>
                <p:nvPr/>
              </p:nvSpPr>
              <p:spPr>
                <a:xfrm>
                  <a:off x="3525131" y="4319920"/>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3" name="Oval 32"/>
                <p:cNvSpPr>
                  <a:spLocks noChangeAspect="1"/>
                </p:cNvSpPr>
                <p:nvPr/>
              </p:nvSpPr>
              <p:spPr>
                <a:xfrm>
                  <a:off x="3653657" y="4319920"/>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4" name="Oval 33"/>
                <p:cNvSpPr>
                  <a:spLocks noChangeAspect="1"/>
                </p:cNvSpPr>
                <p:nvPr/>
              </p:nvSpPr>
              <p:spPr>
                <a:xfrm>
                  <a:off x="3782182" y="4319920"/>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5" name="Oval 34"/>
                <p:cNvSpPr>
                  <a:spLocks noChangeAspect="1"/>
                </p:cNvSpPr>
                <p:nvPr/>
              </p:nvSpPr>
              <p:spPr>
                <a:xfrm>
                  <a:off x="3910709" y="4319920"/>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6" name="Oval 35"/>
                <p:cNvSpPr>
                  <a:spLocks noChangeAspect="1"/>
                </p:cNvSpPr>
                <p:nvPr/>
              </p:nvSpPr>
              <p:spPr>
                <a:xfrm>
                  <a:off x="4039236" y="4319920"/>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7" name="Oval 36"/>
                <p:cNvSpPr>
                  <a:spLocks noChangeAspect="1"/>
                </p:cNvSpPr>
                <p:nvPr/>
              </p:nvSpPr>
              <p:spPr>
                <a:xfrm>
                  <a:off x="4167761" y="4319920"/>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8" name="Oval 37"/>
                <p:cNvSpPr>
                  <a:spLocks noChangeAspect="1"/>
                </p:cNvSpPr>
                <p:nvPr/>
              </p:nvSpPr>
              <p:spPr>
                <a:xfrm>
                  <a:off x="4296288" y="4319920"/>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39" name="Oval 38"/>
                <p:cNvSpPr>
                  <a:spLocks noChangeAspect="1"/>
                </p:cNvSpPr>
                <p:nvPr/>
              </p:nvSpPr>
              <p:spPr>
                <a:xfrm>
                  <a:off x="4424814" y="4319920"/>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0" name="Oval 39"/>
                <p:cNvSpPr>
                  <a:spLocks noChangeAspect="1"/>
                </p:cNvSpPr>
                <p:nvPr/>
              </p:nvSpPr>
              <p:spPr>
                <a:xfrm>
                  <a:off x="4553339" y="4319920"/>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1" name="Oval 40"/>
                <p:cNvSpPr>
                  <a:spLocks noChangeAspect="1"/>
                </p:cNvSpPr>
                <p:nvPr/>
              </p:nvSpPr>
              <p:spPr>
                <a:xfrm>
                  <a:off x="4681865" y="4319918"/>
                  <a:ext cx="52518" cy="53983"/>
                </a:xfrm>
                <a:prstGeom prst="ellipse">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2" name="Oval 41"/>
                <p:cNvSpPr>
                  <a:spLocks noChangeAspect="1"/>
                </p:cNvSpPr>
                <p:nvPr/>
              </p:nvSpPr>
              <p:spPr>
                <a:xfrm>
                  <a:off x="3525126" y="4197646"/>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3" name="Oval 42"/>
                <p:cNvSpPr>
                  <a:spLocks noChangeAspect="1"/>
                </p:cNvSpPr>
                <p:nvPr/>
              </p:nvSpPr>
              <p:spPr>
                <a:xfrm>
                  <a:off x="3653652" y="4197646"/>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4" name="Oval 43"/>
                <p:cNvSpPr>
                  <a:spLocks noChangeAspect="1"/>
                </p:cNvSpPr>
                <p:nvPr/>
              </p:nvSpPr>
              <p:spPr>
                <a:xfrm>
                  <a:off x="3782177" y="4197646"/>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5" name="Oval 44"/>
                <p:cNvSpPr>
                  <a:spLocks noChangeAspect="1"/>
                </p:cNvSpPr>
                <p:nvPr/>
              </p:nvSpPr>
              <p:spPr>
                <a:xfrm>
                  <a:off x="3910704" y="4197646"/>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6" name="Oval 45"/>
                <p:cNvSpPr>
                  <a:spLocks noChangeAspect="1"/>
                </p:cNvSpPr>
                <p:nvPr/>
              </p:nvSpPr>
              <p:spPr>
                <a:xfrm>
                  <a:off x="4039231" y="4197646"/>
                  <a:ext cx="52518" cy="53983"/>
                </a:xfrm>
                <a:prstGeom prst="ellipse">
                  <a:avLst/>
                </a:prstGeom>
                <a:solidFill>
                  <a:schemeClr val="accent2">
                    <a:lumMod val="60000"/>
                    <a:lumOff val="40000"/>
                  </a:scheme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7" name="Oval 46"/>
                <p:cNvSpPr>
                  <a:spLocks noChangeAspect="1"/>
                </p:cNvSpPr>
                <p:nvPr/>
              </p:nvSpPr>
              <p:spPr>
                <a:xfrm>
                  <a:off x="4167756" y="4197646"/>
                  <a:ext cx="52518" cy="53983"/>
                </a:xfrm>
                <a:prstGeom prst="ellipse">
                  <a:avLst/>
                </a:prstGeom>
                <a:solidFill>
                  <a:schemeClr val="accent2">
                    <a:lumMod val="60000"/>
                    <a:lumOff val="40000"/>
                  </a:scheme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8" name="Oval 47"/>
                <p:cNvSpPr>
                  <a:spLocks noChangeAspect="1"/>
                </p:cNvSpPr>
                <p:nvPr/>
              </p:nvSpPr>
              <p:spPr>
                <a:xfrm>
                  <a:off x="4296283" y="4197646"/>
                  <a:ext cx="52518" cy="53983"/>
                </a:xfrm>
                <a:prstGeom prst="ellipse">
                  <a:avLst/>
                </a:prstGeom>
                <a:solidFill>
                  <a:schemeClr val="accent2">
                    <a:lumMod val="60000"/>
                    <a:lumOff val="40000"/>
                  </a:scheme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49" name="Oval 48"/>
                <p:cNvSpPr>
                  <a:spLocks noChangeAspect="1"/>
                </p:cNvSpPr>
                <p:nvPr/>
              </p:nvSpPr>
              <p:spPr>
                <a:xfrm>
                  <a:off x="4424809" y="4197646"/>
                  <a:ext cx="52518" cy="53983"/>
                </a:xfrm>
                <a:prstGeom prst="ellipse">
                  <a:avLst/>
                </a:prstGeom>
                <a:solidFill>
                  <a:schemeClr val="accent2">
                    <a:lumMod val="60000"/>
                    <a:lumOff val="40000"/>
                  </a:scheme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0" name="Oval 49"/>
                <p:cNvSpPr>
                  <a:spLocks noChangeAspect="1"/>
                </p:cNvSpPr>
                <p:nvPr/>
              </p:nvSpPr>
              <p:spPr>
                <a:xfrm>
                  <a:off x="4553334" y="4197646"/>
                  <a:ext cx="52518" cy="53983"/>
                </a:xfrm>
                <a:prstGeom prst="ellipse">
                  <a:avLst/>
                </a:prstGeom>
                <a:solidFill>
                  <a:schemeClr val="accent2">
                    <a:lumMod val="60000"/>
                    <a:lumOff val="40000"/>
                  </a:scheme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1" name="Oval 50"/>
                <p:cNvSpPr>
                  <a:spLocks noChangeAspect="1"/>
                </p:cNvSpPr>
                <p:nvPr/>
              </p:nvSpPr>
              <p:spPr>
                <a:xfrm>
                  <a:off x="4681860" y="4197644"/>
                  <a:ext cx="52518" cy="53983"/>
                </a:xfrm>
                <a:prstGeom prst="ellipse">
                  <a:avLst/>
                </a:prstGeom>
                <a:solidFill>
                  <a:schemeClr val="accent2">
                    <a:lumMod val="60000"/>
                    <a:lumOff val="40000"/>
                  </a:scheme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2" name="Oval 51"/>
                <p:cNvSpPr>
                  <a:spLocks noChangeAspect="1"/>
                </p:cNvSpPr>
                <p:nvPr/>
              </p:nvSpPr>
              <p:spPr>
                <a:xfrm>
                  <a:off x="3530447" y="4080692"/>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3" name="Oval 52"/>
                <p:cNvSpPr>
                  <a:spLocks noChangeAspect="1"/>
                </p:cNvSpPr>
                <p:nvPr/>
              </p:nvSpPr>
              <p:spPr>
                <a:xfrm>
                  <a:off x="3658973" y="4080692"/>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4" name="Oval 53"/>
                <p:cNvSpPr>
                  <a:spLocks noChangeAspect="1"/>
                </p:cNvSpPr>
                <p:nvPr/>
              </p:nvSpPr>
              <p:spPr>
                <a:xfrm>
                  <a:off x="3787498" y="4080692"/>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5" name="Oval 54"/>
                <p:cNvSpPr>
                  <a:spLocks noChangeAspect="1"/>
                </p:cNvSpPr>
                <p:nvPr/>
              </p:nvSpPr>
              <p:spPr>
                <a:xfrm>
                  <a:off x="3916025" y="4080692"/>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6" name="Oval 55"/>
                <p:cNvSpPr>
                  <a:spLocks noChangeAspect="1"/>
                </p:cNvSpPr>
                <p:nvPr/>
              </p:nvSpPr>
              <p:spPr>
                <a:xfrm>
                  <a:off x="4044552" y="4080692"/>
                  <a:ext cx="52518" cy="53983"/>
                </a:xfrm>
                <a:prstGeom prst="ellipse">
                  <a:avLst/>
                </a:prstGeom>
                <a:solidFill>
                  <a:srgbClr val="049FD9"/>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7" name="Oval 56"/>
                <p:cNvSpPr>
                  <a:spLocks noChangeAspect="1"/>
                </p:cNvSpPr>
                <p:nvPr/>
              </p:nvSpPr>
              <p:spPr>
                <a:xfrm>
                  <a:off x="4173077" y="4080692"/>
                  <a:ext cx="52518" cy="53983"/>
                </a:xfrm>
                <a:prstGeom prst="ellipse">
                  <a:avLst/>
                </a:prstGeom>
                <a:solidFill>
                  <a:srgbClr val="049FD9"/>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8" name="Oval 57"/>
                <p:cNvSpPr>
                  <a:spLocks noChangeAspect="1"/>
                </p:cNvSpPr>
                <p:nvPr/>
              </p:nvSpPr>
              <p:spPr>
                <a:xfrm>
                  <a:off x="4301604" y="4080692"/>
                  <a:ext cx="52518" cy="53983"/>
                </a:xfrm>
                <a:prstGeom prst="ellipse">
                  <a:avLst/>
                </a:prstGeom>
                <a:solidFill>
                  <a:srgbClr val="049FD9"/>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59" name="Oval 58"/>
                <p:cNvSpPr>
                  <a:spLocks noChangeAspect="1"/>
                </p:cNvSpPr>
                <p:nvPr/>
              </p:nvSpPr>
              <p:spPr>
                <a:xfrm>
                  <a:off x="4430130" y="4080692"/>
                  <a:ext cx="52518" cy="53983"/>
                </a:xfrm>
                <a:prstGeom prst="ellipse">
                  <a:avLst/>
                </a:prstGeom>
                <a:solidFill>
                  <a:srgbClr val="049FD9"/>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0" name="Oval 59"/>
                <p:cNvSpPr>
                  <a:spLocks noChangeAspect="1"/>
                </p:cNvSpPr>
                <p:nvPr/>
              </p:nvSpPr>
              <p:spPr>
                <a:xfrm>
                  <a:off x="4558655" y="4080692"/>
                  <a:ext cx="52518" cy="53983"/>
                </a:xfrm>
                <a:prstGeom prst="ellipse">
                  <a:avLst/>
                </a:prstGeom>
                <a:solidFill>
                  <a:srgbClr val="049FD9"/>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1" name="Oval 60"/>
                <p:cNvSpPr>
                  <a:spLocks noChangeAspect="1"/>
                </p:cNvSpPr>
                <p:nvPr/>
              </p:nvSpPr>
              <p:spPr>
                <a:xfrm>
                  <a:off x="4687181" y="4080690"/>
                  <a:ext cx="52518" cy="53983"/>
                </a:xfrm>
                <a:prstGeom prst="ellipse">
                  <a:avLst/>
                </a:prstGeom>
                <a:solidFill>
                  <a:srgbClr val="049FD9"/>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2" name="Oval 61"/>
                <p:cNvSpPr>
                  <a:spLocks noChangeAspect="1"/>
                </p:cNvSpPr>
                <p:nvPr/>
              </p:nvSpPr>
              <p:spPr>
                <a:xfrm>
                  <a:off x="3535762" y="3958415"/>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3" name="Oval 62"/>
                <p:cNvSpPr>
                  <a:spLocks noChangeAspect="1"/>
                </p:cNvSpPr>
                <p:nvPr/>
              </p:nvSpPr>
              <p:spPr>
                <a:xfrm>
                  <a:off x="3664288" y="3958415"/>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4" name="Oval 63"/>
                <p:cNvSpPr>
                  <a:spLocks noChangeAspect="1"/>
                </p:cNvSpPr>
                <p:nvPr/>
              </p:nvSpPr>
              <p:spPr>
                <a:xfrm>
                  <a:off x="3792813" y="3958415"/>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5" name="Oval 64"/>
                <p:cNvSpPr>
                  <a:spLocks noChangeAspect="1"/>
                </p:cNvSpPr>
                <p:nvPr/>
              </p:nvSpPr>
              <p:spPr>
                <a:xfrm>
                  <a:off x="3921340" y="3958415"/>
                  <a:ext cx="52518" cy="5398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6" name="Oval 65"/>
                <p:cNvSpPr>
                  <a:spLocks noChangeAspect="1"/>
                </p:cNvSpPr>
                <p:nvPr/>
              </p:nvSpPr>
              <p:spPr>
                <a:xfrm>
                  <a:off x="4049867" y="3958415"/>
                  <a:ext cx="52518" cy="53983"/>
                </a:xfrm>
                <a:prstGeom prst="ellipse">
                  <a:avLst/>
                </a:prstGeom>
                <a:solidFill>
                  <a:schemeClr val="tx1">
                    <a:lumMod val="50000"/>
                    <a:lumOff val="50000"/>
                  </a:scheme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7" name="Oval 66"/>
                <p:cNvSpPr>
                  <a:spLocks noChangeAspect="1"/>
                </p:cNvSpPr>
                <p:nvPr/>
              </p:nvSpPr>
              <p:spPr>
                <a:xfrm>
                  <a:off x="4178392" y="3958415"/>
                  <a:ext cx="52518" cy="53983"/>
                </a:xfrm>
                <a:prstGeom prst="ellipse">
                  <a:avLst/>
                </a:prstGeom>
                <a:solidFill>
                  <a:schemeClr val="tx1">
                    <a:lumMod val="50000"/>
                    <a:lumOff val="50000"/>
                  </a:scheme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8" name="Oval 67"/>
                <p:cNvSpPr>
                  <a:spLocks noChangeAspect="1"/>
                </p:cNvSpPr>
                <p:nvPr/>
              </p:nvSpPr>
              <p:spPr>
                <a:xfrm>
                  <a:off x="4306919" y="3958415"/>
                  <a:ext cx="52518" cy="5398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69" name="Oval 68"/>
                <p:cNvSpPr>
                  <a:spLocks noChangeAspect="1"/>
                </p:cNvSpPr>
                <p:nvPr/>
              </p:nvSpPr>
              <p:spPr>
                <a:xfrm>
                  <a:off x="4435445" y="3958415"/>
                  <a:ext cx="52518" cy="5398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70" name="Oval 69"/>
                <p:cNvSpPr>
                  <a:spLocks noChangeAspect="1"/>
                </p:cNvSpPr>
                <p:nvPr/>
              </p:nvSpPr>
              <p:spPr>
                <a:xfrm>
                  <a:off x="4563970" y="3958415"/>
                  <a:ext cx="52518" cy="5398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71" name="Oval 70"/>
                <p:cNvSpPr>
                  <a:spLocks noChangeAspect="1"/>
                </p:cNvSpPr>
                <p:nvPr/>
              </p:nvSpPr>
              <p:spPr>
                <a:xfrm>
                  <a:off x="4692496" y="3958413"/>
                  <a:ext cx="52518" cy="5398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cxnSp>
              <p:nvCxnSpPr>
                <p:cNvPr id="72" name="Straight Connector 71"/>
                <p:cNvCxnSpPr/>
                <p:nvPr/>
              </p:nvCxnSpPr>
              <p:spPr>
                <a:xfrm rot="16200000">
                  <a:off x="4151538" y="3755366"/>
                  <a:ext cx="0" cy="1286675"/>
                </a:xfrm>
                <a:prstGeom prst="line">
                  <a:avLst/>
                </a:prstGeom>
                <a:noFill/>
                <a:ln w="6350" cap="flat" cmpd="sng" algn="ctr">
                  <a:solidFill>
                    <a:sysClr val="windowText" lastClr="000000"/>
                  </a:solidFill>
                  <a:prstDash val="solid"/>
                  <a:miter lim="800000"/>
                </a:ln>
                <a:effectLst/>
              </p:spPr>
            </p:cxnSp>
            <p:cxnSp>
              <p:nvCxnSpPr>
                <p:cNvPr id="73" name="Straight Connector 72"/>
                <p:cNvCxnSpPr/>
                <p:nvPr/>
              </p:nvCxnSpPr>
              <p:spPr>
                <a:xfrm rot="16200000">
                  <a:off x="4155076" y="3643255"/>
                  <a:ext cx="0" cy="1286675"/>
                </a:xfrm>
                <a:prstGeom prst="line">
                  <a:avLst/>
                </a:prstGeom>
                <a:noFill/>
                <a:ln w="6350" cap="flat" cmpd="sng" algn="ctr">
                  <a:solidFill>
                    <a:sysClr val="windowText" lastClr="000000"/>
                  </a:solidFill>
                  <a:prstDash val="solid"/>
                  <a:miter lim="800000"/>
                </a:ln>
                <a:effectLst/>
              </p:spPr>
            </p:cxnSp>
            <p:cxnSp>
              <p:nvCxnSpPr>
                <p:cNvPr id="74" name="Straight Connector 73"/>
                <p:cNvCxnSpPr/>
                <p:nvPr/>
              </p:nvCxnSpPr>
              <p:spPr>
                <a:xfrm rot="16200000">
                  <a:off x="4160400" y="3524996"/>
                  <a:ext cx="0" cy="1286675"/>
                </a:xfrm>
                <a:prstGeom prst="line">
                  <a:avLst/>
                </a:prstGeom>
                <a:noFill/>
                <a:ln w="6350" cap="flat" cmpd="sng" algn="ctr">
                  <a:solidFill>
                    <a:sysClr val="windowText" lastClr="000000"/>
                  </a:solidFill>
                  <a:prstDash val="solid"/>
                  <a:miter lim="800000"/>
                </a:ln>
                <a:effectLst/>
              </p:spPr>
            </p:cxnSp>
            <p:cxnSp>
              <p:nvCxnSpPr>
                <p:cNvPr id="75" name="Straight Connector 74"/>
                <p:cNvCxnSpPr/>
                <p:nvPr/>
              </p:nvCxnSpPr>
              <p:spPr>
                <a:xfrm rot="16200000">
                  <a:off x="4155083" y="3408036"/>
                  <a:ext cx="0" cy="1286675"/>
                </a:xfrm>
                <a:prstGeom prst="line">
                  <a:avLst/>
                </a:prstGeom>
                <a:noFill/>
                <a:ln w="6350" cap="flat" cmpd="sng" algn="ctr">
                  <a:solidFill>
                    <a:sysClr val="windowText" lastClr="000000"/>
                  </a:solidFill>
                  <a:prstDash val="solid"/>
                  <a:miter lim="800000"/>
                </a:ln>
                <a:effectLst/>
              </p:spPr>
            </p:cxnSp>
          </p:grpSp>
        </p:grpSp>
        <p:sp>
          <p:nvSpPr>
            <p:cNvPr id="11" name="TextBox 10"/>
            <p:cNvSpPr txBox="1"/>
            <p:nvPr/>
          </p:nvSpPr>
          <p:spPr>
            <a:xfrm>
              <a:off x="5034245" y="1328732"/>
              <a:ext cx="1465466" cy="307777"/>
            </a:xfrm>
            <a:prstGeom prst="rect">
              <a:avLst/>
            </a:prstGeom>
            <a:noFill/>
          </p:spPr>
          <p:txBody>
            <a:bodyPr wrap="square" rtlCol="0" anchor="ctr">
              <a:spAutoFit/>
            </a:bodyP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5073">
                      <a:lumMod val="75000"/>
                    </a:srgbClr>
                  </a:solidFill>
                  <a:effectLst/>
                  <a:uLnTx/>
                  <a:uFillTx/>
                  <a:latin typeface="Ciscolight"/>
                  <a:ea typeface="ＭＳ Ｐゴシック" charset="0"/>
                </a:rPr>
                <a:t>Pay for Use</a:t>
              </a:r>
            </a:p>
          </p:txBody>
        </p:sp>
      </p:grpSp>
      <p:grpSp>
        <p:nvGrpSpPr>
          <p:cNvPr id="121" name="Group 120"/>
          <p:cNvGrpSpPr/>
          <p:nvPr/>
        </p:nvGrpSpPr>
        <p:grpSpPr>
          <a:xfrm>
            <a:off x="4716512" y="3080862"/>
            <a:ext cx="2100932" cy="1627170"/>
            <a:chOff x="4716512" y="2816702"/>
            <a:chExt cx="2100932" cy="1627170"/>
          </a:xfrm>
        </p:grpSpPr>
        <p:sp>
          <p:nvSpPr>
            <p:cNvPr id="156" name="Rectangle 155"/>
            <p:cNvSpPr/>
            <p:nvPr/>
          </p:nvSpPr>
          <p:spPr>
            <a:xfrm>
              <a:off x="4716512" y="2816702"/>
              <a:ext cx="2100932" cy="162717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22" name="Group 121"/>
            <p:cNvGrpSpPr/>
            <p:nvPr/>
          </p:nvGrpSpPr>
          <p:grpSpPr>
            <a:xfrm>
              <a:off x="4748866" y="3500464"/>
              <a:ext cx="2059715" cy="776663"/>
              <a:chOff x="4848506" y="3385056"/>
              <a:chExt cx="2059715" cy="776663"/>
            </a:xfrm>
          </p:grpSpPr>
          <p:cxnSp>
            <p:nvCxnSpPr>
              <p:cNvPr id="6" name="Straight Connector 5"/>
              <p:cNvCxnSpPr/>
              <p:nvPr/>
            </p:nvCxnSpPr>
            <p:spPr>
              <a:xfrm flipV="1">
                <a:off x="5179645" y="3539465"/>
                <a:ext cx="695401" cy="296977"/>
              </a:xfrm>
              <a:prstGeom prst="line">
                <a:avLst/>
              </a:prstGeom>
              <a:noFill/>
              <a:ln w="0" cap="flat" cmpd="sng" algn="ctr">
                <a:solidFill>
                  <a:sysClr val="windowText" lastClr="000000"/>
                </a:solidFill>
                <a:prstDash val="solid"/>
                <a:miter lim="800000"/>
                <a:headEnd type="triangle"/>
                <a:tailEnd type="triangle" w="med" len="med"/>
              </a:ln>
              <a:effectLst/>
            </p:spPr>
          </p:cxnSp>
          <p:cxnSp>
            <p:nvCxnSpPr>
              <p:cNvPr id="7" name="Straight Connector 6"/>
              <p:cNvCxnSpPr/>
              <p:nvPr/>
            </p:nvCxnSpPr>
            <p:spPr>
              <a:xfrm flipH="1" flipV="1">
                <a:off x="5875047" y="3539465"/>
                <a:ext cx="7055" cy="294331"/>
              </a:xfrm>
              <a:prstGeom prst="line">
                <a:avLst/>
              </a:prstGeom>
              <a:noFill/>
              <a:ln w="0" cap="flat" cmpd="sng" algn="ctr">
                <a:solidFill>
                  <a:sysClr val="windowText" lastClr="000000"/>
                </a:solidFill>
                <a:prstDash val="solid"/>
                <a:miter lim="800000"/>
                <a:headEnd type="triangle"/>
                <a:tailEnd type="triangle" w="med" len="med"/>
              </a:ln>
              <a:effectLst/>
            </p:spPr>
          </p:cxnSp>
          <p:cxnSp>
            <p:nvCxnSpPr>
              <p:cNvPr id="8" name="Straight Connector 7"/>
              <p:cNvCxnSpPr/>
              <p:nvPr/>
            </p:nvCxnSpPr>
            <p:spPr>
              <a:xfrm>
                <a:off x="5875047" y="3539465"/>
                <a:ext cx="758211" cy="296976"/>
              </a:xfrm>
              <a:prstGeom prst="line">
                <a:avLst/>
              </a:prstGeom>
              <a:noFill/>
              <a:ln w="0" cap="flat" cmpd="sng" algn="ctr">
                <a:solidFill>
                  <a:sysClr val="windowText" lastClr="000000"/>
                </a:solidFill>
                <a:prstDash val="solid"/>
                <a:miter lim="800000"/>
                <a:headEnd type="triangle"/>
                <a:tailEnd type="triangle" w="med" len="med"/>
              </a:ln>
              <a:effectLst/>
            </p:spPr>
          </p:cxnSp>
          <p:sp>
            <p:nvSpPr>
              <p:cNvPr id="77" name="Cloud 76"/>
              <p:cNvSpPr/>
              <p:nvPr/>
            </p:nvSpPr>
            <p:spPr>
              <a:xfrm>
                <a:off x="5602427" y="3385056"/>
                <a:ext cx="593768" cy="243311"/>
              </a:xfrm>
              <a:prstGeom prst="cloud">
                <a:avLst/>
              </a:prstGeom>
              <a:solidFill>
                <a:sysClr val="window" lastClr="FFFFFF">
                  <a:lumMod val="95000"/>
                </a:sysClr>
              </a:solidFill>
              <a:ln w="12700" cap="flat" cmpd="sng" algn="ctr">
                <a:solidFill>
                  <a:srgbClr val="4472C4"/>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78" name="Oval 77"/>
              <p:cNvSpPr>
                <a:spLocks noChangeAspect="1"/>
              </p:cNvSpPr>
              <p:nvPr/>
            </p:nvSpPr>
            <p:spPr>
              <a:xfrm>
                <a:off x="5783022" y="3448975"/>
                <a:ext cx="47650" cy="48979"/>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79" name="Oval 78"/>
              <p:cNvSpPr>
                <a:spLocks noChangeAspect="1"/>
              </p:cNvSpPr>
              <p:nvPr/>
            </p:nvSpPr>
            <p:spPr>
              <a:xfrm>
                <a:off x="5875047" y="3446235"/>
                <a:ext cx="47650" cy="48979"/>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80" name="Oval 79"/>
              <p:cNvSpPr>
                <a:spLocks noChangeAspect="1"/>
              </p:cNvSpPr>
              <p:nvPr/>
            </p:nvSpPr>
            <p:spPr>
              <a:xfrm>
                <a:off x="5838482" y="3517573"/>
                <a:ext cx="47650" cy="48979"/>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81" name="Oval 80"/>
              <p:cNvSpPr>
                <a:spLocks noChangeAspect="1"/>
              </p:cNvSpPr>
              <p:nvPr/>
            </p:nvSpPr>
            <p:spPr>
              <a:xfrm>
                <a:off x="5930508" y="3514833"/>
                <a:ext cx="47650" cy="48979"/>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82" name="Rectangle 81"/>
              <p:cNvSpPr/>
              <p:nvPr/>
            </p:nvSpPr>
            <p:spPr>
              <a:xfrm>
                <a:off x="4858853" y="3841128"/>
                <a:ext cx="565070" cy="320591"/>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83" name="Rectangle 82"/>
              <p:cNvSpPr/>
              <p:nvPr/>
            </p:nvSpPr>
            <p:spPr>
              <a:xfrm>
                <a:off x="5565753" y="3838482"/>
                <a:ext cx="556183" cy="323237"/>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84" name="Rectangle 83"/>
              <p:cNvSpPr/>
              <p:nvPr/>
            </p:nvSpPr>
            <p:spPr>
              <a:xfrm>
                <a:off x="6316909" y="3841127"/>
                <a:ext cx="556183" cy="320592"/>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85" name="TextBox 84"/>
              <p:cNvSpPr txBox="1"/>
              <p:nvPr/>
            </p:nvSpPr>
            <p:spPr>
              <a:xfrm>
                <a:off x="4848506" y="3821150"/>
                <a:ext cx="609707" cy="215444"/>
              </a:xfrm>
              <a:prstGeom prst="rect">
                <a:avLst/>
              </a:prstGeom>
              <a:noFill/>
            </p:spPr>
            <p:txBody>
              <a:bodyPr wrap="square" rtlCol="0" anchor="ctr">
                <a:spAutoFit/>
              </a:bodyP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iscoSansTT ExtraLight"/>
                    <a:ea typeface="Arial" charset="0"/>
                    <a:cs typeface="Arial" charset="0"/>
                  </a:rPr>
                  <a:t>West</a:t>
                </a:r>
              </a:p>
            </p:txBody>
          </p:sp>
          <p:sp>
            <p:nvSpPr>
              <p:cNvPr id="86" name="TextBox 85"/>
              <p:cNvSpPr txBox="1"/>
              <p:nvPr/>
            </p:nvSpPr>
            <p:spPr>
              <a:xfrm>
                <a:off x="5575554" y="3821150"/>
                <a:ext cx="548342" cy="215444"/>
              </a:xfrm>
              <a:prstGeom prst="rect">
                <a:avLst/>
              </a:prstGeom>
              <a:noFill/>
            </p:spPr>
            <p:txBody>
              <a:bodyPr wrap="square" rtlCol="0" anchor="ctr">
                <a:spAutoFit/>
              </a:bodyP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iscoSansTT ExtraLight"/>
                    <a:ea typeface="Arial" charset="0"/>
                    <a:cs typeface="Arial" charset="0"/>
                  </a:rPr>
                  <a:t>North</a:t>
                </a:r>
              </a:p>
            </p:txBody>
          </p:sp>
          <p:sp>
            <p:nvSpPr>
              <p:cNvPr id="87" name="TextBox 86"/>
              <p:cNvSpPr txBox="1"/>
              <p:nvPr/>
            </p:nvSpPr>
            <p:spPr>
              <a:xfrm>
                <a:off x="6301519" y="3821150"/>
                <a:ext cx="606702" cy="215444"/>
              </a:xfrm>
              <a:prstGeom prst="rect">
                <a:avLst/>
              </a:prstGeom>
              <a:noFill/>
            </p:spPr>
            <p:txBody>
              <a:bodyPr wrap="square" rtlCol="0" anchor="ctr">
                <a:spAutoFit/>
              </a:bodyP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iscoSansTT ExtraLight"/>
                    <a:ea typeface="Arial" charset="0"/>
                    <a:cs typeface="Arial" charset="0"/>
                  </a:rPr>
                  <a:t>East</a:t>
                </a:r>
              </a:p>
            </p:txBody>
          </p:sp>
          <p:grpSp>
            <p:nvGrpSpPr>
              <p:cNvPr id="88" name="Group 87"/>
              <p:cNvGrpSpPr/>
              <p:nvPr/>
            </p:nvGrpSpPr>
            <p:grpSpPr>
              <a:xfrm>
                <a:off x="4925162" y="4024880"/>
                <a:ext cx="448047" cy="112695"/>
                <a:chOff x="2130550" y="2792043"/>
                <a:chExt cx="544000" cy="136830"/>
              </a:xfrm>
            </p:grpSpPr>
            <p:sp>
              <p:nvSpPr>
                <p:cNvPr id="89" name="Rectangle 88"/>
                <p:cNvSpPr/>
                <p:nvPr/>
              </p:nvSpPr>
              <p:spPr>
                <a:xfrm>
                  <a:off x="2130550" y="2792043"/>
                  <a:ext cx="544000" cy="136830"/>
                </a:xfrm>
                <a:prstGeom prst="rect">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90" name="Oval 89"/>
                <p:cNvSpPr>
                  <a:spLocks noChangeAspect="1"/>
                </p:cNvSpPr>
                <p:nvPr/>
              </p:nvSpPr>
              <p:spPr>
                <a:xfrm>
                  <a:off x="2175701" y="2836323"/>
                  <a:ext cx="52518" cy="53983"/>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91" name="Oval 90"/>
                <p:cNvSpPr>
                  <a:spLocks noChangeAspect="1"/>
                </p:cNvSpPr>
                <p:nvPr/>
              </p:nvSpPr>
              <p:spPr>
                <a:xfrm>
                  <a:off x="2278452" y="2836323"/>
                  <a:ext cx="52518" cy="53983"/>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92" name="Oval 91"/>
                <p:cNvSpPr>
                  <a:spLocks noChangeAspect="1"/>
                </p:cNvSpPr>
                <p:nvPr/>
              </p:nvSpPr>
              <p:spPr>
                <a:xfrm>
                  <a:off x="2381203" y="2836323"/>
                  <a:ext cx="52518" cy="53983"/>
                </a:xfrm>
                <a:prstGeom prst="ellipse">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93" name="Oval 92"/>
                <p:cNvSpPr>
                  <a:spLocks noChangeAspect="1"/>
                </p:cNvSpPr>
                <p:nvPr/>
              </p:nvSpPr>
              <p:spPr>
                <a:xfrm>
                  <a:off x="2483954" y="2836323"/>
                  <a:ext cx="52518" cy="53983"/>
                </a:xfrm>
                <a:prstGeom prst="ellipse">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94" name="Oval 93"/>
                <p:cNvSpPr>
                  <a:spLocks noChangeAspect="1"/>
                </p:cNvSpPr>
                <p:nvPr/>
              </p:nvSpPr>
              <p:spPr>
                <a:xfrm>
                  <a:off x="2586706" y="2836323"/>
                  <a:ext cx="52518" cy="53983"/>
                </a:xfrm>
                <a:prstGeom prst="ellipse">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grpSp>
          <p:grpSp>
            <p:nvGrpSpPr>
              <p:cNvPr id="95" name="Group 94"/>
              <p:cNvGrpSpPr/>
              <p:nvPr/>
            </p:nvGrpSpPr>
            <p:grpSpPr>
              <a:xfrm>
                <a:off x="5632439" y="4023532"/>
                <a:ext cx="448047" cy="112695"/>
                <a:chOff x="2130550" y="2792043"/>
                <a:chExt cx="544000" cy="136830"/>
              </a:xfrm>
            </p:grpSpPr>
            <p:sp>
              <p:nvSpPr>
                <p:cNvPr id="96" name="Rectangle 95"/>
                <p:cNvSpPr/>
                <p:nvPr/>
              </p:nvSpPr>
              <p:spPr>
                <a:xfrm>
                  <a:off x="2130550" y="2792043"/>
                  <a:ext cx="544000" cy="136830"/>
                </a:xfrm>
                <a:prstGeom prst="rect">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97" name="Oval 96"/>
                <p:cNvSpPr>
                  <a:spLocks noChangeAspect="1"/>
                </p:cNvSpPr>
                <p:nvPr/>
              </p:nvSpPr>
              <p:spPr>
                <a:xfrm>
                  <a:off x="2175701" y="2836323"/>
                  <a:ext cx="52518" cy="53983"/>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98" name="Oval 97"/>
                <p:cNvSpPr>
                  <a:spLocks noChangeAspect="1"/>
                </p:cNvSpPr>
                <p:nvPr/>
              </p:nvSpPr>
              <p:spPr>
                <a:xfrm>
                  <a:off x="2278452" y="2836323"/>
                  <a:ext cx="52518" cy="53983"/>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99" name="Oval 98"/>
                <p:cNvSpPr>
                  <a:spLocks noChangeAspect="1"/>
                </p:cNvSpPr>
                <p:nvPr/>
              </p:nvSpPr>
              <p:spPr>
                <a:xfrm>
                  <a:off x="2381203" y="2836323"/>
                  <a:ext cx="52518" cy="53983"/>
                </a:xfrm>
                <a:prstGeom prst="ellipse">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100" name="Oval 99"/>
                <p:cNvSpPr>
                  <a:spLocks noChangeAspect="1"/>
                </p:cNvSpPr>
                <p:nvPr/>
              </p:nvSpPr>
              <p:spPr>
                <a:xfrm>
                  <a:off x="2483954" y="2836323"/>
                  <a:ext cx="52518" cy="53983"/>
                </a:xfrm>
                <a:prstGeom prst="ellipse">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101" name="Oval 100"/>
                <p:cNvSpPr>
                  <a:spLocks noChangeAspect="1"/>
                </p:cNvSpPr>
                <p:nvPr/>
              </p:nvSpPr>
              <p:spPr>
                <a:xfrm>
                  <a:off x="2586706" y="2836323"/>
                  <a:ext cx="52518" cy="53983"/>
                </a:xfrm>
                <a:prstGeom prst="ellipse">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grpSp>
          <p:grpSp>
            <p:nvGrpSpPr>
              <p:cNvPr id="102" name="Group 101"/>
              <p:cNvGrpSpPr/>
              <p:nvPr/>
            </p:nvGrpSpPr>
            <p:grpSpPr>
              <a:xfrm>
                <a:off x="6369727" y="4014792"/>
                <a:ext cx="448047" cy="112695"/>
                <a:chOff x="2130550" y="2792043"/>
                <a:chExt cx="544000" cy="136830"/>
              </a:xfrm>
            </p:grpSpPr>
            <p:sp>
              <p:nvSpPr>
                <p:cNvPr id="103" name="Rectangle 102"/>
                <p:cNvSpPr/>
                <p:nvPr/>
              </p:nvSpPr>
              <p:spPr>
                <a:xfrm>
                  <a:off x="2130550" y="2792043"/>
                  <a:ext cx="544000" cy="136830"/>
                </a:xfrm>
                <a:prstGeom prst="rect">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104" name="Oval 103"/>
                <p:cNvSpPr>
                  <a:spLocks noChangeAspect="1"/>
                </p:cNvSpPr>
                <p:nvPr/>
              </p:nvSpPr>
              <p:spPr>
                <a:xfrm>
                  <a:off x="2175701" y="2836323"/>
                  <a:ext cx="52518" cy="53983"/>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105" name="Oval 104"/>
                <p:cNvSpPr>
                  <a:spLocks noChangeAspect="1"/>
                </p:cNvSpPr>
                <p:nvPr/>
              </p:nvSpPr>
              <p:spPr>
                <a:xfrm>
                  <a:off x="2278452" y="2836323"/>
                  <a:ext cx="52518" cy="53983"/>
                </a:xfrm>
                <a:prstGeom prst="ellipse">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106" name="Oval 105"/>
                <p:cNvSpPr>
                  <a:spLocks noChangeAspect="1"/>
                </p:cNvSpPr>
                <p:nvPr/>
              </p:nvSpPr>
              <p:spPr>
                <a:xfrm>
                  <a:off x="2381203" y="2836323"/>
                  <a:ext cx="52518" cy="53983"/>
                </a:xfrm>
                <a:prstGeom prst="ellipse">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107" name="Oval 106"/>
                <p:cNvSpPr>
                  <a:spLocks noChangeAspect="1"/>
                </p:cNvSpPr>
                <p:nvPr/>
              </p:nvSpPr>
              <p:spPr>
                <a:xfrm>
                  <a:off x="2483954" y="2836323"/>
                  <a:ext cx="52518" cy="53983"/>
                </a:xfrm>
                <a:prstGeom prst="ellipse">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sp>
              <p:nvSpPr>
                <p:cNvPr id="108" name="Oval 107"/>
                <p:cNvSpPr>
                  <a:spLocks noChangeAspect="1"/>
                </p:cNvSpPr>
                <p:nvPr/>
              </p:nvSpPr>
              <p:spPr>
                <a:xfrm>
                  <a:off x="2586706" y="2836323"/>
                  <a:ext cx="52518" cy="53983"/>
                </a:xfrm>
                <a:prstGeom prst="ellipse">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45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ＭＳ Ｐゴシック" charset="0"/>
                    <a:cs typeface="+mn-cs"/>
                  </a:endParaRPr>
                </a:p>
              </p:txBody>
            </p:sp>
          </p:grpSp>
        </p:grpSp>
        <p:sp>
          <p:nvSpPr>
            <p:cNvPr id="76" name="TextBox 75"/>
            <p:cNvSpPr txBox="1"/>
            <p:nvPr/>
          </p:nvSpPr>
          <p:spPr>
            <a:xfrm>
              <a:off x="5011695" y="2900688"/>
              <a:ext cx="1510566" cy="480131"/>
            </a:xfrm>
            <a:prstGeom prst="rect">
              <a:avLst/>
            </a:prstGeom>
            <a:noFill/>
          </p:spPr>
          <p:txBody>
            <a:bodyPr wrap="square" rtlCol="0" anchor="ctr">
              <a:spAutoFit/>
            </a:bodyPr>
            <a:lstStyle/>
            <a:p>
              <a:pPr marL="0" marR="0" lvl="0" indent="0" algn="ctr" defTabSz="45581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5073">
                      <a:lumMod val="75000"/>
                    </a:srgbClr>
                  </a:solidFill>
                  <a:effectLst/>
                  <a:uLnTx/>
                  <a:uFillTx/>
                  <a:latin typeface="Ciscolight"/>
                  <a:ea typeface="ＭＳ Ｐゴシック" charset="0"/>
                </a:rPr>
                <a:t>Resource Pooling</a:t>
              </a:r>
            </a:p>
          </p:txBody>
        </p:sp>
      </p:grpSp>
      <p:grpSp>
        <p:nvGrpSpPr>
          <p:cNvPr id="134" name="Group 133"/>
          <p:cNvGrpSpPr/>
          <p:nvPr/>
        </p:nvGrpSpPr>
        <p:grpSpPr>
          <a:xfrm>
            <a:off x="6869992" y="1410671"/>
            <a:ext cx="2100932" cy="1627170"/>
            <a:chOff x="6869992" y="1146511"/>
            <a:chExt cx="2100932" cy="1627170"/>
          </a:xfrm>
        </p:grpSpPr>
        <p:sp>
          <p:nvSpPr>
            <p:cNvPr id="158" name="Rectangle 157"/>
            <p:cNvSpPr/>
            <p:nvPr/>
          </p:nvSpPr>
          <p:spPr>
            <a:xfrm>
              <a:off x="6869992" y="1146511"/>
              <a:ext cx="2100932" cy="162717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9" name="Picture 8"/>
            <p:cNvPicPr>
              <a:picLocks noChangeAspect="1"/>
            </p:cNvPicPr>
            <p:nvPr/>
          </p:nvPicPr>
          <p:blipFill>
            <a:blip r:embed="rId3"/>
            <a:stretch>
              <a:fillRect/>
            </a:stretch>
          </p:blipFill>
          <p:spPr>
            <a:xfrm>
              <a:off x="6989258" y="1990534"/>
              <a:ext cx="1872651" cy="504800"/>
            </a:xfrm>
            <a:prstGeom prst="rect">
              <a:avLst/>
            </a:prstGeom>
          </p:spPr>
        </p:pic>
        <p:sp>
          <p:nvSpPr>
            <p:cNvPr id="10" name="TextBox 9"/>
            <p:cNvSpPr txBox="1"/>
            <p:nvPr/>
          </p:nvSpPr>
          <p:spPr>
            <a:xfrm>
              <a:off x="7065822" y="1343972"/>
              <a:ext cx="1709272" cy="307777"/>
            </a:xfrm>
            <a:prstGeom prst="rect">
              <a:avLst/>
            </a:prstGeom>
            <a:noFill/>
          </p:spPr>
          <p:txBody>
            <a:bodyPr wrap="square" rtlCol="0" anchor="ctr">
              <a:spAutoFit/>
            </a:bodyPr>
            <a:lstStyle/>
            <a:p>
              <a:pPr marL="0" marR="0" lvl="0" indent="0" algn="ctr" defTabSz="45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5073">
                      <a:lumMod val="75000"/>
                    </a:srgbClr>
                  </a:solidFill>
                  <a:effectLst/>
                  <a:uLnTx/>
                  <a:uFillTx/>
                  <a:latin typeface="Ciscolight"/>
                  <a:ea typeface="ＭＳ Ｐゴシック" charset="0"/>
                </a:rPr>
                <a:t>Portability</a:t>
              </a:r>
            </a:p>
          </p:txBody>
        </p:sp>
      </p:grpSp>
      <p:grpSp>
        <p:nvGrpSpPr>
          <p:cNvPr id="3" name="Group 2">
            <a:extLst>
              <a:ext uri="{FF2B5EF4-FFF2-40B4-BE49-F238E27FC236}">
                <a16:creationId xmlns:a16="http://schemas.microsoft.com/office/drawing/2014/main" id="{A11DC2DC-4876-4B15-A8E4-3F789B5A27C3}"/>
              </a:ext>
            </a:extLst>
          </p:cNvPr>
          <p:cNvGrpSpPr/>
          <p:nvPr/>
        </p:nvGrpSpPr>
        <p:grpSpPr>
          <a:xfrm>
            <a:off x="662083" y="1275499"/>
            <a:ext cx="564559" cy="564559"/>
            <a:chOff x="662083" y="1275499"/>
            <a:chExt cx="564559" cy="564559"/>
          </a:xfrm>
        </p:grpSpPr>
        <p:sp>
          <p:nvSpPr>
            <p:cNvPr id="130" name="Oval 129"/>
            <p:cNvSpPr/>
            <p:nvPr/>
          </p:nvSpPr>
          <p:spPr>
            <a:xfrm>
              <a:off x="662083" y="1275499"/>
              <a:ext cx="564559" cy="56455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124" name="Picture 1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3706" y="1387122"/>
              <a:ext cx="341313" cy="341313"/>
            </a:xfrm>
            <a:prstGeom prst="rect">
              <a:avLst/>
            </a:prstGeom>
          </p:spPr>
        </p:pic>
      </p:grpSp>
      <p:grpSp>
        <p:nvGrpSpPr>
          <p:cNvPr id="137" name="Group 136"/>
          <p:cNvGrpSpPr/>
          <p:nvPr/>
        </p:nvGrpSpPr>
        <p:grpSpPr>
          <a:xfrm>
            <a:off x="6869992" y="3080862"/>
            <a:ext cx="2100932" cy="1627170"/>
            <a:chOff x="6869992" y="2816702"/>
            <a:chExt cx="2100932" cy="1627170"/>
          </a:xfrm>
        </p:grpSpPr>
        <p:sp>
          <p:nvSpPr>
            <p:cNvPr id="157" name="Rectangle 156"/>
            <p:cNvSpPr/>
            <p:nvPr/>
          </p:nvSpPr>
          <p:spPr>
            <a:xfrm>
              <a:off x="6869992" y="2816702"/>
              <a:ext cx="2100932" cy="162717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9" name="TextBox 108"/>
            <p:cNvSpPr txBox="1"/>
            <p:nvPr/>
          </p:nvSpPr>
          <p:spPr>
            <a:xfrm>
              <a:off x="7179111" y="3763533"/>
              <a:ext cx="1482695" cy="246221"/>
            </a:xfrm>
            <a:prstGeom prst="rect">
              <a:avLst/>
            </a:prstGeom>
            <a:solidFill>
              <a:schemeClr val="bg2">
                <a:lumMod val="95000"/>
              </a:schemeClr>
            </a:solidFill>
            <a:ln>
              <a:solidFill>
                <a:schemeClr val="bg1">
                  <a:lumMod val="50000"/>
                </a:schemeClr>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WAE Automation</a:t>
              </a:r>
            </a:p>
          </p:txBody>
        </p:sp>
        <p:sp>
          <p:nvSpPr>
            <p:cNvPr id="110" name="TextBox 109"/>
            <p:cNvSpPr txBox="1"/>
            <p:nvPr/>
          </p:nvSpPr>
          <p:spPr>
            <a:xfrm>
              <a:off x="7179111" y="3482403"/>
              <a:ext cx="1482695" cy="246221"/>
            </a:xfrm>
            <a:prstGeom prst="rect">
              <a:avLst/>
            </a:prstGeom>
            <a:solidFill>
              <a:schemeClr val="bg2">
                <a:lumMod val="95000"/>
              </a:schemeClr>
            </a:solidFill>
            <a:ln>
              <a:solidFill>
                <a:schemeClr val="bg1">
                  <a:lumMod val="50000"/>
                </a:schemeClr>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EPNM Manager</a:t>
              </a:r>
            </a:p>
          </p:txBody>
        </p:sp>
        <p:sp>
          <p:nvSpPr>
            <p:cNvPr id="111" name="TextBox 110"/>
            <p:cNvSpPr txBox="1"/>
            <p:nvPr/>
          </p:nvSpPr>
          <p:spPr>
            <a:xfrm>
              <a:off x="7158111" y="2900688"/>
              <a:ext cx="1524694" cy="480131"/>
            </a:xfrm>
            <a:prstGeom prst="rect">
              <a:avLst/>
            </a:prstGeom>
            <a:noFill/>
          </p:spPr>
          <p:txBody>
            <a:bodyPr wrap="square" rtlCol="0" anchor="ctr">
              <a:spAutoFit/>
            </a:bodyPr>
            <a:lstStyle/>
            <a:p>
              <a:pPr marL="0" marR="0" lvl="0" indent="0" algn="ctr" defTabSz="45581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5073">
                      <a:lumMod val="75000"/>
                    </a:srgbClr>
                  </a:solidFill>
                  <a:effectLst/>
                  <a:uLnTx/>
                  <a:uFillTx/>
                  <a:latin typeface="Ciscolight"/>
                  <a:ea typeface="ＭＳ Ｐゴシック" charset="0"/>
                </a:rPr>
                <a:t>Embedded Automation</a:t>
              </a:r>
            </a:p>
          </p:txBody>
        </p:sp>
        <p:sp>
          <p:nvSpPr>
            <p:cNvPr id="151" name="TextBox 150"/>
            <p:cNvSpPr txBox="1"/>
            <p:nvPr/>
          </p:nvSpPr>
          <p:spPr>
            <a:xfrm>
              <a:off x="7179111" y="4044662"/>
              <a:ext cx="1482695" cy="246221"/>
            </a:xfrm>
            <a:prstGeom prst="rect">
              <a:avLst/>
            </a:prstGeom>
            <a:solidFill>
              <a:schemeClr val="bg2">
                <a:lumMod val="95000"/>
              </a:schemeClr>
            </a:solidFill>
            <a:ln>
              <a:solidFill>
                <a:schemeClr val="bg1">
                  <a:lumMod val="50000"/>
                </a:schemeClr>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NSO Orchestrator</a:t>
              </a:r>
            </a:p>
          </p:txBody>
        </p:sp>
      </p:grpSp>
      <p:grpSp>
        <p:nvGrpSpPr>
          <p:cNvPr id="115" name="Group 114"/>
          <p:cNvGrpSpPr/>
          <p:nvPr/>
        </p:nvGrpSpPr>
        <p:grpSpPr>
          <a:xfrm>
            <a:off x="662083" y="2060428"/>
            <a:ext cx="3289992" cy="564559"/>
            <a:chOff x="662083" y="2060428"/>
            <a:chExt cx="3289992" cy="564559"/>
          </a:xfrm>
        </p:grpSpPr>
        <p:grpSp>
          <p:nvGrpSpPr>
            <p:cNvPr id="135" name="Group 134"/>
            <p:cNvGrpSpPr/>
            <p:nvPr/>
          </p:nvGrpSpPr>
          <p:grpSpPr>
            <a:xfrm>
              <a:off x="662083" y="2060428"/>
              <a:ext cx="564559" cy="564559"/>
              <a:chOff x="636912" y="2022197"/>
              <a:chExt cx="564559" cy="564559"/>
            </a:xfrm>
          </p:grpSpPr>
          <p:sp>
            <p:nvSpPr>
              <p:cNvPr id="132" name="Oval 131"/>
              <p:cNvSpPr/>
              <p:nvPr/>
            </p:nvSpPr>
            <p:spPr>
              <a:xfrm>
                <a:off x="636912" y="2022197"/>
                <a:ext cx="564559" cy="56455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25" name="Group 124"/>
              <p:cNvGrpSpPr>
                <a:grpSpLocks noChangeAspect="1"/>
              </p:cNvGrpSpPr>
              <p:nvPr/>
            </p:nvGrpSpPr>
            <p:grpSpPr>
              <a:xfrm>
                <a:off x="783325" y="2134457"/>
                <a:ext cx="271732" cy="340038"/>
                <a:chOff x="3690937" y="1443038"/>
                <a:chExt cx="2020888" cy="2528887"/>
              </a:xfrm>
              <a:solidFill>
                <a:schemeClr val="bg2"/>
              </a:solidFill>
            </p:grpSpPr>
            <p:sp>
              <p:nvSpPr>
                <p:cNvPr id="126" name="Freeform 125"/>
                <p:cNvSpPr>
                  <a:spLocks/>
                </p:cNvSpPr>
                <p:nvPr/>
              </p:nvSpPr>
              <p:spPr bwMode="auto">
                <a:xfrm>
                  <a:off x="3690937" y="1443038"/>
                  <a:ext cx="2020888" cy="2005013"/>
                </a:xfrm>
                <a:custGeom>
                  <a:avLst/>
                  <a:gdLst>
                    <a:gd name="connsiteX0" fmla="*/ 1399705 w 2020888"/>
                    <a:gd name="connsiteY0" fmla="*/ 1944688 h 2005013"/>
                    <a:gd name="connsiteX1" fmla="*/ 1399945 w 2020888"/>
                    <a:gd name="connsiteY1" fmla="*/ 1944825 h 2005013"/>
                    <a:gd name="connsiteX2" fmla="*/ 1399945 w 2020888"/>
                    <a:gd name="connsiteY2" fmla="*/ 1944688 h 2005013"/>
                    <a:gd name="connsiteX3" fmla="*/ 620943 w 2020888"/>
                    <a:gd name="connsiteY3" fmla="*/ 1943298 h 2005013"/>
                    <a:gd name="connsiteX4" fmla="*/ 620943 w 2020888"/>
                    <a:gd name="connsiteY4" fmla="*/ 1943826 h 2005013"/>
                    <a:gd name="connsiteX5" fmla="*/ 620943 w 2020888"/>
                    <a:gd name="connsiteY5" fmla="*/ 1944825 h 2005013"/>
                    <a:gd name="connsiteX6" fmla="*/ 621584 w 2020888"/>
                    <a:gd name="connsiteY6" fmla="*/ 1944483 h 2005013"/>
                    <a:gd name="connsiteX7" fmla="*/ 621584 w 2020888"/>
                    <a:gd name="connsiteY7" fmla="*/ 1944483 h 2005013"/>
                    <a:gd name="connsiteX8" fmla="*/ 1012326 w 2020888"/>
                    <a:gd name="connsiteY8" fmla="*/ 0 h 2005013"/>
                    <a:gd name="connsiteX9" fmla="*/ 1727351 w 2020888"/>
                    <a:gd name="connsiteY9" fmla="*/ 293417 h 2005013"/>
                    <a:gd name="connsiteX10" fmla="*/ 2020888 w 2020888"/>
                    <a:gd name="connsiteY10" fmla="*/ 1008149 h 2005013"/>
                    <a:gd name="connsiteX11" fmla="*/ 1960676 w 2020888"/>
                    <a:gd name="connsiteY11" fmla="*/ 1309089 h 2005013"/>
                    <a:gd name="connsiteX12" fmla="*/ 1825197 w 2020888"/>
                    <a:gd name="connsiteY12" fmla="*/ 1546080 h 2005013"/>
                    <a:gd name="connsiteX13" fmla="*/ 1614453 w 2020888"/>
                    <a:gd name="connsiteY13" fmla="*/ 1768023 h 2005013"/>
                    <a:gd name="connsiteX14" fmla="*/ 1505317 w 2020888"/>
                    <a:gd name="connsiteY14" fmla="*/ 1895922 h 2005013"/>
                    <a:gd name="connsiteX15" fmla="*/ 1456394 w 2020888"/>
                    <a:gd name="connsiteY15" fmla="*/ 1971157 h 2005013"/>
                    <a:gd name="connsiteX16" fmla="*/ 1399945 w 2020888"/>
                    <a:gd name="connsiteY16" fmla="*/ 2005013 h 2005013"/>
                    <a:gd name="connsiteX17" fmla="*/ 620943 w 2020888"/>
                    <a:gd name="connsiteY17" fmla="*/ 2005013 h 2005013"/>
                    <a:gd name="connsiteX18" fmla="*/ 568257 w 2020888"/>
                    <a:gd name="connsiteY18" fmla="*/ 1974919 h 2005013"/>
                    <a:gd name="connsiteX19" fmla="*/ 568257 w 2020888"/>
                    <a:gd name="connsiteY19" fmla="*/ 1971157 h 2005013"/>
                    <a:gd name="connsiteX20" fmla="*/ 564494 w 2020888"/>
                    <a:gd name="connsiteY20" fmla="*/ 1971157 h 2005013"/>
                    <a:gd name="connsiteX21" fmla="*/ 560731 w 2020888"/>
                    <a:gd name="connsiteY21" fmla="*/ 1959872 h 2005013"/>
                    <a:gd name="connsiteX22" fmla="*/ 538151 w 2020888"/>
                    <a:gd name="connsiteY22" fmla="*/ 1926016 h 2005013"/>
                    <a:gd name="connsiteX23" fmla="*/ 466648 w 2020888"/>
                    <a:gd name="connsiteY23" fmla="*/ 1828211 h 2005013"/>
                    <a:gd name="connsiteX24" fmla="*/ 406436 w 2020888"/>
                    <a:gd name="connsiteY24" fmla="*/ 1768023 h 2005013"/>
                    <a:gd name="connsiteX25" fmla="*/ 270957 w 2020888"/>
                    <a:gd name="connsiteY25" fmla="*/ 1636362 h 2005013"/>
                    <a:gd name="connsiteX26" fmla="*/ 63976 w 2020888"/>
                    <a:gd name="connsiteY26" fmla="*/ 1309089 h 2005013"/>
                    <a:gd name="connsiteX27" fmla="*/ 0 w 2020888"/>
                    <a:gd name="connsiteY27" fmla="*/ 1008149 h 2005013"/>
                    <a:gd name="connsiteX28" fmla="*/ 297300 w 2020888"/>
                    <a:gd name="connsiteY28" fmla="*/ 293417 h 2005013"/>
                    <a:gd name="connsiteX29" fmla="*/ 1012326 w 2020888"/>
                    <a:gd name="connsiteY29" fmla="*/ 0 h 200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20888" h="2005013">
                      <a:moveTo>
                        <a:pt x="1399705" y="1944688"/>
                      </a:moveTo>
                      <a:lnTo>
                        <a:pt x="1399945" y="1944825"/>
                      </a:lnTo>
                      <a:lnTo>
                        <a:pt x="1399945" y="1944688"/>
                      </a:lnTo>
                      <a:close/>
                      <a:moveTo>
                        <a:pt x="620943" y="1943298"/>
                      </a:moveTo>
                      <a:lnTo>
                        <a:pt x="620943" y="1943826"/>
                      </a:lnTo>
                      <a:cubicBezTo>
                        <a:pt x="620943" y="1944825"/>
                        <a:pt x="620943" y="1944825"/>
                        <a:pt x="620943" y="1944825"/>
                      </a:cubicBezTo>
                      <a:lnTo>
                        <a:pt x="621584" y="1944483"/>
                      </a:lnTo>
                      <a:lnTo>
                        <a:pt x="621584" y="1944483"/>
                      </a:lnTo>
                      <a:close/>
                      <a:moveTo>
                        <a:pt x="1012326" y="0"/>
                      </a:moveTo>
                      <a:cubicBezTo>
                        <a:pt x="1290809" y="0"/>
                        <a:pt x="1542950" y="112853"/>
                        <a:pt x="1727351" y="293417"/>
                      </a:cubicBezTo>
                      <a:cubicBezTo>
                        <a:pt x="1907989" y="477742"/>
                        <a:pt x="2020888" y="729780"/>
                        <a:pt x="2020888" y="1008149"/>
                      </a:cubicBezTo>
                      <a:cubicBezTo>
                        <a:pt x="2020888" y="1117240"/>
                        <a:pt x="1998308" y="1218807"/>
                        <a:pt x="1960676" y="1309089"/>
                      </a:cubicBezTo>
                      <a:cubicBezTo>
                        <a:pt x="1923043" y="1399371"/>
                        <a:pt x="1874120" y="1482130"/>
                        <a:pt x="1825197" y="1546080"/>
                      </a:cubicBezTo>
                      <a:cubicBezTo>
                        <a:pt x="1727351" y="1677741"/>
                        <a:pt x="1625742" y="1760499"/>
                        <a:pt x="1614453" y="1768023"/>
                      </a:cubicBezTo>
                      <a:cubicBezTo>
                        <a:pt x="1573056" y="1801879"/>
                        <a:pt x="1531660" y="1850781"/>
                        <a:pt x="1505317" y="1895922"/>
                      </a:cubicBezTo>
                      <a:cubicBezTo>
                        <a:pt x="1475211" y="1937302"/>
                        <a:pt x="1456394" y="1971157"/>
                        <a:pt x="1456394" y="1971157"/>
                      </a:cubicBezTo>
                      <a:cubicBezTo>
                        <a:pt x="1445104" y="1993728"/>
                        <a:pt x="1426288" y="2005013"/>
                        <a:pt x="1399945" y="2005013"/>
                      </a:cubicBezTo>
                      <a:cubicBezTo>
                        <a:pt x="1399945" y="2005013"/>
                        <a:pt x="1399945" y="2005013"/>
                        <a:pt x="620943" y="2005013"/>
                      </a:cubicBezTo>
                      <a:cubicBezTo>
                        <a:pt x="598364" y="2005013"/>
                        <a:pt x="579547" y="1993728"/>
                        <a:pt x="568257" y="1974919"/>
                      </a:cubicBezTo>
                      <a:cubicBezTo>
                        <a:pt x="568257" y="1974919"/>
                        <a:pt x="568257" y="1974919"/>
                        <a:pt x="568257" y="1971157"/>
                      </a:cubicBezTo>
                      <a:cubicBezTo>
                        <a:pt x="568257" y="1971157"/>
                        <a:pt x="568257" y="1971157"/>
                        <a:pt x="564494" y="1971157"/>
                      </a:cubicBezTo>
                      <a:cubicBezTo>
                        <a:pt x="564494" y="1967396"/>
                        <a:pt x="560731" y="1963634"/>
                        <a:pt x="560731" y="1959872"/>
                      </a:cubicBezTo>
                      <a:cubicBezTo>
                        <a:pt x="553204" y="1952349"/>
                        <a:pt x="549441" y="1941063"/>
                        <a:pt x="538151" y="1926016"/>
                      </a:cubicBezTo>
                      <a:cubicBezTo>
                        <a:pt x="519335" y="1895922"/>
                        <a:pt x="496755" y="1862067"/>
                        <a:pt x="466648" y="1828211"/>
                      </a:cubicBezTo>
                      <a:cubicBezTo>
                        <a:pt x="447832" y="1805640"/>
                        <a:pt x="425252" y="1783070"/>
                        <a:pt x="406436" y="1768023"/>
                      </a:cubicBezTo>
                      <a:cubicBezTo>
                        <a:pt x="398909" y="1760499"/>
                        <a:pt x="342460" y="1715358"/>
                        <a:pt x="270957" y="1636362"/>
                      </a:cubicBezTo>
                      <a:cubicBezTo>
                        <a:pt x="203218" y="1557365"/>
                        <a:pt x="120425" y="1444512"/>
                        <a:pt x="63976" y="1309089"/>
                      </a:cubicBezTo>
                      <a:cubicBezTo>
                        <a:pt x="26343" y="1218807"/>
                        <a:pt x="0" y="1117240"/>
                        <a:pt x="0" y="1008149"/>
                      </a:cubicBezTo>
                      <a:cubicBezTo>
                        <a:pt x="0" y="729780"/>
                        <a:pt x="116662" y="477742"/>
                        <a:pt x="297300" y="293417"/>
                      </a:cubicBezTo>
                      <a:cubicBezTo>
                        <a:pt x="481702" y="112853"/>
                        <a:pt x="733842" y="0"/>
                        <a:pt x="1012326"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5073"/>
                      </a:solidFill>
                      <a:effectLst/>
                      <a:uLnTx/>
                      <a:uFillTx/>
                      <a:latin typeface="Arial" charset="0"/>
                      <a:ea typeface="ＭＳ Ｐゴシック" charset="0"/>
                    </a:rPr>
                    <a:t>$</a:t>
                  </a:r>
                </a:p>
              </p:txBody>
            </p:sp>
            <p:sp>
              <p:nvSpPr>
                <p:cNvPr id="127" name="Freeform 8"/>
                <p:cNvSpPr>
                  <a:spLocks/>
                </p:cNvSpPr>
                <p:nvPr/>
              </p:nvSpPr>
              <p:spPr bwMode="auto">
                <a:xfrm>
                  <a:off x="4264025" y="3602038"/>
                  <a:ext cx="879475" cy="117475"/>
                </a:xfrm>
                <a:custGeom>
                  <a:avLst/>
                  <a:gdLst>
                    <a:gd name="T0" fmla="*/ 15 w 234"/>
                    <a:gd name="T1" fmla="*/ 31 h 31"/>
                    <a:gd name="T2" fmla="*/ 218 w 234"/>
                    <a:gd name="T3" fmla="*/ 31 h 31"/>
                    <a:gd name="T4" fmla="*/ 234 w 234"/>
                    <a:gd name="T5" fmla="*/ 15 h 31"/>
                    <a:gd name="T6" fmla="*/ 218 w 234"/>
                    <a:gd name="T7" fmla="*/ 0 h 31"/>
                    <a:gd name="T8" fmla="*/ 15 w 234"/>
                    <a:gd name="T9" fmla="*/ 0 h 31"/>
                    <a:gd name="T10" fmla="*/ 0 w 234"/>
                    <a:gd name="T11" fmla="*/ 15 h 31"/>
                    <a:gd name="T12" fmla="*/ 15 w 23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34" h="31">
                      <a:moveTo>
                        <a:pt x="15" y="31"/>
                      </a:moveTo>
                      <a:cubicBezTo>
                        <a:pt x="218" y="31"/>
                        <a:pt x="218" y="31"/>
                        <a:pt x="218" y="31"/>
                      </a:cubicBezTo>
                      <a:cubicBezTo>
                        <a:pt x="227" y="31"/>
                        <a:pt x="234" y="24"/>
                        <a:pt x="234" y="15"/>
                      </a:cubicBezTo>
                      <a:cubicBezTo>
                        <a:pt x="234" y="7"/>
                        <a:pt x="227" y="0"/>
                        <a:pt x="218" y="0"/>
                      </a:cubicBezTo>
                      <a:cubicBezTo>
                        <a:pt x="15" y="0"/>
                        <a:pt x="15" y="0"/>
                        <a:pt x="15" y="0"/>
                      </a:cubicBezTo>
                      <a:cubicBezTo>
                        <a:pt x="7" y="0"/>
                        <a:pt x="0" y="7"/>
                        <a:pt x="0" y="15"/>
                      </a:cubicBezTo>
                      <a:cubicBezTo>
                        <a:pt x="0" y="24"/>
                        <a:pt x="7" y="31"/>
                        <a:pt x="1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128" name="Freeform 9"/>
                <p:cNvSpPr>
                  <a:spLocks/>
                </p:cNvSpPr>
                <p:nvPr/>
              </p:nvSpPr>
              <p:spPr bwMode="auto">
                <a:xfrm>
                  <a:off x="4395788" y="3854450"/>
                  <a:ext cx="615950" cy="117475"/>
                </a:xfrm>
                <a:custGeom>
                  <a:avLst/>
                  <a:gdLst>
                    <a:gd name="T0" fmla="*/ 15 w 164"/>
                    <a:gd name="T1" fmla="*/ 31 h 31"/>
                    <a:gd name="T2" fmla="*/ 149 w 164"/>
                    <a:gd name="T3" fmla="*/ 31 h 31"/>
                    <a:gd name="T4" fmla="*/ 164 w 164"/>
                    <a:gd name="T5" fmla="*/ 15 h 31"/>
                    <a:gd name="T6" fmla="*/ 149 w 164"/>
                    <a:gd name="T7" fmla="*/ 0 h 31"/>
                    <a:gd name="T8" fmla="*/ 15 w 164"/>
                    <a:gd name="T9" fmla="*/ 0 h 31"/>
                    <a:gd name="T10" fmla="*/ 0 w 164"/>
                    <a:gd name="T11" fmla="*/ 15 h 31"/>
                    <a:gd name="T12" fmla="*/ 15 w 16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64" h="31">
                      <a:moveTo>
                        <a:pt x="15" y="31"/>
                      </a:moveTo>
                      <a:cubicBezTo>
                        <a:pt x="149" y="31"/>
                        <a:pt x="149" y="31"/>
                        <a:pt x="149" y="31"/>
                      </a:cubicBezTo>
                      <a:cubicBezTo>
                        <a:pt x="157" y="31"/>
                        <a:pt x="164" y="24"/>
                        <a:pt x="164" y="15"/>
                      </a:cubicBezTo>
                      <a:cubicBezTo>
                        <a:pt x="164" y="7"/>
                        <a:pt x="157" y="0"/>
                        <a:pt x="149" y="0"/>
                      </a:cubicBezTo>
                      <a:cubicBezTo>
                        <a:pt x="15" y="0"/>
                        <a:pt x="15" y="0"/>
                        <a:pt x="15" y="0"/>
                      </a:cubicBezTo>
                      <a:cubicBezTo>
                        <a:pt x="7" y="0"/>
                        <a:pt x="0" y="7"/>
                        <a:pt x="0" y="15"/>
                      </a:cubicBezTo>
                      <a:cubicBezTo>
                        <a:pt x="0" y="24"/>
                        <a:pt x="7" y="31"/>
                        <a:pt x="1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sp>
          <p:nvSpPr>
            <p:cNvPr id="153" name="Text Placeholder 4"/>
            <p:cNvSpPr txBox="1">
              <a:spLocks/>
            </p:cNvSpPr>
            <p:nvPr/>
          </p:nvSpPr>
          <p:spPr>
            <a:xfrm>
              <a:off x="1198156" y="2143651"/>
              <a:ext cx="2753919" cy="379386"/>
            </a:xfrm>
            <a:prstGeom prst="rect">
              <a:avLst/>
            </a:prstGeom>
          </p:spPr>
          <p:txBody>
            <a:bodyPr lIns="91420" tIns="45710" rIns="91420" bIns="45710" anchor="ctr">
              <a:noAutofit/>
            </a:bodyPr>
            <a:lstStyle>
              <a:lvl1pPr marL="174625" indent="-117475" algn="l" defTabSz="684213" rtl="0" eaLnBrk="1" fontAlgn="base" hangingPunct="1">
                <a:lnSpc>
                  <a:spcPct val="95000"/>
                </a:lnSpc>
                <a:spcBef>
                  <a:spcPts val="1110"/>
                </a:spcBef>
                <a:spcAft>
                  <a:spcPct val="0"/>
                </a:spcAft>
                <a:buClr>
                  <a:schemeClr val="tx2"/>
                </a:buClr>
                <a:buSzPct val="60000"/>
                <a:buFont typeface="Arial"/>
                <a:buChar char="•"/>
                <a:defRPr lang="en-US" sz="2000" b="0" i="0" kern="1200">
                  <a:solidFill>
                    <a:schemeClr val="bg1">
                      <a:lumMod val="75000"/>
                    </a:schemeClr>
                  </a:solidFill>
                  <a:latin typeface="+mn-lt"/>
                  <a:ea typeface="CiscoSansTT Thin" charset="0"/>
                  <a:cs typeface="CiscoSansTT Thin" charset="0"/>
                </a:defRPr>
              </a:lvl1pPr>
              <a:lvl2pPr marL="288925" indent="-114300" algn="l" defTabSz="684213" rtl="0" eaLnBrk="1" fontAlgn="base" hangingPunct="1">
                <a:lnSpc>
                  <a:spcPct val="95000"/>
                </a:lnSpc>
                <a:spcBef>
                  <a:spcPts val="450"/>
                </a:spcBef>
                <a:spcAft>
                  <a:spcPct val="0"/>
                </a:spcAft>
                <a:buClr>
                  <a:schemeClr val="tx2"/>
                </a:buClr>
                <a:buSzPct val="60000"/>
                <a:buFont typeface="Arial"/>
                <a:buChar char="•"/>
                <a:defRPr lang="en-US" sz="1800" b="0" i="0" kern="1200">
                  <a:solidFill>
                    <a:schemeClr val="bg1">
                      <a:lumMod val="75000"/>
                    </a:schemeClr>
                  </a:solidFill>
                  <a:latin typeface="+mn-lt"/>
                  <a:ea typeface="CiscoSansTT Thin" charset="0"/>
                  <a:cs typeface="CiscoSansTT Thin" charset="0"/>
                </a:defRPr>
              </a:lvl2pPr>
              <a:lvl3pPr marL="403225" indent="-114300" algn="l" defTabSz="684213" rtl="0" eaLnBrk="1" fontAlgn="base" hangingPunct="1">
                <a:lnSpc>
                  <a:spcPct val="95000"/>
                </a:lnSpc>
                <a:spcBef>
                  <a:spcPts val="625"/>
                </a:spcBef>
                <a:spcAft>
                  <a:spcPct val="0"/>
                </a:spcAft>
                <a:buClr>
                  <a:schemeClr val="tx2"/>
                </a:buClr>
                <a:buSzPct val="60000"/>
                <a:buFont typeface="Arial"/>
                <a:buChar char="•"/>
                <a:defRPr lang="en-US" sz="1600" b="0" i="0" kern="1200">
                  <a:solidFill>
                    <a:schemeClr val="bg1">
                      <a:lumMod val="75000"/>
                    </a:schemeClr>
                  </a:solidFill>
                  <a:latin typeface="+mn-lt"/>
                  <a:ea typeface="CiscoSansTT Thin" charset="0"/>
                  <a:cs typeface="CiscoSansTT Thin" charset="0"/>
                </a:defRPr>
              </a:lvl3pPr>
              <a:lvl4pPr marL="517525" indent="-114300" algn="l" defTabSz="684213" rtl="0" eaLnBrk="1" fontAlgn="base" hangingPunct="1">
                <a:lnSpc>
                  <a:spcPct val="95000"/>
                </a:lnSpc>
                <a:spcBef>
                  <a:spcPts val="625"/>
                </a:spcBef>
                <a:spcAft>
                  <a:spcPct val="0"/>
                </a:spcAft>
                <a:buClr>
                  <a:schemeClr val="tx2"/>
                </a:buClr>
                <a:buSzPct val="60000"/>
                <a:buFont typeface="Arial"/>
                <a:buChar char="•"/>
                <a:defRPr lang="en-US" sz="1400" b="0" i="0" kern="1200">
                  <a:solidFill>
                    <a:schemeClr val="bg1">
                      <a:lumMod val="75000"/>
                    </a:schemeClr>
                  </a:solidFill>
                  <a:latin typeface="+mn-lt"/>
                  <a:ea typeface="CiscoSansTT Thin" charset="0"/>
                  <a:cs typeface="CiscoSansTT Thin" charset="0"/>
                </a:defRPr>
              </a:lvl4pPr>
              <a:lvl5pPr marL="631825" indent="-114300" algn="l" defTabSz="684213" rtl="0" eaLnBrk="1" fontAlgn="base" hangingPunct="1">
                <a:lnSpc>
                  <a:spcPct val="95000"/>
                </a:lnSpc>
                <a:spcBef>
                  <a:spcPts val="625"/>
                </a:spcBef>
                <a:spcAft>
                  <a:spcPct val="0"/>
                </a:spcAft>
                <a:buClr>
                  <a:schemeClr val="tx2"/>
                </a:buClr>
                <a:buSzPct val="60000"/>
                <a:buFont typeface="Arial"/>
                <a:buChar char="•"/>
                <a:defRPr lang="en-US" sz="1200" b="0" i="0" kern="1200">
                  <a:solidFill>
                    <a:schemeClr val="bg1">
                      <a:lumMod val="75000"/>
                    </a:schemeClr>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marR="0" lvl="0" indent="0" algn="l" defTabSz="684213" rtl="0" eaLnBrk="1" fontAlgn="base" latinLnBrk="0" hangingPunct="1">
                <a:lnSpc>
                  <a:spcPct val="100000"/>
                </a:lnSpc>
                <a:spcBef>
                  <a:spcPts val="4200"/>
                </a:spcBef>
                <a:spcAft>
                  <a:spcPct val="0"/>
                </a:spcAft>
                <a:buClr>
                  <a:srgbClr val="005073"/>
                </a:buClr>
                <a:buSzPct val="60000"/>
                <a:buFont typeface="Arial"/>
                <a:buNone/>
                <a:tabLst/>
                <a:defRPr/>
              </a:pPr>
              <a:r>
                <a:rPr kumimoji="0" lang="en-US" sz="1800" b="0" i="0" u="none" strike="noStrike" kern="1200" cap="none" spc="0" normalizeH="0" baseline="0" noProof="0" dirty="0">
                  <a:ln>
                    <a:noFill/>
                  </a:ln>
                  <a:solidFill>
                    <a:srgbClr val="005073">
                      <a:lumMod val="75000"/>
                    </a:srgbClr>
                  </a:solidFill>
                  <a:effectLst/>
                  <a:uLnTx/>
                  <a:uFillTx/>
                  <a:latin typeface="CiscoSansTT ExtraLight"/>
                  <a:cs typeface="CiscoSansTT Thin" charset="0"/>
                </a:rPr>
                <a:t>Utilize capital efficiently</a:t>
              </a:r>
            </a:p>
          </p:txBody>
        </p:sp>
      </p:grpSp>
      <p:grpSp>
        <p:nvGrpSpPr>
          <p:cNvPr id="116" name="Group 115"/>
          <p:cNvGrpSpPr/>
          <p:nvPr/>
        </p:nvGrpSpPr>
        <p:grpSpPr>
          <a:xfrm>
            <a:off x="662083" y="2845357"/>
            <a:ext cx="3293323" cy="564559"/>
            <a:chOff x="662083" y="2845357"/>
            <a:chExt cx="3293323" cy="564559"/>
          </a:xfrm>
        </p:grpSpPr>
        <p:grpSp>
          <p:nvGrpSpPr>
            <p:cNvPr id="136" name="Group 135"/>
            <p:cNvGrpSpPr/>
            <p:nvPr/>
          </p:nvGrpSpPr>
          <p:grpSpPr>
            <a:xfrm>
              <a:off x="662083" y="2845357"/>
              <a:ext cx="564559" cy="564559"/>
              <a:chOff x="655786" y="2676507"/>
              <a:chExt cx="564559" cy="564559"/>
            </a:xfrm>
          </p:grpSpPr>
          <p:sp>
            <p:nvSpPr>
              <p:cNvPr id="133" name="Oval 132"/>
              <p:cNvSpPr/>
              <p:nvPr/>
            </p:nvSpPr>
            <p:spPr>
              <a:xfrm>
                <a:off x="655786" y="2676507"/>
                <a:ext cx="564559" cy="56455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129" name="Picture 128"/>
              <p:cNvPicPr>
                <a:picLocks noChangeAspect="1"/>
              </p:cNvPicPr>
              <p:nvPr/>
            </p:nvPicPr>
            <p:blipFill>
              <a:blip r:embed="rId5">
                <a:biLevel thresh="25000"/>
                <a:extLst>
                  <a:ext uri="{BEBA8EAE-BF5A-486C-A8C5-ECC9F3942E4B}">
                    <a14:imgProps xmlns:a14="http://schemas.microsoft.com/office/drawing/2010/main">
                      <a14:imgLayer r:embed="rId6">
                        <a14:imgEffect>
                          <a14:backgroundRemoval t="160" b="100000" l="6230" r="93930">
                            <a14:foregroundMark x1="39617" y1="39776" x2="39617" y2="39776"/>
                          </a14:backgroundRemoval>
                        </a14:imgEffect>
                        <a14:imgEffect>
                          <a14:colorTemperature colorTemp="6792"/>
                        </a14:imgEffect>
                        <a14:imgEffect>
                          <a14:saturation sat="18200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75512" y="2796233"/>
                <a:ext cx="325106" cy="325106"/>
              </a:xfrm>
              <a:prstGeom prst="rect">
                <a:avLst/>
              </a:prstGeom>
            </p:spPr>
          </p:pic>
        </p:grpSp>
        <p:sp>
          <p:nvSpPr>
            <p:cNvPr id="154" name="Text Placeholder 4"/>
            <p:cNvSpPr txBox="1">
              <a:spLocks/>
            </p:cNvSpPr>
            <p:nvPr/>
          </p:nvSpPr>
          <p:spPr>
            <a:xfrm>
              <a:off x="1201487" y="2919217"/>
              <a:ext cx="2753919" cy="379386"/>
            </a:xfrm>
            <a:prstGeom prst="rect">
              <a:avLst/>
            </a:prstGeom>
          </p:spPr>
          <p:txBody>
            <a:bodyPr lIns="91420" tIns="45710" rIns="91420" bIns="45710" anchor="ctr">
              <a:noAutofit/>
            </a:bodyPr>
            <a:lstStyle>
              <a:lvl1pPr marL="174625" indent="-117475" algn="l" defTabSz="684213" rtl="0" eaLnBrk="1" fontAlgn="base" hangingPunct="1">
                <a:lnSpc>
                  <a:spcPct val="95000"/>
                </a:lnSpc>
                <a:spcBef>
                  <a:spcPts val="1110"/>
                </a:spcBef>
                <a:spcAft>
                  <a:spcPct val="0"/>
                </a:spcAft>
                <a:buClr>
                  <a:schemeClr val="tx2"/>
                </a:buClr>
                <a:buSzPct val="60000"/>
                <a:buFont typeface="Arial"/>
                <a:buChar char="•"/>
                <a:defRPr lang="en-US" sz="2000" b="0" i="0" kern="1200">
                  <a:solidFill>
                    <a:schemeClr val="bg1">
                      <a:lumMod val="75000"/>
                    </a:schemeClr>
                  </a:solidFill>
                  <a:latin typeface="+mn-lt"/>
                  <a:ea typeface="CiscoSansTT Thin" charset="0"/>
                  <a:cs typeface="CiscoSansTT Thin" charset="0"/>
                </a:defRPr>
              </a:lvl1pPr>
              <a:lvl2pPr marL="288925" indent="-114300" algn="l" defTabSz="684213" rtl="0" eaLnBrk="1" fontAlgn="base" hangingPunct="1">
                <a:lnSpc>
                  <a:spcPct val="95000"/>
                </a:lnSpc>
                <a:spcBef>
                  <a:spcPts val="450"/>
                </a:spcBef>
                <a:spcAft>
                  <a:spcPct val="0"/>
                </a:spcAft>
                <a:buClr>
                  <a:schemeClr val="tx2"/>
                </a:buClr>
                <a:buSzPct val="60000"/>
                <a:buFont typeface="Arial"/>
                <a:buChar char="•"/>
                <a:defRPr lang="en-US" sz="1800" b="0" i="0" kern="1200">
                  <a:solidFill>
                    <a:schemeClr val="bg1">
                      <a:lumMod val="75000"/>
                    </a:schemeClr>
                  </a:solidFill>
                  <a:latin typeface="+mn-lt"/>
                  <a:ea typeface="CiscoSansTT Thin" charset="0"/>
                  <a:cs typeface="CiscoSansTT Thin" charset="0"/>
                </a:defRPr>
              </a:lvl2pPr>
              <a:lvl3pPr marL="403225" indent="-114300" algn="l" defTabSz="684213" rtl="0" eaLnBrk="1" fontAlgn="base" hangingPunct="1">
                <a:lnSpc>
                  <a:spcPct val="95000"/>
                </a:lnSpc>
                <a:spcBef>
                  <a:spcPts val="625"/>
                </a:spcBef>
                <a:spcAft>
                  <a:spcPct val="0"/>
                </a:spcAft>
                <a:buClr>
                  <a:schemeClr val="tx2"/>
                </a:buClr>
                <a:buSzPct val="60000"/>
                <a:buFont typeface="Arial"/>
                <a:buChar char="•"/>
                <a:defRPr lang="en-US" sz="1600" b="0" i="0" kern="1200">
                  <a:solidFill>
                    <a:schemeClr val="bg1">
                      <a:lumMod val="75000"/>
                    </a:schemeClr>
                  </a:solidFill>
                  <a:latin typeface="+mn-lt"/>
                  <a:ea typeface="CiscoSansTT Thin" charset="0"/>
                  <a:cs typeface="CiscoSansTT Thin" charset="0"/>
                </a:defRPr>
              </a:lvl3pPr>
              <a:lvl4pPr marL="517525" indent="-114300" algn="l" defTabSz="684213" rtl="0" eaLnBrk="1" fontAlgn="base" hangingPunct="1">
                <a:lnSpc>
                  <a:spcPct val="95000"/>
                </a:lnSpc>
                <a:spcBef>
                  <a:spcPts val="625"/>
                </a:spcBef>
                <a:spcAft>
                  <a:spcPct val="0"/>
                </a:spcAft>
                <a:buClr>
                  <a:schemeClr val="tx2"/>
                </a:buClr>
                <a:buSzPct val="60000"/>
                <a:buFont typeface="Arial"/>
                <a:buChar char="•"/>
                <a:defRPr lang="en-US" sz="1400" b="0" i="0" kern="1200">
                  <a:solidFill>
                    <a:schemeClr val="bg1">
                      <a:lumMod val="75000"/>
                    </a:schemeClr>
                  </a:solidFill>
                  <a:latin typeface="+mn-lt"/>
                  <a:ea typeface="CiscoSansTT Thin" charset="0"/>
                  <a:cs typeface="CiscoSansTT Thin" charset="0"/>
                </a:defRPr>
              </a:lvl4pPr>
              <a:lvl5pPr marL="631825" indent="-114300" algn="l" defTabSz="684213" rtl="0" eaLnBrk="1" fontAlgn="base" hangingPunct="1">
                <a:lnSpc>
                  <a:spcPct val="95000"/>
                </a:lnSpc>
                <a:spcBef>
                  <a:spcPts val="625"/>
                </a:spcBef>
                <a:spcAft>
                  <a:spcPct val="0"/>
                </a:spcAft>
                <a:buClr>
                  <a:schemeClr val="tx2"/>
                </a:buClr>
                <a:buSzPct val="60000"/>
                <a:buFont typeface="Arial"/>
                <a:buChar char="•"/>
                <a:defRPr lang="en-US" sz="1200" b="0" i="0" kern="1200">
                  <a:solidFill>
                    <a:schemeClr val="bg1">
                      <a:lumMod val="75000"/>
                    </a:schemeClr>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marR="0" lvl="0" indent="0" algn="l" defTabSz="684213" rtl="0" eaLnBrk="1" fontAlgn="base" latinLnBrk="0" hangingPunct="1">
                <a:lnSpc>
                  <a:spcPct val="100000"/>
                </a:lnSpc>
                <a:spcBef>
                  <a:spcPts val="4200"/>
                </a:spcBef>
                <a:spcAft>
                  <a:spcPct val="0"/>
                </a:spcAft>
                <a:buClr>
                  <a:srgbClr val="005073"/>
                </a:buClr>
                <a:buSzPct val="60000"/>
                <a:buFont typeface="Arial"/>
                <a:buNone/>
                <a:tabLst/>
                <a:defRPr/>
              </a:pPr>
              <a:r>
                <a:rPr kumimoji="0" lang="en-US" sz="1800" b="0" i="0" u="none" strike="noStrike" kern="1200" cap="none" spc="0" normalizeH="0" baseline="0" noProof="0" dirty="0">
                  <a:ln>
                    <a:noFill/>
                  </a:ln>
                  <a:solidFill>
                    <a:srgbClr val="005073">
                      <a:lumMod val="75000"/>
                    </a:srgbClr>
                  </a:solidFill>
                  <a:effectLst/>
                  <a:uLnTx/>
                  <a:uFillTx/>
                  <a:latin typeface="CiscoSansTT ExtraLight"/>
                  <a:cs typeface="CiscoSansTT Thin" charset="0"/>
                </a:rPr>
                <a:t>Protect your investment</a:t>
              </a:r>
            </a:p>
          </p:txBody>
        </p:sp>
      </p:grpSp>
      <p:grpSp>
        <p:nvGrpSpPr>
          <p:cNvPr id="119" name="Group 118"/>
          <p:cNvGrpSpPr/>
          <p:nvPr/>
        </p:nvGrpSpPr>
        <p:grpSpPr>
          <a:xfrm>
            <a:off x="663895" y="3630287"/>
            <a:ext cx="3296580" cy="560935"/>
            <a:chOff x="663895" y="3630287"/>
            <a:chExt cx="3296580" cy="560935"/>
          </a:xfrm>
        </p:grpSpPr>
        <p:grpSp>
          <p:nvGrpSpPr>
            <p:cNvPr id="140" name="Group 139"/>
            <p:cNvGrpSpPr/>
            <p:nvPr/>
          </p:nvGrpSpPr>
          <p:grpSpPr>
            <a:xfrm>
              <a:off x="663895" y="3630287"/>
              <a:ext cx="560935" cy="560935"/>
              <a:chOff x="4960115" y="649046"/>
              <a:chExt cx="832786" cy="832786"/>
            </a:xfrm>
          </p:grpSpPr>
          <p:sp>
            <p:nvSpPr>
              <p:cNvPr id="141" name="Oval 140"/>
              <p:cNvSpPr>
                <a:spLocks noChangeAspect="1"/>
              </p:cNvSpPr>
              <p:nvPr/>
            </p:nvSpPr>
            <p:spPr>
              <a:xfrm>
                <a:off x="4960115" y="649046"/>
                <a:ext cx="832786" cy="832786"/>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2" name="Freeform 121"/>
              <p:cNvSpPr>
                <a:spLocks noEditPoints="1"/>
              </p:cNvSpPr>
              <p:nvPr/>
            </p:nvSpPr>
            <p:spPr bwMode="auto">
              <a:xfrm rot="16681701">
                <a:off x="5314832" y="842951"/>
                <a:ext cx="403619" cy="399890"/>
              </a:xfrm>
              <a:custGeom>
                <a:avLst/>
                <a:gdLst>
                  <a:gd name="T0" fmla="*/ 266 w 393"/>
                  <a:gd name="T1" fmla="*/ 8 h 389"/>
                  <a:gd name="T2" fmla="*/ 219 w 393"/>
                  <a:gd name="T3" fmla="*/ 24 h 389"/>
                  <a:gd name="T4" fmla="*/ 61 w 393"/>
                  <a:gd name="T5" fmla="*/ 154 h 389"/>
                  <a:gd name="T6" fmla="*/ 0 w 393"/>
                  <a:gd name="T7" fmla="*/ 354 h 389"/>
                  <a:gd name="T8" fmla="*/ 36 w 393"/>
                  <a:gd name="T9" fmla="*/ 389 h 389"/>
                  <a:gd name="T10" fmla="*/ 71 w 393"/>
                  <a:gd name="T11" fmla="*/ 354 h 389"/>
                  <a:gd name="T12" fmla="*/ 94 w 393"/>
                  <a:gd name="T13" fmla="*/ 242 h 389"/>
                  <a:gd name="T14" fmla="*/ 198 w 393"/>
                  <a:gd name="T15" fmla="*/ 116 h 389"/>
                  <a:gd name="T16" fmla="*/ 279 w 393"/>
                  <a:gd name="T17" fmla="*/ 78 h 389"/>
                  <a:gd name="T18" fmla="*/ 308 w 393"/>
                  <a:gd name="T19" fmla="*/ 39 h 389"/>
                  <a:gd name="T20" fmla="*/ 266 w 393"/>
                  <a:gd name="T21" fmla="*/ 8 h 389"/>
                  <a:gd name="T22" fmla="*/ 375 w 393"/>
                  <a:gd name="T23" fmla="*/ 0 h 389"/>
                  <a:gd name="T24" fmla="*/ 378 w 393"/>
                  <a:gd name="T25" fmla="*/ 3 h 389"/>
                  <a:gd name="T26" fmla="*/ 378 w 393"/>
                  <a:gd name="T27" fmla="*/ 3 h 389"/>
                  <a:gd name="T28" fmla="*/ 392 w 393"/>
                  <a:gd name="T29" fmla="*/ 32 h 389"/>
                  <a:gd name="T30" fmla="*/ 386 w 393"/>
                  <a:gd name="T31" fmla="*/ 52 h 389"/>
                  <a:gd name="T32" fmla="*/ 386 w 393"/>
                  <a:gd name="T33" fmla="*/ 52 h 389"/>
                  <a:gd name="T34" fmla="*/ 382 w 393"/>
                  <a:gd name="T35" fmla="*/ 57 h 389"/>
                  <a:gd name="T36" fmla="*/ 393 w 393"/>
                  <a:gd name="T37" fmla="*/ 32 h 389"/>
                  <a:gd name="T38" fmla="*/ 375 w 393"/>
                  <a:gd name="T39"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9">
                    <a:moveTo>
                      <a:pt x="266" y="8"/>
                    </a:moveTo>
                    <a:cubicBezTo>
                      <a:pt x="250" y="13"/>
                      <a:pt x="234" y="18"/>
                      <a:pt x="219" y="24"/>
                    </a:cubicBezTo>
                    <a:cubicBezTo>
                      <a:pt x="154" y="52"/>
                      <a:pt x="100" y="97"/>
                      <a:pt x="61" y="154"/>
                    </a:cubicBezTo>
                    <a:cubicBezTo>
                      <a:pt x="23" y="211"/>
                      <a:pt x="0" y="280"/>
                      <a:pt x="0" y="354"/>
                    </a:cubicBezTo>
                    <a:cubicBezTo>
                      <a:pt x="0" y="373"/>
                      <a:pt x="16" y="389"/>
                      <a:pt x="36" y="389"/>
                    </a:cubicBezTo>
                    <a:cubicBezTo>
                      <a:pt x="55" y="389"/>
                      <a:pt x="71" y="373"/>
                      <a:pt x="71" y="354"/>
                    </a:cubicBezTo>
                    <a:cubicBezTo>
                      <a:pt x="71" y="314"/>
                      <a:pt x="79" y="276"/>
                      <a:pt x="94" y="242"/>
                    </a:cubicBezTo>
                    <a:cubicBezTo>
                      <a:pt x="115" y="191"/>
                      <a:pt x="152" y="147"/>
                      <a:pt x="198" y="116"/>
                    </a:cubicBezTo>
                    <a:cubicBezTo>
                      <a:pt x="222" y="99"/>
                      <a:pt x="250" y="86"/>
                      <a:pt x="279" y="78"/>
                    </a:cubicBezTo>
                    <a:cubicBezTo>
                      <a:pt x="308" y="39"/>
                      <a:pt x="308" y="39"/>
                      <a:pt x="308" y="39"/>
                    </a:cubicBezTo>
                    <a:cubicBezTo>
                      <a:pt x="266" y="8"/>
                      <a:pt x="266" y="8"/>
                      <a:pt x="266" y="8"/>
                    </a:cubicBezTo>
                    <a:moveTo>
                      <a:pt x="375" y="0"/>
                    </a:moveTo>
                    <a:cubicBezTo>
                      <a:pt x="378" y="3"/>
                      <a:pt x="378" y="3"/>
                      <a:pt x="378" y="3"/>
                    </a:cubicBezTo>
                    <a:cubicBezTo>
                      <a:pt x="378" y="3"/>
                      <a:pt x="378" y="3"/>
                      <a:pt x="378" y="3"/>
                    </a:cubicBezTo>
                    <a:cubicBezTo>
                      <a:pt x="388" y="10"/>
                      <a:pt x="393" y="21"/>
                      <a:pt x="392" y="32"/>
                    </a:cubicBezTo>
                    <a:cubicBezTo>
                      <a:pt x="392" y="39"/>
                      <a:pt x="390" y="46"/>
                      <a:pt x="386" y="52"/>
                    </a:cubicBezTo>
                    <a:cubicBezTo>
                      <a:pt x="386" y="52"/>
                      <a:pt x="386" y="52"/>
                      <a:pt x="386" y="52"/>
                    </a:cubicBezTo>
                    <a:cubicBezTo>
                      <a:pt x="382" y="57"/>
                      <a:pt x="382" y="57"/>
                      <a:pt x="382" y="57"/>
                    </a:cubicBezTo>
                    <a:cubicBezTo>
                      <a:pt x="389" y="51"/>
                      <a:pt x="393" y="42"/>
                      <a:pt x="393" y="32"/>
                    </a:cubicBezTo>
                    <a:cubicBezTo>
                      <a:pt x="393" y="18"/>
                      <a:pt x="386" y="6"/>
                      <a:pt x="375"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charset="0"/>
                </a:endParaRPr>
              </a:p>
            </p:txBody>
          </p:sp>
          <p:grpSp>
            <p:nvGrpSpPr>
              <p:cNvPr id="143" name="Group 142"/>
              <p:cNvGrpSpPr>
                <a:grpSpLocks noChangeAspect="1"/>
              </p:cNvGrpSpPr>
              <p:nvPr/>
            </p:nvGrpSpPr>
            <p:grpSpPr>
              <a:xfrm rot="4932814" flipH="1">
                <a:off x="5078668" y="785801"/>
                <a:ext cx="407984" cy="494037"/>
                <a:chOff x="4929188" y="1023937"/>
                <a:chExt cx="694822" cy="841375"/>
              </a:xfrm>
            </p:grpSpPr>
            <p:sp>
              <p:nvSpPr>
                <p:cNvPr id="144" name="Freeform 123"/>
                <p:cNvSpPr>
                  <a:spLocks noEditPoints="1"/>
                </p:cNvSpPr>
                <p:nvPr/>
              </p:nvSpPr>
              <p:spPr bwMode="auto">
                <a:xfrm>
                  <a:off x="4929188" y="1185862"/>
                  <a:ext cx="687388" cy="679450"/>
                </a:xfrm>
                <a:custGeom>
                  <a:avLst/>
                  <a:gdLst>
                    <a:gd name="T0" fmla="*/ 266 w 393"/>
                    <a:gd name="T1" fmla="*/ 7 h 388"/>
                    <a:gd name="T2" fmla="*/ 219 w 393"/>
                    <a:gd name="T3" fmla="*/ 23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8 h 388"/>
                    <a:gd name="T20" fmla="*/ 266 w 393"/>
                    <a:gd name="T21" fmla="*/ 7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7"/>
                      </a:moveTo>
                      <a:cubicBezTo>
                        <a:pt x="250" y="12"/>
                        <a:pt x="234" y="17"/>
                        <a:pt x="219" y="23"/>
                      </a:cubicBezTo>
                      <a:cubicBezTo>
                        <a:pt x="154" y="51"/>
                        <a:pt x="100" y="96"/>
                        <a:pt x="61" y="153"/>
                      </a:cubicBezTo>
                      <a:cubicBezTo>
                        <a:pt x="23" y="210"/>
                        <a:pt x="0" y="279"/>
                        <a:pt x="0" y="353"/>
                      </a:cubicBezTo>
                      <a:cubicBezTo>
                        <a:pt x="0" y="372"/>
                        <a:pt x="16" y="388"/>
                        <a:pt x="36" y="388"/>
                      </a:cubicBezTo>
                      <a:cubicBezTo>
                        <a:pt x="55" y="388"/>
                        <a:pt x="71" y="372"/>
                        <a:pt x="71" y="353"/>
                      </a:cubicBezTo>
                      <a:cubicBezTo>
                        <a:pt x="71" y="313"/>
                        <a:pt x="79" y="275"/>
                        <a:pt x="94" y="241"/>
                      </a:cubicBezTo>
                      <a:cubicBezTo>
                        <a:pt x="115" y="190"/>
                        <a:pt x="152" y="146"/>
                        <a:pt x="198" y="115"/>
                      </a:cubicBezTo>
                      <a:cubicBezTo>
                        <a:pt x="222" y="98"/>
                        <a:pt x="250" y="85"/>
                        <a:pt x="279" y="77"/>
                      </a:cubicBezTo>
                      <a:cubicBezTo>
                        <a:pt x="308" y="38"/>
                        <a:pt x="308" y="38"/>
                        <a:pt x="308" y="38"/>
                      </a:cubicBezTo>
                      <a:cubicBezTo>
                        <a:pt x="266" y="7"/>
                        <a:pt x="266" y="7"/>
                        <a:pt x="266" y="7"/>
                      </a:cubicBezTo>
                      <a:moveTo>
                        <a:pt x="375" y="0"/>
                      </a:moveTo>
                      <a:cubicBezTo>
                        <a:pt x="378" y="2"/>
                        <a:pt x="378" y="2"/>
                        <a:pt x="378" y="2"/>
                      </a:cubicBezTo>
                      <a:cubicBezTo>
                        <a:pt x="378" y="2"/>
                        <a:pt x="378" y="2"/>
                        <a:pt x="378" y="2"/>
                      </a:cubicBezTo>
                      <a:cubicBezTo>
                        <a:pt x="388" y="9"/>
                        <a:pt x="393" y="20"/>
                        <a:pt x="392" y="31"/>
                      </a:cubicBezTo>
                      <a:cubicBezTo>
                        <a:pt x="392" y="38"/>
                        <a:pt x="390" y="45"/>
                        <a:pt x="386" y="52"/>
                      </a:cubicBezTo>
                      <a:cubicBezTo>
                        <a:pt x="386" y="52"/>
                        <a:pt x="386" y="52"/>
                        <a:pt x="386" y="52"/>
                      </a:cubicBezTo>
                      <a:cubicBezTo>
                        <a:pt x="382" y="56"/>
                        <a:pt x="382" y="56"/>
                        <a:pt x="382" y="56"/>
                      </a:cubicBezTo>
                      <a:cubicBezTo>
                        <a:pt x="389" y="50"/>
                        <a:pt x="393" y="41"/>
                        <a:pt x="393" y="31"/>
                      </a:cubicBezTo>
                      <a:cubicBezTo>
                        <a:pt x="393" y="17"/>
                        <a:pt x="386" y="6"/>
                        <a:pt x="375" y="0"/>
                      </a:cubicBezTo>
                    </a:path>
                  </a:pathLst>
                </a:custGeom>
                <a:solidFill>
                  <a:schemeClr val="bg2"/>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145" name="Freeform 124"/>
                <p:cNvSpPr>
                  <a:spLocks/>
                </p:cNvSpPr>
                <p:nvPr/>
              </p:nvSpPr>
              <p:spPr bwMode="auto">
                <a:xfrm>
                  <a:off x="5272088" y="1023937"/>
                  <a:ext cx="312738" cy="174625"/>
                </a:xfrm>
                <a:custGeom>
                  <a:avLst/>
                  <a:gdLst>
                    <a:gd name="T0" fmla="*/ 40 w 179"/>
                    <a:gd name="T1" fmla="*/ 0 h 100"/>
                    <a:gd name="T2" fmla="*/ 12 w 179"/>
                    <a:gd name="T3" fmla="*/ 14 h 100"/>
                    <a:gd name="T4" fmla="*/ 19 w 179"/>
                    <a:gd name="T5" fmla="*/ 64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4"/>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solidFill>
                  <a:schemeClr val="bg2"/>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146" name="Freeform 125"/>
                <p:cNvSpPr>
                  <a:spLocks noEditPoints="1"/>
                </p:cNvSpPr>
                <p:nvPr/>
              </p:nvSpPr>
              <p:spPr bwMode="auto">
                <a:xfrm>
                  <a:off x="5394325" y="1177925"/>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147" name="Freeform 126"/>
                <p:cNvSpPr>
                  <a:spLocks/>
                </p:cNvSpPr>
                <p:nvPr/>
              </p:nvSpPr>
              <p:spPr bwMode="auto">
                <a:xfrm>
                  <a:off x="5330825" y="1284287"/>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5"/>
                        <a:pt x="11" y="75"/>
                        <a:pt x="11" y="75"/>
                      </a:cubicBezTo>
                      <a:cubicBezTo>
                        <a:pt x="0" y="90"/>
                        <a:pt x="3" y="112"/>
                        <a:pt x="19" y="124"/>
                      </a:cubicBezTo>
                      <a:cubicBezTo>
                        <a:pt x="25" y="129"/>
                        <a:pt x="32" y="131"/>
                        <a:pt x="40" y="131"/>
                      </a:cubicBezTo>
                      <a:cubicBezTo>
                        <a:pt x="50" y="131"/>
                        <a:pt x="61" y="126"/>
                        <a:pt x="68" y="116"/>
                      </a:cubicBezTo>
                      <a:cubicBezTo>
                        <a:pt x="153" y="0"/>
                        <a:pt x="153" y="0"/>
                        <a:pt x="153" y="0"/>
                      </a:cubicBezTo>
                    </a:path>
                  </a:pathLst>
                </a:custGeom>
                <a:solidFill>
                  <a:schemeClr val="bg2"/>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148" name="Freeform 127"/>
                <p:cNvSpPr>
                  <a:spLocks/>
                </p:cNvSpPr>
                <p:nvPr/>
              </p:nvSpPr>
              <p:spPr bwMode="auto">
                <a:xfrm>
                  <a:off x="5418138" y="125253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4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4"/>
                        <a:pt x="107" y="14"/>
                        <a:pt x="107" y="14"/>
                      </a:cubicBezTo>
                      <a:cubicBezTo>
                        <a:pt x="100" y="23"/>
                        <a:pt x="89" y="28"/>
                        <a:pt x="78" y="28"/>
                      </a:cubicBezTo>
                      <a:cubicBezTo>
                        <a:pt x="71" y="28"/>
                        <a:pt x="64" y="26"/>
                        <a:pt x="57" y="21"/>
                      </a:cubicBezTo>
                      <a:cubicBezTo>
                        <a:pt x="29" y="0"/>
                        <a:pt x="29" y="0"/>
                        <a:pt x="29"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149" name="Freeform 128"/>
                <p:cNvSpPr>
                  <a:spLocks/>
                </p:cNvSpPr>
                <p:nvPr/>
              </p:nvSpPr>
              <p:spPr bwMode="auto">
                <a:xfrm>
                  <a:off x="5549900" y="1177925"/>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150" name="Freeform 129"/>
                <p:cNvSpPr>
                  <a:spLocks/>
                </p:cNvSpPr>
                <p:nvPr/>
              </p:nvSpPr>
              <p:spPr bwMode="auto">
                <a:xfrm>
                  <a:off x="5476372" y="1177925"/>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7 h 71"/>
                    <a:gd name="T14" fmla="*/ 78 w 85"/>
                    <a:gd name="T15" fmla="*/ 57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7"/>
                      </a:cubicBezTo>
                      <a:cubicBezTo>
                        <a:pt x="78" y="57"/>
                        <a:pt x="78" y="57"/>
                        <a:pt x="78" y="57"/>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charset="0"/>
                  </a:endParaRPr>
                </a:p>
              </p:txBody>
            </p:sp>
          </p:grpSp>
        </p:grpSp>
        <p:sp>
          <p:nvSpPr>
            <p:cNvPr id="155" name="Text Placeholder 4"/>
            <p:cNvSpPr txBox="1">
              <a:spLocks/>
            </p:cNvSpPr>
            <p:nvPr/>
          </p:nvSpPr>
          <p:spPr>
            <a:xfrm>
              <a:off x="1206556" y="3721061"/>
              <a:ext cx="2753919" cy="379386"/>
            </a:xfrm>
            <a:prstGeom prst="rect">
              <a:avLst/>
            </a:prstGeom>
          </p:spPr>
          <p:txBody>
            <a:bodyPr lIns="91420" tIns="45710" rIns="91420" bIns="45710" anchor="ctr">
              <a:noAutofit/>
            </a:bodyPr>
            <a:lstStyle>
              <a:lvl1pPr marL="174625" indent="-117475" algn="l" defTabSz="684213" rtl="0" eaLnBrk="1" fontAlgn="base" hangingPunct="1">
                <a:lnSpc>
                  <a:spcPct val="95000"/>
                </a:lnSpc>
                <a:spcBef>
                  <a:spcPts val="1110"/>
                </a:spcBef>
                <a:spcAft>
                  <a:spcPct val="0"/>
                </a:spcAft>
                <a:buClr>
                  <a:schemeClr val="tx2"/>
                </a:buClr>
                <a:buSzPct val="60000"/>
                <a:buFont typeface="Arial"/>
                <a:buChar char="•"/>
                <a:defRPr lang="en-US" sz="2000" b="0" i="0" kern="1200">
                  <a:solidFill>
                    <a:schemeClr val="bg1">
                      <a:lumMod val="75000"/>
                    </a:schemeClr>
                  </a:solidFill>
                  <a:latin typeface="+mn-lt"/>
                  <a:ea typeface="CiscoSansTT Thin" charset="0"/>
                  <a:cs typeface="CiscoSansTT Thin" charset="0"/>
                </a:defRPr>
              </a:lvl1pPr>
              <a:lvl2pPr marL="288925" indent="-114300" algn="l" defTabSz="684213" rtl="0" eaLnBrk="1" fontAlgn="base" hangingPunct="1">
                <a:lnSpc>
                  <a:spcPct val="95000"/>
                </a:lnSpc>
                <a:spcBef>
                  <a:spcPts val="450"/>
                </a:spcBef>
                <a:spcAft>
                  <a:spcPct val="0"/>
                </a:spcAft>
                <a:buClr>
                  <a:schemeClr val="tx2"/>
                </a:buClr>
                <a:buSzPct val="60000"/>
                <a:buFont typeface="Arial"/>
                <a:buChar char="•"/>
                <a:defRPr lang="en-US" sz="1800" b="0" i="0" kern="1200">
                  <a:solidFill>
                    <a:schemeClr val="bg1">
                      <a:lumMod val="75000"/>
                    </a:schemeClr>
                  </a:solidFill>
                  <a:latin typeface="+mn-lt"/>
                  <a:ea typeface="CiscoSansTT Thin" charset="0"/>
                  <a:cs typeface="CiscoSansTT Thin" charset="0"/>
                </a:defRPr>
              </a:lvl2pPr>
              <a:lvl3pPr marL="403225" indent="-114300" algn="l" defTabSz="684213" rtl="0" eaLnBrk="1" fontAlgn="base" hangingPunct="1">
                <a:lnSpc>
                  <a:spcPct val="95000"/>
                </a:lnSpc>
                <a:spcBef>
                  <a:spcPts val="625"/>
                </a:spcBef>
                <a:spcAft>
                  <a:spcPct val="0"/>
                </a:spcAft>
                <a:buClr>
                  <a:schemeClr val="tx2"/>
                </a:buClr>
                <a:buSzPct val="60000"/>
                <a:buFont typeface="Arial"/>
                <a:buChar char="•"/>
                <a:defRPr lang="en-US" sz="1600" b="0" i="0" kern="1200">
                  <a:solidFill>
                    <a:schemeClr val="bg1">
                      <a:lumMod val="75000"/>
                    </a:schemeClr>
                  </a:solidFill>
                  <a:latin typeface="+mn-lt"/>
                  <a:ea typeface="CiscoSansTT Thin" charset="0"/>
                  <a:cs typeface="CiscoSansTT Thin" charset="0"/>
                </a:defRPr>
              </a:lvl3pPr>
              <a:lvl4pPr marL="517525" indent="-114300" algn="l" defTabSz="684213" rtl="0" eaLnBrk="1" fontAlgn="base" hangingPunct="1">
                <a:lnSpc>
                  <a:spcPct val="95000"/>
                </a:lnSpc>
                <a:spcBef>
                  <a:spcPts val="625"/>
                </a:spcBef>
                <a:spcAft>
                  <a:spcPct val="0"/>
                </a:spcAft>
                <a:buClr>
                  <a:schemeClr val="tx2"/>
                </a:buClr>
                <a:buSzPct val="60000"/>
                <a:buFont typeface="Arial"/>
                <a:buChar char="•"/>
                <a:defRPr lang="en-US" sz="1400" b="0" i="0" kern="1200">
                  <a:solidFill>
                    <a:schemeClr val="bg1">
                      <a:lumMod val="75000"/>
                    </a:schemeClr>
                  </a:solidFill>
                  <a:latin typeface="+mn-lt"/>
                  <a:ea typeface="CiscoSansTT Thin" charset="0"/>
                  <a:cs typeface="CiscoSansTT Thin" charset="0"/>
                </a:defRPr>
              </a:lvl4pPr>
              <a:lvl5pPr marL="631825" indent="-114300" algn="l" defTabSz="684213" rtl="0" eaLnBrk="1" fontAlgn="base" hangingPunct="1">
                <a:lnSpc>
                  <a:spcPct val="95000"/>
                </a:lnSpc>
                <a:spcBef>
                  <a:spcPts val="625"/>
                </a:spcBef>
                <a:spcAft>
                  <a:spcPct val="0"/>
                </a:spcAft>
                <a:buClr>
                  <a:schemeClr val="tx2"/>
                </a:buClr>
                <a:buSzPct val="60000"/>
                <a:buFont typeface="Arial"/>
                <a:buChar char="•"/>
                <a:defRPr lang="en-US" sz="1200" b="0" i="0" kern="1200">
                  <a:solidFill>
                    <a:schemeClr val="bg1">
                      <a:lumMod val="75000"/>
                    </a:schemeClr>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marR="0" lvl="0" indent="0" algn="l" defTabSz="684213" rtl="0" eaLnBrk="1" fontAlgn="base" latinLnBrk="0" hangingPunct="1">
                <a:lnSpc>
                  <a:spcPct val="100000"/>
                </a:lnSpc>
                <a:spcBef>
                  <a:spcPts val="4200"/>
                </a:spcBef>
                <a:spcAft>
                  <a:spcPct val="0"/>
                </a:spcAft>
                <a:buClr>
                  <a:srgbClr val="005073"/>
                </a:buClr>
                <a:buSzPct val="60000"/>
                <a:buFont typeface="Arial"/>
                <a:buNone/>
                <a:tabLst/>
                <a:defRPr/>
              </a:pPr>
              <a:r>
                <a:rPr kumimoji="0" lang="en-US" sz="1800" b="0" i="0" u="none" strike="noStrike" kern="1200" cap="none" spc="0" normalizeH="0" baseline="0" noProof="0" dirty="0">
                  <a:ln>
                    <a:noFill/>
                  </a:ln>
                  <a:solidFill>
                    <a:srgbClr val="005073">
                      <a:lumMod val="75000"/>
                    </a:srgbClr>
                  </a:solidFill>
                  <a:effectLst/>
                  <a:uLnTx/>
                  <a:uFillTx/>
                  <a:latin typeface="CiscoSansTT ExtraLight"/>
                  <a:cs typeface="CiscoSansTT Thin" charset="0"/>
                </a:rPr>
                <a:t>Embedded Automation</a:t>
              </a:r>
            </a:p>
          </p:txBody>
        </p:sp>
      </p:grpSp>
    </p:spTree>
    <p:extLst>
      <p:ext uri="{BB962C8B-B14F-4D97-AF65-F5344CB8AC3E}">
        <p14:creationId xmlns:p14="http://schemas.microsoft.com/office/powerpoint/2010/main" val="155640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F0BA2966-39A0-4A0F-B5F0-BE760E1F6B52}"/>
              </a:ext>
            </a:extLst>
          </p:cNvPr>
          <p:cNvSpPr/>
          <p:nvPr/>
        </p:nvSpPr>
        <p:spPr>
          <a:xfrm>
            <a:off x="5902191" y="1048304"/>
            <a:ext cx="2884251" cy="2547453"/>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 name="Rectangle 3">
            <a:extLst>
              <a:ext uri="{FF2B5EF4-FFF2-40B4-BE49-F238E27FC236}">
                <a16:creationId xmlns:a16="http://schemas.microsoft.com/office/drawing/2014/main" id="{8CCB7729-9649-4CFA-98E9-DB9088DAEE8A}"/>
              </a:ext>
            </a:extLst>
          </p:cNvPr>
          <p:cNvSpPr/>
          <p:nvPr/>
        </p:nvSpPr>
        <p:spPr>
          <a:xfrm>
            <a:off x="351082" y="1043440"/>
            <a:ext cx="2884251" cy="2547453"/>
          </a:xfrm>
          <a:prstGeom prst="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 name="Title 1"/>
          <p:cNvSpPr>
            <a:spLocks noGrp="1"/>
          </p:cNvSpPr>
          <p:nvPr>
            <p:ph type="title"/>
          </p:nvPr>
        </p:nvSpPr>
        <p:spPr>
          <a:xfrm>
            <a:off x="355266" y="138343"/>
            <a:ext cx="8345488" cy="731837"/>
          </a:xfrm>
        </p:spPr>
        <p:txBody>
          <a:bodyPr/>
          <a:lstStyle/>
          <a:p>
            <a:r>
              <a:rPr lang="en-US" dirty="0"/>
              <a:t>Network-wide License Pooling</a:t>
            </a:r>
            <a:br>
              <a:rPr lang="en-US" dirty="0"/>
            </a:br>
            <a:r>
              <a:rPr lang="en-US" sz="2000" dirty="0"/>
              <a:t>“Before” Example</a:t>
            </a:r>
          </a:p>
        </p:txBody>
      </p:sp>
      <p:sp>
        <p:nvSpPr>
          <p:cNvPr id="3" name="Rectangle 2">
            <a:extLst>
              <a:ext uri="{FF2B5EF4-FFF2-40B4-BE49-F238E27FC236}">
                <a16:creationId xmlns:a16="http://schemas.microsoft.com/office/drawing/2014/main" id="{6A36BFB5-18B6-4856-88FE-3229A0DC7FE5}"/>
              </a:ext>
            </a:extLst>
          </p:cNvPr>
          <p:cNvSpPr/>
          <p:nvPr/>
        </p:nvSpPr>
        <p:spPr>
          <a:xfrm>
            <a:off x="919726" y="1112718"/>
            <a:ext cx="1736373" cy="369332"/>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Arial" charset="0"/>
                <a:ea typeface="ＭＳ Ｐゴシック" charset="0"/>
              </a:rPr>
              <a:t>Regional Cities</a:t>
            </a:r>
          </a:p>
        </p:txBody>
      </p:sp>
      <p:sp>
        <p:nvSpPr>
          <p:cNvPr id="91" name="Rectangle 90">
            <a:extLst>
              <a:ext uri="{FF2B5EF4-FFF2-40B4-BE49-F238E27FC236}">
                <a16:creationId xmlns:a16="http://schemas.microsoft.com/office/drawing/2014/main" id="{BB2DA2B7-78C4-46A5-ABDE-E881F1BF1B14}"/>
              </a:ext>
            </a:extLst>
          </p:cNvPr>
          <p:cNvSpPr/>
          <p:nvPr/>
        </p:nvSpPr>
        <p:spPr>
          <a:xfrm>
            <a:off x="6706974" y="1112718"/>
            <a:ext cx="1403013" cy="369332"/>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Arial" charset="0"/>
                <a:ea typeface="ＭＳ Ｐゴシック" charset="0"/>
              </a:rPr>
              <a:t>Addis </a:t>
            </a:r>
            <a:r>
              <a:rPr kumimoji="0" lang="en-US" sz="1800" b="0" i="0" u="none" strike="noStrike" kern="1200" cap="none" spc="0" normalizeH="0" baseline="0" noProof="0" dirty="0" err="1">
                <a:ln>
                  <a:noFill/>
                </a:ln>
                <a:solidFill>
                  <a:srgbClr val="282828"/>
                </a:solidFill>
                <a:effectLst/>
                <a:uLnTx/>
                <a:uFillTx/>
                <a:latin typeface="Arial" charset="0"/>
                <a:ea typeface="ＭＳ Ｐゴシック" charset="0"/>
              </a:rPr>
              <a:t>Adiba</a:t>
            </a: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92" name="Rectangle 91">
            <a:extLst>
              <a:ext uri="{FF2B5EF4-FFF2-40B4-BE49-F238E27FC236}">
                <a16:creationId xmlns:a16="http://schemas.microsoft.com/office/drawing/2014/main" id="{7C85F051-35D4-4891-8874-45B9DAC05D76}"/>
              </a:ext>
            </a:extLst>
          </p:cNvPr>
          <p:cNvSpPr/>
          <p:nvPr/>
        </p:nvSpPr>
        <p:spPr>
          <a:xfrm>
            <a:off x="0" y="4149470"/>
            <a:ext cx="9144000" cy="99403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CiscoSansTT ExtraLight" charset="0"/>
                <a:cs typeface="CiscoSansTT ExtraLight" charset="0"/>
              </a:rPr>
              <a:t>Network-wide license pooling </a:t>
            </a:r>
            <a:r>
              <a:rPr kumimoji="0" lang="en-US" sz="1400" b="0" i="0" u="none" strike="noStrike" kern="1200" cap="none" spc="0" normalizeH="0" baseline="0" noProof="0" dirty="0">
                <a:ln>
                  <a:noFill/>
                </a:ln>
                <a:solidFill>
                  <a:srgbClr val="FFFF00"/>
                </a:solidFill>
                <a:effectLst/>
                <a:uLnTx/>
                <a:uFillTx/>
                <a:latin typeface="CiscoSansTT ExtraLight"/>
                <a:ea typeface="CiscoSansTT ExtraLight" charset="0"/>
                <a:cs typeface="CiscoSansTT ExtraLight" charset="0"/>
              </a:rPr>
              <a:t>removes guesswork out of forecasting</a:t>
            </a:r>
          </a:p>
          <a:p>
            <a:pPr marL="0" marR="0" lvl="0" indent="0" algn="ctr" defTabSz="4571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CiscoSansTT ExtraLight" charset="0"/>
                <a:cs typeface="CiscoSansTT ExtraLight" charset="0"/>
              </a:rPr>
              <a:t>Capacity licenses can be shared anywhere in network, redeploy them where demand is high</a:t>
            </a:r>
          </a:p>
          <a:p>
            <a:pPr marL="0" marR="0" lvl="0" indent="0" algn="ctr" defTabSz="4571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00"/>
                </a:solidFill>
                <a:effectLst/>
                <a:uLnTx/>
                <a:uFillTx/>
                <a:latin typeface="CiscoSansTT ExtraLight"/>
                <a:ea typeface="CiscoSansTT ExtraLight" charset="0"/>
                <a:cs typeface="CiscoSansTT ExtraLight" charset="0"/>
              </a:rPr>
              <a:t>Simplified capacity planning </a:t>
            </a:r>
            <a:r>
              <a:rPr kumimoji="0" lang="en-US" sz="1400" b="0" i="0" u="none" strike="noStrike" kern="1200" cap="none" spc="0" normalizeH="0" baseline="0" noProof="0" dirty="0">
                <a:ln>
                  <a:noFill/>
                </a:ln>
                <a:solidFill>
                  <a:srgbClr val="FFFFFF"/>
                </a:solidFill>
                <a:effectLst/>
                <a:uLnTx/>
                <a:uFillTx/>
                <a:latin typeface="CiscoSansTT ExtraLight"/>
                <a:ea typeface="CiscoSansTT ExtraLight" charset="0"/>
                <a:cs typeface="CiscoSansTT ExtraLight" charset="0"/>
              </a:rPr>
              <a:t>via single shared license pool</a:t>
            </a:r>
          </a:p>
        </p:txBody>
      </p:sp>
      <p:pic>
        <p:nvPicPr>
          <p:cNvPr id="95" name="Picture 94">
            <a:extLst>
              <a:ext uri="{FF2B5EF4-FFF2-40B4-BE49-F238E27FC236}">
                <a16:creationId xmlns:a16="http://schemas.microsoft.com/office/drawing/2014/main" id="{AE29856D-2EE6-4E91-A112-9C0976FA3B3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5730" y="2627022"/>
            <a:ext cx="515757" cy="651274"/>
          </a:xfrm>
          <a:prstGeom prst="rect">
            <a:avLst/>
          </a:prstGeom>
          <a:noFill/>
          <a:ln>
            <a:noFill/>
          </a:ln>
        </p:spPr>
      </p:pic>
      <p:pic>
        <p:nvPicPr>
          <p:cNvPr id="96" name="Picture 95">
            <a:extLst>
              <a:ext uri="{FF2B5EF4-FFF2-40B4-BE49-F238E27FC236}">
                <a16:creationId xmlns:a16="http://schemas.microsoft.com/office/drawing/2014/main" id="{8CD17B43-036E-44B8-B2C1-971A2824B4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35126" y="2627022"/>
            <a:ext cx="515757" cy="651274"/>
          </a:xfrm>
          <a:prstGeom prst="rect">
            <a:avLst/>
          </a:prstGeom>
          <a:noFill/>
          <a:ln>
            <a:noFill/>
          </a:ln>
        </p:spPr>
      </p:pic>
      <p:pic>
        <p:nvPicPr>
          <p:cNvPr id="97" name="Picture 96">
            <a:extLst>
              <a:ext uri="{FF2B5EF4-FFF2-40B4-BE49-F238E27FC236}">
                <a16:creationId xmlns:a16="http://schemas.microsoft.com/office/drawing/2014/main" id="{FBE0841B-5224-4BA2-BEC5-D6C5D6766E7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5159" y="2627022"/>
            <a:ext cx="515757" cy="651274"/>
          </a:xfrm>
          <a:prstGeom prst="rect">
            <a:avLst/>
          </a:prstGeom>
          <a:noFill/>
          <a:ln>
            <a:noFill/>
          </a:ln>
        </p:spPr>
      </p:pic>
      <p:pic>
        <p:nvPicPr>
          <p:cNvPr id="98" name="Picture 97">
            <a:extLst>
              <a:ext uri="{FF2B5EF4-FFF2-40B4-BE49-F238E27FC236}">
                <a16:creationId xmlns:a16="http://schemas.microsoft.com/office/drawing/2014/main" id="{712CB68C-643E-404B-B44C-F175ED8D5D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2027" y="2627022"/>
            <a:ext cx="515757" cy="651274"/>
          </a:xfrm>
          <a:prstGeom prst="rect">
            <a:avLst/>
          </a:prstGeom>
          <a:noFill/>
          <a:ln>
            <a:noFill/>
          </a:ln>
        </p:spPr>
      </p:pic>
      <p:pic>
        <p:nvPicPr>
          <p:cNvPr id="99" name="Picture 98">
            <a:extLst>
              <a:ext uri="{FF2B5EF4-FFF2-40B4-BE49-F238E27FC236}">
                <a16:creationId xmlns:a16="http://schemas.microsoft.com/office/drawing/2014/main" id="{11BA22C9-D2A0-4C6E-8A78-9D6A549EF89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91423" y="2627022"/>
            <a:ext cx="515757" cy="651274"/>
          </a:xfrm>
          <a:prstGeom prst="rect">
            <a:avLst/>
          </a:prstGeom>
          <a:noFill/>
          <a:ln>
            <a:noFill/>
          </a:ln>
        </p:spPr>
      </p:pic>
      <p:pic>
        <p:nvPicPr>
          <p:cNvPr id="100" name="Picture 99">
            <a:extLst>
              <a:ext uri="{FF2B5EF4-FFF2-40B4-BE49-F238E27FC236}">
                <a16:creationId xmlns:a16="http://schemas.microsoft.com/office/drawing/2014/main" id="{F5DFEE2C-B402-4499-BA09-49C76F726A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41456" y="2627022"/>
            <a:ext cx="515757" cy="651274"/>
          </a:xfrm>
          <a:prstGeom prst="rect">
            <a:avLst/>
          </a:prstGeom>
          <a:noFill/>
          <a:ln>
            <a:noFill/>
          </a:ln>
        </p:spPr>
      </p:pic>
      <p:sp>
        <p:nvSpPr>
          <p:cNvPr id="106" name="Oval 105">
            <a:extLst>
              <a:ext uri="{FF2B5EF4-FFF2-40B4-BE49-F238E27FC236}">
                <a16:creationId xmlns:a16="http://schemas.microsoft.com/office/drawing/2014/main" id="{1910B0E7-B485-42C0-9863-13027C414E26}"/>
              </a:ext>
            </a:extLst>
          </p:cNvPr>
          <p:cNvSpPr/>
          <p:nvPr/>
        </p:nvSpPr>
        <p:spPr>
          <a:xfrm>
            <a:off x="720528" y="244877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8" name="Oval 107">
            <a:extLst>
              <a:ext uri="{FF2B5EF4-FFF2-40B4-BE49-F238E27FC236}">
                <a16:creationId xmlns:a16="http://schemas.microsoft.com/office/drawing/2014/main" id="{006399BC-8C13-4CAF-9AAE-C9E943440FE2}"/>
              </a:ext>
            </a:extLst>
          </p:cNvPr>
          <p:cNvSpPr/>
          <p:nvPr/>
        </p:nvSpPr>
        <p:spPr>
          <a:xfrm>
            <a:off x="2396896" y="2442354"/>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 name="Rectangle 15">
            <a:extLst>
              <a:ext uri="{FF2B5EF4-FFF2-40B4-BE49-F238E27FC236}">
                <a16:creationId xmlns:a16="http://schemas.microsoft.com/office/drawing/2014/main" id="{ED48F841-B619-4C19-89D1-009787181579}"/>
              </a:ext>
            </a:extLst>
          </p:cNvPr>
          <p:cNvSpPr/>
          <p:nvPr/>
        </p:nvSpPr>
        <p:spPr>
          <a:xfrm>
            <a:off x="421944" y="1700592"/>
            <a:ext cx="2659702" cy="523220"/>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Overestimated License Usag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10 requested, but only 5 used)</a:t>
            </a:r>
          </a:p>
        </p:txBody>
      </p:sp>
      <p:sp>
        <p:nvSpPr>
          <p:cNvPr id="109" name="Oval 108">
            <a:extLst>
              <a:ext uri="{FF2B5EF4-FFF2-40B4-BE49-F238E27FC236}">
                <a16:creationId xmlns:a16="http://schemas.microsoft.com/office/drawing/2014/main" id="{AB2BBD34-DD04-45B6-9C81-AD3511F899AD}"/>
              </a:ext>
            </a:extLst>
          </p:cNvPr>
          <p:cNvSpPr/>
          <p:nvPr/>
        </p:nvSpPr>
        <p:spPr>
          <a:xfrm>
            <a:off x="6218978" y="244877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0" name="Oval 109">
            <a:extLst>
              <a:ext uri="{FF2B5EF4-FFF2-40B4-BE49-F238E27FC236}">
                <a16:creationId xmlns:a16="http://schemas.microsoft.com/office/drawing/2014/main" id="{43144090-B7ED-4835-997E-A8988E57D205}"/>
              </a:ext>
            </a:extLst>
          </p:cNvPr>
          <p:cNvSpPr/>
          <p:nvPr/>
        </p:nvSpPr>
        <p:spPr>
          <a:xfrm>
            <a:off x="6428379" y="244829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1" name="Oval 110">
            <a:extLst>
              <a:ext uri="{FF2B5EF4-FFF2-40B4-BE49-F238E27FC236}">
                <a16:creationId xmlns:a16="http://schemas.microsoft.com/office/drawing/2014/main" id="{DD130E5C-83F1-459C-BC01-EBCD33FFCC52}"/>
              </a:ext>
            </a:extLst>
          </p:cNvPr>
          <p:cNvSpPr/>
          <p:nvPr/>
        </p:nvSpPr>
        <p:spPr>
          <a:xfrm>
            <a:off x="6638950" y="2448292"/>
            <a:ext cx="116342" cy="116342"/>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2" name="Oval 111">
            <a:extLst>
              <a:ext uri="{FF2B5EF4-FFF2-40B4-BE49-F238E27FC236}">
                <a16:creationId xmlns:a16="http://schemas.microsoft.com/office/drawing/2014/main" id="{5A07E7CD-17A2-49E0-8E13-1CA2B8BD9B93}"/>
              </a:ext>
            </a:extLst>
          </p:cNvPr>
          <p:cNvSpPr/>
          <p:nvPr/>
        </p:nvSpPr>
        <p:spPr>
          <a:xfrm>
            <a:off x="7082738" y="244877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3" name="Oval 112">
            <a:extLst>
              <a:ext uri="{FF2B5EF4-FFF2-40B4-BE49-F238E27FC236}">
                <a16:creationId xmlns:a16="http://schemas.microsoft.com/office/drawing/2014/main" id="{6668772A-1836-4FC7-8BC0-B7097C4C0E61}"/>
              </a:ext>
            </a:extLst>
          </p:cNvPr>
          <p:cNvSpPr/>
          <p:nvPr/>
        </p:nvSpPr>
        <p:spPr>
          <a:xfrm>
            <a:off x="7292139" y="2448292"/>
            <a:ext cx="116342" cy="116342"/>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4" name="Oval 113">
            <a:extLst>
              <a:ext uri="{FF2B5EF4-FFF2-40B4-BE49-F238E27FC236}">
                <a16:creationId xmlns:a16="http://schemas.microsoft.com/office/drawing/2014/main" id="{F8C7D4A2-19E8-4BE7-908C-8F286BF99D86}"/>
              </a:ext>
            </a:extLst>
          </p:cNvPr>
          <p:cNvSpPr/>
          <p:nvPr/>
        </p:nvSpPr>
        <p:spPr>
          <a:xfrm>
            <a:off x="7502710" y="2448292"/>
            <a:ext cx="116342" cy="116342"/>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5" name="Oval 114">
            <a:extLst>
              <a:ext uri="{FF2B5EF4-FFF2-40B4-BE49-F238E27FC236}">
                <a16:creationId xmlns:a16="http://schemas.microsoft.com/office/drawing/2014/main" id="{0B129CA0-FEDF-4181-AC92-3505159FF6CF}"/>
              </a:ext>
            </a:extLst>
          </p:cNvPr>
          <p:cNvSpPr/>
          <p:nvPr/>
        </p:nvSpPr>
        <p:spPr>
          <a:xfrm>
            <a:off x="7920899" y="2449248"/>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6" name="Oval 115">
            <a:extLst>
              <a:ext uri="{FF2B5EF4-FFF2-40B4-BE49-F238E27FC236}">
                <a16:creationId xmlns:a16="http://schemas.microsoft.com/office/drawing/2014/main" id="{D6A8C1CC-AFFD-45FC-A782-8F4008CAB257}"/>
              </a:ext>
            </a:extLst>
          </p:cNvPr>
          <p:cNvSpPr/>
          <p:nvPr/>
        </p:nvSpPr>
        <p:spPr>
          <a:xfrm>
            <a:off x="8130300" y="244877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7" name="Oval 116">
            <a:extLst>
              <a:ext uri="{FF2B5EF4-FFF2-40B4-BE49-F238E27FC236}">
                <a16:creationId xmlns:a16="http://schemas.microsoft.com/office/drawing/2014/main" id="{8A56DD1E-D2A6-44F9-BC05-02CA41674F2D}"/>
              </a:ext>
            </a:extLst>
          </p:cNvPr>
          <p:cNvSpPr/>
          <p:nvPr/>
        </p:nvSpPr>
        <p:spPr>
          <a:xfrm>
            <a:off x="8340871" y="2448770"/>
            <a:ext cx="116342" cy="116342"/>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8" name="Oval 117">
            <a:extLst>
              <a:ext uri="{FF2B5EF4-FFF2-40B4-BE49-F238E27FC236}">
                <a16:creationId xmlns:a16="http://schemas.microsoft.com/office/drawing/2014/main" id="{0C88A8DE-AE93-4005-9DCD-DD5C9ADA0525}"/>
              </a:ext>
            </a:extLst>
          </p:cNvPr>
          <p:cNvSpPr/>
          <p:nvPr/>
        </p:nvSpPr>
        <p:spPr>
          <a:xfrm>
            <a:off x="7082738" y="227004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9" name="Oval 118">
            <a:extLst>
              <a:ext uri="{FF2B5EF4-FFF2-40B4-BE49-F238E27FC236}">
                <a16:creationId xmlns:a16="http://schemas.microsoft.com/office/drawing/2014/main" id="{04B9751C-64D8-4C8E-A66B-53284E49FD13}"/>
              </a:ext>
            </a:extLst>
          </p:cNvPr>
          <p:cNvSpPr/>
          <p:nvPr/>
        </p:nvSpPr>
        <p:spPr>
          <a:xfrm>
            <a:off x="7292139" y="226956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0" name="Oval 119">
            <a:extLst>
              <a:ext uri="{FF2B5EF4-FFF2-40B4-BE49-F238E27FC236}">
                <a16:creationId xmlns:a16="http://schemas.microsoft.com/office/drawing/2014/main" id="{40F7F4C1-BE6B-43FB-8D9C-4BF08C58B497}"/>
              </a:ext>
            </a:extLst>
          </p:cNvPr>
          <p:cNvSpPr/>
          <p:nvPr/>
        </p:nvSpPr>
        <p:spPr>
          <a:xfrm>
            <a:off x="7502710" y="226956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 name="Oval 120">
            <a:extLst>
              <a:ext uri="{FF2B5EF4-FFF2-40B4-BE49-F238E27FC236}">
                <a16:creationId xmlns:a16="http://schemas.microsoft.com/office/drawing/2014/main" id="{FDB55FDC-4184-4DD4-B265-080AD2CEADF2}"/>
              </a:ext>
            </a:extLst>
          </p:cNvPr>
          <p:cNvSpPr/>
          <p:nvPr/>
        </p:nvSpPr>
        <p:spPr>
          <a:xfrm>
            <a:off x="8037241" y="2293646"/>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 name="Oval 121">
            <a:extLst>
              <a:ext uri="{FF2B5EF4-FFF2-40B4-BE49-F238E27FC236}">
                <a16:creationId xmlns:a16="http://schemas.microsoft.com/office/drawing/2014/main" id="{E4DA1414-C142-4221-AB3E-7C94270A1209}"/>
              </a:ext>
            </a:extLst>
          </p:cNvPr>
          <p:cNvSpPr/>
          <p:nvPr/>
        </p:nvSpPr>
        <p:spPr>
          <a:xfrm>
            <a:off x="8247812" y="2293646"/>
            <a:ext cx="116342" cy="116342"/>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3" name="Oval 122">
            <a:extLst>
              <a:ext uri="{FF2B5EF4-FFF2-40B4-BE49-F238E27FC236}">
                <a16:creationId xmlns:a16="http://schemas.microsoft.com/office/drawing/2014/main" id="{3E34EFFF-C40B-4AC2-9276-C72150B6F561}"/>
              </a:ext>
            </a:extLst>
          </p:cNvPr>
          <p:cNvSpPr/>
          <p:nvPr/>
        </p:nvSpPr>
        <p:spPr>
          <a:xfrm>
            <a:off x="6336478" y="2268866"/>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6" name="Rectangle 125">
            <a:extLst>
              <a:ext uri="{FF2B5EF4-FFF2-40B4-BE49-F238E27FC236}">
                <a16:creationId xmlns:a16="http://schemas.microsoft.com/office/drawing/2014/main" id="{AD14B6EF-97AF-4342-B9A3-65750C8938AD}"/>
              </a:ext>
            </a:extLst>
          </p:cNvPr>
          <p:cNvSpPr/>
          <p:nvPr/>
        </p:nvSpPr>
        <p:spPr>
          <a:xfrm>
            <a:off x="6062968" y="1654996"/>
            <a:ext cx="2659702" cy="523220"/>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Underestimated License Usag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10 requested, but 15 used)</a:t>
            </a:r>
          </a:p>
        </p:txBody>
      </p:sp>
      <p:sp>
        <p:nvSpPr>
          <p:cNvPr id="127" name="Oval 126">
            <a:extLst>
              <a:ext uri="{FF2B5EF4-FFF2-40B4-BE49-F238E27FC236}">
                <a16:creationId xmlns:a16="http://schemas.microsoft.com/office/drawing/2014/main" id="{F9DE84BD-0EBD-4B34-A90B-52C740B8A8D1}"/>
              </a:ext>
            </a:extLst>
          </p:cNvPr>
          <p:cNvSpPr/>
          <p:nvPr/>
        </p:nvSpPr>
        <p:spPr>
          <a:xfrm>
            <a:off x="2607467" y="2442354"/>
            <a:ext cx="116342" cy="11634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8" name="Oval 127">
            <a:extLst>
              <a:ext uri="{FF2B5EF4-FFF2-40B4-BE49-F238E27FC236}">
                <a16:creationId xmlns:a16="http://schemas.microsoft.com/office/drawing/2014/main" id="{FAC776F4-99B1-4202-A742-A5E329083081}"/>
              </a:ext>
            </a:extLst>
          </p:cNvPr>
          <p:cNvSpPr/>
          <p:nvPr/>
        </p:nvSpPr>
        <p:spPr>
          <a:xfrm>
            <a:off x="1540574" y="2441674"/>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9" name="Oval 128">
            <a:extLst>
              <a:ext uri="{FF2B5EF4-FFF2-40B4-BE49-F238E27FC236}">
                <a16:creationId xmlns:a16="http://schemas.microsoft.com/office/drawing/2014/main" id="{BAFC837B-4FE4-4FCC-8DEF-76307FE8DD48}"/>
              </a:ext>
            </a:extLst>
          </p:cNvPr>
          <p:cNvSpPr/>
          <p:nvPr/>
        </p:nvSpPr>
        <p:spPr>
          <a:xfrm>
            <a:off x="1751145" y="2441674"/>
            <a:ext cx="116342" cy="11634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 name="Oval 53">
            <a:extLst>
              <a:ext uri="{FF2B5EF4-FFF2-40B4-BE49-F238E27FC236}">
                <a16:creationId xmlns:a16="http://schemas.microsoft.com/office/drawing/2014/main" id="{1EB28608-D1E1-474A-9A7E-51D6C840409B}"/>
              </a:ext>
            </a:extLst>
          </p:cNvPr>
          <p:cNvSpPr/>
          <p:nvPr/>
        </p:nvSpPr>
        <p:spPr>
          <a:xfrm>
            <a:off x="6749329" y="394287"/>
            <a:ext cx="116342" cy="11634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 name="Rectangle 54">
            <a:extLst>
              <a:ext uri="{FF2B5EF4-FFF2-40B4-BE49-F238E27FC236}">
                <a16:creationId xmlns:a16="http://schemas.microsoft.com/office/drawing/2014/main" id="{8E5DB277-FD8F-4B63-9698-9C81E2287B0C}"/>
              </a:ext>
            </a:extLst>
          </p:cNvPr>
          <p:cNvSpPr/>
          <p:nvPr/>
        </p:nvSpPr>
        <p:spPr>
          <a:xfrm>
            <a:off x="6881391" y="287749"/>
            <a:ext cx="1622560" cy="276999"/>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Arial" charset="0"/>
                <a:ea typeface="ＭＳ Ｐゴシック" charset="0"/>
              </a:rPr>
              <a:t>= Free 100G License</a:t>
            </a:r>
          </a:p>
        </p:txBody>
      </p:sp>
      <p:sp>
        <p:nvSpPr>
          <p:cNvPr id="57" name="Rectangle 56">
            <a:extLst>
              <a:ext uri="{FF2B5EF4-FFF2-40B4-BE49-F238E27FC236}">
                <a16:creationId xmlns:a16="http://schemas.microsoft.com/office/drawing/2014/main" id="{2098CFE8-3A4F-4412-A975-1E97627E1466}"/>
              </a:ext>
            </a:extLst>
          </p:cNvPr>
          <p:cNvSpPr/>
          <p:nvPr/>
        </p:nvSpPr>
        <p:spPr>
          <a:xfrm>
            <a:off x="6474791" y="57453"/>
            <a:ext cx="737702" cy="276999"/>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Arial" charset="0"/>
                <a:ea typeface="ＭＳ Ｐゴシック" charset="0"/>
              </a:rPr>
              <a:t>Legend:</a:t>
            </a:r>
          </a:p>
        </p:txBody>
      </p:sp>
      <p:sp>
        <p:nvSpPr>
          <p:cNvPr id="58" name="Rectangle 57">
            <a:extLst>
              <a:ext uri="{FF2B5EF4-FFF2-40B4-BE49-F238E27FC236}">
                <a16:creationId xmlns:a16="http://schemas.microsoft.com/office/drawing/2014/main" id="{8F706811-06CD-481C-B256-8C27D45BA78A}"/>
              </a:ext>
            </a:extLst>
          </p:cNvPr>
          <p:cNvSpPr/>
          <p:nvPr/>
        </p:nvSpPr>
        <p:spPr>
          <a:xfrm>
            <a:off x="625730" y="3595757"/>
            <a:ext cx="1140056" cy="523220"/>
          </a:xfrm>
          <a:prstGeom prst="rect">
            <a:avLst/>
          </a:prstGeom>
          <a:solidFill>
            <a:schemeClr val="accent5">
              <a:lumMod val="20000"/>
              <a:lumOff val="80000"/>
            </a:schemeClr>
          </a:solidFill>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Licenses 10</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In use: 5</a:t>
            </a:r>
          </a:p>
        </p:txBody>
      </p:sp>
      <p:sp>
        <p:nvSpPr>
          <p:cNvPr id="59" name="Rectangle 58">
            <a:extLst>
              <a:ext uri="{FF2B5EF4-FFF2-40B4-BE49-F238E27FC236}">
                <a16:creationId xmlns:a16="http://schemas.microsoft.com/office/drawing/2014/main" id="{999C0F8D-3FBE-4C2C-B83E-79B95244444D}"/>
              </a:ext>
            </a:extLst>
          </p:cNvPr>
          <p:cNvSpPr/>
          <p:nvPr/>
        </p:nvSpPr>
        <p:spPr>
          <a:xfrm>
            <a:off x="1787913" y="3654245"/>
            <a:ext cx="1293944" cy="369332"/>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EBE4A">
                    <a:lumMod val="75000"/>
                  </a:srgbClr>
                </a:solidFill>
                <a:effectLst/>
                <a:uLnTx/>
                <a:uFillTx/>
                <a:latin typeface="Arial" charset="0"/>
                <a:ea typeface="ＭＳ Ｐゴシック" charset="0"/>
              </a:rPr>
              <a:t>+5 Surplus</a:t>
            </a:r>
          </a:p>
        </p:txBody>
      </p:sp>
      <p:sp>
        <p:nvSpPr>
          <p:cNvPr id="60" name="Rectangle 59">
            <a:extLst>
              <a:ext uri="{FF2B5EF4-FFF2-40B4-BE49-F238E27FC236}">
                <a16:creationId xmlns:a16="http://schemas.microsoft.com/office/drawing/2014/main" id="{4C958310-FCAF-4028-9BA5-DE176738AFCE}"/>
              </a:ext>
            </a:extLst>
          </p:cNvPr>
          <p:cNvSpPr/>
          <p:nvPr/>
        </p:nvSpPr>
        <p:spPr>
          <a:xfrm>
            <a:off x="6282027" y="3611004"/>
            <a:ext cx="1140056" cy="523220"/>
          </a:xfrm>
          <a:prstGeom prst="rect">
            <a:avLst/>
          </a:prstGeom>
          <a:solidFill>
            <a:schemeClr val="accent5">
              <a:lumMod val="20000"/>
              <a:lumOff val="80000"/>
            </a:schemeClr>
          </a:solidFill>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Licenses 10</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In use: 15</a:t>
            </a:r>
          </a:p>
        </p:txBody>
      </p:sp>
      <p:sp>
        <p:nvSpPr>
          <p:cNvPr id="61" name="Rectangle 60">
            <a:extLst>
              <a:ext uri="{FF2B5EF4-FFF2-40B4-BE49-F238E27FC236}">
                <a16:creationId xmlns:a16="http://schemas.microsoft.com/office/drawing/2014/main" id="{7E3CE0AC-B35C-4BCE-A6DA-040C4941C9E0}"/>
              </a:ext>
            </a:extLst>
          </p:cNvPr>
          <p:cNvSpPr/>
          <p:nvPr/>
        </p:nvSpPr>
        <p:spPr>
          <a:xfrm>
            <a:off x="7447165" y="3665677"/>
            <a:ext cx="1095172" cy="369332"/>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charset="0"/>
                <a:ea typeface="ＭＳ Ｐゴシック" charset="0"/>
              </a:rPr>
              <a:t>-5 Deficit</a:t>
            </a:r>
          </a:p>
        </p:txBody>
      </p:sp>
      <p:sp>
        <p:nvSpPr>
          <p:cNvPr id="62" name="Oval 61">
            <a:extLst>
              <a:ext uri="{FF2B5EF4-FFF2-40B4-BE49-F238E27FC236}">
                <a16:creationId xmlns:a16="http://schemas.microsoft.com/office/drawing/2014/main" id="{A08621D2-013A-456F-B2AB-F99EE855FB2C}"/>
              </a:ext>
            </a:extLst>
          </p:cNvPr>
          <p:cNvSpPr/>
          <p:nvPr/>
        </p:nvSpPr>
        <p:spPr>
          <a:xfrm>
            <a:off x="2396896" y="2293646"/>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3" name="Oval 62">
            <a:extLst>
              <a:ext uri="{FF2B5EF4-FFF2-40B4-BE49-F238E27FC236}">
                <a16:creationId xmlns:a16="http://schemas.microsoft.com/office/drawing/2014/main" id="{BCEAE40D-BFDB-4B24-8624-73814F0ED4C6}"/>
              </a:ext>
            </a:extLst>
          </p:cNvPr>
          <p:cNvSpPr/>
          <p:nvPr/>
        </p:nvSpPr>
        <p:spPr>
          <a:xfrm>
            <a:off x="2607467" y="2293646"/>
            <a:ext cx="116342" cy="11634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4" name="Oval 63">
            <a:extLst>
              <a:ext uri="{FF2B5EF4-FFF2-40B4-BE49-F238E27FC236}">
                <a16:creationId xmlns:a16="http://schemas.microsoft.com/office/drawing/2014/main" id="{3B81D739-CA75-4B35-8040-49E35A513810}"/>
              </a:ext>
            </a:extLst>
          </p:cNvPr>
          <p:cNvSpPr/>
          <p:nvPr/>
        </p:nvSpPr>
        <p:spPr>
          <a:xfrm>
            <a:off x="1540574" y="229517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5" name="Oval 64">
            <a:extLst>
              <a:ext uri="{FF2B5EF4-FFF2-40B4-BE49-F238E27FC236}">
                <a16:creationId xmlns:a16="http://schemas.microsoft.com/office/drawing/2014/main" id="{55B21F28-FA7D-4F88-87C4-224EED8292DD}"/>
              </a:ext>
            </a:extLst>
          </p:cNvPr>
          <p:cNvSpPr/>
          <p:nvPr/>
        </p:nvSpPr>
        <p:spPr>
          <a:xfrm>
            <a:off x="1751145" y="2295172"/>
            <a:ext cx="116342" cy="11634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7" name="Oval 66">
            <a:extLst>
              <a:ext uri="{FF2B5EF4-FFF2-40B4-BE49-F238E27FC236}">
                <a16:creationId xmlns:a16="http://schemas.microsoft.com/office/drawing/2014/main" id="{4653A098-8AC6-4459-AB09-28AF32BC9DCC}"/>
              </a:ext>
            </a:extLst>
          </p:cNvPr>
          <p:cNvSpPr/>
          <p:nvPr/>
        </p:nvSpPr>
        <p:spPr>
          <a:xfrm>
            <a:off x="897358" y="2448770"/>
            <a:ext cx="116342" cy="11634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8" name="Oval 67">
            <a:extLst>
              <a:ext uri="{FF2B5EF4-FFF2-40B4-BE49-F238E27FC236}">
                <a16:creationId xmlns:a16="http://schemas.microsoft.com/office/drawing/2014/main" id="{6F7CE945-73C8-40F3-905A-AF4751E75AD8}"/>
              </a:ext>
            </a:extLst>
          </p:cNvPr>
          <p:cNvSpPr/>
          <p:nvPr/>
        </p:nvSpPr>
        <p:spPr>
          <a:xfrm>
            <a:off x="6749329" y="582716"/>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9" name="Rectangle 68">
            <a:extLst>
              <a:ext uri="{FF2B5EF4-FFF2-40B4-BE49-F238E27FC236}">
                <a16:creationId xmlns:a16="http://schemas.microsoft.com/office/drawing/2014/main" id="{1E6CB2BF-7326-4BDE-A2D4-2C3AC9FAF072}"/>
              </a:ext>
            </a:extLst>
          </p:cNvPr>
          <p:cNvSpPr/>
          <p:nvPr/>
        </p:nvSpPr>
        <p:spPr>
          <a:xfrm>
            <a:off x="6881391" y="476178"/>
            <a:ext cx="1664238" cy="276999"/>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Arial" charset="0"/>
                <a:ea typeface="ＭＳ Ｐゴシック" charset="0"/>
              </a:rPr>
              <a:t>= Used 100G License</a:t>
            </a:r>
          </a:p>
        </p:txBody>
      </p:sp>
      <p:sp>
        <p:nvSpPr>
          <p:cNvPr id="70" name="Oval 69">
            <a:extLst>
              <a:ext uri="{FF2B5EF4-FFF2-40B4-BE49-F238E27FC236}">
                <a16:creationId xmlns:a16="http://schemas.microsoft.com/office/drawing/2014/main" id="{A6146B41-1B5A-4756-9E44-7F31716957CF}"/>
              </a:ext>
            </a:extLst>
          </p:cNvPr>
          <p:cNvSpPr/>
          <p:nvPr/>
        </p:nvSpPr>
        <p:spPr>
          <a:xfrm>
            <a:off x="6749329" y="758893"/>
            <a:ext cx="116342" cy="116342"/>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1" name="Rectangle 70">
            <a:extLst>
              <a:ext uri="{FF2B5EF4-FFF2-40B4-BE49-F238E27FC236}">
                <a16:creationId xmlns:a16="http://schemas.microsoft.com/office/drawing/2014/main" id="{518490E3-72D3-465F-A39D-454217FC3F45}"/>
              </a:ext>
            </a:extLst>
          </p:cNvPr>
          <p:cNvSpPr/>
          <p:nvPr/>
        </p:nvSpPr>
        <p:spPr>
          <a:xfrm>
            <a:off x="6881391" y="652355"/>
            <a:ext cx="1927131" cy="276999"/>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Arial" charset="0"/>
                <a:ea typeface="ＭＳ Ｐゴシック" charset="0"/>
              </a:rPr>
              <a:t>= Required 100G License</a:t>
            </a:r>
          </a:p>
        </p:txBody>
      </p:sp>
    </p:spTree>
    <p:extLst>
      <p:ext uri="{BB962C8B-B14F-4D97-AF65-F5344CB8AC3E}">
        <p14:creationId xmlns:p14="http://schemas.microsoft.com/office/powerpoint/2010/main" val="74628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F0BA2966-39A0-4A0F-B5F0-BE760E1F6B52}"/>
              </a:ext>
            </a:extLst>
          </p:cNvPr>
          <p:cNvSpPr/>
          <p:nvPr/>
        </p:nvSpPr>
        <p:spPr>
          <a:xfrm>
            <a:off x="5902191" y="1048304"/>
            <a:ext cx="2884251" cy="2547453"/>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 name="Rectangle 3">
            <a:extLst>
              <a:ext uri="{FF2B5EF4-FFF2-40B4-BE49-F238E27FC236}">
                <a16:creationId xmlns:a16="http://schemas.microsoft.com/office/drawing/2014/main" id="{8CCB7729-9649-4CFA-98E9-DB9088DAEE8A}"/>
              </a:ext>
            </a:extLst>
          </p:cNvPr>
          <p:cNvSpPr/>
          <p:nvPr/>
        </p:nvSpPr>
        <p:spPr>
          <a:xfrm>
            <a:off x="351082" y="1043440"/>
            <a:ext cx="2884251" cy="2547453"/>
          </a:xfrm>
          <a:prstGeom prst="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 name="Title 1"/>
          <p:cNvSpPr>
            <a:spLocks noGrp="1"/>
          </p:cNvSpPr>
          <p:nvPr>
            <p:ph type="title"/>
          </p:nvPr>
        </p:nvSpPr>
        <p:spPr>
          <a:xfrm>
            <a:off x="355266" y="138343"/>
            <a:ext cx="8345488" cy="731837"/>
          </a:xfrm>
        </p:spPr>
        <p:txBody>
          <a:bodyPr/>
          <a:lstStyle/>
          <a:p>
            <a:r>
              <a:rPr lang="en-US" dirty="0"/>
              <a:t>Network-wide License Pooling</a:t>
            </a:r>
            <a:br>
              <a:rPr lang="en-US" dirty="0"/>
            </a:br>
            <a:r>
              <a:rPr lang="en-US" sz="2000" dirty="0"/>
              <a:t>“After” Example</a:t>
            </a:r>
          </a:p>
        </p:txBody>
      </p:sp>
      <p:sp>
        <p:nvSpPr>
          <p:cNvPr id="92" name="Rectangle 91">
            <a:extLst>
              <a:ext uri="{FF2B5EF4-FFF2-40B4-BE49-F238E27FC236}">
                <a16:creationId xmlns:a16="http://schemas.microsoft.com/office/drawing/2014/main" id="{7C85F051-35D4-4891-8874-45B9DAC05D76}"/>
              </a:ext>
            </a:extLst>
          </p:cNvPr>
          <p:cNvSpPr/>
          <p:nvPr/>
        </p:nvSpPr>
        <p:spPr>
          <a:xfrm>
            <a:off x="0" y="4149470"/>
            <a:ext cx="9144000" cy="99403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CiscoSansTT ExtraLight" charset="0"/>
                <a:cs typeface="CiscoSansTT ExtraLight" charset="0"/>
              </a:rPr>
              <a:t>Network-wide license pooling </a:t>
            </a:r>
            <a:r>
              <a:rPr kumimoji="0" lang="en-US" sz="1400" b="0" i="0" u="none" strike="noStrike" kern="1200" cap="none" spc="0" normalizeH="0" baseline="0" noProof="0" dirty="0">
                <a:ln>
                  <a:noFill/>
                </a:ln>
                <a:solidFill>
                  <a:srgbClr val="FFFF00"/>
                </a:solidFill>
                <a:effectLst/>
                <a:uLnTx/>
                <a:uFillTx/>
                <a:latin typeface="CiscoSansTT ExtraLight"/>
                <a:ea typeface="CiscoSansTT ExtraLight" charset="0"/>
                <a:cs typeface="CiscoSansTT ExtraLight" charset="0"/>
              </a:rPr>
              <a:t>removes guesswork out of forecasting</a:t>
            </a:r>
          </a:p>
          <a:p>
            <a:pPr marL="0" marR="0" lvl="0" indent="0" algn="ctr" defTabSz="4571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CiscoSansTT ExtraLight" charset="0"/>
                <a:cs typeface="CiscoSansTT ExtraLight" charset="0"/>
              </a:rPr>
              <a:t>Capacity licenses can be shared anywhere in network, redeploy them where demand is high</a:t>
            </a:r>
          </a:p>
          <a:p>
            <a:pPr marL="0" marR="0" lvl="0" indent="0" algn="ctr" defTabSz="4571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00"/>
                </a:solidFill>
                <a:effectLst/>
                <a:uLnTx/>
                <a:uFillTx/>
                <a:latin typeface="CiscoSansTT ExtraLight"/>
                <a:ea typeface="CiscoSansTT ExtraLight" charset="0"/>
                <a:cs typeface="CiscoSansTT ExtraLight" charset="0"/>
              </a:rPr>
              <a:t>Simplified capacity planning </a:t>
            </a:r>
            <a:r>
              <a:rPr kumimoji="0" lang="en-US" sz="1400" b="0" i="0" u="none" strike="noStrike" kern="1200" cap="none" spc="0" normalizeH="0" baseline="0" noProof="0" dirty="0">
                <a:ln>
                  <a:noFill/>
                </a:ln>
                <a:solidFill>
                  <a:srgbClr val="FFFFFF"/>
                </a:solidFill>
                <a:effectLst/>
                <a:uLnTx/>
                <a:uFillTx/>
                <a:latin typeface="CiscoSansTT ExtraLight"/>
                <a:ea typeface="CiscoSansTT ExtraLight" charset="0"/>
                <a:cs typeface="CiscoSansTT ExtraLight" charset="0"/>
              </a:rPr>
              <a:t>via single shared license pool</a:t>
            </a:r>
          </a:p>
        </p:txBody>
      </p:sp>
      <p:pic>
        <p:nvPicPr>
          <p:cNvPr id="95" name="Picture 94">
            <a:extLst>
              <a:ext uri="{FF2B5EF4-FFF2-40B4-BE49-F238E27FC236}">
                <a16:creationId xmlns:a16="http://schemas.microsoft.com/office/drawing/2014/main" id="{AE29856D-2EE6-4E91-A112-9C0976FA3B3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5730" y="2627022"/>
            <a:ext cx="515757" cy="651274"/>
          </a:xfrm>
          <a:prstGeom prst="rect">
            <a:avLst/>
          </a:prstGeom>
          <a:noFill/>
          <a:ln>
            <a:noFill/>
          </a:ln>
        </p:spPr>
      </p:pic>
      <p:pic>
        <p:nvPicPr>
          <p:cNvPr id="96" name="Picture 95">
            <a:extLst>
              <a:ext uri="{FF2B5EF4-FFF2-40B4-BE49-F238E27FC236}">
                <a16:creationId xmlns:a16="http://schemas.microsoft.com/office/drawing/2014/main" id="{8CD17B43-036E-44B8-B2C1-971A2824B4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35126" y="2627022"/>
            <a:ext cx="515757" cy="651274"/>
          </a:xfrm>
          <a:prstGeom prst="rect">
            <a:avLst/>
          </a:prstGeom>
          <a:noFill/>
          <a:ln>
            <a:noFill/>
          </a:ln>
        </p:spPr>
      </p:pic>
      <p:pic>
        <p:nvPicPr>
          <p:cNvPr id="97" name="Picture 96">
            <a:extLst>
              <a:ext uri="{FF2B5EF4-FFF2-40B4-BE49-F238E27FC236}">
                <a16:creationId xmlns:a16="http://schemas.microsoft.com/office/drawing/2014/main" id="{FBE0841B-5224-4BA2-BEC5-D6C5D6766E7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5159" y="2627022"/>
            <a:ext cx="515757" cy="651274"/>
          </a:xfrm>
          <a:prstGeom prst="rect">
            <a:avLst/>
          </a:prstGeom>
          <a:noFill/>
          <a:ln>
            <a:noFill/>
          </a:ln>
        </p:spPr>
      </p:pic>
      <p:pic>
        <p:nvPicPr>
          <p:cNvPr id="98" name="Picture 97">
            <a:extLst>
              <a:ext uri="{FF2B5EF4-FFF2-40B4-BE49-F238E27FC236}">
                <a16:creationId xmlns:a16="http://schemas.microsoft.com/office/drawing/2014/main" id="{712CB68C-643E-404B-B44C-F175ED8D5D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2027" y="2627022"/>
            <a:ext cx="515757" cy="651274"/>
          </a:xfrm>
          <a:prstGeom prst="rect">
            <a:avLst/>
          </a:prstGeom>
          <a:noFill/>
          <a:ln>
            <a:noFill/>
          </a:ln>
        </p:spPr>
      </p:pic>
      <p:pic>
        <p:nvPicPr>
          <p:cNvPr id="99" name="Picture 98">
            <a:extLst>
              <a:ext uri="{FF2B5EF4-FFF2-40B4-BE49-F238E27FC236}">
                <a16:creationId xmlns:a16="http://schemas.microsoft.com/office/drawing/2014/main" id="{11BA22C9-D2A0-4C6E-8A78-9D6A549EF89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91423" y="2627022"/>
            <a:ext cx="515757" cy="651274"/>
          </a:xfrm>
          <a:prstGeom prst="rect">
            <a:avLst/>
          </a:prstGeom>
          <a:noFill/>
          <a:ln>
            <a:noFill/>
          </a:ln>
        </p:spPr>
      </p:pic>
      <p:pic>
        <p:nvPicPr>
          <p:cNvPr id="100" name="Picture 99">
            <a:extLst>
              <a:ext uri="{FF2B5EF4-FFF2-40B4-BE49-F238E27FC236}">
                <a16:creationId xmlns:a16="http://schemas.microsoft.com/office/drawing/2014/main" id="{F5DFEE2C-B402-4499-BA09-49C76F726A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41456" y="2627022"/>
            <a:ext cx="515757" cy="651274"/>
          </a:xfrm>
          <a:prstGeom prst="rect">
            <a:avLst/>
          </a:prstGeom>
          <a:noFill/>
          <a:ln>
            <a:noFill/>
          </a:ln>
        </p:spPr>
      </p:pic>
      <p:sp>
        <p:nvSpPr>
          <p:cNvPr id="106" name="Oval 105">
            <a:extLst>
              <a:ext uri="{FF2B5EF4-FFF2-40B4-BE49-F238E27FC236}">
                <a16:creationId xmlns:a16="http://schemas.microsoft.com/office/drawing/2014/main" id="{1910B0E7-B485-42C0-9863-13027C414E26}"/>
              </a:ext>
            </a:extLst>
          </p:cNvPr>
          <p:cNvSpPr/>
          <p:nvPr/>
        </p:nvSpPr>
        <p:spPr>
          <a:xfrm>
            <a:off x="720528" y="244877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8" name="Oval 107">
            <a:extLst>
              <a:ext uri="{FF2B5EF4-FFF2-40B4-BE49-F238E27FC236}">
                <a16:creationId xmlns:a16="http://schemas.microsoft.com/office/drawing/2014/main" id="{006399BC-8C13-4CAF-9AAE-C9E943440FE2}"/>
              </a:ext>
            </a:extLst>
          </p:cNvPr>
          <p:cNvSpPr/>
          <p:nvPr/>
        </p:nvSpPr>
        <p:spPr>
          <a:xfrm>
            <a:off x="2396896" y="2442354"/>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 name="Rectangle 15">
            <a:extLst>
              <a:ext uri="{FF2B5EF4-FFF2-40B4-BE49-F238E27FC236}">
                <a16:creationId xmlns:a16="http://schemas.microsoft.com/office/drawing/2014/main" id="{ED48F841-B619-4C19-89D1-009787181579}"/>
              </a:ext>
            </a:extLst>
          </p:cNvPr>
          <p:cNvSpPr/>
          <p:nvPr/>
        </p:nvSpPr>
        <p:spPr>
          <a:xfrm>
            <a:off x="421944" y="1700592"/>
            <a:ext cx="2659702" cy="523220"/>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Overestimated License Usag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10 requested, but only 5 used)</a:t>
            </a:r>
          </a:p>
        </p:txBody>
      </p:sp>
      <p:sp>
        <p:nvSpPr>
          <p:cNvPr id="109" name="Oval 108">
            <a:extLst>
              <a:ext uri="{FF2B5EF4-FFF2-40B4-BE49-F238E27FC236}">
                <a16:creationId xmlns:a16="http://schemas.microsoft.com/office/drawing/2014/main" id="{AB2BBD34-DD04-45B6-9C81-AD3511F899AD}"/>
              </a:ext>
            </a:extLst>
          </p:cNvPr>
          <p:cNvSpPr/>
          <p:nvPr/>
        </p:nvSpPr>
        <p:spPr>
          <a:xfrm>
            <a:off x="6218978" y="244877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0" name="Oval 109">
            <a:extLst>
              <a:ext uri="{FF2B5EF4-FFF2-40B4-BE49-F238E27FC236}">
                <a16:creationId xmlns:a16="http://schemas.microsoft.com/office/drawing/2014/main" id="{43144090-B7ED-4835-997E-A8988E57D205}"/>
              </a:ext>
            </a:extLst>
          </p:cNvPr>
          <p:cNvSpPr/>
          <p:nvPr/>
        </p:nvSpPr>
        <p:spPr>
          <a:xfrm>
            <a:off x="6428379" y="244829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1" name="Oval 110">
            <a:extLst>
              <a:ext uri="{FF2B5EF4-FFF2-40B4-BE49-F238E27FC236}">
                <a16:creationId xmlns:a16="http://schemas.microsoft.com/office/drawing/2014/main" id="{DD130E5C-83F1-459C-BC01-EBCD33FFCC52}"/>
              </a:ext>
            </a:extLst>
          </p:cNvPr>
          <p:cNvSpPr/>
          <p:nvPr/>
        </p:nvSpPr>
        <p:spPr>
          <a:xfrm>
            <a:off x="6638950" y="244829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2" name="Oval 111">
            <a:extLst>
              <a:ext uri="{FF2B5EF4-FFF2-40B4-BE49-F238E27FC236}">
                <a16:creationId xmlns:a16="http://schemas.microsoft.com/office/drawing/2014/main" id="{5A07E7CD-17A2-49E0-8E13-1CA2B8BD9B93}"/>
              </a:ext>
            </a:extLst>
          </p:cNvPr>
          <p:cNvSpPr/>
          <p:nvPr/>
        </p:nvSpPr>
        <p:spPr>
          <a:xfrm>
            <a:off x="7082738" y="244877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3" name="Oval 112">
            <a:extLst>
              <a:ext uri="{FF2B5EF4-FFF2-40B4-BE49-F238E27FC236}">
                <a16:creationId xmlns:a16="http://schemas.microsoft.com/office/drawing/2014/main" id="{6668772A-1836-4FC7-8BC0-B7097C4C0E61}"/>
              </a:ext>
            </a:extLst>
          </p:cNvPr>
          <p:cNvSpPr/>
          <p:nvPr/>
        </p:nvSpPr>
        <p:spPr>
          <a:xfrm>
            <a:off x="7292139" y="244829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4" name="Oval 113">
            <a:extLst>
              <a:ext uri="{FF2B5EF4-FFF2-40B4-BE49-F238E27FC236}">
                <a16:creationId xmlns:a16="http://schemas.microsoft.com/office/drawing/2014/main" id="{F8C7D4A2-19E8-4BE7-908C-8F286BF99D86}"/>
              </a:ext>
            </a:extLst>
          </p:cNvPr>
          <p:cNvSpPr/>
          <p:nvPr/>
        </p:nvSpPr>
        <p:spPr>
          <a:xfrm>
            <a:off x="7502710" y="244829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5" name="Oval 114">
            <a:extLst>
              <a:ext uri="{FF2B5EF4-FFF2-40B4-BE49-F238E27FC236}">
                <a16:creationId xmlns:a16="http://schemas.microsoft.com/office/drawing/2014/main" id="{0B129CA0-FEDF-4181-AC92-3505159FF6CF}"/>
              </a:ext>
            </a:extLst>
          </p:cNvPr>
          <p:cNvSpPr/>
          <p:nvPr/>
        </p:nvSpPr>
        <p:spPr>
          <a:xfrm>
            <a:off x="7920899" y="2449248"/>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6" name="Oval 115">
            <a:extLst>
              <a:ext uri="{FF2B5EF4-FFF2-40B4-BE49-F238E27FC236}">
                <a16:creationId xmlns:a16="http://schemas.microsoft.com/office/drawing/2014/main" id="{D6A8C1CC-AFFD-45FC-A782-8F4008CAB257}"/>
              </a:ext>
            </a:extLst>
          </p:cNvPr>
          <p:cNvSpPr/>
          <p:nvPr/>
        </p:nvSpPr>
        <p:spPr>
          <a:xfrm>
            <a:off x="8130300" y="244877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7" name="Oval 116">
            <a:extLst>
              <a:ext uri="{FF2B5EF4-FFF2-40B4-BE49-F238E27FC236}">
                <a16:creationId xmlns:a16="http://schemas.microsoft.com/office/drawing/2014/main" id="{8A56DD1E-D2A6-44F9-BC05-02CA41674F2D}"/>
              </a:ext>
            </a:extLst>
          </p:cNvPr>
          <p:cNvSpPr/>
          <p:nvPr/>
        </p:nvSpPr>
        <p:spPr>
          <a:xfrm>
            <a:off x="8340871" y="244877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8" name="Oval 117">
            <a:extLst>
              <a:ext uri="{FF2B5EF4-FFF2-40B4-BE49-F238E27FC236}">
                <a16:creationId xmlns:a16="http://schemas.microsoft.com/office/drawing/2014/main" id="{0C88A8DE-AE93-4005-9DCD-DD5C9ADA0525}"/>
              </a:ext>
            </a:extLst>
          </p:cNvPr>
          <p:cNvSpPr/>
          <p:nvPr/>
        </p:nvSpPr>
        <p:spPr>
          <a:xfrm>
            <a:off x="7082738" y="227004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9" name="Oval 118">
            <a:extLst>
              <a:ext uri="{FF2B5EF4-FFF2-40B4-BE49-F238E27FC236}">
                <a16:creationId xmlns:a16="http://schemas.microsoft.com/office/drawing/2014/main" id="{04B9751C-64D8-4C8E-A66B-53284E49FD13}"/>
              </a:ext>
            </a:extLst>
          </p:cNvPr>
          <p:cNvSpPr/>
          <p:nvPr/>
        </p:nvSpPr>
        <p:spPr>
          <a:xfrm>
            <a:off x="7292139" y="226956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0" name="Oval 119">
            <a:extLst>
              <a:ext uri="{FF2B5EF4-FFF2-40B4-BE49-F238E27FC236}">
                <a16:creationId xmlns:a16="http://schemas.microsoft.com/office/drawing/2014/main" id="{40F7F4C1-BE6B-43FB-8D9C-4BF08C58B497}"/>
              </a:ext>
            </a:extLst>
          </p:cNvPr>
          <p:cNvSpPr/>
          <p:nvPr/>
        </p:nvSpPr>
        <p:spPr>
          <a:xfrm>
            <a:off x="7502710" y="2269562"/>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 name="Oval 120">
            <a:extLst>
              <a:ext uri="{FF2B5EF4-FFF2-40B4-BE49-F238E27FC236}">
                <a16:creationId xmlns:a16="http://schemas.microsoft.com/office/drawing/2014/main" id="{FDB55FDC-4184-4DD4-B265-080AD2CEADF2}"/>
              </a:ext>
            </a:extLst>
          </p:cNvPr>
          <p:cNvSpPr/>
          <p:nvPr/>
        </p:nvSpPr>
        <p:spPr>
          <a:xfrm>
            <a:off x="8037241" y="2293646"/>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 name="Oval 121">
            <a:extLst>
              <a:ext uri="{FF2B5EF4-FFF2-40B4-BE49-F238E27FC236}">
                <a16:creationId xmlns:a16="http://schemas.microsoft.com/office/drawing/2014/main" id="{E4DA1414-C142-4221-AB3E-7C94270A1209}"/>
              </a:ext>
            </a:extLst>
          </p:cNvPr>
          <p:cNvSpPr/>
          <p:nvPr/>
        </p:nvSpPr>
        <p:spPr>
          <a:xfrm>
            <a:off x="8247812" y="2293646"/>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3" name="Oval 122">
            <a:extLst>
              <a:ext uri="{FF2B5EF4-FFF2-40B4-BE49-F238E27FC236}">
                <a16:creationId xmlns:a16="http://schemas.microsoft.com/office/drawing/2014/main" id="{3E34EFFF-C40B-4AC2-9276-C72150B6F561}"/>
              </a:ext>
            </a:extLst>
          </p:cNvPr>
          <p:cNvSpPr/>
          <p:nvPr/>
        </p:nvSpPr>
        <p:spPr>
          <a:xfrm>
            <a:off x="6336478" y="2268866"/>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6" name="Rectangle 125">
            <a:extLst>
              <a:ext uri="{FF2B5EF4-FFF2-40B4-BE49-F238E27FC236}">
                <a16:creationId xmlns:a16="http://schemas.microsoft.com/office/drawing/2014/main" id="{AD14B6EF-97AF-4342-B9A3-65750C8938AD}"/>
              </a:ext>
            </a:extLst>
          </p:cNvPr>
          <p:cNvSpPr/>
          <p:nvPr/>
        </p:nvSpPr>
        <p:spPr>
          <a:xfrm>
            <a:off x="6062968" y="1654996"/>
            <a:ext cx="2659702" cy="523220"/>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Underestimated License Usag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10 requested, but 15 used)</a:t>
            </a:r>
          </a:p>
        </p:txBody>
      </p:sp>
      <p:sp>
        <p:nvSpPr>
          <p:cNvPr id="127" name="Oval 126">
            <a:extLst>
              <a:ext uri="{FF2B5EF4-FFF2-40B4-BE49-F238E27FC236}">
                <a16:creationId xmlns:a16="http://schemas.microsoft.com/office/drawing/2014/main" id="{F9DE84BD-0EBD-4B34-A90B-52C740B8A8D1}"/>
              </a:ext>
            </a:extLst>
          </p:cNvPr>
          <p:cNvSpPr/>
          <p:nvPr/>
        </p:nvSpPr>
        <p:spPr>
          <a:xfrm>
            <a:off x="2607467" y="2442354"/>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8" name="Oval 127">
            <a:extLst>
              <a:ext uri="{FF2B5EF4-FFF2-40B4-BE49-F238E27FC236}">
                <a16:creationId xmlns:a16="http://schemas.microsoft.com/office/drawing/2014/main" id="{FAC776F4-99B1-4202-A742-A5E329083081}"/>
              </a:ext>
            </a:extLst>
          </p:cNvPr>
          <p:cNvSpPr/>
          <p:nvPr/>
        </p:nvSpPr>
        <p:spPr>
          <a:xfrm>
            <a:off x="1540574" y="2441674"/>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9" name="Oval 128">
            <a:extLst>
              <a:ext uri="{FF2B5EF4-FFF2-40B4-BE49-F238E27FC236}">
                <a16:creationId xmlns:a16="http://schemas.microsoft.com/office/drawing/2014/main" id="{BAFC837B-4FE4-4FCC-8DEF-76307FE8DD48}"/>
              </a:ext>
            </a:extLst>
          </p:cNvPr>
          <p:cNvSpPr/>
          <p:nvPr/>
        </p:nvSpPr>
        <p:spPr>
          <a:xfrm>
            <a:off x="1751145" y="2441674"/>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 name="Rectangle 17">
            <a:extLst>
              <a:ext uri="{FF2B5EF4-FFF2-40B4-BE49-F238E27FC236}">
                <a16:creationId xmlns:a16="http://schemas.microsoft.com/office/drawing/2014/main" id="{746FCA86-BF6E-42F1-BABF-D336BB1B2EDA}"/>
              </a:ext>
            </a:extLst>
          </p:cNvPr>
          <p:cNvSpPr/>
          <p:nvPr/>
        </p:nvSpPr>
        <p:spPr>
          <a:xfrm>
            <a:off x="3933225" y="1989968"/>
            <a:ext cx="1140056" cy="523220"/>
          </a:xfrm>
          <a:prstGeom prst="rect">
            <a:avLst/>
          </a:prstGeom>
          <a:solidFill>
            <a:schemeClr val="accent5">
              <a:lumMod val="20000"/>
              <a:lumOff val="80000"/>
            </a:schemeClr>
          </a:solidFill>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Licenses 20</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Arial" charset="0"/>
                <a:ea typeface="ＭＳ Ｐゴシック" charset="0"/>
              </a:rPr>
              <a:t>In use: 20</a:t>
            </a:r>
          </a:p>
        </p:txBody>
      </p:sp>
      <p:sp>
        <p:nvSpPr>
          <p:cNvPr id="19" name="Rectangle 18">
            <a:extLst>
              <a:ext uri="{FF2B5EF4-FFF2-40B4-BE49-F238E27FC236}">
                <a16:creationId xmlns:a16="http://schemas.microsoft.com/office/drawing/2014/main" id="{B1945FC8-03FB-4AF1-B857-424115947457}"/>
              </a:ext>
            </a:extLst>
          </p:cNvPr>
          <p:cNvSpPr/>
          <p:nvPr/>
        </p:nvSpPr>
        <p:spPr>
          <a:xfrm>
            <a:off x="3623101" y="2562301"/>
            <a:ext cx="1779654" cy="307777"/>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6EBE4A">
                    <a:lumMod val="75000"/>
                  </a:srgbClr>
                </a:solidFill>
                <a:effectLst/>
                <a:uLnTx/>
                <a:uFillTx/>
                <a:latin typeface="Arial" charset="0"/>
                <a:ea typeface="ＭＳ Ｐゴシック" charset="0"/>
              </a:rPr>
              <a:t>All Licenses Utilized</a:t>
            </a:r>
          </a:p>
        </p:txBody>
      </p:sp>
      <p:sp>
        <p:nvSpPr>
          <p:cNvPr id="5" name="Rectangle 4">
            <a:extLst>
              <a:ext uri="{FF2B5EF4-FFF2-40B4-BE49-F238E27FC236}">
                <a16:creationId xmlns:a16="http://schemas.microsoft.com/office/drawing/2014/main" id="{DFFD59CE-C5BE-4843-9DCE-DCB99D57D6ED}"/>
              </a:ext>
            </a:extLst>
          </p:cNvPr>
          <p:cNvSpPr/>
          <p:nvPr/>
        </p:nvSpPr>
        <p:spPr>
          <a:xfrm>
            <a:off x="3795210" y="1089854"/>
            <a:ext cx="1535354" cy="253916"/>
          </a:xfrm>
          <a:prstGeom prst="rect">
            <a:avLst/>
          </a:prstGeom>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282828"/>
                </a:solidFill>
                <a:effectLst/>
                <a:uLnTx/>
                <a:uFillTx/>
                <a:latin typeface="Arial" charset="0"/>
                <a:ea typeface="ＭＳ Ｐゴシック" charset="0"/>
              </a:rPr>
              <a:t>Shared License Pool</a:t>
            </a:r>
          </a:p>
        </p:txBody>
      </p:sp>
      <p:cxnSp>
        <p:nvCxnSpPr>
          <p:cNvPr id="7" name="Straight Arrow Connector 6">
            <a:extLst>
              <a:ext uri="{FF2B5EF4-FFF2-40B4-BE49-F238E27FC236}">
                <a16:creationId xmlns:a16="http://schemas.microsoft.com/office/drawing/2014/main" id="{F56582FE-88BA-4C0B-AA5F-7A504F9BA627}"/>
              </a:ext>
            </a:extLst>
          </p:cNvPr>
          <p:cNvCxnSpPr>
            <a:cxnSpLocks/>
          </p:cNvCxnSpPr>
          <p:nvPr/>
        </p:nvCxnSpPr>
        <p:spPr>
          <a:xfrm flipH="1">
            <a:off x="2956316" y="1788504"/>
            <a:ext cx="1040951" cy="5335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5E4B7F69-4C22-48F6-838F-9F0D847591B1}"/>
              </a:ext>
            </a:extLst>
          </p:cNvPr>
          <p:cNvCxnSpPr>
            <a:cxnSpLocks/>
          </p:cNvCxnSpPr>
          <p:nvPr/>
        </p:nvCxnSpPr>
        <p:spPr>
          <a:xfrm>
            <a:off x="4905045" y="1772858"/>
            <a:ext cx="1227272" cy="4960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7F6071ED-9211-4C6A-B12B-4138B1B61D83}"/>
              </a:ext>
            </a:extLst>
          </p:cNvPr>
          <p:cNvGrpSpPr/>
          <p:nvPr/>
        </p:nvGrpSpPr>
        <p:grpSpPr>
          <a:xfrm>
            <a:off x="3918649" y="1363479"/>
            <a:ext cx="1096123" cy="542975"/>
            <a:chOff x="6153327" y="1357736"/>
            <a:chExt cx="1096123" cy="542975"/>
          </a:xfrm>
        </p:grpSpPr>
        <p:grpSp>
          <p:nvGrpSpPr>
            <p:cNvPr id="43" name="Group 42">
              <a:extLst>
                <a:ext uri="{FF2B5EF4-FFF2-40B4-BE49-F238E27FC236}">
                  <a16:creationId xmlns:a16="http://schemas.microsoft.com/office/drawing/2014/main" id="{ECE406F8-13CB-4A24-A4E8-4C2946D5FE8E}"/>
                </a:ext>
              </a:extLst>
            </p:cNvPr>
            <p:cNvGrpSpPr>
              <a:grpSpLocks noChangeAspect="1"/>
            </p:cNvGrpSpPr>
            <p:nvPr/>
          </p:nvGrpSpPr>
          <p:grpSpPr>
            <a:xfrm>
              <a:off x="6153327" y="1357736"/>
              <a:ext cx="1096123" cy="542975"/>
              <a:chOff x="836085" y="1496592"/>
              <a:chExt cx="538984" cy="266991"/>
            </a:xfrm>
          </p:grpSpPr>
          <p:sp>
            <p:nvSpPr>
              <p:cNvPr id="49" name="Freeform 751">
                <a:extLst>
                  <a:ext uri="{FF2B5EF4-FFF2-40B4-BE49-F238E27FC236}">
                    <a16:creationId xmlns:a16="http://schemas.microsoft.com/office/drawing/2014/main" id="{E7EAC022-4502-4799-98F0-EC0ADE7AC9BA}"/>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1">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 name="Freeform 752">
                <a:extLst>
                  <a:ext uri="{FF2B5EF4-FFF2-40B4-BE49-F238E27FC236}">
                    <a16:creationId xmlns:a16="http://schemas.microsoft.com/office/drawing/2014/main" id="{91DFF293-0472-435B-88A6-CEAB9B3C8A83}"/>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1">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 name="Freeform 753">
                <a:extLst>
                  <a:ext uri="{FF2B5EF4-FFF2-40B4-BE49-F238E27FC236}">
                    <a16:creationId xmlns:a16="http://schemas.microsoft.com/office/drawing/2014/main" id="{7B9F1648-1840-4589-86DC-EF33A6ECAD54}"/>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1">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nvGrpSpPr>
            <p:cNvPr id="44" name="Group 43">
              <a:extLst>
                <a:ext uri="{FF2B5EF4-FFF2-40B4-BE49-F238E27FC236}">
                  <a16:creationId xmlns:a16="http://schemas.microsoft.com/office/drawing/2014/main" id="{047E2F7F-CE0B-4A7A-A5A9-72B2AA6EBAFF}"/>
                </a:ext>
              </a:extLst>
            </p:cNvPr>
            <p:cNvGrpSpPr/>
            <p:nvPr/>
          </p:nvGrpSpPr>
          <p:grpSpPr>
            <a:xfrm>
              <a:off x="6514922" y="1553945"/>
              <a:ext cx="443255" cy="306126"/>
              <a:chOff x="6734892" y="1530785"/>
              <a:chExt cx="443255" cy="306126"/>
            </a:xfrm>
            <a:solidFill>
              <a:srgbClr val="8ECC72"/>
            </a:solidFill>
          </p:grpSpPr>
          <p:sp>
            <p:nvSpPr>
              <p:cNvPr id="45" name="Oval 44">
                <a:extLst>
                  <a:ext uri="{FF2B5EF4-FFF2-40B4-BE49-F238E27FC236}">
                    <a16:creationId xmlns:a16="http://schemas.microsoft.com/office/drawing/2014/main" id="{1F3767B7-1344-44FD-8BF3-3422E8FC0D2C}"/>
                  </a:ext>
                </a:extLst>
              </p:cNvPr>
              <p:cNvSpPr/>
              <p:nvPr/>
            </p:nvSpPr>
            <p:spPr>
              <a:xfrm>
                <a:off x="6734892" y="153205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6" name="Oval 45">
                <a:extLst>
                  <a:ext uri="{FF2B5EF4-FFF2-40B4-BE49-F238E27FC236}">
                    <a16:creationId xmlns:a16="http://schemas.microsoft.com/office/drawing/2014/main" id="{051ACEA5-E5A5-4F5F-AB8E-60DC309E1177}"/>
                  </a:ext>
                </a:extLst>
              </p:cNvPr>
              <p:cNvSpPr/>
              <p:nvPr/>
            </p:nvSpPr>
            <p:spPr>
              <a:xfrm>
                <a:off x="6955466" y="1530785"/>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7" name="Oval 46">
                <a:extLst>
                  <a:ext uri="{FF2B5EF4-FFF2-40B4-BE49-F238E27FC236}">
                    <a16:creationId xmlns:a16="http://schemas.microsoft.com/office/drawing/2014/main" id="{487073AF-556B-4B41-906F-B2A75C575A47}"/>
                  </a:ext>
                </a:extLst>
              </p:cNvPr>
              <p:cNvSpPr/>
              <p:nvPr/>
            </p:nvSpPr>
            <p:spPr>
              <a:xfrm>
                <a:off x="6851234" y="1720569"/>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8" name="Oval 47">
                <a:extLst>
                  <a:ext uri="{FF2B5EF4-FFF2-40B4-BE49-F238E27FC236}">
                    <a16:creationId xmlns:a16="http://schemas.microsoft.com/office/drawing/2014/main" id="{EF3AF033-67DA-4FD2-BCEA-EB8F163D6A0D}"/>
                  </a:ext>
                </a:extLst>
              </p:cNvPr>
              <p:cNvSpPr/>
              <p:nvPr/>
            </p:nvSpPr>
            <p:spPr>
              <a:xfrm>
                <a:off x="7061805" y="1716405"/>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nvGrpSpPr>
          <p:cNvPr id="53" name="Group 52">
            <a:extLst>
              <a:ext uri="{FF2B5EF4-FFF2-40B4-BE49-F238E27FC236}">
                <a16:creationId xmlns:a16="http://schemas.microsoft.com/office/drawing/2014/main" id="{EFB4D185-5C1B-4860-BECB-4FE720BB52FB}"/>
              </a:ext>
            </a:extLst>
          </p:cNvPr>
          <p:cNvGrpSpPr/>
          <p:nvPr/>
        </p:nvGrpSpPr>
        <p:grpSpPr>
          <a:xfrm>
            <a:off x="7336722" y="57453"/>
            <a:ext cx="1670087" cy="507295"/>
            <a:chOff x="7336722" y="57453"/>
            <a:chExt cx="1670087" cy="507295"/>
          </a:xfrm>
        </p:grpSpPr>
        <p:sp>
          <p:nvSpPr>
            <p:cNvPr id="54" name="Oval 53">
              <a:extLst>
                <a:ext uri="{FF2B5EF4-FFF2-40B4-BE49-F238E27FC236}">
                  <a16:creationId xmlns:a16="http://schemas.microsoft.com/office/drawing/2014/main" id="{1EB28608-D1E1-474A-9A7E-51D6C840409B}"/>
                </a:ext>
              </a:extLst>
            </p:cNvPr>
            <p:cNvSpPr/>
            <p:nvPr/>
          </p:nvSpPr>
          <p:spPr>
            <a:xfrm>
              <a:off x="7611260" y="394287"/>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 name="Rectangle 54">
              <a:extLst>
                <a:ext uri="{FF2B5EF4-FFF2-40B4-BE49-F238E27FC236}">
                  <a16:creationId xmlns:a16="http://schemas.microsoft.com/office/drawing/2014/main" id="{8E5DB277-FD8F-4B63-9698-9C81E2287B0C}"/>
                </a:ext>
              </a:extLst>
            </p:cNvPr>
            <p:cNvSpPr/>
            <p:nvPr/>
          </p:nvSpPr>
          <p:spPr>
            <a:xfrm>
              <a:off x="7743322" y="287749"/>
              <a:ext cx="1263487" cy="276999"/>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Arial" charset="0"/>
                  <a:ea typeface="ＭＳ Ｐゴシック" charset="0"/>
                </a:rPr>
                <a:t>= 100G License</a:t>
              </a:r>
            </a:p>
          </p:txBody>
        </p:sp>
        <p:sp>
          <p:nvSpPr>
            <p:cNvPr id="57" name="Rectangle 56">
              <a:extLst>
                <a:ext uri="{FF2B5EF4-FFF2-40B4-BE49-F238E27FC236}">
                  <a16:creationId xmlns:a16="http://schemas.microsoft.com/office/drawing/2014/main" id="{2098CFE8-3A4F-4412-A975-1E97627E1466}"/>
                </a:ext>
              </a:extLst>
            </p:cNvPr>
            <p:cNvSpPr/>
            <p:nvPr/>
          </p:nvSpPr>
          <p:spPr>
            <a:xfrm>
              <a:off x="7336722" y="57453"/>
              <a:ext cx="737702" cy="276999"/>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Arial" charset="0"/>
                  <a:ea typeface="ＭＳ Ｐゴシック" charset="0"/>
                </a:rPr>
                <a:t>Legend:</a:t>
              </a:r>
            </a:p>
          </p:txBody>
        </p:sp>
      </p:grpSp>
      <p:sp>
        <p:nvSpPr>
          <p:cNvPr id="60" name="Rectangle 59">
            <a:extLst>
              <a:ext uri="{FF2B5EF4-FFF2-40B4-BE49-F238E27FC236}">
                <a16:creationId xmlns:a16="http://schemas.microsoft.com/office/drawing/2014/main" id="{EB507517-4435-44C2-99DE-75B21D769415}"/>
              </a:ext>
            </a:extLst>
          </p:cNvPr>
          <p:cNvSpPr/>
          <p:nvPr/>
        </p:nvSpPr>
        <p:spPr>
          <a:xfrm>
            <a:off x="919726" y="1112718"/>
            <a:ext cx="1736373" cy="369332"/>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Arial" charset="0"/>
                <a:ea typeface="ＭＳ Ｐゴシック" charset="0"/>
              </a:rPr>
              <a:t>Regional Cities</a:t>
            </a:r>
          </a:p>
        </p:txBody>
      </p:sp>
      <p:sp>
        <p:nvSpPr>
          <p:cNvPr id="61" name="Rectangle 60">
            <a:extLst>
              <a:ext uri="{FF2B5EF4-FFF2-40B4-BE49-F238E27FC236}">
                <a16:creationId xmlns:a16="http://schemas.microsoft.com/office/drawing/2014/main" id="{4D908826-F8A0-486C-B859-9A0467367583}"/>
              </a:ext>
            </a:extLst>
          </p:cNvPr>
          <p:cNvSpPr/>
          <p:nvPr/>
        </p:nvSpPr>
        <p:spPr>
          <a:xfrm>
            <a:off x="6706974" y="1112718"/>
            <a:ext cx="1403013" cy="369332"/>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Arial" charset="0"/>
                <a:ea typeface="ＭＳ Ｐゴシック" charset="0"/>
              </a:rPr>
              <a:t>Addis </a:t>
            </a:r>
            <a:r>
              <a:rPr kumimoji="0" lang="en-US" sz="1800" b="0" i="0" u="none" strike="noStrike" kern="1200" cap="none" spc="0" normalizeH="0" baseline="0" noProof="0" dirty="0" err="1">
                <a:ln>
                  <a:noFill/>
                </a:ln>
                <a:solidFill>
                  <a:srgbClr val="282828"/>
                </a:solidFill>
                <a:effectLst/>
                <a:uLnTx/>
                <a:uFillTx/>
                <a:latin typeface="Arial" charset="0"/>
                <a:ea typeface="ＭＳ Ｐゴシック" charset="0"/>
              </a:rPr>
              <a:t>Adiba</a:t>
            </a: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Tree>
    <p:extLst>
      <p:ext uri="{BB962C8B-B14F-4D97-AF65-F5344CB8AC3E}">
        <p14:creationId xmlns:p14="http://schemas.microsoft.com/office/powerpoint/2010/main" val="6643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p:cNvSpPr/>
          <p:nvPr/>
        </p:nvSpPr>
        <p:spPr>
          <a:xfrm>
            <a:off x="365760" y="4744720"/>
            <a:ext cx="3642360" cy="17272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 name="Rectangle 5"/>
          <p:cNvSpPr/>
          <p:nvPr/>
        </p:nvSpPr>
        <p:spPr>
          <a:xfrm>
            <a:off x="294640" y="905650"/>
            <a:ext cx="2323214" cy="157595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 name="Title 2"/>
          <p:cNvSpPr>
            <a:spLocks noGrp="1"/>
          </p:cNvSpPr>
          <p:nvPr>
            <p:ph type="title"/>
          </p:nvPr>
        </p:nvSpPr>
        <p:spPr/>
        <p:txBody>
          <a:bodyPr/>
          <a:lstStyle/>
          <a:p>
            <a:r>
              <a:rPr lang="en-US"/>
              <a:t>IOS-XR Flexible Consumption</a:t>
            </a:r>
            <a:br>
              <a:rPr lang="en-US"/>
            </a:br>
            <a:endParaRPr lang="en-US" dirty="0"/>
          </a:p>
        </p:txBody>
      </p:sp>
      <p:sp>
        <p:nvSpPr>
          <p:cNvPr id="18" name="Rectangle 17"/>
          <p:cNvSpPr/>
          <p:nvPr/>
        </p:nvSpPr>
        <p:spPr>
          <a:xfrm>
            <a:off x="309800" y="4326211"/>
            <a:ext cx="2307042" cy="338554"/>
          </a:xfrm>
          <a:prstGeom prst="rect">
            <a:avLst/>
          </a:prstGeom>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4D4D4C"/>
                </a:solidFill>
                <a:effectLst/>
                <a:uLnTx/>
                <a:uFillTx/>
                <a:latin typeface="CiscoSansTT" panose="020B0503020201020303" pitchFamily="34" charset="0"/>
                <a:ea typeface="ＭＳ Ｐゴシック" charset="0"/>
                <a:cs typeface="CiscoSansTT" panose="020B0503020201020303" pitchFamily="34" charset="0"/>
              </a:rPr>
              <a:t>IOS-XR Next-Gen HW</a:t>
            </a:r>
            <a:endParaRPr kumimoji="0" lang="en-US" sz="1600" b="0" i="0" u="none" strike="noStrike" kern="1200" cap="none" spc="0" normalizeH="0" baseline="0" noProof="0" dirty="0">
              <a:ln>
                <a:noFill/>
              </a:ln>
              <a:solidFill>
                <a:srgbClr val="282828"/>
              </a:solidFill>
              <a:effectLst/>
              <a:uLnTx/>
              <a:uFillTx/>
              <a:latin typeface="CiscoSansTT" panose="020B0503020201020303" pitchFamily="34" charset="0"/>
              <a:ea typeface="ＭＳ Ｐゴシック" charset="0"/>
              <a:cs typeface="CiscoSansTT" panose="020B0503020201020303" pitchFamily="34" charset="0"/>
            </a:endParaRPr>
          </a:p>
        </p:txBody>
      </p:sp>
      <p:sp>
        <p:nvSpPr>
          <p:cNvPr id="75" name="Rounded Rectangle 74"/>
          <p:cNvSpPr/>
          <p:nvPr/>
        </p:nvSpPr>
        <p:spPr>
          <a:xfrm>
            <a:off x="445460" y="1079204"/>
            <a:ext cx="1988827" cy="92615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CiscoSansTT ExtraLight"/>
                <a:ea typeface="+mn-ea"/>
                <a:cs typeface="+mn-cs"/>
              </a:rPr>
              <a:t>Flexible Consumption</a:t>
            </a:r>
          </a:p>
        </p:txBody>
      </p:sp>
      <p:sp>
        <p:nvSpPr>
          <p:cNvPr id="7" name="Rectangle 6"/>
          <p:cNvSpPr/>
          <p:nvPr/>
        </p:nvSpPr>
        <p:spPr>
          <a:xfrm>
            <a:off x="971456" y="2084330"/>
            <a:ext cx="906017" cy="338554"/>
          </a:xfrm>
          <a:prstGeom prst="rect">
            <a:avLst/>
          </a:prstGeom>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cs typeface="CiscoSansTT" panose="020B0503020201020303" pitchFamily="34" charset="0"/>
              </a:rPr>
              <a:t>IOS-XR</a:t>
            </a:r>
          </a:p>
        </p:txBody>
      </p:sp>
      <p:grpSp>
        <p:nvGrpSpPr>
          <p:cNvPr id="85" name="Group 84"/>
          <p:cNvGrpSpPr/>
          <p:nvPr/>
        </p:nvGrpSpPr>
        <p:grpSpPr>
          <a:xfrm>
            <a:off x="497773" y="1075206"/>
            <a:ext cx="376139" cy="385466"/>
            <a:chOff x="4935208" y="3000273"/>
            <a:chExt cx="565155" cy="565155"/>
          </a:xfrm>
        </p:grpSpPr>
        <p:sp>
          <p:nvSpPr>
            <p:cNvPr id="86" name="Oval 85"/>
            <p:cNvSpPr/>
            <p:nvPr/>
          </p:nvSpPr>
          <p:spPr>
            <a:xfrm>
              <a:off x="4935208" y="3000273"/>
              <a:ext cx="565155" cy="565155"/>
            </a:xfrm>
            <a:prstGeom prst="ellipse">
              <a:avLst/>
            </a:prstGeom>
            <a:gradFill flip="none" rotWithShape="1">
              <a:gsLst>
                <a:gs pos="0">
                  <a:srgbClr val="2968AF">
                    <a:lumMod val="60000"/>
                    <a:lumOff val="40000"/>
                    <a:shade val="30000"/>
                    <a:satMod val="115000"/>
                  </a:srgbClr>
                </a:gs>
                <a:gs pos="50000">
                  <a:srgbClr val="2968AF">
                    <a:lumMod val="60000"/>
                    <a:lumOff val="40000"/>
                    <a:shade val="67500"/>
                    <a:satMod val="115000"/>
                  </a:srgbClr>
                </a:gs>
                <a:gs pos="100000">
                  <a:srgbClr val="2968AF">
                    <a:lumMod val="60000"/>
                    <a:lumOff val="40000"/>
                    <a:shade val="100000"/>
                    <a:satMod val="115000"/>
                  </a:srgbClr>
                </a:gs>
              </a:gsLst>
              <a:lin ang="16200000" scaled="1"/>
              <a:tileRect/>
            </a:gradFill>
            <a:ln w="25400" cap="flat" cmpd="sng" algn="ctr">
              <a:solidFill>
                <a:srgbClr val="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lumMod val="50000"/>
                  </a:srgbClr>
                </a:solidFill>
                <a:effectLst/>
                <a:uLnTx/>
                <a:uFillTx/>
                <a:latin typeface="Arial"/>
                <a:ea typeface="ＭＳ Ｐゴシック" charset="0"/>
                <a:cs typeface="+mn-cs"/>
              </a:endParaRPr>
            </a:p>
          </p:txBody>
        </p:sp>
        <p:grpSp>
          <p:nvGrpSpPr>
            <p:cNvPr id="87" name="Group 86"/>
            <p:cNvGrpSpPr/>
            <p:nvPr/>
          </p:nvGrpSpPr>
          <p:grpSpPr>
            <a:xfrm>
              <a:off x="5041077" y="3086733"/>
              <a:ext cx="381838" cy="403228"/>
              <a:chOff x="-4616450" y="995363"/>
              <a:chExt cx="4860925" cy="5189537"/>
            </a:xfrm>
            <a:solidFill>
              <a:srgbClr val="FFFFFF"/>
            </a:solidFill>
            <a:effectLst>
              <a:outerShdw blurRad="63500" sx="102000" sy="102000" algn="ctr" rotWithShape="0">
                <a:prstClr val="black">
                  <a:alpha val="40000"/>
                </a:prstClr>
              </a:outerShdw>
            </a:effectLst>
          </p:grpSpPr>
          <p:sp>
            <p:nvSpPr>
              <p:cNvPr id="88" name="Freeform 7"/>
              <p:cNvSpPr>
                <a:spLocks noEditPoints="1"/>
              </p:cNvSpPr>
              <p:nvPr/>
            </p:nvSpPr>
            <p:spPr bwMode="auto">
              <a:xfrm>
                <a:off x="-3008313" y="2633663"/>
                <a:ext cx="1901825" cy="1905000"/>
              </a:xfrm>
              <a:custGeom>
                <a:avLst/>
                <a:gdLst/>
                <a:ahLst/>
                <a:cxnLst>
                  <a:cxn ang="0">
                    <a:pos x="253" y="0"/>
                  </a:cxn>
                  <a:cxn ang="0">
                    <a:pos x="0" y="255"/>
                  </a:cxn>
                  <a:cxn ang="0">
                    <a:pos x="253" y="508"/>
                  </a:cxn>
                  <a:cxn ang="0">
                    <a:pos x="507" y="255"/>
                  </a:cxn>
                  <a:cxn ang="0">
                    <a:pos x="253" y="0"/>
                  </a:cxn>
                  <a:cxn ang="0">
                    <a:pos x="206" y="439"/>
                  </a:cxn>
                  <a:cxn ang="0">
                    <a:pos x="38" y="293"/>
                  </a:cxn>
                  <a:cxn ang="0">
                    <a:pos x="81" y="244"/>
                  </a:cxn>
                  <a:cxn ang="0">
                    <a:pos x="201" y="351"/>
                  </a:cxn>
                  <a:cxn ang="0">
                    <a:pos x="409" y="115"/>
                  </a:cxn>
                  <a:cxn ang="0">
                    <a:pos x="455" y="156"/>
                  </a:cxn>
                  <a:cxn ang="0">
                    <a:pos x="206" y="439"/>
                  </a:cxn>
                </a:cxnLst>
                <a:rect l="0" t="0" r="r" b="b"/>
                <a:pathLst>
                  <a:path w="507" h="508">
                    <a:moveTo>
                      <a:pt x="253" y="0"/>
                    </a:moveTo>
                    <a:cubicBezTo>
                      <a:pt x="114" y="0"/>
                      <a:pt x="0" y="115"/>
                      <a:pt x="0" y="255"/>
                    </a:cubicBezTo>
                    <a:cubicBezTo>
                      <a:pt x="0" y="395"/>
                      <a:pt x="114" y="508"/>
                      <a:pt x="253" y="508"/>
                    </a:cubicBezTo>
                    <a:cubicBezTo>
                      <a:pt x="393" y="508"/>
                      <a:pt x="507" y="395"/>
                      <a:pt x="507" y="255"/>
                    </a:cubicBezTo>
                    <a:cubicBezTo>
                      <a:pt x="507" y="115"/>
                      <a:pt x="393" y="0"/>
                      <a:pt x="253" y="0"/>
                    </a:cubicBezTo>
                    <a:close/>
                    <a:moveTo>
                      <a:pt x="206" y="439"/>
                    </a:moveTo>
                    <a:cubicBezTo>
                      <a:pt x="38" y="293"/>
                      <a:pt x="38" y="293"/>
                      <a:pt x="38" y="293"/>
                    </a:cubicBezTo>
                    <a:cubicBezTo>
                      <a:pt x="81" y="244"/>
                      <a:pt x="81" y="244"/>
                      <a:pt x="81" y="244"/>
                    </a:cubicBezTo>
                    <a:cubicBezTo>
                      <a:pt x="201" y="351"/>
                      <a:pt x="201" y="351"/>
                      <a:pt x="201" y="351"/>
                    </a:cubicBezTo>
                    <a:cubicBezTo>
                      <a:pt x="409" y="115"/>
                      <a:pt x="409" y="115"/>
                      <a:pt x="409" y="115"/>
                    </a:cubicBezTo>
                    <a:cubicBezTo>
                      <a:pt x="455" y="156"/>
                      <a:pt x="455" y="156"/>
                      <a:pt x="455" y="156"/>
                    </a:cubicBezTo>
                    <a:lnTo>
                      <a:pt x="206" y="4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lumMod val="50000"/>
                    </a:srgbClr>
                  </a:solidFill>
                  <a:effectLst/>
                  <a:uLnTx/>
                  <a:uFillTx/>
                  <a:latin typeface="Arial" charset="0"/>
                  <a:ea typeface="ＭＳ Ｐゴシック" charset="0"/>
                </a:endParaRPr>
              </a:p>
            </p:txBody>
          </p:sp>
          <p:sp>
            <p:nvSpPr>
              <p:cNvPr id="89" name="Freeform 8"/>
              <p:cNvSpPr>
                <a:spLocks/>
              </p:cNvSpPr>
              <p:nvPr/>
            </p:nvSpPr>
            <p:spPr bwMode="auto">
              <a:xfrm>
                <a:off x="-4616450" y="995363"/>
                <a:ext cx="4860925" cy="5189537"/>
              </a:xfrm>
              <a:custGeom>
                <a:avLst/>
                <a:gdLst/>
                <a:ahLst/>
                <a:cxnLst>
                  <a:cxn ang="0">
                    <a:pos x="1036" y="263"/>
                  </a:cxn>
                  <a:cxn ang="0">
                    <a:pos x="1090" y="198"/>
                  </a:cxn>
                  <a:cxn ang="0">
                    <a:pos x="880" y="219"/>
                  </a:cxn>
                  <a:cxn ang="0">
                    <a:pos x="904" y="426"/>
                  </a:cxn>
                  <a:cxn ang="0">
                    <a:pos x="958" y="360"/>
                  </a:cxn>
                  <a:cxn ang="0">
                    <a:pos x="1013" y="937"/>
                  </a:cxn>
                  <a:cxn ang="0">
                    <a:pos x="692" y="1089"/>
                  </a:cxn>
                  <a:cxn ang="0">
                    <a:pos x="692" y="982"/>
                  </a:cxn>
                  <a:cxn ang="0">
                    <a:pos x="682" y="982"/>
                  </a:cxn>
                  <a:cxn ang="0">
                    <a:pos x="393" y="692"/>
                  </a:cxn>
                  <a:cxn ang="0">
                    <a:pos x="682" y="403"/>
                  </a:cxn>
                  <a:cxn ang="0">
                    <a:pos x="692" y="403"/>
                  </a:cxn>
                  <a:cxn ang="0">
                    <a:pos x="692" y="0"/>
                  </a:cxn>
                  <a:cxn ang="0">
                    <a:pos x="620" y="5"/>
                  </a:cxn>
                  <a:cxn ang="0">
                    <a:pos x="620" y="106"/>
                  </a:cxn>
                  <a:cxn ang="0">
                    <a:pos x="533" y="123"/>
                  </a:cxn>
                  <a:cxn ang="0">
                    <a:pos x="495" y="30"/>
                  </a:cxn>
                  <a:cxn ang="0">
                    <a:pos x="362" y="85"/>
                  </a:cxn>
                  <a:cxn ang="0">
                    <a:pos x="399" y="178"/>
                  </a:cxn>
                  <a:cxn ang="0">
                    <a:pos x="327" y="227"/>
                  </a:cxn>
                  <a:cxn ang="0">
                    <a:pos x="256" y="156"/>
                  </a:cxn>
                  <a:cxn ang="0">
                    <a:pos x="154" y="258"/>
                  </a:cxn>
                  <a:cxn ang="0">
                    <a:pos x="225" y="329"/>
                  </a:cxn>
                  <a:cxn ang="0">
                    <a:pos x="176" y="401"/>
                  </a:cxn>
                  <a:cxn ang="0">
                    <a:pos x="83" y="364"/>
                  </a:cxn>
                  <a:cxn ang="0">
                    <a:pos x="28" y="497"/>
                  </a:cxn>
                  <a:cxn ang="0">
                    <a:pos x="121" y="535"/>
                  </a:cxn>
                  <a:cxn ang="0">
                    <a:pos x="104" y="620"/>
                  </a:cxn>
                  <a:cxn ang="0">
                    <a:pos x="3" y="620"/>
                  </a:cxn>
                  <a:cxn ang="0">
                    <a:pos x="0" y="692"/>
                  </a:cxn>
                  <a:cxn ang="0">
                    <a:pos x="3" y="765"/>
                  </a:cxn>
                  <a:cxn ang="0">
                    <a:pos x="104" y="765"/>
                  </a:cxn>
                  <a:cxn ang="0">
                    <a:pos x="121" y="851"/>
                  </a:cxn>
                  <a:cxn ang="0">
                    <a:pos x="28" y="889"/>
                  </a:cxn>
                  <a:cxn ang="0">
                    <a:pos x="83" y="1022"/>
                  </a:cxn>
                  <a:cxn ang="0">
                    <a:pos x="176" y="985"/>
                  </a:cxn>
                  <a:cxn ang="0">
                    <a:pos x="225" y="1057"/>
                  </a:cxn>
                  <a:cxn ang="0">
                    <a:pos x="154" y="1128"/>
                  </a:cxn>
                  <a:cxn ang="0">
                    <a:pos x="256" y="1230"/>
                  </a:cxn>
                  <a:cxn ang="0">
                    <a:pos x="327" y="1159"/>
                  </a:cxn>
                  <a:cxn ang="0">
                    <a:pos x="399" y="1208"/>
                  </a:cxn>
                  <a:cxn ang="0">
                    <a:pos x="362" y="1301"/>
                  </a:cxn>
                  <a:cxn ang="0">
                    <a:pos x="495" y="1356"/>
                  </a:cxn>
                  <a:cxn ang="0">
                    <a:pos x="533" y="1263"/>
                  </a:cxn>
                  <a:cxn ang="0">
                    <a:pos x="620" y="1280"/>
                  </a:cxn>
                  <a:cxn ang="0">
                    <a:pos x="620" y="1381"/>
                  </a:cxn>
                  <a:cxn ang="0">
                    <a:pos x="692" y="1384"/>
                  </a:cxn>
                  <a:cxn ang="0">
                    <a:pos x="692" y="1215"/>
                  </a:cxn>
                  <a:cxn ang="0">
                    <a:pos x="1110" y="1016"/>
                  </a:cxn>
                  <a:cxn ang="0">
                    <a:pos x="1036" y="263"/>
                  </a:cxn>
                </a:cxnLst>
                <a:rect l="0" t="0" r="r" b="b"/>
                <a:pathLst>
                  <a:path w="1296" h="1384">
                    <a:moveTo>
                      <a:pt x="1036" y="263"/>
                    </a:moveTo>
                    <a:cubicBezTo>
                      <a:pt x="1090" y="198"/>
                      <a:pt x="1090" y="198"/>
                      <a:pt x="1090" y="198"/>
                    </a:cubicBezTo>
                    <a:cubicBezTo>
                      <a:pt x="880" y="219"/>
                      <a:pt x="880" y="219"/>
                      <a:pt x="880" y="219"/>
                    </a:cubicBezTo>
                    <a:cubicBezTo>
                      <a:pt x="904" y="426"/>
                      <a:pt x="904" y="426"/>
                      <a:pt x="904" y="426"/>
                    </a:cubicBezTo>
                    <a:cubicBezTo>
                      <a:pt x="958" y="360"/>
                      <a:pt x="958" y="360"/>
                      <a:pt x="958" y="360"/>
                    </a:cubicBezTo>
                    <a:cubicBezTo>
                      <a:pt x="1130" y="505"/>
                      <a:pt x="1156" y="761"/>
                      <a:pt x="1013" y="937"/>
                    </a:cubicBezTo>
                    <a:cubicBezTo>
                      <a:pt x="931" y="1038"/>
                      <a:pt x="812" y="1090"/>
                      <a:pt x="692" y="1089"/>
                    </a:cubicBezTo>
                    <a:cubicBezTo>
                      <a:pt x="692" y="982"/>
                      <a:pt x="692" y="982"/>
                      <a:pt x="692" y="982"/>
                    </a:cubicBezTo>
                    <a:cubicBezTo>
                      <a:pt x="682" y="982"/>
                      <a:pt x="682" y="982"/>
                      <a:pt x="682" y="982"/>
                    </a:cubicBezTo>
                    <a:cubicBezTo>
                      <a:pt x="522" y="982"/>
                      <a:pt x="393" y="851"/>
                      <a:pt x="393" y="692"/>
                    </a:cubicBezTo>
                    <a:cubicBezTo>
                      <a:pt x="393" y="532"/>
                      <a:pt x="522" y="403"/>
                      <a:pt x="682" y="403"/>
                    </a:cubicBezTo>
                    <a:cubicBezTo>
                      <a:pt x="692" y="403"/>
                      <a:pt x="692" y="403"/>
                      <a:pt x="692" y="403"/>
                    </a:cubicBezTo>
                    <a:cubicBezTo>
                      <a:pt x="692" y="0"/>
                      <a:pt x="692" y="0"/>
                      <a:pt x="692" y="0"/>
                    </a:cubicBezTo>
                    <a:cubicBezTo>
                      <a:pt x="667" y="0"/>
                      <a:pt x="643" y="2"/>
                      <a:pt x="620" y="5"/>
                    </a:cubicBezTo>
                    <a:cubicBezTo>
                      <a:pt x="620" y="106"/>
                      <a:pt x="620" y="106"/>
                      <a:pt x="620" y="106"/>
                    </a:cubicBezTo>
                    <a:cubicBezTo>
                      <a:pt x="590" y="110"/>
                      <a:pt x="561" y="115"/>
                      <a:pt x="533" y="123"/>
                    </a:cubicBezTo>
                    <a:cubicBezTo>
                      <a:pt x="495" y="30"/>
                      <a:pt x="495" y="30"/>
                      <a:pt x="495" y="30"/>
                    </a:cubicBezTo>
                    <a:cubicBezTo>
                      <a:pt x="448" y="43"/>
                      <a:pt x="403" y="62"/>
                      <a:pt x="362" y="85"/>
                    </a:cubicBezTo>
                    <a:cubicBezTo>
                      <a:pt x="399" y="178"/>
                      <a:pt x="399" y="178"/>
                      <a:pt x="399" y="178"/>
                    </a:cubicBezTo>
                    <a:cubicBezTo>
                      <a:pt x="374" y="192"/>
                      <a:pt x="351" y="209"/>
                      <a:pt x="327" y="227"/>
                    </a:cubicBezTo>
                    <a:cubicBezTo>
                      <a:pt x="256" y="156"/>
                      <a:pt x="256" y="156"/>
                      <a:pt x="256" y="156"/>
                    </a:cubicBezTo>
                    <a:cubicBezTo>
                      <a:pt x="219" y="186"/>
                      <a:pt x="184" y="220"/>
                      <a:pt x="154" y="258"/>
                    </a:cubicBezTo>
                    <a:cubicBezTo>
                      <a:pt x="225" y="329"/>
                      <a:pt x="225" y="329"/>
                      <a:pt x="225" y="329"/>
                    </a:cubicBezTo>
                    <a:cubicBezTo>
                      <a:pt x="208" y="352"/>
                      <a:pt x="192" y="376"/>
                      <a:pt x="176" y="401"/>
                    </a:cubicBezTo>
                    <a:cubicBezTo>
                      <a:pt x="83" y="364"/>
                      <a:pt x="83" y="364"/>
                      <a:pt x="83" y="364"/>
                    </a:cubicBezTo>
                    <a:cubicBezTo>
                      <a:pt x="60" y="404"/>
                      <a:pt x="43" y="450"/>
                      <a:pt x="28" y="497"/>
                    </a:cubicBezTo>
                    <a:cubicBezTo>
                      <a:pt x="121" y="535"/>
                      <a:pt x="121" y="535"/>
                      <a:pt x="121" y="535"/>
                    </a:cubicBezTo>
                    <a:cubicBezTo>
                      <a:pt x="113" y="563"/>
                      <a:pt x="109" y="591"/>
                      <a:pt x="104" y="620"/>
                    </a:cubicBezTo>
                    <a:cubicBezTo>
                      <a:pt x="3" y="620"/>
                      <a:pt x="3" y="620"/>
                      <a:pt x="3" y="620"/>
                    </a:cubicBezTo>
                    <a:cubicBezTo>
                      <a:pt x="0" y="645"/>
                      <a:pt x="0" y="668"/>
                      <a:pt x="0" y="692"/>
                    </a:cubicBezTo>
                    <a:cubicBezTo>
                      <a:pt x="0" y="717"/>
                      <a:pt x="0" y="741"/>
                      <a:pt x="3" y="765"/>
                    </a:cubicBezTo>
                    <a:cubicBezTo>
                      <a:pt x="104" y="765"/>
                      <a:pt x="104" y="765"/>
                      <a:pt x="104" y="765"/>
                    </a:cubicBezTo>
                    <a:cubicBezTo>
                      <a:pt x="109" y="794"/>
                      <a:pt x="113" y="823"/>
                      <a:pt x="121" y="851"/>
                    </a:cubicBezTo>
                    <a:cubicBezTo>
                      <a:pt x="28" y="889"/>
                      <a:pt x="28" y="889"/>
                      <a:pt x="28" y="889"/>
                    </a:cubicBezTo>
                    <a:cubicBezTo>
                      <a:pt x="43" y="936"/>
                      <a:pt x="60" y="982"/>
                      <a:pt x="83" y="1022"/>
                    </a:cubicBezTo>
                    <a:cubicBezTo>
                      <a:pt x="176" y="985"/>
                      <a:pt x="176" y="985"/>
                      <a:pt x="176" y="985"/>
                    </a:cubicBezTo>
                    <a:cubicBezTo>
                      <a:pt x="192" y="1010"/>
                      <a:pt x="208" y="1033"/>
                      <a:pt x="225" y="1057"/>
                    </a:cubicBezTo>
                    <a:cubicBezTo>
                      <a:pt x="154" y="1128"/>
                      <a:pt x="154" y="1128"/>
                      <a:pt x="154" y="1128"/>
                    </a:cubicBezTo>
                    <a:cubicBezTo>
                      <a:pt x="184" y="1166"/>
                      <a:pt x="219" y="1200"/>
                      <a:pt x="256" y="1230"/>
                    </a:cubicBezTo>
                    <a:cubicBezTo>
                      <a:pt x="327" y="1159"/>
                      <a:pt x="327" y="1159"/>
                      <a:pt x="327" y="1159"/>
                    </a:cubicBezTo>
                    <a:cubicBezTo>
                      <a:pt x="351" y="1176"/>
                      <a:pt x="374" y="1194"/>
                      <a:pt x="399" y="1208"/>
                    </a:cubicBezTo>
                    <a:cubicBezTo>
                      <a:pt x="362" y="1301"/>
                      <a:pt x="362" y="1301"/>
                      <a:pt x="362" y="1301"/>
                    </a:cubicBezTo>
                    <a:cubicBezTo>
                      <a:pt x="403" y="1324"/>
                      <a:pt x="448" y="1343"/>
                      <a:pt x="495" y="1356"/>
                    </a:cubicBezTo>
                    <a:cubicBezTo>
                      <a:pt x="533" y="1263"/>
                      <a:pt x="533" y="1263"/>
                      <a:pt x="533" y="1263"/>
                    </a:cubicBezTo>
                    <a:cubicBezTo>
                      <a:pt x="561" y="1271"/>
                      <a:pt x="590" y="1276"/>
                      <a:pt x="620" y="1280"/>
                    </a:cubicBezTo>
                    <a:cubicBezTo>
                      <a:pt x="620" y="1381"/>
                      <a:pt x="620" y="1381"/>
                      <a:pt x="620" y="1381"/>
                    </a:cubicBezTo>
                    <a:cubicBezTo>
                      <a:pt x="643" y="1384"/>
                      <a:pt x="667" y="1384"/>
                      <a:pt x="692" y="1384"/>
                    </a:cubicBezTo>
                    <a:cubicBezTo>
                      <a:pt x="692" y="1215"/>
                      <a:pt x="692" y="1215"/>
                      <a:pt x="692" y="1215"/>
                    </a:cubicBezTo>
                    <a:cubicBezTo>
                      <a:pt x="849" y="1215"/>
                      <a:pt x="1004" y="1147"/>
                      <a:pt x="1110" y="1016"/>
                    </a:cubicBezTo>
                    <a:cubicBezTo>
                      <a:pt x="1296" y="786"/>
                      <a:pt x="1263" y="451"/>
                      <a:pt x="1036" y="2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lumMod val="50000"/>
                    </a:srgbClr>
                  </a:solidFill>
                  <a:effectLst/>
                  <a:uLnTx/>
                  <a:uFillTx/>
                  <a:latin typeface="Arial" charset="0"/>
                  <a:ea typeface="ＭＳ Ｐゴシック" charset="0"/>
                </a:endParaRPr>
              </a:p>
            </p:txBody>
          </p:sp>
        </p:grpSp>
      </p:grpSp>
      <p:pic>
        <p:nvPicPr>
          <p:cNvPr id="90" name="Picture 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3247" y="2609032"/>
            <a:ext cx="1374956" cy="1736231"/>
          </a:xfrm>
          <a:prstGeom prst="rect">
            <a:avLst/>
          </a:prstGeom>
          <a:noFill/>
          <a:ln>
            <a:noFill/>
          </a:ln>
        </p:spPr>
      </p:pic>
      <p:grpSp>
        <p:nvGrpSpPr>
          <p:cNvPr id="13" name="Group 12"/>
          <p:cNvGrpSpPr/>
          <p:nvPr/>
        </p:nvGrpSpPr>
        <p:grpSpPr>
          <a:xfrm>
            <a:off x="2905241" y="908715"/>
            <a:ext cx="2886044" cy="2017364"/>
            <a:chOff x="2857109" y="908715"/>
            <a:chExt cx="2886044" cy="2017364"/>
          </a:xfrm>
        </p:grpSpPr>
        <p:sp>
          <p:nvSpPr>
            <p:cNvPr id="72" name="Rectangle 71"/>
            <p:cNvSpPr/>
            <p:nvPr/>
          </p:nvSpPr>
          <p:spPr>
            <a:xfrm>
              <a:off x="2857109" y="908715"/>
              <a:ext cx="2886044" cy="500483"/>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4" name="Group 194">
              <a:extLst>
                <a:ext uri="{FF2B5EF4-FFF2-40B4-BE49-F238E27FC236}">
                  <a16:creationId xmlns:a16="http://schemas.microsoft.com/office/drawing/2014/main" id="{B434F7F9-AA17-C144-BAB0-8CEA04E770C8}"/>
                </a:ext>
              </a:extLst>
            </p:cNvPr>
            <p:cNvGrpSpPr>
              <a:grpSpLocks noChangeAspect="1"/>
            </p:cNvGrpSpPr>
            <p:nvPr/>
          </p:nvGrpSpPr>
          <p:grpSpPr bwMode="auto">
            <a:xfrm>
              <a:off x="4869038" y="967996"/>
              <a:ext cx="733516" cy="378750"/>
              <a:chOff x="336" y="1362"/>
              <a:chExt cx="658" cy="363"/>
            </a:xfrm>
          </p:grpSpPr>
          <p:sp>
            <p:nvSpPr>
              <p:cNvPr id="25" name="Freeform 195">
                <a:extLst>
                  <a:ext uri="{FF2B5EF4-FFF2-40B4-BE49-F238E27FC236}">
                    <a16:creationId xmlns:a16="http://schemas.microsoft.com/office/drawing/2014/main" id="{4E156FAB-50DF-3A4E-AB70-6DDDEE341557}"/>
                  </a:ext>
                </a:extLst>
              </p:cNvPr>
              <p:cNvSpPr>
                <a:spLocks/>
              </p:cNvSpPr>
              <p:nvPr/>
            </p:nvSpPr>
            <p:spPr bwMode="auto">
              <a:xfrm>
                <a:off x="505" y="1416"/>
                <a:ext cx="151" cy="27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26" name="Line 196">
                <a:extLst>
                  <a:ext uri="{FF2B5EF4-FFF2-40B4-BE49-F238E27FC236}">
                    <a16:creationId xmlns:a16="http://schemas.microsoft.com/office/drawing/2014/main" id="{6D30FCF8-FDC0-3D48-8D80-55C19D300A2B}"/>
                  </a:ext>
                </a:extLst>
              </p:cNvPr>
              <p:cNvSpPr>
                <a:spLocks noChangeShapeType="1"/>
              </p:cNvSpPr>
              <p:nvPr/>
            </p:nvSpPr>
            <p:spPr bwMode="auto">
              <a:xfrm>
                <a:off x="543" y="1460"/>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27" name="Line 197">
                <a:extLst>
                  <a:ext uri="{FF2B5EF4-FFF2-40B4-BE49-F238E27FC236}">
                    <a16:creationId xmlns:a16="http://schemas.microsoft.com/office/drawing/2014/main" id="{F5EC9C09-D96B-274A-B3A0-4D02FF7F558B}"/>
                  </a:ext>
                </a:extLst>
              </p:cNvPr>
              <p:cNvSpPr>
                <a:spLocks noChangeShapeType="1"/>
              </p:cNvSpPr>
              <p:nvPr/>
            </p:nvSpPr>
            <p:spPr bwMode="auto">
              <a:xfrm>
                <a:off x="543" y="1503"/>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28" name="Line 198">
                <a:extLst>
                  <a:ext uri="{FF2B5EF4-FFF2-40B4-BE49-F238E27FC236}">
                    <a16:creationId xmlns:a16="http://schemas.microsoft.com/office/drawing/2014/main" id="{767C2D78-EB3E-9949-A2C7-1E429040C3F7}"/>
                  </a:ext>
                </a:extLst>
              </p:cNvPr>
              <p:cNvSpPr>
                <a:spLocks noChangeShapeType="1"/>
              </p:cNvSpPr>
              <p:nvPr/>
            </p:nvSpPr>
            <p:spPr bwMode="auto">
              <a:xfrm>
                <a:off x="543" y="1548"/>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29" name="Line 199">
                <a:extLst>
                  <a:ext uri="{FF2B5EF4-FFF2-40B4-BE49-F238E27FC236}">
                    <a16:creationId xmlns:a16="http://schemas.microsoft.com/office/drawing/2014/main" id="{ECA62FC1-66EC-4B4C-BC0C-36CBDAA1302D}"/>
                  </a:ext>
                </a:extLst>
              </p:cNvPr>
              <p:cNvSpPr>
                <a:spLocks noChangeShapeType="1"/>
              </p:cNvSpPr>
              <p:nvPr/>
            </p:nvSpPr>
            <p:spPr bwMode="auto">
              <a:xfrm>
                <a:off x="543" y="1592"/>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39" name="Line 200">
                <a:extLst>
                  <a:ext uri="{FF2B5EF4-FFF2-40B4-BE49-F238E27FC236}">
                    <a16:creationId xmlns:a16="http://schemas.microsoft.com/office/drawing/2014/main" id="{039C79BF-FE69-664C-8227-BE1C2F3B4936}"/>
                  </a:ext>
                </a:extLst>
              </p:cNvPr>
              <p:cNvSpPr>
                <a:spLocks noChangeShapeType="1"/>
              </p:cNvSpPr>
              <p:nvPr/>
            </p:nvSpPr>
            <p:spPr bwMode="auto">
              <a:xfrm>
                <a:off x="543" y="1636"/>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40" name="Freeform 201">
                <a:extLst>
                  <a:ext uri="{FF2B5EF4-FFF2-40B4-BE49-F238E27FC236}">
                    <a16:creationId xmlns:a16="http://schemas.microsoft.com/office/drawing/2014/main" id="{C83F6183-82D5-264D-A4C8-13E9E4C85E3E}"/>
                  </a:ext>
                </a:extLst>
              </p:cNvPr>
              <p:cNvSpPr>
                <a:spLocks/>
              </p:cNvSpPr>
              <p:nvPr/>
            </p:nvSpPr>
            <p:spPr bwMode="auto">
              <a:xfrm>
                <a:off x="675" y="1362"/>
                <a:ext cx="150" cy="363"/>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44" name="Line 202">
                <a:extLst>
                  <a:ext uri="{FF2B5EF4-FFF2-40B4-BE49-F238E27FC236}">
                    <a16:creationId xmlns:a16="http://schemas.microsoft.com/office/drawing/2014/main" id="{424CE931-B2C6-CC44-BEF0-DD92D9D04A1F}"/>
                  </a:ext>
                </a:extLst>
              </p:cNvPr>
              <p:cNvSpPr>
                <a:spLocks noChangeShapeType="1"/>
              </p:cNvSpPr>
              <p:nvPr/>
            </p:nvSpPr>
            <p:spPr bwMode="auto">
              <a:xfrm>
                <a:off x="712" y="1406"/>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45" name="Line 203">
                <a:extLst>
                  <a:ext uri="{FF2B5EF4-FFF2-40B4-BE49-F238E27FC236}">
                    <a16:creationId xmlns:a16="http://schemas.microsoft.com/office/drawing/2014/main" id="{9DA34BF3-32C6-6148-A27D-B4AC65BBDEAD}"/>
                  </a:ext>
                </a:extLst>
              </p:cNvPr>
              <p:cNvSpPr>
                <a:spLocks noChangeShapeType="1"/>
              </p:cNvSpPr>
              <p:nvPr/>
            </p:nvSpPr>
            <p:spPr bwMode="auto">
              <a:xfrm>
                <a:off x="712" y="1451"/>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46" name="Line 204">
                <a:extLst>
                  <a:ext uri="{FF2B5EF4-FFF2-40B4-BE49-F238E27FC236}">
                    <a16:creationId xmlns:a16="http://schemas.microsoft.com/office/drawing/2014/main" id="{F3080A18-C48E-704E-8EB2-F52EEE6A8528}"/>
                  </a:ext>
                </a:extLst>
              </p:cNvPr>
              <p:cNvSpPr>
                <a:spLocks noChangeShapeType="1"/>
              </p:cNvSpPr>
              <p:nvPr/>
            </p:nvSpPr>
            <p:spPr bwMode="auto">
              <a:xfrm>
                <a:off x="712" y="1495"/>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47" name="Line 205">
                <a:extLst>
                  <a:ext uri="{FF2B5EF4-FFF2-40B4-BE49-F238E27FC236}">
                    <a16:creationId xmlns:a16="http://schemas.microsoft.com/office/drawing/2014/main" id="{88F4E5D1-DF8B-6A46-9B68-01BD5BCC3348}"/>
                  </a:ext>
                </a:extLst>
              </p:cNvPr>
              <p:cNvSpPr>
                <a:spLocks noChangeShapeType="1"/>
              </p:cNvSpPr>
              <p:nvPr/>
            </p:nvSpPr>
            <p:spPr bwMode="auto">
              <a:xfrm>
                <a:off x="712" y="1539"/>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48" name="Line 206">
                <a:extLst>
                  <a:ext uri="{FF2B5EF4-FFF2-40B4-BE49-F238E27FC236}">
                    <a16:creationId xmlns:a16="http://schemas.microsoft.com/office/drawing/2014/main" id="{4E280677-13B5-DD48-8D1B-22C7312D2B33}"/>
                  </a:ext>
                </a:extLst>
              </p:cNvPr>
              <p:cNvSpPr>
                <a:spLocks noChangeShapeType="1"/>
              </p:cNvSpPr>
              <p:nvPr/>
            </p:nvSpPr>
            <p:spPr bwMode="auto">
              <a:xfrm>
                <a:off x="712" y="1584"/>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49" name="Freeform 207">
                <a:extLst>
                  <a:ext uri="{FF2B5EF4-FFF2-40B4-BE49-F238E27FC236}">
                    <a16:creationId xmlns:a16="http://schemas.microsoft.com/office/drawing/2014/main" id="{E089E9D4-4131-B14F-9CF1-303F26F49B99}"/>
                  </a:ext>
                </a:extLst>
              </p:cNvPr>
              <p:cNvSpPr>
                <a:spLocks/>
              </p:cNvSpPr>
              <p:nvPr/>
            </p:nvSpPr>
            <p:spPr bwMode="auto">
              <a:xfrm>
                <a:off x="846" y="1416"/>
                <a:ext cx="148"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0" name="Line 208">
                <a:extLst>
                  <a:ext uri="{FF2B5EF4-FFF2-40B4-BE49-F238E27FC236}">
                    <a16:creationId xmlns:a16="http://schemas.microsoft.com/office/drawing/2014/main" id="{F669F892-CF5F-B247-AA0E-5DA9F945AECB}"/>
                  </a:ext>
                </a:extLst>
              </p:cNvPr>
              <p:cNvSpPr>
                <a:spLocks noChangeShapeType="1"/>
              </p:cNvSpPr>
              <p:nvPr/>
            </p:nvSpPr>
            <p:spPr bwMode="auto">
              <a:xfrm>
                <a:off x="88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1" name="Line 209">
                <a:extLst>
                  <a:ext uri="{FF2B5EF4-FFF2-40B4-BE49-F238E27FC236}">
                    <a16:creationId xmlns:a16="http://schemas.microsoft.com/office/drawing/2014/main" id="{00EA98E0-C866-F942-9FE2-9B93889A2C75}"/>
                  </a:ext>
                </a:extLst>
              </p:cNvPr>
              <p:cNvSpPr>
                <a:spLocks noChangeShapeType="1"/>
              </p:cNvSpPr>
              <p:nvPr/>
            </p:nvSpPr>
            <p:spPr bwMode="auto">
              <a:xfrm>
                <a:off x="88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2" name="Line 210">
                <a:extLst>
                  <a:ext uri="{FF2B5EF4-FFF2-40B4-BE49-F238E27FC236}">
                    <a16:creationId xmlns:a16="http://schemas.microsoft.com/office/drawing/2014/main" id="{31A9A4B1-AD5A-4247-8418-481D1D1E101D}"/>
                  </a:ext>
                </a:extLst>
              </p:cNvPr>
              <p:cNvSpPr>
                <a:spLocks noChangeShapeType="1"/>
              </p:cNvSpPr>
              <p:nvPr/>
            </p:nvSpPr>
            <p:spPr bwMode="auto">
              <a:xfrm>
                <a:off x="88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3" name="Line 211">
                <a:extLst>
                  <a:ext uri="{FF2B5EF4-FFF2-40B4-BE49-F238E27FC236}">
                    <a16:creationId xmlns:a16="http://schemas.microsoft.com/office/drawing/2014/main" id="{C9FD112C-30F5-F342-9539-113D273E88FB}"/>
                  </a:ext>
                </a:extLst>
              </p:cNvPr>
              <p:cNvSpPr>
                <a:spLocks noChangeShapeType="1"/>
              </p:cNvSpPr>
              <p:nvPr/>
            </p:nvSpPr>
            <p:spPr bwMode="auto">
              <a:xfrm>
                <a:off x="88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4" name="Line 212">
                <a:extLst>
                  <a:ext uri="{FF2B5EF4-FFF2-40B4-BE49-F238E27FC236}">
                    <a16:creationId xmlns:a16="http://schemas.microsoft.com/office/drawing/2014/main" id="{6A071C39-3616-C941-8FA0-668B6897CE12}"/>
                  </a:ext>
                </a:extLst>
              </p:cNvPr>
              <p:cNvSpPr>
                <a:spLocks noChangeShapeType="1"/>
              </p:cNvSpPr>
              <p:nvPr/>
            </p:nvSpPr>
            <p:spPr bwMode="auto">
              <a:xfrm>
                <a:off x="88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5" name="Freeform 213">
                <a:extLst>
                  <a:ext uri="{FF2B5EF4-FFF2-40B4-BE49-F238E27FC236}">
                    <a16:creationId xmlns:a16="http://schemas.microsoft.com/office/drawing/2014/main" id="{D59AEE97-D97B-FD4F-A95D-3BC7BFA74B60}"/>
                  </a:ext>
                </a:extLst>
              </p:cNvPr>
              <p:cNvSpPr>
                <a:spLocks/>
              </p:cNvSpPr>
              <p:nvPr/>
            </p:nvSpPr>
            <p:spPr bwMode="auto">
              <a:xfrm>
                <a:off x="336" y="1416"/>
                <a:ext cx="149"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6" name="Line 214">
                <a:extLst>
                  <a:ext uri="{FF2B5EF4-FFF2-40B4-BE49-F238E27FC236}">
                    <a16:creationId xmlns:a16="http://schemas.microsoft.com/office/drawing/2014/main" id="{921F4197-5D07-5C40-B65C-34FFECC6E350}"/>
                  </a:ext>
                </a:extLst>
              </p:cNvPr>
              <p:cNvSpPr>
                <a:spLocks noChangeShapeType="1"/>
              </p:cNvSpPr>
              <p:nvPr/>
            </p:nvSpPr>
            <p:spPr bwMode="auto">
              <a:xfrm>
                <a:off x="37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7" name="Line 215">
                <a:extLst>
                  <a:ext uri="{FF2B5EF4-FFF2-40B4-BE49-F238E27FC236}">
                    <a16:creationId xmlns:a16="http://schemas.microsoft.com/office/drawing/2014/main" id="{26EEED77-589A-2A42-AECE-9FF7FC3BE48E}"/>
                  </a:ext>
                </a:extLst>
              </p:cNvPr>
              <p:cNvSpPr>
                <a:spLocks noChangeShapeType="1"/>
              </p:cNvSpPr>
              <p:nvPr/>
            </p:nvSpPr>
            <p:spPr bwMode="auto">
              <a:xfrm>
                <a:off x="37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8" name="Line 216">
                <a:extLst>
                  <a:ext uri="{FF2B5EF4-FFF2-40B4-BE49-F238E27FC236}">
                    <a16:creationId xmlns:a16="http://schemas.microsoft.com/office/drawing/2014/main" id="{1A3BC0AA-6CA1-1642-B181-768163AB4002}"/>
                  </a:ext>
                </a:extLst>
              </p:cNvPr>
              <p:cNvSpPr>
                <a:spLocks noChangeShapeType="1"/>
              </p:cNvSpPr>
              <p:nvPr/>
            </p:nvSpPr>
            <p:spPr bwMode="auto">
              <a:xfrm>
                <a:off x="37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59" name="Line 217">
                <a:extLst>
                  <a:ext uri="{FF2B5EF4-FFF2-40B4-BE49-F238E27FC236}">
                    <a16:creationId xmlns:a16="http://schemas.microsoft.com/office/drawing/2014/main" id="{3FC0BEE0-35AE-6E4E-8A7F-9DFACC06005A}"/>
                  </a:ext>
                </a:extLst>
              </p:cNvPr>
              <p:cNvSpPr>
                <a:spLocks noChangeShapeType="1"/>
              </p:cNvSpPr>
              <p:nvPr/>
            </p:nvSpPr>
            <p:spPr bwMode="auto">
              <a:xfrm>
                <a:off x="37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sp>
            <p:nvSpPr>
              <p:cNvPr id="60" name="Line 218">
                <a:extLst>
                  <a:ext uri="{FF2B5EF4-FFF2-40B4-BE49-F238E27FC236}">
                    <a16:creationId xmlns:a16="http://schemas.microsoft.com/office/drawing/2014/main" id="{BE3F822C-EFF2-014A-B25A-8A28F222BE97}"/>
                  </a:ext>
                </a:extLst>
              </p:cNvPr>
              <p:cNvSpPr>
                <a:spLocks noChangeShapeType="1"/>
              </p:cNvSpPr>
              <p:nvPr/>
            </p:nvSpPr>
            <p:spPr bwMode="auto">
              <a:xfrm>
                <a:off x="37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iscoSansTT ExtraLight"/>
                  <a:ea typeface="ＭＳ Ｐゴシック" charset="0"/>
                  <a:cs typeface="+mn-cs"/>
                </a:endParaRPr>
              </a:p>
            </p:txBody>
          </p:sp>
        </p:grpSp>
        <p:sp>
          <p:nvSpPr>
            <p:cNvPr id="9" name="Rectangle 8"/>
            <p:cNvSpPr/>
            <p:nvPr/>
          </p:nvSpPr>
          <p:spPr>
            <a:xfrm>
              <a:off x="2857109" y="1409198"/>
              <a:ext cx="2886044" cy="151688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 name="Rectangle 10"/>
            <p:cNvSpPr/>
            <p:nvPr/>
          </p:nvSpPr>
          <p:spPr>
            <a:xfrm>
              <a:off x="2950263" y="1497660"/>
              <a:ext cx="2743274" cy="1132618"/>
            </a:xfrm>
            <a:prstGeom prst="rect">
              <a:avLst/>
            </a:prstGeom>
          </p:spPr>
          <p:txBody>
            <a:bodyPr wrap="square">
              <a:spAutoFit/>
            </a:bodyPr>
            <a:lstStyle/>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New IOS-XR capability</a:t>
              </a:r>
            </a:p>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Software licenses used to add capacity as needed</a:t>
              </a:r>
            </a:p>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Simplified license tracking</a:t>
              </a:r>
            </a:p>
          </p:txBody>
        </p:sp>
        <p:sp>
          <p:nvSpPr>
            <p:cNvPr id="76" name="Rectangle 75"/>
            <p:cNvSpPr/>
            <p:nvPr/>
          </p:nvSpPr>
          <p:spPr>
            <a:xfrm>
              <a:off x="2950263" y="991956"/>
              <a:ext cx="2591743" cy="3693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
                  <a:srgbClr val="00BCEB">
                    <a:lumMod val="20000"/>
                    <a:lumOff val="80000"/>
                  </a:srgbClr>
                </a:buClr>
                <a:buSzPct val="80000"/>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What is it?</a:t>
              </a:r>
            </a:p>
          </p:txBody>
        </p:sp>
      </p:grpSp>
      <p:grpSp>
        <p:nvGrpSpPr>
          <p:cNvPr id="14" name="Group 13"/>
          <p:cNvGrpSpPr/>
          <p:nvPr/>
        </p:nvGrpSpPr>
        <p:grpSpPr>
          <a:xfrm>
            <a:off x="5897210" y="908715"/>
            <a:ext cx="2886044" cy="2017364"/>
            <a:chOff x="5897210" y="908715"/>
            <a:chExt cx="2886044" cy="2017364"/>
          </a:xfrm>
        </p:grpSpPr>
        <p:sp>
          <p:nvSpPr>
            <p:cNvPr id="77" name="Rectangle 76"/>
            <p:cNvSpPr/>
            <p:nvPr/>
          </p:nvSpPr>
          <p:spPr>
            <a:xfrm>
              <a:off x="5897210" y="908715"/>
              <a:ext cx="2886044" cy="500483"/>
            </a:xfrm>
            <a:prstGeom prst="rect">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9" name="Rectangle 108"/>
            <p:cNvSpPr/>
            <p:nvPr/>
          </p:nvSpPr>
          <p:spPr>
            <a:xfrm>
              <a:off x="5897210" y="1409198"/>
              <a:ext cx="2886044" cy="1516881"/>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0" name="Rectangle 109"/>
            <p:cNvSpPr/>
            <p:nvPr/>
          </p:nvSpPr>
          <p:spPr>
            <a:xfrm>
              <a:off x="5990364" y="1497660"/>
              <a:ext cx="2743274" cy="1354217"/>
            </a:xfrm>
            <a:prstGeom prst="rect">
              <a:avLst/>
            </a:prstGeom>
          </p:spPr>
          <p:txBody>
            <a:bodyPr wrap="square">
              <a:spAutoFit/>
            </a:bodyPr>
            <a:lstStyle/>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Deploy router with minimum software fill-rate</a:t>
              </a:r>
            </a:p>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Easily add capacity as demand increases</a:t>
              </a:r>
            </a:p>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Global network visibility</a:t>
              </a:r>
            </a:p>
          </p:txBody>
        </p:sp>
        <p:sp>
          <p:nvSpPr>
            <p:cNvPr id="111" name="Rectangle 110"/>
            <p:cNvSpPr/>
            <p:nvPr/>
          </p:nvSpPr>
          <p:spPr>
            <a:xfrm>
              <a:off x="5990364" y="991956"/>
              <a:ext cx="2591743" cy="3693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
                  <a:srgbClr val="00BCEB">
                    <a:lumMod val="20000"/>
                    <a:lumOff val="80000"/>
                  </a:srgbClr>
                </a:buClr>
                <a:buSzPct val="80000"/>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How does it work?</a:t>
              </a:r>
            </a:p>
          </p:txBody>
        </p:sp>
        <p:pic>
          <p:nvPicPr>
            <p:cNvPr id="65" name="Picture 64">
              <a:extLst>
                <a:ext uri="{FF2B5EF4-FFF2-40B4-BE49-F238E27FC236}">
                  <a16:creationId xmlns:a16="http://schemas.microsoft.com/office/drawing/2014/main" id="{D875EF01-843D-844B-9B80-F564B9F3147D}"/>
                </a:ext>
              </a:extLst>
            </p:cNvPr>
            <p:cNvPicPr>
              <a:picLocks noChangeAspect="1"/>
            </p:cNvPicPr>
            <p:nvPr/>
          </p:nvPicPr>
          <p:blipFill>
            <a:blip r:embed="rId4"/>
            <a:stretch>
              <a:fillRect/>
            </a:stretch>
          </p:blipFill>
          <p:spPr>
            <a:xfrm>
              <a:off x="8325556" y="996000"/>
              <a:ext cx="347579" cy="334808"/>
            </a:xfrm>
            <a:prstGeom prst="rect">
              <a:avLst/>
            </a:prstGeom>
            <a:ln>
              <a:noFill/>
            </a:ln>
          </p:spPr>
        </p:pic>
      </p:grpSp>
      <p:grpSp>
        <p:nvGrpSpPr>
          <p:cNvPr id="15" name="Group 14"/>
          <p:cNvGrpSpPr/>
          <p:nvPr/>
        </p:nvGrpSpPr>
        <p:grpSpPr>
          <a:xfrm>
            <a:off x="2905241" y="3024167"/>
            <a:ext cx="2886044" cy="2017364"/>
            <a:chOff x="2857109" y="3064277"/>
            <a:chExt cx="2886044" cy="2017364"/>
          </a:xfrm>
        </p:grpSpPr>
        <p:sp>
          <p:nvSpPr>
            <p:cNvPr id="112" name="Rectangle 111"/>
            <p:cNvSpPr/>
            <p:nvPr/>
          </p:nvSpPr>
          <p:spPr>
            <a:xfrm>
              <a:off x="2857109" y="3064277"/>
              <a:ext cx="2886044" cy="50048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8" name="Rectangle 137"/>
            <p:cNvSpPr/>
            <p:nvPr/>
          </p:nvSpPr>
          <p:spPr>
            <a:xfrm>
              <a:off x="2857109" y="3564760"/>
              <a:ext cx="2886044" cy="1516881"/>
            </a:xfrm>
            <a:prstGeom prst="rect">
              <a:avLst/>
            </a:prstGeom>
            <a:solidFill>
              <a:srgbClr val="008D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9" name="Rectangle 138"/>
            <p:cNvSpPr/>
            <p:nvPr/>
          </p:nvSpPr>
          <p:spPr>
            <a:xfrm>
              <a:off x="2950263" y="3593596"/>
              <a:ext cx="2743274" cy="1431161"/>
            </a:xfrm>
            <a:prstGeom prst="rect">
              <a:avLst/>
            </a:prstGeom>
          </p:spPr>
          <p:txBody>
            <a:bodyPr wrap="square">
              <a:spAutoFit/>
            </a:bodyPr>
            <a:lstStyle/>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Reduced upfront capital and network-wide pooling</a:t>
              </a:r>
            </a:p>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Software innovation</a:t>
              </a:r>
            </a:p>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Investment protection</a:t>
              </a:r>
            </a:p>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Includes automation tools</a:t>
              </a:r>
            </a:p>
          </p:txBody>
        </p:sp>
        <p:sp>
          <p:nvSpPr>
            <p:cNvPr id="140" name="Rectangle 139"/>
            <p:cNvSpPr/>
            <p:nvPr/>
          </p:nvSpPr>
          <p:spPr>
            <a:xfrm>
              <a:off x="2950263" y="3147518"/>
              <a:ext cx="2591743" cy="3693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
                  <a:srgbClr val="00BCEB">
                    <a:lumMod val="20000"/>
                    <a:lumOff val="80000"/>
                  </a:srgbClr>
                </a:buClr>
                <a:buSzPct val="80000"/>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Why use it?</a:t>
              </a:r>
            </a:p>
          </p:txBody>
        </p:sp>
        <p:grpSp>
          <p:nvGrpSpPr>
            <p:cNvPr id="170" name="Group 24"/>
            <p:cNvGrpSpPr>
              <a:grpSpLocks noChangeAspect="1"/>
            </p:cNvGrpSpPr>
            <p:nvPr/>
          </p:nvGrpSpPr>
          <p:grpSpPr bwMode="auto">
            <a:xfrm>
              <a:off x="4978641" y="3137358"/>
              <a:ext cx="515528" cy="364944"/>
              <a:chOff x="2902" y="2096"/>
              <a:chExt cx="873" cy="618"/>
            </a:xfrm>
          </p:grpSpPr>
          <p:sp>
            <p:nvSpPr>
              <p:cNvPr id="171" name="Freeform 25"/>
              <p:cNvSpPr>
                <a:spLocks noEditPoints="1"/>
              </p:cNvSpPr>
              <p:nvPr/>
            </p:nvSpPr>
            <p:spPr bwMode="auto">
              <a:xfrm>
                <a:off x="3155" y="2096"/>
                <a:ext cx="367" cy="264"/>
              </a:xfrm>
              <a:custGeom>
                <a:avLst/>
                <a:gdLst>
                  <a:gd name="T0" fmla="*/ 42 w 299"/>
                  <a:gd name="T1" fmla="*/ 220 h 220"/>
                  <a:gd name="T2" fmla="*/ 80 w 299"/>
                  <a:gd name="T3" fmla="*/ 220 h 220"/>
                  <a:gd name="T4" fmla="*/ 111 w 299"/>
                  <a:gd name="T5" fmla="*/ 220 h 220"/>
                  <a:gd name="T6" fmla="*/ 188 w 299"/>
                  <a:gd name="T7" fmla="*/ 220 h 220"/>
                  <a:gd name="T8" fmla="*/ 220 w 299"/>
                  <a:gd name="T9" fmla="*/ 220 h 220"/>
                  <a:gd name="T10" fmla="*/ 258 w 299"/>
                  <a:gd name="T11" fmla="*/ 220 h 220"/>
                  <a:gd name="T12" fmla="*/ 299 w 299"/>
                  <a:gd name="T13" fmla="*/ 172 h 220"/>
                  <a:gd name="T14" fmla="*/ 299 w 299"/>
                  <a:gd name="T15" fmla="*/ 169 h 220"/>
                  <a:gd name="T16" fmla="*/ 299 w 299"/>
                  <a:gd name="T17" fmla="*/ 151 h 220"/>
                  <a:gd name="T18" fmla="*/ 299 w 299"/>
                  <a:gd name="T19" fmla="*/ 47 h 220"/>
                  <a:gd name="T20" fmla="*/ 258 w 299"/>
                  <a:gd name="T21" fmla="*/ 0 h 220"/>
                  <a:gd name="T22" fmla="*/ 42 w 299"/>
                  <a:gd name="T23" fmla="*/ 0 h 220"/>
                  <a:gd name="T24" fmla="*/ 0 w 299"/>
                  <a:gd name="T25" fmla="*/ 47 h 220"/>
                  <a:gd name="T26" fmla="*/ 0 w 299"/>
                  <a:gd name="T27" fmla="*/ 151 h 220"/>
                  <a:gd name="T28" fmla="*/ 0 w 299"/>
                  <a:gd name="T29" fmla="*/ 169 h 220"/>
                  <a:gd name="T30" fmla="*/ 0 w 299"/>
                  <a:gd name="T31" fmla="*/ 172 h 220"/>
                  <a:gd name="T32" fmla="*/ 42 w 299"/>
                  <a:gd name="T33" fmla="*/ 220 h 220"/>
                  <a:gd name="T34" fmla="*/ 35 w 299"/>
                  <a:gd name="T35" fmla="*/ 59 h 220"/>
                  <a:gd name="T36" fmla="*/ 51 w 299"/>
                  <a:gd name="T37" fmla="*/ 41 h 220"/>
                  <a:gd name="T38" fmla="*/ 248 w 299"/>
                  <a:gd name="T39" fmla="*/ 41 h 220"/>
                  <a:gd name="T40" fmla="*/ 264 w 299"/>
                  <a:gd name="T41" fmla="*/ 59 h 220"/>
                  <a:gd name="T42" fmla="*/ 264 w 299"/>
                  <a:gd name="T43" fmla="*/ 181 h 220"/>
                  <a:gd name="T44" fmla="*/ 35 w 299"/>
                  <a:gd name="T45" fmla="*/ 181 h 220"/>
                  <a:gd name="T46" fmla="*/ 35 w 299"/>
                  <a:gd name="T47" fmla="*/ 5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9" h="220">
                    <a:moveTo>
                      <a:pt x="42" y="220"/>
                    </a:moveTo>
                    <a:cubicBezTo>
                      <a:pt x="80" y="220"/>
                      <a:pt x="80" y="220"/>
                      <a:pt x="80" y="220"/>
                    </a:cubicBezTo>
                    <a:cubicBezTo>
                      <a:pt x="111" y="220"/>
                      <a:pt x="111" y="220"/>
                      <a:pt x="111" y="220"/>
                    </a:cubicBezTo>
                    <a:cubicBezTo>
                      <a:pt x="188" y="220"/>
                      <a:pt x="188" y="220"/>
                      <a:pt x="188" y="220"/>
                    </a:cubicBezTo>
                    <a:cubicBezTo>
                      <a:pt x="220" y="220"/>
                      <a:pt x="220" y="220"/>
                      <a:pt x="220" y="220"/>
                    </a:cubicBezTo>
                    <a:cubicBezTo>
                      <a:pt x="258" y="220"/>
                      <a:pt x="258" y="220"/>
                      <a:pt x="258" y="220"/>
                    </a:cubicBezTo>
                    <a:cubicBezTo>
                      <a:pt x="281" y="220"/>
                      <a:pt x="299" y="198"/>
                      <a:pt x="299" y="172"/>
                    </a:cubicBezTo>
                    <a:cubicBezTo>
                      <a:pt x="299" y="169"/>
                      <a:pt x="299" y="169"/>
                      <a:pt x="299" y="169"/>
                    </a:cubicBezTo>
                    <a:cubicBezTo>
                      <a:pt x="299" y="151"/>
                      <a:pt x="299" y="151"/>
                      <a:pt x="299" y="151"/>
                    </a:cubicBezTo>
                    <a:cubicBezTo>
                      <a:pt x="299" y="47"/>
                      <a:pt x="299" y="47"/>
                      <a:pt x="299" y="47"/>
                    </a:cubicBezTo>
                    <a:cubicBezTo>
                      <a:pt x="299" y="21"/>
                      <a:pt x="281" y="0"/>
                      <a:pt x="258" y="0"/>
                    </a:cubicBezTo>
                    <a:cubicBezTo>
                      <a:pt x="42" y="0"/>
                      <a:pt x="42" y="0"/>
                      <a:pt x="42" y="0"/>
                    </a:cubicBezTo>
                    <a:cubicBezTo>
                      <a:pt x="19" y="0"/>
                      <a:pt x="0" y="21"/>
                      <a:pt x="0" y="47"/>
                    </a:cubicBezTo>
                    <a:cubicBezTo>
                      <a:pt x="0" y="151"/>
                      <a:pt x="0" y="151"/>
                      <a:pt x="0" y="151"/>
                    </a:cubicBezTo>
                    <a:cubicBezTo>
                      <a:pt x="0" y="169"/>
                      <a:pt x="0" y="169"/>
                      <a:pt x="0" y="169"/>
                    </a:cubicBezTo>
                    <a:cubicBezTo>
                      <a:pt x="0" y="172"/>
                      <a:pt x="0" y="172"/>
                      <a:pt x="0" y="172"/>
                    </a:cubicBezTo>
                    <a:cubicBezTo>
                      <a:pt x="0" y="198"/>
                      <a:pt x="19" y="220"/>
                      <a:pt x="42" y="220"/>
                    </a:cubicBezTo>
                    <a:close/>
                    <a:moveTo>
                      <a:pt x="35" y="59"/>
                    </a:moveTo>
                    <a:cubicBezTo>
                      <a:pt x="35" y="49"/>
                      <a:pt x="42" y="41"/>
                      <a:pt x="51" y="41"/>
                    </a:cubicBezTo>
                    <a:cubicBezTo>
                      <a:pt x="248" y="41"/>
                      <a:pt x="248" y="41"/>
                      <a:pt x="248" y="41"/>
                    </a:cubicBezTo>
                    <a:cubicBezTo>
                      <a:pt x="257" y="41"/>
                      <a:pt x="264" y="49"/>
                      <a:pt x="264" y="59"/>
                    </a:cubicBezTo>
                    <a:cubicBezTo>
                      <a:pt x="264" y="181"/>
                      <a:pt x="264" y="181"/>
                      <a:pt x="264" y="181"/>
                    </a:cubicBezTo>
                    <a:cubicBezTo>
                      <a:pt x="35" y="181"/>
                      <a:pt x="35" y="181"/>
                      <a:pt x="35" y="181"/>
                    </a:cubicBezTo>
                    <a:lnTo>
                      <a:pt x="35" y="59"/>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2" name="Freeform 26"/>
              <p:cNvSpPr>
                <a:spLocks/>
              </p:cNvSpPr>
              <p:nvPr/>
            </p:nvSpPr>
            <p:spPr bwMode="auto">
              <a:xfrm>
                <a:off x="2902" y="2206"/>
                <a:ext cx="873" cy="233"/>
              </a:xfrm>
              <a:custGeom>
                <a:avLst/>
                <a:gdLst>
                  <a:gd name="T0" fmla="*/ 711 w 711"/>
                  <a:gd name="T1" fmla="*/ 126 h 194"/>
                  <a:gd name="T2" fmla="*/ 711 w 711"/>
                  <a:gd name="T3" fmla="*/ 44 h 194"/>
                  <a:gd name="T4" fmla="*/ 666 w 711"/>
                  <a:gd name="T5" fmla="*/ 0 h 194"/>
                  <a:gd name="T6" fmla="*/ 45 w 711"/>
                  <a:gd name="T7" fmla="*/ 0 h 194"/>
                  <a:gd name="T8" fmla="*/ 0 w 711"/>
                  <a:gd name="T9" fmla="*/ 44 h 194"/>
                  <a:gd name="T10" fmla="*/ 0 w 711"/>
                  <a:gd name="T11" fmla="*/ 126 h 194"/>
                  <a:gd name="T12" fmla="*/ 351 w 711"/>
                  <a:gd name="T13" fmla="*/ 194 h 194"/>
                  <a:gd name="T14" fmla="*/ 711 w 711"/>
                  <a:gd name="T15" fmla="*/ 126 h 1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1" h="194">
                    <a:moveTo>
                      <a:pt x="711" y="126"/>
                    </a:moveTo>
                    <a:cubicBezTo>
                      <a:pt x="711" y="44"/>
                      <a:pt x="711" y="44"/>
                      <a:pt x="711" y="44"/>
                    </a:cubicBezTo>
                    <a:cubicBezTo>
                      <a:pt x="711" y="20"/>
                      <a:pt x="691" y="0"/>
                      <a:pt x="666" y="0"/>
                    </a:cubicBezTo>
                    <a:cubicBezTo>
                      <a:pt x="45" y="0"/>
                      <a:pt x="45" y="0"/>
                      <a:pt x="45" y="0"/>
                    </a:cubicBezTo>
                    <a:cubicBezTo>
                      <a:pt x="20" y="0"/>
                      <a:pt x="0" y="20"/>
                      <a:pt x="0" y="44"/>
                    </a:cubicBezTo>
                    <a:cubicBezTo>
                      <a:pt x="0" y="126"/>
                      <a:pt x="0" y="126"/>
                      <a:pt x="0" y="126"/>
                    </a:cubicBezTo>
                    <a:cubicBezTo>
                      <a:pt x="351" y="194"/>
                      <a:pt x="351" y="194"/>
                      <a:pt x="351" y="194"/>
                    </a:cubicBezTo>
                    <a:lnTo>
                      <a:pt x="711" y="126"/>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3" name="Freeform 27"/>
              <p:cNvSpPr>
                <a:spLocks/>
              </p:cNvSpPr>
              <p:nvPr/>
            </p:nvSpPr>
            <p:spPr bwMode="auto">
              <a:xfrm>
                <a:off x="2902" y="2397"/>
                <a:ext cx="873" cy="317"/>
              </a:xfrm>
              <a:custGeom>
                <a:avLst/>
                <a:gdLst>
                  <a:gd name="T0" fmla="*/ 0 w 711"/>
                  <a:gd name="T1" fmla="*/ 0 h 264"/>
                  <a:gd name="T2" fmla="*/ 0 w 711"/>
                  <a:gd name="T3" fmla="*/ 219 h 264"/>
                  <a:gd name="T4" fmla="*/ 45 w 711"/>
                  <a:gd name="T5" fmla="*/ 264 h 264"/>
                  <a:gd name="T6" fmla="*/ 666 w 711"/>
                  <a:gd name="T7" fmla="*/ 264 h 264"/>
                  <a:gd name="T8" fmla="*/ 711 w 711"/>
                  <a:gd name="T9" fmla="*/ 219 h 264"/>
                  <a:gd name="T10" fmla="*/ 711 w 711"/>
                  <a:gd name="T11" fmla="*/ 0 h 264"/>
                  <a:gd name="T12" fmla="*/ 352 w 711"/>
                  <a:gd name="T13" fmla="*/ 68 h 264"/>
                  <a:gd name="T14" fmla="*/ 0 w 711"/>
                  <a:gd name="T15" fmla="*/ 0 h 2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1" h="264">
                    <a:moveTo>
                      <a:pt x="0" y="0"/>
                    </a:moveTo>
                    <a:cubicBezTo>
                      <a:pt x="0" y="219"/>
                      <a:pt x="0" y="219"/>
                      <a:pt x="0" y="219"/>
                    </a:cubicBezTo>
                    <a:cubicBezTo>
                      <a:pt x="0" y="244"/>
                      <a:pt x="20" y="264"/>
                      <a:pt x="45" y="264"/>
                    </a:cubicBezTo>
                    <a:cubicBezTo>
                      <a:pt x="666" y="264"/>
                      <a:pt x="666" y="264"/>
                      <a:pt x="666" y="264"/>
                    </a:cubicBezTo>
                    <a:cubicBezTo>
                      <a:pt x="691" y="264"/>
                      <a:pt x="711" y="244"/>
                      <a:pt x="711" y="219"/>
                    </a:cubicBezTo>
                    <a:cubicBezTo>
                      <a:pt x="711" y="0"/>
                      <a:pt x="711" y="0"/>
                      <a:pt x="711" y="0"/>
                    </a:cubicBezTo>
                    <a:cubicBezTo>
                      <a:pt x="352" y="68"/>
                      <a:pt x="352" y="68"/>
                      <a:pt x="352" y="68"/>
                    </a:cubicBezTo>
                    <a:lnTo>
                      <a:pt x="0"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4" name="Freeform 28"/>
              <p:cNvSpPr>
                <a:spLocks/>
              </p:cNvSpPr>
              <p:nvPr/>
            </p:nvSpPr>
            <p:spPr bwMode="auto">
              <a:xfrm>
                <a:off x="3296" y="2401"/>
                <a:ext cx="75" cy="99"/>
              </a:xfrm>
              <a:custGeom>
                <a:avLst/>
                <a:gdLst>
                  <a:gd name="T0" fmla="*/ 45 w 61"/>
                  <a:gd name="T1" fmla="*/ 83 h 83"/>
                  <a:gd name="T2" fmla="*/ 15 w 61"/>
                  <a:gd name="T3" fmla="*/ 83 h 83"/>
                  <a:gd name="T4" fmla="*/ 0 w 61"/>
                  <a:gd name="T5" fmla="*/ 68 h 83"/>
                  <a:gd name="T6" fmla="*/ 0 w 61"/>
                  <a:gd name="T7" fmla="*/ 15 h 83"/>
                  <a:gd name="T8" fmla="*/ 15 w 61"/>
                  <a:gd name="T9" fmla="*/ 0 h 83"/>
                  <a:gd name="T10" fmla="*/ 45 w 61"/>
                  <a:gd name="T11" fmla="*/ 0 h 83"/>
                  <a:gd name="T12" fmla="*/ 61 w 61"/>
                  <a:gd name="T13" fmla="*/ 15 h 83"/>
                  <a:gd name="T14" fmla="*/ 61 w 61"/>
                  <a:gd name="T15" fmla="*/ 68 h 83"/>
                  <a:gd name="T16" fmla="*/ 45 w 61"/>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83">
                    <a:moveTo>
                      <a:pt x="45" y="83"/>
                    </a:moveTo>
                    <a:cubicBezTo>
                      <a:pt x="15" y="83"/>
                      <a:pt x="15" y="83"/>
                      <a:pt x="15" y="83"/>
                    </a:cubicBezTo>
                    <a:cubicBezTo>
                      <a:pt x="7" y="83"/>
                      <a:pt x="0" y="76"/>
                      <a:pt x="0" y="68"/>
                    </a:cubicBezTo>
                    <a:cubicBezTo>
                      <a:pt x="0" y="15"/>
                      <a:pt x="0" y="15"/>
                      <a:pt x="0" y="15"/>
                    </a:cubicBezTo>
                    <a:cubicBezTo>
                      <a:pt x="0" y="7"/>
                      <a:pt x="7" y="0"/>
                      <a:pt x="15" y="0"/>
                    </a:cubicBezTo>
                    <a:cubicBezTo>
                      <a:pt x="45" y="0"/>
                      <a:pt x="45" y="0"/>
                      <a:pt x="45" y="0"/>
                    </a:cubicBezTo>
                    <a:cubicBezTo>
                      <a:pt x="54" y="0"/>
                      <a:pt x="61" y="7"/>
                      <a:pt x="61" y="15"/>
                    </a:cubicBezTo>
                    <a:cubicBezTo>
                      <a:pt x="61" y="68"/>
                      <a:pt x="61" y="68"/>
                      <a:pt x="61" y="68"/>
                    </a:cubicBezTo>
                    <a:cubicBezTo>
                      <a:pt x="61" y="76"/>
                      <a:pt x="54" y="83"/>
                      <a:pt x="45" y="8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6" name="Group 15"/>
          <p:cNvGrpSpPr/>
          <p:nvPr/>
        </p:nvGrpSpPr>
        <p:grpSpPr>
          <a:xfrm>
            <a:off x="5897210" y="3024167"/>
            <a:ext cx="2886044" cy="2028191"/>
            <a:chOff x="5897210" y="3064277"/>
            <a:chExt cx="2886044" cy="2028191"/>
          </a:xfrm>
        </p:grpSpPr>
        <p:sp>
          <p:nvSpPr>
            <p:cNvPr id="141" name="Rectangle 140"/>
            <p:cNvSpPr/>
            <p:nvPr/>
          </p:nvSpPr>
          <p:spPr>
            <a:xfrm>
              <a:off x="5897210" y="3064277"/>
              <a:ext cx="2886044" cy="500483"/>
            </a:xfrm>
            <a:prstGeom prst="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7" name="Rectangle 166"/>
            <p:cNvSpPr/>
            <p:nvPr/>
          </p:nvSpPr>
          <p:spPr>
            <a:xfrm>
              <a:off x="5897210" y="3564760"/>
              <a:ext cx="2886044" cy="1516881"/>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8" name="Rectangle 167"/>
            <p:cNvSpPr/>
            <p:nvPr/>
          </p:nvSpPr>
          <p:spPr>
            <a:xfrm>
              <a:off x="5990364" y="3593596"/>
              <a:ext cx="2743274" cy="1498872"/>
            </a:xfrm>
            <a:prstGeom prst="rect">
              <a:avLst/>
            </a:prstGeom>
          </p:spPr>
          <p:txBody>
            <a:bodyPr wrap="square">
              <a:spAutoFit/>
            </a:bodyPr>
            <a:lstStyle/>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On-going software innovation keeps IOS-XR software cutting edge</a:t>
              </a:r>
            </a:p>
            <a:p>
              <a:pPr marL="117475" marR="0" lvl="0" indent="-117475" algn="l" defTabSz="914400" rtl="0" eaLnBrk="1" fontAlgn="auto" latinLnBrk="0" hangingPunct="1">
                <a:lnSpc>
                  <a:spcPct val="90000"/>
                </a:lnSpc>
                <a:spcBef>
                  <a:spcPts val="0"/>
                </a:spcBef>
                <a:spcAft>
                  <a:spcPts val="600"/>
                </a:spcAft>
                <a:buClr>
                  <a:srgbClr val="FFFFFF"/>
                </a:buClr>
                <a:buSzPct val="8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Only Cisco has network-wide pooling, license portability, more visibility</a:t>
              </a:r>
            </a:p>
          </p:txBody>
        </p:sp>
        <p:sp>
          <p:nvSpPr>
            <p:cNvPr id="169" name="Rectangle 168"/>
            <p:cNvSpPr/>
            <p:nvPr/>
          </p:nvSpPr>
          <p:spPr>
            <a:xfrm>
              <a:off x="5990364" y="3147518"/>
              <a:ext cx="2591743" cy="3693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
                  <a:srgbClr val="00BCEB">
                    <a:lumMod val="20000"/>
                    <a:lumOff val="80000"/>
                  </a:srgbClr>
                </a:buClr>
                <a:buSzPct val="80000"/>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Why is it better?</a:t>
              </a:r>
            </a:p>
          </p:txBody>
        </p:sp>
        <p:pic>
          <p:nvPicPr>
            <p:cNvPr id="2" name="Picture 1" descr="Target PNG"/>
            <p:cNvPicPr>
              <a:picLocks noChangeAspect="1"/>
            </p:cNvPicPr>
            <p:nvPr/>
          </p:nvPicPr>
          <p:blipFill>
            <a:blip r:embed="rId5">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8253168" y="3147518"/>
              <a:ext cx="439830" cy="354784"/>
            </a:xfrm>
            <a:prstGeom prst="rect">
              <a:avLst/>
            </a:prstGeom>
          </p:spPr>
        </p:pic>
      </p:grpSp>
    </p:spTree>
    <p:extLst>
      <p:ext uri="{BB962C8B-B14F-4D97-AF65-F5344CB8AC3E}">
        <p14:creationId xmlns:p14="http://schemas.microsoft.com/office/powerpoint/2010/main" val="428847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Optimized IP + Optical Transport</a:t>
            </a:r>
            <a:endParaRPr lang="en-US" dirty="0">
              <a:solidFill>
                <a:srgbClr val="FF0000"/>
              </a:solidFill>
            </a:endParaRPr>
          </a:p>
        </p:txBody>
      </p:sp>
      <p:grpSp>
        <p:nvGrpSpPr>
          <p:cNvPr id="3" name="Group 2">
            <a:extLst>
              <a:ext uri="{FF2B5EF4-FFF2-40B4-BE49-F238E27FC236}">
                <a16:creationId xmlns:a16="http://schemas.microsoft.com/office/drawing/2014/main" id="{14B171A3-DE7C-4969-A919-FA2A017E1134}"/>
              </a:ext>
            </a:extLst>
          </p:cNvPr>
          <p:cNvGrpSpPr/>
          <p:nvPr/>
        </p:nvGrpSpPr>
        <p:grpSpPr>
          <a:xfrm>
            <a:off x="2239219" y="3481266"/>
            <a:ext cx="1260000" cy="924333"/>
            <a:chOff x="2239219" y="3481266"/>
            <a:chExt cx="1260000" cy="924333"/>
          </a:xfrm>
        </p:grpSpPr>
        <p:sp>
          <p:nvSpPr>
            <p:cNvPr id="201" name="Rectangle 200">
              <a:extLst>
                <a:ext uri="{FF2B5EF4-FFF2-40B4-BE49-F238E27FC236}">
                  <a16:creationId xmlns:a16="http://schemas.microsoft.com/office/drawing/2014/main" id="{3EF047EF-11D1-41B6-821C-C8ECA589C835}"/>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ACCESS</a:t>
              </a:r>
            </a:p>
          </p:txBody>
        </p:sp>
        <p:sp>
          <p:nvSpPr>
            <p:cNvPr id="221" name="Rectangle 220">
              <a:extLst>
                <a:ext uri="{FF2B5EF4-FFF2-40B4-BE49-F238E27FC236}">
                  <a16:creationId xmlns:a16="http://schemas.microsoft.com/office/drawing/2014/main" id="{FFC6004D-6F68-45EC-9B4F-319DF8A980D0}"/>
                </a:ext>
              </a:extLst>
            </p:cNvPr>
            <p:cNvSpPr/>
            <p:nvPr/>
          </p:nvSpPr>
          <p:spPr>
            <a:xfrm>
              <a:off x="2239219"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p:txBody>
        </p:sp>
      </p:grpSp>
      <p:grpSp>
        <p:nvGrpSpPr>
          <p:cNvPr id="5" name="Group 4">
            <a:extLst>
              <a:ext uri="{FF2B5EF4-FFF2-40B4-BE49-F238E27FC236}">
                <a16:creationId xmlns:a16="http://schemas.microsoft.com/office/drawing/2014/main" id="{AD2CD189-A6AB-4309-9975-3451F0F33CBC}"/>
              </a:ext>
            </a:extLst>
          </p:cNvPr>
          <p:cNvGrpSpPr/>
          <p:nvPr/>
        </p:nvGrpSpPr>
        <p:grpSpPr>
          <a:xfrm>
            <a:off x="3745220" y="3481266"/>
            <a:ext cx="1260000" cy="924333"/>
            <a:chOff x="3745220" y="3481266"/>
            <a:chExt cx="1260000" cy="924333"/>
          </a:xfrm>
        </p:grpSpPr>
        <p:sp>
          <p:nvSpPr>
            <p:cNvPr id="225" name="Rectangle 224">
              <a:extLst>
                <a:ext uri="{FF2B5EF4-FFF2-40B4-BE49-F238E27FC236}">
                  <a16:creationId xmlns:a16="http://schemas.microsoft.com/office/drawing/2014/main" id="{9549725F-1DCD-4054-A384-BEAD5555E153}"/>
                </a:ext>
              </a:extLst>
            </p:cNvPr>
            <p:cNvSpPr/>
            <p:nvPr/>
          </p:nvSpPr>
          <p:spPr>
            <a:xfrm>
              <a:off x="3768442"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PRE-AGG</a:t>
              </a:r>
            </a:p>
          </p:txBody>
        </p:sp>
        <p:sp>
          <p:nvSpPr>
            <p:cNvPr id="226" name="Rectangle 225">
              <a:extLst>
                <a:ext uri="{FF2B5EF4-FFF2-40B4-BE49-F238E27FC236}">
                  <a16:creationId xmlns:a16="http://schemas.microsoft.com/office/drawing/2014/main" id="{90B8F912-2C94-466B-AA10-D7D51A80AA7D}"/>
                </a:ext>
              </a:extLst>
            </p:cNvPr>
            <p:cNvSpPr/>
            <p:nvPr/>
          </p:nvSpPr>
          <p:spPr>
            <a:xfrm>
              <a:off x="3745220"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5xx</a:t>
              </a:r>
            </a:p>
          </p:txBody>
        </p:sp>
      </p:grpSp>
      <p:grpSp>
        <p:nvGrpSpPr>
          <p:cNvPr id="6" name="Group 5">
            <a:extLst>
              <a:ext uri="{FF2B5EF4-FFF2-40B4-BE49-F238E27FC236}">
                <a16:creationId xmlns:a16="http://schemas.microsoft.com/office/drawing/2014/main" id="{3A9B98AA-0052-4BE2-8635-250E89A90826}"/>
              </a:ext>
            </a:extLst>
          </p:cNvPr>
          <p:cNvGrpSpPr/>
          <p:nvPr/>
        </p:nvGrpSpPr>
        <p:grpSpPr>
          <a:xfrm>
            <a:off x="5251221" y="3481266"/>
            <a:ext cx="1260000" cy="924333"/>
            <a:chOff x="5251221" y="3481266"/>
            <a:chExt cx="1260000" cy="924333"/>
          </a:xfrm>
        </p:grpSpPr>
        <p:sp>
          <p:nvSpPr>
            <p:cNvPr id="227" name="Rectangle 226">
              <a:extLst>
                <a:ext uri="{FF2B5EF4-FFF2-40B4-BE49-F238E27FC236}">
                  <a16:creationId xmlns:a16="http://schemas.microsoft.com/office/drawing/2014/main" id="{2EC7F1FD-2F4E-4C38-BC4B-99C3574F471B}"/>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IP Core</a:t>
              </a:r>
            </a:p>
          </p:txBody>
        </p:sp>
        <p:sp>
          <p:nvSpPr>
            <p:cNvPr id="228" name="Rectangle 227">
              <a:extLst>
                <a:ext uri="{FF2B5EF4-FFF2-40B4-BE49-F238E27FC236}">
                  <a16:creationId xmlns:a16="http://schemas.microsoft.com/office/drawing/2014/main" id="{EF3A3F2A-E60E-43F0-ABFB-48DBCA1F5F2E}"/>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5xx</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00" dirty="0">
                  <a:solidFill>
                    <a:srgbClr val="005073"/>
                  </a:solidFill>
                  <a:latin typeface="CiscoSansTT" panose="020B0503020201020303" pitchFamily="34" charset="0"/>
                  <a:cs typeface="CiscoSansTT" panose="020B0503020201020303" pitchFamily="34" charset="0"/>
                </a:rPr>
                <a:t>ASR9k</a:t>
              </a:r>
              <a:endPar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endParaRPr>
            </a:p>
          </p:txBody>
        </p:sp>
      </p:grpSp>
      <p:grpSp>
        <p:nvGrpSpPr>
          <p:cNvPr id="2" name="Group 1">
            <a:extLst>
              <a:ext uri="{FF2B5EF4-FFF2-40B4-BE49-F238E27FC236}">
                <a16:creationId xmlns:a16="http://schemas.microsoft.com/office/drawing/2014/main" id="{C1DC86CA-08CD-4826-94F1-5C8EB42EFC67}"/>
              </a:ext>
            </a:extLst>
          </p:cNvPr>
          <p:cNvGrpSpPr/>
          <p:nvPr/>
        </p:nvGrpSpPr>
        <p:grpSpPr>
          <a:xfrm>
            <a:off x="733218" y="3481266"/>
            <a:ext cx="1260000" cy="924333"/>
            <a:chOff x="733218" y="3481266"/>
            <a:chExt cx="1260000" cy="924333"/>
          </a:xfrm>
        </p:grpSpPr>
        <p:sp>
          <p:nvSpPr>
            <p:cNvPr id="229" name="Rectangle 228">
              <a:extLst>
                <a:ext uri="{FF2B5EF4-FFF2-40B4-BE49-F238E27FC236}">
                  <a16:creationId xmlns:a16="http://schemas.microsoft.com/office/drawing/2014/main" id="{A075285E-91AD-4310-8CDC-10DBD109C30B}"/>
                </a:ext>
              </a:extLst>
            </p:cNvPr>
            <p:cNvSpPr/>
            <p:nvPr/>
          </p:nvSpPr>
          <p:spPr>
            <a:xfrm>
              <a:off x="733218"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VRAN</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p:txBody>
        </p:sp>
        <p:sp>
          <p:nvSpPr>
            <p:cNvPr id="230" name="Rectangle 229">
              <a:extLst>
                <a:ext uri="{FF2B5EF4-FFF2-40B4-BE49-F238E27FC236}">
                  <a16:creationId xmlns:a16="http://schemas.microsoft.com/office/drawing/2014/main" id="{7A1264B6-D59E-4D6B-989E-30EEC84CA26C}"/>
                </a:ext>
              </a:extLst>
            </p:cNvPr>
            <p:cNvSpPr/>
            <p:nvPr/>
          </p:nvSpPr>
          <p:spPr>
            <a:xfrm>
              <a:off x="752600"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RAN / Cell Rx</a:t>
              </a:r>
              <a:endParaRPr lang="en-US" sz="1000" b="1" dirty="0">
                <a:solidFill>
                  <a:schemeClr val="bg2"/>
                </a:solidFill>
                <a:latin typeface="CiscoSansTT" panose="020B0503020201020303" pitchFamily="34" charset="0"/>
                <a:cs typeface="CiscoSansTT" panose="020B0503020201020303" pitchFamily="34" charset="0"/>
              </a:endParaRPr>
            </a:p>
          </p:txBody>
        </p:sp>
      </p:grpSp>
      <p:grpSp>
        <p:nvGrpSpPr>
          <p:cNvPr id="414" name="Group 413">
            <a:extLst>
              <a:ext uri="{FF2B5EF4-FFF2-40B4-BE49-F238E27FC236}">
                <a16:creationId xmlns:a16="http://schemas.microsoft.com/office/drawing/2014/main" id="{071CB512-0945-485F-ADA9-5E97A8D50389}"/>
              </a:ext>
            </a:extLst>
          </p:cNvPr>
          <p:cNvGrpSpPr/>
          <p:nvPr/>
        </p:nvGrpSpPr>
        <p:grpSpPr>
          <a:xfrm>
            <a:off x="732673" y="1788912"/>
            <a:ext cx="7368255" cy="1567451"/>
            <a:chOff x="732673" y="1788912"/>
            <a:chExt cx="7368255" cy="1567451"/>
          </a:xfrm>
        </p:grpSpPr>
        <p:sp>
          <p:nvSpPr>
            <p:cNvPr id="415" name="Rectangle: Rounded Corners 152">
              <a:extLst>
                <a:ext uri="{FF2B5EF4-FFF2-40B4-BE49-F238E27FC236}">
                  <a16:creationId xmlns:a16="http://schemas.microsoft.com/office/drawing/2014/main" id="{66433419-550A-47AB-8785-816C2443B4E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6" name="Oval 415">
              <a:extLst>
                <a:ext uri="{FF2B5EF4-FFF2-40B4-BE49-F238E27FC236}">
                  <a16:creationId xmlns:a16="http://schemas.microsoft.com/office/drawing/2014/main" id="{A682726D-FB62-4139-A8B8-CE14DC4CFDE3}"/>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7" name="Group 416">
              <a:extLst>
                <a:ext uri="{FF2B5EF4-FFF2-40B4-BE49-F238E27FC236}">
                  <a16:creationId xmlns:a16="http://schemas.microsoft.com/office/drawing/2014/main" id="{2A30886C-70E2-4EE4-B625-E1429A1E714D}"/>
                </a:ext>
              </a:extLst>
            </p:cNvPr>
            <p:cNvGrpSpPr/>
            <p:nvPr/>
          </p:nvGrpSpPr>
          <p:grpSpPr>
            <a:xfrm rot="16200000">
              <a:off x="1787492" y="2428962"/>
              <a:ext cx="393048" cy="893063"/>
              <a:chOff x="1053576" y="845943"/>
              <a:chExt cx="429692" cy="976323"/>
            </a:xfrm>
          </p:grpSpPr>
          <p:sp>
            <p:nvSpPr>
              <p:cNvPr id="580" name="Arc 579">
                <a:extLst>
                  <a:ext uri="{FF2B5EF4-FFF2-40B4-BE49-F238E27FC236}">
                    <a16:creationId xmlns:a16="http://schemas.microsoft.com/office/drawing/2014/main" id="{A16FAA23-EE7E-48E5-AAED-0EB383EE5810}"/>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1" name="Straight Connector 580">
                <a:extLst>
                  <a:ext uri="{FF2B5EF4-FFF2-40B4-BE49-F238E27FC236}">
                    <a16:creationId xmlns:a16="http://schemas.microsoft.com/office/drawing/2014/main" id="{C5D63DF3-6922-4184-9AC5-A69A8D20FC96}"/>
                  </a:ext>
                </a:extLst>
              </p:cNvPr>
              <p:cNvCxnSpPr>
                <a:cxnSpLocks/>
                <a:endCxn id="580"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9D43D8EF-F1D0-4356-8F95-EEFDDD5F1CD0}"/>
                  </a:ext>
                </a:extLst>
              </p:cNvPr>
              <p:cNvCxnSpPr>
                <a:cxnSpLocks/>
                <a:stCxn id="580"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8" name="Group 417">
              <a:extLst>
                <a:ext uri="{FF2B5EF4-FFF2-40B4-BE49-F238E27FC236}">
                  <a16:creationId xmlns:a16="http://schemas.microsoft.com/office/drawing/2014/main" id="{432B770E-B2CA-47A6-B185-F021B746C2E4}"/>
                </a:ext>
              </a:extLst>
            </p:cNvPr>
            <p:cNvGrpSpPr/>
            <p:nvPr/>
          </p:nvGrpSpPr>
          <p:grpSpPr>
            <a:xfrm>
              <a:off x="1139370" y="2057674"/>
              <a:ext cx="874980" cy="214533"/>
              <a:chOff x="1053577" y="1587731"/>
              <a:chExt cx="956555" cy="234534"/>
            </a:xfrm>
          </p:grpSpPr>
          <p:sp>
            <p:nvSpPr>
              <p:cNvPr id="577" name="Arc 576">
                <a:extLst>
                  <a:ext uri="{FF2B5EF4-FFF2-40B4-BE49-F238E27FC236}">
                    <a16:creationId xmlns:a16="http://schemas.microsoft.com/office/drawing/2014/main" id="{57C513BC-7515-47A3-9E87-79DB1B11B8BA}"/>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78" name="Straight Connector 577">
                <a:extLst>
                  <a:ext uri="{FF2B5EF4-FFF2-40B4-BE49-F238E27FC236}">
                    <a16:creationId xmlns:a16="http://schemas.microsoft.com/office/drawing/2014/main" id="{CDC375ED-E430-4E96-8678-10DB5A94CFCC}"/>
                  </a:ext>
                </a:extLst>
              </p:cNvPr>
              <p:cNvCxnSpPr>
                <a:cxnSpLocks/>
                <a:endCxn id="577"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7CA68352-600C-49C4-A8BE-4AF25C2746F1}"/>
                  </a:ext>
                </a:extLst>
              </p:cNvPr>
              <p:cNvCxnSpPr>
                <a:cxnSpLocks/>
                <a:stCxn id="577"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77484D01-673D-4BCA-9347-47C4749CDD1D}"/>
                </a:ext>
              </a:extLst>
            </p:cNvPr>
            <p:cNvGrpSpPr/>
            <p:nvPr/>
          </p:nvGrpSpPr>
          <p:grpSpPr>
            <a:xfrm>
              <a:off x="1471454" y="2049161"/>
              <a:ext cx="874980" cy="168558"/>
              <a:chOff x="1416621" y="1599856"/>
              <a:chExt cx="956555" cy="184273"/>
            </a:xfrm>
          </p:grpSpPr>
          <p:sp>
            <p:nvSpPr>
              <p:cNvPr id="574" name="Arc 573">
                <a:extLst>
                  <a:ext uri="{FF2B5EF4-FFF2-40B4-BE49-F238E27FC236}">
                    <a16:creationId xmlns:a16="http://schemas.microsoft.com/office/drawing/2014/main" id="{84F879B2-C39C-4576-BADF-40F022935540}"/>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75" name="Straight Connector 574">
                <a:extLst>
                  <a:ext uri="{FF2B5EF4-FFF2-40B4-BE49-F238E27FC236}">
                    <a16:creationId xmlns:a16="http://schemas.microsoft.com/office/drawing/2014/main" id="{3C895289-37F1-4AB2-89A8-F3D013BD1C05}"/>
                  </a:ext>
                </a:extLst>
              </p:cNvPr>
              <p:cNvCxnSpPr>
                <a:cxnSpLocks/>
                <a:endCxn id="574"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27FF5772-7A24-4D80-883A-3CD3BCDD08A5}"/>
                  </a:ext>
                </a:extLst>
              </p:cNvPr>
              <p:cNvCxnSpPr>
                <a:cxnSpLocks/>
                <a:stCxn id="574"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0" name="Group 419">
              <a:extLst>
                <a:ext uri="{FF2B5EF4-FFF2-40B4-BE49-F238E27FC236}">
                  <a16:creationId xmlns:a16="http://schemas.microsoft.com/office/drawing/2014/main" id="{4D1338F0-ADE4-4547-AB21-D99037D0EB08}"/>
                </a:ext>
              </a:extLst>
            </p:cNvPr>
            <p:cNvGrpSpPr/>
            <p:nvPr/>
          </p:nvGrpSpPr>
          <p:grpSpPr>
            <a:xfrm>
              <a:off x="1802844" y="1995223"/>
              <a:ext cx="662063" cy="168558"/>
              <a:chOff x="1778907" y="1564701"/>
              <a:chExt cx="723787" cy="184273"/>
            </a:xfrm>
          </p:grpSpPr>
          <p:sp>
            <p:nvSpPr>
              <p:cNvPr id="571" name="Arc 570">
                <a:extLst>
                  <a:ext uri="{FF2B5EF4-FFF2-40B4-BE49-F238E27FC236}">
                    <a16:creationId xmlns:a16="http://schemas.microsoft.com/office/drawing/2014/main" id="{AA310D21-499B-4346-BAE9-91B856CC3103}"/>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72" name="Straight Connector 571">
                <a:extLst>
                  <a:ext uri="{FF2B5EF4-FFF2-40B4-BE49-F238E27FC236}">
                    <a16:creationId xmlns:a16="http://schemas.microsoft.com/office/drawing/2014/main" id="{9B9B4120-F430-432E-A23B-D11A96DEC292}"/>
                  </a:ext>
                </a:extLst>
              </p:cNvPr>
              <p:cNvCxnSpPr>
                <a:cxnSpLocks/>
                <a:endCxn id="57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83857221-5A81-4E04-8751-2A3018CEBC97}"/>
                  </a:ext>
                </a:extLst>
              </p:cNvPr>
              <p:cNvCxnSpPr>
                <a:cxnSpLocks/>
                <a:stCxn id="57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21" name="Oval 420">
              <a:extLst>
                <a:ext uri="{FF2B5EF4-FFF2-40B4-BE49-F238E27FC236}">
                  <a16:creationId xmlns:a16="http://schemas.microsoft.com/office/drawing/2014/main" id="{0BEF32C6-12FD-4C09-8875-5F0D7F7769F8}"/>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2" name="Oval 421">
              <a:extLst>
                <a:ext uri="{FF2B5EF4-FFF2-40B4-BE49-F238E27FC236}">
                  <a16:creationId xmlns:a16="http://schemas.microsoft.com/office/drawing/2014/main" id="{0AF9A0BF-9022-4B92-B184-D9FCF1D8C408}"/>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3" name="Oval 422">
              <a:extLst>
                <a:ext uri="{FF2B5EF4-FFF2-40B4-BE49-F238E27FC236}">
                  <a16:creationId xmlns:a16="http://schemas.microsoft.com/office/drawing/2014/main" id="{0CC49AC7-A33D-4FEF-ACF5-AD3D023C8AE7}"/>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4" name="Straight Connector 423">
              <a:extLst>
                <a:ext uri="{FF2B5EF4-FFF2-40B4-BE49-F238E27FC236}">
                  <a16:creationId xmlns:a16="http://schemas.microsoft.com/office/drawing/2014/main" id="{995F8BA5-9E35-4B52-879A-2548EB66172C}"/>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425" name="Oval 424">
              <a:extLst>
                <a:ext uri="{FF2B5EF4-FFF2-40B4-BE49-F238E27FC236}">
                  <a16:creationId xmlns:a16="http://schemas.microsoft.com/office/drawing/2014/main" id="{90632BCF-B697-4128-9C32-5C01C39BF526}"/>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6" name="Group 425">
              <a:extLst>
                <a:ext uri="{FF2B5EF4-FFF2-40B4-BE49-F238E27FC236}">
                  <a16:creationId xmlns:a16="http://schemas.microsoft.com/office/drawing/2014/main" id="{5C4445D5-41F3-463F-A207-EDE6BE4BE80C}"/>
                </a:ext>
              </a:extLst>
            </p:cNvPr>
            <p:cNvGrpSpPr/>
            <p:nvPr/>
          </p:nvGrpSpPr>
          <p:grpSpPr>
            <a:xfrm>
              <a:off x="4825353" y="1970648"/>
              <a:ext cx="2313166" cy="911499"/>
              <a:chOff x="6257463" y="1617978"/>
              <a:chExt cx="1576956" cy="996478"/>
            </a:xfrm>
          </p:grpSpPr>
          <p:grpSp>
            <p:nvGrpSpPr>
              <p:cNvPr id="561" name="Group 560">
                <a:extLst>
                  <a:ext uri="{FF2B5EF4-FFF2-40B4-BE49-F238E27FC236}">
                    <a16:creationId xmlns:a16="http://schemas.microsoft.com/office/drawing/2014/main" id="{956CA148-D73E-49CB-A1BF-0C90FB1DEEF1}"/>
                  </a:ext>
                </a:extLst>
              </p:cNvPr>
              <p:cNvGrpSpPr/>
              <p:nvPr/>
            </p:nvGrpSpPr>
            <p:grpSpPr>
              <a:xfrm>
                <a:off x="6296881" y="2015544"/>
                <a:ext cx="1537538" cy="598912"/>
                <a:chOff x="6652481" y="2039451"/>
                <a:chExt cx="1537538" cy="598912"/>
              </a:xfrm>
              <a:solidFill>
                <a:schemeClr val="bg2">
                  <a:lumMod val="85000"/>
                </a:schemeClr>
              </a:solidFill>
            </p:grpSpPr>
            <p:sp>
              <p:nvSpPr>
                <p:cNvPr id="567" name="Rectangle: Rounded Corners 6">
                  <a:extLst>
                    <a:ext uri="{FF2B5EF4-FFF2-40B4-BE49-F238E27FC236}">
                      <a16:creationId xmlns:a16="http://schemas.microsoft.com/office/drawing/2014/main" id="{01501ED8-E98F-4EE4-9F45-325F9DBC10DF}"/>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8" name="Rectangle: Rounded Corners 140">
                  <a:extLst>
                    <a:ext uri="{FF2B5EF4-FFF2-40B4-BE49-F238E27FC236}">
                      <a16:creationId xmlns:a16="http://schemas.microsoft.com/office/drawing/2014/main" id="{93E4A046-27AC-43C4-B0DF-F87ED4B5DA9F}"/>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9" name="Rectangle: Rounded Corners 141">
                  <a:extLst>
                    <a:ext uri="{FF2B5EF4-FFF2-40B4-BE49-F238E27FC236}">
                      <a16:creationId xmlns:a16="http://schemas.microsoft.com/office/drawing/2014/main" id="{9616CBC8-9838-4315-89D8-127ABE451E7D}"/>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0" name="Rectangle: Rounded Corners 142">
                  <a:extLst>
                    <a:ext uri="{FF2B5EF4-FFF2-40B4-BE49-F238E27FC236}">
                      <a16:creationId xmlns:a16="http://schemas.microsoft.com/office/drawing/2014/main" id="{30554F36-9E80-4563-9646-709761B1BDB3}"/>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62" name="Group 561">
                <a:extLst>
                  <a:ext uri="{FF2B5EF4-FFF2-40B4-BE49-F238E27FC236}">
                    <a16:creationId xmlns:a16="http://schemas.microsoft.com/office/drawing/2014/main" id="{811F7F10-406B-42FA-B163-018089FC37E8}"/>
                  </a:ext>
                </a:extLst>
              </p:cNvPr>
              <p:cNvGrpSpPr/>
              <p:nvPr/>
            </p:nvGrpSpPr>
            <p:grpSpPr>
              <a:xfrm>
                <a:off x="6257463" y="1617978"/>
                <a:ext cx="1553564" cy="594092"/>
                <a:chOff x="6606761" y="1479381"/>
                <a:chExt cx="1566167" cy="598912"/>
              </a:xfrm>
              <a:solidFill>
                <a:schemeClr val="bg2">
                  <a:lumMod val="85000"/>
                </a:schemeClr>
              </a:solidFill>
            </p:grpSpPr>
            <p:sp>
              <p:nvSpPr>
                <p:cNvPr id="563" name="Rectangle: Rounded Corners 148">
                  <a:extLst>
                    <a:ext uri="{FF2B5EF4-FFF2-40B4-BE49-F238E27FC236}">
                      <a16:creationId xmlns:a16="http://schemas.microsoft.com/office/drawing/2014/main" id="{0AB7D6CD-102A-4040-A63B-D37FFF75E6A6}"/>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4" name="Rectangle: Rounded Corners 149">
                  <a:extLst>
                    <a:ext uri="{FF2B5EF4-FFF2-40B4-BE49-F238E27FC236}">
                      <a16:creationId xmlns:a16="http://schemas.microsoft.com/office/drawing/2014/main" id="{0996C544-FC8C-4FE2-97AD-33EFC3A5162A}"/>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5" name="Rectangle: Rounded Corners 150">
                  <a:extLst>
                    <a:ext uri="{FF2B5EF4-FFF2-40B4-BE49-F238E27FC236}">
                      <a16:creationId xmlns:a16="http://schemas.microsoft.com/office/drawing/2014/main" id="{C7F8E6C2-C791-4A6A-A317-19977F4D3B57}"/>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6" name="Rectangle: Rounded Corners 151">
                  <a:extLst>
                    <a:ext uri="{FF2B5EF4-FFF2-40B4-BE49-F238E27FC236}">
                      <a16:creationId xmlns:a16="http://schemas.microsoft.com/office/drawing/2014/main" id="{616874A7-B343-466F-BD95-6C7CE7FCFC3C}"/>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7" name="Group 426">
              <a:extLst>
                <a:ext uri="{FF2B5EF4-FFF2-40B4-BE49-F238E27FC236}">
                  <a16:creationId xmlns:a16="http://schemas.microsoft.com/office/drawing/2014/main" id="{5D80F346-7841-4064-8F45-5080D7E9DC1B}"/>
                </a:ext>
              </a:extLst>
            </p:cNvPr>
            <p:cNvGrpSpPr/>
            <p:nvPr/>
          </p:nvGrpSpPr>
          <p:grpSpPr>
            <a:xfrm>
              <a:off x="4495170" y="1970649"/>
              <a:ext cx="1509591" cy="909293"/>
              <a:chOff x="4722239" y="1617979"/>
              <a:chExt cx="1650330" cy="994067"/>
            </a:xfrm>
          </p:grpSpPr>
          <p:grpSp>
            <p:nvGrpSpPr>
              <p:cNvPr id="551" name="Group 550">
                <a:extLst>
                  <a:ext uri="{FF2B5EF4-FFF2-40B4-BE49-F238E27FC236}">
                    <a16:creationId xmlns:a16="http://schemas.microsoft.com/office/drawing/2014/main" id="{70735880-CB88-4F6E-BE49-E2C976899E04}"/>
                  </a:ext>
                </a:extLst>
              </p:cNvPr>
              <p:cNvGrpSpPr/>
              <p:nvPr/>
            </p:nvGrpSpPr>
            <p:grpSpPr>
              <a:xfrm>
                <a:off x="4722239" y="1617979"/>
                <a:ext cx="1604404" cy="594092"/>
                <a:chOff x="5071331" y="1479382"/>
                <a:chExt cx="1617419" cy="598911"/>
              </a:xfrm>
              <a:solidFill>
                <a:schemeClr val="bg2">
                  <a:lumMod val="85000"/>
                </a:schemeClr>
              </a:solidFill>
            </p:grpSpPr>
            <p:sp>
              <p:nvSpPr>
                <p:cNvPr id="557" name="Rectangle: Rounded Corners 161">
                  <a:extLst>
                    <a:ext uri="{FF2B5EF4-FFF2-40B4-BE49-F238E27FC236}">
                      <a16:creationId xmlns:a16="http://schemas.microsoft.com/office/drawing/2014/main" id="{C9FB7876-AFB3-44DE-A594-5F9585F63CE2}"/>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8" name="Rectangle: Rounded Corners 162">
                  <a:extLst>
                    <a:ext uri="{FF2B5EF4-FFF2-40B4-BE49-F238E27FC236}">
                      <a16:creationId xmlns:a16="http://schemas.microsoft.com/office/drawing/2014/main" id="{9069F53D-7B23-4895-AB98-F502C3135F7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9" name="Rectangle: Rounded Corners 163">
                  <a:extLst>
                    <a:ext uri="{FF2B5EF4-FFF2-40B4-BE49-F238E27FC236}">
                      <a16:creationId xmlns:a16="http://schemas.microsoft.com/office/drawing/2014/main" id="{0FEC1854-4A88-4E22-85E7-6AFA65819298}"/>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0" name="Rectangle: Rounded Corners 164">
                  <a:extLst>
                    <a:ext uri="{FF2B5EF4-FFF2-40B4-BE49-F238E27FC236}">
                      <a16:creationId xmlns:a16="http://schemas.microsoft.com/office/drawing/2014/main" id="{59DDFF06-7989-4A31-ACE7-E67617574590}"/>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52" name="Group 551">
                <a:extLst>
                  <a:ext uri="{FF2B5EF4-FFF2-40B4-BE49-F238E27FC236}">
                    <a16:creationId xmlns:a16="http://schemas.microsoft.com/office/drawing/2014/main" id="{432A5446-55DA-4B1F-9D75-58015CAB0B7C}"/>
                  </a:ext>
                </a:extLst>
              </p:cNvPr>
              <p:cNvGrpSpPr/>
              <p:nvPr/>
            </p:nvGrpSpPr>
            <p:grpSpPr>
              <a:xfrm>
                <a:off x="4819003" y="2017956"/>
                <a:ext cx="1553566" cy="594090"/>
                <a:chOff x="5168302" y="2039452"/>
                <a:chExt cx="1566168" cy="598911"/>
              </a:xfrm>
              <a:solidFill>
                <a:schemeClr val="bg2">
                  <a:lumMod val="85000"/>
                </a:schemeClr>
              </a:solidFill>
            </p:grpSpPr>
            <p:sp>
              <p:nvSpPr>
                <p:cNvPr id="553" name="Rectangle: Rounded Corners 165">
                  <a:extLst>
                    <a:ext uri="{FF2B5EF4-FFF2-40B4-BE49-F238E27FC236}">
                      <a16:creationId xmlns:a16="http://schemas.microsoft.com/office/drawing/2014/main" id="{795B5F93-BF38-4327-877F-C2259E566CDF}"/>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4" name="Rectangle: Rounded Corners 166">
                  <a:extLst>
                    <a:ext uri="{FF2B5EF4-FFF2-40B4-BE49-F238E27FC236}">
                      <a16:creationId xmlns:a16="http://schemas.microsoft.com/office/drawing/2014/main" id="{C231098D-D5A5-42B1-8C77-6AEF5CD87E24}"/>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5" name="Rectangle: Rounded Corners 167">
                  <a:extLst>
                    <a:ext uri="{FF2B5EF4-FFF2-40B4-BE49-F238E27FC236}">
                      <a16:creationId xmlns:a16="http://schemas.microsoft.com/office/drawing/2014/main" id="{2F367DA3-71AA-4057-9384-191AD63633BC}"/>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6" name="Rectangle: Rounded Corners 168">
                  <a:extLst>
                    <a:ext uri="{FF2B5EF4-FFF2-40B4-BE49-F238E27FC236}">
                      <a16:creationId xmlns:a16="http://schemas.microsoft.com/office/drawing/2014/main" id="{E3577BD0-241E-4838-96E2-43B3BB637DB5}"/>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8" name="Group 427">
              <a:extLst>
                <a:ext uri="{FF2B5EF4-FFF2-40B4-BE49-F238E27FC236}">
                  <a16:creationId xmlns:a16="http://schemas.microsoft.com/office/drawing/2014/main" id="{D50D2B2A-A262-4F70-B228-744CCEC7EFBE}"/>
                </a:ext>
              </a:extLst>
            </p:cNvPr>
            <p:cNvGrpSpPr/>
            <p:nvPr/>
          </p:nvGrpSpPr>
          <p:grpSpPr>
            <a:xfrm>
              <a:off x="3086190" y="2006242"/>
              <a:ext cx="1509592" cy="909292"/>
              <a:chOff x="3181899" y="1656890"/>
              <a:chExt cx="1650332" cy="994066"/>
            </a:xfrm>
          </p:grpSpPr>
          <p:grpSp>
            <p:nvGrpSpPr>
              <p:cNvPr id="541" name="Group 540">
                <a:extLst>
                  <a:ext uri="{FF2B5EF4-FFF2-40B4-BE49-F238E27FC236}">
                    <a16:creationId xmlns:a16="http://schemas.microsoft.com/office/drawing/2014/main" id="{68CA2F72-0AB6-43B0-94D7-A2D2A5BE7D50}"/>
                  </a:ext>
                </a:extLst>
              </p:cNvPr>
              <p:cNvGrpSpPr/>
              <p:nvPr/>
            </p:nvGrpSpPr>
            <p:grpSpPr>
              <a:xfrm>
                <a:off x="3227827" y="2056864"/>
                <a:ext cx="1604404" cy="594092"/>
                <a:chOff x="3576919" y="2078361"/>
                <a:chExt cx="1617419" cy="598911"/>
              </a:xfrm>
              <a:solidFill>
                <a:schemeClr val="bg2">
                  <a:lumMod val="85000"/>
                </a:schemeClr>
              </a:solidFill>
            </p:grpSpPr>
            <p:sp>
              <p:nvSpPr>
                <p:cNvPr id="547" name="Rectangle: Rounded Corners 170">
                  <a:extLst>
                    <a:ext uri="{FF2B5EF4-FFF2-40B4-BE49-F238E27FC236}">
                      <a16:creationId xmlns:a16="http://schemas.microsoft.com/office/drawing/2014/main" id="{7EDED468-34A3-4D1E-8BE3-BCA9B4BD62C5}"/>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8" name="Rectangle: Rounded Corners 172">
                  <a:extLst>
                    <a:ext uri="{FF2B5EF4-FFF2-40B4-BE49-F238E27FC236}">
                      <a16:creationId xmlns:a16="http://schemas.microsoft.com/office/drawing/2014/main" id="{A6569433-62FA-47AC-99A0-0166244F2536}"/>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9" name="Rectangle: Rounded Corners 173">
                  <a:extLst>
                    <a:ext uri="{FF2B5EF4-FFF2-40B4-BE49-F238E27FC236}">
                      <a16:creationId xmlns:a16="http://schemas.microsoft.com/office/drawing/2014/main" id="{4247FAD5-D390-4BAA-8759-658E0BD2B186}"/>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0" name="Rectangle: Rounded Corners 174">
                  <a:extLst>
                    <a:ext uri="{FF2B5EF4-FFF2-40B4-BE49-F238E27FC236}">
                      <a16:creationId xmlns:a16="http://schemas.microsoft.com/office/drawing/2014/main" id="{2A335CB2-F045-45B1-9CD5-1AF09C775DED}"/>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42" name="Group 541">
                <a:extLst>
                  <a:ext uri="{FF2B5EF4-FFF2-40B4-BE49-F238E27FC236}">
                    <a16:creationId xmlns:a16="http://schemas.microsoft.com/office/drawing/2014/main" id="{3A809CAC-23C7-49B0-BFDB-739FA295FF08}"/>
                  </a:ext>
                </a:extLst>
              </p:cNvPr>
              <p:cNvGrpSpPr/>
              <p:nvPr/>
            </p:nvGrpSpPr>
            <p:grpSpPr>
              <a:xfrm>
                <a:off x="3181899" y="1656890"/>
                <a:ext cx="1443175" cy="594090"/>
                <a:chOff x="3531199" y="1518292"/>
                <a:chExt cx="1454882" cy="598911"/>
              </a:xfrm>
              <a:solidFill>
                <a:schemeClr val="bg2">
                  <a:lumMod val="85000"/>
                </a:schemeClr>
              </a:solidFill>
            </p:grpSpPr>
            <p:sp>
              <p:nvSpPr>
                <p:cNvPr id="543" name="Rectangle: Rounded Corners 175">
                  <a:extLst>
                    <a:ext uri="{FF2B5EF4-FFF2-40B4-BE49-F238E27FC236}">
                      <a16:creationId xmlns:a16="http://schemas.microsoft.com/office/drawing/2014/main" id="{6689CB55-9603-45FA-95EF-8EC89E5AD3C8}"/>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4" name="Rectangle: Rounded Corners 176">
                  <a:extLst>
                    <a:ext uri="{FF2B5EF4-FFF2-40B4-BE49-F238E27FC236}">
                      <a16:creationId xmlns:a16="http://schemas.microsoft.com/office/drawing/2014/main" id="{AA44B59E-9EC7-420C-95B2-504B3077B974}"/>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5" name="Rectangle: Rounded Corners 177">
                  <a:extLst>
                    <a:ext uri="{FF2B5EF4-FFF2-40B4-BE49-F238E27FC236}">
                      <a16:creationId xmlns:a16="http://schemas.microsoft.com/office/drawing/2014/main" id="{0F584308-9C74-4352-8591-A7AD5261180D}"/>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6" name="Rectangle: Rounded Corners 178">
                  <a:extLst>
                    <a:ext uri="{FF2B5EF4-FFF2-40B4-BE49-F238E27FC236}">
                      <a16:creationId xmlns:a16="http://schemas.microsoft.com/office/drawing/2014/main" id="{B913CE34-C127-47F2-9AC9-5CF9EABCAC94}"/>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9" name="Group 428">
              <a:extLst>
                <a:ext uri="{FF2B5EF4-FFF2-40B4-BE49-F238E27FC236}">
                  <a16:creationId xmlns:a16="http://schemas.microsoft.com/office/drawing/2014/main" id="{586E91CF-9E4A-45D6-A583-6EA74A7E2649}"/>
                </a:ext>
              </a:extLst>
            </p:cNvPr>
            <p:cNvGrpSpPr/>
            <p:nvPr/>
          </p:nvGrpSpPr>
          <p:grpSpPr>
            <a:xfrm>
              <a:off x="1799537" y="2094016"/>
              <a:ext cx="1491424" cy="749099"/>
              <a:chOff x="6621828" y="1373655"/>
              <a:chExt cx="1630470" cy="818938"/>
            </a:xfrm>
            <a:solidFill>
              <a:schemeClr val="bg2">
                <a:lumMod val="85000"/>
              </a:schemeClr>
            </a:solidFill>
          </p:grpSpPr>
          <p:sp>
            <p:nvSpPr>
              <p:cNvPr id="535" name="Rectangle: Rounded Corners 190">
                <a:extLst>
                  <a:ext uri="{FF2B5EF4-FFF2-40B4-BE49-F238E27FC236}">
                    <a16:creationId xmlns:a16="http://schemas.microsoft.com/office/drawing/2014/main" id="{948E9081-CD96-436A-AC4B-6F72F056F6F8}"/>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6" name="Rectangle: Rounded Corners 191">
                <a:extLst>
                  <a:ext uri="{FF2B5EF4-FFF2-40B4-BE49-F238E27FC236}">
                    <a16:creationId xmlns:a16="http://schemas.microsoft.com/office/drawing/2014/main" id="{A81A9705-D467-46F0-82B8-A01D92179FFE}"/>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7" name="Rectangle: Rounded Corners 192">
                <a:extLst>
                  <a:ext uri="{FF2B5EF4-FFF2-40B4-BE49-F238E27FC236}">
                    <a16:creationId xmlns:a16="http://schemas.microsoft.com/office/drawing/2014/main" id="{4B0F9048-BE28-43F0-96E5-4D865F5ECDC0}"/>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8" name="Rectangle: Rounded Corners 194">
                <a:extLst>
                  <a:ext uri="{FF2B5EF4-FFF2-40B4-BE49-F238E27FC236}">
                    <a16:creationId xmlns:a16="http://schemas.microsoft.com/office/drawing/2014/main" id="{B8646E8C-09E9-438A-9ADC-920A0A4C960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9" name="Rectangle: Rounded Corners 228">
                <a:extLst>
                  <a:ext uri="{FF2B5EF4-FFF2-40B4-BE49-F238E27FC236}">
                    <a16:creationId xmlns:a16="http://schemas.microsoft.com/office/drawing/2014/main" id="{ABFE1E99-17E1-4515-9676-CFBB2B12E140}"/>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0" name="Rectangle: Rounded Corners 229">
                <a:extLst>
                  <a:ext uri="{FF2B5EF4-FFF2-40B4-BE49-F238E27FC236}">
                    <a16:creationId xmlns:a16="http://schemas.microsoft.com/office/drawing/2014/main" id="{345A3AA8-488D-4048-847B-D088EF17E615}"/>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30" name="TextBox 429">
              <a:extLst>
                <a:ext uri="{FF2B5EF4-FFF2-40B4-BE49-F238E27FC236}">
                  <a16:creationId xmlns:a16="http://schemas.microsoft.com/office/drawing/2014/main" id="{DD827FBC-E349-4877-AEDA-0A05594455BB}"/>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431" name="TextBox 430">
              <a:extLst>
                <a:ext uri="{FF2B5EF4-FFF2-40B4-BE49-F238E27FC236}">
                  <a16:creationId xmlns:a16="http://schemas.microsoft.com/office/drawing/2014/main" id="{0D38132E-92B8-46F3-8471-C7B7E4004432}"/>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432" name="TextBox 431">
              <a:extLst>
                <a:ext uri="{FF2B5EF4-FFF2-40B4-BE49-F238E27FC236}">
                  <a16:creationId xmlns:a16="http://schemas.microsoft.com/office/drawing/2014/main" id="{DD953ADC-8E6E-40DA-94CD-7FEB9B7597A5}"/>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433" name="Group 432">
              <a:extLst>
                <a:ext uri="{FF2B5EF4-FFF2-40B4-BE49-F238E27FC236}">
                  <a16:creationId xmlns:a16="http://schemas.microsoft.com/office/drawing/2014/main" id="{87602542-FAC5-4BDF-A4A8-E22544CC64CA}"/>
                </a:ext>
              </a:extLst>
            </p:cNvPr>
            <p:cNvGrpSpPr/>
            <p:nvPr/>
          </p:nvGrpSpPr>
          <p:grpSpPr>
            <a:xfrm>
              <a:off x="1722376" y="1935055"/>
              <a:ext cx="160263" cy="98451"/>
              <a:chOff x="3221673" y="3946130"/>
              <a:chExt cx="521162" cy="320153"/>
            </a:xfrm>
            <a:solidFill>
              <a:schemeClr val="accent2"/>
            </a:solidFill>
          </p:grpSpPr>
          <p:sp>
            <p:nvSpPr>
              <p:cNvPr id="533" name="Freeform 7">
                <a:extLst>
                  <a:ext uri="{FF2B5EF4-FFF2-40B4-BE49-F238E27FC236}">
                    <a16:creationId xmlns:a16="http://schemas.microsoft.com/office/drawing/2014/main" id="{44606877-F029-42A7-A114-540FC6D2EB8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534" name="Freeform 23">
                <a:extLst>
                  <a:ext uri="{FF2B5EF4-FFF2-40B4-BE49-F238E27FC236}">
                    <a16:creationId xmlns:a16="http://schemas.microsoft.com/office/drawing/2014/main" id="{1EFE0505-9F96-469E-9392-1786AC943DE9}"/>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434" name="Group 433">
              <a:extLst>
                <a:ext uri="{FF2B5EF4-FFF2-40B4-BE49-F238E27FC236}">
                  <a16:creationId xmlns:a16="http://schemas.microsoft.com/office/drawing/2014/main" id="{C28A7165-8CA8-44C4-8A59-A7D8E81FF47B}"/>
                </a:ext>
              </a:extLst>
            </p:cNvPr>
            <p:cNvGrpSpPr/>
            <p:nvPr/>
          </p:nvGrpSpPr>
          <p:grpSpPr>
            <a:xfrm>
              <a:off x="1388809" y="1934661"/>
              <a:ext cx="166060" cy="99240"/>
              <a:chOff x="3202819" y="3711222"/>
              <a:chExt cx="348044" cy="207998"/>
            </a:xfrm>
            <a:solidFill>
              <a:schemeClr val="accent1"/>
            </a:solidFill>
          </p:grpSpPr>
          <p:sp>
            <p:nvSpPr>
              <p:cNvPr id="531" name="Freeform 77">
                <a:extLst>
                  <a:ext uri="{FF2B5EF4-FFF2-40B4-BE49-F238E27FC236}">
                    <a16:creationId xmlns:a16="http://schemas.microsoft.com/office/drawing/2014/main" id="{0D888EA3-13EC-45DB-AAE2-A56AD4DD2DE8}"/>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532" name="Freeform 23">
                <a:extLst>
                  <a:ext uri="{FF2B5EF4-FFF2-40B4-BE49-F238E27FC236}">
                    <a16:creationId xmlns:a16="http://schemas.microsoft.com/office/drawing/2014/main" id="{6624EDAD-8189-4B6B-8442-6C185C3DD7C9}"/>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435" name="Group 434">
              <a:extLst>
                <a:ext uri="{FF2B5EF4-FFF2-40B4-BE49-F238E27FC236}">
                  <a16:creationId xmlns:a16="http://schemas.microsoft.com/office/drawing/2014/main" id="{D2919D61-9C74-4C04-BFD5-01A8206B7D7B}"/>
                </a:ext>
              </a:extLst>
            </p:cNvPr>
            <p:cNvGrpSpPr/>
            <p:nvPr/>
          </p:nvGrpSpPr>
          <p:grpSpPr>
            <a:xfrm>
              <a:off x="1061637" y="1935056"/>
              <a:ext cx="159067" cy="98449"/>
              <a:chOff x="974446" y="1475289"/>
              <a:chExt cx="173897" cy="107627"/>
            </a:xfrm>
            <a:solidFill>
              <a:schemeClr val="accent5"/>
            </a:solidFill>
          </p:grpSpPr>
          <p:sp>
            <p:nvSpPr>
              <p:cNvPr id="529" name="Freeform 11">
                <a:extLst>
                  <a:ext uri="{FF2B5EF4-FFF2-40B4-BE49-F238E27FC236}">
                    <a16:creationId xmlns:a16="http://schemas.microsoft.com/office/drawing/2014/main" id="{4E9113F6-2F11-4E76-B340-4B987A625CA1}"/>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30" name="Freeform 23">
                <a:extLst>
                  <a:ext uri="{FF2B5EF4-FFF2-40B4-BE49-F238E27FC236}">
                    <a16:creationId xmlns:a16="http://schemas.microsoft.com/office/drawing/2014/main" id="{682E4B11-CF1B-4398-A5E4-8C26E5DBD780}"/>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436" name="Group 435">
              <a:extLst>
                <a:ext uri="{FF2B5EF4-FFF2-40B4-BE49-F238E27FC236}">
                  <a16:creationId xmlns:a16="http://schemas.microsoft.com/office/drawing/2014/main" id="{112D7826-9847-4F1D-93C1-BCC449056B80}"/>
                </a:ext>
              </a:extLst>
            </p:cNvPr>
            <p:cNvGrpSpPr/>
            <p:nvPr/>
          </p:nvGrpSpPr>
          <p:grpSpPr>
            <a:xfrm>
              <a:off x="3062826" y="1914581"/>
              <a:ext cx="396817" cy="396817"/>
              <a:chOff x="3119641" y="1416189"/>
              <a:chExt cx="507244" cy="507244"/>
            </a:xfrm>
          </p:grpSpPr>
          <p:sp>
            <p:nvSpPr>
              <p:cNvPr id="522" name="Oval 521">
                <a:extLst>
                  <a:ext uri="{FF2B5EF4-FFF2-40B4-BE49-F238E27FC236}">
                    <a16:creationId xmlns:a16="http://schemas.microsoft.com/office/drawing/2014/main" id="{FAF32BE9-140A-40B9-A600-1739866C6B11}"/>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23" name="Group 522">
                <a:extLst>
                  <a:ext uri="{FF2B5EF4-FFF2-40B4-BE49-F238E27FC236}">
                    <a16:creationId xmlns:a16="http://schemas.microsoft.com/office/drawing/2014/main" id="{0794BBE5-51EE-4FA6-A7BC-B40A0815E5B2}"/>
                  </a:ext>
                </a:extLst>
              </p:cNvPr>
              <p:cNvGrpSpPr/>
              <p:nvPr/>
            </p:nvGrpSpPr>
            <p:grpSpPr>
              <a:xfrm>
                <a:off x="3179583" y="1476131"/>
                <a:ext cx="387360" cy="387360"/>
                <a:chOff x="2652535" y="-3571486"/>
                <a:chExt cx="4882348" cy="4882348"/>
              </a:xfrm>
              <a:solidFill>
                <a:schemeClr val="bg2"/>
              </a:solidFill>
            </p:grpSpPr>
            <p:sp>
              <p:nvSpPr>
                <p:cNvPr id="524" name="Freeform: Shape 298">
                  <a:extLst>
                    <a:ext uri="{FF2B5EF4-FFF2-40B4-BE49-F238E27FC236}">
                      <a16:creationId xmlns:a16="http://schemas.microsoft.com/office/drawing/2014/main" id="{B6D34471-2586-44CC-A072-68C45F52015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5" name="Freeform: Shape 299">
                  <a:extLst>
                    <a:ext uri="{FF2B5EF4-FFF2-40B4-BE49-F238E27FC236}">
                      <a16:creationId xmlns:a16="http://schemas.microsoft.com/office/drawing/2014/main" id="{87998161-2C76-4547-A932-04AF8E27D76C}"/>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26" name="Group 525">
                  <a:extLst>
                    <a:ext uri="{FF2B5EF4-FFF2-40B4-BE49-F238E27FC236}">
                      <a16:creationId xmlns:a16="http://schemas.microsoft.com/office/drawing/2014/main" id="{5E05D5C0-0427-4C95-ABA5-718A3BDFEFF0}"/>
                    </a:ext>
                  </a:extLst>
                </p:cNvPr>
                <p:cNvGrpSpPr/>
                <p:nvPr/>
              </p:nvGrpSpPr>
              <p:grpSpPr>
                <a:xfrm rot="5400000">
                  <a:off x="4197485" y="-3571486"/>
                  <a:ext cx="1792447" cy="4882348"/>
                  <a:chOff x="4197485" y="-3571486"/>
                  <a:chExt cx="1792447" cy="4882348"/>
                </a:xfrm>
                <a:grpFill/>
              </p:grpSpPr>
              <p:sp>
                <p:nvSpPr>
                  <p:cNvPr id="527" name="Freeform: Shape 301">
                    <a:extLst>
                      <a:ext uri="{FF2B5EF4-FFF2-40B4-BE49-F238E27FC236}">
                        <a16:creationId xmlns:a16="http://schemas.microsoft.com/office/drawing/2014/main" id="{61C0F6FB-D11D-4480-AF46-C2AC70CFD4DB}"/>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8" name="Freeform: Shape 302">
                    <a:extLst>
                      <a:ext uri="{FF2B5EF4-FFF2-40B4-BE49-F238E27FC236}">
                        <a16:creationId xmlns:a16="http://schemas.microsoft.com/office/drawing/2014/main" id="{8DAF4521-520B-4B6E-953E-E2D93606A29D}"/>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7" name="Group 436">
              <a:extLst>
                <a:ext uri="{FF2B5EF4-FFF2-40B4-BE49-F238E27FC236}">
                  <a16:creationId xmlns:a16="http://schemas.microsoft.com/office/drawing/2014/main" id="{6DC4E5BB-A596-442A-BFD2-D6A06384EB94}"/>
                </a:ext>
              </a:extLst>
            </p:cNvPr>
            <p:cNvGrpSpPr/>
            <p:nvPr/>
          </p:nvGrpSpPr>
          <p:grpSpPr>
            <a:xfrm>
              <a:off x="3062826" y="2564265"/>
              <a:ext cx="396817" cy="396817"/>
              <a:chOff x="3119641" y="2126443"/>
              <a:chExt cx="507244" cy="507244"/>
            </a:xfrm>
          </p:grpSpPr>
          <p:sp>
            <p:nvSpPr>
              <p:cNvPr id="515" name="Oval 514">
                <a:extLst>
                  <a:ext uri="{FF2B5EF4-FFF2-40B4-BE49-F238E27FC236}">
                    <a16:creationId xmlns:a16="http://schemas.microsoft.com/office/drawing/2014/main" id="{EE2A51AF-E4F4-49EF-9844-407D862CF80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16" name="Group 515">
                <a:extLst>
                  <a:ext uri="{FF2B5EF4-FFF2-40B4-BE49-F238E27FC236}">
                    <a16:creationId xmlns:a16="http://schemas.microsoft.com/office/drawing/2014/main" id="{C65B9FD2-2960-4082-98DD-139CA43AC038}"/>
                  </a:ext>
                </a:extLst>
              </p:cNvPr>
              <p:cNvGrpSpPr/>
              <p:nvPr/>
            </p:nvGrpSpPr>
            <p:grpSpPr>
              <a:xfrm>
                <a:off x="3179583" y="2186385"/>
                <a:ext cx="387360" cy="387360"/>
                <a:chOff x="2652535" y="-3571486"/>
                <a:chExt cx="4882348" cy="4882348"/>
              </a:xfrm>
              <a:solidFill>
                <a:schemeClr val="bg2"/>
              </a:solidFill>
            </p:grpSpPr>
            <p:sp>
              <p:nvSpPr>
                <p:cNvPr id="517" name="Freeform: Shape 310">
                  <a:extLst>
                    <a:ext uri="{FF2B5EF4-FFF2-40B4-BE49-F238E27FC236}">
                      <a16:creationId xmlns:a16="http://schemas.microsoft.com/office/drawing/2014/main" id="{D911AB50-D703-4670-9C78-6D9D3D91590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8" name="Freeform: Shape 311">
                  <a:extLst>
                    <a:ext uri="{FF2B5EF4-FFF2-40B4-BE49-F238E27FC236}">
                      <a16:creationId xmlns:a16="http://schemas.microsoft.com/office/drawing/2014/main" id="{A2876FE9-9C7B-4FB4-8267-F695D2D54A0F}"/>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9" name="Group 518">
                  <a:extLst>
                    <a:ext uri="{FF2B5EF4-FFF2-40B4-BE49-F238E27FC236}">
                      <a16:creationId xmlns:a16="http://schemas.microsoft.com/office/drawing/2014/main" id="{D557623F-B3D1-4FE9-84DE-9A42F1E60D9C}"/>
                    </a:ext>
                  </a:extLst>
                </p:cNvPr>
                <p:cNvGrpSpPr/>
                <p:nvPr/>
              </p:nvGrpSpPr>
              <p:grpSpPr>
                <a:xfrm rot="5400000">
                  <a:off x="4197485" y="-3571486"/>
                  <a:ext cx="1792447" cy="4882348"/>
                  <a:chOff x="4197485" y="-3571486"/>
                  <a:chExt cx="1792447" cy="4882348"/>
                </a:xfrm>
                <a:grpFill/>
              </p:grpSpPr>
              <p:sp>
                <p:nvSpPr>
                  <p:cNvPr id="520" name="Freeform: Shape 313">
                    <a:extLst>
                      <a:ext uri="{FF2B5EF4-FFF2-40B4-BE49-F238E27FC236}">
                        <a16:creationId xmlns:a16="http://schemas.microsoft.com/office/drawing/2014/main" id="{18AACA6B-044E-4DE0-A1B0-8AEAB855435C}"/>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1" name="Freeform: Shape 314">
                    <a:extLst>
                      <a:ext uri="{FF2B5EF4-FFF2-40B4-BE49-F238E27FC236}">
                        <a16:creationId xmlns:a16="http://schemas.microsoft.com/office/drawing/2014/main" id="{C27F08E9-BE5C-4412-8720-129DB0A0FA70}"/>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8" name="Group 437">
              <a:extLst>
                <a:ext uri="{FF2B5EF4-FFF2-40B4-BE49-F238E27FC236}">
                  <a16:creationId xmlns:a16="http://schemas.microsoft.com/office/drawing/2014/main" id="{70890142-3569-473A-832F-558767F2DD9B}"/>
                </a:ext>
              </a:extLst>
            </p:cNvPr>
            <p:cNvGrpSpPr/>
            <p:nvPr/>
          </p:nvGrpSpPr>
          <p:grpSpPr>
            <a:xfrm>
              <a:off x="4413642" y="1914581"/>
              <a:ext cx="396817" cy="396817"/>
              <a:chOff x="4596394" y="1416189"/>
              <a:chExt cx="507244" cy="507244"/>
            </a:xfrm>
          </p:grpSpPr>
          <p:sp>
            <p:nvSpPr>
              <p:cNvPr id="508" name="Oval 507">
                <a:extLst>
                  <a:ext uri="{FF2B5EF4-FFF2-40B4-BE49-F238E27FC236}">
                    <a16:creationId xmlns:a16="http://schemas.microsoft.com/office/drawing/2014/main" id="{A9CE2AC4-C299-4E2F-9222-25489092AFE9}"/>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9" name="Group 508">
                <a:extLst>
                  <a:ext uri="{FF2B5EF4-FFF2-40B4-BE49-F238E27FC236}">
                    <a16:creationId xmlns:a16="http://schemas.microsoft.com/office/drawing/2014/main" id="{BD680461-FA82-4D8F-8BD5-7A40D4367162}"/>
                  </a:ext>
                </a:extLst>
              </p:cNvPr>
              <p:cNvGrpSpPr/>
              <p:nvPr/>
            </p:nvGrpSpPr>
            <p:grpSpPr>
              <a:xfrm>
                <a:off x="4656336" y="1476131"/>
                <a:ext cx="387360" cy="387360"/>
                <a:chOff x="2652535" y="-3571486"/>
                <a:chExt cx="4882348" cy="4882348"/>
              </a:xfrm>
              <a:solidFill>
                <a:schemeClr val="bg2"/>
              </a:solidFill>
            </p:grpSpPr>
            <p:sp>
              <p:nvSpPr>
                <p:cNvPr id="510" name="Freeform: Shape 316">
                  <a:extLst>
                    <a:ext uri="{FF2B5EF4-FFF2-40B4-BE49-F238E27FC236}">
                      <a16:creationId xmlns:a16="http://schemas.microsoft.com/office/drawing/2014/main" id="{31E69456-1D42-4E0A-85FB-8A5C250668B9}"/>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1" name="Freeform: Shape 317">
                  <a:extLst>
                    <a:ext uri="{FF2B5EF4-FFF2-40B4-BE49-F238E27FC236}">
                      <a16:creationId xmlns:a16="http://schemas.microsoft.com/office/drawing/2014/main" id="{94BFB5DF-AE4C-4465-B5FD-F5FB87FECA12}"/>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2" name="Group 511">
                  <a:extLst>
                    <a:ext uri="{FF2B5EF4-FFF2-40B4-BE49-F238E27FC236}">
                      <a16:creationId xmlns:a16="http://schemas.microsoft.com/office/drawing/2014/main" id="{7719C80D-DADA-487F-B8E3-6DEF17D8FE48}"/>
                    </a:ext>
                  </a:extLst>
                </p:cNvPr>
                <p:cNvGrpSpPr/>
                <p:nvPr/>
              </p:nvGrpSpPr>
              <p:grpSpPr>
                <a:xfrm rot="5400000">
                  <a:off x="4197485" y="-3571486"/>
                  <a:ext cx="1792447" cy="4882348"/>
                  <a:chOff x="4197485" y="-3571486"/>
                  <a:chExt cx="1792447" cy="4882348"/>
                </a:xfrm>
                <a:grpFill/>
              </p:grpSpPr>
              <p:sp>
                <p:nvSpPr>
                  <p:cNvPr id="513" name="Freeform: Shape 319">
                    <a:extLst>
                      <a:ext uri="{FF2B5EF4-FFF2-40B4-BE49-F238E27FC236}">
                        <a16:creationId xmlns:a16="http://schemas.microsoft.com/office/drawing/2014/main" id="{71D479D3-E51E-4A38-ABDE-0A071DF8575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4" name="Freeform: Shape 320">
                    <a:extLst>
                      <a:ext uri="{FF2B5EF4-FFF2-40B4-BE49-F238E27FC236}">
                        <a16:creationId xmlns:a16="http://schemas.microsoft.com/office/drawing/2014/main" id="{E735D331-70C1-400C-9326-EA4D68024BFB}"/>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9" name="Group 438">
              <a:extLst>
                <a:ext uri="{FF2B5EF4-FFF2-40B4-BE49-F238E27FC236}">
                  <a16:creationId xmlns:a16="http://schemas.microsoft.com/office/drawing/2014/main" id="{89B6FE3C-095B-4EC4-B9F3-08B8797C98F4}"/>
                </a:ext>
              </a:extLst>
            </p:cNvPr>
            <p:cNvGrpSpPr/>
            <p:nvPr/>
          </p:nvGrpSpPr>
          <p:grpSpPr>
            <a:xfrm>
              <a:off x="4413642" y="2564265"/>
              <a:ext cx="396817" cy="396817"/>
              <a:chOff x="4596394" y="2126443"/>
              <a:chExt cx="507244" cy="507244"/>
            </a:xfrm>
          </p:grpSpPr>
          <p:sp>
            <p:nvSpPr>
              <p:cNvPr id="501" name="Oval 500">
                <a:extLst>
                  <a:ext uri="{FF2B5EF4-FFF2-40B4-BE49-F238E27FC236}">
                    <a16:creationId xmlns:a16="http://schemas.microsoft.com/office/drawing/2014/main" id="{5777650D-9B57-4CFA-B6CF-DF3651C58B11}"/>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2" name="Group 501">
                <a:extLst>
                  <a:ext uri="{FF2B5EF4-FFF2-40B4-BE49-F238E27FC236}">
                    <a16:creationId xmlns:a16="http://schemas.microsoft.com/office/drawing/2014/main" id="{5D20FC79-6FBB-4967-8601-ED6181D5FB9D}"/>
                  </a:ext>
                </a:extLst>
              </p:cNvPr>
              <p:cNvGrpSpPr/>
              <p:nvPr/>
            </p:nvGrpSpPr>
            <p:grpSpPr>
              <a:xfrm>
                <a:off x="4656336" y="2186385"/>
                <a:ext cx="387360" cy="387360"/>
                <a:chOff x="2652535" y="-3571486"/>
                <a:chExt cx="4882348" cy="4882348"/>
              </a:xfrm>
              <a:solidFill>
                <a:schemeClr val="bg2"/>
              </a:solidFill>
            </p:grpSpPr>
            <p:sp>
              <p:nvSpPr>
                <p:cNvPr id="503" name="Freeform: Shape 322">
                  <a:extLst>
                    <a:ext uri="{FF2B5EF4-FFF2-40B4-BE49-F238E27FC236}">
                      <a16:creationId xmlns:a16="http://schemas.microsoft.com/office/drawing/2014/main" id="{043DE606-CE78-4762-85B6-66ED2DA9C2AB}"/>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4" name="Freeform: Shape 323">
                  <a:extLst>
                    <a:ext uri="{FF2B5EF4-FFF2-40B4-BE49-F238E27FC236}">
                      <a16:creationId xmlns:a16="http://schemas.microsoft.com/office/drawing/2014/main" id="{499FDDB3-6530-4BC4-9CA3-03400FBE9DB1}"/>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05" name="Group 504">
                  <a:extLst>
                    <a:ext uri="{FF2B5EF4-FFF2-40B4-BE49-F238E27FC236}">
                      <a16:creationId xmlns:a16="http://schemas.microsoft.com/office/drawing/2014/main" id="{C0FC8086-3DF7-4B20-972E-26389864236B}"/>
                    </a:ext>
                  </a:extLst>
                </p:cNvPr>
                <p:cNvGrpSpPr/>
                <p:nvPr/>
              </p:nvGrpSpPr>
              <p:grpSpPr>
                <a:xfrm rot="5400000">
                  <a:off x="4197485" y="-3571486"/>
                  <a:ext cx="1792447" cy="4882348"/>
                  <a:chOff x="4197485" y="-3571486"/>
                  <a:chExt cx="1792447" cy="4882348"/>
                </a:xfrm>
                <a:grpFill/>
              </p:grpSpPr>
              <p:sp>
                <p:nvSpPr>
                  <p:cNvPr id="506" name="Freeform: Shape 325">
                    <a:extLst>
                      <a:ext uri="{FF2B5EF4-FFF2-40B4-BE49-F238E27FC236}">
                        <a16:creationId xmlns:a16="http://schemas.microsoft.com/office/drawing/2014/main" id="{3990668B-3509-4E04-8CFA-E231CDD396D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7" name="Freeform: Shape 326">
                    <a:extLst>
                      <a:ext uri="{FF2B5EF4-FFF2-40B4-BE49-F238E27FC236}">
                        <a16:creationId xmlns:a16="http://schemas.microsoft.com/office/drawing/2014/main" id="{2D720520-3E98-408A-A376-D3A8BFDAD44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40" name="Group 439">
              <a:extLst>
                <a:ext uri="{FF2B5EF4-FFF2-40B4-BE49-F238E27FC236}">
                  <a16:creationId xmlns:a16="http://schemas.microsoft.com/office/drawing/2014/main" id="{543B5AFA-85EF-4554-B3B0-24715B822CE9}"/>
                </a:ext>
              </a:extLst>
            </p:cNvPr>
            <p:cNvGrpSpPr/>
            <p:nvPr/>
          </p:nvGrpSpPr>
          <p:grpSpPr>
            <a:xfrm>
              <a:off x="6807004" y="1957907"/>
              <a:ext cx="819226" cy="517562"/>
              <a:chOff x="6444145" y="1701124"/>
              <a:chExt cx="1280626" cy="802839"/>
            </a:xfrm>
            <a:solidFill>
              <a:schemeClr val="tx2"/>
            </a:solidFill>
          </p:grpSpPr>
          <p:grpSp>
            <p:nvGrpSpPr>
              <p:cNvPr id="495" name="Group 494">
                <a:extLst>
                  <a:ext uri="{FF2B5EF4-FFF2-40B4-BE49-F238E27FC236}">
                    <a16:creationId xmlns:a16="http://schemas.microsoft.com/office/drawing/2014/main" id="{0ABED0C7-E167-4BEE-8EA8-2A7D0265C401}"/>
                  </a:ext>
                </a:extLst>
              </p:cNvPr>
              <p:cNvGrpSpPr/>
              <p:nvPr/>
            </p:nvGrpSpPr>
            <p:grpSpPr>
              <a:xfrm>
                <a:off x="6444145" y="2041258"/>
                <a:ext cx="1280626" cy="462705"/>
                <a:chOff x="6799745" y="2065165"/>
                <a:chExt cx="1280626" cy="462705"/>
              </a:xfrm>
              <a:grpFill/>
            </p:grpSpPr>
            <p:sp>
              <p:nvSpPr>
                <p:cNvPr id="499" name="Rectangle: Rounded Corners 351">
                  <a:extLst>
                    <a:ext uri="{FF2B5EF4-FFF2-40B4-BE49-F238E27FC236}">
                      <a16:creationId xmlns:a16="http://schemas.microsoft.com/office/drawing/2014/main" id="{6EEE55C2-2F45-4B6B-8105-24BF4D96233B}"/>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0" name="Rectangle: Rounded Corners 353">
                  <a:extLst>
                    <a:ext uri="{FF2B5EF4-FFF2-40B4-BE49-F238E27FC236}">
                      <a16:creationId xmlns:a16="http://schemas.microsoft.com/office/drawing/2014/main" id="{9B14800E-E859-446E-9997-E3531B0CAB75}"/>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6" name="Group 495">
                <a:extLst>
                  <a:ext uri="{FF2B5EF4-FFF2-40B4-BE49-F238E27FC236}">
                    <a16:creationId xmlns:a16="http://schemas.microsoft.com/office/drawing/2014/main" id="{7E1C808C-1610-4066-A009-E0F824BEC39C}"/>
                  </a:ext>
                </a:extLst>
              </p:cNvPr>
              <p:cNvGrpSpPr/>
              <p:nvPr/>
            </p:nvGrpSpPr>
            <p:grpSpPr>
              <a:xfrm>
                <a:off x="6691732" y="1701124"/>
                <a:ext cx="956368" cy="458033"/>
                <a:chOff x="7044558" y="1563201"/>
                <a:chExt cx="964127" cy="461749"/>
              </a:xfrm>
              <a:grpFill/>
            </p:grpSpPr>
            <p:sp>
              <p:nvSpPr>
                <p:cNvPr id="497" name="Rectangle: Rounded Corners 347">
                  <a:extLst>
                    <a:ext uri="{FF2B5EF4-FFF2-40B4-BE49-F238E27FC236}">
                      <a16:creationId xmlns:a16="http://schemas.microsoft.com/office/drawing/2014/main" id="{E8AC8778-54B5-47A9-8B25-EF1E3C9D77EC}"/>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8" name="Rectangle: Rounded Corners 348">
                  <a:extLst>
                    <a:ext uri="{FF2B5EF4-FFF2-40B4-BE49-F238E27FC236}">
                      <a16:creationId xmlns:a16="http://schemas.microsoft.com/office/drawing/2014/main" id="{EC798BCC-6951-4246-A2C7-FCF9DF9CEDC4}"/>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41" name="Group 440">
              <a:extLst>
                <a:ext uri="{FF2B5EF4-FFF2-40B4-BE49-F238E27FC236}">
                  <a16:creationId xmlns:a16="http://schemas.microsoft.com/office/drawing/2014/main" id="{C63B6FA3-3978-4224-AD05-93C4EADB2523}"/>
                </a:ext>
              </a:extLst>
            </p:cNvPr>
            <p:cNvGrpSpPr/>
            <p:nvPr/>
          </p:nvGrpSpPr>
          <p:grpSpPr>
            <a:xfrm>
              <a:off x="6999001" y="2588405"/>
              <a:ext cx="228070" cy="228070"/>
              <a:chOff x="7547191" y="1416189"/>
              <a:chExt cx="507244" cy="507244"/>
            </a:xfrm>
          </p:grpSpPr>
          <p:sp>
            <p:nvSpPr>
              <p:cNvPr id="493" name="Oval 492">
                <a:extLst>
                  <a:ext uri="{FF2B5EF4-FFF2-40B4-BE49-F238E27FC236}">
                    <a16:creationId xmlns:a16="http://schemas.microsoft.com/office/drawing/2014/main" id="{4723C510-30DA-4862-A533-8D77660422C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4" name="Freeform 594">
                <a:extLst>
                  <a:ext uri="{FF2B5EF4-FFF2-40B4-BE49-F238E27FC236}">
                    <a16:creationId xmlns:a16="http://schemas.microsoft.com/office/drawing/2014/main" id="{C0FC5380-4990-4834-BC3B-B2289600229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2" name="Group 441">
              <a:extLst>
                <a:ext uri="{FF2B5EF4-FFF2-40B4-BE49-F238E27FC236}">
                  <a16:creationId xmlns:a16="http://schemas.microsoft.com/office/drawing/2014/main" id="{8D925D69-8DBE-4ABE-B9FB-BED633744961}"/>
                </a:ext>
              </a:extLst>
            </p:cNvPr>
            <p:cNvGrpSpPr/>
            <p:nvPr/>
          </p:nvGrpSpPr>
          <p:grpSpPr>
            <a:xfrm>
              <a:off x="4858902" y="2770027"/>
              <a:ext cx="860793" cy="301990"/>
              <a:chOff x="5119882" y="2533650"/>
              <a:chExt cx="941045" cy="425467"/>
            </a:xfrm>
          </p:grpSpPr>
          <p:sp>
            <p:nvSpPr>
              <p:cNvPr id="489" name="Rounded Rectangle 133">
                <a:extLst>
                  <a:ext uri="{FF2B5EF4-FFF2-40B4-BE49-F238E27FC236}">
                    <a16:creationId xmlns:a16="http://schemas.microsoft.com/office/drawing/2014/main" id="{FF2DD8BC-42E6-42F8-BD2C-DD9034706B27}"/>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490" name="Group 489">
                <a:extLst>
                  <a:ext uri="{FF2B5EF4-FFF2-40B4-BE49-F238E27FC236}">
                    <a16:creationId xmlns:a16="http://schemas.microsoft.com/office/drawing/2014/main" id="{A8192E02-DE98-4FB6-9D91-6DE3385CA2D3}"/>
                  </a:ext>
                </a:extLst>
              </p:cNvPr>
              <p:cNvGrpSpPr/>
              <p:nvPr/>
            </p:nvGrpSpPr>
            <p:grpSpPr>
              <a:xfrm>
                <a:off x="5538458" y="2727217"/>
                <a:ext cx="433750" cy="208020"/>
                <a:chOff x="7583358" y="2759986"/>
                <a:chExt cx="552936" cy="265180"/>
              </a:xfrm>
            </p:grpSpPr>
            <p:pic>
              <p:nvPicPr>
                <p:cNvPr id="491" name="Picture 490">
                  <a:extLst>
                    <a:ext uri="{FF2B5EF4-FFF2-40B4-BE49-F238E27FC236}">
                      <a16:creationId xmlns:a16="http://schemas.microsoft.com/office/drawing/2014/main" id="{76ED62FA-AA91-4E80-81FA-57B33408FE59}"/>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492" name="Picture 491">
                  <a:extLst>
                    <a:ext uri="{FF2B5EF4-FFF2-40B4-BE49-F238E27FC236}">
                      <a16:creationId xmlns:a16="http://schemas.microsoft.com/office/drawing/2014/main" id="{76458EF2-0644-4E3C-B36E-FA2C76D5C060}"/>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443" name="Group 442">
              <a:extLst>
                <a:ext uri="{FF2B5EF4-FFF2-40B4-BE49-F238E27FC236}">
                  <a16:creationId xmlns:a16="http://schemas.microsoft.com/office/drawing/2014/main" id="{773CAD21-9D91-4880-91CB-8632888BA955}"/>
                </a:ext>
              </a:extLst>
            </p:cNvPr>
            <p:cNvGrpSpPr/>
            <p:nvPr/>
          </p:nvGrpSpPr>
          <p:grpSpPr>
            <a:xfrm>
              <a:off x="5413022" y="2657499"/>
              <a:ext cx="228070" cy="228070"/>
              <a:chOff x="7547191" y="1416189"/>
              <a:chExt cx="507244" cy="507244"/>
            </a:xfrm>
          </p:grpSpPr>
          <p:sp>
            <p:nvSpPr>
              <p:cNvPr id="487" name="Oval 486">
                <a:extLst>
                  <a:ext uri="{FF2B5EF4-FFF2-40B4-BE49-F238E27FC236}">
                    <a16:creationId xmlns:a16="http://schemas.microsoft.com/office/drawing/2014/main" id="{848492BE-6AEE-4DE7-8E55-00931E25FB1D}"/>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8" name="Freeform 594">
                <a:extLst>
                  <a:ext uri="{FF2B5EF4-FFF2-40B4-BE49-F238E27FC236}">
                    <a16:creationId xmlns:a16="http://schemas.microsoft.com/office/drawing/2014/main" id="{1B9253D0-2887-4A95-903A-E786E5E94DA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4" name="Group 443">
              <a:extLst>
                <a:ext uri="{FF2B5EF4-FFF2-40B4-BE49-F238E27FC236}">
                  <a16:creationId xmlns:a16="http://schemas.microsoft.com/office/drawing/2014/main" id="{6001D150-F09C-4497-89A7-52FD55C916C5}"/>
                </a:ext>
              </a:extLst>
            </p:cNvPr>
            <p:cNvGrpSpPr/>
            <p:nvPr/>
          </p:nvGrpSpPr>
          <p:grpSpPr>
            <a:xfrm>
              <a:off x="3509160" y="2770027"/>
              <a:ext cx="860793" cy="301990"/>
              <a:chOff x="3644303" y="2533650"/>
              <a:chExt cx="941045" cy="425467"/>
            </a:xfrm>
          </p:grpSpPr>
          <p:sp>
            <p:nvSpPr>
              <p:cNvPr id="483" name="Rounded Rectangle 133">
                <a:extLst>
                  <a:ext uri="{FF2B5EF4-FFF2-40B4-BE49-F238E27FC236}">
                    <a16:creationId xmlns:a16="http://schemas.microsoft.com/office/drawing/2014/main" id="{2E40B311-4BDC-456D-A766-0699C4C3786F}"/>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484" name="Group 483">
                <a:extLst>
                  <a:ext uri="{FF2B5EF4-FFF2-40B4-BE49-F238E27FC236}">
                    <a16:creationId xmlns:a16="http://schemas.microsoft.com/office/drawing/2014/main" id="{248947A1-0973-4E24-9CED-8E13F2C8499B}"/>
                  </a:ext>
                </a:extLst>
              </p:cNvPr>
              <p:cNvGrpSpPr/>
              <p:nvPr/>
            </p:nvGrpSpPr>
            <p:grpSpPr>
              <a:xfrm>
                <a:off x="4086942" y="2727217"/>
                <a:ext cx="433750" cy="208020"/>
                <a:chOff x="7614033" y="2759986"/>
                <a:chExt cx="552936" cy="265180"/>
              </a:xfrm>
            </p:grpSpPr>
            <p:pic>
              <p:nvPicPr>
                <p:cNvPr id="485" name="Picture 484">
                  <a:extLst>
                    <a:ext uri="{FF2B5EF4-FFF2-40B4-BE49-F238E27FC236}">
                      <a16:creationId xmlns:a16="http://schemas.microsoft.com/office/drawing/2014/main" id="{452152A9-8B77-4A34-9E6E-F0601FD50502}"/>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486" name="Picture 485">
                  <a:extLst>
                    <a:ext uri="{FF2B5EF4-FFF2-40B4-BE49-F238E27FC236}">
                      <a16:creationId xmlns:a16="http://schemas.microsoft.com/office/drawing/2014/main" id="{4A0C2DC7-B41E-408C-A6CD-6DAD568A99EC}"/>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445" name="Group 444">
              <a:extLst>
                <a:ext uri="{FF2B5EF4-FFF2-40B4-BE49-F238E27FC236}">
                  <a16:creationId xmlns:a16="http://schemas.microsoft.com/office/drawing/2014/main" id="{C1CB96D0-DEE8-435B-A0A1-FE7D1B35E27F}"/>
                </a:ext>
              </a:extLst>
            </p:cNvPr>
            <p:cNvGrpSpPr/>
            <p:nvPr/>
          </p:nvGrpSpPr>
          <p:grpSpPr>
            <a:xfrm>
              <a:off x="3939637" y="2657113"/>
              <a:ext cx="228070" cy="228070"/>
              <a:chOff x="7547191" y="1416189"/>
              <a:chExt cx="507244" cy="507244"/>
            </a:xfrm>
          </p:grpSpPr>
          <p:sp>
            <p:nvSpPr>
              <p:cNvPr id="481" name="Oval 480">
                <a:extLst>
                  <a:ext uri="{FF2B5EF4-FFF2-40B4-BE49-F238E27FC236}">
                    <a16:creationId xmlns:a16="http://schemas.microsoft.com/office/drawing/2014/main" id="{29746104-574E-4466-A23F-772ECD9FE040}"/>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2" name="Freeform 594">
                <a:extLst>
                  <a:ext uri="{FF2B5EF4-FFF2-40B4-BE49-F238E27FC236}">
                    <a16:creationId xmlns:a16="http://schemas.microsoft.com/office/drawing/2014/main" id="{F5129EEF-8AAC-4651-8416-2BA909CF281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6" name="Rectangle: Rounded Corners 692">
              <a:extLst>
                <a:ext uri="{FF2B5EF4-FFF2-40B4-BE49-F238E27FC236}">
                  <a16:creationId xmlns:a16="http://schemas.microsoft.com/office/drawing/2014/main" id="{FC092C90-E2BA-467F-8EE9-3E251A0DF86A}"/>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447" name="Rectangle: Rounded Corners 705">
              <a:extLst>
                <a:ext uri="{FF2B5EF4-FFF2-40B4-BE49-F238E27FC236}">
                  <a16:creationId xmlns:a16="http://schemas.microsoft.com/office/drawing/2014/main" id="{5CB2C742-01C6-4857-B3D8-C772FCA5A06F}"/>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448" name="Group 4">
              <a:extLst>
                <a:ext uri="{FF2B5EF4-FFF2-40B4-BE49-F238E27FC236}">
                  <a16:creationId xmlns:a16="http://schemas.microsoft.com/office/drawing/2014/main" id="{15D18056-467A-4FA9-8D1A-A5AF6F7C41E9}"/>
                </a:ext>
              </a:extLst>
            </p:cNvPr>
            <p:cNvGrpSpPr>
              <a:grpSpLocks noChangeAspect="1"/>
            </p:cNvGrpSpPr>
            <p:nvPr/>
          </p:nvGrpSpPr>
          <p:grpSpPr bwMode="auto">
            <a:xfrm>
              <a:off x="1353273" y="2463094"/>
              <a:ext cx="248989" cy="188487"/>
              <a:chOff x="740" y="0"/>
              <a:chExt cx="4280" cy="3240"/>
            </a:xfrm>
          </p:grpSpPr>
          <p:sp>
            <p:nvSpPr>
              <p:cNvPr id="477" name="Freeform 5">
                <a:extLst>
                  <a:ext uri="{FF2B5EF4-FFF2-40B4-BE49-F238E27FC236}">
                    <a16:creationId xmlns:a16="http://schemas.microsoft.com/office/drawing/2014/main" id="{65FC7727-8A13-40AE-8AC1-88633514B97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6">
                <a:extLst>
                  <a:ext uri="{FF2B5EF4-FFF2-40B4-BE49-F238E27FC236}">
                    <a16:creationId xmlns:a16="http://schemas.microsoft.com/office/drawing/2014/main" id="{DDF17004-0224-41C3-B951-97523F5150B9}"/>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7">
                <a:extLst>
                  <a:ext uri="{FF2B5EF4-FFF2-40B4-BE49-F238E27FC236}">
                    <a16:creationId xmlns:a16="http://schemas.microsoft.com/office/drawing/2014/main" id="{FDF2E347-99FE-4824-9A46-C403D8281700}"/>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8">
                <a:extLst>
                  <a:ext uri="{FF2B5EF4-FFF2-40B4-BE49-F238E27FC236}">
                    <a16:creationId xmlns:a16="http://schemas.microsoft.com/office/drawing/2014/main" id="{74D41575-10D5-489D-B28B-9CBA612FEE8B}"/>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9" name="Group 448">
              <a:extLst>
                <a:ext uri="{FF2B5EF4-FFF2-40B4-BE49-F238E27FC236}">
                  <a16:creationId xmlns:a16="http://schemas.microsoft.com/office/drawing/2014/main" id="{FA1AF6D8-447B-40BB-9B3D-6F08C9B648EC}"/>
                </a:ext>
              </a:extLst>
            </p:cNvPr>
            <p:cNvGrpSpPr/>
            <p:nvPr/>
          </p:nvGrpSpPr>
          <p:grpSpPr>
            <a:xfrm>
              <a:off x="1390132" y="2956526"/>
              <a:ext cx="167022" cy="230402"/>
              <a:chOff x="858973" y="1403744"/>
              <a:chExt cx="643458" cy="887629"/>
            </a:xfrm>
          </p:grpSpPr>
          <p:grpSp>
            <p:nvGrpSpPr>
              <p:cNvPr id="471" name="Group 470">
                <a:extLst>
                  <a:ext uri="{FF2B5EF4-FFF2-40B4-BE49-F238E27FC236}">
                    <a16:creationId xmlns:a16="http://schemas.microsoft.com/office/drawing/2014/main" id="{F6A03258-BC60-41B2-A973-45E038DB28AB}"/>
                  </a:ext>
                </a:extLst>
              </p:cNvPr>
              <p:cNvGrpSpPr/>
              <p:nvPr/>
            </p:nvGrpSpPr>
            <p:grpSpPr>
              <a:xfrm>
                <a:off x="858973" y="1403744"/>
                <a:ext cx="643458" cy="887629"/>
                <a:chOff x="565417" y="1536835"/>
                <a:chExt cx="996124" cy="1374120"/>
              </a:xfrm>
            </p:grpSpPr>
            <p:sp>
              <p:nvSpPr>
                <p:cNvPr id="473" name="Rounded Rectangle 63">
                  <a:extLst>
                    <a:ext uri="{FF2B5EF4-FFF2-40B4-BE49-F238E27FC236}">
                      <a16:creationId xmlns:a16="http://schemas.microsoft.com/office/drawing/2014/main" id="{1D11127F-F274-4A31-86A0-A6F597D58337}"/>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4" name="Group 473">
                  <a:extLst>
                    <a:ext uri="{FF2B5EF4-FFF2-40B4-BE49-F238E27FC236}">
                      <a16:creationId xmlns:a16="http://schemas.microsoft.com/office/drawing/2014/main" id="{73E11985-FBC5-4740-83CE-CC1E583D5B18}"/>
                    </a:ext>
                  </a:extLst>
                </p:cNvPr>
                <p:cNvGrpSpPr/>
                <p:nvPr/>
              </p:nvGrpSpPr>
              <p:grpSpPr>
                <a:xfrm>
                  <a:off x="565417" y="1536835"/>
                  <a:ext cx="996124" cy="1374120"/>
                  <a:chOff x="352800" y="-7200"/>
                  <a:chExt cx="1984680" cy="2737800"/>
                </a:xfrm>
              </p:grpSpPr>
              <p:sp>
                <p:nvSpPr>
                  <p:cNvPr id="475" name="Freeform: Shape 1">
                    <a:extLst>
                      <a:ext uri="{FF2B5EF4-FFF2-40B4-BE49-F238E27FC236}">
                        <a16:creationId xmlns:a16="http://schemas.microsoft.com/office/drawing/2014/main" id="{6B3412FA-3465-4711-ACEE-DE88DE2B421F}"/>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76" name="Freeform 57">
                    <a:extLst>
                      <a:ext uri="{FF2B5EF4-FFF2-40B4-BE49-F238E27FC236}">
                        <a16:creationId xmlns:a16="http://schemas.microsoft.com/office/drawing/2014/main" id="{BAEF2B69-C195-44BF-A5CC-738163E396BC}"/>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472" name="Freeform: Shape 796">
                <a:extLst>
                  <a:ext uri="{FF2B5EF4-FFF2-40B4-BE49-F238E27FC236}">
                    <a16:creationId xmlns:a16="http://schemas.microsoft.com/office/drawing/2014/main" id="{4948C2C3-C430-4A7E-8724-49E422E04777}"/>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450" name="TextBox 449">
              <a:extLst>
                <a:ext uri="{FF2B5EF4-FFF2-40B4-BE49-F238E27FC236}">
                  <a16:creationId xmlns:a16="http://schemas.microsoft.com/office/drawing/2014/main" id="{E20BCDB2-51AF-4798-BCD7-35E56E0D843F}"/>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451" name="TextBox 450">
              <a:extLst>
                <a:ext uri="{FF2B5EF4-FFF2-40B4-BE49-F238E27FC236}">
                  <a16:creationId xmlns:a16="http://schemas.microsoft.com/office/drawing/2014/main" id="{46D7D0DF-4CA4-4B79-AAC1-B1ECA893DB8A}"/>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452" name="Rectangle 451">
              <a:extLst>
                <a:ext uri="{FF2B5EF4-FFF2-40B4-BE49-F238E27FC236}">
                  <a16:creationId xmlns:a16="http://schemas.microsoft.com/office/drawing/2014/main" id="{686BF0DC-3F10-4B8E-B886-26575645F808}"/>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453" name="Rectangle 452">
              <a:extLst>
                <a:ext uri="{FF2B5EF4-FFF2-40B4-BE49-F238E27FC236}">
                  <a16:creationId xmlns:a16="http://schemas.microsoft.com/office/drawing/2014/main" id="{748048A7-1FF7-444C-AF54-075CB5B0BEEE}"/>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454" name="Picture 453">
              <a:extLst>
                <a:ext uri="{FF2B5EF4-FFF2-40B4-BE49-F238E27FC236}">
                  <a16:creationId xmlns:a16="http://schemas.microsoft.com/office/drawing/2014/main" id="{CD6C2954-35B0-4CAE-9435-003A578CEB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455" name="Picture 454">
              <a:extLst>
                <a:ext uri="{FF2B5EF4-FFF2-40B4-BE49-F238E27FC236}">
                  <a16:creationId xmlns:a16="http://schemas.microsoft.com/office/drawing/2014/main" id="{644629DF-F9F5-4492-A6BB-CCD66F0919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56" name="Rectangle: Rounded Corners 455">
              <a:extLst>
                <a:ext uri="{FF2B5EF4-FFF2-40B4-BE49-F238E27FC236}">
                  <a16:creationId xmlns:a16="http://schemas.microsoft.com/office/drawing/2014/main" id="{54AA5980-04C4-492F-8621-45F327D2CBBF}"/>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57" name="Rectangle: Rounded Corners 456">
              <a:extLst>
                <a:ext uri="{FF2B5EF4-FFF2-40B4-BE49-F238E27FC236}">
                  <a16:creationId xmlns:a16="http://schemas.microsoft.com/office/drawing/2014/main" id="{0A090C3F-D22A-4AB5-B59E-A26979BECA42}"/>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58" name="Rectangle: Rounded Corners 457">
              <a:extLst>
                <a:ext uri="{FF2B5EF4-FFF2-40B4-BE49-F238E27FC236}">
                  <a16:creationId xmlns:a16="http://schemas.microsoft.com/office/drawing/2014/main" id="{10921F29-01AD-498D-8D44-C3CC5FB48C8A}"/>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3" name="Oval 462">
              <a:extLst>
                <a:ext uri="{FF2B5EF4-FFF2-40B4-BE49-F238E27FC236}">
                  <a16:creationId xmlns:a16="http://schemas.microsoft.com/office/drawing/2014/main" id="{B08A8156-EFAE-4CAF-8437-5538E20D9E07}"/>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8" name="Freeform 23">
              <a:extLst>
                <a:ext uri="{FF2B5EF4-FFF2-40B4-BE49-F238E27FC236}">
                  <a16:creationId xmlns:a16="http://schemas.microsoft.com/office/drawing/2014/main" id="{8BFA84BE-30F8-4169-82FD-46C3C576A35B}"/>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469" name="Arc 468">
              <a:extLst>
                <a:ext uri="{FF2B5EF4-FFF2-40B4-BE49-F238E27FC236}">
                  <a16:creationId xmlns:a16="http://schemas.microsoft.com/office/drawing/2014/main" id="{3DD8EC98-66B9-48C2-BCDD-3FB8AEC873C6}"/>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70" name="Picture 469">
              <a:extLst>
                <a:ext uri="{FF2B5EF4-FFF2-40B4-BE49-F238E27FC236}">
                  <a16:creationId xmlns:a16="http://schemas.microsoft.com/office/drawing/2014/main" id="{97701729-C8EF-4672-A468-288A3BBCBAB7}"/>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grpSp>
        <p:nvGrpSpPr>
          <p:cNvPr id="180" name="Group 179">
            <a:extLst>
              <a:ext uri="{FF2B5EF4-FFF2-40B4-BE49-F238E27FC236}">
                <a16:creationId xmlns:a16="http://schemas.microsoft.com/office/drawing/2014/main" id="{129D7A5A-8E3E-4FD2-B0FB-47C49F615B78}"/>
              </a:ext>
            </a:extLst>
          </p:cNvPr>
          <p:cNvGrpSpPr/>
          <p:nvPr/>
        </p:nvGrpSpPr>
        <p:grpSpPr>
          <a:xfrm>
            <a:off x="2085124" y="1138669"/>
            <a:ext cx="5019081" cy="556743"/>
            <a:chOff x="2239219" y="3481266"/>
            <a:chExt cx="1260000" cy="556743"/>
          </a:xfrm>
        </p:grpSpPr>
        <p:sp>
          <p:nvSpPr>
            <p:cNvPr id="181" name="Rectangle 180">
              <a:extLst>
                <a:ext uri="{FF2B5EF4-FFF2-40B4-BE49-F238E27FC236}">
                  <a16:creationId xmlns:a16="http://schemas.microsoft.com/office/drawing/2014/main" id="{FBADDD96-E7B0-4E66-9B4A-0F1F5FC7527D}"/>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Automation</a:t>
              </a:r>
            </a:p>
          </p:txBody>
        </p:sp>
        <p:sp>
          <p:nvSpPr>
            <p:cNvPr id="182" name="Rectangle 181">
              <a:extLst>
                <a:ext uri="{FF2B5EF4-FFF2-40B4-BE49-F238E27FC236}">
                  <a16:creationId xmlns:a16="http://schemas.microsoft.com/office/drawing/2014/main" id="{709758CA-A3A5-4E35-A024-3AEB70BEC6E8}"/>
                </a:ext>
              </a:extLst>
            </p:cNvPr>
            <p:cNvSpPr/>
            <p:nvPr/>
          </p:nvSpPr>
          <p:spPr>
            <a:xfrm>
              <a:off x="2239219" y="3865599"/>
              <a:ext cx="1260000" cy="17241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SO/SR-PCE + </a:t>
              </a:r>
              <a:r>
                <a:rPr kumimoji="0" lang="en-US" sz="1000" b="0" i="0" u="none" strike="noStrike" kern="1200" cap="none" spc="0" normalizeH="0" baseline="0" noProof="0" dirty="0" err="1">
                  <a:ln>
                    <a:noFill/>
                  </a:ln>
                  <a:solidFill>
                    <a:srgbClr val="005073"/>
                  </a:solidFill>
                  <a:effectLst/>
                  <a:uLnTx/>
                  <a:uFillTx/>
                  <a:latin typeface="CiscoSansTT" panose="020B0503020201020303" pitchFamily="34" charset="0"/>
                  <a:ea typeface="+mn-ea"/>
                  <a:cs typeface="CiscoSansTT" panose="020B0503020201020303" pitchFamily="34" charset="0"/>
                </a:rPr>
                <a:t>Crosswork</a:t>
              </a: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 + WAE + XRv9000 + EPN-M</a:t>
              </a:r>
            </a:p>
          </p:txBody>
        </p:sp>
      </p:grpSp>
      <p:grpSp>
        <p:nvGrpSpPr>
          <p:cNvPr id="179" name="Group 178">
            <a:extLst>
              <a:ext uri="{FF2B5EF4-FFF2-40B4-BE49-F238E27FC236}">
                <a16:creationId xmlns:a16="http://schemas.microsoft.com/office/drawing/2014/main" id="{3C6F25A1-E32A-46D9-ACAC-F3E02426511A}"/>
              </a:ext>
            </a:extLst>
          </p:cNvPr>
          <p:cNvGrpSpPr/>
          <p:nvPr/>
        </p:nvGrpSpPr>
        <p:grpSpPr>
          <a:xfrm>
            <a:off x="7104205" y="3698416"/>
            <a:ext cx="1096123" cy="542975"/>
            <a:chOff x="6153327" y="1357736"/>
            <a:chExt cx="1096123" cy="542975"/>
          </a:xfrm>
        </p:grpSpPr>
        <p:grpSp>
          <p:nvGrpSpPr>
            <p:cNvPr id="183" name="Group 182">
              <a:extLst>
                <a:ext uri="{FF2B5EF4-FFF2-40B4-BE49-F238E27FC236}">
                  <a16:creationId xmlns:a16="http://schemas.microsoft.com/office/drawing/2014/main" id="{C4BD7580-84A7-45BA-800D-B11BD5926922}"/>
                </a:ext>
              </a:extLst>
            </p:cNvPr>
            <p:cNvGrpSpPr>
              <a:grpSpLocks noChangeAspect="1"/>
            </p:cNvGrpSpPr>
            <p:nvPr/>
          </p:nvGrpSpPr>
          <p:grpSpPr>
            <a:xfrm>
              <a:off x="6153327" y="1357736"/>
              <a:ext cx="1096123" cy="542975"/>
              <a:chOff x="836085" y="1496592"/>
              <a:chExt cx="538984" cy="266991"/>
            </a:xfrm>
          </p:grpSpPr>
          <p:sp>
            <p:nvSpPr>
              <p:cNvPr id="189" name="Freeform 751">
                <a:extLst>
                  <a:ext uri="{FF2B5EF4-FFF2-40B4-BE49-F238E27FC236}">
                    <a16:creationId xmlns:a16="http://schemas.microsoft.com/office/drawing/2014/main" id="{9B25193C-63D8-40A7-96B8-EBC1180D5B46}"/>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1">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190" name="Freeform 752">
                <a:extLst>
                  <a:ext uri="{FF2B5EF4-FFF2-40B4-BE49-F238E27FC236}">
                    <a16:creationId xmlns:a16="http://schemas.microsoft.com/office/drawing/2014/main" id="{DA658A57-C157-4D8D-AECE-0F866A803B8E}"/>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1">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191" name="Freeform 753">
                <a:extLst>
                  <a:ext uri="{FF2B5EF4-FFF2-40B4-BE49-F238E27FC236}">
                    <a16:creationId xmlns:a16="http://schemas.microsoft.com/office/drawing/2014/main" id="{78CE5434-8D9D-43AC-9F5C-A9DB8A70C83C}"/>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1">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nvGrpSpPr>
            <p:cNvPr id="184" name="Group 183">
              <a:extLst>
                <a:ext uri="{FF2B5EF4-FFF2-40B4-BE49-F238E27FC236}">
                  <a16:creationId xmlns:a16="http://schemas.microsoft.com/office/drawing/2014/main" id="{53ACF961-22C8-4774-A983-20486F4716CE}"/>
                </a:ext>
              </a:extLst>
            </p:cNvPr>
            <p:cNvGrpSpPr/>
            <p:nvPr/>
          </p:nvGrpSpPr>
          <p:grpSpPr>
            <a:xfrm>
              <a:off x="6514922" y="1553945"/>
              <a:ext cx="443255" cy="306126"/>
              <a:chOff x="6734892" y="1530785"/>
              <a:chExt cx="443255" cy="306126"/>
            </a:xfrm>
            <a:solidFill>
              <a:srgbClr val="8ECC72"/>
            </a:solidFill>
          </p:grpSpPr>
          <p:sp>
            <p:nvSpPr>
              <p:cNvPr id="185" name="Oval 184">
                <a:extLst>
                  <a:ext uri="{FF2B5EF4-FFF2-40B4-BE49-F238E27FC236}">
                    <a16:creationId xmlns:a16="http://schemas.microsoft.com/office/drawing/2014/main" id="{CAC10550-9D4D-4F09-B2E1-71DD88CF2F73}"/>
                  </a:ext>
                </a:extLst>
              </p:cNvPr>
              <p:cNvSpPr/>
              <p:nvPr/>
            </p:nvSpPr>
            <p:spPr>
              <a:xfrm>
                <a:off x="6734892" y="1532050"/>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6" name="Oval 185">
                <a:extLst>
                  <a:ext uri="{FF2B5EF4-FFF2-40B4-BE49-F238E27FC236}">
                    <a16:creationId xmlns:a16="http://schemas.microsoft.com/office/drawing/2014/main" id="{ECB2D8FB-734A-4DA1-8CC0-97CDE6C7554D}"/>
                  </a:ext>
                </a:extLst>
              </p:cNvPr>
              <p:cNvSpPr/>
              <p:nvPr/>
            </p:nvSpPr>
            <p:spPr>
              <a:xfrm>
                <a:off x="6955466" y="1530785"/>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7" name="Oval 186">
                <a:extLst>
                  <a:ext uri="{FF2B5EF4-FFF2-40B4-BE49-F238E27FC236}">
                    <a16:creationId xmlns:a16="http://schemas.microsoft.com/office/drawing/2014/main" id="{AF51EC43-0044-4EAE-974C-478A2108BA50}"/>
                  </a:ext>
                </a:extLst>
              </p:cNvPr>
              <p:cNvSpPr/>
              <p:nvPr/>
            </p:nvSpPr>
            <p:spPr>
              <a:xfrm>
                <a:off x="6851234" y="1720569"/>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8" name="Oval 187">
                <a:extLst>
                  <a:ext uri="{FF2B5EF4-FFF2-40B4-BE49-F238E27FC236}">
                    <a16:creationId xmlns:a16="http://schemas.microsoft.com/office/drawing/2014/main" id="{01B449E0-BD5B-476D-8022-F2F3C28F19B1}"/>
                  </a:ext>
                </a:extLst>
              </p:cNvPr>
              <p:cNvSpPr/>
              <p:nvPr/>
            </p:nvSpPr>
            <p:spPr>
              <a:xfrm>
                <a:off x="7061805" y="1716405"/>
                <a:ext cx="116342" cy="11634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cxnSp>
        <p:nvCxnSpPr>
          <p:cNvPr id="7" name="Connector: Curved 6">
            <a:extLst>
              <a:ext uri="{FF2B5EF4-FFF2-40B4-BE49-F238E27FC236}">
                <a16:creationId xmlns:a16="http://schemas.microsoft.com/office/drawing/2014/main" id="{0ACFA349-ECAD-4FB7-8128-63414C5D99A1}"/>
              </a:ext>
            </a:extLst>
          </p:cNvPr>
          <p:cNvCxnSpPr>
            <a:cxnSpLocks/>
            <a:stCxn id="229" idx="2"/>
            <a:endCxn id="189" idx="6"/>
          </p:cNvCxnSpPr>
          <p:nvPr/>
        </p:nvCxnSpPr>
        <p:spPr>
          <a:xfrm rot="5400000" flipH="1" flipV="1">
            <a:off x="4641898" y="847169"/>
            <a:ext cx="279750" cy="6837110"/>
          </a:xfrm>
          <a:prstGeom prst="curvedConnector4">
            <a:avLst>
              <a:gd name="adj1" fmla="val -81716"/>
              <a:gd name="adj2" fmla="val 10334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Connector: Curved 8">
            <a:extLst>
              <a:ext uri="{FF2B5EF4-FFF2-40B4-BE49-F238E27FC236}">
                <a16:creationId xmlns:a16="http://schemas.microsoft.com/office/drawing/2014/main" id="{86421CBE-6DC4-4D99-9922-21BEDEFA13E1}"/>
              </a:ext>
            </a:extLst>
          </p:cNvPr>
          <p:cNvCxnSpPr>
            <a:cxnSpLocks/>
            <a:stCxn id="221" idx="2"/>
            <a:endCxn id="189" idx="6"/>
          </p:cNvCxnSpPr>
          <p:nvPr/>
        </p:nvCxnSpPr>
        <p:spPr>
          <a:xfrm rot="5400000" flipH="1" flipV="1">
            <a:off x="5394898" y="1600169"/>
            <a:ext cx="279750" cy="5331109"/>
          </a:xfrm>
          <a:prstGeom prst="curvedConnector4">
            <a:avLst>
              <a:gd name="adj1" fmla="val -81716"/>
              <a:gd name="adj2" fmla="val 1042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Connector: Curved 10">
            <a:extLst>
              <a:ext uri="{FF2B5EF4-FFF2-40B4-BE49-F238E27FC236}">
                <a16:creationId xmlns:a16="http://schemas.microsoft.com/office/drawing/2014/main" id="{40B35FBF-3245-4CFC-9B66-A46C58AD0654}"/>
              </a:ext>
            </a:extLst>
          </p:cNvPr>
          <p:cNvCxnSpPr>
            <a:cxnSpLocks/>
            <a:stCxn id="226" idx="2"/>
            <a:endCxn id="189" idx="6"/>
          </p:cNvCxnSpPr>
          <p:nvPr/>
        </p:nvCxnSpPr>
        <p:spPr>
          <a:xfrm rot="5400000" flipH="1" flipV="1">
            <a:off x="6147899" y="2353170"/>
            <a:ext cx="279750" cy="3825108"/>
          </a:xfrm>
          <a:prstGeom prst="curvedConnector4">
            <a:avLst>
              <a:gd name="adj1" fmla="val -81716"/>
              <a:gd name="adj2" fmla="val 1059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Connector: Curved 12">
            <a:extLst>
              <a:ext uri="{FF2B5EF4-FFF2-40B4-BE49-F238E27FC236}">
                <a16:creationId xmlns:a16="http://schemas.microsoft.com/office/drawing/2014/main" id="{7B8A94F1-3430-40BA-AD49-CAE8865E2DF5}"/>
              </a:ext>
            </a:extLst>
          </p:cNvPr>
          <p:cNvCxnSpPr>
            <a:cxnSpLocks/>
            <a:stCxn id="228" idx="2"/>
            <a:endCxn id="189" idx="6"/>
          </p:cNvCxnSpPr>
          <p:nvPr/>
        </p:nvCxnSpPr>
        <p:spPr>
          <a:xfrm rot="5400000" flipH="1" flipV="1">
            <a:off x="6900899" y="3106170"/>
            <a:ext cx="279750" cy="2319107"/>
          </a:xfrm>
          <a:prstGeom prst="curvedConnector4">
            <a:avLst>
              <a:gd name="adj1" fmla="val -81716"/>
              <a:gd name="adj2" fmla="val 109857"/>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BC896CD-443A-4282-A2F4-9FFEA001A469}"/>
              </a:ext>
            </a:extLst>
          </p:cNvPr>
          <p:cNvSpPr/>
          <p:nvPr/>
        </p:nvSpPr>
        <p:spPr>
          <a:xfrm>
            <a:off x="6563643" y="3078322"/>
            <a:ext cx="2336399" cy="57104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Central Pool for All Licenses</a:t>
            </a:r>
          </a:p>
        </p:txBody>
      </p:sp>
    </p:spTree>
    <p:extLst>
      <p:ext uri="{BB962C8B-B14F-4D97-AF65-F5344CB8AC3E}">
        <p14:creationId xmlns:p14="http://schemas.microsoft.com/office/powerpoint/2010/main" val="363421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9797B-D76C-4F74-84A6-A2A214511449}"/>
              </a:ext>
            </a:extLst>
          </p:cNvPr>
          <p:cNvSpPr>
            <a:spLocks noGrp="1"/>
          </p:cNvSpPr>
          <p:nvPr>
            <p:ph type="ctrTitle"/>
          </p:nvPr>
        </p:nvSpPr>
        <p:spPr/>
        <p:txBody>
          <a:bodyPr/>
          <a:lstStyle/>
          <a:p>
            <a:r>
              <a:rPr lang="en-US" dirty="0"/>
              <a:t>DC-Interconnect</a:t>
            </a:r>
          </a:p>
        </p:txBody>
      </p:sp>
    </p:spTree>
    <p:extLst>
      <p:ext uri="{BB962C8B-B14F-4D97-AF65-F5344CB8AC3E}">
        <p14:creationId xmlns:p14="http://schemas.microsoft.com/office/powerpoint/2010/main" val="3234798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DC Interconnect</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1"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7"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nvGrpSpPr>
          <p:cNvPr id="2" name="Group 1">
            <a:extLst>
              <a:ext uri="{FF2B5EF4-FFF2-40B4-BE49-F238E27FC236}">
                <a16:creationId xmlns:a16="http://schemas.microsoft.com/office/drawing/2014/main" id="{EFFFC613-1B08-4E99-9150-CB29AD1BE0D4}"/>
              </a:ext>
            </a:extLst>
          </p:cNvPr>
          <p:cNvGrpSpPr/>
          <p:nvPr/>
        </p:nvGrpSpPr>
        <p:grpSpPr>
          <a:xfrm>
            <a:off x="6807004" y="1957907"/>
            <a:ext cx="853777" cy="517562"/>
            <a:chOff x="6807004" y="1957907"/>
            <a:chExt cx="853777" cy="517562"/>
          </a:xfrm>
        </p:grpSpPr>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gr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2">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sp>
        <p:nvSpPr>
          <p:cNvPr id="201" name="Rectangle 200">
            <a:extLst>
              <a:ext uri="{FF2B5EF4-FFF2-40B4-BE49-F238E27FC236}">
                <a16:creationId xmlns:a16="http://schemas.microsoft.com/office/drawing/2014/main" id="{EC08BCEF-0D76-4578-B3AB-22A2944AAB23}"/>
              </a:ext>
            </a:extLst>
          </p:cNvPr>
          <p:cNvSpPr/>
          <p:nvPr/>
        </p:nvSpPr>
        <p:spPr>
          <a:xfrm flipH="1">
            <a:off x="732672" y="1771391"/>
            <a:ext cx="5970120" cy="1606923"/>
          </a:xfrm>
          <a:prstGeom prst="rect">
            <a:avLst/>
          </a:prstGeom>
          <a:gradFill>
            <a:gsLst>
              <a:gs pos="0">
                <a:schemeClr val="accent1">
                  <a:lumMod val="5000"/>
                  <a:lumOff val="95000"/>
                  <a:alpha val="0"/>
                </a:schemeClr>
              </a:gs>
              <a:gs pos="12000">
                <a:schemeClr val="accent4">
                  <a:alpha val="60000"/>
                </a:schemeClr>
              </a:gs>
              <a:gs pos="100000">
                <a:schemeClr val="accent4">
                  <a:alpha val="75000"/>
                </a:schemeClr>
              </a:gs>
            </a:gsLst>
            <a:lin ang="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1" name="Rectangle 220">
            <a:extLst>
              <a:ext uri="{FF2B5EF4-FFF2-40B4-BE49-F238E27FC236}">
                <a16:creationId xmlns:a16="http://schemas.microsoft.com/office/drawing/2014/main" id="{85B5D98D-0635-4241-A5D8-01401122EDBB}"/>
              </a:ext>
            </a:extLst>
          </p:cNvPr>
          <p:cNvSpPr/>
          <p:nvPr/>
        </p:nvSpPr>
        <p:spPr>
          <a:xfrm>
            <a:off x="1789987" y="3394159"/>
            <a:ext cx="5945724" cy="1124054"/>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2" name="Rectangle 221">
            <a:extLst>
              <a:ext uri="{FF2B5EF4-FFF2-40B4-BE49-F238E27FC236}">
                <a16:creationId xmlns:a16="http://schemas.microsoft.com/office/drawing/2014/main" id="{552D17C2-84BE-4ED5-8817-DA6FE9CFEF2C}"/>
              </a:ext>
            </a:extLst>
          </p:cNvPr>
          <p:cNvSpPr/>
          <p:nvPr/>
        </p:nvSpPr>
        <p:spPr>
          <a:xfrm>
            <a:off x="1789987" y="1242865"/>
            <a:ext cx="5945724" cy="488854"/>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grpSp>
        <p:nvGrpSpPr>
          <p:cNvPr id="6" name="Group 5">
            <a:extLst>
              <a:ext uri="{FF2B5EF4-FFF2-40B4-BE49-F238E27FC236}">
                <a16:creationId xmlns:a16="http://schemas.microsoft.com/office/drawing/2014/main" id="{8BD9B641-2EFA-4937-874F-B43F8A38CB24}"/>
              </a:ext>
            </a:extLst>
          </p:cNvPr>
          <p:cNvGrpSpPr/>
          <p:nvPr/>
        </p:nvGrpSpPr>
        <p:grpSpPr>
          <a:xfrm>
            <a:off x="3470824" y="2657113"/>
            <a:ext cx="2355951" cy="548955"/>
            <a:chOff x="3470824" y="2657113"/>
            <a:chExt cx="2355951" cy="548955"/>
          </a:xfrm>
        </p:grpSpPr>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3"/>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4"/>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sp>
          <p:nvSpPr>
            <p:cNvPr id="185" name="Rounded Rectangle 133">
              <a:extLst>
                <a:ext uri="{FF2B5EF4-FFF2-40B4-BE49-F238E27FC236}">
                  <a16:creationId xmlns:a16="http://schemas.microsoft.com/office/drawing/2014/main" id="{830A2AB4-F4B3-2B45-BFD3-35523BA23718}"/>
                </a:ext>
              </a:extLst>
            </p:cNvPr>
            <p:cNvSpPr/>
            <p:nvPr/>
          </p:nvSpPr>
          <p:spPr>
            <a:xfrm>
              <a:off x="4858902" y="2770027"/>
              <a:ext cx="860793" cy="301990"/>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241782" y="2907418"/>
              <a:ext cx="396760" cy="147649"/>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3"/>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4"/>
              <a:stretch>
                <a:fillRect/>
              </a:stretch>
            </p:blipFill>
            <p:spPr>
              <a:xfrm>
                <a:off x="7871115" y="2759990"/>
                <a:ext cx="265179" cy="265176"/>
              </a:xfrm>
              <a:prstGeom prst="roundRect">
                <a:avLst>
                  <a:gd name="adj" fmla="val 21600"/>
                </a:avLst>
              </a:prstGeom>
            </p:spPr>
          </p:pic>
        </p:grpSp>
        <p:grpSp>
          <p:nvGrpSpPr>
            <p:cNvPr id="5" name="Group 4">
              <a:extLst>
                <a:ext uri="{FF2B5EF4-FFF2-40B4-BE49-F238E27FC236}">
                  <a16:creationId xmlns:a16="http://schemas.microsoft.com/office/drawing/2014/main" id="{B1BF9816-B517-4580-8A17-435E85789F58}"/>
                </a:ext>
              </a:extLst>
            </p:cNvPr>
            <p:cNvGrpSpPr/>
            <p:nvPr/>
          </p:nvGrpSpPr>
          <p:grpSpPr>
            <a:xfrm>
              <a:off x="5413022" y="2657499"/>
              <a:ext cx="228070" cy="228070"/>
              <a:chOff x="5413022" y="2657499"/>
              <a:chExt cx="228070" cy="228070"/>
            </a:xfrm>
          </p:grpSpPr>
          <p:sp>
            <p:nvSpPr>
              <p:cNvPr id="190" name="Oval 189">
                <a:extLst>
                  <a:ext uri="{FF2B5EF4-FFF2-40B4-BE49-F238E27FC236}">
                    <a16:creationId xmlns:a16="http://schemas.microsoft.com/office/drawing/2014/main" id="{4279B952-35E6-2D4C-873C-C79C8DB1655B}"/>
                  </a:ext>
                </a:extLst>
              </p:cNvPr>
              <p:cNvSpPr/>
              <p:nvPr/>
            </p:nvSpPr>
            <p:spPr>
              <a:xfrm>
                <a:off x="5413022" y="2657499"/>
                <a:ext cx="228070" cy="22807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5423308" y="2668151"/>
                <a:ext cx="207499" cy="206766"/>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grpSp>
    </p:spTree>
    <p:extLst>
      <p:ext uri="{BB962C8B-B14F-4D97-AF65-F5344CB8AC3E}">
        <p14:creationId xmlns:p14="http://schemas.microsoft.com/office/powerpoint/2010/main" val="315239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01"/>
                                        </p:tgtEl>
                                        <p:attrNameLst>
                                          <p:attrName>style.visibility</p:attrName>
                                        </p:attrNameLst>
                                      </p:cBhvr>
                                      <p:to>
                                        <p:strVal val="visible"/>
                                      </p:to>
                                    </p:set>
                                    <p:animEffect transition="in" filter="wipe(left)">
                                      <p:cBhvr>
                                        <p:cTn id="7" dur="500"/>
                                        <p:tgtEl>
                                          <p:spTgt spid="2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642168-CE37-4BE0-ACB0-CADA3D6D237C}"/>
              </a:ext>
            </a:extLst>
          </p:cNvPr>
          <p:cNvSpPr/>
          <p:nvPr/>
        </p:nvSpPr>
        <p:spPr>
          <a:xfrm>
            <a:off x="111628" y="669501"/>
            <a:ext cx="4775075" cy="3377657"/>
          </a:xfrm>
          <a:prstGeom prst="rect">
            <a:avLst/>
          </a:prstGeom>
          <a:solidFill>
            <a:srgbClr val="00BCEB"/>
          </a:solidFill>
          <a:ln>
            <a:solidFill>
              <a:schemeClr val="bg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7"/>
          <p:cNvSpPr>
            <a:spLocks noGrp="1"/>
          </p:cNvSpPr>
          <p:nvPr>
            <p:ph type="ctrTitle"/>
          </p:nvPr>
        </p:nvSpPr>
        <p:spPr>
          <a:xfrm>
            <a:off x="102141" y="81051"/>
            <a:ext cx="8345488" cy="731837"/>
          </a:xfrm>
        </p:spPr>
        <p:txBody>
          <a:bodyPr/>
          <a:lstStyle/>
          <a:p>
            <a:r>
              <a:rPr lang="en-US" dirty="0"/>
              <a:t>The Next-Gen DCI Transport Solution Overview</a:t>
            </a:r>
          </a:p>
        </p:txBody>
      </p:sp>
      <p:sp>
        <p:nvSpPr>
          <p:cNvPr id="3" name="AutoShape 4" descr="http://bx.cisco.com/cbx-portal/screenres.action?id=16169247">
            <a:extLst>
              <a:ext uri="{FF2B5EF4-FFF2-40B4-BE49-F238E27FC236}">
                <a16:creationId xmlns:a16="http://schemas.microsoft.com/office/drawing/2014/main" id="{13058D8B-741B-3A4B-B04B-3E3D646F25F5}"/>
              </a:ext>
            </a:extLst>
          </p:cNvPr>
          <p:cNvSpPr>
            <a:spLocks noChangeAspect="1" noChangeArrowheads="1"/>
          </p:cNvSpPr>
          <p:nvPr/>
        </p:nvSpPr>
        <p:spPr bwMode="auto">
          <a:xfrm>
            <a:off x="6019262" y="28719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a:p>
        </p:txBody>
      </p:sp>
      <p:sp>
        <p:nvSpPr>
          <p:cNvPr id="9" name="Oval 8">
            <a:extLst>
              <a:ext uri="{FF2B5EF4-FFF2-40B4-BE49-F238E27FC236}">
                <a16:creationId xmlns:a16="http://schemas.microsoft.com/office/drawing/2014/main" id="{1F20AE10-C02F-2846-9EF2-350656CDE7D3}"/>
              </a:ext>
            </a:extLst>
          </p:cNvPr>
          <p:cNvSpPr/>
          <p:nvPr/>
        </p:nvSpPr>
        <p:spPr>
          <a:xfrm>
            <a:off x="3407336" y="2560135"/>
            <a:ext cx="1371600" cy="1369836"/>
          </a:xfrm>
          <a:prstGeom prst="ellipse">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a:extLst>
              <a:ext uri="{FF2B5EF4-FFF2-40B4-BE49-F238E27FC236}">
                <a16:creationId xmlns:a16="http://schemas.microsoft.com/office/drawing/2014/main" id="{2909AF76-4F61-E24C-BC77-3046EFD00BB0}"/>
              </a:ext>
            </a:extLst>
          </p:cNvPr>
          <p:cNvSpPr/>
          <p:nvPr/>
        </p:nvSpPr>
        <p:spPr>
          <a:xfrm>
            <a:off x="1850236" y="1318276"/>
            <a:ext cx="1371600" cy="1369836"/>
          </a:xfrm>
          <a:prstGeom prst="ellipse">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12CF2506-2AE3-5449-B095-91FF649ECFBF}"/>
              </a:ext>
            </a:extLst>
          </p:cNvPr>
          <p:cNvSpPr txBox="1"/>
          <p:nvPr/>
        </p:nvSpPr>
        <p:spPr>
          <a:xfrm>
            <a:off x="3420043" y="3200823"/>
            <a:ext cx="774290" cy="207749"/>
          </a:xfrm>
          <a:prstGeom prst="rect">
            <a:avLst/>
          </a:prstGeom>
          <a:noFill/>
        </p:spPr>
        <p:txBody>
          <a:bodyPr wrap="square" rtlCol="0">
            <a:spAutoFit/>
          </a:bodyPr>
          <a:lstStyle/>
          <a:p>
            <a:pPr algn="ctr"/>
            <a:r>
              <a:rPr lang="en-US" sz="750" b="1" dirty="0">
                <a:latin typeface="+mn-lt"/>
              </a:rPr>
              <a:t>NCS 1000</a:t>
            </a:r>
          </a:p>
        </p:txBody>
      </p:sp>
      <p:sp>
        <p:nvSpPr>
          <p:cNvPr id="41" name="TextBox 40">
            <a:extLst>
              <a:ext uri="{FF2B5EF4-FFF2-40B4-BE49-F238E27FC236}">
                <a16:creationId xmlns:a16="http://schemas.microsoft.com/office/drawing/2014/main" id="{0D11CF04-9447-8A45-880B-CF2B1BD02336}"/>
              </a:ext>
            </a:extLst>
          </p:cNvPr>
          <p:cNvSpPr txBox="1"/>
          <p:nvPr/>
        </p:nvSpPr>
        <p:spPr>
          <a:xfrm>
            <a:off x="1896723" y="2243163"/>
            <a:ext cx="755266" cy="207749"/>
          </a:xfrm>
          <a:prstGeom prst="rect">
            <a:avLst/>
          </a:prstGeom>
          <a:noFill/>
        </p:spPr>
        <p:txBody>
          <a:bodyPr wrap="square" rtlCol="0">
            <a:spAutoFit/>
          </a:bodyPr>
          <a:lstStyle/>
          <a:p>
            <a:pPr algn="ctr"/>
            <a:r>
              <a:rPr lang="en-US" sz="750" b="1" dirty="0">
                <a:latin typeface="+mn-lt"/>
              </a:rPr>
              <a:t>ASR 9000</a:t>
            </a:r>
            <a:endParaRPr lang="en-US" sz="750" dirty="0">
              <a:latin typeface="+mn-lt"/>
            </a:endParaRPr>
          </a:p>
        </p:txBody>
      </p:sp>
      <p:cxnSp>
        <p:nvCxnSpPr>
          <p:cNvPr id="33" name="Straight Connector 32">
            <a:extLst>
              <a:ext uri="{FF2B5EF4-FFF2-40B4-BE49-F238E27FC236}">
                <a16:creationId xmlns:a16="http://schemas.microsoft.com/office/drawing/2014/main" id="{B86022EB-D638-A34B-B6F4-3CF8BDFF97B7}"/>
              </a:ext>
            </a:extLst>
          </p:cNvPr>
          <p:cNvCxnSpPr>
            <a:cxnSpLocks/>
          </p:cNvCxnSpPr>
          <p:nvPr/>
        </p:nvCxnSpPr>
        <p:spPr>
          <a:xfrm>
            <a:off x="2905739" y="2563643"/>
            <a:ext cx="545181" cy="420089"/>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3C7A70F5-5D1E-1345-B083-2E2073F3CE68}"/>
              </a:ext>
            </a:extLst>
          </p:cNvPr>
          <p:cNvSpPr txBox="1"/>
          <p:nvPr/>
        </p:nvSpPr>
        <p:spPr>
          <a:xfrm>
            <a:off x="5795975" y="3555450"/>
            <a:ext cx="1017550" cy="461665"/>
          </a:xfrm>
          <a:prstGeom prst="rect">
            <a:avLst/>
          </a:prstGeom>
          <a:noFill/>
          <a:ln>
            <a:noFill/>
          </a:ln>
        </p:spPr>
        <p:txBody>
          <a:bodyPr wrap="square" rtlCol="0">
            <a:spAutoFit/>
          </a:bodyPr>
          <a:lstStyle/>
          <a:p>
            <a:pPr algn="ctr"/>
            <a:r>
              <a:rPr lang="en-US" sz="1200" b="1" dirty="0">
                <a:latin typeface="+mn-lt"/>
              </a:rPr>
              <a:t>Fiber Connection</a:t>
            </a:r>
          </a:p>
        </p:txBody>
      </p:sp>
      <p:sp>
        <p:nvSpPr>
          <p:cNvPr id="67" name="TextBox 66">
            <a:extLst>
              <a:ext uri="{FF2B5EF4-FFF2-40B4-BE49-F238E27FC236}">
                <a16:creationId xmlns:a16="http://schemas.microsoft.com/office/drawing/2014/main" id="{DE8D5793-51B2-1C48-9906-3AEDC3592BCA}"/>
              </a:ext>
            </a:extLst>
          </p:cNvPr>
          <p:cNvSpPr txBox="1"/>
          <p:nvPr/>
        </p:nvSpPr>
        <p:spPr>
          <a:xfrm>
            <a:off x="438251" y="4171887"/>
            <a:ext cx="8309386" cy="323165"/>
          </a:xfrm>
          <a:prstGeom prst="rect">
            <a:avLst/>
          </a:prstGeom>
          <a:noFill/>
          <a:ln>
            <a:solidFill>
              <a:schemeClr val="bg1"/>
            </a:solidFill>
          </a:ln>
        </p:spPr>
        <p:txBody>
          <a:bodyPr wrap="square" rtlCol="0">
            <a:spAutoFit/>
          </a:bodyPr>
          <a:lstStyle/>
          <a:p>
            <a:pPr algn="ctr"/>
            <a:r>
              <a:rPr lang="en-US" sz="1500" b="1" i="1" dirty="0"/>
              <a:t>Unlocking Value to Ensure Better Experience with Data Connections </a:t>
            </a:r>
            <a:endParaRPr lang="en-US" sz="1500" b="1" i="1" dirty="0">
              <a:latin typeface="+mn-lt"/>
            </a:endParaRPr>
          </a:p>
        </p:txBody>
      </p:sp>
      <p:graphicFrame>
        <p:nvGraphicFramePr>
          <p:cNvPr id="74" name="Table 73">
            <a:extLst>
              <a:ext uri="{FF2B5EF4-FFF2-40B4-BE49-F238E27FC236}">
                <a16:creationId xmlns:a16="http://schemas.microsoft.com/office/drawing/2014/main" id="{7B4018E1-BD1D-F347-84C6-EAD5086428D2}"/>
              </a:ext>
            </a:extLst>
          </p:cNvPr>
          <p:cNvGraphicFramePr>
            <a:graphicFrameLocks noGrp="1"/>
          </p:cNvGraphicFramePr>
          <p:nvPr/>
        </p:nvGraphicFramePr>
        <p:xfrm>
          <a:off x="438251" y="4468160"/>
          <a:ext cx="8329152" cy="556260"/>
        </p:xfrm>
        <a:graphic>
          <a:graphicData uri="http://schemas.openxmlformats.org/drawingml/2006/table">
            <a:tbl>
              <a:tblPr firstRow="1" bandRow="1">
                <a:tableStyleId>{5C22544A-7EE6-4342-B048-85BDC9FD1C3A}</a:tableStyleId>
              </a:tblPr>
              <a:tblGrid>
                <a:gridCol w="4164576">
                  <a:extLst>
                    <a:ext uri="{9D8B030D-6E8A-4147-A177-3AD203B41FA5}">
                      <a16:colId xmlns:a16="http://schemas.microsoft.com/office/drawing/2014/main" val="2322373271"/>
                    </a:ext>
                  </a:extLst>
                </a:gridCol>
                <a:gridCol w="4164576">
                  <a:extLst>
                    <a:ext uri="{9D8B030D-6E8A-4147-A177-3AD203B41FA5}">
                      <a16:colId xmlns:a16="http://schemas.microsoft.com/office/drawing/2014/main" val="780204793"/>
                    </a:ext>
                  </a:extLst>
                </a:gridCol>
              </a:tblGrid>
              <a:tr h="278130">
                <a:tc>
                  <a:txBody>
                    <a:bodyPr/>
                    <a:lstStyle/>
                    <a:p>
                      <a:pPr algn="ctr"/>
                      <a:r>
                        <a:rPr lang="en-US" sz="1100" dirty="0">
                          <a:solidFill>
                            <a:schemeClr val="bg2"/>
                          </a:solidFill>
                        </a:rPr>
                        <a:t>Scale capacity with intelligence on ASR/NCS</a:t>
                      </a:r>
                    </a:p>
                  </a:txBody>
                  <a:tcPr marL="68580" marR="68580" marT="34290" marB="34290">
                    <a:solidFill>
                      <a:schemeClr val="accent5"/>
                    </a:solidFill>
                  </a:tcPr>
                </a:tc>
                <a:tc>
                  <a:txBody>
                    <a:bodyPr/>
                    <a:lstStyle/>
                    <a:p>
                      <a:pPr algn="ctr"/>
                      <a:r>
                        <a:rPr lang="en-US" sz="1100" dirty="0">
                          <a:solidFill>
                            <a:schemeClr val="bg2"/>
                          </a:solidFill>
                        </a:rPr>
                        <a:t>Minimize latency regardless of distance</a:t>
                      </a:r>
                    </a:p>
                  </a:txBody>
                  <a:tcPr marL="68580" marR="68580" marT="34290" marB="34290">
                    <a:solidFill>
                      <a:schemeClr val="accent6"/>
                    </a:solidFill>
                  </a:tcPr>
                </a:tc>
                <a:extLst>
                  <a:ext uri="{0D108BD9-81ED-4DB2-BD59-A6C34878D82A}">
                    <a16:rowId xmlns:a16="http://schemas.microsoft.com/office/drawing/2014/main" val="1948780416"/>
                  </a:ext>
                </a:extLst>
              </a:tr>
              <a:tr h="278130">
                <a:tc>
                  <a:txBody>
                    <a:bodyPr/>
                    <a:lstStyle/>
                    <a:p>
                      <a:pPr algn="ctr"/>
                      <a:r>
                        <a:rPr lang="en-US" sz="1100" dirty="0">
                          <a:solidFill>
                            <a:schemeClr val="bg2"/>
                          </a:solidFill>
                        </a:rPr>
                        <a:t>Add more bandwidth in compact form factor</a:t>
                      </a:r>
                    </a:p>
                  </a:txBody>
                  <a:tcPr marL="68580" marR="68580" marT="34290" marB="34290">
                    <a:solidFill>
                      <a:schemeClr val="accent4"/>
                    </a:solidFill>
                  </a:tcPr>
                </a:tc>
                <a:tc>
                  <a:txBody>
                    <a:bodyPr/>
                    <a:lstStyle/>
                    <a:p>
                      <a:pPr algn="ctr"/>
                      <a:r>
                        <a:rPr lang="en-US" sz="1100" dirty="0">
                          <a:solidFill>
                            <a:schemeClr val="bg2"/>
                          </a:solidFill>
                        </a:rPr>
                        <a:t>Simplify operations with same OS/</a:t>
                      </a:r>
                      <a:r>
                        <a:rPr lang="en-US" sz="1100" dirty="0" err="1">
                          <a:solidFill>
                            <a:schemeClr val="bg2"/>
                          </a:solidFill>
                        </a:rPr>
                        <a:t>mgmt</a:t>
                      </a:r>
                      <a:endParaRPr lang="en-US" sz="1100" dirty="0">
                        <a:solidFill>
                          <a:schemeClr val="bg2"/>
                        </a:solidFill>
                      </a:endParaRPr>
                    </a:p>
                  </a:txBody>
                  <a:tcPr marL="68580" marR="68580" marT="34290" marB="34290">
                    <a:solidFill>
                      <a:schemeClr val="accent2"/>
                    </a:solidFill>
                  </a:tcPr>
                </a:tc>
                <a:extLst>
                  <a:ext uri="{0D108BD9-81ED-4DB2-BD59-A6C34878D82A}">
                    <a16:rowId xmlns:a16="http://schemas.microsoft.com/office/drawing/2014/main" val="462959933"/>
                  </a:ext>
                </a:extLst>
              </a:tr>
            </a:tbl>
          </a:graphicData>
        </a:graphic>
      </p:graphicFrame>
      <p:grpSp>
        <p:nvGrpSpPr>
          <p:cNvPr id="37" name="Group 36">
            <a:extLst>
              <a:ext uri="{FF2B5EF4-FFF2-40B4-BE49-F238E27FC236}">
                <a16:creationId xmlns:a16="http://schemas.microsoft.com/office/drawing/2014/main" id="{4027A9D9-A82D-49EC-91FC-F46B13F02B91}"/>
              </a:ext>
            </a:extLst>
          </p:cNvPr>
          <p:cNvGrpSpPr/>
          <p:nvPr/>
        </p:nvGrpSpPr>
        <p:grpSpPr>
          <a:xfrm>
            <a:off x="390520" y="847256"/>
            <a:ext cx="1274217" cy="807813"/>
            <a:chOff x="555900" y="3945111"/>
            <a:chExt cx="1169650" cy="447342"/>
          </a:xfrm>
          <a:solidFill>
            <a:schemeClr val="bg1">
              <a:lumMod val="75000"/>
            </a:schemeClr>
          </a:solidFill>
        </p:grpSpPr>
        <p:grpSp>
          <p:nvGrpSpPr>
            <p:cNvPr id="40" name="Group 39">
              <a:extLst>
                <a:ext uri="{FF2B5EF4-FFF2-40B4-BE49-F238E27FC236}">
                  <a16:creationId xmlns:a16="http://schemas.microsoft.com/office/drawing/2014/main" id="{F8CD664C-F379-4711-8BFC-D124FEBCB42D}"/>
                </a:ext>
              </a:extLst>
            </p:cNvPr>
            <p:cNvGrpSpPr/>
            <p:nvPr/>
          </p:nvGrpSpPr>
          <p:grpSpPr>
            <a:xfrm>
              <a:off x="693484" y="4210962"/>
              <a:ext cx="894482" cy="126652"/>
              <a:chOff x="-67996" y="1475033"/>
              <a:chExt cx="1433961" cy="203038"/>
            </a:xfrm>
            <a:grpFill/>
          </p:grpSpPr>
          <p:cxnSp>
            <p:nvCxnSpPr>
              <p:cNvPr id="53" name="Straight Connector 52">
                <a:extLst>
                  <a:ext uri="{FF2B5EF4-FFF2-40B4-BE49-F238E27FC236}">
                    <a16:creationId xmlns:a16="http://schemas.microsoft.com/office/drawing/2014/main" id="{272D4072-0946-47AC-8A7A-36FDE66BA8CE}"/>
                  </a:ext>
                </a:extLst>
              </p:cNvPr>
              <p:cNvCxnSpPr>
                <a:cxnSpLocks/>
              </p:cNvCxnSpPr>
              <p:nvPr/>
            </p:nvCxnSpPr>
            <p:spPr>
              <a:xfrm flipH="1" flipV="1">
                <a:off x="354854" y="1475033"/>
                <a:ext cx="1011111" cy="203038"/>
              </a:xfrm>
              <a:prstGeom prst="line">
                <a:avLst/>
              </a:prstGeom>
              <a:grpFill/>
              <a:ln w="6350" cap="flat" cmpd="sng" algn="ctr">
                <a:solidFill>
                  <a:srgbClr val="5B9BD5"/>
                </a:solidFill>
                <a:prstDash val="solid"/>
                <a:miter lim="800000"/>
              </a:ln>
              <a:effectLst/>
            </p:spPr>
          </p:cxnSp>
          <p:cxnSp>
            <p:nvCxnSpPr>
              <p:cNvPr id="54" name="Straight Connector 53">
                <a:extLst>
                  <a:ext uri="{FF2B5EF4-FFF2-40B4-BE49-F238E27FC236}">
                    <a16:creationId xmlns:a16="http://schemas.microsoft.com/office/drawing/2014/main" id="{BBED43B3-BF13-4E80-B313-D555EBDC6E7B}"/>
                  </a:ext>
                </a:extLst>
              </p:cNvPr>
              <p:cNvCxnSpPr>
                <a:cxnSpLocks/>
              </p:cNvCxnSpPr>
              <p:nvPr/>
            </p:nvCxnSpPr>
            <p:spPr>
              <a:xfrm flipV="1">
                <a:off x="-67996" y="1475033"/>
                <a:ext cx="422850" cy="203038"/>
              </a:xfrm>
              <a:prstGeom prst="line">
                <a:avLst/>
              </a:prstGeom>
              <a:grpFill/>
              <a:ln w="6350" cap="flat" cmpd="sng" algn="ctr">
                <a:solidFill>
                  <a:srgbClr val="5B9BD5"/>
                </a:solidFill>
                <a:prstDash val="solid"/>
                <a:miter lim="800000"/>
              </a:ln>
              <a:effectLst/>
            </p:spPr>
          </p:cxnSp>
          <p:cxnSp>
            <p:nvCxnSpPr>
              <p:cNvPr id="55" name="Straight Connector 54">
                <a:extLst>
                  <a:ext uri="{FF2B5EF4-FFF2-40B4-BE49-F238E27FC236}">
                    <a16:creationId xmlns:a16="http://schemas.microsoft.com/office/drawing/2014/main" id="{E44572AD-F664-4557-AA44-6C826572704D}"/>
                  </a:ext>
                </a:extLst>
              </p:cNvPr>
              <p:cNvCxnSpPr>
                <a:cxnSpLocks/>
              </p:cNvCxnSpPr>
              <p:nvPr/>
            </p:nvCxnSpPr>
            <p:spPr>
              <a:xfrm flipH="1" flipV="1">
                <a:off x="354854" y="1475033"/>
                <a:ext cx="55137" cy="203038"/>
              </a:xfrm>
              <a:prstGeom prst="line">
                <a:avLst/>
              </a:prstGeom>
              <a:grpFill/>
              <a:ln w="6350" cap="flat" cmpd="sng" algn="ctr">
                <a:solidFill>
                  <a:srgbClr val="5B9BD5"/>
                </a:solidFill>
                <a:prstDash val="solid"/>
                <a:miter lim="800000"/>
              </a:ln>
              <a:effectLst/>
            </p:spPr>
          </p:cxnSp>
          <p:cxnSp>
            <p:nvCxnSpPr>
              <p:cNvPr id="56" name="Straight Connector 55">
                <a:extLst>
                  <a:ext uri="{FF2B5EF4-FFF2-40B4-BE49-F238E27FC236}">
                    <a16:creationId xmlns:a16="http://schemas.microsoft.com/office/drawing/2014/main" id="{608222F1-B6EE-48F7-A814-E8CA3BA3B37F}"/>
                  </a:ext>
                </a:extLst>
              </p:cNvPr>
              <p:cNvCxnSpPr>
                <a:cxnSpLocks/>
              </p:cNvCxnSpPr>
              <p:nvPr/>
            </p:nvCxnSpPr>
            <p:spPr>
              <a:xfrm flipH="1" flipV="1">
                <a:off x="943114" y="1475033"/>
                <a:ext cx="422851" cy="203038"/>
              </a:xfrm>
              <a:prstGeom prst="line">
                <a:avLst/>
              </a:prstGeom>
              <a:grpFill/>
              <a:ln w="6350" cap="flat" cmpd="sng" algn="ctr">
                <a:solidFill>
                  <a:srgbClr val="5B9BD5"/>
                </a:solidFill>
                <a:prstDash val="solid"/>
                <a:miter lim="800000"/>
              </a:ln>
              <a:effectLst/>
            </p:spPr>
          </p:cxnSp>
          <p:cxnSp>
            <p:nvCxnSpPr>
              <p:cNvPr id="58" name="Straight Connector 57">
                <a:extLst>
                  <a:ext uri="{FF2B5EF4-FFF2-40B4-BE49-F238E27FC236}">
                    <a16:creationId xmlns:a16="http://schemas.microsoft.com/office/drawing/2014/main" id="{9F272417-7E51-4C54-8DAC-8E29175F78BA}"/>
                  </a:ext>
                </a:extLst>
              </p:cNvPr>
              <p:cNvCxnSpPr>
                <a:cxnSpLocks/>
              </p:cNvCxnSpPr>
              <p:nvPr/>
            </p:nvCxnSpPr>
            <p:spPr>
              <a:xfrm flipV="1">
                <a:off x="887978" y="1475033"/>
                <a:ext cx="55136" cy="203038"/>
              </a:xfrm>
              <a:prstGeom prst="line">
                <a:avLst/>
              </a:prstGeom>
              <a:grpFill/>
              <a:ln w="6350" cap="flat" cmpd="sng" algn="ctr">
                <a:solidFill>
                  <a:srgbClr val="5B9BD5"/>
                </a:solidFill>
                <a:prstDash val="solid"/>
                <a:miter lim="800000"/>
              </a:ln>
              <a:effectLst/>
            </p:spPr>
          </p:cxnSp>
          <p:cxnSp>
            <p:nvCxnSpPr>
              <p:cNvPr id="59" name="Straight Connector 58">
                <a:extLst>
                  <a:ext uri="{FF2B5EF4-FFF2-40B4-BE49-F238E27FC236}">
                    <a16:creationId xmlns:a16="http://schemas.microsoft.com/office/drawing/2014/main" id="{3F8B2078-C7B2-4895-BBE6-6936926EC9AA}"/>
                  </a:ext>
                </a:extLst>
              </p:cNvPr>
              <p:cNvCxnSpPr>
                <a:cxnSpLocks/>
              </p:cNvCxnSpPr>
              <p:nvPr/>
            </p:nvCxnSpPr>
            <p:spPr>
              <a:xfrm flipH="1" flipV="1">
                <a:off x="354854" y="1475033"/>
                <a:ext cx="533124" cy="203038"/>
              </a:xfrm>
              <a:prstGeom prst="line">
                <a:avLst/>
              </a:prstGeom>
              <a:grpFill/>
              <a:ln w="6350" cap="flat" cmpd="sng" algn="ctr">
                <a:solidFill>
                  <a:srgbClr val="5B9BD5"/>
                </a:solidFill>
                <a:prstDash val="solid"/>
                <a:miter lim="800000"/>
              </a:ln>
              <a:effectLst/>
            </p:spPr>
          </p:cxnSp>
          <p:cxnSp>
            <p:nvCxnSpPr>
              <p:cNvPr id="60" name="Straight Connector 59">
                <a:extLst>
                  <a:ext uri="{FF2B5EF4-FFF2-40B4-BE49-F238E27FC236}">
                    <a16:creationId xmlns:a16="http://schemas.microsoft.com/office/drawing/2014/main" id="{83772CC3-803A-46E1-AEED-90DE23A40304}"/>
                  </a:ext>
                </a:extLst>
              </p:cNvPr>
              <p:cNvCxnSpPr>
                <a:cxnSpLocks/>
              </p:cNvCxnSpPr>
              <p:nvPr/>
            </p:nvCxnSpPr>
            <p:spPr>
              <a:xfrm flipV="1">
                <a:off x="409991" y="1475033"/>
                <a:ext cx="533123" cy="203038"/>
              </a:xfrm>
              <a:prstGeom prst="line">
                <a:avLst/>
              </a:prstGeom>
              <a:grpFill/>
              <a:ln w="6350" cap="flat" cmpd="sng" algn="ctr">
                <a:solidFill>
                  <a:srgbClr val="5B9BD5"/>
                </a:solidFill>
                <a:prstDash val="solid"/>
                <a:miter lim="800000"/>
              </a:ln>
              <a:effectLst/>
            </p:spPr>
          </p:cxnSp>
          <p:cxnSp>
            <p:nvCxnSpPr>
              <p:cNvPr id="61" name="Straight Connector 60">
                <a:extLst>
                  <a:ext uri="{FF2B5EF4-FFF2-40B4-BE49-F238E27FC236}">
                    <a16:creationId xmlns:a16="http://schemas.microsoft.com/office/drawing/2014/main" id="{FB1C4976-5CFF-4C07-932A-E1DD49DEA3F1}"/>
                  </a:ext>
                </a:extLst>
              </p:cNvPr>
              <p:cNvCxnSpPr>
                <a:cxnSpLocks/>
              </p:cNvCxnSpPr>
              <p:nvPr/>
            </p:nvCxnSpPr>
            <p:spPr>
              <a:xfrm flipV="1">
                <a:off x="-67996" y="1475033"/>
                <a:ext cx="1011110" cy="203038"/>
              </a:xfrm>
              <a:prstGeom prst="line">
                <a:avLst/>
              </a:prstGeom>
              <a:grpFill/>
              <a:ln w="6350" cap="flat" cmpd="sng" algn="ctr">
                <a:solidFill>
                  <a:srgbClr val="5B9BD5"/>
                </a:solidFill>
                <a:prstDash val="solid"/>
                <a:miter lim="800000"/>
              </a:ln>
              <a:effectLst/>
            </p:spPr>
          </p:cxnSp>
        </p:grpSp>
        <p:grpSp>
          <p:nvGrpSpPr>
            <p:cNvPr id="45" name="Group 44">
              <a:extLst>
                <a:ext uri="{FF2B5EF4-FFF2-40B4-BE49-F238E27FC236}">
                  <a16:creationId xmlns:a16="http://schemas.microsoft.com/office/drawing/2014/main" id="{B291D35E-F8AF-46B5-A4C8-AD058E105001}"/>
                </a:ext>
              </a:extLst>
            </p:cNvPr>
            <p:cNvGrpSpPr/>
            <p:nvPr/>
          </p:nvGrpSpPr>
          <p:grpSpPr>
            <a:xfrm>
              <a:off x="828971" y="3945111"/>
              <a:ext cx="623506" cy="265851"/>
              <a:chOff x="277928" y="1048843"/>
              <a:chExt cx="999555" cy="426190"/>
            </a:xfrm>
            <a:grpFill/>
          </p:grpSpPr>
          <p:sp>
            <p:nvSpPr>
              <p:cNvPr id="51" name="Freeform 32">
                <a:extLst>
                  <a:ext uri="{FF2B5EF4-FFF2-40B4-BE49-F238E27FC236}">
                    <a16:creationId xmlns:a16="http://schemas.microsoft.com/office/drawing/2014/main" id="{F091CF6F-3915-4FF3-B466-AB3DBD08C228}"/>
                  </a:ext>
                </a:extLst>
              </p:cNvPr>
              <p:cNvSpPr>
                <a:spLocks noEditPoints="1"/>
              </p:cNvSpPr>
              <p:nvPr/>
            </p:nvSpPr>
            <p:spPr bwMode="auto">
              <a:xfrm>
                <a:off x="277928" y="1048843"/>
                <a:ext cx="411295" cy="426190"/>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grpFill/>
              <a:ln w="6350" cap="flat" cmpd="sng" algn="ctr">
                <a:solidFill>
                  <a:srgbClr val="5B9BD5"/>
                </a:solidFill>
                <a:prstDash val="solid"/>
                <a:miter lim="800000"/>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15" fontAlgn="auto">
                  <a:spcBef>
                    <a:spcPts val="0"/>
                  </a:spcBef>
                  <a:spcAft>
                    <a:spcPts val="0"/>
                  </a:spcAft>
                  <a:defRPr/>
                </a:pPr>
                <a:endParaRPr lang="en-US" sz="675" b="1" kern="0">
                  <a:solidFill>
                    <a:srgbClr val="002060"/>
                  </a:solidFill>
                  <a:latin typeface="CiscoSansTT ExtraLight" panose="020B0303020201020303" pitchFamily="34" charset="0"/>
                  <a:cs typeface="CiscoSansTT ExtraLight" panose="020B0303020201020303" pitchFamily="34" charset="0"/>
                </a:endParaRPr>
              </a:p>
            </p:txBody>
          </p:sp>
          <p:sp>
            <p:nvSpPr>
              <p:cNvPr id="52" name="Freeform 32">
                <a:extLst>
                  <a:ext uri="{FF2B5EF4-FFF2-40B4-BE49-F238E27FC236}">
                    <a16:creationId xmlns:a16="http://schemas.microsoft.com/office/drawing/2014/main" id="{63DCD02C-A0CE-4D54-8D79-6506638E099E}"/>
                  </a:ext>
                </a:extLst>
              </p:cNvPr>
              <p:cNvSpPr>
                <a:spLocks noEditPoints="1"/>
              </p:cNvSpPr>
              <p:nvPr/>
            </p:nvSpPr>
            <p:spPr bwMode="auto">
              <a:xfrm>
                <a:off x="866188" y="1048843"/>
                <a:ext cx="411295" cy="426190"/>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grpFill/>
              <a:ln w="6350" cap="flat" cmpd="sng" algn="ctr">
                <a:solidFill>
                  <a:srgbClr val="5B9BD5"/>
                </a:solidFill>
                <a:prstDash val="solid"/>
                <a:miter lim="800000"/>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15" fontAlgn="auto">
                  <a:spcBef>
                    <a:spcPts val="0"/>
                  </a:spcBef>
                  <a:spcAft>
                    <a:spcPts val="0"/>
                  </a:spcAft>
                  <a:defRPr/>
                </a:pPr>
                <a:endParaRPr lang="en-US" sz="675" b="1" kern="0">
                  <a:solidFill>
                    <a:srgbClr val="002060"/>
                  </a:solidFill>
                  <a:latin typeface="CiscoSansTT ExtraLight" panose="020B0303020201020303" pitchFamily="34" charset="0"/>
                  <a:cs typeface="CiscoSansTT ExtraLight" panose="020B0303020201020303" pitchFamily="34" charset="0"/>
                </a:endParaRPr>
              </a:p>
            </p:txBody>
          </p:sp>
        </p:grpSp>
        <p:grpSp>
          <p:nvGrpSpPr>
            <p:cNvPr id="46" name="Group 45">
              <a:extLst>
                <a:ext uri="{FF2B5EF4-FFF2-40B4-BE49-F238E27FC236}">
                  <a16:creationId xmlns:a16="http://schemas.microsoft.com/office/drawing/2014/main" id="{7C093661-8605-421D-A2AA-38047DBAA647}"/>
                </a:ext>
              </a:extLst>
            </p:cNvPr>
            <p:cNvGrpSpPr/>
            <p:nvPr/>
          </p:nvGrpSpPr>
          <p:grpSpPr>
            <a:xfrm>
              <a:off x="555900" y="4337614"/>
              <a:ext cx="1169650" cy="54839"/>
              <a:chOff x="-288559" y="1678071"/>
              <a:chExt cx="1875086" cy="87914"/>
            </a:xfrm>
            <a:grpFill/>
          </p:grpSpPr>
          <p:sp>
            <p:nvSpPr>
              <p:cNvPr id="47" name="Freeform 7">
                <a:extLst>
                  <a:ext uri="{FF2B5EF4-FFF2-40B4-BE49-F238E27FC236}">
                    <a16:creationId xmlns:a16="http://schemas.microsoft.com/office/drawing/2014/main" id="{0F8CF8F8-36E1-40FE-BB95-6B40A2CC406D}"/>
                  </a:ext>
                </a:extLst>
              </p:cNvPr>
              <p:cNvSpPr>
                <a:spLocks noEditPoints="1"/>
              </p:cNvSpPr>
              <p:nvPr/>
            </p:nvSpPr>
            <p:spPr bwMode="auto">
              <a:xfrm>
                <a:off x="-288559" y="1678071"/>
                <a:ext cx="441125" cy="87914"/>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6350" cap="flat" cmpd="sng" algn="ctr">
                <a:solidFill>
                  <a:srgbClr val="5B9BD5"/>
                </a:solidFill>
                <a:prstDash val="solid"/>
                <a:miter lim="800000"/>
                <a:headEnd/>
                <a:tailEnd/>
              </a:ln>
              <a:effectLst/>
            </p:spPr>
            <p:txBody>
              <a:bodyPr vert="horz" wrap="square" lIns="68580" tIns="34290" rIns="68580" bIns="34290" numCol="1" anchor="t" anchorCtr="0" compatLnSpc="1">
                <a:prstTxWarp prst="textNoShape">
                  <a:avLst/>
                </a:prstTxWarp>
              </a:bodyPr>
              <a:lstStyle/>
              <a:p>
                <a:pPr defTabSz="342815" fontAlgn="auto">
                  <a:spcBef>
                    <a:spcPts val="0"/>
                  </a:spcBef>
                  <a:spcAft>
                    <a:spcPts val="0"/>
                  </a:spcAft>
                  <a:defRPr/>
                </a:pPr>
                <a:endParaRPr lang="en-US" sz="675" b="1" kern="0">
                  <a:solidFill>
                    <a:srgbClr val="002060"/>
                  </a:solidFill>
                  <a:latin typeface="CiscoSansTT ExtraLight" panose="020B0303020201020303" pitchFamily="34" charset="0"/>
                  <a:cs typeface="CiscoSansTT ExtraLight" panose="020B0303020201020303" pitchFamily="34" charset="0"/>
                </a:endParaRPr>
              </a:p>
            </p:txBody>
          </p:sp>
          <p:sp>
            <p:nvSpPr>
              <p:cNvPr id="48" name="Freeform 7">
                <a:extLst>
                  <a:ext uri="{FF2B5EF4-FFF2-40B4-BE49-F238E27FC236}">
                    <a16:creationId xmlns:a16="http://schemas.microsoft.com/office/drawing/2014/main" id="{10338916-6026-4258-B3C5-2D47EBA429E3}"/>
                  </a:ext>
                </a:extLst>
              </p:cNvPr>
              <p:cNvSpPr>
                <a:spLocks noEditPoints="1"/>
              </p:cNvSpPr>
              <p:nvPr/>
            </p:nvSpPr>
            <p:spPr bwMode="auto">
              <a:xfrm>
                <a:off x="667416" y="1678071"/>
                <a:ext cx="441125" cy="87914"/>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6350" cap="flat" cmpd="sng" algn="ctr">
                <a:solidFill>
                  <a:srgbClr val="5B9BD5"/>
                </a:solidFill>
                <a:prstDash val="solid"/>
                <a:miter lim="800000"/>
                <a:headEnd/>
                <a:tailEnd/>
              </a:ln>
              <a:effectLst/>
            </p:spPr>
            <p:txBody>
              <a:bodyPr vert="horz" wrap="square" lIns="68580" tIns="34290" rIns="68580" bIns="34290" numCol="1" anchor="t" anchorCtr="0" compatLnSpc="1">
                <a:prstTxWarp prst="textNoShape">
                  <a:avLst/>
                </a:prstTxWarp>
              </a:bodyPr>
              <a:lstStyle/>
              <a:p>
                <a:pPr defTabSz="342815" fontAlgn="auto">
                  <a:spcBef>
                    <a:spcPts val="0"/>
                  </a:spcBef>
                  <a:spcAft>
                    <a:spcPts val="0"/>
                  </a:spcAft>
                  <a:defRPr/>
                </a:pPr>
                <a:endParaRPr lang="en-US" sz="675" b="1" kern="0">
                  <a:solidFill>
                    <a:srgbClr val="002060"/>
                  </a:solidFill>
                  <a:latin typeface="CiscoSansTT ExtraLight" panose="020B0303020201020303" pitchFamily="34" charset="0"/>
                  <a:cs typeface="CiscoSansTT ExtraLight" panose="020B0303020201020303" pitchFamily="34" charset="0"/>
                </a:endParaRPr>
              </a:p>
            </p:txBody>
          </p:sp>
          <p:sp>
            <p:nvSpPr>
              <p:cNvPr id="49" name="Freeform 7">
                <a:extLst>
                  <a:ext uri="{FF2B5EF4-FFF2-40B4-BE49-F238E27FC236}">
                    <a16:creationId xmlns:a16="http://schemas.microsoft.com/office/drawing/2014/main" id="{3AD11AA8-AEBD-4348-BFC7-1D527E5E577A}"/>
                  </a:ext>
                </a:extLst>
              </p:cNvPr>
              <p:cNvSpPr>
                <a:spLocks noEditPoints="1"/>
              </p:cNvSpPr>
              <p:nvPr/>
            </p:nvSpPr>
            <p:spPr bwMode="auto">
              <a:xfrm>
                <a:off x="1145402" y="1678071"/>
                <a:ext cx="441125" cy="87914"/>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6350" cap="flat" cmpd="sng" algn="ctr">
                <a:solidFill>
                  <a:srgbClr val="5B9BD5"/>
                </a:solidFill>
                <a:prstDash val="solid"/>
                <a:miter lim="800000"/>
                <a:headEnd/>
                <a:tailEnd/>
              </a:ln>
              <a:effectLst/>
            </p:spPr>
            <p:txBody>
              <a:bodyPr vert="horz" wrap="square" lIns="68580" tIns="34290" rIns="68580" bIns="34290" numCol="1" anchor="t" anchorCtr="0" compatLnSpc="1">
                <a:prstTxWarp prst="textNoShape">
                  <a:avLst/>
                </a:prstTxWarp>
              </a:bodyPr>
              <a:lstStyle/>
              <a:p>
                <a:pPr defTabSz="342815" fontAlgn="auto">
                  <a:spcBef>
                    <a:spcPts val="0"/>
                  </a:spcBef>
                  <a:spcAft>
                    <a:spcPts val="0"/>
                  </a:spcAft>
                  <a:defRPr/>
                </a:pPr>
                <a:endParaRPr lang="en-US" sz="675" b="1" kern="0">
                  <a:solidFill>
                    <a:srgbClr val="002060"/>
                  </a:solidFill>
                  <a:latin typeface="CiscoSansTT ExtraLight" panose="020B0303020201020303" pitchFamily="34" charset="0"/>
                  <a:cs typeface="CiscoSansTT ExtraLight" panose="020B0303020201020303" pitchFamily="34" charset="0"/>
                </a:endParaRPr>
              </a:p>
            </p:txBody>
          </p:sp>
          <p:sp>
            <p:nvSpPr>
              <p:cNvPr id="50" name="Freeform 7">
                <a:extLst>
                  <a:ext uri="{FF2B5EF4-FFF2-40B4-BE49-F238E27FC236}">
                    <a16:creationId xmlns:a16="http://schemas.microsoft.com/office/drawing/2014/main" id="{8D92A00C-2F16-4A6B-BCA0-697455FF44B9}"/>
                  </a:ext>
                </a:extLst>
              </p:cNvPr>
              <p:cNvSpPr>
                <a:spLocks noEditPoints="1"/>
              </p:cNvSpPr>
              <p:nvPr/>
            </p:nvSpPr>
            <p:spPr bwMode="auto">
              <a:xfrm>
                <a:off x="189428" y="1678071"/>
                <a:ext cx="441125" cy="87914"/>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6350" cap="flat" cmpd="sng" algn="ctr">
                <a:solidFill>
                  <a:srgbClr val="5B9BD5"/>
                </a:solidFill>
                <a:prstDash val="solid"/>
                <a:miter lim="800000"/>
                <a:headEnd/>
                <a:tailEnd/>
              </a:ln>
              <a:effectLst/>
            </p:spPr>
            <p:txBody>
              <a:bodyPr vert="horz" wrap="square" lIns="68580" tIns="34290" rIns="68580" bIns="34290" numCol="1" anchor="t" anchorCtr="0" compatLnSpc="1">
                <a:prstTxWarp prst="textNoShape">
                  <a:avLst/>
                </a:prstTxWarp>
              </a:bodyPr>
              <a:lstStyle/>
              <a:p>
                <a:pPr defTabSz="342815" fontAlgn="auto">
                  <a:spcBef>
                    <a:spcPts val="0"/>
                  </a:spcBef>
                  <a:spcAft>
                    <a:spcPts val="0"/>
                  </a:spcAft>
                  <a:defRPr/>
                </a:pPr>
                <a:endParaRPr lang="en-US" sz="675" b="1" kern="0">
                  <a:solidFill>
                    <a:srgbClr val="002060"/>
                  </a:solidFill>
                  <a:latin typeface="CiscoSansTT ExtraLight" panose="020B0303020201020303" pitchFamily="34" charset="0"/>
                  <a:cs typeface="CiscoSansTT ExtraLight" panose="020B0303020201020303" pitchFamily="34" charset="0"/>
                </a:endParaRPr>
              </a:p>
            </p:txBody>
          </p:sp>
        </p:grpSp>
      </p:grpSp>
      <p:sp>
        <p:nvSpPr>
          <p:cNvPr id="38" name="TextBox 37">
            <a:extLst>
              <a:ext uri="{FF2B5EF4-FFF2-40B4-BE49-F238E27FC236}">
                <a16:creationId xmlns:a16="http://schemas.microsoft.com/office/drawing/2014/main" id="{AF0698D7-1862-483D-8FA3-BD5E5D33484A}"/>
              </a:ext>
            </a:extLst>
          </p:cNvPr>
          <p:cNvSpPr txBox="1"/>
          <p:nvPr/>
        </p:nvSpPr>
        <p:spPr>
          <a:xfrm>
            <a:off x="3627443" y="703114"/>
            <a:ext cx="1151493" cy="276999"/>
          </a:xfrm>
          <a:prstGeom prst="rect">
            <a:avLst/>
          </a:prstGeom>
          <a:noFill/>
          <a:ln>
            <a:noFill/>
          </a:ln>
        </p:spPr>
        <p:txBody>
          <a:bodyPr wrap="square" rtlCol="0">
            <a:spAutoFit/>
          </a:bodyPr>
          <a:lstStyle/>
          <a:p>
            <a:pPr algn="ctr"/>
            <a:r>
              <a:rPr lang="en-US" sz="1200" b="1" dirty="0">
                <a:latin typeface="+mn-lt"/>
              </a:rPr>
              <a:t>Data Center 1</a:t>
            </a:r>
          </a:p>
        </p:txBody>
      </p:sp>
      <p:sp>
        <p:nvSpPr>
          <p:cNvPr id="43" name="TextBox 42">
            <a:extLst>
              <a:ext uri="{FF2B5EF4-FFF2-40B4-BE49-F238E27FC236}">
                <a16:creationId xmlns:a16="http://schemas.microsoft.com/office/drawing/2014/main" id="{EB879B55-6D44-46F5-A362-A338EEC36079}"/>
              </a:ext>
            </a:extLst>
          </p:cNvPr>
          <p:cNvSpPr txBox="1"/>
          <p:nvPr/>
        </p:nvSpPr>
        <p:spPr>
          <a:xfrm>
            <a:off x="5967420" y="2335496"/>
            <a:ext cx="1151493" cy="276999"/>
          </a:xfrm>
          <a:prstGeom prst="rect">
            <a:avLst/>
          </a:prstGeom>
          <a:noFill/>
          <a:ln>
            <a:noFill/>
          </a:ln>
        </p:spPr>
        <p:txBody>
          <a:bodyPr wrap="square" rtlCol="0">
            <a:spAutoFit/>
          </a:bodyPr>
          <a:lstStyle/>
          <a:p>
            <a:pPr algn="ctr"/>
            <a:r>
              <a:rPr lang="en-US" sz="1200" b="1" dirty="0">
                <a:solidFill>
                  <a:schemeClr val="accent1">
                    <a:lumMod val="50000"/>
                  </a:schemeClr>
                </a:solidFill>
                <a:latin typeface="+mn-lt"/>
              </a:rPr>
              <a:t>Data Center 2</a:t>
            </a:r>
          </a:p>
        </p:txBody>
      </p:sp>
      <p:pic>
        <p:nvPicPr>
          <p:cNvPr id="44" name="Picture 43">
            <a:extLst>
              <a:ext uri="{FF2B5EF4-FFF2-40B4-BE49-F238E27FC236}">
                <a16:creationId xmlns:a16="http://schemas.microsoft.com/office/drawing/2014/main" id="{E2C328D7-CCEC-428A-9844-6D6B536F6270}"/>
              </a:ext>
            </a:extLst>
          </p:cNvPr>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7763042" y="3051845"/>
            <a:ext cx="748777" cy="748777"/>
          </a:xfrm>
          <a:prstGeom prst="rect">
            <a:avLst/>
          </a:prstGeom>
        </p:spPr>
      </p:pic>
      <p:sp>
        <p:nvSpPr>
          <p:cNvPr id="57" name="TextBox 56">
            <a:extLst>
              <a:ext uri="{FF2B5EF4-FFF2-40B4-BE49-F238E27FC236}">
                <a16:creationId xmlns:a16="http://schemas.microsoft.com/office/drawing/2014/main" id="{C1C3AEE6-6D96-4F82-8EE5-4DAA7CC69201}"/>
              </a:ext>
            </a:extLst>
          </p:cNvPr>
          <p:cNvSpPr txBox="1"/>
          <p:nvPr/>
        </p:nvSpPr>
        <p:spPr>
          <a:xfrm>
            <a:off x="7561683" y="3764289"/>
            <a:ext cx="1151493" cy="276999"/>
          </a:xfrm>
          <a:prstGeom prst="rect">
            <a:avLst/>
          </a:prstGeom>
          <a:noFill/>
          <a:ln>
            <a:noFill/>
          </a:ln>
        </p:spPr>
        <p:txBody>
          <a:bodyPr wrap="square" rtlCol="0">
            <a:spAutoFit/>
          </a:bodyPr>
          <a:lstStyle/>
          <a:p>
            <a:pPr algn="ctr"/>
            <a:r>
              <a:rPr lang="en-US" sz="1200" b="1" dirty="0">
                <a:solidFill>
                  <a:schemeClr val="accent1">
                    <a:lumMod val="50000"/>
                  </a:schemeClr>
                </a:solidFill>
                <a:latin typeface="+mn-lt"/>
              </a:rPr>
              <a:t>Data Center 3</a:t>
            </a:r>
          </a:p>
        </p:txBody>
      </p:sp>
      <p:cxnSp>
        <p:nvCxnSpPr>
          <p:cNvPr id="65" name="Straight Arrow Connector 64">
            <a:extLst>
              <a:ext uri="{FF2B5EF4-FFF2-40B4-BE49-F238E27FC236}">
                <a16:creationId xmlns:a16="http://schemas.microsoft.com/office/drawing/2014/main" id="{B498567F-48D6-4CE2-B6BA-8A5359FED038}"/>
              </a:ext>
            </a:extLst>
          </p:cNvPr>
          <p:cNvCxnSpPr>
            <a:cxnSpLocks/>
          </p:cNvCxnSpPr>
          <p:nvPr/>
        </p:nvCxnSpPr>
        <p:spPr>
          <a:xfrm flipH="1">
            <a:off x="4692591" y="3531950"/>
            <a:ext cx="3191228" cy="0"/>
          </a:xfrm>
          <a:prstGeom prst="straightConnector1">
            <a:avLst/>
          </a:prstGeom>
          <a:gradFill rotWithShape="1">
            <a:gsLst>
              <a:gs pos="0">
                <a:srgbClr val="A603AB"/>
              </a:gs>
              <a:gs pos="21001">
                <a:srgbClr val="0819FB"/>
              </a:gs>
              <a:gs pos="35001">
                <a:srgbClr val="1A8D48"/>
              </a:gs>
              <a:gs pos="52000">
                <a:srgbClr val="FFFF00"/>
              </a:gs>
              <a:gs pos="73000">
                <a:srgbClr val="EE3F17"/>
              </a:gs>
              <a:gs pos="88000">
                <a:srgbClr val="E81766"/>
              </a:gs>
              <a:gs pos="100000">
                <a:srgbClr val="A603AB"/>
              </a:gs>
            </a:gsLst>
            <a:lin ang="16200000"/>
          </a:gradFill>
          <a:ln w="28575">
            <a:gradFill>
              <a:gsLst>
                <a:gs pos="0">
                  <a:srgbClr val="A603AB"/>
                </a:gs>
                <a:gs pos="21001">
                  <a:srgbClr val="0819FB"/>
                </a:gs>
                <a:gs pos="35001">
                  <a:srgbClr val="1A8D48"/>
                </a:gs>
                <a:gs pos="52000">
                  <a:srgbClr val="FFFF00"/>
                </a:gs>
                <a:gs pos="73000">
                  <a:srgbClr val="EE3F17"/>
                </a:gs>
                <a:gs pos="88000">
                  <a:srgbClr val="E81766"/>
                </a:gs>
                <a:gs pos="100000">
                  <a:srgbClr val="A603AB"/>
                </a:gs>
              </a:gsLst>
              <a:lin ang="4800000" scaled="0"/>
            </a:gradFill>
            <a:miter lim="800000"/>
            <a:headEnd type="triangle" w="sm" len="sm"/>
            <a:tailEnd type="triangle" w="sm" len="sm"/>
          </a:ln>
          <a:effectLst>
            <a:outerShdw blurRad="63500" dist="23000" dir="5400000" rotWithShape="0">
              <a:srgbClr val="000000">
                <a:alpha val="34999"/>
              </a:srgbClr>
            </a:outerShdw>
          </a:effectLst>
        </p:spPr>
      </p:cxnSp>
      <p:cxnSp>
        <p:nvCxnSpPr>
          <p:cNvPr id="71" name="Straight Connector 70">
            <a:extLst>
              <a:ext uri="{FF2B5EF4-FFF2-40B4-BE49-F238E27FC236}">
                <a16:creationId xmlns:a16="http://schemas.microsoft.com/office/drawing/2014/main" id="{F39DAC7B-475C-4DB3-ADC1-C7F0C8D1D3D5}"/>
              </a:ext>
            </a:extLst>
          </p:cNvPr>
          <p:cNvCxnSpPr>
            <a:cxnSpLocks/>
          </p:cNvCxnSpPr>
          <p:nvPr/>
        </p:nvCxnSpPr>
        <p:spPr>
          <a:xfrm>
            <a:off x="1652978" y="1642037"/>
            <a:ext cx="232581" cy="154396"/>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pic>
        <p:nvPicPr>
          <p:cNvPr id="63" name="Picture 62">
            <a:extLst>
              <a:ext uri="{FF2B5EF4-FFF2-40B4-BE49-F238E27FC236}">
                <a16:creationId xmlns:a16="http://schemas.microsoft.com/office/drawing/2014/main" id="{7A55AABE-39E4-473D-9D48-E82B0397CCD7}"/>
              </a:ext>
            </a:extLst>
          </p:cNvPr>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6168778" y="1614362"/>
            <a:ext cx="748777" cy="748777"/>
          </a:xfrm>
          <a:prstGeom prst="rect">
            <a:avLst/>
          </a:prstGeom>
        </p:spPr>
      </p:pic>
      <p:pic>
        <p:nvPicPr>
          <p:cNvPr id="83" name="Picture 2" descr="C:\Users\abedoyan\Documents\Data-abedoyan\ASR9K\ASR 9910 - Shockwave\ASR 9910 Professional Photos\ASR9910-FrontView.png">
            <a:extLst>
              <a:ext uri="{FF2B5EF4-FFF2-40B4-BE49-F238E27FC236}">
                <a16:creationId xmlns:a16="http://schemas.microsoft.com/office/drawing/2014/main" id="{69E13645-0D20-404B-9548-B12E7DEEEE5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907550" y="1270165"/>
            <a:ext cx="733611" cy="996415"/>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62363810-426F-4DB3-BDDF-FA0B6488D45F}"/>
              </a:ext>
            </a:extLst>
          </p:cNvPr>
          <p:cNvSpPr txBox="1"/>
          <p:nvPr/>
        </p:nvSpPr>
        <p:spPr>
          <a:xfrm>
            <a:off x="2181688" y="1682996"/>
            <a:ext cx="755266" cy="207749"/>
          </a:xfrm>
          <a:prstGeom prst="rect">
            <a:avLst/>
          </a:prstGeom>
          <a:noFill/>
        </p:spPr>
        <p:txBody>
          <a:bodyPr wrap="square" rtlCol="0">
            <a:spAutoFit/>
          </a:bodyPr>
          <a:lstStyle/>
          <a:p>
            <a:pPr algn="ctr"/>
            <a:r>
              <a:rPr lang="en-US" sz="750" b="1" dirty="0">
                <a:latin typeface="+mn-lt"/>
              </a:rPr>
              <a:t>or</a:t>
            </a:r>
            <a:endParaRPr lang="en-US" sz="750" dirty="0">
              <a:latin typeface="+mn-lt"/>
            </a:endParaRPr>
          </a:p>
        </p:txBody>
      </p:sp>
      <p:pic>
        <p:nvPicPr>
          <p:cNvPr id="85" name="Picture 84">
            <a:extLst>
              <a:ext uri="{FF2B5EF4-FFF2-40B4-BE49-F238E27FC236}">
                <a16:creationId xmlns:a16="http://schemas.microsoft.com/office/drawing/2014/main" id="{375ED669-57D0-4AAC-9B71-3A375A05DAF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03361" y="1600021"/>
            <a:ext cx="504445" cy="798848"/>
          </a:xfrm>
          <a:prstGeom prst="rect">
            <a:avLst/>
          </a:prstGeom>
        </p:spPr>
      </p:pic>
      <p:sp>
        <p:nvSpPr>
          <p:cNvPr id="86" name="TextBox 85">
            <a:extLst>
              <a:ext uri="{FF2B5EF4-FFF2-40B4-BE49-F238E27FC236}">
                <a16:creationId xmlns:a16="http://schemas.microsoft.com/office/drawing/2014/main" id="{AB2DEC9D-FAC2-4F10-A31A-CFEB8DC19FF3}"/>
              </a:ext>
            </a:extLst>
          </p:cNvPr>
          <p:cNvSpPr txBox="1"/>
          <p:nvPr/>
        </p:nvSpPr>
        <p:spPr>
          <a:xfrm>
            <a:off x="2465028" y="2316405"/>
            <a:ext cx="755266" cy="207749"/>
          </a:xfrm>
          <a:prstGeom prst="rect">
            <a:avLst/>
          </a:prstGeom>
          <a:noFill/>
        </p:spPr>
        <p:txBody>
          <a:bodyPr wrap="square" rtlCol="0">
            <a:spAutoFit/>
          </a:bodyPr>
          <a:lstStyle/>
          <a:p>
            <a:pPr algn="ctr"/>
            <a:r>
              <a:rPr lang="en-US" sz="750" b="1" dirty="0">
                <a:latin typeface="+mn-lt"/>
              </a:rPr>
              <a:t>NCS 5500</a:t>
            </a:r>
            <a:endParaRPr lang="en-US" sz="750" dirty="0">
              <a:latin typeface="+mn-lt"/>
            </a:endParaRPr>
          </a:p>
        </p:txBody>
      </p:sp>
      <p:grpSp>
        <p:nvGrpSpPr>
          <p:cNvPr id="172" name="Group 171">
            <a:extLst>
              <a:ext uri="{FF2B5EF4-FFF2-40B4-BE49-F238E27FC236}">
                <a16:creationId xmlns:a16="http://schemas.microsoft.com/office/drawing/2014/main" id="{EDC10DD5-DACE-4174-8274-9D5814592F4D}"/>
              </a:ext>
            </a:extLst>
          </p:cNvPr>
          <p:cNvGrpSpPr/>
          <p:nvPr/>
        </p:nvGrpSpPr>
        <p:grpSpPr>
          <a:xfrm>
            <a:off x="3476161" y="2759277"/>
            <a:ext cx="662057" cy="671172"/>
            <a:chOff x="2619161" y="2866357"/>
            <a:chExt cx="882742" cy="894896"/>
          </a:xfrm>
        </p:grpSpPr>
        <p:pic>
          <p:nvPicPr>
            <p:cNvPr id="173" name="Picture 172" descr="5037_tor1.png">
              <a:extLst>
                <a:ext uri="{FF2B5EF4-FFF2-40B4-BE49-F238E27FC236}">
                  <a16:creationId xmlns:a16="http://schemas.microsoft.com/office/drawing/2014/main" id="{81AC63FB-A2E1-4B53-96DA-2CE5670B59D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619161" y="2866357"/>
              <a:ext cx="882742" cy="894896"/>
            </a:xfrm>
            <a:prstGeom prst="rect">
              <a:avLst/>
            </a:prstGeom>
            <a:noFill/>
            <a:ln>
              <a:noFill/>
            </a:ln>
          </p:spPr>
        </p:pic>
        <p:pic>
          <p:nvPicPr>
            <p:cNvPr id="174" name="Picture 2">
              <a:extLst>
                <a:ext uri="{FF2B5EF4-FFF2-40B4-BE49-F238E27FC236}">
                  <a16:creationId xmlns:a16="http://schemas.microsoft.com/office/drawing/2014/main" id="{EB062C11-B01E-427C-9D4C-46D2C336AE7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680562" y="3272276"/>
              <a:ext cx="39648" cy="4795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75" name="Picture 3">
              <a:extLst>
                <a:ext uri="{FF2B5EF4-FFF2-40B4-BE49-F238E27FC236}">
                  <a16:creationId xmlns:a16="http://schemas.microsoft.com/office/drawing/2014/main" id="{91FE1EFA-55B2-48C9-BD82-3A07A099DB76}"/>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680562" y="3226166"/>
              <a:ext cx="39648" cy="4795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76" name="Picture 5">
              <a:extLst>
                <a:ext uri="{FF2B5EF4-FFF2-40B4-BE49-F238E27FC236}">
                  <a16:creationId xmlns:a16="http://schemas.microsoft.com/office/drawing/2014/main" id="{07269BE0-A9BF-423D-8838-904C1FAE22A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375319"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77" name="Picture 5">
              <a:extLst>
                <a:ext uri="{FF2B5EF4-FFF2-40B4-BE49-F238E27FC236}">
                  <a16:creationId xmlns:a16="http://schemas.microsoft.com/office/drawing/2014/main" id="{F8C45DE7-0D19-4496-A9B3-34931FA9CDB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91602"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78" name="Picture 5">
              <a:extLst>
                <a:ext uri="{FF2B5EF4-FFF2-40B4-BE49-F238E27FC236}">
                  <a16:creationId xmlns:a16="http://schemas.microsoft.com/office/drawing/2014/main" id="{C7BAE8FF-B1DB-40C1-9D46-2D3B8844F2FE}"/>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11109"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79" name="Picture 5">
              <a:extLst>
                <a:ext uri="{FF2B5EF4-FFF2-40B4-BE49-F238E27FC236}">
                  <a16:creationId xmlns:a16="http://schemas.microsoft.com/office/drawing/2014/main" id="{58876FF6-F356-4FBE-BA0C-A53CB24DB1DE}"/>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127704"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0" name="Picture 5">
              <a:extLst>
                <a:ext uri="{FF2B5EF4-FFF2-40B4-BE49-F238E27FC236}">
                  <a16:creationId xmlns:a16="http://schemas.microsoft.com/office/drawing/2014/main" id="{1F279430-1D57-450B-AB47-323FBAA198B9}"/>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049505" y="3282970"/>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1" name="Picture 5">
              <a:extLst>
                <a:ext uri="{FF2B5EF4-FFF2-40B4-BE49-F238E27FC236}">
                  <a16:creationId xmlns:a16="http://schemas.microsoft.com/office/drawing/2014/main" id="{7B754B6A-58AE-4F11-9A78-0584DA269177}"/>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969960" y="3282970"/>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2" name="Picture 5">
              <a:extLst>
                <a:ext uri="{FF2B5EF4-FFF2-40B4-BE49-F238E27FC236}">
                  <a16:creationId xmlns:a16="http://schemas.microsoft.com/office/drawing/2014/main" id="{A95E6B24-EBB0-4ED7-B37C-E2BF2843E7B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86555"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3" name="Picture 5">
              <a:extLst>
                <a:ext uri="{FF2B5EF4-FFF2-40B4-BE49-F238E27FC236}">
                  <a16:creationId xmlns:a16="http://schemas.microsoft.com/office/drawing/2014/main" id="{7CA46951-041A-4DCD-A0C0-35B63592ECC8}"/>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03615"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4" name="Picture 5">
              <a:extLst>
                <a:ext uri="{FF2B5EF4-FFF2-40B4-BE49-F238E27FC236}">
                  <a16:creationId xmlns:a16="http://schemas.microsoft.com/office/drawing/2014/main" id="{456E4570-4D3C-498E-9D13-2FE5EA9E8DA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720210"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5" name="Picture 4">
              <a:extLst>
                <a:ext uri="{FF2B5EF4-FFF2-40B4-BE49-F238E27FC236}">
                  <a16:creationId xmlns:a16="http://schemas.microsoft.com/office/drawing/2014/main" id="{8788E5B5-A58F-4F1E-BE1B-D8364B6C29CB}"/>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720210" y="3215100"/>
              <a:ext cx="738513" cy="678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6" name="Picture 4">
              <a:extLst>
                <a:ext uri="{FF2B5EF4-FFF2-40B4-BE49-F238E27FC236}">
                  <a16:creationId xmlns:a16="http://schemas.microsoft.com/office/drawing/2014/main" id="{9FA27CDC-01C1-4242-9BE3-A4D49F863EF5}"/>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723402" y="3362713"/>
              <a:ext cx="735321" cy="540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7" name="Picture 5">
              <a:extLst>
                <a:ext uri="{FF2B5EF4-FFF2-40B4-BE49-F238E27FC236}">
                  <a16:creationId xmlns:a16="http://schemas.microsoft.com/office/drawing/2014/main" id="{68403458-A33E-4D0C-AF09-F464D1F090C9}"/>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731189" y="3341496"/>
              <a:ext cx="44984" cy="45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8" name="Picture 5">
              <a:extLst>
                <a:ext uri="{FF2B5EF4-FFF2-40B4-BE49-F238E27FC236}">
                  <a16:creationId xmlns:a16="http://schemas.microsoft.com/office/drawing/2014/main" id="{D1FB24FE-0287-4914-9352-23262823B075}"/>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775296"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9" name="Picture 5">
              <a:extLst>
                <a:ext uri="{FF2B5EF4-FFF2-40B4-BE49-F238E27FC236}">
                  <a16:creationId xmlns:a16="http://schemas.microsoft.com/office/drawing/2014/main" id="{251A92D3-60F1-4599-8918-685723CA109E}"/>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819404"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0" name="Picture 5">
              <a:extLst>
                <a:ext uri="{FF2B5EF4-FFF2-40B4-BE49-F238E27FC236}">
                  <a16:creationId xmlns:a16="http://schemas.microsoft.com/office/drawing/2014/main" id="{A1EF261B-D777-46C3-82DB-25201DC0B7D5}"/>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863511"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1" name="Picture 5">
              <a:extLst>
                <a:ext uri="{FF2B5EF4-FFF2-40B4-BE49-F238E27FC236}">
                  <a16:creationId xmlns:a16="http://schemas.microsoft.com/office/drawing/2014/main" id="{222B08D3-8AA0-49F2-8810-F3D545BEA0F1}"/>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907618"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2" name="Picture 5">
              <a:extLst>
                <a:ext uri="{FF2B5EF4-FFF2-40B4-BE49-F238E27FC236}">
                  <a16:creationId xmlns:a16="http://schemas.microsoft.com/office/drawing/2014/main" id="{DB575DD5-61D9-4BC4-ABEB-2CF9CB6EC60A}"/>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094232"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3" name="Picture 5">
              <a:extLst>
                <a:ext uri="{FF2B5EF4-FFF2-40B4-BE49-F238E27FC236}">
                  <a16:creationId xmlns:a16="http://schemas.microsoft.com/office/drawing/2014/main" id="{3BE45615-5464-4900-A919-BEC1842F1B7B}"/>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138339"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4" name="Picture 5">
              <a:extLst>
                <a:ext uri="{FF2B5EF4-FFF2-40B4-BE49-F238E27FC236}">
                  <a16:creationId xmlns:a16="http://schemas.microsoft.com/office/drawing/2014/main" id="{FC53772B-6202-411F-8A7C-95E5D172F681}"/>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182447"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5" name="Picture 5">
              <a:extLst>
                <a:ext uri="{FF2B5EF4-FFF2-40B4-BE49-F238E27FC236}">
                  <a16:creationId xmlns:a16="http://schemas.microsoft.com/office/drawing/2014/main" id="{357B5EC9-AC59-4D02-894F-C2C5A3FBA4E8}"/>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226554"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6" name="Picture 5">
              <a:extLst>
                <a:ext uri="{FF2B5EF4-FFF2-40B4-BE49-F238E27FC236}">
                  <a16:creationId xmlns:a16="http://schemas.microsoft.com/office/drawing/2014/main" id="{C3EA676C-A130-4AD8-A127-F7005F614577}"/>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270661"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7" name="Picture 5">
              <a:extLst>
                <a:ext uri="{FF2B5EF4-FFF2-40B4-BE49-F238E27FC236}">
                  <a16:creationId xmlns:a16="http://schemas.microsoft.com/office/drawing/2014/main" id="{46A6EFF6-6E37-4F09-B649-9D7D964FDC93}"/>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386898" y="3332202"/>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8" name="Picture 5">
              <a:extLst>
                <a:ext uri="{FF2B5EF4-FFF2-40B4-BE49-F238E27FC236}">
                  <a16:creationId xmlns:a16="http://schemas.microsoft.com/office/drawing/2014/main" id="{8732A63A-A1DD-4390-8961-7BF0FD10342A}"/>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315644" y="3332215"/>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9" name="Picture 5">
              <a:extLst>
                <a:ext uri="{FF2B5EF4-FFF2-40B4-BE49-F238E27FC236}">
                  <a16:creationId xmlns:a16="http://schemas.microsoft.com/office/drawing/2014/main" id="{96D3614F-1ABC-4060-A798-547DFAC4D979}"/>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730313"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0" name="Picture 5">
              <a:extLst>
                <a:ext uri="{FF2B5EF4-FFF2-40B4-BE49-F238E27FC236}">
                  <a16:creationId xmlns:a16="http://schemas.microsoft.com/office/drawing/2014/main" id="{0C19C7DC-51E4-4995-B352-C8208EA5D49F}"/>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774420"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1" name="Picture 5">
              <a:extLst>
                <a:ext uri="{FF2B5EF4-FFF2-40B4-BE49-F238E27FC236}">
                  <a16:creationId xmlns:a16="http://schemas.microsoft.com/office/drawing/2014/main" id="{6D86221C-667A-4C3B-BF2C-BD9EBA062F93}"/>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818527"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2" name="Picture 5">
              <a:extLst>
                <a:ext uri="{FF2B5EF4-FFF2-40B4-BE49-F238E27FC236}">
                  <a16:creationId xmlns:a16="http://schemas.microsoft.com/office/drawing/2014/main" id="{FF951FEE-02A4-47DC-82E3-2B778C1B6264}"/>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862635"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3" name="Picture 5">
              <a:extLst>
                <a:ext uri="{FF2B5EF4-FFF2-40B4-BE49-F238E27FC236}">
                  <a16:creationId xmlns:a16="http://schemas.microsoft.com/office/drawing/2014/main" id="{7CE9067E-47B4-49A2-990B-CE3A9093EFA1}"/>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906742"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4" name="Picture 5">
              <a:extLst>
                <a:ext uri="{FF2B5EF4-FFF2-40B4-BE49-F238E27FC236}">
                  <a16:creationId xmlns:a16="http://schemas.microsoft.com/office/drawing/2014/main" id="{746D6B29-1CDA-4EDF-AE63-4DE4214C172A}"/>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095225"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 name="Picture 5">
              <a:extLst>
                <a:ext uri="{FF2B5EF4-FFF2-40B4-BE49-F238E27FC236}">
                  <a16:creationId xmlns:a16="http://schemas.microsoft.com/office/drawing/2014/main" id="{2A12B1F2-6D02-4F36-9503-2C1B24A70B59}"/>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139332"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6" name="Picture 5">
              <a:extLst>
                <a:ext uri="{FF2B5EF4-FFF2-40B4-BE49-F238E27FC236}">
                  <a16:creationId xmlns:a16="http://schemas.microsoft.com/office/drawing/2014/main" id="{CE16E77C-A1CD-402F-BA02-7205D044F352}"/>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183439"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7" name="Picture 5">
              <a:extLst>
                <a:ext uri="{FF2B5EF4-FFF2-40B4-BE49-F238E27FC236}">
                  <a16:creationId xmlns:a16="http://schemas.microsoft.com/office/drawing/2014/main" id="{37A0C195-6485-4821-AFF7-20B5AA54B0DA}"/>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227546"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8" name="Picture 5">
              <a:extLst>
                <a:ext uri="{FF2B5EF4-FFF2-40B4-BE49-F238E27FC236}">
                  <a16:creationId xmlns:a16="http://schemas.microsoft.com/office/drawing/2014/main" id="{9E987D74-DD0C-48F8-9FCF-70F8B26499EF}"/>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271653"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9" name="Picture 5">
              <a:extLst>
                <a:ext uri="{FF2B5EF4-FFF2-40B4-BE49-F238E27FC236}">
                  <a16:creationId xmlns:a16="http://schemas.microsoft.com/office/drawing/2014/main" id="{9913C5E1-B975-41D4-87EF-E756614693F4}"/>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316637" y="3226980"/>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10" name="Picture 5">
              <a:extLst>
                <a:ext uri="{FF2B5EF4-FFF2-40B4-BE49-F238E27FC236}">
                  <a16:creationId xmlns:a16="http://schemas.microsoft.com/office/drawing/2014/main" id="{519C1AA3-B1FD-4337-99B0-30AB4FD0EE24}"/>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023366" y="3230792"/>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11" name="Picture 5">
              <a:extLst>
                <a:ext uri="{FF2B5EF4-FFF2-40B4-BE49-F238E27FC236}">
                  <a16:creationId xmlns:a16="http://schemas.microsoft.com/office/drawing/2014/main" id="{977E821E-49A0-489E-A380-59A9F9DD9E54}"/>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952113" y="3230806"/>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12" name="Picture 5">
              <a:extLst>
                <a:ext uri="{FF2B5EF4-FFF2-40B4-BE49-F238E27FC236}">
                  <a16:creationId xmlns:a16="http://schemas.microsoft.com/office/drawing/2014/main" id="{7F547FE1-7BD3-4352-A34B-42E8CA5FEB99}"/>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387890" y="3226980"/>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13" name="Picture 5">
              <a:extLst>
                <a:ext uri="{FF2B5EF4-FFF2-40B4-BE49-F238E27FC236}">
                  <a16:creationId xmlns:a16="http://schemas.microsoft.com/office/drawing/2014/main" id="{F4BB967B-AAAD-4D4E-9B31-D1A588DB02DF}"/>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950213" y="3332202"/>
              <a:ext cx="78131" cy="610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14" name="Picture 5">
              <a:extLst>
                <a:ext uri="{FF2B5EF4-FFF2-40B4-BE49-F238E27FC236}">
                  <a16:creationId xmlns:a16="http://schemas.microsoft.com/office/drawing/2014/main" id="{62DA1920-8681-4702-92A4-7033D4A2A3FC}"/>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021466" y="3332202"/>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15" name="TextBox 214">
            <a:extLst>
              <a:ext uri="{FF2B5EF4-FFF2-40B4-BE49-F238E27FC236}">
                <a16:creationId xmlns:a16="http://schemas.microsoft.com/office/drawing/2014/main" id="{63AFCE29-F05C-40E6-9125-6751EC3CDC7F}"/>
              </a:ext>
            </a:extLst>
          </p:cNvPr>
          <p:cNvSpPr txBox="1"/>
          <p:nvPr/>
        </p:nvSpPr>
        <p:spPr>
          <a:xfrm>
            <a:off x="3927047" y="3007353"/>
            <a:ext cx="755266" cy="207749"/>
          </a:xfrm>
          <a:prstGeom prst="rect">
            <a:avLst/>
          </a:prstGeom>
          <a:noFill/>
        </p:spPr>
        <p:txBody>
          <a:bodyPr wrap="square" rtlCol="0">
            <a:spAutoFit/>
          </a:bodyPr>
          <a:lstStyle/>
          <a:p>
            <a:pPr algn="ctr"/>
            <a:r>
              <a:rPr lang="en-US" sz="750" b="1" dirty="0">
                <a:latin typeface="+mn-lt"/>
              </a:rPr>
              <a:t>or</a:t>
            </a:r>
            <a:endParaRPr lang="en-US" sz="750" dirty="0">
              <a:latin typeface="+mn-lt"/>
            </a:endParaRPr>
          </a:p>
        </p:txBody>
      </p:sp>
      <p:pic>
        <p:nvPicPr>
          <p:cNvPr id="216" name="Picture 4">
            <a:extLst>
              <a:ext uri="{FF2B5EF4-FFF2-40B4-BE49-F238E27FC236}">
                <a16:creationId xmlns:a16="http://schemas.microsoft.com/office/drawing/2014/main" id="{8739A6E8-9B0C-44B2-AF50-6766CC9D3ABF}"/>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074556" y="3236186"/>
            <a:ext cx="599369" cy="363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7" name="TextBox 216">
            <a:extLst>
              <a:ext uri="{FF2B5EF4-FFF2-40B4-BE49-F238E27FC236}">
                <a16:creationId xmlns:a16="http://schemas.microsoft.com/office/drawing/2014/main" id="{AAFCD647-F325-4576-B983-885402779753}"/>
              </a:ext>
            </a:extLst>
          </p:cNvPr>
          <p:cNvSpPr txBox="1"/>
          <p:nvPr/>
        </p:nvSpPr>
        <p:spPr>
          <a:xfrm>
            <a:off x="3964786" y="3589125"/>
            <a:ext cx="755266" cy="207749"/>
          </a:xfrm>
          <a:prstGeom prst="rect">
            <a:avLst/>
          </a:prstGeom>
          <a:noFill/>
        </p:spPr>
        <p:txBody>
          <a:bodyPr wrap="square" rtlCol="0">
            <a:spAutoFit/>
          </a:bodyPr>
          <a:lstStyle/>
          <a:p>
            <a:pPr algn="ctr"/>
            <a:r>
              <a:rPr lang="en-US" sz="750" b="1" dirty="0">
                <a:latin typeface="+mn-lt"/>
              </a:rPr>
              <a:t>NCS 2000</a:t>
            </a:r>
            <a:endParaRPr lang="en-US" sz="750" dirty="0">
              <a:latin typeface="+mn-lt"/>
            </a:endParaRPr>
          </a:p>
        </p:txBody>
      </p:sp>
      <p:cxnSp>
        <p:nvCxnSpPr>
          <p:cNvPr id="101" name="Straight Arrow Connector 100">
            <a:extLst>
              <a:ext uri="{FF2B5EF4-FFF2-40B4-BE49-F238E27FC236}">
                <a16:creationId xmlns:a16="http://schemas.microsoft.com/office/drawing/2014/main" id="{8D507D98-2453-4570-92C3-84D94BF4A8E7}"/>
              </a:ext>
            </a:extLst>
          </p:cNvPr>
          <p:cNvCxnSpPr>
            <a:cxnSpLocks/>
          </p:cNvCxnSpPr>
          <p:nvPr/>
        </p:nvCxnSpPr>
        <p:spPr>
          <a:xfrm flipH="1">
            <a:off x="4720052" y="2243162"/>
            <a:ext cx="1590956" cy="764190"/>
          </a:xfrm>
          <a:prstGeom prst="straightConnector1">
            <a:avLst/>
          </a:prstGeom>
          <a:gradFill rotWithShape="1">
            <a:gsLst>
              <a:gs pos="0">
                <a:srgbClr val="A603AB"/>
              </a:gs>
              <a:gs pos="21001">
                <a:srgbClr val="0819FB"/>
              </a:gs>
              <a:gs pos="35001">
                <a:srgbClr val="1A8D48"/>
              </a:gs>
              <a:gs pos="52000">
                <a:srgbClr val="FFFF00"/>
              </a:gs>
              <a:gs pos="73000">
                <a:srgbClr val="EE3F17"/>
              </a:gs>
              <a:gs pos="88000">
                <a:srgbClr val="E81766"/>
              </a:gs>
              <a:gs pos="100000">
                <a:srgbClr val="A603AB"/>
              </a:gs>
            </a:gsLst>
            <a:lin ang="16200000"/>
          </a:gradFill>
          <a:ln w="28575">
            <a:gradFill>
              <a:gsLst>
                <a:gs pos="0">
                  <a:srgbClr val="A603AB"/>
                </a:gs>
                <a:gs pos="21001">
                  <a:srgbClr val="0819FB"/>
                </a:gs>
                <a:gs pos="35001">
                  <a:srgbClr val="1A8D48"/>
                </a:gs>
                <a:gs pos="52000">
                  <a:srgbClr val="FFFF00"/>
                </a:gs>
                <a:gs pos="73000">
                  <a:srgbClr val="EE3F17"/>
                </a:gs>
                <a:gs pos="88000">
                  <a:srgbClr val="E81766"/>
                </a:gs>
                <a:gs pos="100000">
                  <a:srgbClr val="A603AB"/>
                </a:gs>
              </a:gsLst>
              <a:lin ang="4800000" scaled="0"/>
            </a:gradFill>
            <a:miter lim="800000"/>
            <a:headEnd type="triangle" w="sm" len="sm"/>
            <a:tailEnd type="triangle" w="sm" len="sm"/>
          </a:ln>
          <a:effectLst>
            <a:outerShdw blurRad="63500" dist="23000" dir="5400000" rotWithShape="0">
              <a:srgbClr val="000000">
                <a:alpha val="34999"/>
              </a:srgbClr>
            </a:outerShdw>
          </a:effectLst>
        </p:spPr>
      </p:cxnSp>
    </p:spTree>
    <p:extLst>
      <p:ext uri="{BB962C8B-B14F-4D97-AF65-F5344CB8AC3E}">
        <p14:creationId xmlns:p14="http://schemas.microsoft.com/office/powerpoint/2010/main" val="159398702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3"/>
          <p:cNvSpPr>
            <a:spLocks noGrp="1" noChangeArrowheads="1"/>
          </p:cNvSpPr>
          <p:nvPr>
            <p:ph type="title"/>
          </p:nvPr>
        </p:nvSpPr>
        <p:spPr>
          <a:xfrm>
            <a:off x="437766" y="341314"/>
            <a:ext cx="8345488" cy="731837"/>
          </a:xfrm>
        </p:spPr>
        <p:txBody>
          <a:bodyPr/>
          <a:lstStyle/>
          <a:p>
            <a:r>
              <a:rPr lang="pl-PL" dirty="0"/>
              <a:t>Cisco’s </a:t>
            </a:r>
            <a:r>
              <a:rPr lang="en-US" dirty="0"/>
              <a:t>DCI</a:t>
            </a:r>
            <a:r>
              <a:rPr lang="pl-PL" dirty="0"/>
              <a:t> </a:t>
            </a:r>
            <a:r>
              <a:rPr lang="en-ZA" dirty="0"/>
              <a:t>&amp; </a:t>
            </a:r>
            <a:r>
              <a:rPr lang="en-US" dirty="0"/>
              <a:t>Transport </a:t>
            </a:r>
            <a:r>
              <a:rPr lang="pl-PL" dirty="0"/>
              <a:t>Solution Portfolio    </a:t>
            </a:r>
            <a:endParaRPr lang="en-US" dirty="0"/>
          </a:p>
        </p:txBody>
      </p:sp>
      <p:sp>
        <p:nvSpPr>
          <p:cNvPr id="30" name="TextBox 29">
            <a:extLst>
              <a:ext uri="{FF2B5EF4-FFF2-40B4-BE49-F238E27FC236}">
                <a16:creationId xmlns:a16="http://schemas.microsoft.com/office/drawing/2014/main" id="{5168151C-7525-8F4D-935F-1339F5DD75D5}"/>
              </a:ext>
            </a:extLst>
          </p:cNvPr>
          <p:cNvSpPr txBox="1"/>
          <p:nvPr/>
        </p:nvSpPr>
        <p:spPr>
          <a:xfrm>
            <a:off x="2582365" y="2116080"/>
            <a:ext cx="1096064" cy="276999"/>
          </a:xfrm>
          <a:prstGeom prst="rect">
            <a:avLst/>
          </a:prstGeom>
          <a:noFill/>
        </p:spPr>
        <p:txBody>
          <a:bodyPr wrap="square" rtlCol="0">
            <a:spAutoFit/>
          </a:bodyPr>
          <a:lstStyle/>
          <a:p>
            <a:r>
              <a:rPr lang="en-US" sz="1200" b="1" dirty="0">
                <a:latin typeface="+mn-lt"/>
              </a:rPr>
              <a:t>ASR 9000</a:t>
            </a:r>
          </a:p>
        </p:txBody>
      </p:sp>
      <p:sp>
        <p:nvSpPr>
          <p:cNvPr id="31" name="TextBox 30">
            <a:extLst>
              <a:ext uri="{FF2B5EF4-FFF2-40B4-BE49-F238E27FC236}">
                <a16:creationId xmlns:a16="http://schemas.microsoft.com/office/drawing/2014/main" id="{D493E70B-FFCC-2547-93C8-28E017E9554C}"/>
              </a:ext>
            </a:extLst>
          </p:cNvPr>
          <p:cNvSpPr txBox="1"/>
          <p:nvPr/>
        </p:nvSpPr>
        <p:spPr>
          <a:xfrm>
            <a:off x="4264869" y="2139931"/>
            <a:ext cx="1096064" cy="276999"/>
          </a:xfrm>
          <a:prstGeom prst="rect">
            <a:avLst/>
          </a:prstGeom>
          <a:noFill/>
        </p:spPr>
        <p:txBody>
          <a:bodyPr wrap="square" rtlCol="0">
            <a:spAutoFit/>
          </a:bodyPr>
          <a:lstStyle/>
          <a:p>
            <a:pPr algn="ctr"/>
            <a:r>
              <a:rPr lang="en-US" sz="1200" b="1" dirty="0">
                <a:latin typeface="+mn-lt"/>
              </a:rPr>
              <a:t>NCS 5500</a:t>
            </a:r>
          </a:p>
        </p:txBody>
      </p:sp>
      <p:sp>
        <p:nvSpPr>
          <p:cNvPr id="18" name="Rectangle 17">
            <a:extLst>
              <a:ext uri="{FF2B5EF4-FFF2-40B4-BE49-F238E27FC236}">
                <a16:creationId xmlns:a16="http://schemas.microsoft.com/office/drawing/2014/main" id="{051ACEA7-DBDF-484B-BD05-8A2F8BEC24A2}"/>
              </a:ext>
            </a:extLst>
          </p:cNvPr>
          <p:cNvSpPr/>
          <p:nvPr/>
        </p:nvSpPr>
        <p:spPr>
          <a:xfrm>
            <a:off x="1216743" y="1071574"/>
            <a:ext cx="5529455" cy="1859669"/>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8D2406B0-5720-4449-847E-69E8755F90DA}"/>
              </a:ext>
            </a:extLst>
          </p:cNvPr>
          <p:cNvSpPr/>
          <p:nvPr/>
        </p:nvSpPr>
        <p:spPr>
          <a:xfrm>
            <a:off x="1216743" y="2947521"/>
            <a:ext cx="5529455" cy="1859669"/>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dirty="0"/>
          </a:p>
        </p:txBody>
      </p:sp>
      <p:sp>
        <p:nvSpPr>
          <p:cNvPr id="19" name="Rectangle 18">
            <a:extLst>
              <a:ext uri="{FF2B5EF4-FFF2-40B4-BE49-F238E27FC236}">
                <a16:creationId xmlns:a16="http://schemas.microsoft.com/office/drawing/2014/main" id="{9B601E04-4361-6C4C-9F98-22A88E195B89}"/>
              </a:ext>
            </a:extLst>
          </p:cNvPr>
          <p:cNvSpPr/>
          <p:nvPr/>
        </p:nvSpPr>
        <p:spPr>
          <a:xfrm>
            <a:off x="791648" y="1071574"/>
            <a:ext cx="420329" cy="185915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algn="ctr"/>
            <a:r>
              <a:rPr lang="en-US" dirty="0"/>
              <a:t>Routing</a:t>
            </a:r>
          </a:p>
        </p:txBody>
      </p:sp>
      <p:sp>
        <p:nvSpPr>
          <p:cNvPr id="35" name="Rectangle 34">
            <a:extLst>
              <a:ext uri="{FF2B5EF4-FFF2-40B4-BE49-F238E27FC236}">
                <a16:creationId xmlns:a16="http://schemas.microsoft.com/office/drawing/2014/main" id="{094F529B-6915-BA44-9704-E9EAEC86322B}"/>
              </a:ext>
            </a:extLst>
          </p:cNvPr>
          <p:cNvSpPr/>
          <p:nvPr/>
        </p:nvSpPr>
        <p:spPr>
          <a:xfrm>
            <a:off x="796414" y="2947011"/>
            <a:ext cx="420329" cy="185915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algn="ctr"/>
            <a:r>
              <a:rPr lang="en-US" dirty="0"/>
              <a:t>Optical</a:t>
            </a:r>
          </a:p>
        </p:txBody>
      </p:sp>
      <p:sp>
        <p:nvSpPr>
          <p:cNvPr id="38" name="TextBox 37">
            <a:extLst>
              <a:ext uri="{FF2B5EF4-FFF2-40B4-BE49-F238E27FC236}">
                <a16:creationId xmlns:a16="http://schemas.microsoft.com/office/drawing/2014/main" id="{345F8E80-EACA-8640-90F9-43738A47B4E7}"/>
              </a:ext>
            </a:extLst>
          </p:cNvPr>
          <p:cNvSpPr txBox="1"/>
          <p:nvPr/>
        </p:nvSpPr>
        <p:spPr>
          <a:xfrm>
            <a:off x="2602278" y="3974585"/>
            <a:ext cx="1070986" cy="276999"/>
          </a:xfrm>
          <a:prstGeom prst="rect">
            <a:avLst/>
          </a:prstGeom>
          <a:noFill/>
        </p:spPr>
        <p:txBody>
          <a:bodyPr wrap="square" rtlCol="0">
            <a:spAutoFit/>
          </a:bodyPr>
          <a:lstStyle/>
          <a:p>
            <a:r>
              <a:rPr lang="en-US" sz="1200" b="1" dirty="0">
                <a:latin typeface="+mn-lt"/>
              </a:rPr>
              <a:t>NCS 1000</a:t>
            </a:r>
          </a:p>
        </p:txBody>
      </p:sp>
      <p:sp>
        <p:nvSpPr>
          <p:cNvPr id="39" name="TextBox 38">
            <a:extLst>
              <a:ext uri="{FF2B5EF4-FFF2-40B4-BE49-F238E27FC236}">
                <a16:creationId xmlns:a16="http://schemas.microsoft.com/office/drawing/2014/main" id="{D7D3121C-7620-CA4E-B115-B85E6A974764}"/>
              </a:ext>
            </a:extLst>
          </p:cNvPr>
          <p:cNvSpPr txBox="1"/>
          <p:nvPr/>
        </p:nvSpPr>
        <p:spPr>
          <a:xfrm>
            <a:off x="4379395" y="3961975"/>
            <a:ext cx="1096064" cy="276999"/>
          </a:xfrm>
          <a:prstGeom prst="rect">
            <a:avLst/>
          </a:prstGeom>
          <a:noFill/>
        </p:spPr>
        <p:txBody>
          <a:bodyPr wrap="square" rtlCol="0">
            <a:spAutoFit/>
          </a:bodyPr>
          <a:lstStyle/>
          <a:p>
            <a:r>
              <a:rPr lang="en-US" sz="1200" dirty="0"/>
              <a:t>NCS 2000</a:t>
            </a:r>
            <a:endParaRPr lang="en-US" sz="1200" dirty="0">
              <a:latin typeface="+mn-lt"/>
            </a:endParaRPr>
          </a:p>
        </p:txBody>
      </p:sp>
      <p:sp>
        <p:nvSpPr>
          <p:cNvPr id="21" name="Rectangle 20">
            <a:extLst>
              <a:ext uri="{FF2B5EF4-FFF2-40B4-BE49-F238E27FC236}">
                <a16:creationId xmlns:a16="http://schemas.microsoft.com/office/drawing/2014/main" id="{1F069A9D-5DBB-6E4E-A5D3-2A87729305CD}"/>
              </a:ext>
            </a:extLst>
          </p:cNvPr>
          <p:cNvSpPr/>
          <p:nvPr/>
        </p:nvSpPr>
        <p:spPr>
          <a:xfrm>
            <a:off x="6746198" y="1071574"/>
            <a:ext cx="2037056" cy="3734597"/>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48D52853-9829-5747-85E3-ED05E0BAEAA7}"/>
              </a:ext>
            </a:extLst>
          </p:cNvPr>
          <p:cNvSpPr/>
          <p:nvPr/>
        </p:nvSpPr>
        <p:spPr>
          <a:xfrm>
            <a:off x="6746198" y="1071573"/>
            <a:ext cx="2037056" cy="373444"/>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UTOMATION</a:t>
            </a:r>
          </a:p>
          <a:p>
            <a:pPr algn="ctr"/>
            <a:r>
              <a:rPr lang="en-US" sz="800" dirty="0">
                <a:solidFill>
                  <a:schemeClr val="tx1">
                    <a:lumMod val="50000"/>
                    <a:lumOff val="50000"/>
                  </a:schemeClr>
                </a:solidFill>
              </a:rPr>
              <a:t>EPNM, NSO, WAE</a:t>
            </a:r>
            <a:endParaRPr lang="en-US" dirty="0"/>
          </a:p>
        </p:txBody>
      </p:sp>
      <p:sp>
        <p:nvSpPr>
          <p:cNvPr id="23" name="Rectangle 22">
            <a:extLst>
              <a:ext uri="{FF2B5EF4-FFF2-40B4-BE49-F238E27FC236}">
                <a16:creationId xmlns:a16="http://schemas.microsoft.com/office/drawing/2014/main" id="{D6FEE215-67FF-DF45-A5EA-A84E87B676DD}"/>
              </a:ext>
            </a:extLst>
          </p:cNvPr>
          <p:cNvSpPr/>
          <p:nvPr/>
        </p:nvSpPr>
        <p:spPr>
          <a:xfrm>
            <a:off x="6746198" y="1445017"/>
            <a:ext cx="0" cy="3361153"/>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929BA855-D282-D844-8443-FA7FA578D0CC}"/>
              </a:ext>
            </a:extLst>
          </p:cNvPr>
          <p:cNvSpPr/>
          <p:nvPr/>
        </p:nvSpPr>
        <p:spPr>
          <a:xfrm>
            <a:off x="7741886" y="1445017"/>
            <a:ext cx="507492" cy="3361153"/>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1C605CFC-962A-934F-9B42-0E1BEE72647B}"/>
              </a:ext>
            </a:extLst>
          </p:cNvPr>
          <p:cNvSpPr/>
          <p:nvPr/>
        </p:nvSpPr>
        <p:spPr>
          <a:xfrm>
            <a:off x="6742612" y="1445017"/>
            <a:ext cx="500634" cy="3361153"/>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59CC5752-2004-A643-9161-BC5CB7ED6DD0}"/>
              </a:ext>
            </a:extLst>
          </p:cNvPr>
          <p:cNvSpPr/>
          <p:nvPr/>
        </p:nvSpPr>
        <p:spPr>
          <a:xfrm>
            <a:off x="7246832" y="1445017"/>
            <a:ext cx="500634" cy="3361153"/>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DB8B6035-8701-5D4B-B8C8-C9E92CA60ED5}"/>
              </a:ext>
            </a:extLst>
          </p:cNvPr>
          <p:cNvSpPr/>
          <p:nvPr/>
        </p:nvSpPr>
        <p:spPr>
          <a:xfrm>
            <a:off x="3768314" y="2356721"/>
            <a:ext cx="1576502" cy="383567"/>
          </a:xfrm>
          <a:prstGeom prst="rect">
            <a:avLst/>
          </a:prstGeom>
        </p:spPr>
        <p:txBody>
          <a:bodyPr wrap="square">
            <a:spAutoFit/>
          </a:bodyPr>
          <a:lstStyle/>
          <a:p>
            <a:pPr marL="531372" lvl="2" algn="ctr">
              <a:lnSpc>
                <a:spcPts val="1200"/>
              </a:lnSpc>
            </a:pPr>
            <a:r>
              <a:rPr lang="en-US" sz="750" dirty="0"/>
              <a:t>High capacity</a:t>
            </a:r>
          </a:p>
          <a:p>
            <a:pPr marL="531372" lvl="2" algn="ctr">
              <a:lnSpc>
                <a:spcPts val="1200"/>
              </a:lnSpc>
            </a:pPr>
            <a:r>
              <a:rPr lang="en-US" sz="750" dirty="0"/>
              <a:t>L3</a:t>
            </a:r>
          </a:p>
        </p:txBody>
      </p:sp>
      <p:sp>
        <p:nvSpPr>
          <p:cNvPr id="34" name="TextBox 33">
            <a:extLst>
              <a:ext uri="{FF2B5EF4-FFF2-40B4-BE49-F238E27FC236}">
                <a16:creationId xmlns:a16="http://schemas.microsoft.com/office/drawing/2014/main" id="{843960CA-A5FD-234C-BB93-BE28EA390EA6}"/>
              </a:ext>
            </a:extLst>
          </p:cNvPr>
          <p:cNvSpPr txBox="1"/>
          <p:nvPr/>
        </p:nvSpPr>
        <p:spPr>
          <a:xfrm rot="5400000">
            <a:off x="5727797" y="3283938"/>
            <a:ext cx="2534472" cy="323165"/>
          </a:xfrm>
          <a:prstGeom prst="rect">
            <a:avLst/>
          </a:prstGeom>
          <a:noFill/>
        </p:spPr>
        <p:txBody>
          <a:bodyPr wrap="square" rtlCol="0">
            <a:spAutoFit/>
          </a:bodyPr>
          <a:lstStyle/>
          <a:p>
            <a:r>
              <a:rPr lang="en-US" sz="1500" b="1" dirty="0">
                <a:solidFill>
                  <a:schemeClr val="accent6"/>
                </a:solidFill>
                <a:latin typeface="+mn-lt"/>
              </a:rPr>
              <a:t>Provision &amp; Activation</a:t>
            </a:r>
          </a:p>
        </p:txBody>
      </p:sp>
      <p:sp>
        <p:nvSpPr>
          <p:cNvPr id="36" name="TextBox 35">
            <a:extLst>
              <a:ext uri="{FF2B5EF4-FFF2-40B4-BE49-F238E27FC236}">
                <a16:creationId xmlns:a16="http://schemas.microsoft.com/office/drawing/2014/main" id="{196E4EE9-150A-1A4D-BEEA-28E56E7746CB}"/>
              </a:ext>
            </a:extLst>
          </p:cNvPr>
          <p:cNvSpPr txBox="1"/>
          <p:nvPr/>
        </p:nvSpPr>
        <p:spPr>
          <a:xfrm rot="5400000">
            <a:off x="5890973" y="3622878"/>
            <a:ext cx="3212352" cy="323165"/>
          </a:xfrm>
          <a:prstGeom prst="rect">
            <a:avLst/>
          </a:prstGeom>
          <a:noFill/>
        </p:spPr>
        <p:txBody>
          <a:bodyPr wrap="square" rtlCol="0">
            <a:spAutoFit/>
          </a:bodyPr>
          <a:lstStyle/>
          <a:p>
            <a:r>
              <a:rPr lang="en-US" sz="1500" b="1" dirty="0">
                <a:solidFill>
                  <a:schemeClr val="accent6"/>
                </a:solidFill>
                <a:latin typeface="+mn-lt"/>
              </a:rPr>
              <a:t>Security Management</a:t>
            </a:r>
          </a:p>
        </p:txBody>
      </p:sp>
      <p:sp>
        <p:nvSpPr>
          <p:cNvPr id="54" name="TextBox 53">
            <a:extLst>
              <a:ext uri="{FF2B5EF4-FFF2-40B4-BE49-F238E27FC236}">
                <a16:creationId xmlns:a16="http://schemas.microsoft.com/office/drawing/2014/main" id="{E7F089D5-2284-194D-A3FC-577C0D36EEC5}"/>
              </a:ext>
            </a:extLst>
          </p:cNvPr>
          <p:cNvSpPr txBox="1"/>
          <p:nvPr/>
        </p:nvSpPr>
        <p:spPr>
          <a:xfrm rot="5400000">
            <a:off x="6389456" y="3362992"/>
            <a:ext cx="3212352" cy="323165"/>
          </a:xfrm>
          <a:prstGeom prst="rect">
            <a:avLst/>
          </a:prstGeom>
          <a:noFill/>
        </p:spPr>
        <p:txBody>
          <a:bodyPr wrap="square" rtlCol="0">
            <a:spAutoFit/>
          </a:bodyPr>
          <a:lstStyle/>
          <a:p>
            <a:r>
              <a:rPr lang="en-US" sz="1500" dirty="0">
                <a:solidFill>
                  <a:schemeClr val="accent6"/>
                </a:solidFill>
              </a:rPr>
              <a:t>Performance Management</a:t>
            </a:r>
          </a:p>
        </p:txBody>
      </p:sp>
      <p:sp>
        <p:nvSpPr>
          <p:cNvPr id="55" name="TextBox 54">
            <a:extLst>
              <a:ext uri="{FF2B5EF4-FFF2-40B4-BE49-F238E27FC236}">
                <a16:creationId xmlns:a16="http://schemas.microsoft.com/office/drawing/2014/main" id="{53C961F8-6E03-514F-8BA7-4B5F53C74B67}"/>
              </a:ext>
            </a:extLst>
          </p:cNvPr>
          <p:cNvSpPr txBox="1"/>
          <p:nvPr/>
        </p:nvSpPr>
        <p:spPr>
          <a:xfrm rot="5400000">
            <a:off x="6903647" y="3712022"/>
            <a:ext cx="3212352" cy="323165"/>
          </a:xfrm>
          <a:prstGeom prst="rect">
            <a:avLst/>
          </a:prstGeom>
          <a:noFill/>
        </p:spPr>
        <p:txBody>
          <a:bodyPr wrap="square" rtlCol="0">
            <a:spAutoFit/>
          </a:bodyPr>
          <a:lstStyle/>
          <a:p>
            <a:r>
              <a:rPr lang="en-US" sz="1500" b="1" dirty="0">
                <a:solidFill>
                  <a:schemeClr val="accent6"/>
                </a:solidFill>
                <a:latin typeface="+mn-lt"/>
              </a:rPr>
              <a:t>Service Assurance</a:t>
            </a:r>
          </a:p>
        </p:txBody>
      </p:sp>
      <p:sp>
        <p:nvSpPr>
          <p:cNvPr id="57" name="Rectangle 56">
            <a:extLst>
              <a:ext uri="{FF2B5EF4-FFF2-40B4-BE49-F238E27FC236}">
                <a16:creationId xmlns:a16="http://schemas.microsoft.com/office/drawing/2014/main" id="{6D2AAF95-C7B2-E74A-8ACF-D63848F1C914}"/>
              </a:ext>
            </a:extLst>
          </p:cNvPr>
          <p:cNvSpPr/>
          <p:nvPr/>
        </p:nvSpPr>
        <p:spPr>
          <a:xfrm>
            <a:off x="1667003" y="4193140"/>
            <a:ext cx="2122130" cy="383567"/>
          </a:xfrm>
          <a:prstGeom prst="rect">
            <a:avLst/>
          </a:prstGeom>
        </p:spPr>
        <p:txBody>
          <a:bodyPr wrap="square">
            <a:spAutoFit/>
          </a:bodyPr>
          <a:lstStyle/>
          <a:p>
            <a:pPr marL="531372" lvl="2" algn="ctr">
              <a:lnSpc>
                <a:spcPts val="1200"/>
              </a:lnSpc>
            </a:pPr>
            <a:r>
              <a:rPr lang="en-US" sz="750" dirty="0"/>
              <a:t>Transponder</a:t>
            </a:r>
          </a:p>
          <a:p>
            <a:pPr marL="531372" lvl="2" algn="ctr">
              <a:lnSpc>
                <a:spcPts val="1200"/>
              </a:lnSpc>
            </a:pPr>
            <a:r>
              <a:rPr lang="en-US" sz="750" dirty="0"/>
              <a:t>Pt-</a:t>
            </a:r>
            <a:r>
              <a:rPr lang="en-US" sz="750" dirty="0" err="1"/>
              <a:t>pt</a:t>
            </a:r>
            <a:r>
              <a:rPr lang="en-US" sz="750" dirty="0"/>
              <a:t>, GE interfaces</a:t>
            </a:r>
          </a:p>
        </p:txBody>
      </p:sp>
      <p:sp>
        <p:nvSpPr>
          <p:cNvPr id="58" name="Rectangle 57">
            <a:extLst>
              <a:ext uri="{FF2B5EF4-FFF2-40B4-BE49-F238E27FC236}">
                <a16:creationId xmlns:a16="http://schemas.microsoft.com/office/drawing/2014/main" id="{078F7B24-DED6-234B-A296-DE37EAF8085B}"/>
              </a:ext>
            </a:extLst>
          </p:cNvPr>
          <p:cNvSpPr/>
          <p:nvPr/>
        </p:nvSpPr>
        <p:spPr>
          <a:xfrm>
            <a:off x="1935222" y="2347753"/>
            <a:ext cx="1576502" cy="383567"/>
          </a:xfrm>
          <a:prstGeom prst="rect">
            <a:avLst/>
          </a:prstGeom>
        </p:spPr>
        <p:txBody>
          <a:bodyPr wrap="square">
            <a:spAutoFit/>
          </a:bodyPr>
          <a:lstStyle/>
          <a:p>
            <a:pPr marL="531372" lvl="2" algn="ctr">
              <a:lnSpc>
                <a:spcPts val="1200"/>
              </a:lnSpc>
            </a:pPr>
            <a:r>
              <a:rPr lang="en-US" sz="750" dirty="0"/>
              <a:t>Feature rich L2/L3 routing</a:t>
            </a:r>
          </a:p>
        </p:txBody>
      </p:sp>
      <p:sp>
        <p:nvSpPr>
          <p:cNvPr id="59" name="Rectangle 58">
            <a:extLst>
              <a:ext uri="{FF2B5EF4-FFF2-40B4-BE49-F238E27FC236}">
                <a16:creationId xmlns:a16="http://schemas.microsoft.com/office/drawing/2014/main" id="{767A538E-D2CD-F144-B1D6-A4E706A98505}"/>
              </a:ext>
            </a:extLst>
          </p:cNvPr>
          <p:cNvSpPr/>
          <p:nvPr/>
        </p:nvSpPr>
        <p:spPr>
          <a:xfrm>
            <a:off x="3615410" y="4193140"/>
            <a:ext cx="1884050" cy="537455"/>
          </a:xfrm>
          <a:prstGeom prst="rect">
            <a:avLst/>
          </a:prstGeom>
        </p:spPr>
        <p:txBody>
          <a:bodyPr wrap="square">
            <a:spAutoFit/>
          </a:bodyPr>
          <a:lstStyle/>
          <a:p>
            <a:pPr marL="575782" lvl="2" algn="ctr">
              <a:lnSpc>
                <a:spcPts val="1200"/>
              </a:lnSpc>
            </a:pPr>
            <a:r>
              <a:rPr lang="en-US" sz="750" dirty="0"/>
              <a:t>ROADM</a:t>
            </a:r>
          </a:p>
          <a:p>
            <a:pPr marL="575782" lvl="2" algn="ctr">
              <a:lnSpc>
                <a:spcPts val="1200"/>
              </a:lnSpc>
            </a:pPr>
            <a:r>
              <a:rPr lang="en-US" sz="750" dirty="0"/>
              <a:t>Ring, GE/FE/FC interfaces</a:t>
            </a:r>
          </a:p>
        </p:txBody>
      </p:sp>
      <p:pic>
        <p:nvPicPr>
          <p:cNvPr id="44" name="Picture 2" descr="C:\Users\abedoyan\Documents\Data-abedoyan\ASR9K\ASR 9910 - Shockwave\ASR 9910 Professional Photos\ASR9910-FrontView.png">
            <a:extLst>
              <a:ext uri="{FF2B5EF4-FFF2-40B4-BE49-F238E27FC236}">
                <a16:creationId xmlns:a16="http://schemas.microsoft.com/office/drawing/2014/main" id="{D3695006-B979-4AA4-BE09-9A6AFFE6D7F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89164" y="1201281"/>
            <a:ext cx="691467" cy="93917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52B568DC-B651-4B3C-97F5-6FEB5591C84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47335" y="1308853"/>
            <a:ext cx="531133" cy="841112"/>
          </a:xfrm>
          <a:prstGeom prst="rect">
            <a:avLst/>
          </a:prstGeom>
        </p:spPr>
      </p:pic>
      <p:grpSp>
        <p:nvGrpSpPr>
          <p:cNvPr id="48" name="Group 47">
            <a:extLst>
              <a:ext uri="{FF2B5EF4-FFF2-40B4-BE49-F238E27FC236}">
                <a16:creationId xmlns:a16="http://schemas.microsoft.com/office/drawing/2014/main" id="{9C51203B-7701-4EE2-BDB1-F14C1B55212A}"/>
              </a:ext>
            </a:extLst>
          </p:cNvPr>
          <p:cNvGrpSpPr/>
          <p:nvPr/>
        </p:nvGrpSpPr>
        <p:grpSpPr>
          <a:xfrm>
            <a:off x="2707890" y="3495702"/>
            <a:ext cx="662057" cy="671172"/>
            <a:chOff x="2619161" y="2866357"/>
            <a:chExt cx="882742" cy="894896"/>
          </a:xfrm>
        </p:grpSpPr>
        <p:pic>
          <p:nvPicPr>
            <p:cNvPr id="50" name="Picture 49" descr="5037_tor1.png">
              <a:extLst>
                <a:ext uri="{FF2B5EF4-FFF2-40B4-BE49-F238E27FC236}">
                  <a16:creationId xmlns:a16="http://schemas.microsoft.com/office/drawing/2014/main" id="{2456AAB1-15D9-4435-BC07-0F1CCC2A7FF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19161" y="2866357"/>
              <a:ext cx="882742" cy="894896"/>
            </a:xfrm>
            <a:prstGeom prst="rect">
              <a:avLst/>
            </a:prstGeom>
            <a:noFill/>
            <a:ln>
              <a:noFill/>
            </a:ln>
          </p:spPr>
        </p:pic>
        <p:pic>
          <p:nvPicPr>
            <p:cNvPr id="51" name="Picture 2">
              <a:extLst>
                <a:ext uri="{FF2B5EF4-FFF2-40B4-BE49-F238E27FC236}">
                  <a16:creationId xmlns:a16="http://schemas.microsoft.com/office/drawing/2014/main" id="{212082DC-3F6E-4081-957A-D1AB25E6698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680562" y="3272276"/>
              <a:ext cx="39648" cy="4795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2" name="Picture 3">
              <a:extLst>
                <a:ext uri="{FF2B5EF4-FFF2-40B4-BE49-F238E27FC236}">
                  <a16:creationId xmlns:a16="http://schemas.microsoft.com/office/drawing/2014/main" id="{544F0AD5-EEBC-4D11-B0C0-16CF0E17D4C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680562" y="3226166"/>
              <a:ext cx="39648" cy="4795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3" name="Picture 5">
              <a:extLst>
                <a:ext uri="{FF2B5EF4-FFF2-40B4-BE49-F238E27FC236}">
                  <a16:creationId xmlns:a16="http://schemas.microsoft.com/office/drawing/2014/main" id="{D9E00761-D8CD-4CC1-A8C7-6844BB783C3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375319"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 name="Picture 5">
              <a:extLst>
                <a:ext uri="{FF2B5EF4-FFF2-40B4-BE49-F238E27FC236}">
                  <a16:creationId xmlns:a16="http://schemas.microsoft.com/office/drawing/2014/main" id="{B9525B1E-3C44-4F5B-B528-FAD3989956B6}"/>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291602"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1" name="Picture 5">
              <a:extLst>
                <a:ext uri="{FF2B5EF4-FFF2-40B4-BE49-F238E27FC236}">
                  <a16:creationId xmlns:a16="http://schemas.microsoft.com/office/drawing/2014/main" id="{5AC45469-B0B5-42D3-8397-F4661D4A8CB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211109"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2" name="Picture 5">
              <a:extLst>
                <a:ext uri="{FF2B5EF4-FFF2-40B4-BE49-F238E27FC236}">
                  <a16:creationId xmlns:a16="http://schemas.microsoft.com/office/drawing/2014/main" id="{049A17AB-AB38-4CE8-A419-911B760812D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127704"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3" name="Picture 5">
              <a:extLst>
                <a:ext uri="{FF2B5EF4-FFF2-40B4-BE49-F238E27FC236}">
                  <a16:creationId xmlns:a16="http://schemas.microsoft.com/office/drawing/2014/main" id="{B2D9C5A1-F29A-4CAA-998F-DCB292D199C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049505" y="3282970"/>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4" name="Picture 5">
              <a:extLst>
                <a:ext uri="{FF2B5EF4-FFF2-40B4-BE49-F238E27FC236}">
                  <a16:creationId xmlns:a16="http://schemas.microsoft.com/office/drawing/2014/main" id="{CB3A33F8-49B8-434A-AF1D-05E8DF6611FD}"/>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969960" y="3282970"/>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5" name="Picture 5">
              <a:extLst>
                <a:ext uri="{FF2B5EF4-FFF2-40B4-BE49-F238E27FC236}">
                  <a16:creationId xmlns:a16="http://schemas.microsoft.com/office/drawing/2014/main" id="{2026F804-1D01-4DCC-B973-07B87B197380}"/>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886555"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6" name="Picture 5">
              <a:extLst>
                <a:ext uri="{FF2B5EF4-FFF2-40B4-BE49-F238E27FC236}">
                  <a16:creationId xmlns:a16="http://schemas.microsoft.com/office/drawing/2014/main" id="{CF861E17-7972-4597-9345-8A62DE45F83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803615"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7" name="Picture 5">
              <a:extLst>
                <a:ext uri="{FF2B5EF4-FFF2-40B4-BE49-F238E27FC236}">
                  <a16:creationId xmlns:a16="http://schemas.microsoft.com/office/drawing/2014/main" id="{7952A8A0-33BA-4181-BF7B-5F60419745D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720210" y="3282971"/>
              <a:ext cx="83405" cy="58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8" name="Picture 4">
              <a:extLst>
                <a:ext uri="{FF2B5EF4-FFF2-40B4-BE49-F238E27FC236}">
                  <a16:creationId xmlns:a16="http://schemas.microsoft.com/office/drawing/2014/main" id="{82641284-149F-4E41-94EF-27D93BBCD707}"/>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720210" y="3215100"/>
              <a:ext cx="738513" cy="678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9" name="Picture 4">
              <a:extLst>
                <a:ext uri="{FF2B5EF4-FFF2-40B4-BE49-F238E27FC236}">
                  <a16:creationId xmlns:a16="http://schemas.microsoft.com/office/drawing/2014/main" id="{F89B2658-0722-45A6-A962-A35AEEF085B4}"/>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723402" y="3362713"/>
              <a:ext cx="735321" cy="540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0" name="Picture 5">
              <a:extLst>
                <a:ext uri="{FF2B5EF4-FFF2-40B4-BE49-F238E27FC236}">
                  <a16:creationId xmlns:a16="http://schemas.microsoft.com/office/drawing/2014/main" id="{8E6BE4AD-E84F-4F39-884B-E30C2FFE72B9}"/>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731189" y="3341496"/>
              <a:ext cx="44984" cy="45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1" name="Picture 5">
              <a:extLst>
                <a:ext uri="{FF2B5EF4-FFF2-40B4-BE49-F238E27FC236}">
                  <a16:creationId xmlns:a16="http://schemas.microsoft.com/office/drawing/2014/main" id="{6688EFE3-20CE-4062-ACCE-5CB44F03D91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775296"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2" name="Picture 5">
              <a:extLst>
                <a:ext uri="{FF2B5EF4-FFF2-40B4-BE49-F238E27FC236}">
                  <a16:creationId xmlns:a16="http://schemas.microsoft.com/office/drawing/2014/main" id="{133BE6E7-E839-4ABE-B670-51A5AB33E1E8}"/>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19404"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3" name="Picture 5">
              <a:extLst>
                <a:ext uri="{FF2B5EF4-FFF2-40B4-BE49-F238E27FC236}">
                  <a16:creationId xmlns:a16="http://schemas.microsoft.com/office/drawing/2014/main" id="{1CE75506-20F3-4B87-8FB1-9B90B3994BE3}"/>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63511"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4" name="Picture 5">
              <a:extLst>
                <a:ext uri="{FF2B5EF4-FFF2-40B4-BE49-F238E27FC236}">
                  <a16:creationId xmlns:a16="http://schemas.microsoft.com/office/drawing/2014/main" id="{B95BC614-81E7-4F83-85A3-BB3E91ED5A9E}"/>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907618"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5" name="Picture 5">
              <a:extLst>
                <a:ext uri="{FF2B5EF4-FFF2-40B4-BE49-F238E27FC236}">
                  <a16:creationId xmlns:a16="http://schemas.microsoft.com/office/drawing/2014/main" id="{D1D093FA-712F-4347-8C7A-EF8AB72BA5A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094232"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6" name="Picture 5">
              <a:extLst>
                <a:ext uri="{FF2B5EF4-FFF2-40B4-BE49-F238E27FC236}">
                  <a16:creationId xmlns:a16="http://schemas.microsoft.com/office/drawing/2014/main" id="{9AA74C2B-495D-4B02-94B6-7D2923BE7B4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138339"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7" name="Picture 5">
              <a:extLst>
                <a:ext uri="{FF2B5EF4-FFF2-40B4-BE49-F238E27FC236}">
                  <a16:creationId xmlns:a16="http://schemas.microsoft.com/office/drawing/2014/main" id="{A25A70B9-01AA-4FAB-B147-1FCD48AA6504}"/>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182447"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8" name="Picture 5">
              <a:extLst>
                <a:ext uri="{FF2B5EF4-FFF2-40B4-BE49-F238E27FC236}">
                  <a16:creationId xmlns:a16="http://schemas.microsoft.com/office/drawing/2014/main" id="{793E1CF4-ACAA-45D0-BE47-EBD2B89729D7}"/>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226554"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9" name="Picture 5">
              <a:extLst>
                <a:ext uri="{FF2B5EF4-FFF2-40B4-BE49-F238E27FC236}">
                  <a16:creationId xmlns:a16="http://schemas.microsoft.com/office/drawing/2014/main" id="{75D7C3F4-34DD-4C7D-B640-5088D8AE55D7}"/>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270661" y="3341496"/>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0" name="Picture 5">
              <a:extLst>
                <a:ext uri="{FF2B5EF4-FFF2-40B4-BE49-F238E27FC236}">
                  <a16:creationId xmlns:a16="http://schemas.microsoft.com/office/drawing/2014/main" id="{357C6E33-B0A7-4267-BD9D-F86BF33A2FB0}"/>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386898" y="3332202"/>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1" name="Picture 5">
              <a:extLst>
                <a:ext uri="{FF2B5EF4-FFF2-40B4-BE49-F238E27FC236}">
                  <a16:creationId xmlns:a16="http://schemas.microsoft.com/office/drawing/2014/main" id="{CEA745A5-7CAB-494F-9EF5-21336966467B}"/>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315644" y="3332215"/>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2" name="Picture 5">
              <a:extLst>
                <a:ext uri="{FF2B5EF4-FFF2-40B4-BE49-F238E27FC236}">
                  <a16:creationId xmlns:a16="http://schemas.microsoft.com/office/drawing/2014/main" id="{754F57A1-D5E4-40AC-94C5-FB2D15059447}"/>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730313"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3" name="Picture 5">
              <a:extLst>
                <a:ext uri="{FF2B5EF4-FFF2-40B4-BE49-F238E27FC236}">
                  <a16:creationId xmlns:a16="http://schemas.microsoft.com/office/drawing/2014/main" id="{2359962E-5124-4549-9E30-DD2E68B1185F}"/>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774420"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4" name="Picture 5">
              <a:extLst>
                <a:ext uri="{FF2B5EF4-FFF2-40B4-BE49-F238E27FC236}">
                  <a16:creationId xmlns:a16="http://schemas.microsoft.com/office/drawing/2014/main" id="{77C87C88-6315-4069-BB06-4A0E961AEF72}"/>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18527"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5" name="Picture 5">
              <a:extLst>
                <a:ext uri="{FF2B5EF4-FFF2-40B4-BE49-F238E27FC236}">
                  <a16:creationId xmlns:a16="http://schemas.microsoft.com/office/drawing/2014/main" id="{ADFF1ABC-6C9F-45B6-AB84-7C9019C23A9E}"/>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62635"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6" name="Picture 5">
              <a:extLst>
                <a:ext uri="{FF2B5EF4-FFF2-40B4-BE49-F238E27FC236}">
                  <a16:creationId xmlns:a16="http://schemas.microsoft.com/office/drawing/2014/main" id="{2AFF19B9-42D8-49C2-8197-8592F9CEA9B4}"/>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906742"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7" name="Picture 5">
              <a:extLst>
                <a:ext uri="{FF2B5EF4-FFF2-40B4-BE49-F238E27FC236}">
                  <a16:creationId xmlns:a16="http://schemas.microsoft.com/office/drawing/2014/main" id="{6F040D76-E29E-4729-BB11-62348965A428}"/>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095225"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8" name="Picture 5">
              <a:extLst>
                <a:ext uri="{FF2B5EF4-FFF2-40B4-BE49-F238E27FC236}">
                  <a16:creationId xmlns:a16="http://schemas.microsoft.com/office/drawing/2014/main" id="{7DF96F3B-8183-4449-BCFF-1A903AE68F5E}"/>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139332"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9" name="Picture 5">
              <a:extLst>
                <a:ext uri="{FF2B5EF4-FFF2-40B4-BE49-F238E27FC236}">
                  <a16:creationId xmlns:a16="http://schemas.microsoft.com/office/drawing/2014/main" id="{C965CD04-6AE0-4C52-AF0D-CEB099F7CC44}"/>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183439"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0" name="Picture 5">
              <a:extLst>
                <a:ext uri="{FF2B5EF4-FFF2-40B4-BE49-F238E27FC236}">
                  <a16:creationId xmlns:a16="http://schemas.microsoft.com/office/drawing/2014/main" id="{DF6C8AC7-B241-4E73-B8BB-FB94CA73DE5B}"/>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227546"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1" name="Picture 5">
              <a:extLst>
                <a:ext uri="{FF2B5EF4-FFF2-40B4-BE49-F238E27FC236}">
                  <a16:creationId xmlns:a16="http://schemas.microsoft.com/office/drawing/2014/main" id="{B0D84D17-B057-451D-81A6-67967DBBB883}"/>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271653" y="3242528"/>
              <a:ext cx="44984" cy="454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2" name="Picture 5">
              <a:extLst>
                <a:ext uri="{FF2B5EF4-FFF2-40B4-BE49-F238E27FC236}">
                  <a16:creationId xmlns:a16="http://schemas.microsoft.com/office/drawing/2014/main" id="{7442BEFB-EB07-4A1E-B656-BEE54115AB29}"/>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316637" y="3226980"/>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3" name="Picture 5">
              <a:extLst>
                <a:ext uri="{FF2B5EF4-FFF2-40B4-BE49-F238E27FC236}">
                  <a16:creationId xmlns:a16="http://schemas.microsoft.com/office/drawing/2014/main" id="{B2BA3D62-6785-40CD-B5AC-9D82373DA156}"/>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023366" y="3230792"/>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4" name="Picture 5">
              <a:extLst>
                <a:ext uri="{FF2B5EF4-FFF2-40B4-BE49-F238E27FC236}">
                  <a16:creationId xmlns:a16="http://schemas.microsoft.com/office/drawing/2014/main" id="{44B5C2D0-520C-4A8A-B443-0032B72EDFC4}"/>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952113" y="3230806"/>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5" name="Picture 5">
              <a:extLst>
                <a:ext uri="{FF2B5EF4-FFF2-40B4-BE49-F238E27FC236}">
                  <a16:creationId xmlns:a16="http://schemas.microsoft.com/office/drawing/2014/main" id="{388E3171-4F45-449D-94C3-370C329A07B4}"/>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387890" y="3226980"/>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6" name="Picture 5">
              <a:extLst>
                <a:ext uri="{FF2B5EF4-FFF2-40B4-BE49-F238E27FC236}">
                  <a16:creationId xmlns:a16="http://schemas.microsoft.com/office/drawing/2014/main" id="{FD712019-41FC-4965-BE03-75C4497D436A}"/>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950213" y="3332202"/>
              <a:ext cx="78131" cy="610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7" name="Picture 5">
              <a:extLst>
                <a:ext uri="{FF2B5EF4-FFF2-40B4-BE49-F238E27FC236}">
                  <a16:creationId xmlns:a16="http://schemas.microsoft.com/office/drawing/2014/main" id="{BCB4B95D-37FC-4123-BCDE-CAD7545430F9}"/>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021466" y="3332202"/>
              <a:ext cx="78131" cy="6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pic>
        <p:nvPicPr>
          <p:cNvPr id="98" name="Picture 4">
            <a:extLst>
              <a:ext uri="{FF2B5EF4-FFF2-40B4-BE49-F238E27FC236}">
                <a16:creationId xmlns:a16="http://schemas.microsoft.com/office/drawing/2014/main" id="{0172B771-2904-4D8E-B954-69144E9B93D2}"/>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525509" y="3545209"/>
            <a:ext cx="599369" cy="363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14033611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9797B-D76C-4F74-84A6-A2A214511449}"/>
              </a:ext>
            </a:extLst>
          </p:cNvPr>
          <p:cNvSpPr>
            <a:spLocks noGrp="1"/>
          </p:cNvSpPr>
          <p:nvPr>
            <p:ph type="ctrTitle"/>
          </p:nvPr>
        </p:nvSpPr>
        <p:spPr/>
        <p:txBody>
          <a:bodyPr/>
          <a:lstStyle/>
          <a:p>
            <a:r>
              <a:rPr lang="en-US" dirty="0"/>
              <a:t>Intelligent Peering</a:t>
            </a:r>
          </a:p>
        </p:txBody>
      </p:sp>
    </p:spTree>
    <p:extLst>
      <p:ext uri="{BB962C8B-B14F-4D97-AF65-F5344CB8AC3E}">
        <p14:creationId xmlns:p14="http://schemas.microsoft.com/office/powerpoint/2010/main" val="2056565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29CA1C-19C0-4E1C-BE44-0C692167EC67}"/>
              </a:ext>
            </a:extLst>
          </p:cNvPr>
          <p:cNvSpPr>
            <a:spLocks noGrp="1"/>
          </p:cNvSpPr>
          <p:nvPr>
            <p:ph type="ctrTitle"/>
          </p:nvPr>
        </p:nvSpPr>
        <p:spPr/>
        <p:txBody>
          <a:bodyPr/>
          <a:lstStyle/>
          <a:p>
            <a:r>
              <a:rPr lang="en-ZA" dirty="0"/>
              <a:t>Cisco Solution Overview</a:t>
            </a:r>
          </a:p>
        </p:txBody>
      </p:sp>
    </p:spTree>
    <p:extLst>
      <p:ext uri="{BB962C8B-B14F-4D97-AF65-F5344CB8AC3E}">
        <p14:creationId xmlns:p14="http://schemas.microsoft.com/office/powerpoint/2010/main" val="24066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7" name="Group 6"/>
          <p:cNvGrpSpPr/>
          <p:nvPr/>
        </p:nvGrpSpPr>
        <p:grpSpPr>
          <a:xfrm>
            <a:off x="735651" y="982827"/>
            <a:ext cx="7931940" cy="3572888"/>
            <a:chOff x="141999" y="477137"/>
            <a:chExt cx="9129246" cy="4112204"/>
          </a:xfrm>
        </p:grpSpPr>
        <p:sp>
          <p:nvSpPr>
            <p:cNvPr id="29" name="Rounded Rectangle 28"/>
            <p:cNvSpPr/>
            <p:nvPr/>
          </p:nvSpPr>
          <p:spPr>
            <a:xfrm>
              <a:off x="3327826" y="477137"/>
              <a:ext cx="2773181" cy="4092263"/>
            </a:xfrm>
            <a:prstGeom prst="roundRect">
              <a:avLst>
                <a:gd name="adj" fmla="val 10844"/>
              </a:avLst>
            </a:prstGeom>
            <a:solidFill>
              <a:schemeClr val="tx1">
                <a:lumMod val="10000"/>
                <a:lumOff val="90000"/>
              </a:schemeClr>
            </a:solidFill>
            <a:ln w="9525" cap="flat" cmpd="sng" algn="ctr">
              <a:noFill/>
              <a:prstDash val="dash"/>
            </a:ln>
            <a:effectLst/>
          </p:spPr>
          <p:txBody>
            <a:bodyPr rtlCol="0" anchor="t"/>
            <a:lstStyle/>
            <a:p>
              <a:pPr algn="ctr" defTabSz="914355">
                <a:defRPr/>
              </a:pPr>
              <a:endParaRPr lang="en-US" sz="1200" b="1" dirty="0">
                <a:solidFill>
                  <a:srgbClr val="005073"/>
                </a:solidFill>
                <a:latin typeface="CiscoSansTT ExtraLight"/>
              </a:endParaRPr>
            </a:p>
          </p:txBody>
        </p:sp>
        <p:grpSp>
          <p:nvGrpSpPr>
            <p:cNvPr id="32" name="Group 31"/>
            <p:cNvGrpSpPr/>
            <p:nvPr/>
          </p:nvGrpSpPr>
          <p:grpSpPr>
            <a:xfrm>
              <a:off x="4053507" y="739840"/>
              <a:ext cx="1833033" cy="3558021"/>
              <a:chOff x="3777346" y="1619313"/>
              <a:chExt cx="1921540" cy="3729816"/>
            </a:xfrm>
            <a:solidFill>
              <a:schemeClr val="tx1">
                <a:lumMod val="25000"/>
                <a:lumOff val="75000"/>
              </a:schemeClr>
            </a:solidFill>
          </p:grpSpPr>
          <p:sp>
            <p:nvSpPr>
              <p:cNvPr id="33" name="Freeform 32"/>
              <p:cNvSpPr>
                <a:spLocks/>
              </p:cNvSpPr>
              <p:nvPr/>
            </p:nvSpPr>
            <p:spPr bwMode="black">
              <a:xfrm>
                <a:off x="5150130" y="1619313"/>
                <a:ext cx="548756" cy="18950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457178">
                  <a:defRPr/>
                </a:pPr>
                <a:endParaRPr lang="en-US" dirty="0">
                  <a:solidFill>
                    <a:srgbClr val="282828"/>
                  </a:solidFill>
                  <a:latin typeface="CiscoSansTT ExtraLight"/>
                </a:endParaRPr>
              </a:p>
            </p:txBody>
          </p:sp>
          <p:sp>
            <p:nvSpPr>
              <p:cNvPr id="35" name="Freeform 34"/>
              <p:cNvSpPr>
                <a:spLocks/>
              </p:cNvSpPr>
              <p:nvPr/>
            </p:nvSpPr>
            <p:spPr bwMode="black">
              <a:xfrm>
                <a:off x="4472807" y="2857936"/>
                <a:ext cx="548756" cy="18950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457178">
                  <a:defRPr/>
                </a:pPr>
                <a:endParaRPr lang="en-US" dirty="0">
                  <a:solidFill>
                    <a:srgbClr val="282828"/>
                  </a:solidFill>
                  <a:latin typeface="CiscoSansTT ExtraLight"/>
                </a:endParaRPr>
              </a:p>
            </p:txBody>
          </p:sp>
          <p:sp>
            <p:nvSpPr>
              <p:cNvPr id="36" name="Freeform 35"/>
              <p:cNvSpPr>
                <a:spLocks/>
              </p:cNvSpPr>
              <p:nvPr/>
            </p:nvSpPr>
            <p:spPr bwMode="black">
              <a:xfrm>
                <a:off x="3777346" y="1857960"/>
                <a:ext cx="548756" cy="349116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457178">
                  <a:defRPr/>
                </a:pPr>
                <a:endParaRPr lang="en-US" dirty="0">
                  <a:solidFill>
                    <a:srgbClr val="282828"/>
                  </a:solidFill>
                  <a:latin typeface="CiscoSansTT ExtraLight"/>
                </a:endParaRPr>
              </a:p>
            </p:txBody>
          </p:sp>
        </p:grpSp>
        <p:sp>
          <p:nvSpPr>
            <p:cNvPr id="37" name="Freeform 36"/>
            <p:cNvSpPr>
              <a:spLocks/>
            </p:cNvSpPr>
            <p:nvPr/>
          </p:nvSpPr>
          <p:spPr bwMode="black">
            <a:xfrm>
              <a:off x="5363054" y="739840"/>
              <a:ext cx="523480" cy="1807729"/>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accent5"/>
            </a:solidFill>
            <a:ln w="9525">
              <a:noFill/>
              <a:round/>
              <a:headEnd/>
              <a:tailEnd/>
            </a:ln>
            <a:effectLst>
              <a:glow rad="139700">
                <a:schemeClr val="accent5">
                  <a:satMod val="175000"/>
                  <a:alpha val="60000"/>
                </a:schemeClr>
              </a:glow>
            </a:effectLst>
          </p:spPr>
          <p:txBody>
            <a:bodyPr lIns="91436" tIns="45718" rIns="91436" bIns="45718"/>
            <a:lstStyle/>
            <a:p>
              <a:pPr defTabSz="457178">
                <a:defRPr/>
              </a:pPr>
              <a:endParaRPr lang="en-US" dirty="0">
                <a:ln w="0"/>
                <a:solidFill>
                  <a:srgbClr val="282828"/>
                </a:solidFill>
                <a:effectLst>
                  <a:outerShdw blurRad="38100" dist="19050" dir="2700000" algn="tl" rotWithShape="0">
                    <a:srgbClr val="282828">
                      <a:alpha val="40000"/>
                    </a:srgbClr>
                  </a:outerShdw>
                </a:effectLst>
                <a:latin typeface="CiscoSansTT ExtraLight"/>
              </a:endParaRPr>
            </a:p>
          </p:txBody>
        </p:sp>
        <p:sp>
          <p:nvSpPr>
            <p:cNvPr id="38" name="Freeform 37"/>
            <p:cNvSpPr>
              <a:spLocks/>
            </p:cNvSpPr>
            <p:nvPr/>
          </p:nvSpPr>
          <p:spPr bwMode="black">
            <a:xfrm>
              <a:off x="3503911" y="2764060"/>
              <a:ext cx="487928" cy="88976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accent1"/>
            </a:solidFill>
            <a:ln w="9525">
              <a:noFill/>
              <a:round/>
              <a:headEnd/>
              <a:tailEnd/>
            </a:ln>
          </p:spPr>
          <p:txBody>
            <a:bodyPr lIns="91436" tIns="45718" rIns="91436" bIns="45718"/>
            <a:lstStyle/>
            <a:p>
              <a:pPr defTabSz="457178">
                <a:defRPr/>
              </a:pPr>
              <a:endParaRPr lang="en-US" dirty="0">
                <a:solidFill>
                  <a:srgbClr val="282828"/>
                </a:solidFill>
                <a:latin typeface="CiscoSansTT ExtraLight"/>
              </a:endParaRPr>
            </a:p>
          </p:txBody>
        </p:sp>
        <p:sp>
          <p:nvSpPr>
            <p:cNvPr id="39" name="Freeform 38"/>
            <p:cNvSpPr>
              <a:spLocks/>
            </p:cNvSpPr>
            <p:nvPr/>
          </p:nvSpPr>
          <p:spPr bwMode="black">
            <a:xfrm>
              <a:off x="4716236" y="1915092"/>
              <a:ext cx="523480" cy="1807729"/>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accent2"/>
            </a:solidFill>
            <a:ln w="9525">
              <a:noFill/>
              <a:round/>
              <a:headEnd/>
              <a:tailEnd/>
            </a:ln>
          </p:spPr>
          <p:txBody>
            <a:bodyPr lIns="91436" tIns="45718" rIns="91436" bIns="45718"/>
            <a:lstStyle/>
            <a:p>
              <a:pPr defTabSz="457178">
                <a:defRPr/>
              </a:pPr>
              <a:endParaRPr lang="en-US" dirty="0">
                <a:solidFill>
                  <a:srgbClr val="282828"/>
                </a:solidFill>
                <a:latin typeface="CiscoSansTT ExtraLight"/>
              </a:endParaRPr>
            </a:p>
          </p:txBody>
        </p:sp>
        <p:sp>
          <p:nvSpPr>
            <p:cNvPr id="40" name="Freeform 39"/>
            <p:cNvSpPr>
              <a:spLocks/>
            </p:cNvSpPr>
            <p:nvPr/>
          </p:nvSpPr>
          <p:spPr bwMode="black">
            <a:xfrm>
              <a:off x="4047164" y="966507"/>
              <a:ext cx="523480" cy="333036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accent3"/>
            </a:solidFill>
            <a:ln w="9525">
              <a:solidFill>
                <a:schemeClr val="accent3"/>
              </a:solidFill>
              <a:round/>
              <a:headEnd/>
              <a:tailEnd/>
            </a:ln>
          </p:spPr>
          <p:txBody>
            <a:bodyPr lIns="91436" tIns="45718" rIns="91436" bIns="45718"/>
            <a:lstStyle/>
            <a:p>
              <a:pPr defTabSz="457178">
                <a:defRPr/>
              </a:pPr>
              <a:endParaRPr lang="en-US" dirty="0">
                <a:solidFill>
                  <a:srgbClr val="282828"/>
                </a:solidFill>
                <a:latin typeface="CiscoSansTT ExtraLight"/>
              </a:endParaRPr>
            </a:p>
          </p:txBody>
        </p:sp>
        <p:grpSp>
          <p:nvGrpSpPr>
            <p:cNvPr id="41" name="Group 40"/>
            <p:cNvGrpSpPr/>
            <p:nvPr/>
          </p:nvGrpSpPr>
          <p:grpSpPr>
            <a:xfrm>
              <a:off x="141999" y="1043961"/>
              <a:ext cx="4254592" cy="126292"/>
              <a:chOff x="65936" y="2057400"/>
              <a:chExt cx="4006042" cy="108811"/>
            </a:xfrm>
          </p:grpSpPr>
          <p:cxnSp>
            <p:nvCxnSpPr>
              <p:cNvPr id="42" name="Straight Connector 41"/>
              <p:cNvCxnSpPr/>
              <p:nvPr/>
            </p:nvCxnSpPr>
            <p:spPr>
              <a:xfrm>
                <a:off x="65936" y="2109354"/>
                <a:ext cx="3893764" cy="0"/>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3953065" y="2057400"/>
                <a:ext cx="118913" cy="108811"/>
              </a:xfrm>
              <a:prstGeom prst="ellipse">
                <a:avLst/>
              </a:prstGeom>
              <a:solidFill>
                <a:schemeClr val="bg2"/>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005073"/>
                  </a:solidFill>
                  <a:latin typeface="CiscoSansTT ExtraLight"/>
                </a:endParaRPr>
              </a:p>
            </p:txBody>
          </p:sp>
        </p:grpSp>
        <p:grpSp>
          <p:nvGrpSpPr>
            <p:cNvPr id="3" name="Group 2"/>
            <p:cNvGrpSpPr/>
            <p:nvPr/>
          </p:nvGrpSpPr>
          <p:grpSpPr>
            <a:xfrm>
              <a:off x="5569860" y="939003"/>
              <a:ext cx="3374799" cy="126292"/>
              <a:chOff x="5375496" y="1308250"/>
              <a:chExt cx="3374799" cy="126292"/>
            </a:xfrm>
          </p:grpSpPr>
          <p:cxnSp>
            <p:nvCxnSpPr>
              <p:cNvPr id="46" name="Straight Connector 45"/>
              <p:cNvCxnSpPr/>
              <p:nvPr/>
            </p:nvCxnSpPr>
            <p:spPr>
              <a:xfrm flipH="1">
                <a:off x="5458455" y="1358544"/>
                <a:ext cx="3291840"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flipH="1">
                <a:off x="5375496" y="1308250"/>
                <a:ext cx="126291" cy="126292"/>
              </a:xfrm>
              <a:prstGeom prst="ellipse">
                <a:avLst/>
              </a:prstGeom>
              <a:solidFill>
                <a:schemeClr val="bg2"/>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282828">
                      <a:lumMod val="50000"/>
                    </a:srgbClr>
                  </a:solidFill>
                  <a:latin typeface="CiscoSansTT ExtraLight"/>
                </a:endParaRPr>
              </a:p>
            </p:txBody>
          </p:sp>
        </p:grpSp>
        <p:grpSp>
          <p:nvGrpSpPr>
            <p:cNvPr id="48" name="Group 47"/>
            <p:cNvGrpSpPr/>
            <p:nvPr/>
          </p:nvGrpSpPr>
          <p:grpSpPr>
            <a:xfrm>
              <a:off x="142000" y="3497432"/>
              <a:ext cx="3673469" cy="126504"/>
              <a:chOff x="199377" y="4218205"/>
              <a:chExt cx="3251477" cy="103909"/>
            </a:xfrm>
          </p:grpSpPr>
          <p:cxnSp>
            <p:nvCxnSpPr>
              <p:cNvPr id="49" name="Straight Connector 48"/>
              <p:cNvCxnSpPr/>
              <p:nvPr/>
            </p:nvCxnSpPr>
            <p:spPr>
              <a:xfrm>
                <a:off x="199377" y="4318239"/>
                <a:ext cx="3165963"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50" name="Oval 49"/>
              <p:cNvSpPr/>
              <p:nvPr/>
            </p:nvSpPr>
            <p:spPr>
              <a:xfrm>
                <a:off x="3339071" y="4218205"/>
                <a:ext cx="111783" cy="103909"/>
              </a:xfrm>
              <a:prstGeom prst="ellipse">
                <a:avLst/>
              </a:prstGeom>
              <a:solidFill>
                <a:schemeClr val="bg2"/>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005073"/>
                  </a:solidFill>
                  <a:latin typeface="CiscoSansTT ExtraLight"/>
                </a:endParaRPr>
              </a:p>
            </p:txBody>
          </p:sp>
        </p:grpSp>
        <p:grpSp>
          <p:nvGrpSpPr>
            <p:cNvPr id="4" name="Group 3"/>
            <p:cNvGrpSpPr/>
            <p:nvPr/>
          </p:nvGrpSpPr>
          <p:grpSpPr>
            <a:xfrm>
              <a:off x="4930483" y="3168185"/>
              <a:ext cx="4101180" cy="126292"/>
              <a:chOff x="4736119" y="3537431"/>
              <a:chExt cx="4101180" cy="126292"/>
            </a:xfrm>
          </p:grpSpPr>
          <p:cxnSp>
            <p:nvCxnSpPr>
              <p:cNvPr id="52" name="Straight Connector 51"/>
              <p:cNvCxnSpPr/>
              <p:nvPr/>
            </p:nvCxnSpPr>
            <p:spPr>
              <a:xfrm flipH="1">
                <a:off x="4813939" y="3589387"/>
                <a:ext cx="4023360"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flipH="1">
                <a:off x="4736119" y="3537431"/>
                <a:ext cx="126291" cy="126292"/>
              </a:xfrm>
              <a:prstGeom prst="ellipse">
                <a:avLst/>
              </a:prstGeom>
              <a:solidFill>
                <a:schemeClr val="bg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005073"/>
                  </a:solidFill>
                  <a:latin typeface="CiscoSansTT ExtraLight"/>
                </a:endParaRPr>
              </a:p>
            </p:txBody>
          </p:sp>
        </p:grpSp>
        <p:sp>
          <p:nvSpPr>
            <p:cNvPr id="54" name="TextBox 53"/>
            <p:cNvSpPr txBox="1">
              <a:spLocks noChangeArrowheads="1"/>
            </p:cNvSpPr>
            <p:nvPr/>
          </p:nvSpPr>
          <p:spPr bwMode="auto">
            <a:xfrm>
              <a:off x="142000" y="3337418"/>
              <a:ext cx="2865770" cy="1251923"/>
            </a:xfrm>
            <a:prstGeom prst="rect">
              <a:avLst/>
            </a:prstGeom>
            <a:noFill/>
            <a:ln w="9525">
              <a:noFill/>
              <a:miter lim="800000"/>
              <a:headEnd/>
              <a:tailEnd/>
            </a:ln>
          </p:spPr>
          <p:txBody>
            <a:bodyPr lIns="0" tIns="0" rIns="0" bIns="0">
              <a:noAutofit/>
            </a:bodyPr>
            <a:lstStyle/>
            <a:p>
              <a:pPr defTabSz="457178">
                <a:lnSpc>
                  <a:spcPts val="2000"/>
                </a:lnSpc>
                <a:defRPr/>
              </a:pPr>
              <a:r>
                <a:rPr lang="en-US" sz="1600" dirty="0">
                  <a:solidFill>
                    <a:srgbClr val="00BCEB"/>
                  </a:solidFill>
                  <a:latin typeface="CiscoSansTT ExtraLight"/>
                </a:rPr>
                <a:t>Traffic Optimization</a:t>
              </a:r>
            </a:p>
            <a:p>
              <a:pPr marL="171446" indent="-171446">
                <a:spcBef>
                  <a:spcPts val="600"/>
                </a:spcBef>
                <a:buFont typeface="Arial" panose="020B0604020202020204" pitchFamily="34" charset="0"/>
                <a:buChar char="•"/>
                <a:defRPr/>
              </a:pPr>
              <a:r>
                <a:rPr lang="en-US" sz="1200" dirty="0">
                  <a:solidFill>
                    <a:schemeClr val="accent4"/>
                  </a:solidFill>
                  <a:cs typeface="Arial" charset="0"/>
                </a:rPr>
                <a:t>Simplified control-plane with traffic engineering capability to optimize paths across SP network from peering location to SP end users</a:t>
              </a:r>
            </a:p>
            <a:p>
              <a:pPr marL="400037" indent="-285743" defTabSz="457178">
                <a:spcBef>
                  <a:spcPts val="600"/>
                </a:spcBef>
                <a:buFont typeface="Arial" charset="0"/>
                <a:buChar char="•"/>
                <a:defRPr/>
              </a:pPr>
              <a:endParaRPr lang="en-US" sz="1400" dirty="0">
                <a:solidFill>
                  <a:schemeClr val="accent1"/>
                </a:solidFill>
                <a:latin typeface="CiscoSansTT ExtraLight"/>
              </a:endParaRPr>
            </a:p>
          </p:txBody>
        </p:sp>
        <p:sp>
          <p:nvSpPr>
            <p:cNvPr id="55" name="TextBox 54"/>
            <p:cNvSpPr txBox="1">
              <a:spLocks noChangeArrowheads="1"/>
            </p:cNvSpPr>
            <p:nvPr/>
          </p:nvSpPr>
          <p:spPr bwMode="auto">
            <a:xfrm>
              <a:off x="6284334" y="695643"/>
              <a:ext cx="2843653" cy="1703092"/>
            </a:xfrm>
            <a:prstGeom prst="rect">
              <a:avLst/>
            </a:prstGeom>
            <a:noFill/>
            <a:ln w="9525">
              <a:noFill/>
              <a:miter lim="800000"/>
              <a:headEnd/>
              <a:tailEnd/>
            </a:ln>
          </p:spPr>
          <p:txBody>
            <a:bodyPr lIns="0" tIns="0" rIns="0" bIns="0">
              <a:noAutofit/>
            </a:bodyPr>
            <a:lstStyle/>
            <a:p>
              <a:pPr defTabSz="457178">
                <a:lnSpc>
                  <a:spcPts val="2000"/>
                </a:lnSpc>
                <a:defRPr/>
              </a:pPr>
              <a:r>
                <a:rPr lang="en-US" sz="1600" dirty="0">
                  <a:solidFill>
                    <a:srgbClr val="FBAB18"/>
                  </a:solidFill>
                  <a:latin typeface="CiscoSansTT ExtraLight"/>
                </a:rPr>
                <a:t>Analytics and Automation</a:t>
              </a:r>
            </a:p>
            <a:p>
              <a:pPr marL="171446" indent="-171446">
                <a:spcBef>
                  <a:spcPts val="600"/>
                </a:spcBef>
                <a:buFont typeface="Arial" panose="020B0604020202020204" pitchFamily="34" charset="0"/>
                <a:buChar char="•"/>
              </a:pPr>
              <a:r>
                <a:rPr lang="en-US" sz="1200" dirty="0">
                  <a:solidFill>
                    <a:schemeClr val="accent4"/>
                  </a:solidFill>
                  <a:cs typeface="Arial" charset="0"/>
                </a:rPr>
                <a:t>Device programmability</a:t>
              </a:r>
            </a:p>
            <a:p>
              <a:pPr marL="171446" indent="-171446">
                <a:spcBef>
                  <a:spcPts val="600"/>
                </a:spcBef>
                <a:buFont typeface="Arial" panose="020B0604020202020204" pitchFamily="34" charset="0"/>
                <a:buChar char="•"/>
              </a:pPr>
              <a:r>
                <a:rPr lang="en-US" sz="1200" dirty="0">
                  <a:solidFill>
                    <a:schemeClr val="accent4"/>
                  </a:solidFill>
                  <a:cs typeface="Arial" charset="0"/>
                </a:rPr>
                <a:t>High volume telemetry</a:t>
              </a:r>
            </a:p>
            <a:p>
              <a:pPr marL="171446" indent="-171446">
                <a:spcBef>
                  <a:spcPts val="600"/>
                </a:spcBef>
                <a:buFont typeface="Arial" panose="020B0604020202020204" pitchFamily="34" charset="0"/>
                <a:buChar char="•"/>
              </a:pPr>
              <a:r>
                <a:rPr lang="en-US" sz="1200" dirty="0" err="1">
                  <a:solidFill>
                    <a:schemeClr val="accent4"/>
                  </a:solidFill>
                  <a:cs typeface="Arial" charset="0"/>
                </a:rPr>
                <a:t>Crosswork</a:t>
              </a:r>
              <a:r>
                <a:rPr lang="en-US" sz="1200" dirty="0">
                  <a:solidFill>
                    <a:schemeClr val="accent4"/>
                  </a:solidFill>
                  <a:cs typeface="Arial" charset="0"/>
                </a:rPr>
                <a:t> health insights</a:t>
              </a:r>
            </a:p>
            <a:p>
              <a:pPr marL="171446" indent="-171446">
                <a:spcBef>
                  <a:spcPts val="600"/>
                </a:spcBef>
                <a:buFont typeface="Arial" panose="020B0604020202020204" pitchFamily="34" charset="0"/>
                <a:buChar char="•"/>
              </a:pPr>
              <a:r>
                <a:rPr lang="en-US" sz="1200" dirty="0">
                  <a:solidFill>
                    <a:schemeClr val="accent4"/>
                  </a:solidFill>
                  <a:cs typeface="Arial" charset="0"/>
                </a:rPr>
                <a:t>Leading </a:t>
              </a:r>
              <a:r>
                <a:rPr lang="en-US" sz="1200" dirty="0" err="1">
                  <a:solidFill>
                    <a:schemeClr val="accent4"/>
                  </a:solidFill>
                  <a:cs typeface="Arial" charset="0"/>
                </a:rPr>
                <a:t>netflow</a:t>
              </a:r>
              <a:r>
                <a:rPr lang="en-US" sz="1200" dirty="0">
                  <a:solidFill>
                    <a:schemeClr val="accent4"/>
                  </a:solidFill>
                  <a:cs typeface="Arial" charset="0"/>
                </a:rPr>
                <a:t> capability</a:t>
              </a:r>
            </a:p>
            <a:p>
              <a:pPr marL="171446" indent="-171446">
                <a:spcBef>
                  <a:spcPts val="600"/>
                </a:spcBef>
                <a:buFont typeface="Arial" panose="020B0604020202020204" pitchFamily="34" charset="0"/>
                <a:buChar char="•"/>
              </a:pPr>
              <a:r>
                <a:rPr lang="en-US" sz="1200" dirty="0" err="1">
                  <a:solidFill>
                    <a:schemeClr val="accent4"/>
                  </a:solidFill>
                  <a:cs typeface="Arial" charset="0"/>
                </a:rPr>
                <a:t>Crosswork</a:t>
              </a:r>
              <a:r>
                <a:rPr lang="en-US" sz="1200" dirty="0">
                  <a:solidFill>
                    <a:schemeClr val="accent4"/>
                  </a:solidFill>
                  <a:cs typeface="Arial" charset="0"/>
                </a:rPr>
                <a:t> change automation</a:t>
              </a:r>
            </a:p>
          </p:txBody>
        </p:sp>
        <p:sp>
          <p:nvSpPr>
            <p:cNvPr id="56" name="TextBox 55"/>
            <p:cNvSpPr txBox="1">
              <a:spLocks noChangeArrowheads="1"/>
            </p:cNvSpPr>
            <p:nvPr/>
          </p:nvSpPr>
          <p:spPr bwMode="auto">
            <a:xfrm>
              <a:off x="6284334" y="2948410"/>
              <a:ext cx="2986911" cy="1419404"/>
            </a:xfrm>
            <a:prstGeom prst="rect">
              <a:avLst/>
            </a:prstGeom>
            <a:noFill/>
            <a:ln w="9525">
              <a:noFill/>
              <a:miter lim="800000"/>
              <a:headEnd/>
              <a:tailEnd/>
            </a:ln>
          </p:spPr>
          <p:txBody>
            <a:bodyPr lIns="0" tIns="0" rIns="0" bIns="0">
              <a:noAutofit/>
            </a:bodyPr>
            <a:lstStyle/>
            <a:p>
              <a:pPr defTabSz="457178">
                <a:lnSpc>
                  <a:spcPts val="2000"/>
                </a:lnSpc>
                <a:defRPr/>
              </a:pPr>
              <a:r>
                <a:rPr lang="en-US" sz="1600" dirty="0">
                  <a:solidFill>
                    <a:srgbClr val="6EBE4A"/>
                  </a:solidFill>
                  <a:latin typeface="CiscoSansTT ExtraLight"/>
                </a:rPr>
                <a:t>Trust</a:t>
              </a:r>
            </a:p>
            <a:p>
              <a:pPr marL="171446" indent="-171446">
                <a:buFont typeface="Arial" panose="020B0604020202020204" pitchFamily="34" charset="0"/>
                <a:buChar char="•"/>
              </a:pPr>
              <a:r>
                <a:rPr lang="en-US" sz="1200" dirty="0">
                  <a:solidFill>
                    <a:schemeClr val="accent4"/>
                  </a:solidFill>
                  <a:cs typeface="Arial" charset="0"/>
                </a:rPr>
                <a:t>Trusted hardware</a:t>
              </a:r>
            </a:p>
            <a:p>
              <a:pPr marL="171446" indent="-171446">
                <a:buFont typeface="Arial" panose="020B0604020202020204" pitchFamily="34" charset="0"/>
                <a:buChar char="•"/>
              </a:pPr>
              <a:r>
                <a:rPr lang="en-US" sz="1200" dirty="0">
                  <a:solidFill>
                    <a:schemeClr val="accent4"/>
                  </a:solidFill>
                  <a:cs typeface="Arial" charset="0"/>
                </a:rPr>
                <a:t>IOS XR control and data plane security</a:t>
              </a:r>
            </a:p>
            <a:p>
              <a:pPr marL="171446" indent="-171446">
                <a:buFont typeface="Arial" panose="020B0604020202020204" pitchFamily="34" charset="0"/>
                <a:buChar char="•"/>
              </a:pPr>
              <a:r>
                <a:rPr lang="en-US" sz="1200" dirty="0" err="1">
                  <a:solidFill>
                    <a:schemeClr val="accent4"/>
                  </a:solidFill>
                  <a:cs typeface="Arial" charset="0"/>
                </a:rPr>
                <a:t>DDoS</a:t>
              </a:r>
              <a:r>
                <a:rPr lang="en-US" sz="1200" dirty="0">
                  <a:solidFill>
                    <a:schemeClr val="accent4"/>
                  </a:solidFill>
                  <a:cs typeface="Arial" charset="0"/>
                </a:rPr>
                <a:t> protection</a:t>
              </a:r>
            </a:p>
            <a:p>
              <a:pPr marL="171446" indent="-171446">
                <a:buFont typeface="Arial" panose="020B0604020202020204" pitchFamily="34" charset="0"/>
                <a:buChar char="•"/>
              </a:pPr>
              <a:r>
                <a:rPr lang="en-US" sz="1200" dirty="0" err="1">
                  <a:solidFill>
                    <a:schemeClr val="accent4"/>
                  </a:solidFill>
                  <a:cs typeface="Arial" charset="0"/>
                </a:rPr>
                <a:t>Crosswork</a:t>
              </a:r>
              <a:r>
                <a:rPr lang="en-US" sz="1200" dirty="0">
                  <a:solidFill>
                    <a:schemeClr val="accent4"/>
                  </a:solidFill>
                  <a:cs typeface="Arial" charset="0"/>
                </a:rPr>
                <a:t> network insight BGP </a:t>
              </a:r>
              <a:br>
                <a:rPr lang="en-US" sz="1200" dirty="0">
                  <a:solidFill>
                    <a:schemeClr val="accent4"/>
                  </a:solidFill>
                  <a:cs typeface="Arial" charset="0"/>
                </a:rPr>
              </a:br>
              <a:r>
                <a:rPr lang="en-US" sz="1200" dirty="0">
                  <a:solidFill>
                    <a:schemeClr val="accent4"/>
                  </a:solidFill>
                  <a:cs typeface="Arial" charset="0"/>
                </a:rPr>
                <a:t>Analytics and monitoring </a:t>
              </a:r>
            </a:p>
          </p:txBody>
        </p:sp>
        <p:grpSp>
          <p:nvGrpSpPr>
            <p:cNvPr id="31" name="Group 30"/>
            <p:cNvGrpSpPr>
              <a:grpSpLocks noChangeAspect="1"/>
            </p:cNvGrpSpPr>
            <p:nvPr/>
          </p:nvGrpSpPr>
          <p:grpSpPr>
            <a:xfrm>
              <a:off x="4079798" y="1284654"/>
              <a:ext cx="447346" cy="222429"/>
              <a:chOff x="543094" y="1980577"/>
              <a:chExt cx="538984" cy="267992"/>
            </a:xfrm>
            <a:solidFill>
              <a:schemeClr val="bg2"/>
            </a:solidFill>
          </p:grpSpPr>
          <p:sp>
            <p:nvSpPr>
              <p:cNvPr id="57" name="Freeform 754"/>
              <p:cNvSpPr>
                <a:spLocks/>
              </p:cNvSpPr>
              <p:nvPr/>
            </p:nvSpPr>
            <p:spPr bwMode="auto">
              <a:xfrm>
                <a:off x="543094" y="2132573"/>
                <a:ext cx="538984" cy="115996"/>
              </a:xfrm>
              <a:custGeom>
                <a:avLst/>
                <a:gdLst>
                  <a:gd name="T0" fmla="*/ 51 w 228"/>
                  <a:gd name="T1" fmla="*/ 0 h 49"/>
                  <a:gd name="T2" fmla="*/ 24 w 228"/>
                  <a:gd name="T3" fmla="*/ 0 h 49"/>
                  <a:gd name="T4" fmla="*/ 0 w 228"/>
                  <a:gd name="T5" fmla="*/ 25 h 49"/>
                  <a:gd name="T6" fmla="*/ 24 w 228"/>
                  <a:gd name="T7" fmla="*/ 49 h 49"/>
                  <a:gd name="T8" fmla="*/ 204 w 228"/>
                  <a:gd name="T9" fmla="*/ 49 h 49"/>
                  <a:gd name="T10" fmla="*/ 228 w 228"/>
                  <a:gd name="T11" fmla="*/ 25 h 49"/>
                  <a:gd name="T12" fmla="*/ 210 w 228"/>
                  <a:gd name="T13" fmla="*/ 1 h 49"/>
                  <a:gd name="T14" fmla="*/ 187 w 228"/>
                  <a:gd name="T15" fmla="*/ 17 h 49"/>
                  <a:gd name="T16" fmla="*/ 74 w 228"/>
                  <a:gd name="T17" fmla="*/ 17 h 49"/>
                  <a:gd name="T18" fmla="*/ 51 w 228"/>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49">
                    <a:moveTo>
                      <a:pt x="51" y="0"/>
                    </a:moveTo>
                    <a:cubicBezTo>
                      <a:pt x="24" y="0"/>
                      <a:pt x="24" y="0"/>
                      <a:pt x="24" y="0"/>
                    </a:cubicBezTo>
                    <a:cubicBezTo>
                      <a:pt x="11" y="0"/>
                      <a:pt x="0" y="11"/>
                      <a:pt x="0" y="25"/>
                    </a:cubicBezTo>
                    <a:cubicBezTo>
                      <a:pt x="0" y="38"/>
                      <a:pt x="11" y="49"/>
                      <a:pt x="24" y="49"/>
                    </a:cubicBezTo>
                    <a:cubicBezTo>
                      <a:pt x="204" y="49"/>
                      <a:pt x="204" y="49"/>
                      <a:pt x="204" y="49"/>
                    </a:cubicBezTo>
                    <a:cubicBezTo>
                      <a:pt x="217" y="49"/>
                      <a:pt x="228" y="38"/>
                      <a:pt x="228" y="25"/>
                    </a:cubicBezTo>
                    <a:cubicBezTo>
                      <a:pt x="228" y="14"/>
                      <a:pt x="220" y="4"/>
                      <a:pt x="210" y="1"/>
                    </a:cubicBezTo>
                    <a:cubicBezTo>
                      <a:pt x="207" y="10"/>
                      <a:pt x="198" y="17"/>
                      <a:pt x="187" y="17"/>
                    </a:cubicBezTo>
                    <a:cubicBezTo>
                      <a:pt x="74" y="17"/>
                      <a:pt x="74" y="17"/>
                      <a:pt x="74" y="17"/>
                    </a:cubicBezTo>
                    <a:cubicBezTo>
                      <a:pt x="63" y="17"/>
                      <a:pt x="54" y="10"/>
                      <a:pt x="51" y="0"/>
                    </a:cubicBezTo>
                  </a:path>
                </a:pathLst>
              </a:custGeom>
              <a:grpFill/>
              <a:ln w="3175">
                <a:solidFill>
                  <a:schemeClr val="bg2"/>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endParaRPr>
              </a:p>
            </p:txBody>
          </p:sp>
          <p:sp>
            <p:nvSpPr>
              <p:cNvPr id="58" name="Freeform 755"/>
              <p:cNvSpPr>
                <a:spLocks/>
              </p:cNvSpPr>
              <p:nvPr/>
            </p:nvSpPr>
            <p:spPr bwMode="auto">
              <a:xfrm>
                <a:off x="661090" y="2056575"/>
                <a:ext cx="382988" cy="77998"/>
              </a:xfrm>
              <a:custGeom>
                <a:avLst/>
                <a:gdLst>
                  <a:gd name="T0" fmla="*/ 65 w 162"/>
                  <a:gd name="T1" fmla="*/ 0 h 33"/>
                  <a:gd name="T2" fmla="*/ 24 w 162"/>
                  <a:gd name="T3" fmla="*/ 0 h 33"/>
                  <a:gd name="T4" fmla="*/ 0 w 162"/>
                  <a:gd name="T5" fmla="*/ 25 h 33"/>
                  <a:gd name="T6" fmla="*/ 1 w 162"/>
                  <a:gd name="T7" fmla="*/ 32 h 33"/>
                  <a:gd name="T8" fmla="*/ 154 w 162"/>
                  <a:gd name="T9" fmla="*/ 32 h 33"/>
                  <a:gd name="T10" fmla="*/ 160 w 162"/>
                  <a:gd name="T11" fmla="*/ 33 h 33"/>
                  <a:gd name="T12" fmla="*/ 162 w 162"/>
                  <a:gd name="T13" fmla="*/ 25 h 33"/>
                  <a:gd name="T14" fmla="*/ 139 w 162"/>
                  <a:gd name="T15" fmla="*/ 0 h 33"/>
                  <a:gd name="T16" fmla="*/ 116 w 162"/>
                  <a:gd name="T17" fmla="*/ 17 h 33"/>
                  <a:gd name="T18" fmla="*/ 88 w 162"/>
                  <a:gd name="T19" fmla="*/ 17 h 33"/>
                  <a:gd name="T20" fmla="*/ 65 w 16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33">
                    <a:moveTo>
                      <a:pt x="65" y="0"/>
                    </a:moveTo>
                    <a:cubicBezTo>
                      <a:pt x="24" y="0"/>
                      <a:pt x="24" y="0"/>
                      <a:pt x="24" y="0"/>
                    </a:cubicBezTo>
                    <a:cubicBezTo>
                      <a:pt x="11" y="0"/>
                      <a:pt x="0" y="11"/>
                      <a:pt x="0" y="25"/>
                    </a:cubicBezTo>
                    <a:cubicBezTo>
                      <a:pt x="0" y="27"/>
                      <a:pt x="0" y="30"/>
                      <a:pt x="1" y="32"/>
                    </a:cubicBezTo>
                    <a:cubicBezTo>
                      <a:pt x="154" y="32"/>
                      <a:pt x="154" y="32"/>
                      <a:pt x="154" y="32"/>
                    </a:cubicBezTo>
                    <a:cubicBezTo>
                      <a:pt x="156" y="32"/>
                      <a:pt x="158" y="33"/>
                      <a:pt x="160" y="33"/>
                    </a:cubicBezTo>
                    <a:cubicBezTo>
                      <a:pt x="161" y="31"/>
                      <a:pt x="162" y="28"/>
                      <a:pt x="162" y="25"/>
                    </a:cubicBezTo>
                    <a:cubicBezTo>
                      <a:pt x="162" y="12"/>
                      <a:pt x="152" y="1"/>
                      <a:pt x="139" y="0"/>
                    </a:cubicBezTo>
                    <a:cubicBezTo>
                      <a:pt x="136" y="10"/>
                      <a:pt x="127" y="17"/>
                      <a:pt x="116" y="17"/>
                    </a:cubicBezTo>
                    <a:cubicBezTo>
                      <a:pt x="88" y="17"/>
                      <a:pt x="88" y="17"/>
                      <a:pt x="88" y="17"/>
                    </a:cubicBezTo>
                    <a:cubicBezTo>
                      <a:pt x="77" y="17"/>
                      <a:pt x="68" y="10"/>
                      <a:pt x="65" y="0"/>
                    </a:cubicBezTo>
                  </a:path>
                </a:pathLst>
              </a:custGeom>
              <a:grpFill/>
              <a:ln w="3175">
                <a:solidFill>
                  <a:schemeClr val="bg2"/>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endParaRPr>
              </a:p>
            </p:txBody>
          </p:sp>
          <p:sp>
            <p:nvSpPr>
              <p:cNvPr id="59" name="Freeform 756"/>
              <p:cNvSpPr>
                <a:spLocks/>
              </p:cNvSpPr>
              <p:nvPr/>
            </p:nvSpPr>
            <p:spPr bwMode="auto">
              <a:xfrm>
                <a:off x="664090" y="2132573"/>
                <a:ext cx="375989" cy="39999"/>
              </a:xfrm>
              <a:custGeom>
                <a:avLst/>
                <a:gdLst>
                  <a:gd name="T0" fmla="*/ 153 w 159"/>
                  <a:gd name="T1" fmla="*/ 0 h 17"/>
                  <a:gd name="T2" fmla="*/ 0 w 159"/>
                  <a:gd name="T3" fmla="*/ 0 h 17"/>
                  <a:gd name="T4" fmla="*/ 23 w 159"/>
                  <a:gd name="T5" fmla="*/ 17 h 17"/>
                  <a:gd name="T6" fmla="*/ 136 w 159"/>
                  <a:gd name="T7" fmla="*/ 17 h 17"/>
                  <a:gd name="T8" fmla="*/ 159 w 159"/>
                  <a:gd name="T9" fmla="*/ 1 h 17"/>
                  <a:gd name="T10" fmla="*/ 153 w 159"/>
                  <a:gd name="T11" fmla="*/ 0 h 17"/>
                </a:gdLst>
                <a:ahLst/>
                <a:cxnLst>
                  <a:cxn ang="0">
                    <a:pos x="T0" y="T1"/>
                  </a:cxn>
                  <a:cxn ang="0">
                    <a:pos x="T2" y="T3"/>
                  </a:cxn>
                  <a:cxn ang="0">
                    <a:pos x="T4" y="T5"/>
                  </a:cxn>
                  <a:cxn ang="0">
                    <a:pos x="T6" y="T7"/>
                  </a:cxn>
                  <a:cxn ang="0">
                    <a:pos x="T8" y="T9"/>
                  </a:cxn>
                  <a:cxn ang="0">
                    <a:pos x="T10" y="T11"/>
                  </a:cxn>
                </a:cxnLst>
                <a:rect l="0" t="0" r="r" b="b"/>
                <a:pathLst>
                  <a:path w="159" h="17">
                    <a:moveTo>
                      <a:pt x="153" y="0"/>
                    </a:moveTo>
                    <a:cubicBezTo>
                      <a:pt x="0" y="0"/>
                      <a:pt x="0" y="0"/>
                      <a:pt x="0" y="0"/>
                    </a:cubicBezTo>
                    <a:cubicBezTo>
                      <a:pt x="3" y="10"/>
                      <a:pt x="12" y="17"/>
                      <a:pt x="23" y="17"/>
                    </a:cubicBezTo>
                    <a:cubicBezTo>
                      <a:pt x="136" y="17"/>
                      <a:pt x="136" y="17"/>
                      <a:pt x="136" y="17"/>
                    </a:cubicBezTo>
                    <a:cubicBezTo>
                      <a:pt x="147" y="17"/>
                      <a:pt x="156" y="10"/>
                      <a:pt x="159" y="1"/>
                    </a:cubicBezTo>
                    <a:cubicBezTo>
                      <a:pt x="157" y="1"/>
                      <a:pt x="155" y="0"/>
                      <a:pt x="153" y="0"/>
                    </a:cubicBezTo>
                  </a:path>
                </a:pathLst>
              </a:custGeom>
              <a:grpFill/>
              <a:ln w="3175">
                <a:solidFill>
                  <a:schemeClr val="bg2"/>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endParaRPr>
              </a:p>
            </p:txBody>
          </p:sp>
          <p:sp>
            <p:nvSpPr>
              <p:cNvPr id="60" name="Freeform 757"/>
              <p:cNvSpPr>
                <a:spLocks/>
              </p:cNvSpPr>
              <p:nvPr/>
            </p:nvSpPr>
            <p:spPr bwMode="auto">
              <a:xfrm>
                <a:off x="813085" y="1980577"/>
                <a:ext cx="181994" cy="75998"/>
              </a:xfrm>
              <a:custGeom>
                <a:avLst/>
                <a:gdLst>
                  <a:gd name="T0" fmla="*/ 52 w 77"/>
                  <a:gd name="T1" fmla="*/ 0 h 32"/>
                  <a:gd name="T2" fmla="*/ 24 w 77"/>
                  <a:gd name="T3" fmla="*/ 0 h 32"/>
                  <a:gd name="T4" fmla="*/ 0 w 77"/>
                  <a:gd name="T5" fmla="*/ 25 h 32"/>
                  <a:gd name="T6" fmla="*/ 1 w 77"/>
                  <a:gd name="T7" fmla="*/ 32 h 32"/>
                  <a:gd name="T8" fmla="*/ 73 w 77"/>
                  <a:gd name="T9" fmla="*/ 32 h 32"/>
                  <a:gd name="T10" fmla="*/ 75 w 77"/>
                  <a:gd name="T11" fmla="*/ 32 h 32"/>
                  <a:gd name="T12" fmla="*/ 77 w 77"/>
                  <a:gd name="T13" fmla="*/ 25 h 32"/>
                  <a:gd name="T14" fmla="*/ 52 w 77"/>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32">
                    <a:moveTo>
                      <a:pt x="52" y="0"/>
                    </a:moveTo>
                    <a:cubicBezTo>
                      <a:pt x="24" y="0"/>
                      <a:pt x="24" y="0"/>
                      <a:pt x="24" y="0"/>
                    </a:cubicBezTo>
                    <a:cubicBezTo>
                      <a:pt x="11" y="0"/>
                      <a:pt x="0" y="11"/>
                      <a:pt x="0" y="25"/>
                    </a:cubicBezTo>
                    <a:cubicBezTo>
                      <a:pt x="0" y="27"/>
                      <a:pt x="0" y="30"/>
                      <a:pt x="1" y="32"/>
                    </a:cubicBezTo>
                    <a:cubicBezTo>
                      <a:pt x="73" y="32"/>
                      <a:pt x="73" y="32"/>
                      <a:pt x="73" y="32"/>
                    </a:cubicBezTo>
                    <a:cubicBezTo>
                      <a:pt x="74" y="32"/>
                      <a:pt x="75" y="32"/>
                      <a:pt x="75" y="32"/>
                    </a:cubicBezTo>
                    <a:cubicBezTo>
                      <a:pt x="76" y="30"/>
                      <a:pt x="77" y="27"/>
                      <a:pt x="77" y="25"/>
                    </a:cubicBezTo>
                    <a:cubicBezTo>
                      <a:pt x="77" y="11"/>
                      <a:pt x="66" y="0"/>
                      <a:pt x="52" y="0"/>
                    </a:cubicBezTo>
                  </a:path>
                </a:pathLst>
              </a:custGeom>
              <a:grpFill/>
              <a:ln w="3175">
                <a:solidFill>
                  <a:schemeClr val="bg2"/>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endParaRPr>
              </a:p>
            </p:txBody>
          </p:sp>
          <p:sp>
            <p:nvSpPr>
              <p:cNvPr id="61" name="Freeform 758"/>
              <p:cNvSpPr>
                <a:spLocks/>
              </p:cNvSpPr>
              <p:nvPr/>
            </p:nvSpPr>
            <p:spPr bwMode="auto">
              <a:xfrm>
                <a:off x="815085" y="2056575"/>
                <a:ext cx="174995" cy="39999"/>
              </a:xfrm>
              <a:custGeom>
                <a:avLst/>
                <a:gdLst>
                  <a:gd name="T0" fmla="*/ 72 w 74"/>
                  <a:gd name="T1" fmla="*/ 0 h 17"/>
                  <a:gd name="T2" fmla="*/ 0 w 74"/>
                  <a:gd name="T3" fmla="*/ 0 h 17"/>
                  <a:gd name="T4" fmla="*/ 23 w 74"/>
                  <a:gd name="T5" fmla="*/ 17 h 17"/>
                  <a:gd name="T6" fmla="*/ 51 w 74"/>
                  <a:gd name="T7" fmla="*/ 17 h 17"/>
                  <a:gd name="T8" fmla="*/ 74 w 74"/>
                  <a:gd name="T9" fmla="*/ 0 h 17"/>
                  <a:gd name="T10" fmla="*/ 72 w 74"/>
                  <a:gd name="T11" fmla="*/ 0 h 17"/>
                </a:gdLst>
                <a:ahLst/>
                <a:cxnLst>
                  <a:cxn ang="0">
                    <a:pos x="T0" y="T1"/>
                  </a:cxn>
                  <a:cxn ang="0">
                    <a:pos x="T2" y="T3"/>
                  </a:cxn>
                  <a:cxn ang="0">
                    <a:pos x="T4" y="T5"/>
                  </a:cxn>
                  <a:cxn ang="0">
                    <a:pos x="T6" y="T7"/>
                  </a:cxn>
                  <a:cxn ang="0">
                    <a:pos x="T8" y="T9"/>
                  </a:cxn>
                  <a:cxn ang="0">
                    <a:pos x="T10" y="T11"/>
                  </a:cxn>
                </a:cxnLst>
                <a:rect l="0" t="0" r="r" b="b"/>
                <a:pathLst>
                  <a:path w="74" h="17">
                    <a:moveTo>
                      <a:pt x="72" y="0"/>
                    </a:moveTo>
                    <a:cubicBezTo>
                      <a:pt x="0" y="0"/>
                      <a:pt x="0" y="0"/>
                      <a:pt x="0" y="0"/>
                    </a:cubicBezTo>
                    <a:cubicBezTo>
                      <a:pt x="3" y="10"/>
                      <a:pt x="12" y="17"/>
                      <a:pt x="23" y="17"/>
                    </a:cubicBezTo>
                    <a:cubicBezTo>
                      <a:pt x="51" y="17"/>
                      <a:pt x="51" y="17"/>
                      <a:pt x="51" y="17"/>
                    </a:cubicBezTo>
                    <a:cubicBezTo>
                      <a:pt x="62" y="17"/>
                      <a:pt x="71" y="10"/>
                      <a:pt x="74" y="0"/>
                    </a:cubicBezTo>
                    <a:cubicBezTo>
                      <a:pt x="74" y="0"/>
                      <a:pt x="73" y="0"/>
                      <a:pt x="72" y="0"/>
                    </a:cubicBezTo>
                  </a:path>
                </a:pathLst>
              </a:custGeom>
              <a:grpFill/>
              <a:ln w="3175">
                <a:solidFill>
                  <a:schemeClr val="bg2"/>
                </a:solidFill>
                <a:round/>
                <a:headEnd/>
                <a:tailEnd/>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endParaRPr>
              </a:p>
            </p:txBody>
          </p:sp>
        </p:grpSp>
        <p:sp>
          <p:nvSpPr>
            <p:cNvPr id="62" name="Freeform 594"/>
            <p:cNvSpPr>
              <a:spLocks noChangeAspect="1" noEditPoints="1"/>
            </p:cNvSpPr>
            <p:nvPr/>
          </p:nvSpPr>
          <p:spPr bwMode="auto">
            <a:xfrm>
              <a:off x="3577209" y="2875024"/>
              <a:ext cx="341332" cy="340128"/>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endParaRPr>
            </a:p>
          </p:txBody>
        </p:sp>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13727" y="1117036"/>
              <a:ext cx="417497" cy="417496"/>
            </a:xfrm>
            <a:prstGeom prst="rect">
              <a:avLst/>
            </a:prstGeom>
          </p:spPr>
        </p:pic>
        <p:sp>
          <p:nvSpPr>
            <p:cNvPr id="63" name="Freeform 651"/>
            <p:cNvSpPr>
              <a:spLocks noChangeAspect="1" noEditPoints="1"/>
            </p:cNvSpPr>
            <p:nvPr/>
          </p:nvSpPr>
          <p:spPr bwMode="auto">
            <a:xfrm>
              <a:off x="4771362" y="2155426"/>
              <a:ext cx="416576" cy="195702"/>
            </a:xfrm>
            <a:custGeom>
              <a:avLst/>
              <a:gdLst>
                <a:gd name="T0" fmla="*/ 194 w 217"/>
                <a:gd name="T1" fmla="*/ 28 h 102"/>
                <a:gd name="T2" fmla="*/ 97 w 217"/>
                <a:gd name="T3" fmla="*/ 28 h 102"/>
                <a:gd name="T4" fmla="*/ 51 w 217"/>
                <a:gd name="T5" fmla="*/ 0 h 102"/>
                <a:gd name="T6" fmla="*/ 0 w 217"/>
                <a:gd name="T7" fmla="*/ 51 h 102"/>
                <a:gd name="T8" fmla="*/ 51 w 217"/>
                <a:gd name="T9" fmla="*/ 102 h 102"/>
                <a:gd name="T10" fmla="*/ 97 w 217"/>
                <a:gd name="T11" fmla="*/ 74 h 102"/>
                <a:gd name="T12" fmla="*/ 113 w 217"/>
                <a:gd name="T13" fmla="*/ 74 h 102"/>
                <a:gd name="T14" fmla="*/ 113 w 217"/>
                <a:gd name="T15" fmla="*/ 64 h 102"/>
                <a:gd name="T16" fmla="*/ 119 w 217"/>
                <a:gd name="T17" fmla="*/ 58 h 102"/>
                <a:gd name="T18" fmla="*/ 124 w 217"/>
                <a:gd name="T19" fmla="*/ 64 h 102"/>
                <a:gd name="T20" fmla="*/ 124 w 217"/>
                <a:gd name="T21" fmla="*/ 74 h 102"/>
                <a:gd name="T22" fmla="*/ 136 w 217"/>
                <a:gd name="T23" fmla="*/ 74 h 102"/>
                <a:gd name="T24" fmla="*/ 136 w 217"/>
                <a:gd name="T25" fmla="*/ 64 h 102"/>
                <a:gd name="T26" fmla="*/ 142 w 217"/>
                <a:gd name="T27" fmla="*/ 58 h 102"/>
                <a:gd name="T28" fmla="*/ 148 w 217"/>
                <a:gd name="T29" fmla="*/ 64 h 102"/>
                <a:gd name="T30" fmla="*/ 148 w 217"/>
                <a:gd name="T31" fmla="*/ 74 h 102"/>
                <a:gd name="T32" fmla="*/ 160 w 217"/>
                <a:gd name="T33" fmla="*/ 74 h 102"/>
                <a:gd name="T34" fmla="*/ 160 w 217"/>
                <a:gd name="T35" fmla="*/ 64 h 102"/>
                <a:gd name="T36" fmla="*/ 166 w 217"/>
                <a:gd name="T37" fmla="*/ 58 h 102"/>
                <a:gd name="T38" fmla="*/ 171 w 217"/>
                <a:gd name="T39" fmla="*/ 64 h 102"/>
                <a:gd name="T40" fmla="*/ 171 w 217"/>
                <a:gd name="T41" fmla="*/ 74 h 102"/>
                <a:gd name="T42" fmla="*/ 183 w 217"/>
                <a:gd name="T43" fmla="*/ 74 h 102"/>
                <a:gd name="T44" fmla="*/ 183 w 217"/>
                <a:gd name="T45" fmla="*/ 64 h 102"/>
                <a:gd name="T46" fmla="*/ 189 w 217"/>
                <a:gd name="T47" fmla="*/ 58 h 102"/>
                <a:gd name="T48" fmla="*/ 195 w 217"/>
                <a:gd name="T49" fmla="*/ 64 h 102"/>
                <a:gd name="T50" fmla="*/ 195 w 217"/>
                <a:gd name="T51" fmla="*/ 74 h 102"/>
                <a:gd name="T52" fmla="*/ 217 w 217"/>
                <a:gd name="T53" fmla="*/ 51 h 102"/>
                <a:gd name="T54" fmla="*/ 194 w 217"/>
                <a:gd name="T55" fmla="*/ 28 h 102"/>
                <a:gd name="T56" fmla="*/ 34 w 217"/>
                <a:gd name="T57" fmla="*/ 68 h 102"/>
                <a:gd name="T58" fmla="*/ 17 w 217"/>
                <a:gd name="T59" fmla="*/ 51 h 102"/>
                <a:gd name="T60" fmla="*/ 34 w 217"/>
                <a:gd name="T61" fmla="*/ 34 h 102"/>
                <a:gd name="T62" fmla="*/ 51 w 217"/>
                <a:gd name="T63" fmla="*/ 51 h 102"/>
                <a:gd name="T64" fmla="*/ 34 w 217"/>
                <a:gd name="T65" fmla="*/ 6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02">
                  <a:moveTo>
                    <a:pt x="194" y="28"/>
                  </a:moveTo>
                  <a:cubicBezTo>
                    <a:pt x="97" y="28"/>
                    <a:pt x="97" y="28"/>
                    <a:pt x="97" y="28"/>
                  </a:cubicBezTo>
                  <a:cubicBezTo>
                    <a:pt x="89" y="11"/>
                    <a:pt x="72" y="0"/>
                    <a:pt x="51" y="0"/>
                  </a:cubicBezTo>
                  <a:cubicBezTo>
                    <a:pt x="23" y="0"/>
                    <a:pt x="0" y="23"/>
                    <a:pt x="0" y="51"/>
                  </a:cubicBezTo>
                  <a:cubicBezTo>
                    <a:pt x="0" y="79"/>
                    <a:pt x="23" y="102"/>
                    <a:pt x="51" y="102"/>
                  </a:cubicBezTo>
                  <a:cubicBezTo>
                    <a:pt x="72" y="102"/>
                    <a:pt x="89" y="91"/>
                    <a:pt x="97" y="74"/>
                  </a:cubicBezTo>
                  <a:cubicBezTo>
                    <a:pt x="113" y="74"/>
                    <a:pt x="113" y="74"/>
                    <a:pt x="113" y="74"/>
                  </a:cubicBezTo>
                  <a:cubicBezTo>
                    <a:pt x="113" y="64"/>
                    <a:pt x="113" y="64"/>
                    <a:pt x="113" y="64"/>
                  </a:cubicBezTo>
                  <a:cubicBezTo>
                    <a:pt x="113" y="60"/>
                    <a:pt x="115" y="58"/>
                    <a:pt x="119" y="58"/>
                  </a:cubicBezTo>
                  <a:cubicBezTo>
                    <a:pt x="122" y="58"/>
                    <a:pt x="124" y="60"/>
                    <a:pt x="124" y="64"/>
                  </a:cubicBezTo>
                  <a:cubicBezTo>
                    <a:pt x="124" y="74"/>
                    <a:pt x="124" y="74"/>
                    <a:pt x="124" y="74"/>
                  </a:cubicBezTo>
                  <a:cubicBezTo>
                    <a:pt x="136" y="74"/>
                    <a:pt x="136" y="74"/>
                    <a:pt x="136" y="74"/>
                  </a:cubicBezTo>
                  <a:cubicBezTo>
                    <a:pt x="136" y="64"/>
                    <a:pt x="136" y="64"/>
                    <a:pt x="136" y="64"/>
                  </a:cubicBezTo>
                  <a:cubicBezTo>
                    <a:pt x="136" y="60"/>
                    <a:pt x="139" y="58"/>
                    <a:pt x="142" y="58"/>
                  </a:cubicBezTo>
                  <a:cubicBezTo>
                    <a:pt x="145" y="58"/>
                    <a:pt x="148" y="60"/>
                    <a:pt x="148" y="64"/>
                  </a:cubicBezTo>
                  <a:cubicBezTo>
                    <a:pt x="148" y="74"/>
                    <a:pt x="148" y="74"/>
                    <a:pt x="148" y="74"/>
                  </a:cubicBezTo>
                  <a:cubicBezTo>
                    <a:pt x="160" y="74"/>
                    <a:pt x="160" y="74"/>
                    <a:pt x="160" y="74"/>
                  </a:cubicBezTo>
                  <a:cubicBezTo>
                    <a:pt x="160" y="64"/>
                    <a:pt x="160" y="64"/>
                    <a:pt x="160" y="64"/>
                  </a:cubicBezTo>
                  <a:cubicBezTo>
                    <a:pt x="160" y="60"/>
                    <a:pt x="162" y="58"/>
                    <a:pt x="166" y="58"/>
                  </a:cubicBezTo>
                  <a:cubicBezTo>
                    <a:pt x="169" y="58"/>
                    <a:pt x="171" y="60"/>
                    <a:pt x="171" y="64"/>
                  </a:cubicBezTo>
                  <a:cubicBezTo>
                    <a:pt x="171" y="74"/>
                    <a:pt x="171" y="74"/>
                    <a:pt x="171" y="74"/>
                  </a:cubicBezTo>
                  <a:cubicBezTo>
                    <a:pt x="183" y="74"/>
                    <a:pt x="183" y="74"/>
                    <a:pt x="183" y="74"/>
                  </a:cubicBezTo>
                  <a:cubicBezTo>
                    <a:pt x="183" y="64"/>
                    <a:pt x="183" y="64"/>
                    <a:pt x="183" y="64"/>
                  </a:cubicBezTo>
                  <a:cubicBezTo>
                    <a:pt x="183" y="60"/>
                    <a:pt x="186" y="58"/>
                    <a:pt x="189" y="58"/>
                  </a:cubicBezTo>
                  <a:cubicBezTo>
                    <a:pt x="192" y="58"/>
                    <a:pt x="195" y="60"/>
                    <a:pt x="195" y="64"/>
                  </a:cubicBezTo>
                  <a:cubicBezTo>
                    <a:pt x="195" y="74"/>
                    <a:pt x="195" y="74"/>
                    <a:pt x="195" y="74"/>
                  </a:cubicBezTo>
                  <a:cubicBezTo>
                    <a:pt x="207" y="73"/>
                    <a:pt x="217" y="63"/>
                    <a:pt x="217" y="51"/>
                  </a:cubicBezTo>
                  <a:cubicBezTo>
                    <a:pt x="217" y="38"/>
                    <a:pt x="207" y="28"/>
                    <a:pt x="194" y="28"/>
                  </a:cubicBezTo>
                  <a:moveTo>
                    <a:pt x="34" y="68"/>
                  </a:moveTo>
                  <a:cubicBezTo>
                    <a:pt x="25" y="68"/>
                    <a:pt x="17" y="60"/>
                    <a:pt x="17" y="51"/>
                  </a:cubicBezTo>
                  <a:cubicBezTo>
                    <a:pt x="17" y="41"/>
                    <a:pt x="25" y="34"/>
                    <a:pt x="34" y="34"/>
                  </a:cubicBezTo>
                  <a:cubicBezTo>
                    <a:pt x="44" y="34"/>
                    <a:pt x="51" y="41"/>
                    <a:pt x="51" y="51"/>
                  </a:cubicBezTo>
                  <a:cubicBezTo>
                    <a:pt x="51" y="60"/>
                    <a:pt x="44" y="68"/>
                    <a:pt x="34" y="6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endParaRPr>
            </a:p>
          </p:txBody>
        </p:sp>
        <p:sp>
          <p:nvSpPr>
            <p:cNvPr id="51" name="TextBox 50">
              <a:extLst>
                <a:ext uri="{FF2B5EF4-FFF2-40B4-BE49-F238E27FC236}">
                  <a16:creationId xmlns:a16="http://schemas.microsoft.com/office/drawing/2014/main" id="{27E84268-8F70-B84D-9C81-A9C224B4C1F5}"/>
                </a:ext>
              </a:extLst>
            </p:cNvPr>
            <p:cNvSpPr txBox="1">
              <a:spLocks noChangeArrowheads="1"/>
            </p:cNvSpPr>
            <p:nvPr/>
          </p:nvSpPr>
          <p:spPr bwMode="auto">
            <a:xfrm>
              <a:off x="141999" y="778510"/>
              <a:ext cx="3547177" cy="1814685"/>
            </a:xfrm>
            <a:prstGeom prst="rect">
              <a:avLst/>
            </a:prstGeom>
            <a:noFill/>
            <a:ln w="9525">
              <a:noFill/>
              <a:miter lim="800000"/>
              <a:headEnd/>
              <a:tailEnd/>
            </a:ln>
          </p:spPr>
          <p:txBody>
            <a:bodyPr lIns="0" tIns="0" rIns="0" bIns="0">
              <a:noAutofit/>
            </a:bodyPr>
            <a:lstStyle/>
            <a:p>
              <a:pPr defTabSz="457178">
                <a:lnSpc>
                  <a:spcPts val="2000"/>
                </a:lnSpc>
                <a:defRPr/>
              </a:pPr>
              <a:r>
                <a:rPr lang="en-US" sz="1600" dirty="0">
                  <a:solidFill>
                    <a:schemeClr val="bg1"/>
                  </a:solidFill>
                  <a:latin typeface="CiscoSansTT ExtraLight"/>
                </a:rPr>
                <a:t>Distribution and Traffic Growth</a:t>
              </a:r>
            </a:p>
            <a:p>
              <a:pPr marL="171446" indent="-171446">
                <a:spcBef>
                  <a:spcPts val="600"/>
                </a:spcBef>
                <a:buFont typeface="Arial" panose="020B0604020202020204" pitchFamily="34" charset="0"/>
                <a:buChar char="•"/>
              </a:pPr>
              <a:r>
                <a:rPr lang="en-US" sz="1200" dirty="0">
                  <a:solidFill>
                    <a:schemeClr val="accent4"/>
                  </a:solidFill>
                  <a:cs typeface="Arial" charset="0"/>
                </a:rPr>
                <a:t>Increase resiliency in each site with flexible network design to lower reliance on back up capacity</a:t>
              </a:r>
            </a:p>
            <a:p>
              <a:pPr marL="171446" indent="-171446">
                <a:spcBef>
                  <a:spcPts val="600"/>
                </a:spcBef>
                <a:buFont typeface="Arial" panose="020B0604020202020204" pitchFamily="34" charset="0"/>
                <a:buChar char="•"/>
              </a:pPr>
              <a:r>
                <a:rPr lang="en-US" sz="1200" dirty="0">
                  <a:solidFill>
                    <a:schemeClr val="accent4"/>
                  </a:solidFill>
                  <a:cs typeface="Arial" charset="0"/>
                </a:rPr>
                <a:t>Flexible high density and low environmental footprint routers to fit a variety of locations and growth rates</a:t>
              </a:r>
            </a:p>
            <a:p>
              <a:pPr marL="171446" indent="-171446">
                <a:spcBef>
                  <a:spcPts val="600"/>
                </a:spcBef>
                <a:buFont typeface="Arial" panose="020B0604020202020204" pitchFamily="34" charset="0"/>
                <a:buChar char="•"/>
              </a:pPr>
              <a:r>
                <a:rPr lang="en-US" sz="1200" dirty="0">
                  <a:solidFill>
                    <a:schemeClr val="accent4"/>
                  </a:solidFill>
                  <a:cs typeface="Arial" charset="0"/>
                </a:rPr>
                <a:t>Platform scale for 5+ years</a:t>
              </a:r>
            </a:p>
          </p:txBody>
        </p:sp>
      </p:grpSp>
      <p:sp>
        <p:nvSpPr>
          <p:cNvPr id="5" name="Title 4"/>
          <p:cNvSpPr>
            <a:spLocks noGrp="1"/>
          </p:cNvSpPr>
          <p:nvPr>
            <p:ph type="title"/>
          </p:nvPr>
        </p:nvSpPr>
        <p:spPr/>
        <p:txBody>
          <a:bodyPr/>
          <a:lstStyle/>
          <a:p>
            <a:r>
              <a:rPr lang="en-US" dirty="0"/>
              <a:t>Cisco’s Intelligent Peering Solution</a:t>
            </a:r>
          </a:p>
        </p:txBody>
      </p:sp>
    </p:spTree>
    <p:custDataLst>
      <p:tags r:id="rId1"/>
    </p:custDataLst>
    <p:extLst>
      <p:ext uri="{BB962C8B-B14F-4D97-AF65-F5344CB8AC3E}">
        <p14:creationId xmlns:p14="http://schemas.microsoft.com/office/powerpoint/2010/main" val="330258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773693-5810-4FA9-92DA-EA099C853D74}"/>
              </a:ext>
            </a:extLst>
          </p:cNvPr>
          <p:cNvSpPr>
            <a:spLocks noGrp="1"/>
          </p:cNvSpPr>
          <p:nvPr>
            <p:ph type="title"/>
          </p:nvPr>
        </p:nvSpPr>
        <p:spPr/>
        <p:txBody>
          <a:bodyPr/>
          <a:lstStyle/>
          <a:p>
            <a:r>
              <a:rPr lang="en-US" dirty="0">
                <a:solidFill>
                  <a:schemeClr val="bg1"/>
                </a:solidFill>
              </a:rPr>
              <a:t>Peering Fabric Design</a:t>
            </a:r>
            <a:endParaRPr lang="en-ZA" dirty="0"/>
          </a:p>
        </p:txBody>
      </p:sp>
      <p:sp>
        <p:nvSpPr>
          <p:cNvPr id="5" name="Rounded Rectangle 59">
            <a:extLst>
              <a:ext uri="{FF2B5EF4-FFF2-40B4-BE49-F238E27FC236}">
                <a16:creationId xmlns:a16="http://schemas.microsoft.com/office/drawing/2014/main" id="{E008F6CB-1DFD-4DBB-A52D-CDCD1B6716BE}"/>
              </a:ext>
            </a:extLst>
          </p:cNvPr>
          <p:cNvSpPr/>
          <p:nvPr/>
        </p:nvSpPr>
        <p:spPr>
          <a:xfrm>
            <a:off x="3335356" y="1082536"/>
            <a:ext cx="2142640" cy="1266225"/>
          </a:xfrm>
          <a:prstGeom prst="roundRect">
            <a:avLst/>
          </a:prstGeom>
          <a:solidFill>
            <a:srgbClr val="0498D1">
              <a:lumMod val="40000"/>
              <a:lumOff val="60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
              <a:cs typeface=""/>
            </a:endParaRPr>
          </a:p>
        </p:txBody>
      </p:sp>
      <p:sp>
        <p:nvSpPr>
          <p:cNvPr id="6" name="Content Placeholder 3">
            <a:extLst>
              <a:ext uri="{FF2B5EF4-FFF2-40B4-BE49-F238E27FC236}">
                <a16:creationId xmlns:a16="http://schemas.microsoft.com/office/drawing/2014/main" id="{DD978D4A-AF1B-419C-85C9-C2A18C5ABF42}"/>
              </a:ext>
            </a:extLst>
          </p:cNvPr>
          <p:cNvSpPr txBox="1">
            <a:spLocks/>
          </p:cNvSpPr>
          <p:nvPr/>
        </p:nvSpPr>
        <p:spPr bwMode="auto">
          <a:xfrm>
            <a:off x="865626" y="2429553"/>
            <a:ext cx="3577537" cy="266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785" indent="0" defTabSz="914400">
              <a:lnSpc>
                <a:spcPct val="150000"/>
              </a:lnSpc>
              <a:buNone/>
            </a:pPr>
            <a:r>
              <a:rPr lang="en-US" sz="1200" b="1" dirty="0">
                <a:solidFill>
                  <a:schemeClr val="accent1"/>
                </a:solidFill>
                <a:latin typeface="CiscoSansTT" charset="0"/>
                <a:ea typeface="CiscoSansTT" charset="0"/>
                <a:cs typeface="CiscoSansTT" charset="0"/>
              </a:rPr>
              <a:t>Peering Fabric Leaf (PFL)</a:t>
            </a: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cs typeface="ＭＳ Ｐゴシック" charset="0"/>
              </a:rPr>
              <a:t>Terminate peers redundantly, so failures are local. </a:t>
            </a: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cs typeface="ＭＳ Ｐゴシック" charset="0"/>
              </a:rPr>
              <a:t>Connect to all PFS’s</a:t>
            </a: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cs typeface="ＭＳ Ｐゴシック" charset="0"/>
              </a:rPr>
              <a:t>Aggregate 3rd party cache/ content nodes.</a:t>
            </a: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cs typeface="ＭＳ Ｐゴシック" charset="0"/>
              </a:rPr>
              <a:t>Security enforcement point.</a:t>
            </a: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cs typeface="ＭＳ Ｐゴシック" charset="0"/>
              </a:rPr>
              <a:t>Export monitoring data.</a:t>
            </a:r>
          </a:p>
          <a:p>
            <a:pPr lvl="1" defTabSz="914400">
              <a:buFont typeface="Wingdings" charset="2"/>
              <a:buChar char="v"/>
            </a:pPr>
            <a:endParaRPr lang="en-US" kern="0" dirty="0"/>
          </a:p>
        </p:txBody>
      </p:sp>
      <p:pic>
        <p:nvPicPr>
          <p:cNvPr id="7" name="Picture 10" descr="C:\Users\ecoffey\AppData\Local\Temp\Rar$DRa0.386\30067_Device_router_default_256.png">
            <a:extLst>
              <a:ext uri="{FF2B5EF4-FFF2-40B4-BE49-F238E27FC236}">
                <a16:creationId xmlns:a16="http://schemas.microsoft.com/office/drawing/2014/main" id="{54E1C990-2D40-4B77-A582-69DCA37EC071}"/>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939143" y="1627777"/>
            <a:ext cx="424262" cy="25771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C:\Users\ecoffey\AppData\Local\Temp\Rar$DRa0.386\30067_Device_router_default_256.png">
            <a:extLst>
              <a:ext uri="{FF2B5EF4-FFF2-40B4-BE49-F238E27FC236}">
                <a16:creationId xmlns:a16="http://schemas.microsoft.com/office/drawing/2014/main" id="{F9C20AFC-44A1-4E69-9321-16DB4DB3C299}"/>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939143" y="1196451"/>
            <a:ext cx="424262" cy="25771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C:\Users\ecoffey\AppData\Local\Temp\Rar$DRa0.386\30067_Device_router_default_256.png">
            <a:extLst>
              <a:ext uri="{FF2B5EF4-FFF2-40B4-BE49-F238E27FC236}">
                <a16:creationId xmlns:a16="http://schemas.microsoft.com/office/drawing/2014/main" id="{CC310864-15C6-418C-92AE-645B125FA45F}"/>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930448" y="2084467"/>
            <a:ext cx="424262" cy="257714"/>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1F0D943C-45BF-4756-97DC-8A1F0799A52A}"/>
              </a:ext>
            </a:extLst>
          </p:cNvPr>
          <p:cNvCxnSpPr/>
          <p:nvPr/>
        </p:nvCxnSpPr>
        <p:spPr>
          <a:xfrm flipV="1">
            <a:off x="2354710" y="2193382"/>
            <a:ext cx="1121954" cy="19943"/>
          </a:xfrm>
          <a:prstGeom prst="line">
            <a:avLst/>
          </a:prstGeom>
          <a:noFill/>
          <a:ln w="9525" cap="flat" cmpd="sng" algn="ctr">
            <a:solidFill>
              <a:srgbClr val="014093">
                <a:shade val="95000"/>
                <a:satMod val="105000"/>
              </a:srgbClr>
            </a:solidFill>
            <a:prstDash val="solid"/>
          </a:ln>
          <a:effectLst/>
        </p:spPr>
      </p:cxnSp>
      <p:cxnSp>
        <p:nvCxnSpPr>
          <p:cNvPr id="11" name="Straight Connector 10">
            <a:extLst>
              <a:ext uri="{FF2B5EF4-FFF2-40B4-BE49-F238E27FC236}">
                <a16:creationId xmlns:a16="http://schemas.microsoft.com/office/drawing/2014/main" id="{E99E93B5-D550-4B21-90AC-238E83C68514}"/>
              </a:ext>
            </a:extLst>
          </p:cNvPr>
          <p:cNvCxnSpPr/>
          <p:nvPr/>
        </p:nvCxnSpPr>
        <p:spPr>
          <a:xfrm flipV="1">
            <a:off x="2354710" y="1736618"/>
            <a:ext cx="1114355" cy="476707"/>
          </a:xfrm>
          <a:prstGeom prst="line">
            <a:avLst/>
          </a:prstGeom>
          <a:noFill/>
          <a:ln w="9525" cap="flat" cmpd="sng" algn="ctr">
            <a:solidFill>
              <a:srgbClr val="014093">
                <a:shade val="95000"/>
                <a:satMod val="105000"/>
              </a:srgbClr>
            </a:solidFill>
            <a:prstDash val="solid"/>
          </a:ln>
          <a:effectLst/>
        </p:spPr>
      </p:cxnSp>
      <p:cxnSp>
        <p:nvCxnSpPr>
          <p:cNvPr id="12" name="Straight Connector 11">
            <a:extLst>
              <a:ext uri="{FF2B5EF4-FFF2-40B4-BE49-F238E27FC236}">
                <a16:creationId xmlns:a16="http://schemas.microsoft.com/office/drawing/2014/main" id="{CEF01F2B-546E-489C-A52B-A8FF1DE0AFF7}"/>
              </a:ext>
            </a:extLst>
          </p:cNvPr>
          <p:cNvCxnSpPr/>
          <p:nvPr/>
        </p:nvCxnSpPr>
        <p:spPr>
          <a:xfrm flipV="1">
            <a:off x="2363405" y="1324402"/>
            <a:ext cx="1108193" cy="432231"/>
          </a:xfrm>
          <a:prstGeom prst="line">
            <a:avLst/>
          </a:prstGeom>
          <a:noFill/>
          <a:ln w="9525" cap="flat" cmpd="sng" algn="ctr">
            <a:solidFill>
              <a:srgbClr val="014093">
                <a:shade val="95000"/>
                <a:satMod val="105000"/>
              </a:srgbClr>
            </a:solidFill>
            <a:prstDash val="solid"/>
          </a:ln>
          <a:effectLst/>
        </p:spPr>
      </p:cxnSp>
      <p:cxnSp>
        <p:nvCxnSpPr>
          <p:cNvPr id="13" name="Straight Connector 12">
            <a:extLst>
              <a:ext uri="{FF2B5EF4-FFF2-40B4-BE49-F238E27FC236}">
                <a16:creationId xmlns:a16="http://schemas.microsoft.com/office/drawing/2014/main" id="{19151E66-8145-4258-B3C1-438466D610A1}"/>
              </a:ext>
            </a:extLst>
          </p:cNvPr>
          <p:cNvCxnSpPr/>
          <p:nvPr/>
        </p:nvCxnSpPr>
        <p:spPr>
          <a:xfrm>
            <a:off x="2363405" y="1325308"/>
            <a:ext cx="1105660" cy="411309"/>
          </a:xfrm>
          <a:prstGeom prst="line">
            <a:avLst/>
          </a:prstGeom>
          <a:noFill/>
          <a:ln w="9525" cap="flat" cmpd="sng" algn="ctr">
            <a:solidFill>
              <a:srgbClr val="014093">
                <a:shade val="95000"/>
                <a:satMod val="105000"/>
              </a:srgbClr>
            </a:solidFill>
            <a:prstDash val="solid"/>
          </a:ln>
          <a:effectLst/>
        </p:spPr>
      </p:cxnSp>
      <p:pic>
        <p:nvPicPr>
          <p:cNvPr id="14" name="Picture 6" descr="C:\Users\ecoffey\AppData\Local\Temp\Rar$DRa0.583\Cisco Icons November\30067_Device_router_3057\Png_256\30067_Device_router_3057_unknown_256.png">
            <a:extLst>
              <a:ext uri="{FF2B5EF4-FFF2-40B4-BE49-F238E27FC236}">
                <a16:creationId xmlns:a16="http://schemas.microsoft.com/office/drawing/2014/main" id="{FBDC6437-0EAF-4337-8661-DFAAB4AB967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471598" y="1190162"/>
            <a:ext cx="462521" cy="2684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ecoffey\AppData\Local\Temp\Rar$DRa0.583\Cisco Icons November\30067_Device_router_3057\Png_256\30067_Device_router_3057_unknown_256.png">
            <a:extLst>
              <a:ext uri="{FF2B5EF4-FFF2-40B4-BE49-F238E27FC236}">
                <a16:creationId xmlns:a16="http://schemas.microsoft.com/office/drawing/2014/main" id="{8AD41F07-3505-4B62-85C5-2A6205522900}"/>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469065" y="1591412"/>
            <a:ext cx="500303" cy="29041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C:\Users\ecoffey\AppData\Local\Temp\Rar$DRa0.583\Cisco Icons November\30067_Device_router_3057\Png_256\30067_Device_router_3057_unknown_256.png">
            <a:extLst>
              <a:ext uri="{FF2B5EF4-FFF2-40B4-BE49-F238E27FC236}">
                <a16:creationId xmlns:a16="http://schemas.microsoft.com/office/drawing/2014/main" id="{C975DD93-DB3B-4A9D-B70E-084C73CD7DC4}"/>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476664" y="2044581"/>
            <a:ext cx="512689" cy="2976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9EF6BA94-4938-4413-979B-82B0D3182DD8}"/>
              </a:ext>
            </a:extLst>
          </p:cNvPr>
          <p:cNvCxnSpPr/>
          <p:nvPr/>
        </p:nvCxnSpPr>
        <p:spPr>
          <a:xfrm flipV="1">
            <a:off x="2354710" y="1324402"/>
            <a:ext cx="1116888" cy="888922"/>
          </a:xfrm>
          <a:prstGeom prst="line">
            <a:avLst/>
          </a:prstGeom>
          <a:noFill/>
          <a:ln w="9525" cap="flat" cmpd="sng" algn="ctr">
            <a:solidFill>
              <a:srgbClr val="014093">
                <a:shade val="95000"/>
                <a:satMod val="105000"/>
              </a:srgbClr>
            </a:solidFill>
            <a:prstDash val="solid"/>
          </a:ln>
          <a:effectLst/>
        </p:spPr>
      </p:cxnSp>
      <p:cxnSp>
        <p:nvCxnSpPr>
          <p:cNvPr id="18" name="Straight Connector 17">
            <a:extLst>
              <a:ext uri="{FF2B5EF4-FFF2-40B4-BE49-F238E27FC236}">
                <a16:creationId xmlns:a16="http://schemas.microsoft.com/office/drawing/2014/main" id="{B0590562-D7F2-4AFB-8C7F-E89DD335CFCB}"/>
              </a:ext>
            </a:extLst>
          </p:cNvPr>
          <p:cNvCxnSpPr/>
          <p:nvPr/>
        </p:nvCxnSpPr>
        <p:spPr>
          <a:xfrm>
            <a:off x="2363405" y="1756634"/>
            <a:ext cx="1113259" cy="436747"/>
          </a:xfrm>
          <a:prstGeom prst="line">
            <a:avLst/>
          </a:prstGeom>
          <a:noFill/>
          <a:ln w="9525" cap="flat" cmpd="sng" algn="ctr">
            <a:solidFill>
              <a:srgbClr val="014093">
                <a:shade val="95000"/>
                <a:satMod val="105000"/>
              </a:srgbClr>
            </a:solidFill>
            <a:prstDash val="solid"/>
          </a:ln>
          <a:effectLst/>
        </p:spPr>
      </p:cxnSp>
      <p:cxnSp>
        <p:nvCxnSpPr>
          <p:cNvPr id="19" name="Straight Connector 18">
            <a:extLst>
              <a:ext uri="{FF2B5EF4-FFF2-40B4-BE49-F238E27FC236}">
                <a16:creationId xmlns:a16="http://schemas.microsoft.com/office/drawing/2014/main" id="{1B1452A3-A2E1-4D27-977E-03BA7D2D7109}"/>
              </a:ext>
            </a:extLst>
          </p:cNvPr>
          <p:cNvCxnSpPr/>
          <p:nvPr/>
        </p:nvCxnSpPr>
        <p:spPr>
          <a:xfrm flipV="1">
            <a:off x="2363405" y="1736618"/>
            <a:ext cx="1105660" cy="20016"/>
          </a:xfrm>
          <a:prstGeom prst="line">
            <a:avLst/>
          </a:prstGeom>
          <a:noFill/>
          <a:ln w="9525" cap="flat" cmpd="sng" algn="ctr">
            <a:solidFill>
              <a:srgbClr val="014093">
                <a:shade val="95000"/>
                <a:satMod val="105000"/>
              </a:srgbClr>
            </a:solidFill>
            <a:prstDash val="solid"/>
          </a:ln>
          <a:effectLst/>
        </p:spPr>
      </p:cxnSp>
      <p:cxnSp>
        <p:nvCxnSpPr>
          <p:cNvPr id="20" name="Straight Connector 19">
            <a:extLst>
              <a:ext uri="{FF2B5EF4-FFF2-40B4-BE49-F238E27FC236}">
                <a16:creationId xmlns:a16="http://schemas.microsoft.com/office/drawing/2014/main" id="{807E3AC3-329C-4413-AC05-2A79AF1788ED}"/>
              </a:ext>
            </a:extLst>
          </p:cNvPr>
          <p:cNvCxnSpPr/>
          <p:nvPr/>
        </p:nvCxnSpPr>
        <p:spPr>
          <a:xfrm>
            <a:off x="2363405" y="1325308"/>
            <a:ext cx="1113259" cy="868074"/>
          </a:xfrm>
          <a:prstGeom prst="line">
            <a:avLst/>
          </a:prstGeom>
          <a:noFill/>
          <a:ln w="9525" cap="flat" cmpd="sng" algn="ctr">
            <a:solidFill>
              <a:srgbClr val="014093">
                <a:shade val="95000"/>
                <a:satMod val="105000"/>
              </a:srgbClr>
            </a:solidFill>
            <a:prstDash val="solid"/>
          </a:ln>
          <a:effectLst/>
        </p:spPr>
      </p:cxnSp>
      <p:cxnSp>
        <p:nvCxnSpPr>
          <p:cNvPr id="21" name="Straight Connector 20">
            <a:extLst>
              <a:ext uri="{FF2B5EF4-FFF2-40B4-BE49-F238E27FC236}">
                <a16:creationId xmlns:a16="http://schemas.microsoft.com/office/drawing/2014/main" id="{666C714F-8E1A-413A-849B-225B00D3F361}"/>
              </a:ext>
            </a:extLst>
          </p:cNvPr>
          <p:cNvCxnSpPr/>
          <p:nvPr/>
        </p:nvCxnSpPr>
        <p:spPr>
          <a:xfrm flipV="1">
            <a:off x="2363405" y="1324402"/>
            <a:ext cx="1108193" cy="906"/>
          </a:xfrm>
          <a:prstGeom prst="line">
            <a:avLst/>
          </a:prstGeom>
          <a:noFill/>
          <a:ln w="9525" cap="flat" cmpd="sng" algn="ctr">
            <a:solidFill>
              <a:srgbClr val="014093">
                <a:shade val="95000"/>
                <a:satMod val="105000"/>
              </a:srgbClr>
            </a:solidFill>
            <a:prstDash val="solid"/>
          </a:ln>
          <a:effectLst/>
        </p:spPr>
      </p:cxnSp>
      <p:cxnSp>
        <p:nvCxnSpPr>
          <p:cNvPr id="22" name="Straight Connector 21">
            <a:extLst>
              <a:ext uri="{FF2B5EF4-FFF2-40B4-BE49-F238E27FC236}">
                <a16:creationId xmlns:a16="http://schemas.microsoft.com/office/drawing/2014/main" id="{2535D8A4-0C5C-460B-B660-F255370DA973}"/>
              </a:ext>
            </a:extLst>
          </p:cNvPr>
          <p:cNvCxnSpPr/>
          <p:nvPr/>
        </p:nvCxnSpPr>
        <p:spPr>
          <a:xfrm flipH="1" flipV="1">
            <a:off x="3934120" y="1324402"/>
            <a:ext cx="962853" cy="147546"/>
          </a:xfrm>
          <a:prstGeom prst="line">
            <a:avLst/>
          </a:prstGeom>
          <a:noFill/>
          <a:ln w="9525" cap="flat" cmpd="sng" algn="ctr">
            <a:solidFill>
              <a:srgbClr val="014093">
                <a:shade val="95000"/>
                <a:satMod val="105000"/>
              </a:srgbClr>
            </a:solidFill>
            <a:prstDash val="solid"/>
          </a:ln>
          <a:effectLst/>
        </p:spPr>
      </p:cxnSp>
      <p:cxnSp>
        <p:nvCxnSpPr>
          <p:cNvPr id="23" name="Straight Connector 22">
            <a:extLst>
              <a:ext uri="{FF2B5EF4-FFF2-40B4-BE49-F238E27FC236}">
                <a16:creationId xmlns:a16="http://schemas.microsoft.com/office/drawing/2014/main" id="{2E10FF48-67E2-4BDE-9DC5-7E9B0C351265}"/>
              </a:ext>
            </a:extLst>
          </p:cNvPr>
          <p:cNvCxnSpPr/>
          <p:nvPr/>
        </p:nvCxnSpPr>
        <p:spPr>
          <a:xfrm flipH="1">
            <a:off x="4004616" y="2048653"/>
            <a:ext cx="885146" cy="145271"/>
          </a:xfrm>
          <a:prstGeom prst="line">
            <a:avLst/>
          </a:prstGeom>
          <a:noFill/>
          <a:ln w="9525" cap="flat" cmpd="sng" algn="ctr">
            <a:solidFill>
              <a:srgbClr val="014093">
                <a:shade val="95000"/>
                <a:satMod val="105000"/>
              </a:srgbClr>
            </a:solidFill>
            <a:prstDash val="solid"/>
          </a:ln>
          <a:effectLst/>
        </p:spPr>
      </p:cxnSp>
      <p:cxnSp>
        <p:nvCxnSpPr>
          <p:cNvPr id="24" name="Straight Connector 23">
            <a:extLst>
              <a:ext uri="{FF2B5EF4-FFF2-40B4-BE49-F238E27FC236}">
                <a16:creationId xmlns:a16="http://schemas.microsoft.com/office/drawing/2014/main" id="{0FF1DE96-2496-4B4E-BB72-61FC78EFD052}"/>
              </a:ext>
            </a:extLst>
          </p:cNvPr>
          <p:cNvCxnSpPr/>
          <p:nvPr/>
        </p:nvCxnSpPr>
        <p:spPr>
          <a:xfrm flipH="1">
            <a:off x="3989354" y="1471948"/>
            <a:ext cx="907619" cy="721433"/>
          </a:xfrm>
          <a:prstGeom prst="line">
            <a:avLst/>
          </a:prstGeom>
          <a:noFill/>
          <a:ln w="9525" cap="flat" cmpd="sng" algn="ctr">
            <a:solidFill>
              <a:srgbClr val="014093">
                <a:shade val="95000"/>
                <a:satMod val="105000"/>
              </a:srgbClr>
            </a:solidFill>
            <a:prstDash val="solid"/>
          </a:ln>
          <a:effectLst/>
        </p:spPr>
      </p:cxnSp>
      <p:cxnSp>
        <p:nvCxnSpPr>
          <p:cNvPr id="25" name="Straight Connector 24">
            <a:extLst>
              <a:ext uri="{FF2B5EF4-FFF2-40B4-BE49-F238E27FC236}">
                <a16:creationId xmlns:a16="http://schemas.microsoft.com/office/drawing/2014/main" id="{C5A244C6-ECF9-4B49-AA24-848EBCC5DAB8}"/>
              </a:ext>
            </a:extLst>
          </p:cNvPr>
          <p:cNvCxnSpPr/>
          <p:nvPr/>
        </p:nvCxnSpPr>
        <p:spPr>
          <a:xfrm flipH="1" flipV="1">
            <a:off x="3984629" y="1737161"/>
            <a:ext cx="905133" cy="311492"/>
          </a:xfrm>
          <a:prstGeom prst="line">
            <a:avLst/>
          </a:prstGeom>
          <a:noFill/>
          <a:ln w="9525" cap="flat" cmpd="sng" algn="ctr">
            <a:solidFill>
              <a:srgbClr val="014093">
                <a:shade val="95000"/>
                <a:satMod val="105000"/>
              </a:srgbClr>
            </a:solidFill>
            <a:prstDash val="solid"/>
          </a:ln>
          <a:effectLst/>
        </p:spPr>
      </p:cxnSp>
      <p:cxnSp>
        <p:nvCxnSpPr>
          <p:cNvPr id="26" name="Straight Connector 25">
            <a:extLst>
              <a:ext uri="{FF2B5EF4-FFF2-40B4-BE49-F238E27FC236}">
                <a16:creationId xmlns:a16="http://schemas.microsoft.com/office/drawing/2014/main" id="{2BFA31BF-9F8B-4089-9D27-34ADC3C61BE2}"/>
              </a:ext>
            </a:extLst>
          </p:cNvPr>
          <p:cNvCxnSpPr/>
          <p:nvPr/>
        </p:nvCxnSpPr>
        <p:spPr>
          <a:xfrm flipH="1">
            <a:off x="3969368" y="1471948"/>
            <a:ext cx="927605" cy="264669"/>
          </a:xfrm>
          <a:prstGeom prst="line">
            <a:avLst/>
          </a:prstGeom>
          <a:noFill/>
          <a:ln w="9525" cap="flat" cmpd="sng" algn="ctr">
            <a:solidFill>
              <a:srgbClr val="014093">
                <a:shade val="95000"/>
                <a:satMod val="105000"/>
              </a:srgbClr>
            </a:solidFill>
            <a:prstDash val="solid"/>
          </a:ln>
          <a:effectLst/>
        </p:spPr>
      </p:cxnSp>
      <p:cxnSp>
        <p:nvCxnSpPr>
          <p:cNvPr id="27" name="Straight Connector 26">
            <a:extLst>
              <a:ext uri="{FF2B5EF4-FFF2-40B4-BE49-F238E27FC236}">
                <a16:creationId xmlns:a16="http://schemas.microsoft.com/office/drawing/2014/main" id="{26C74927-A25F-4FC9-A867-92BFC25B7019}"/>
              </a:ext>
            </a:extLst>
          </p:cNvPr>
          <p:cNvCxnSpPr/>
          <p:nvPr/>
        </p:nvCxnSpPr>
        <p:spPr>
          <a:xfrm flipH="1" flipV="1">
            <a:off x="3949381" y="1324944"/>
            <a:ext cx="940381" cy="723709"/>
          </a:xfrm>
          <a:prstGeom prst="line">
            <a:avLst/>
          </a:prstGeom>
          <a:noFill/>
          <a:ln w="9525" cap="flat" cmpd="sng" algn="ctr">
            <a:solidFill>
              <a:srgbClr val="014093">
                <a:shade val="95000"/>
                <a:satMod val="105000"/>
              </a:srgbClr>
            </a:solidFill>
            <a:prstDash val="solid"/>
          </a:ln>
          <a:effectLst/>
        </p:spPr>
      </p:cxnSp>
      <p:sp>
        <p:nvSpPr>
          <p:cNvPr id="28" name="TextBox 27">
            <a:extLst>
              <a:ext uri="{FF2B5EF4-FFF2-40B4-BE49-F238E27FC236}">
                <a16:creationId xmlns:a16="http://schemas.microsoft.com/office/drawing/2014/main" id="{40EB0C14-0A14-496B-9B9A-097131FCEDA6}"/>
              </a:ext>
            </a:extLst>
          </p:cNvPr>
          <p:cNvSpPr txBox="1"/>
          <p:nvPr/>
        </p:nvSpPr>
        <p:spPr>
          <a:xfrm>
            <a:off x="1502270" y="996442"/>
            <a:ext cx="1703028" cy="253916"/>
          </a:xfrm>
          <a:prstGeom prst="rect">
            <a:avLst/>
          </a:prstGeom>
          <a:noFill/>
        </p:spPr>
        <p:txBody>
          <a:bodyPr wrap="square" rtlCol="0">
            <a:spAutoFit/>
          </a:bodyPr>
          <a:lstStyle/>
          <a:p>
            <a:pPr defTabSz="457200" fontAlgn="base">
              <a:spcBef>
                <a:spcPct val="0"/>
              </a:spcBef>
              <a:spcAft>
                <a:spcPct val="0"/>
              </a:spcAft>
            </a:pPr>
            <a:r>
              <a:rPr lang="en-US" sz="1000" dirty="0">
                <a:solidFill>
                  <a:srgbClr val="39393B"/>
                </a:solidFill>
                <a:latin typeface="CiscoSansTT Light" charset="0"/>
                <a:ea typeface="CiscoSansTT Light" charset="0"/>
                <a:cs typeface="CiscoSansTT Light" charset="0"/>
              </a:rPr>
              <a:t>Peers, CDN, Content</a:t>
            </a:r>
          </a:p>
        </p:txBody>
      </p:sp>
      <p:sp>
        <p:nvSpPr>
          <p:cNvPr id="29" name="TextBox 28">
            <a:extLst>
              <a:ext uri="{FF2B5EF4-FFF2-40B4-BE49-F238E27FC236}">
                <a16:creationId xmlns:a16="http://schemas.microsoft.com/office/drawing/2014/main" id="{1B0D966D-09C5-4A40-95E1-BAE6D67C2EA9}"/>
              </a:ext>
            </a:extLst>
          </p:cNvPr>
          <p:cNvSpPr txBox="1"/>
          <p:nvPr/>
        </p:nvSpPr>
        <p:spPr>
          <a:xfrm>
            <a:off x="3513686" y="1277527"/>
            <a:ext cx="1137542" cy="204998"/>
          </a:xfrm>
          <a:prstGeom prst="rect">
            <a:avLst/>
          </a:prstGeom>
          <a:noFill/>
        </p:spPr>
        <p:txBody>
          <a:bodyPr wrap="square" rtlCol="0">
            <a:spAutoFit/>
          </a:bodyPr>
          <a:lstStyle/>
          <a:p>
            <a:pPr defTabSz="457200" fontAlgn="base">
              <a:spcBef>
                <a:spcPct val="0"/>
              </a:spcBef>
              <a:spcAft>
                <a:spcPct val="0"/>
              </a:spcAft>
            </a:pPr>
            <a:r>
              <a:rPr lang="en-US" sz="900" b="1" dirty="0">
                <a:solidFill>
                  <a:srgbClr val="FFFFFF"/>
                </a:solidFill>
                <a:ea typeface="ＭＳ Ｐゴシック" pitchFamily="34" charset="-128"/>
                <a:cs typeface=""/>
              </a:rPr>
              <a:t>PFL</a:t>
            </a:r>
          </a:p>
        </p:txBody>
      </p:sp>
      <p:sp>
        <p:nvSpPr>
          <p:cNvPr id="30" name="TextBox 29">
            <a:extLst>
              <a:ext uri="{FF2B5EF4-FFF2-40B4-BE49-F238E27FC236}">
                <a16:creationId xmlns:a16="http://schemas.microsoft.com/office/drawing/2014/main" id="{9CF6F2C9-9827-46C3-A640-D458689913E8}"/>
              </a:ext>
            </a:extLst>
          </p:cNvPr>
          <p:cNvSpPr txBox="1"/>
          <p:nvPr/>
        </p:nvSpPr>
        <p:spPr>
          <a:xfrm>
            <a:off x="3526742" y="1693940"/>
            <a:ext cx="1137542" cy="204998"/>
          </a:xfrm>
          <a:prstGeom prst="rect">
            <a:avLst/>
          </a:prstGeom>
          <a:noFill/>
        </p:spPr>
        <p:txBody>
          <a:bodyPr wrap="square" rtlCol="0">
            <a:spAutoFit/>
          </a:bodyPr>
          <a:lstStyle/>
          <a:p>
            <a:pPr defTabSz="457200" fontAlgn="base">
              <a:spcBef>
                <a:spcPct val="0"/>
              </a:spcBef>
              <a:spcAft>
                <a:spcPct val="0"/>
              </a:spcAft>
            </a:pPr>
            <a:r>
              <a:rPr lang="en-US" sz="900" b="1">
                <a:solidFill>
                  <a:srgbClr val="FFFFFF"/>
                </a:solidFill>
                <a:ea typeface="ＭＳ Ｐゴシック" pitchFamily="34" charset="-128"/>
                <a:cs typeface=""/>
              </a:rPr>
              <a:t>PFL</a:t>
            </a:r>
            <a:endParaRPr lang="en-US" sz="900" b="1" dirty="0">
              <a:solidFill>
                <a:srgbClr val="FFFFFF"/>
              </a:solidFill>
              <a:ea typeface="ＭＳ Ｐゴシック" pitchFamily="34" charset="-128"/>
              <a:cs typeface=""/>
            </a:endParaRPr>
          </a:p>
        </p:txBody>
      </p:sp>
      <p:sp>
        <p:nvSpPr>
          <p:cNvPr id="31" name="TextBox 30">
            <a:extLst>
              <a:ext uri="{FF2B5EF4-FFF2-40B4-BE49-F238E27FC236}">
                <a16:creationId xmlns:a16="http://schemas.microsoft.com/office/drawing/2014/main" id="{B9AFDB0E-19D6-4554-9D80-739793941454}"/>
              </a:ext>
            </a:extLst>
          </p:cNvPr>
          <p:cNvSpPr txBox="1"/>
          <p:nvPr/>
        </p:nvSpPr>
        <p:spPr>
          <a:xfrm>
            <a:off x="3526742" y="2143763"/>
            <a:ext cx="1137542" cy="204998"/>
          </a:xfrm>
          <a:prstGeom prst="rect">
            <a:avLst/>
          </a:prstGeom>
          <a:noFill/>
        </p:spPr>
        <p:txBody>
          <a:bodyPr wrap="square" rtlCol="0">
            <a:spAutoFit/>
          </a:bodyPr>
          <a:lstStyle/>
          <a:p>
            <a:pPr defTabSz="457200" fontAlgn="base">
              <a:spcBef>
                <a:spcPct val="0"/>
              </a:spcBef>
              <a:spcAft>
                <a:spcPct val="0"/>
              </a:spcAft>
            </a:pPr>
            <a:r>
              <a:rPr lang="en-US" sz="900" b="1" dirty="0">
                <a:solidFill>
                  <a:srgbClr val="FFFFFF"/>
                </a:solidFill>
                <a:ea typeface="ＭＳ Ｐゴシック" pitchFamily="34" charset="-128"/>
                <a:cs typeface=""/>
              </a:rPr>
              <a:t>PFL</a:t>
            </a:r>
          </a:p>
        </p:txBody>
      </p:sp>
      <p:cxnSp>
        <p:nvCxnSpPr>
          <p:cNvPr id="32" name="Straight Connector 31">
            <a:extLst>
              <a:ext uri="{FF2B5EF4-FFF2-40B4-BE49-F238E27FC236}">
                <a16:creationId xmlns:a16="http://schemas.microsoft.com/office/drawing/2014/main" id="{5D7DA613-1F95-4F47-8C3D-4379CF7637A4}"/>
              </a:ext>
            </a:extLst>
          </p:cNvPr>
          <p:cNvCxnSpPr/>
          <p:nvPr/>
        </p:nvCxnSpPr>
        <p:spPr>
          <a:xfrm flipH="1" flipV="1">
            <a:off x="5384653" y="1471948"/>
            <a:ext cx="609978" cy="129964"/>
          </a:xfrm>
          <a:prstGeom prst="line">
            <a:avLst/>
          </a:prstGeom>
          <a:noFill/>
          <a:ln w="9525" cap="flat" cmpd="sng" algn="ctr">
            <a:solidFill>
              <a:srgbClr val="014093">
                <a:shade val="95000"/>
                <a:satMod val="105000"/>
              </a:srgbClr>
            </a:solidFill>
            <a:prstDash val="solid"/>
          </a:ln>
          <a:effectLst/>
        </p:spPr>
      </p:cxnSp>
      <p:cxnSp>
        <p:nvCxnSpPr>
          <p:cNvPr id="33" name="Straight Connector 32">
            <a:extLst>
              <a:ext uri="{FF2B5EF4-FFF2-40B4-BE49-F238E27FC236}">
                <a16:creationId xmlns:a16="http://schemas.microsoft.com/office/drawing/2014/main" id="{19802960-1462-49D1-A8C4-86D40DDC52DC}"/>
              </a:ext>
            </a:extLst>
          </p:cNvPr>
          <p:cNvCxnSpPr/>
          <p:nvPr/>
        </p:nvCxnSpPr>
        <p:spPr>
          <a:xfrm flipH="1">
            <a:off x="5384654" y="1601912"/>
            <a:ext cx="609977" cy="468466"/>
          </a:xfrm>
          <a:prstGeom prst="line">
            <a:avLst/>
          </a:prstGeom>
          <a:noFill/>
          <a:ln w="9525" cap="flat" cmpd="sng" algn="ctr">
            <a:solidFill>
              <a:srgbClr val="014093">
                <a:shade val="95000"/>
                <a:satMod val="105000"/>
              </a:srgbClr>
            </a:solidFill>
            <a:prstDash val="solid"/>
          </a:ln>
          <a:effectLst/>
        </p:spPr>
      </p:cxnSp>
      <p:sp>
        <p:nvSpPr>
          <p:cNvPr id="34" name="TextBox 33">
            <a:extLst>
              <a:ext uri="{FF2B5EF4-FFF2-40B4-BE49-F238E27FC236}">
                <a16:creationId xmlns:a16="http://schemas.microsoft.com/office/drawing/2014/main" id="{040BE0BA-F8D4-4B65-A091-B2F7504EBF95}"/>
              </a:ext>
            </a:extLst>
          </p:cNvPr>
          <p:cNvSpPr txBox="1"/>
          <p:nvPr/>
        </p:nvSpPr>
        <p:spPr>
          <a:xfrm>
            <a:off x="3588127" y="851796"/>
            <a:ext cx="2018482" cy="261610"/>
          </a:xfrm>
          <a:prstGeom prst="rect">
            <a:avLst/>
          </a:prstGeom>
          <a:noFill/>
        </p:spPr>
        <p:txBody>
          <a:bodyPr wrap="square" rtlCol="0">
            <a:spAutoFit/>
          </a:bodyPr>
          <a:lstStyle/>
          <a:p>
            <a:pPr defTabSz="457200" fontAlgn="base">
              <a:spcBef>
                <a:spcPct val="0"/>
              </a:spcBef>
              <a:spcAft>
                <a:spcPct val="0"/>
              </a:spcAft>
            </a:pPr>
            <a:r>
              <a:rPr lang="en-US" sz="1100" dirty="0">
                <a:solidFill>
                  <a:srgbClr val="39393B"/>
                </a:solidFill>
                <a:latin typeface="CiscoSansTT Light" charset="0"/>
                <a:ea typeface="CiscoSansTT Light" charset="0"/>
                <a:cs typeface="CiscoSansTT Light" charset="0"/>
              </a:rPr>
              <a:t>Peering Fabric</a:t>
            </a:r>
          </a:p>
        </p:txBody>
      </p:sp>
      <p:pic>
        <p:nvPicPr>
          <p:cNvPr id="35" name="Picture 7" descr="C:\Users\ecoffey\AppData\Local\Temp\Rar$DRa0.386\30067_Device_router_critical_64.png">
            <a:extLst>
              <a:ext uri="{FF2B5EF4-FFF2-40B4-BE49-F238E27FC236}">
                <a16:creationId xmlns:a16="http://schemas.microsoft.com/office/drawing/2014/main" id="{0531C78B-18CE-45AE-9A57-AAD88DE8ABCD}"/>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896973" y="1228108"/>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7" descr="C:\Users\ecoffey\AppData\Local\Temp\Rar$DRa0.386\30067_Device_router_critical_64.png">
            <a:extLst>
              <a:ext uri="{FF2B5EF4-FFF2-40B4-BE49-F238E27FC236}">
                <a16:creationId xmlns:a16="http://schemas.microsoft.com/office/drawing/2014/main" id="{20147A52-35FB-4819-8649-7F36802E5255}"/>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889762" y="1804813"/>
            <a:ext cx="487680" cy="48768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F5557F7D-2201-4B8F-96D1-AF7FFED6AA96}"/>
              </a:ext>
            </a:extLst>
          </p:cNvPr>
          <p:cNvSpPr txBox="1"/>
          <p:nvPr/>
        </p:nvSpPr>
        <p:spPr>
          <a:xfrm>
            <a:off x="4932221" y="1417336"/>
            <a:ext cx="615444" cy="230832"/>
          </a:xfrm>
          <a:prstGeom prst="rect">
            <a:avLst/>
          </a:prstGeom>
          <a:noFill/>
        </p:spPr>
        <p:txBody>
          <a:bodyPr wrap="square" rtlCol="0">
            <a:spAutoFit/>
          </a:bodyPr>
          <a:lstStyle/>
          <a:p>
            <a:pPr defTabSz="457200" fontAlgn="base">
              <a:spcBef>
                <a:spcPct val="0"/>
              </a:spcBef>
              <a:spcAft>
                <a:spcPct val="0"/>
              </a:spcAft>
            </a:pPr>
            <a:r>
              <a:rPr lang="en-US" sz="900" b="1" dirty="0">
                <a:solidFill>
                  <a:srgbClr val="FFFFFF"/>
                </a:solidFill>
                <a:ea typeface="ＭＳ Ｐゴシック" pitchFamily="34" charset="-128"/>
                <a:cs typeface=""/>
              </a:rPr>
              <a:t>PFS</a:t>
            </a:r>
          </a:p>
        </p:txBody>
      </p:sp>
      <p:sp>
        <p:nvSpPr>
          <p:cNvPr id="38" name="TextBox 37">
            <a:extLst>
              <a:ext uri="{FF2B5EF4-FFF2-40B4-BE49-F238E27FC236}">
                <a16:creationId xmlns:a16="http://schemas.microsoft.com/office/drawing/2014/main" id="{C594495A-0C6F-4543-A6F2-9891E110A244}"/>
              </a:ext>
            </a:extLst>
          </p:cNvPr>
          <p:cNvSpPr txBox="1"/>
          <p:nvPr/>
        </p:nvSpPr>
        <p:spPr>
          <a:xfrm>
            <a:off x="4932221" y="2002962"/>
            <a:ext cx="1137542" cy="204998"/>
          </a:xfrm>
          <a:prstGeom prst="rect">
            <a:avLst/>
          </a:prstGeom>
          <a:noFill/>
        </p:spPr>
        <p:txBody>
          <a:bodyPr wrap="square" rtlCol="0">
            <a:spAutoFit/>
          </a:bodyPr>
          <a:lstStyle/>
          <a:p>
            <a:pPr defTabSz="457200" fontAlgn="base">
              <a:spcBef>
                <a:spcPct val="0"/>
              </a:spcBef>
              <a:spcAft>
                <a:spcPct val="0"/>
              </a:spcAft>
            </a:pPr>
            <a:r>
              <a:rPr lang="en-US" sz="900" b="1" dirty="0">
                <a:solidFill>
                  <a:srgbClr val="FFFFFF"/>
                </a:solidFill>
                <a:ea typeface="ＭＳ Ｐゴシック" pitchFamily="34" charset="-128"/>
                <a:cs typeface=""/>
              </a:rPr>
              <a:t>PFS</a:t>
            </a:r>
          </a:p>
        </p:txBody>
      </p:sp>
      <p:sp>
        <p:nvSpPr>
          <p:cNvPr id="39" name="Cloud 38">
            <a:extLst>
              <a:ext uri="{FF2B5EF4-FFF2-40B4-BE49-F238E27FC236}">
                <a16:creationId xmlns:a16="http://schemas.microsoft.com/office/drawing/2014/main" id="{582C5417-D021-4C11-B4B5-3FB900FE7C41}"/>
              </a:ext>
            </a:extLst>
          </p:cNvPr>
          <p:cNvSpPr/>
          <p:nvPr/>
        </p:nvSpPr>
        <p:spPr>
          <a:xfrm>
            <a:off x="5989438" y="1082536"/>
            <a:ext cx="1674317" cy="1038752"/>
          </a:xfrm>
          <a:prstGeom prst="cloud">
            <a:avLst/>
          </a:prstGeom>
          <a:gradFill flip="none" rotWithShape="1">
            <a:gsLst>
              <a:gs pos="0">
                <a:srgbClr val="ABC333">
                  <a:lumMod val="5000"/>
                  <a:lumOff val="95000"/>
                </a:srgbClr>
              </a:gs>
              <a:gs pos="74000">
                <a:srgbClr val="ABC333">
                  <a:lumMod val="45000"/>
                  <a:lumOff val="55000"/>
                </a:srgbClr>
              </a:gs>
              <a:gs pos="83000">
                <a:srgbClr val="ABC333">
                  <a:lumMod val="45000"/>
                  <a:lumOff val="55000"/>
                </a:srgbClr>
              </a:gs>
              <a:gs pos="100000">
                <a:srgbClr val="ABC333">
                  <a:lumMod val="30000"/>
                  <a:lumOff val="70000"/>
                </a:srgbClr>
              </a:gs>
            </a:gsLst>
            <a:lin ang="5400000" scaled="1"/>
            <a:tileRect/>
          </a:gradFill>
          <a:ln w="9525" cap="flat" cmpd="sng" algn="ctr">
            <a:solidFill>
              <a:srgbClr val="CACCD2">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45725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39393B"/>
                </a:solidFill>
                <a:effectLst/>
                <a:uLnTx/>
                <a:uFillTx/>
                <a:latin typeface="CiscoSansTT Light" charset="0"/>
                <a:ea typeface="CiscoSansTT Light" charset="0"/>
                <a:cs typeface="CiscoSansTT Light" charset="0"/>
              </a:rPr>
              <a:t>Network Edge</a:t>
            </a:r>
          </a:p>
        </p:txBody>
      </p:sp>
      <p:sp>
        <p:nvSpPr>
          <p:cNvPr id="40" name="Content Placeholder 3">
            <a:extLst>
              <a:ext uri="{FF2B5EF4-FFF2-40B4-BE49-F238E27FC236}">
                <a16:creationId xmlns:a16="http://schemas.microsoft.com/office/drawing/2014/main" id="{5B256C15-BAD5-40A7-8D21-B3784155970C}"/>
              </a:ext>
            </a:extLst>
          </p:cNvPr>
          <p:cNvSpPr txBox="1">
            <a:spLocks/>
          </p:cNvSpPr>
          <p:nvPr/>
        </p:nvSpPr>
        <p:spPr bwMode="auto">
          <a:xfrm>
            <a:off x="4664284" y="2504873"/>
            <a:ext cx="4492772" cy="2263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785" indent="0" defTabSz="914400">
              <a:buNone/>
            </a:pPr>
            <a:r>
              <a:rPr lang="en-US" sz="1200" b="1" dirty="0">
                <a:solidFill>
                  <a:schemeClr val="accent1"/>
                </a:solidFill>
                <a:latin typeface="CiscoSansTT" charset="0"/>
                <a:ea typeface="CiscoSansTT" charset="0"/>
                <a:cs typeface="CiscoSansTT" charset="0"/>
              </a:rPr>
              <a:t>Peering Fabric Spine (PFS)</a:t>
            </a:r>
            <a:endParaRPr lang="en-US" sz="1400" dirty="0">
              <a:latin typeface="CiscoSansTT Light" charset="0"/>
              <a:ea typeface="CiscoSansTT Light" charset="0"/>
              <a:cs typeface="CiscoSansTT Light" charset="0"/>
            </a:endParaRP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rPr>
              <a:t>Spine nodes similar to collapsed spine/border GW in DC.  </a:t>
            </a: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rPr>
              <a:t>Connection point to the rest of the SP network.</a:t>
            </a: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rPr>
              <a:t>Act as edge node, head-end for TE tunnels.  </a:t>
            </a: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rPr>
              <a:t>Route Reflectors for PFL peer routes </a:t>
            </a:r>
          </a:p>
          <a:p>
            <a:pPr lvl="1" defTabSz="914400">
              <a:buFont typeface="Wingdings" charset="2"/>
              <a:buChar char="v"/>
            </a:pPr>
            <a:endParaRPr lang="en-US" sz="1200" kern="0" dirty="0">
              <a:solidFill>
                <a:srgbClr val="282828"/>
              </a:solidFill>
              <a:latin typeface="CiscoSansTT ExtraLight"/>
              <a:ea typeface="ＭＳ Ｐゴシック" charset="0"/>
              <a:cs typeface="ＭＳ Ｐゴシック" charset="0"/>
            </a:endParaRPr>
          </a:p>
        </p:txBody>
      </p:sp>
    </p:spTree>
    <p:extLst>
      <p:ext uri="{BB962C8B-B14F-4D97-AF65-F5344CB8AC3E}">
        <p14:creationId xmlns:p14="http://schemas.microsoft.com/office/powerpoint/2010/main" val="223212788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a:extLst>
              <a:ext uri="{FF2B5EF4-FFF2-40B4-BE49-F238E27FC236}">
                <a16:creationId xmlns:a16="http://schemas.microsoft.com/office/drawing/2014/main" id="{7FAFDD59-C58D-5742-BD96-C1920BDC30A6}"/>
              </a:ext>
            </a:extLst>
          </p:cNvPr>
          <p:cNvSpPr>
            <a:spLocks noGrp="1"/>
          </p:cNvSpPr>
          <p:nvPr>
            <p:ph type="title"/>
          </p:nvPr>
        </p:nvSpPr>
        <p:spPr/>
        <p:txBody>
          <a:bodyPr/>
          <a:lstStyle/>
          <a:p>
            <a:r>
              <a:rPr lang="en-US" dirty="0">
                <a:solidFill>
                  <a:srgbClr val="005073"/>
                </a:solidFill>
                <a:sym typeface="Arial"/>
              </a:rPr>
              <a:t>Distributed Denial of Service (DDoS) </a:t>
            </a:r>
            <a:br>
              <a:rPr lang="en-US" dirty="0">
                <a:solidFill>
                  <a:srgbClr val="005073"/>
                </a:solidFill>
                <a:sym typeface="Arial"/>
              </a:rPr>
            </a:br>
            <a:r>
              <a:rPr lang="en-US" dirty="0">
                <a:solidFill>
                  <a:srgbClr val="005073"/>
                </a:solidFill>
                <a:sym typeface="Arial"/>
              </a:rPr>
              <a:t>for Peering Solutions</a:t>
            </a:r>
          </a:p>
        </p:txBody>
      </p:sp>
      <p:sp>
        <p:nvSpPr>
          <p:cNvPr id="73" name="TextBox 72">
            <a:extLst>
              <a:ext uri="{FF2B5EF4-FFF2-40B4-BE49-F238E27FC236}">
                <a16:creationId xmlns:a16="http://schemas.microsoft.com/office/drawing/2014/main" id="{CBE4B82F-BD55-4843-A46F-DA395E424B7C}"/>
              </a:ext>
            </a:extLst>
          </p:cNvPr>
          <p:cNvSpPr txBox="1"/>
          <p:nvPr/>
        </p:nvSpPr>
        <p:spPr>
          <a:xfrm>
            <a:off x="2422070" y="2940474"/>
            <a:ext cx="3611595" cy="461665"/>
          </a:xfrm>
          <a:prstGeom prst="rect">
            <a:avLst/>
          </a:prstGeom>
          <a:noFill/>
        </p:spPr>
        <p:txBody>
          <a:bodyPr wrap="square" rtlCol="0" anchor="ctr">
            <a:spAutoFit/>
          </a:bodyPr>
          <a:lstStyle/>
          <a:p>
            <a:pPr algn="ctr" defTabSz="685800" fontAlgn="auto">
              <a:spcBef>
                <a:spcPts val="0"/>
              </a:spcBef>
              <a:spcAft>
                <a:spcPts val="0"/>
              </a:spcAft>
            </a:pPr>
            <a:r>
              <a:rPr lang="en-US" sz="1200" dirty="0">
                <a:latin typeface="+mn-lt"/>
                <a:cs typeface="+mn-cs"/>
              </a:rPr>
              <a:t>Automated mitigation using </a:t>
            </a:r>
            <a:br>
              <a:rPr lang="en-US" sz="1200" dirty="0">
                <a:latin typeface="+mn-lt"/>
                <a:cs typeface="+mn-cs"/>
              </a:rPr>
            </a:br>
            <a:r>
              <a:rPr lang="en-US" sz="1200" dirty="0">
                <a:latin typeface="+mn-lt"/>
                <a:cs typeface="+mn-cs"/>
              </a:rPr>
              <a:t>high-scale ACL and BGP </a:t>
            </a:r>
            <a:r>
              <a:rPr lang="en-US" sz="1200" dirty="0" err="1">
                <a:latin typeface="+mn-lt"/>
                <a:cs typeface="+mn-cs"/>
              </a:rPr>
              <a:t>Flowspec</a:t>
            </a:r>
            <a:endParaRPr lang="en-US" sz="1200" dirty="0">
              <a:latin typeface="+mn-lt"/>
              <a:cs typeface="+mn-cs"/>
            </a:endParaRPr>
          </a:p>
        </p:txBody>
      </p:sp>
      <p:sp>
        <p:nvSpPr>
          <p:cNvPr id="75" name="TextBox 74">
            <a:extLst>
              <a:ext uri="{FF2B5EF4-FFF2-40B4-BE49-F238E27FC236}">
                <a16:creationId xmlns:a16="http://schemas.microsoft.com/office/drawing/2014/main" id="{48944BA7-4B49-7D46-86D2-9676296F39D9}"/>
              </a:ext>
            </a:extLst>
          </p:cNvPr>
          <p:cNvSpPr txBox="1"/>
          <p:nvPr/>
        </p:nvSpPr>
        <p:spPr>
          <a:xfrm>
            <a:off x="2334689" y="2283730"/>
            <a:ext cx="3786356" cy="276999"/>
          </a:xfrm>
          <a:prstGeom prst="rect">
            <a:avLst/>
          </a:prstGeom>
          <a:noFill/>
        </p:spPr>
        <p:txBody>
          <a:bodyPr wrap="square" rtlCol="0" anchor="ctr">
            <a:spAutoFit/>
          </a:bodyPr>
          <a:lstStyle/>
          <a:p>
            <a:pPr algn="ctr" defTabSz="685800" fontAlgn="auto">
              <a:spcBef>
                <a:spcPts val="0"/>
              </a:spcBef>
              <a:spcAft>
                <a:spcPts val="0"/>
              </a:spcAft>
            </a:pPr>
            <a:r>
              <a:rPr lang="en-US" sz="1200" dirty="0">
                <a:latin typeface="+mn-lt"/>
                <a:cs typeface="+mn-cs"/>
              </a:rPr>
              <a:t>Real Time Telemetry with </a:t>
            </a:r>
            <a:r>
              <a:rPr lang="en-US" sz="1200" dirty="0" err="1">
                <a:latin typeface="+mn-lt"/>
                <a:cs typeface="+mn-cs"/>
              </a:rPr>
              <a:t>Netflow</a:t>
            </a:r>
            <a:endParaRPr lang="en-US" sz="1200" dirty="0">
              <a:latin typeface="+mn-lt"/>
              <a:cs typeface="+mn-cs"/>
            </a:endParaRPr>
          </a:p>
        </p:txBody>
      </p:sp>
      <p:grpSp>
        <p:nvGrpSpPr>
          <p:cNvPr id="51" name="Group 50">
            <a:extLst>
              <a:ext uri="{FF2B5EF4-FFF2-40B4-BE49-F238E27FC236}">
                <a16:creationId xmlns:a16="http://schemas.microsoft.com/office/drawing/2014/main" id="{DD331834-1B06-7746-9232-B069055B9352}"/>
              </a:ext>
            </a:extLst>
          </p:cNvPr>
          <p:cNvGrpSpPr/>
          <p:nvPr/>
        </p:nvGrpSpPr>
        <p:grpSpPr>
          <a:xfrm>
            <a:off x="1310946" y="2494161"/>
            <a:ext cx="4736403" cy="364249"/>
            <a:chOff x="1714600" y="2440051"/>
            <a:chExt cx="4736403" cy="364249"/>
          </a:xfrm>
        </p:grpSpPr>
        <p:sp>
          <p:nvSpPr>
            <p:cNvPr id="95" name="Rounded Rectangle 94">
              <a:extLst>
                <a:ext uri="{FF2B5EF4-FFF2-40B4-BE49-F238E27FC236}">
                  <a16:creationId xmlns:a16="http://schemas.microsoft.com/office/drawing/2014/main" id="{38719A42-D745-7948-A936-3D155E12945B}"/>
                </a:ext>
              </a:extLst>
            </p:cNvPr>
            <p:cNvSpPr/>
            <p:nvPr/>
          </p:nvSpPr>
          <p:spPr>
            <a:xfrm flipH="1">
              <a:off x="1714600" y="2568174"/>
              <a:ext cx="4643613" cy="9693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6" name="Group 95">
              <a:extLst>
                <a:ext uri="{FF2B5EF4-FFF2-40B4-BE49-F238E27FC236}">
                  <a16:creationId xmlns:a16="http://schemas.microsoft.com/office/drawing/2014/main" id="{D1B06372-A39F-6C44-AB28-E3A23238AA26}"/>
                </a:ext>
              </a:extLst>
            </p:cNvPr>
            <p:cNvGrpSpPr/>
            <p:nvPr/>
          </p:nvGrpSpPr>
          <p:grpSpPr>
            <a:xfrm flipH="1">
              <a:off x="6222465" y="2440051"/>
              <a:ext cx="228538" cy="364249"/>
              <a:chOff x="1347021" y="2998423"/>
              <a:chExt cx="367270" cy="585359"/>
            </a:xfrm>
          </p:grpSpPr>
          <p:sp>
            <p:nvSpPr>
              <p:cNvPr id="97" name="Freeform 6">
                <a:extLst>
                  <a:ext uri="{FF2B5EF4-FFF2-40B4-BE49-F238E27FC236}">
                    <a16:creationId xmlns:a16="http://schemas.microsoft.com/office/drawing/2014/main" id="{8B09C4F6-FF08-7547-96A6-2CF252949466}"/>
                  </a:ext>
                </a:extLst>
              </p:cNvPr>
              <p:cNvSpPr>
                <a:spLocks/>
              </p:cNvSpPr>
              <p:nvPr/>
            </p:nvSpPr>
            <p:spPr bwMode="auto">
              <a:xfrm flipH="1">
                <a:off x="1371872" y="2998423"/>
                <a:ext cx="342414" cy="248553"/>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98" name="Freeform 7">
                <a:extLst>
                  <a:ext uri="{FF2B5EF4-FFF2-40B4-BE49-F238E27FC236}">
                    <a16:creationId xmlns:a16="http://schemas.microsoft.com/office/drawing/2014/main" id="{BA73E5A8-BBFC-FF49-912D-ECBA9FDC08E5}"/>
                  </a:ext>
                </a:extLst>
              </p:cNvPr>
              <p:cNvSpPr>
                <a:spLocks noEditPoints="1"/>
              </p:cNvSpPr>
              <p:nvPr/>
            </p:nvSpPr>
            <p:spPr bwMode="auto">
              <a:xfrm flipH="1">
                <a:off x="1397649" y="3213810"/>
                <a:ext cx="196980" cy="77072"/>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a:p>
            </p:txBody>
          </p:sp>
          <p:sp>
            <p:nvSpPr>
              <p:cNvPr id="99" name="Freeform 8">
                <a:extLst>
                  <a:ext uri="{FF2B5EF4-FFF2-40B4-BE49-F238E27FC236}">
                    <a16:creationId xmlns:a16="http://schemas.microsoft.com/office/drawing/2014/main" id="{58EFFAEA-2610-1545-91D2-D1877AA81D30}"/>
                  </a:ext>
                </a:extLst>
              </p:cNvPr>
              <p:cNvSpPr>
                <a:spLocks/>
              </p:cNvSpPr>
              <p:nvPr/>
            </p:nvSpPr>
            <p:spPr bwMode="auto">
              <a:xfrm flipH="1">
                <a:off x="1371876" y="3337156"/>
                <a:ext cx="342415" cy="246626"/>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100" name="Freeform 9">
                <a:extLst>
                  <a:ext uri="{FF2B5EF4-FFF2-40B4-BE49-F238E27FC236}">
                    <a16:creationId xmlns:a16="http://schemas.microsoft.com/office/drawing/2014/main" id="{3F6A8DC5-03E9-4744-B0FE-50059555F8C5}"/>
                  </a:ext>
                </a:extLst>
              </p:cNvPr>
              <p:cNvSpPr>
                <a:spLocks noEditPoints="1"/>
              </p:cNvSpPr>
              <p:nvPr/>
            </p:nvSpPr>
            <p:spPr bwMode="auto">
              <a:xfrm flipH="1">
                <a:off x="1371874" y="3287451"/>
                <a:ext cx="222754" cy="73218"/>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a:p>
            </p:txBody>
          </p:sp>
          <p:sp>
            <p:nvSpPr>
              <p:cNvPr id="101" name="Freeform 11">
                <a:extLst>
                  <a:ext uri="{FF2B5EF4-FFF2-40B4-BE49-F238E27FC236}">
                    <a16:creationId xmlns:a16="http://schemas.microsoft.com/office/drawing/2014/main" id="{43486F4F-0524-D846-81AA-50C053F418B7}"/>
                  </a:ext>
                </a:extLst>
              </p:cNvPr>
              <p:cNvSpPr>
                <a:spLocks/>
              </p:cNvSpPr>
              <p:nvPr/>
            </p:nvSpPr>
            <p:spPr bwMode="auto">
              <a:xfrm flipH="1">
                <a:off x="1347021" y="3213823"/>
                <a:ext cx="174888" cy="150288"/>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a:p>
            </p:txBody>
          </p:sp>
        </p:grpSp>
      </p:grpSp>
      <p:grpSp>
        <p:nvGrpSpPr>
          <p:cNvPr id="220" name="Group 219">
            <a:extLst>
              <a:ext uri="{FF2B5EF4-FFF2-40B4-BE49-F238E27FC236}">
                <a16:creationId xmlns:a16="http://schemas.microsoft.com/office/drawing/2014/main" id="{91F50901-49DA-C44C-B954-BCA206CEAEDD}"/>
              </a:ext>
            </a:extLst>
          </p:cNvPr>
          <p:cNvGrpSpPr/>
          <p:nvPr/>
        </p:nvGrpSpPr>
        <p:grpSpPr>
          <a:xfrm flipH="1">
            <a:off x="2579948" y="3240675"/>
            <a:ext cx="4736403" cy="364249"/>
            <a:chOff x="1714600" y="2440051"/>
            <a:chExt cx="4736403" cy="364249"/>
          </a:xfrm>
        </p:grpSpPr>
        <p:sp>
          <p:nvSpPr>
            <p:cNvPr id="221" name="Rounded Rectangle 220">
              <a:extLst>
                <a:ext uri="{FF2B5EF4-FFF2-40B4-BE49-F238E27FC236}">
                  <a16:creationId xmlns:a16="http://schemas.microsoft.com/office/drawing/2014/main" id="{7A91C9DF-538E-734E-8C7A-D7EF828AE248}"/>
                </a:ext>
              </a:extLst>
            </p:cNvPr>
            <p:cNvSpPr/>
            <p:nvPr/>
          </p:nvSpPr>
          <p:spPr>
            <a:xfrm flipH="1">
              <a:off x="1714600" y="2568174"/>
              <a:ext cx="4643613" cy="9693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2" name="Group 221">
              <a:extLst>
                <a:ext uri="{FF2B5EF4-FFF2-40B4-BE49-F238E27FC236}">
                  <a16:creationId xmlns:a16="http://schemas.microsoft.com/office/drawing/2014/main" id="{5EDD37F8-AA9C-8046-9E22-02B1F1A42EEF}"/>
                </a:ext>
              </a:extLst>
            </p:cNvPr>
            <p:cNvGrpSpPr/>
            <p:nvPr/>
          </p:nvGrpSpPr>
          <p:grpSpPr>
            <a:xfrm flipH="1">
              <a:off x="6222465" y="2440051"/>
              <a:ext cx="228538" cy="364249"/>
              <a:chOff x="1347021" y="2998423"/>
              <a:chExt cx="367270" cy="585359"/>
            </a:xfrm>
          </p:grpSpPr>
          <p:sp>
            <p:nvSpPr>
              <p:cNvPr id="223" name="Freeform 6">
                <a:extLst>
                  <a:ext uri="{FF2B5EF4-FFF2-40B4-BE49-F238E27FC236}">
                    <a16:creationId xmlns:a16="http://schemas.microsoft.com/office/drawing/2014/main" id="{CBFB0EB8-54F4-1F44-BC53-7AF904F99204}"/>
                  </a:ext>
                </a:extLst>
              </p:cNvPr>
              <p:cNvSpPr>
                <a:spLocks/>
              </p:cNvSpPr>
              <p:nvPr/>
            </p:nvSpPr>
            <p:spPr bwMode="auto">
              <a:xfrm flipH="1">
                <a:off x="1371872" y="2998423"/>
                <a:ext cx="342414" cy="248553"/>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224" name="Freeform 7">
                <a:extLst>
                  <a:ext uri="{FF2B5EF4-FFF2-40B4-BE49-F238E27FC236}">
                    <a16:creationId xmlns:a16="http://schemas.microsoft.com/office/drawing/2014/main" id="{379D2EB5-47A4-1042-ADE7-3A44C78BF6CA}"/>
                  </a:ext>
                </a:extLst>
              </p:cNvPr>
              <p:cNvSpPr>
                <a:spLocks noEditPoints="1"/>
              </p:cNvSpPr>
              <p:nvPr/>
            </p:nvSpPr>
            <p:spPr bwMode="auto">
              <a:xfrm flipH="1">
                <a:off x="1397649" y="3213810"/>
                <a:ext cx="196980" cy="77072"/>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a:p>
            </p:txBody>
          </p:sp>
          <p:sp>
            <p:nvSpPr>
              <p:cNvPr id="225" name="Freeform 8">
                <a:extLst>
                  <a:ext uri="{FF2B5EF4-FFF2-40B4-BE49-F238E27FC236}">
                    <a16:creationId xmlns:a16="http://schemas.microsoft.com/office/drawing/2014/main" id="{C733A299-8C07-CD4F-B8B5-C0C6C353AA52}"/>
                  </a:ext>
                </a:extLst>
              </p:cNvPr>
              <p:cNvSpPr>
                <a:spLocks/>
              </p:cNvSpPr>
              <p:nvPr/>
            </p:nvSpPr>
            <p:spPr bwMode="auto">
              <a:xfrm flipH="1">
                <a:off x="1371876" y="3337156"/>
                <a:ext cx="342415" cy="246626"/>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226" name="Freeform 9">
                <a:extLst>
                  <a:ext uri="{FF2B5EF4-FFF2-40B4-BE49-F238E27FC236}">
                    <a16:creationId xmlns:a16="http://schemas.microsoft.com/office/drawing/2014/main" id="{3D9EDD1B-A52B-C441-BDA2-EC4E9387325E}"/>
                  </a:ext>
                </a:extLst>
              </p:cNvPr>
              <p:cNvSpPr>
                <a:spLocks noEditPoints="1"/>
              </p:cNvSpPr>
              <p:nvPr/>
            </p:nvSpPr>
            <p:spPr bwMode="auto">
              <a:xfrm flipH="1">
                <a:off x="1371874" y="3287451"/>
                <a:ext cx="222754" cy="73218"/>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a:p>
            </p:txBody>
          </p:sp>
          <p:sp>
            <p:nvSpPr>
              <p:cNvPr id="227" name="Freeform 11">
                <a:extLst>
                  <a:ext uri="{FF2B5EF4-FFF2-40B4-BE49-F238E27FC236}">
                    <a16:creationId xmlns:a16="http://schemas.microsoft.com/office/drawing/2014/main" id="{D64E94D0-7F0D-C14B-BB4F-07B9F229CCE9}"/>
                  </a:ext>
                </a:extLst>
              </p:cNvPr>
              <p:cNvSpPr>
                <a:spLocks/>
              </p:cNvSpPr>
              <p:nvPr/>
            </p:nvSpPr>
            <p:spPr bwMode="auto">
              <a:xfrm flipH="1">
                <a:off x="1347021" y="3213823"/>
                <a:ext cx="174888" cy="150288"/>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a:p>
            </p:txBody>
          </p:sp>
        </p:grpSp>
      </p:grpSp>
      <p:grpSp>
        <p:nvGrpSpPr>
          <p:cNvPr id="32" name="Group 31">
            <a:extLst>
              <a:ext uri="{FF2B5EF4-FFF2-40B4-BE49-F238E27FC236}">
                <a16:creationId xmlns:a16="http://schemas.microsoft.com/office/drawing/2014/main" id="{B824A57A-E525-0A41-83B9-470BFCE289A4}"/>
              </a:ext>
            </a:extLst>
          </p:cNvPr>
          <p:cNvGrpSpPr/>
          <p:nvPr/>
        </p:nvGrpSpPr>
        <p:grpSpPr>
          <a:xfrm>
            <a:off x="622506" y="1892012"/>
            <a:ext cx="2310068" cy="2316080"/>
            <a:chOff x="3355133" y="1362078"/>
            <a:chExt cx="2432694" cy="2439027"/>
          </a:xfrm>
        </p:grpSpPr>
        <p:grpSp>
          <p:nvGrpSpPr>
            <p:cNvPr id="28" name="Group 27">
              <a:extLst>
                <a:ext uri="{FF2B5EF4-FFF2-40B4-BE49-F238E27FC236}">
                  <a16:creationId xmlns:a16="http://schemas.microsoft.com/office/drawing/2014/main" id="{DBB6B8CD-2378-EA4A-93F2-39A6293F6011}"/>
                </a:ext>
              </a:extLst>
            </p:cNvPr>
            <p:cNvGrpSpPr/>
            <p:nvPr/>
          </p:nvGrpSpPr>
          <p:grpSpPr>
            <a:xfrm>
              <a:off x="3356173" y="2463512"/>
              <a:ext cx="2431654" cy="216473"/>
              <a:chOff x="3351647" y="2463512"/>
              <a:chExt cx="2431654" cy="216473"/>
            </a:xfrm>
          </p:grpSpPr>
          <p:grpSp>
            <p:nvGrpSpPr>
              <p:cNvPr id="128" name="Group 127">
                <a:extLst>
                  <a:ext uri="{FF2B5EF4-FFF2-40B4-BE49-F238E27FC236}">
                    <a16:creationId xmlns:a16="http://schemas.microsoft.com/office/drawing/2014/main" id="{D7EF22A3-8FBD-9A41-978C-D6261B69E72E}"/>
                  </a:ext>
                </a:extLst>
              </p:cNvPr>
              <p:cNvGrpSpPr>
                <a:grpSpLocks noChangeAspect="1"/>
              </p:cNvGrpSpPr>
              <p:nvPr/>
            </p:nvGrpSpPr>
            <p:grpSpPr>
              <a:xfrm>
                <a:off x="5272866" y="2463512"/>
                <a:ext cx="510435" cy="216473"/>
                <a:chOff x="7413625" y="908050"/>
                <a:chExt cx="1167897" cy="495300"/>
              </a:xfrm>
            </p:grpSpPr>
            <p:sp>
              <p:nvSpPr>
                <p:cNvPr id="129" name="Freeform 60">
                  <a:extLst>
                    <a:ext uri="{FF2B5EF4-FFF2-40B4-BE49-F238E27FC236}">
                      <a16:creationId xmlns:a16="http://schemas.microsoft.com/office/drawing/2014/main" id="{D68E6DEF-FB93-E346-8035-CA4B0E2FB886}"/>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30" name="Freeform 61">
                  <a:extLst>
                    <a:ext uri="{FF2B5EF4-FFF2-40B4-BE49-F238E27FC236}">
                      <a16:creationId xmlns:a16="http://schemas.microsoft.com/office/drawing/2014/main" id="{C3D1B492-5E81-304F-95DB-BAAD6BD95F6E}"/>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31" name="Freeform 62">
                  <a:extLst>
                    <a:ext uri="{FF2B5EF4-FFF2-40B4-BE49-F238E27FC236}">
                      <a16:creationId xmlns:a16="http://schemas.microsoft.com/office/drawing/2014/main" id="{9103CB29-8B28-FF47-A0A5-0A8ED4B656C1}"/>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32" name="Freeform 63">
                  <a:extLst>
                    <a:ext uri="{FF2B5EF4-FFF2-40B4-BE49-F238E27FC236}">
                      <a16:creationId xmlns:a16="http://schemas.microsoft.com/office/drawing/2014/main" id="{2F0AC4BD-C4E7-E84C-8353-958F445646D7}"/>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33" name="Freeform 64">
                  <a:extLst>
                    <a:ext uri="{FF2B5EF4-FFF2-40B4-BE49-F238E27FC236}">
                      <a16:creationId xmlns:a16="http://schemas.microsoft.com/office/drawing/2014/main" id="{AA2E45AA-1822-6A4D-80B6-1F110FE49BAC}"/>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34" name="Freeform 65">
                  <a:extLst>
                    <a:ext uri="{FF2B5EF4-FFF2-40B4-BE49-F238E27FC236}">
                      <a16:creationId xmlns:a16="http://schemas.microsoft.com/office/drawing/2014/main" id="{5D3F6217-2C46-B045-9510-9C25AB27B33D}"/>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66">
                  <a:extLst>
                    <a:ext uri="{FF2B5EF4-FFF2-40B4-BE49-F238E27FC236}">
                      <a16:creationId xmlns:a16="http://schemas.microsoft.com/office/drawing/2014/main" id="{8FB018AF-25F5-6E41-B935-7586141D622C}"/>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nvGrpSpPr>
              <p:cNvPr id="136" name="Group 135">
                <a:extLst>
                  <a:ext uri="{FF2B5EF4-FFF2-40B4-BE49-F238E27FC236}">
                    <a16:creationId xmlns:a16="http://schemas.microsoft.com/office/drawing/2014/main" id="{C96EFC8A-8EEA-A446-8964-3168AC2EFA66}"/>
                  </a:ext>
                </a:extLst>
              </p:cNvPr>
              <p:cNvGrpSpPr>
                <a:grpSpLocks noChangeAspect="1"/>
              </p:cNvGrpSpPr>
              <p:nvPr/>
            </p:nvGrpSpPr>
            <p:grpSpPr>
              <a:xfrm flipH="1">
                <a:off x="3351647" y="2463512"/>
                <a:ext cx="510435" cy="216473"/>
                <a:chOff x="7413625" y="908050"/>
                <a:chExt cx="1167897" cy="495300"/>
              </a:xfrm>
            </p:grpSpPr>
            <p:sp>
              <p:nvSpPr>
                <p:cNvPr id="137" name="Freeform 60">
                  <a:extLst>
                    <a:ext uri="{FF2B5EF4-FFF2-40B4-BE49-F238E27FC236}">
                      <a16:creationId xmlns:a16="http://schemas.microsoft.com/office/drawing/2014/main" id="{4A533444-4BB4-FF4B-A59C-C8E1FEF7A837}"/>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38" name="Freeform 61">
                  <a:extLst>
                    <a:ext uri="{FF2B5EF4-FFF2-40B4-BE49-F238E27FC236}">
                      <a16:creationId xmlns:a16="http://schemas.microsoft.com/office/drawing/2014/main" id="{4134C450-716F-B545-ACEA-A97F838C1DE1}"/>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39" name="Freeform 62">
                  <a:extLst>
                    <a:ext uri="{FF2B5EF4-FFF2-40B4-BE49-F238E27FC236}">
                      <a16:creationId xmlns:a16="http://schemas.microsoft.com/office/drawing/2014/main" id="{872B25DE-72DA-F74D-A9C6-B7CA2B74DC58}"/>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40" name="Freeform 63">
                  <a:extLst>
                    <a:ext uri="{FF2B5EF4-FFF2-40B4-BE49-F238E27FC236}">
                      <a16:creationId xmlns:a16="http://schemas.microsoft.com/office/drawing/2014/main" id="{5207B626-6517-7543-86D6-5FCF74211EC1}"/>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41" name="Freeform 64">
                  <a:extLst>
                    <a:ext uri="{FF2B5EF4-FFF2-40B4-BE49-F238E27FC236}">
                      <a16:creationId xmlns:a16="http://schemas.microsoft.com/office/drawing/2014/main" id="{E8480273-7731-4F47-8E83-A354A46FC0BA}"/>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42" name="Freeform 65">
                  <a:extLst>
                    <a:ext uri="{FF2B5EF4-FFF2-40B4-BE49-F238E27FC236}">
                      <a16:creationId xmlns:a16="http://schemas.microsoft.com/office/drawing/2014/main" id="{1B0222A4-2E49-C743-9105-EC2E0E9C8CCE}"/>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66">
                  <a:extLst>
                    <a:ext uri="{FF2B5EF4-FFF2-40B4-BE49-F238E27FC236}">
                      <a16:creationId xmlns:a16="http://schemas.microsoft.com/office/drawing/2014/main" id="{AF13579B-8FD5-254C-92D9-E13BBF0EE856}"/>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grpSp>
          <p:nvGrpSpPr>
            <p:cNvPr id="144" name="Group 143">
              <a:extLst>
                <a:ext uri="{FF2B5EF4-FFF2-40B4-BE49-F238E27FC236}">
                  <a16:creationId xmlns:a16="http://schemas.microsoft.com/office/drawing/2014/main" id="{54C88FC5-B4E0-A446-B2FD-3D371EFFDEA2}"/>
                </a:ext>
              </a:extLst>
            </p:cNvPr>
            <p:cNvGrpSpPr/>
            <p:nvPr/>
          </p:nvGrpSpPr>
          <p:grpSpPr>
            <a:xfrm rot="16200000">
              <a:off x="3356173" y="2469668"/>
              <a:ext cx="2431654" cy="216473"/>
              <a:chOff x="3351647" y="2463512"/>
              <a:chExt cx="2431654" cy="216473"/>
            </a:xfrm>
          </p:grpSpPr>
          <p:grpSp>
            <p:nvGrpSpPr>
              <p:cNvPr id="145" name="Group 144">
                <a:extLst>
                  <a:ext uri="{FF2B5EF4-FFF2-40B4-BE49-F238E27FC236}">
                    <a16:creationId xmlns:a16="http://schemas.microsoft.com/office/drawing/2014/main" id="{A6323FC0-FAE2-C642-9A5E-5FF37E58B64E}"/>
                  </a:ext>
                </a:extLst>
              </p:cNvPr>
              <p:cNvGrpSpPr>
                <a:grpSpLocks noChangeAspect="1"/>
              </p:cNvGrpSpPr>
              <p:nvPr/>
            </p:nvGrpSpPr>
            <p:grpSpPr>
              <a:xfrm>
                <a:off x="5272866" y="2463512"/>
                <a:ext cx="510435" cy="216473"/>
                <a:chOff x="7413625" y="908050"/>
                <a:chExt cx="1167897" cy="495300"/>
              </a:xfrm>
            </p:grpSpPr>
            <p:sp>
              <p:nvSpPr>
                <p:cNvPr id="154" name="Freeform 60">
                  <a:extLst>
                    <a:ext uri="{FF2B5EF4-FFF2-40B4-BE49-F238E27FC236}">
                      <a16:creationId xmlns:a16="http://schemas.microsoft.com/office/drawing/2014/main" id="{A7DDDBB9-94B4-3C40-8AC3-5A92540D7D1D}"/>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55" name="Freeform 61">
                  <a:extLst>
                    <a:ext uri="{FF2B5EF4-FFF2-40B4-BE49-F238E27FC236}">
                      <a16:creationId xmlns:a16="http://schemas.microsoft.com/office/drawing/2014/main" id="{3E03E1DB-BCE7-C348-B5FD-9F552952E00E}"/>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56" name="Freeform 62">
                  <a:extLst>
                    <a:ext uri="{FF2B5EF4-FFF2-40B4-BE49-F238E27FC236}">
                      <a16:creationId xmlns:a16="http://schemas.microsoft.com/office/drawing/2014/main" id="{C7B4F480-7CC2-BA40-AC60-2EA4AAF8CE10}"/>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57" name="Freeform 63">
                  <a:extLst>
                    <a:ext uri="{FF2B5EF4-FFF2-40B4-BE49-F238E27FC236}">
                      <a16:creationId xmlns:a16="http://schemas.microsoft.com/office/drawing/2014/main" id="{83D8B727-049D-A742-9DA1-49438F5F25FF}"/>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58" name="Freeform 64">
                  <a:extLst>
                    <a:ext uri="{FF2B5EF4-FFF2-40B4-BE49-F238E27FC236}">
                      <a16:creationId xmlns:a16="http://schemas.microsoft.com/office/drawing/2014/main" id="{7242706B-DC35-1647-8B80-50C95F7115EA}"/>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59" name="Freeform 65">
                  <a:extLst>
                    <a:ext uri="{FF2B5EF4-FFF2-40B4-BE49-F238E27FC236}">
                      <a16:creationId xmlns:a16="http://schemas.microsoft.com/office/drawing/2014/main" id="{A8A92CD9-FBD4-884D-8DFF-F7E2CEB08E64}"/>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6">
                  <a:extLst>
                    <a:ext uri="{FF2B5EF4-FFF2-40B4-BE49-F238E27FC236}">
                      <a16:creationId xmlns:a16="http://schemas.microsoft.com/office/drawing/2014/main" id="{BDBA290D-3FBB-2B46-B006-A21136C0CE8A}"/>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C7233A0F-F167-4849-94D2-04972570442B}"/>
                  </a:ext>
                </a:extLst>
              </p:cNvPr>
              <p:cNvGrpSpPr>
                <a:grpSpLocks noChangeAspect="1"/>
              </p:cNvGrpSpPr>
              <p:nvPr/>
            </p:nvGrpSpPr>
            <p:grpSpPr>
              <a:xfrm flipH="1">
                <a:off x="3351647" y="2463512"/>
                <a:ext cx="510435" cy="216473"/>
                <a:chOff x="7413625" y="908050"/>
                <a:chExt cx="1167897" cy="495300"/>
              </a:xfrm>
            </p:grpSpPr>
            <p:sp>
              <p:nvSpPr>
                <p:cNvPr id="147" name="Freeform 60">
                  <a:extLst>
                    <a:ext uri="{FF2B5EF4-FFF2-40B4-BE49-F238E27FC236}">
                      <a16:creationId xmlns:a16="http://schemas.microsoft.com/office/drawing/2014/main" id="{FFE7BB6C-3C94-D146-983E-0F9761989C5A}"/>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48" name="Freeform 61">
                  <a:extLst>
                    <a:ext uri="{FF2B5EF4-FFF2-40B4-BE49-F238E27FC236}">
                      <a16:creationId xmlns:a16="http://schemas.microsoft.com/office/drawing/2014/main" id="{8EB68058-C6CE-E646-AFFF-4B714DA3B7E5}"/>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49" name="Freeform 62">
                  <a:extLst>
                    <a:ext uri="{FF2B5EF4-FFF2-40B4-BE49-F238E27FC236}">
                      <a16:creationId xmlns:a16="http://schemas.microsoft.com/office/drawing/2014/main" id="{CEE45810-28F2-C141-8EC4-73092078DF32}"/>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50" name="Freeform 63">
                  <a:extLst>
                    <a:ext uri="{FF2B5EF4-FFF2-40B4-BE49-F238E27FC236}">
                      <a16:creationId xmlns:a16="http://schemas.microsoft.com/office/drawing/2014/main" id="{F867DFF8-D2D0-6B4A-88F5-7015D1B21F47}"/>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51" name="Freeform 64">
                  <a:extLst>
                    <a:ext uri="{FF2B5EF4-FFF2-40B4-BE49-F238E27FC236}">
                      <a16:creationId xmlns:a16="http://schemas.microsoft.com/office/drawing/2014/main" id="{155D2CBC-8344-4545-87AE-70AD8A253EE8}"/>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52" name="Freeform 65">
                  <a:extLst>
                    <a:ext uri="{FF2B5EF4-FFF2-40B4-BE49-F238E27FC236}">
                      <a16:creationId xmlns:a16="http://schemas.microsoft.com/office/drawing/2014/main" id="{0350F209-47AF-8A4B-A39B-2EEB053AA201}"/>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66">
                  <a:extLst>
                    <a:ext uri="{FF2B5EF4-FFF2-40B4-BE49-F238E27FC236}">
                      <a16:creationId xmlns:a16="http://schemas.microsoft.com/office/drawing/2014/main" id="{F21679DF-5114-7547-A3F2-D4EC87CE27A6}"/>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grpSp>
          <p:nvGrpSpPr>
            <p:cNvPr id="161" name="Group 160">
              <a:extLst>
                <a:ext uri="{FF2B5EF4-FFF2-40B4-BE49-F238E27FC236}">
                  <a16:creationId xmlns:a16="http://schemas.microsoft.com/office/drawing/2014/main" id="{404D9059-EE2C-F545-B52B-B85AC3831CBA}"/>
                </a:ext>
              </a:extLst>
            </p:cNvPr>
            <p:cNvGrpSpPr/>
            <p:nvPr/>
          </p:nvGrpSpPr>
          <p:grpSpPr>
            <a:xfrm rot="13500000">
              <a:off x="3356174" y="2477041"/>
              <a:ext cx="2431654" cy="216473"/>
              <a:chOff x="3351647" y="2463512"/>
              <a:chExt cx="2431654" cy="216473"/>
            </a:xfrm>
          </p:grpSpPr>
          <p:grpSp>
            <p:nvGrpSpPr>
              <p:cNvPr id="162" name="Group 161">
                <a:extLst>
                  <a:ext uri="{FF2B5EF4-FFF2-40B4-BE49-F238E27FC236}">
                    <a16:creationId xmlns:a16="http://schemas.microsoft.com/office/drawing/2014/main" id="{E5941BA9-048C-1648-B085-AE1D02476B8F}"/>
                  </a:ext>
                </a:extLst>
              </p:cNvPr>
              <p:cNvGrpSpPr>
                <a:grpSpLocks noChangeAspect="1"/>
              </p:cNvGrpSpPr>
              <p:nvPr/>
            </p:nvGrpSpPr>
            <p:grpSpPr>
              <a:xfrm>
                <a:off x="5272866" y="2463512"/>
                <a:ext cx="510435" cy="216473"/>
                <a:chOff x="7413625" y="908050"/>
                <a:chExt cx="1167897" cy="495300"/>
              </a:xfrm>
            </p:grpSpPr>
            <p:sp>
              <p:nvSpPr>
                <p:cNvPr id="171" name="Freeform 60">
                  <a:extLst>
                    <a:ext uri="{FF2B5EF4-FFF2-40B4-BE49-F238E27FC236}">
                      <a16:creationId xmlns:a16="http://schemas.microsoft.com/office/drawing/2014/main" id="{322509E4-EC47-074C-A2DE-B80EEA24690C}"/>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72" name="Freeform 61">
                  <a:extLst>
                    <a:ext uri="{FF2B5EF4-FFF2-40B4-BE49-F238E27FC236}">
                      <a16:creationId xmlns:a16="http://schemas.microsoft.com/office/drawing/2014/main" id="{87F61298-4CF8-384B-AB0C-3E858174351F}"/>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73" name="Freeform 62">
                  <a:extLst>
                    <a:ext uri="{FF2B5EF4-FFF2-40B4-BE49-F238E27FC236}">
                      <a16:creationId xmlns:a16="http://schemas.microsoft.com/office/drawing/2014/main" id="{CBE13745-E348-684A-A9E0-EF572F9287E4}"/>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74" name="Freeform 63">
                  <a:extLst>
                    <a:ext uri="{FF2B5EF4-FFF2-40B4-BE49-F238E27FC236}">
                      <a16:creationId xmlns:a16="http://schemas.microsoft.com/office/drawing/2014/main" id="{F333B299-BBF2-4C41-90BB-1AC0325698C4}"/>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75" name="Freeform 64">
                  <a:extLst>
                    <a:ext uri="{FF2B5EF4-FFF2-40B4-BE49-F238E27FC236}">
                      <a16:creationId xmlns:a16="http://schemas.microsoft.com/office/drawing/2014/main" id="{D0645ABD-24E3-0543-943E-7F9BB63ECD2B}"/>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76" name="Freeform 65">
                  <a:extLst>
                    <a:ext uri="{FF2B5EF4-FFF2-40B4-BE49-F238E27FC236}">
                      <a16:creationId xmlns:a16="http://schemas.microsoft.com/office/drawing/2014/main" id="{7BE556C6-B858-9F40-98A7-18C5BEB0FA80}"/>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66">
                  <a:extLst>
                    <a:ext uri="{FF2B5EF4-FFF2-40B4-BE49-F238E27FC236}">
                      <a16:creationId xmlns:a16="http://schemas.microsoft.com/office/drawing/2014/main" id="{18BC91D2-64D4-4B42-BCD6-EC134CA1982D}"/>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nvGrpSpPr>
              <p:cNvPr id="163" name="Group 162">
                <a:extLst>
                  <a:ext uri="{FF2B5EF4-FFF2-40B4-BE49-F238E27FC236}">
                    <a16:creationId xmlns:a16="http://schemas.microsoft.com/office/drawing/2014/main" id="{410BD17E-1213-AD43-9479-D5BB757B5C25}"/>
                  </a:ext>
                </a:extLst>
              </p:cNvPr>
              <p:cNvGrpSpPr>
                <a:grpSpLocks noChangeAspect="1"/>
              </p:cNvGrpSpPr>
              <p:nvPr/>
            </p:nvGrpSpPr>
            <p:grpSpPr>
              <a:xfrm flipH="1">
                <a:off x="3351647" y="2463512"/>
                <a:ext cx="510435" cy="216473"/>
                <a:chOff x="7413625" y="908050"/>
                <a:chExt cx="1167897" cy="495300"/>
              </a:xfrm>
            </p:grpSpPr>
            <p:sp>
              <p:nvSpPr>
                <p:cNvPr id="164" name="Freeform 60">
                  <a:extLst>
                    <a:ext uri="{FF2B5EF4-FFF2-40B4-BE49-F238E27FC236}">
                      <a16:creationId xmlns:a16="http://schemas.microsoft.com/office/drawing/2014/main" id="{19179F09-119F-034B-AE64-91A08A7D273C}"/>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65" name="Freeform 61">
                  <a:extLst>
                    <a:ext uri="{FF2B5EF4-FFF2-40B4-BE49-F238E27FC236}">
                      <a16:creationId xmlns:a16="http://schemas.microsoft.com/office/drawing/2014/main" id="{1086C418-5DC7-2C4B-B021-A561F389ACD5}"/>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66" name="Freeform 62">
                  <a:extLst>
                    <a:ext uri="{FF2B5EF4-FFF2-40B4-BE49-F238E27FC236}">
                      <a16:creationId xmlns:a16="http://schemas.microsoft.com/office/drawing/2014/main" id="{6BEB78F5-3CAA-CD48-B5F5-55971587B88F}"/>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67" name="Freeform 63">
                  <a:extLst>
                    <a:ext uri="{FF2B5EF4-FFF2-40B4-BE49-F238E27FC236}">
                      <a16:creationId xmlns:a16="http://schemas.microsoft.com/office/drawing/2014/main" id="{BAF6370A-AB94-7A40-A325-F27319B4E777}"/>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68" name="Freeform 64">
                  <a:extLst>
                    <a:ext uri="{FF2B5EF4-FFF2-40B4-BE49-F238E27FC236}">
                      <a16:creationId xmlns:a16="http://schemas.microsoft.com/office/drawing/2014/main" id="{EA8B9EC5-0402-1148-9AD0-395ED146F18A}"/>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69" name="Freeform 65">
                  <a:extLst>
                    <a:ext uri="{FF2B5EF4-FFF2-40B4-BE49-F238E27FC236}">
                      <a16:creationId xmlns:a16="http://schemas.microsoft.com/office/drawing/2014/main" id="{3644E5DC-5997-744B-90A8-327A5ECA6990}"/>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66">
                  <a:extLst>
                    <a:ext uri="{FF2B5EF4-FFF2-40B4-BE49-F238E27FC236}">
                      <a16:creationId xmlns:a16="http://schemas.microsoft.com/office/drawing/2014/main" id="{5AFC40DE-BA41-AB4E-90BC-4FEA1F6792E1}"/>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grpSp>
          <p:nvGrpSpPr>
            <p:cNvPr id="195" name="Group 194">
              <a:extLst>
                <a:ext uri="{FF2B5EF4-FFF2-40B4-BE49-F238E27FC236}">
                  <a16:creationId xmlns:a16="http://schemas.microsoft.com/office/drawing/2014/main" id="{E9096AEB-4265-584D-98A8-88A0BFD51116}"/>
                </a:ext>
              </a:extLst>
            </p:cNvPr>
            <p:cNvGrpSpPr/>
            <p:nvPr/>
          </p:nvGrpSpPr>
          <p:grpSpPr>
            <a:xfrm rot="18900000">
              <a:off x="3355133" y="2466418"/>
              <a:ext cx="2431654" cy="216473"/>
              <a:chOff x="3351647" y="2463512"/>
              <a:chExt cx="2431654" cy="216473"/>
            </a:xfrm>
          </p:grpSpPr>
          <p:grpSp>
            <p:nvGrpSpPr>
              <p:cNvPr id="196" name="Group 195">
                <a:extLst>
                  <a:ext uri="{FF2B5EF4-FFF2-40B4-BE49-F238E27FC236}">
                    <a16:creationId xmlns:a16="http://schemas.microsoft.com/office/drawing/2014/main" id="{82FAC34F-36C0-5E4D-A53D-C36DA48D7D44}"/>
                  </a:ext>
                </a:extLst>
              </p:cNvPr>
              <p:cNvGrpSpPr>
                <a:grpSpLocks noChangeAspect="1"/>
              </p:cNvGrpSpPr>
              <p:nvPr/>
            </p:nvGrpSpPr>
            <p:grpSpPr>
              <a:xfrm>
                <a:off x="5272866" y="2463512"/>
                <a:ext cx="510435" cy="216473"/>
                <a:chOff x="7413625" y="908050"/>
                <a:chExt cx="1167897" cy="495300"/>
              </a:xfrm>
            </p:grpSpPr>
            <p:sp>
              <p:nvSpPr>
                <p:cNvPr id="205" name="Freeform 60">
                  <a:extLst>
                    <a:ext uri="{FF2B5EF4-FFF2-40B4-BE49-F238E27FC236}">
                      <a16:creationId xmlns:a16="http://schemas.microsoft.com/office/drawing/2014/main" id="{63AC986F-B980-3A43-B34A-12242EBEF0BD}"/>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06" name="Freeform 61">
                  <a:extLst>
                    <a:ext uri="{FF2B5EF4-FFF2-40B4-BE49-F238E27FC236}">
                      <a16:creationId xmlns:a16="http://schemas.microsoft.com/office/drawing/2014/main" id="{C86FC716-B734-3742-9ED7-9F9DCEA0BC19}"/>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07" name="Freeform 62">
                  <a:extLst>
                    <a:ext uri="{FF2B5EF4-FFF2-40B4-BE49-F238E27FC236}">
                      <a16:creationId xmlns:a16="http://schemas.microsoft.com/office/drawing/2014/main" id="{DDF64D64-D428-4C4B-9CEE-530F16353B13}"/>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208" name="Freeform 63">
                  <a:extLst>
                    <a:ext uri="{FF2B5EF4-FFF2-40B4-BE49-F238E27FC236}">
                      <a16:creationId xmlns:a16="http://schemas.microsoft.com/office/drawing/2014/main" id="{CC057377-E393-DD4C-8363-B87BBAB11846}"/>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09" name="Freeform 64">
                  <a:extLst>
                    <a:ext uri="{FF2B5EF4-FFF2-40B4-BE49-F238E27FC236}">
                      <a16:creationId xmlns:a16="http://schemas.microsoft.com/office/drawing/2014/main" id="{32678B8A-C0A3-E14B-9B47-66A72BBECEB0}"/>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210" name="Freeform 65">
                  <a:extLst>
                    <a:ext uri="{FF2B5EF4-FFF2-40B4-BE49-F238E27FC236}">
                      <a16:creationId xmlns:a16="http://schemas.microsoft.com/office/drawing/2014/main" id="{63B0F94D-8F3E-BA44-9D28-986B1773AFAD}"/>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66">
                  <a:extLst>
                    <a:ext uri="{FF2B5EF4-FFF2-40B4-BE49-F238E27FC236}">
                      <a16:creationId xmlns:a16="http://schemas.microsoft.com/office/drawing/2014/main" id="{1203BDC1-5CC8-F346-AB1B-BF9B3BD3D0A7}"/>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nvGrpSpPr>
              <p:cNvPr id="197" name="Group 196">
                <a:extLst>
                  <a:ext uri="{FF2B5EF4-FFF2-40B4-BE49-F238E27FC236}">
                    <a16:creationId xmlns:a16="http://schemas.microsoft.com/office/drawing/2014/main" id="{4C69262D-9466-1949-AE8E-FECF25AB3B00}"/>
                  </a:ext>
                </a:extLst>
              </p:cNvPr>
              <p:cNvGrpSpPr>
                <a:grpSpLocks noChangeAspect="1"/>
              </p:cNvGrpSpPr>
              <p:nvPr/>
            </p:nvGrpSpPr>
            <p:grpSpPr>
              <a:xfrm flipH="1">
                <a:off x="3351647" y="2463512"/>
                <a:ext cx="510435" cy="216473"/>
                <a:chOff x="7413625" y="908050"/>
                <a:chExt cx="1167897" cy="495300"/>
              </a:xfrm>
            </p:grpSpPr>
            <p:sp>
              <p:nvSpPr>
                <p:cNvPr id="198" name="Freeform 60">
                  <a:extLst>
                    <a:ext uri="{FF2B5EF4-FFF2-40B4-BE49-F238E27FC236}">
                      <a16:creationId xmlns:a16="http://schemas.microsoft.com/office/drawing/2014/main" id="{AD61D873-96C4-AB46-B039-B2BA9C929E52}"/>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99" name="Freeform 61">
                  <a:extLst>
                    <a:ext uri="{FF2B5EF4-FFF2-40B4-BE49-F238E27FC236}">
                      <a16:creationId xmlns:a16="http://schemas.microsoft.com/office/drawing/2014/main" id="{C311A9EA-095E-8349-8255-6237A697F0D2}"/>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00" name="Freeform 62">
                  <a:extLst>
                    <a:ext uri="{FF2B5EF4-FFF2-40B4-BE49-F238E27FC236}">
                      <a16:creationId xmlns:a16="http://schemas.microsoft.com/office/drawing/2014/main" id="{47CE830D-6142-F94A-A078-7DA7FC2EDCDB}"/>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201" name="Freeform 63">
                  <a:extLst>
                    <a:ext uri="{FF2B5EF4-FFF2-40B4-BE49-F238E27FC236}">
                      <a16:creationId xmlns:a16="http://schemas.microsoft.com/office/drawing/2014/main" id="{2F35F4B5-4C37-BE42-B802-3FFE5714D7CA}"/>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02" name="Freeform 64">
                  <a:extLst>
                    <a:ext uri="{FF2B5EF4-FFF2-40B4-BE49-F238E27FC236}">
                      <a16:creationId xmlns:a16="http://schemas.microsoft.com/office/drawing/2014/main" id="{2EFC335A-8DCE-454E-84B7-FF5365D45053}"/>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203" name="Freeform 65">
                  <a:extLst>
                    <a:ext uri="{FF2B5EF4-FFF2-40B4-BE49-F238E27FC236}">
                      <a16:creationId xmlns:a16="http://schemas.microsoft.com/office/drawing/2014/main" id="{EB50F7DF-5D17-B44E-8351-DF309E31E460}"/>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6">
                  <a:extLst>
                    <a:ext uri="{FF2B5EF4-FFF2-40B4-BE49-F238E27FC236}">
                      <a16:creationId xmlns:a16="http://schemas.microsoft.com/office/drawing/2014/main" id="{1AA23F88-201F-9440-828D-E625E041F7A1}"/>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grpSp>
          <p:nvGrpSpPr>
            <p:cNvPr id="105" name="Group 104">
              <a:extLst>
                <a:ext uri="{FF2B5EF4-FFF2-40B4-BE49-F238E27FC236}">
                  <a16:creationId xmlns:a16="http://schemas.microsoft.com/office/drawing/2014/main" id="{8352A6F7-74DE-244D-9FF6-766092AFB593}"/>
                </a:ext>
              </a:extLst>
            </p:cNvPr>
            <p:cNvGrpSpPr/>
            <p:nvPr/>
          </p:nvGrpSpPr>
          <p:grpSpPr>
            <a:xfrm>
              <a:off x="3668625" y="1668371"/>
              <a:ext cx="1806752" cy="1806758"/>
              <a:chOff x="3119641" y="1416189"/>
              <a:chExt cx="507244" cy="507244"/>
            </a:xfrm>
          </p:grpSpPr>
          <p:sp>
            <p:nvSpPr>
              <p:cNvPr id="121" name="Oval 120">
                <a:extLst>
                  <a:ext uri="{FF2B5EF4-FFF2-40B4-BE49-F238E27FC236}">
                    <a16:creationId xmlns:a16="http://schemas.microsoft.com/office/drawing/2014/main" id="{1E537C20-D4E3-D140-A9A9-906C42FB40B1}"/>
                  </a:ext>
                </a:extLst>
              </p:cNvPr>
              <p:cNvSpPr/>
              <p:nvPr/>
            </p:nvSpPr>
            <p:spPr>
              <a:xfrm>
                <a:off x="3119641" y="1416189"/>
                <a:ext cx="507244" cy="50724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2" name="Group 121">
                <a:extLst>
                  <a:ext uri="{FF2B5EF4-FFF2-40B4-BE49-F238E27FC236}">
                    <a16:creationId xmlns:a16="http://schemas.microsoft.com/office/drawing/2014/main" id="{B192634D-9B34-D645-9AC0-0A4C9210404C}"/>
                  </a:ext>
                </a:extLst>
              </p:cNvPr>
              <p:cNvGrpSpPr/>
              <p:nvPr/>
            </p:nvGrpSpPr>
            <p:grpSpPr>
              <a:xfrm>
                <a:off x="3179583" y="1476131"/>
                <a:ext cx="387360" cy="387360"/>
                <a:chOff x="2652535" y="-3571486"/>
                <a:chExt cx="4882348" cy="4882348"/>
              </a:xfrm>
              <a:solidFill>
                <a:schemeClr val="bg2"/>
              </a:solidFill>
            </p:grpSpPr>
            <p:sp>
              <p:nvSpPr>
                <p:cNvPr id="123" name="Freeform: Shape 17">
                  <a:extLst>
                    <a:ext uri="{FF2B5EF4-FFF2-40B4-BE49-F238E27FC236}">
                      <a16:creationId xmlns:a16="http://schemas.microsoft.com/office/drawing/2014/main" id="{841F2FD5-A49A-1D43-9850-48EF05890F70}"/>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24" name="Freeform: Shape 18">
                  <a:extLst>
                    <a:ext uri="{FF2B5EF4-FFF2-40B4-BE49-F238E27FC236}">
                      <a16:creationId xmlns:a16="http://schemas.microsoft.com/office/drawing/2014/main" id="{00418B04-AF96-6548-8C0E-689D6D5E8F7A}"/>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25" name="Group 124">
                  <a:extLst>
                    <a:ext uri="{FF2B5EF4-FFF2-40B4-BE49-F238E27FC236}">
                      <a16:creationId xmlns:a16="http://schemas.microsoft.com/office/drawing/2014/main" id="{E874AB3A-F39A-774F-B906-E8C2D6E3556D}"/>
                    </a:ext>
                  </a:extLst>
                </p:cNvPr>
                <p:cNvGrpSpPr/>
                <p:nvPr/>
              </p:nvGrpSpPr>
              <p:grpSpPr>
                <a:xfrm rot="5400000">
                  <a:off x="4197485" y="-3571486"/>
                  <a:ext cx="1792447" cy="4882348"/>
                  <a:chOff x="4197485" y="-3571486"/>
                  <a:chExt cx="1792447" cy="4882348"/>
                </a:xfrm>
                <a:grpFill/>
              </p:grpSpPr>
              <p:sp>
                <p:nvSpPr>
                  <p:cNvPr id="126" name="Freeform: Shape 20">
                    <a:extLst>
                      <a:ext uri="{FF2B5EF4-FFF2-40B4-BE49-F238E27FC236}">
                        <a16:creationId xmlns:a16="http://schemas.microsoft.com/office/drawing/2014/main" id="{4D623DB8-FDB2-244E-A6E0-E24939E6D72A}"/>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27" name="Freeform: Shape 21">
                    <a:extLst>
                      <a:ext uri="{FF2B5EF4-FFF2-40B4-BE49-F238E27FC236}">
                        <a16:creationId xmlns:a16="http://schemas.microsoft.com/office/drawing/2014/main" id="{A5DB5EFA-B3C3-6B44-9E94-28EE3CDFD83E}"/>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grpSp>
        <p:nvGrpSpPr>
          <p:cNvPr id="7" name="Group 6">
            <a:extLst>
              <a:ext uri="{FF2B5EF4-FFF2-40B4-BE49-F238E27FC236}">
                <a16:creationId xmlns:a16="http://schemas.microsoft.com/office/drawing/2014/main" id="{E47DA04E-96E5-2743-93D6-F815EAF12562}"/>
              </a:ext>
            </a:extLst>
          </p:cNvPr>
          <p:cNvGrpSpPr/>
          <p:nvPr/>
        </p:nvGrpSpPr>
        <p:grpSpPr>
          <a:xfrm>
            <a:off x="6167061" y="2059023"/>
            <a:ext cx="2216720" cy="1927785"/>
            <a:chOff x="5726555" y="2059865"/>
            <a:chExt cx="2216720" cy="1927785"/>
          </a:xfrm>
        </p:grpSpPr>
        <p:sp>
          <p:nvSpPr>
            <p:cNvPr id="53" name="Rectangle: Rounded Corners 3">
              <a:extLst>
                <a:ext uri="{FF2B5EF4-FFF2-40B4-BE49-F238E27FC236}">
                  <a16:creationId xmlns:a16="http://schemas.microsoft.com/office/drawing/2014/main" id="{394C1E63-74DB-8D46-8479-D751A3CD6220}"/>
                </a:ext>
              </a:extLst>
            </p:cNvPr>
            <p:cNvSpPr/>
            <p:nvPr/>
          </p:nvSpPr>
          <p:spPr>
            <a:xfrm>
              <a:off x="5726555" y="2290298"/>
              <a:ext cx="2216720" cy="1697352"/>
            </a:xfrm>
            <a:prstGeom prst="roundRect">
              <a:avLst>
                <a:gd name="adj" fmla="val 6017"/>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44000" rIns="0" bIns="46800" rtlCol="0" anchor="t" anchorCtr="0"/>
            <a:lstStyle/>
            <a:p>
              <a:pPr>
                <a:spcAft>
                  <a:spcPts val="600"/>
                </a:spcAft>
              </a:pPr>
              <a:endParaRPr lang="en-US" sz="1000" dirty="0">
                <a:solidFill>
                  <a:schemeClr val="tx1"/>
                </a:solidFill>
                <a:ea typeface="ＭＳ Ｐゴシック" charset="0"/>
              </a:endParaRPr>
            </a:p>
          </p:txBody>
        </p:sp>
        <p:sp>
          <p:nvSpPr>
            <p:cNvPr id="55" name="Rectangle: Rounded Corners 3">
              <a:extLst>
                <a:ext uri="{FF2B5EF4-FFF2-40B4-BE49-F238E27FC236}">
                  <a16:creationId xmlns:a16="http://schemas.microsoft.com/office/drawing/2014/main" id="{014EF302-113E-5642-8819-68D120A8CF79}"/>
                </a:ext>
              </a:extLst>
            </p:cNvPr>
            <p:cNvSpPr/>
            <p:nvPr/>
          </p:nvSpPr>
          <p:spPr>
            <a:xfrm>
              <a:off x="5726555" y="2059865"/>
              <a:ext cx="2216720" cy="303028"/>
            </a:xfrm>
            <a:prstGeom prst="round2SameRect">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dirty="0">
                  <a:solidFill>
                    <a:schemeClr val="tx1"/>
                  </a:solidFill>
                  <a:ea typeface="ＭＳ Ｐゴシック" charset="0"/>
                </a:rPr>
                <a:t>DDoS Solution Partners</a:t>
              </a:r>
            </a:p>
          </p:txBody>
        </p:sp>
        <p:pic>
          <p:nvPicPr>
            <p:cNvPr id="6" name="Picture 5">
              <a:extLst>
                <a:ext uri="{FF2B5EF4-FFF2-40B4-BE49-F238E27FC236}">
                  <a16:creationId xmlns:a16="http://schemas.microsoft.com/office/drawing/2014/main" id="{57E664FF-BE7D-0A49-B1F0-F71161CB89C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882640" y="2803631"/>
              <a:ext cx="1863287" cy="1103513"/>
            </a:xfrm>
            <a:prstGeom prst="rect">
              <a:avLst/>
            </a:prstGeom>
          </p:spPr>
        </p:pic>
      </p:grpSp>
      <p:grpSp>
        <p:nvGrpSpPr>
          <p:cNvPr id="110" name="Group 109">
            <a:extLst>
              <a:ext uri="{FF2B5EF4-FFF2-40B4-BE49-F238E27FC236}">
                <a16:creationId xmlns:a16="http://schemas.microsoft.com/office/drawing/2014/main" id="{5D5C032C-B677-714D-9F64-2FBF96A346B3}"/>
              </a:ext>
            </a:extLst>
          </p:cNvPr>
          <p:cNvGrpSpPr/>
          <p:nvPr/>
        </p:nvGrpSpPr>
        <p:grpSpPr>
          <a:xfrm>
            <a:off x="1364666" y="3553356"/>
            <a:ext cx="823061" cy="690384"/>
            <a:chOff x="204332" y="2984658"/>
            <a:chExt cx="823061" cy="690384"/>
          </a:xfrm>
        </p:grpSpPr>
        <p:sp>
          <p:nvSpPr>
            <p:cNvPr id="111" name="Freeform 25">
              <a:extLst>
                <a:ext uri="{FF2B5EF4-FFF2-40B4-BE49-F238E27FC236}">
                  <a16:creationId xmlns:a16="http://schemas.microsoft.com/office/drawing/2014/main" id="{AF261797-D7FB-9F46-9807-86A8212C73D0}"/>
                </a:ext>
              </a:extLst>
            </p:cNvPr>
            <p:cNvSpPr>
              <a:spLocks/>
            </p:cNvSpPr>
            <p:nvPr/>
          </p:nvSpPr>
          <p:spPr bwMode="auto">
            <a:xfrm>
              <a:off x="204332" y="2984658"/>
              <a:ext cx="823061" cy="690384"/>
            </a:xfrm>
            <a:custGeom>
              <a:avLst/>
              <a:gdLst>
                <a:gd name="T0" fmla="*/ 19769 w 21912"/>
                <a:gd name="T1" fmla="*/ 18405 h 18405"/>
                <a:gd name="T2" fmla="*/ 21129 w 21912"/>
                <a:gd name="T3" fmla="*/ 16013 h 18405"/>
                <a:gd name="T4" fmla="*/ 12380 w 21912"/>
                <a:gd name="T5" fmla="*/ 1315 h 18405"/>
                <a:gd name="T6" fmla="*/ 9533 w 21912"/>
                <a:gd name="T7" fmla="*/ 1315 h 18405"/>
                <a:gd name="T8" fmla="*/ 783 w 21912"/>
                <a:gd name="T9" fmla="*/ 16013 h 18405"/>
                <a:gd name="T10" fmla="*/ 2143 w 21912"/>
                <a:gd name="T11" fmla="*/ 18405 h 18405"/>
                <a:gd name="T12" fmla="*/ 19769 w 21912"/>
                <a:gd name="T13" fmla="*/ 18405 h 18405"/>
              </a:gdLst>
              <a:ahLst/>
              <a:cxnLst>
                <a:cxn ang="0">
                  <a:pos x="T0" y="T1"/>
                </a:cxn>
                <a:cxn ang="0">
                  <a:pos x="T2" y="T3"/>
                </a:cxn>
                <a:cxn ang="0">
                  <a:pos x="T4" y="T5"/>
                </a:cxn>
                <a:cxn ang="0">
                  <a:pos x="T6" y="T7"/>
                </a:cxn>
                <a:cxn ang="0">
                  <a:pos x="T8" y="T9"/>
                </a:cxn>
                <a:cxn ang="0">
                  <a:pos x="T10" y="T11"/>
                </a:cxn>
                <a:cxn ang="0">
                  <a:pos x="T12" y="T13"/>
                </a:cxn>
              </a:cxnLst>
              <a:rect l="0" t="0" r="r" b="b"/>
              <a:pathLst>
                <a:path w="21912" h="18405">
                  <a:moveTo>
                    <a:pt x="19769" y="18405"/>
                  </a:moveTo>
                  <a:cubicBezTo>
                    <a:pt x="21300" y="18405"/>
                    <a:pt x="21912" y="17329"/>
                    <a:pt x="21129" y="16013"/>
                  </a:cubicBezTo>
                  <a:cubicBezTo>
                    <a:pt x="12380" y="1315"/>
                    <a:pt x="12380" y="1315"/>
                    <a:pt x="12380" y="1315"/>
                  </a:cubicBezTo>
                  <a:cubicBezTo>
                    <a:pt x="11597" y="0"/>
                    <a:pt x="10316" y="0"/>
                    <a:pt x="9533" y="1315"/>
                  </a:cubicBezTo>
                  <a:cubicBezTo>
                    <a:pt x="783" y="16013"/>
                    <a:pt x="783" y="16013"/>
                    <a:pt x="783" y="16013"/>
                  </a:cubicBezTo>
                  <a:cubicBezTo>
                    <a:pt x="0" y="17329"/>
                    <a:pt x="612" y="18405"/>
                    <a:pt x="2143" y="18405"/>
                  </a:cubicBezTo>
                  <a:lnTo>
                    <a:pt x="19769" y="18405"/>
                  </a:lnTo>
                  <a:close/>
                </a:path>
              </a:pathLst>
            </a:custGeom>
            <a:solidFill>
              <a:srgbClr val="FBAB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27">
              <a:extLst>
                <a:ext uri="{FF2B5EF4-FFF2-40B4-BE49-F238E27FC236}">
                  <a16:creationId xmlns:a16="http://schemas.microsoft.com/office/drawing/2014/main" id="{20E723C1-E5A8-134C-8F5B-F1C1712B2CE9}"/>
                </a:ext>
              </a:extLst>
            </p:cNvPr>
            <p:cNvSpPr>
              <a:spLocks noEditPoints="1"/>
            </p:cNvSpPr>
            <p:nvPr/>
          </p:nvSpPr>
          <p:spPr bwMode="auto">
            <a:xfrm>
              <a:off x="583613" y="3184923"/>
              <a:ext cx="64498" cy="412724"/>
            </a:xfrm>
            <a:custGeom>
              <a:avLst/>
              <a:gdLst>
                <a:gd name="T0" fmla="*/ 926 w 926"/>
                <a:gd name="T1" fmla="*/ 462 h 5926"/>
                <a:gd name="T2" fmla="*/ 926 w 926"/>
                <a:gd name="T3" fmla="*/ 4166 h 5926"/>
                <a:gd name="T4" fmla="*/ 463 w 926"/>
                <a:gd name="T5" fmla="*/ 4629 h 5926"/>
                <a:gd name="T6" fmla="*/ 0 w 926"/>
                <a:gd name="T7" fmla="*/ 4166 h 5926"/>
                <a:gd name="T8" fmla="*/ 0 w 926"/>
                <a:gd name="T9" fmla="*/ 462 h 5926"/>
                <a:gd name="T10" fmla="*/ 463 w 926"/>
                <a:gd name="T11" fmla="*/ 0 h 5926"/>
                <a:gd name="T12" fmla="*/ 926 w 926"/>
                <a:gd name="T13" fmla="*/ 462 h 5926"/>
                <a:gd name="T14" fmla="*/ 463 w 926"/>
                <a:gd name="T15" fmla="*/ 5020 h 5926"/>
                <a:gd name="T16" fmla="*/ 10 w 926"/>
                <a:gd name="T17" fmla="*/ 5473 h 5926"/>
                <a:gd name="T18" fmla="*/ 463 w 926"/>
                <a:gd name="T19" fmla="*/ 5926 h 5926"/>
                <a:gd name="T20" fmla="*/ 915 w 926"/>
                <a:gd name="T21" fmla="*/ 5473 h 5926"/>
                <a:gd name="T22" fmla="*/ 463 w 926"/>
                <a:gd name="T23" fmla="*/ 5020 h 5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6" h="5926">
                  <a:moveTo>
                    <a:pt x="926" y="462"/>
                  </a:moveTo>
                  <a:cubicBezTo>
                    <a:pt x="926" y="4166"/>
                    <a:pt x="926" y="4166"/>
                    <a:pt x="926" y="4166"/>
                  </a:cubicBezTo>
                  <a:cubicBezTo>
                    <a:pt x="926" y="4430"/>
                    <a:pt x="727" y="4629"/>
                    <a:pt x="463" y="4629"/>
                  </a:cubicBezTo>
                  <a:cubicBezTo>
                    <a:pt x="198" y="4629"/>
                    <a:pt x="0" y="4430"/>
                    <a:pt x="0" y="4166"/>
                  </a:cubicBezTo>
                  <a:cubicBezTo>
                    <a:pt x="0" y="462"/>
                    <a:pt x="0" y="462"/>
                    <a:pt x="0" y="462"/>
                  </a:cubicBezTo>
                  <a:cubicBezTo>
                    <a:pt x="0" y="198"/>
                    <a:pt x="198" y="0"/>
                    <a:pt x="463" y="0"/>
                  </a:cubicBezTo>
                  <a:cubicBezTo>
                    <a:pt x="727" y="0"/>
                    <a:pt x="926" y="198"/>
                    <a:pt x="926" y="462"/>
                  </a:cubicBezTo>
                  <a:close/>
                  <a:moveTo>
                    <a:pt x="463" y="5020"/>
                  </a:moveTo>
                  <a:cubicBezTo>
                    <a:pt x="213" y="5020"/>
                    <a:pt x="10" y="5223"/>
                    <a:pt x="10" y="5473"/>
                  </a:cubicBezTo>
                  <a:cubicBezTo>
                    <a:pt x="10" y="5723"/>
                    <a:pt x="213" y="5926"/>
                    <a:pt x="463" y="5926"/>
                  </a:cubicBezTo>
                  <a:cubicBezTo>
                    <a:pt x="713" y="5926"/>
                    <a:pt x="915" y="5723"/>
                    <a:pt x="915" y="5473"/>
                  </a:cubicBezTo>
                  <a:cubicBezTo>
                    <a:pt x="915" y="5223"/>
                    <a:pt x="713" y="5020"/>
                    <a:pt x="463" y="5020"/>
                  </a:cubicBezTo>
                  <a:close/>
                </a:path>
              </a:pathLst>
            </a:custGeom>
            <a:solidFill>
              <a:srgbClr val="E21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 name="Picture 2">
            <a:extLst>
              <a:ext uri="{FF2B5EF4-FFF2-40B4-BE49-F238E27FC236}">
                <a16:creationId xmlns:a16="http://schemas.microsoft.com/office/drawing/2014/main" id="{918E580C-79D6-1546-8128-97362F1A7FF8}"/>
              </a:ext>
            </a:extLst>
          </p:cNvPr>
          <p:cNvPicPr>
            <a:picLocks noChangeAspect="1"/>
          </p:cNvPicPr>
          <p:nvPr/>
        </p:nvPicPr>
        <p:blipFill>
          <a:blip r:embed="rId4"/>
          <a:stretch>
            <a:fillRect/>
          </a:stretch>
        </p:blipFill>
        <p:spPr>
          <a:xfrm>
            <a:off x="6359841" y="2572060"/>
            <a:ext cx="1838496" cy="257389"/>
          </a:xfrm>
          <a:prstGeom prst="rect">
            <a:avLst/>
          </a:prstGeom>
        </p:spPr>
      </p:pic>
    </p:spTree>
    <p:extLst>
      <p:ext uri="{BB962C8B-B14F-4D97-AF65-F5344CB8AC3E}">
        <p14:creationId xmlns:p14="http://schemas.microsoft.com/office/powerpoint/2010/main" val="24745984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FA982-0986-4B67-ACB9-95BA45754083}"/>
              </a:ext>
            </a:extLst>
          </p:cNvPr>
          <p:cNvSpPr>
            <a:spLocks noGrp="1"/>
          </p:cNvSpPr>
          <p:nvPr>
            <p:ph type="ctrTitle"/>
          </p:nvPr>
        </p:nvSpPr>
        <p:spPr/>
        <p:txBody>
          <a:bodyPr/>
          <a:lstStyle/>
          <a:p>
            <a:r>
              <a:rPr lang="en-ZA" dirty="0"/>
              <a:t>Data </a:t>
            </a:r>
            <a:r>
              <a:rPr lang="en-ZA" dirty="0" err="1"/>
              <a:t>Center</a:t>
            </a:r>
            <a:endParaRPr lang="en-ZA" dirty="0"/>
          </a:p>
        </p:txBody>
      </p:sp>
    </p:spTree>
    <p:extLst>
      <p:ext uri="{BB962C8B-B14F-4D97-AF65-F5344CB8AC3E}">
        <p14:creationId xmlns:p14="http://schemas.microsoft.com/office/powerpoint/2010/main" val="160533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Data Center</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0"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8"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2">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sp>
        <p:nvSpPr>
          <p:cNvPr id="201" name="Rectangle 200">
            <a:extLst>
              <a:ext uri="{FF2B5EF4-FFF2-40B4-BE49-F238E27FC236}">
                <a16:creationId xmlns:a16="http://schemas.microsoft.com/office/drawing/2014/main" id="{EC08BCEF-0D76-4578-B3AB-22A2944AAB23}"/>
              </a:ext>
            </a:extLst>
          </p:cNvPr>
          <p:cNvSpPr/>
          <p:nvPr/>
        </p:nvSpPr>
        <p:spPr>
          <a:xfrm flipH="1">
            <a:off x="740531" y="1788912"/>
            <a:ext cx="6300632" cy="1606923"/>
          </a:xfrm>
          <a:prstGeom prst="rect">
            <a:avLst/>
          </a:prstGeom>
          <a:gradFill>
            <a:gsLst>
              <a:gs pos="0">
                <a:schemeClr val="accent1">
                  <a:lumMod val="5000"/>
                  <a:lumOff val="95000"/>
                  <a:alpha val="0"/>
                </a:schemeClr>
              </a:gs>
              <a:gs pos="12000">
                <a:schemeClr val="accent4">
                  <a:alpha val="60000"/>
                </a:schemeClr>
              </a:gs>
              <a:gs pos="100000">
                <a:schemeClr val="accent4">
                  <a:alpha val="75000"/>
                </a:schemeClr>
              </a:gs>
            </a:gsLst>
            <a:lin ang="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1" name="Rectangle 220">
            <a:extLst>
              <a:ext uri="{FF2B5EF4-FFF2-40B4-BE49-F238E27FC236}">
                <a16:creationId xmlns:a16="http://schemas.microsoft.com/office/drawing/2014/main" id="{85B5D98D-0635-4241-A5D8-01401122EDBB}"/>
              </a:ext>
            </a:extLst>
          </p:cNvPr>
          <p:cNvSpPr/>
          <p:nvPr/>
        </p:nvSpPr>
        <p:spPr>
          <a:xfrm>
            <a:off x="1789987" y="4171027"/>
            <a:ext cx="5945724" cy="347185"/>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2" name="Rectangle 221">
            <a:extLst>
              <a:ext uri="{FF2B5EF4-FFF2-40B4-BE49-F238E27FC236}">
                <a16:creationId xmlns:a16="http://schemas.microsoft.com/office/drawing/2014/main" id="{552D17C2-84BE-4ED5-8817-DA6FE9CFEF2C}"/>
              </a:ext>
            </a:extLst>
          </p:cNvPr>
          <p:cNvSpPr/>
          <p:nvPr/>
        </p:nvSpPr>
        <p:spPr>
          <a:xfrm>
            <a:off x="1789987" y="1242865"/>
            <a:ext cx="5945724" cy="488854"/>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grpSp>
        <p:nvGrpSpPr>
          <p:cNvPr id="3" name="Group 2">
            <a:extLst>
              <a:ext uri="{FF2B5EF4-FFF2-40B4-BE49-F238E27FC236}">
                <a16:creationId xmlns:a16="http://schemas.microsoft.com/office/drawing/2014/main" id="{3C584829-1904-40B8-A1DA-96098A59BCCD}"/>
              </a:ext>
            </a:extLst>
          </p:cNvPr>
          <p:cNvGrpSpPr/>
          <p:nvPr/>
        </p:nvGrpSpPr>
        <p:grpSpPr>
          <a:xfrm>
            <a:off x="4825353" y="2657499"/>
            <a:ext cx="1001422" cy="683659"/>
            <a:chOff x="4825353" y="2657499"/>
            <a:chExt cx="1001422" cy="683659"/>
          </a:xfrm>
        </p:grpSpPr>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3"/>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4"/>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grpSp>
      <p:grpSp>
        <p:nvGrpSpPr>
          <p:cNvPr id="2" name="Group 1">
            <a:extLst>
              <a:ext uri="{FF2B5EF4-FFF2-40B4-BE49-F238E27FC236}">
                <a16:creationId xmlns:a16="http://schemas.microsoft.com/office/drawing/2014/main" id="{3FA4858B-6691-4D60-AF99-2DC156B42B34}"/>
              </a:ext>
            </a:extLst>
          </p:cNvPr>
          <p:cNvGrpSpPr/>
          <p:nvPr/>
        </p:nvGrpSpPr>
        <p:grpSpPr>
          <a:xfrm>
            <a:off x="3470824" y="2657113"/>
            <a:ext cx="1001422" cy="684045"/>
            <a:chOff x="3470824" y="2657113"/>
            <a:chExt cx="1001422" cy="684045"/>
          </a:xfrm>
        </p:grpSpPr>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3"/>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4"/>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grpSp>
    </p:spTree>
    <p:extLst>
      <p:ext uri="{BB962C8B-B14F-4D97-AF65-F5344CB8AC3E}">
        <p14:creationId xmlns:p14="http://schemas.microsoft.com/office/powerpoint/2010/main" val="3035422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01"/>
                                        </p:tgtEl>
                                        <p:attrNameLst>
                                          <p:attrName>style.visibility</p:attrName>
                                        </p:attrNameLst>
                                      </p:cBhvr>
                                      <p:to>
                                        <p:strVal val="visible"/>
                                      </p:to>
                                    </p:set>
                                    <p:animEffect transition="in" filter="wipe(left)">
                                      <p:cBhvr>
                                        <p:cTn id="7" dur="500"/>
                                        <p:tgtEl>
                                          <p:spTgt spid="2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BD63E-60A8-4A16-A1AE-5FAA04E66064}"/>
              </a:ext>
            </a:extLst>
          </p:cNvPr>
          <p:cNvSpPr>
            <a:spLocks noGrp="1"/>
          </p:cNvSpPr>
          <p:nvPr>
            <p:ph type="title"/>
          </p:nvPr>
        </p:nvSpPr>
        <p:spPr/>
        <p:txBody>
          <a:bodyPr/>
          <a:lstStyle/>
          <a:p>
            <a:r>
              <a:rPr lang="en-ZA" dirty="0"/>
              <a:t>Data Centre</a:t>
            </a:r>
            <a:endParaRPr lang="en-GB" dirty="0"/>
          </a:p>
        </p:txBody>
      </p:sp>
      <p:sp>
        <p:nvSpPr>
          <p:cNvPr id="3" name="Content Placeholder 2">
            <a:extLst>
              <a:ext uri="{FF2B5EF4-FFF2-40B4-BE49-F238E27FC236}">
                <a16:creationId xmlns:a16="http://schemas.microsoft.com/office/drawing/2014/main" id="{18BE2B6E-9921-4941-823B-261CA04D02D8}"/>
              </a:ext>
            </a:extLst>
          </p:cNvPr>
          <p:cNvSpPr>
            <a:spLocks noGrp="1"/>
          </p:cNvSpPr>
          <p:nvPr>
            <p:ph sz="quarter" idx="11"/>
          </p:nvPr>
        </p:nvSpPr>
        <p:spPr/>
        <p:txBody>
          <a:bodyPr/>
          <a:lstStyle/>
          <a:p>
            <a:r>
              <a:rPr lang="en-ZA" dirty="0"/>
              <a:t>The Following Table shows the DC Site Counts:</a:t>
            </a:r>
          </a:p>
          <a:p>
            <a:endParaRPr lang="en-ZA" dirty="0"/>
          </a:p>
          <a:p>
            <a:endParaRPr lang="en-ZA" dirty="0"/>
          </a:p>
          <a:p>
            <a:endParaRPr lang="en-ZA" dirty="0"/>
          </a:p>
          <a:p>
            <a:r>
              <a:rPr lang="en-ZA" dirty="0"/>
              <a:t>National DCs are in Addis and Gondar for Geographic Redundancy. </a:t>
            </a:r>
          </a:p>
          <a:p>
            <a:pPr lvl="1"/>
            <a:r>
              <a:rPr lang="en-ZA" dirty="0"/>
              <a:t>This is only an assumption based on the geographic positioning and the size of the Cities and Rollout Schedule. </a:t>
            </a:r>
          </a:p>
          <a:p>
            <a:pPr lvl="1"/>
            <a:r>
              <a:rPr lang="en-ZA" dirty="0"/>
              <a:t>It is possible to change. </a:t>
            </a:r>
          </a:p>
          <a:p>
            <a:r>
              <a:rPr lang="en-ZA" dirty="0"/>
              <a:t>Regional Sites are to be located in each of the remaining provinces (excepting Somali)</a:t>
            </a:r>
          </a:p>
          <a:p>
            <a:r>
              <a:rPr lang="en-ZA" dirty="0"/>
              <a:t>The Edge DC are going to be dependent on the density of radio sites and their locations and services. </a:t>
            </a:r>
          </a:p>
          <a:p>
            <a:endParaRPr lang="en-ZA" dirty="0"/>
          </a:p>
          <a:p>
            <a:pPr marL="0" indent="0">
              <a:buNone/>
            </a:pPr>
            <a:endParaRPr lang="en-ZA" dirty="0"/>
          </a:p>
          <a:p>
            <a:endParaRPr lang="en-ZA" dirty="0"/>
          </a:p>
          <a:p>
            <a:pPr marL="0" indent="0">
              <a:buNone/>
            </a:pPr>
            <a:endParaRPr lang="en-ZA" dirty="0"/>
          </a:p>
        </p:txBody>
      </p:sp>
      <p:graphicFrame>
        <p:nvGraphicFramePr>
          <p:cNvPr id="4" name="Table 3">
            <a:extLst>
              <a:ext uri="{FF2B5EF4-FFF2-40B4-BE49-F238E27FC236}">
                <a16:creationId xmlns:a16="http://schemas.microsoft.com/office/drawing/2014/main" id="{67F4E523-1147-44BD-A579-CA8E31157642}"/>
              </a:ext>
            </a:extLst>
          </p:cNvPr>
          <p:cNvGraphicFramePr>
            <a:graphicFrameLocks noGrp="1"/>
          </p:cNvGraphicFramePr>
          <p:nvPr>
            <p:extLst>
              <p:ext uri="{D42A27DB-BD31-4B8C-83A1-F6EECF244321}">
                <p14:modId xmlns:p14="http://schemas.microsoft.com/office/powerpoint/2010/main" val="3614446702"/>
              </p:ext>
            </p:extLst>
          </p:nvPr>
        </p:nvGraphicFramePr>
        <p:xfrm>
          <a:off x="1504307" y="1581944"/>
          <a:ext cx="6210300" cy="800100"/>
        </p:xfrm>
        <a:graphic>
          <a:graphicData uri="http://schemas.openxmlformats.org/drawingml/2006/table">
            <a:tbl>
              <a:tblPr firstRow="1" firstCol="1" bandRow="1">
                <a:tableStyleId>{C083E6E3-FA7D-4D7B-A595-EF9225AFEA82}</a:tableStyleId>
              </a:tblPr>
              <a:tblGrid>
                <a:gridCol w="4622800">
                  <a:extLst>
                    <a:ext uri="{9D8B030D-6E8A-4147-A177-3AD203B41FA5}">
                      <a16:colId xmlns:a16="http://schemas.microsoft.com/office/drawing/2014/main" val="4175421080"/>
                    </a:ext>
                  </a:extLst>
                </a:gridCol>
                <a:gridCol w="1587500">
                  <a:extLst>
                    <a:ext uri="{9D8B030D-6E8A-4147-A177-3AD203B41FA5}">
                      <a16:colId xmlns:a16="http://schemas.microsoft.com/office/drawing/2014/main" val="3049715073"/>
                    </a:ext>
                  </a:extLst>
                </a:gridCol>
              </a:tblGrid>
              <a:tr h="200025">
                <a:tc>
                  <a:txBody>
                    <a:bodyPr/>
                    <a:lstStyle/>
                    <a:p>
                      <a:pPr marL="91440" algn="just">
                        <a:lnSpc>
                          <a:spcPct val="115000"/>
                        </a:lnSpc>
                        <a:spcBef>
                          <a:spcPts val="300"/>
                        </a:spcBef>
                        <a:spcAft>
                          <a:spcPts val="300"/>
                        </a:spcAft>
                      </a:pPr>
                      <a:r>
                        <a:rPr lang="en-US" sz="1000">
                          <a:effectLst/>
                        </a:rPr>
                        <a:t>Topology Assumptions (Core Architecture)</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73025" marR="73025" marT="0" marB="0"/>
                </a:tc>
                <a:tc>
                  <a:txBody>
                    <a:bodyPr/>
                    <a:lstStyle/>
                    <a:p>
                      <a:pPr marL="91440" algn="just">
                        <a:lnSpc>
                          <a:spcPct val="115000"/>
                        </a:lnSpc>
                        <a:spcBef>
                          <a:spcPts val="300"/>
                        </a:spcBef>
                        <a:spcAft>
                          <a:spcPts val="300"/>
                        </a:spcAft>
                      </a:pPr>
                      <a:r>
                        <a:rPr lang="en-US" sz="1000">
                          <a:effectLst/>
                        </a:rPr>
                        <a:t> Quantity</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73025" marR="73025" marT="0" marB="0"/>
                </a:tc>
                <a:extLst>
                  <a:ext uri="{0D108BD9-81ED-4DB2-BD59-A6C34878D82A}">
                    <a16:rowId xmlns:a16="http://schemas.microsoft.com/office/drawing/2014/main" val="1795436972"/>
                  </a:ext>
                </a:extLst>
              </a:tr>
              <a:tr h="200025">
                <a:tc>
                  <a:txBody>
                    <a:bodyPr/>
                    <a:lstStyle/>
                    <a:p>
                      <a:pPr marL="91440" algn="just">
                        <a:lnSpc>
                          <a:spcPct val="115000"/>
                        </a:lnSpc>
                        <a:spcBef>
                          <a:spcPts val="300"/>
                        </a:spcBef>
                        <a:spcAft>
                          <a:spcPts val="300"/>
                        </a:spcAft>
                      </a:pPr>
                      <a:r>
                        <a:rPr lang="en-US" sz="1000">
                          <a:effectLst/>
                        </a:rPr>
                        <a:t>National DC</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73025" marR="73025" marT="0" marB="0"/>
                </a:tc>
                <a:tc>
                  <a:txBody>
                    <a:bodyPr/>
                    <a:lstStyle/>
                    <a:p>
                      <a:pPr marL="91440" algn="just">
                        <a:lnSpc>
                          <a:spcPct val="115000"/>
                        </a:lnSpc>
                        <a:spcBef>
                          <a:spcPts val="300"/>
                        </a:spcBef>
                        <a:spcAft>
                          <a:spcPts val="300"/>
                        </a:spcAft>
                      </a:pPr>
                      <a:r>
                        <a:rPr lang="en-US" sz="1000">
                          <a:effectLst/>
                        </a:rPr>
                        <a:t>2</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73025" marR="73025" marT="0" marB="0"/>
                </a:tc>
                <a:extLst>
                  <a:ext uri="{0D108BD9-81ED-4DB2-BD59-A6C34878D82A}">
                    <a16:rowId xmlns:a16="http://schemas.microsoft.com/office/drawing/2014/main" val="300033751"/>
                  </a:ext>
                </a:extLst>
              </a:tr>
              <a:tr h="200025">
                <a:tc>
                  <a:txBody>
                    <a:bodyPr/>
                    <a:lstStyle/>
                    <a:p>
                      <a:pPr marL="91440" algn="just">
                        <a:lnSpc>
                          <a:spcPct val="115000"/>
                        </a:lnSpc>
                        <a:spcBef>
                          <a:spcPts val="300"/>
                        </a:spcBef>
                        <a:spcAft>
                          <a:spcPts val="300"/>
                        </a:spcAft>
                      </a:pPr>
                      <a:r>
                        <a:rPr lang="en-US" sz="1000">
                          <a:effectLst/>
                        </a:rPr>
                        <a:t>Regional DC </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73025" marR="73025" marT="0" marB="0"/>
                </a:tc>
                <a:tc>
                  <a:txBody>
                    <a:bodyPr/>
                    <a:lstStyle/>
                    <a:p>
                      <a:pPr marL="91440" algn="just">
                        <a:lnSpc>
                          <a:spcPct val="115000"/>
                        </a:lnSpc>
                        <a:spcBef>
                          <a:spcPts val="300"/>
                        </a:spcBef>
                        <a:spcAft>
                          <a:spcPts val="300"/>
                        </a:spcAft>
                      </a:pPr>
                      <a:r>
                        <a:rPr lang="en-US" sz="1000">
                          <a:effectLst/>
                        </a:rPr>
                        <a:t>8</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73025" marR="73025" marT="0" marB="0"/>
                </a:tc>
                <a:extLst>
                  <a:ext uri="{0D108BD9-81ED-4DB2-BD59-A6C34878D82A}">
                    <a16:rowId xmlns:a16="http://schemas.microsoft.com/office/drawing/2014/main" val="4152033082"/>
                  </a:ext>
                </a:extLst>
              </a:tr>
              <a:tr h="200025">
                <a:tc>
                  <a:txBody>
                    <a:bodyPr/>
                    <a:lstStyle/>
                    <a:p>
                      <a:pPr marL="91440" algn="just">
                        <a:lnSpc>
                          <a:spcPct val="115000"/>
                        </a:lnSpc>
                        <a:spcBef>
                          <a:spcPts val="300"/>
                        </a:spcBef>
                        <a:spcAft>
                          <a:spcPts val="300"/>
                        </a:spcAft>
                      </a:pPr>
                      <a:r>
                        <a:rPr lang="en-US" sz="1000">
                          <a:effectLst/>
                        </a:rPr>
                        <a:t>Edge DC</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73025" marR="73025" marT="0" marB="0"/>
                </a:tc>
                <a:tc>
                  <a:txBody>
                    <a:bodyPr/>
                    <a:lstStyle/>
                    <a:p>
                      <a:pPr marL="91440" algn="just">
                        <a:lnSpc>
                          <a:spcPct val="115000"/>
                        </a:lnSpc>
                        <a:spcBef>
                          <a:spcPts val="300"/>
                        </a:spcBef>
                        <a:spcAft>
                          <a:spcPts val="300"/>
                        </a:spcAft>
                      </a:pPr>
                      <a:r>
                        <a:rPr lang="en-US" sz="1000" dirty="0">
                          <a:effectLst/>
                        </a:rPr>
                        <a:t>2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73025" marR="73025" marT="0" marB="0"/>
                </a:tc>
                <a:extLst>
                  <a:ext uri="{0D108BD9-81ED-4DB2-BD59-A6C34878D82A}">
                    <a16:rowId xmlns:a16="http://schemas.microsoft.com/office/drawing/2014/main" val="273110467"/>
                  </a:ext>
                </a:extLst>
              </a:tr>
            </a:tbl>
          </a:graphicData>
        </a:graphic>
      </p:graphicFrame>
    </p:spTree>
    <p:extLst>
      <p:ext uri="{BB962C8B-B14F-4D97-AF65-F5344CB8AC3E}">
        <p14:creationId xmlns:p14="http://schemas.microsoft.com/office/powerpoint/2010/main" val="96182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F80624A-4B1A-444E-818A-7D5CADCC729B}"/>
              </a:ext>
            </a:extLst>
          </p:cNvPr>
          <p:cNvSpPr/>
          <p:nvPr/>
        </p:nvSpPr>
        <p:spPr>
          <a:xfrm>
            <a:off x="4478708" y="2272625"/>
            <a:ext cx="867941"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Addis Ababa </a:t>
            </a:r>
          </a:p>
        </p:txBody>
      </p:sp>
      <p:sp>
        <p:nvSpPr>
          <p:cNvPr id="7" name="Rectangle 6">
            <a:extLst>
              <a:ext uri="{FF2B5EF4-FFF2-40B4-BE49-F238E27FC236}">
                <a16:creationId xmlns:a16="http://schemas.microsoft.com/office/drawing/2014/main" id="{DF55452B-D7BA-4BB3-A000-D55EBC01BBFC}"/>
              </a:ext>
            </a:extLst>
          </p:cNvPr>
          <p:cNvSpPr/>
          <p:nvPr/>
        </p:nvSpPr>
        <p:spPr>
          <a:xfrm>
            <a:off x="5808405" y="2029228"/>
            <a:ext cx="1216025"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a:solidFill>
                  <a:srgbClr val="000000"/>
                </a:solidFill>
                <a:latin typeface="Calibri" panose="020F0502020204030204" pitchFamily="34" charset="0"/>
              </a:rPr>
              <a:t>Dire Dawa</a:t>
            </a:r>
            <a:r>
              <a:rPr lang="en-GB" sz="1050" dirty="0">
                <a:solidFill>
                  <a:srgbClr val="000000"/>
                </a:solidFill>
                <a:latin typeface="Calibri" panose="020F0502020204030204" pitchFamily="34" charset="0"/>
              </a:rPr>
              <a:t> </a:t>
            </a:r>
          </a:p>
        </p:txBody>
      </p:sp>
      <p:sp>
        <p:nvSpPr>
          <p:cNvPr id="8" name="Rectangle 7">
            <a:extLst>
              <a:ext uri="{FF2B5EF4-FFF2-40B4-BE49-F238E27FC236}">
                <a16:creationId xmlns:a16="http://schemas.microsoft.com/office/drawing/2014/main" id="{11927037-9BC8-47E1-9F7E-08B2C747887F}"/>
              </a:ext>
            </a:extLst>
          </p:cNvPr>
          <p:cNvSpPr/>
          <p:nvPr/>
        </p:nvSpPr>
        <p:spPr>
          <a:xfrm>
            <a:off x="5068232" y="359238"/>
            <a:ext cx="652449"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err="1">
                <a:solidFill>
                  <a:srgbClr val="000000"/>
                </a:solidFill>
                <a:latin typeface="Calibri" panose="020F0502020204030204" pitchFamily="34" charset="0"/>
              </a:rPr>
              <a:t>Mek'ele</a:t>
            </a:r>
            <a:r>
              <a:rPr lang="en-GB" sz="1050" dirty="0">
                <a:solidFill>
                  <a:srgbClr val="000000"/>
                </a:solidFill>
                <a:latin typeface="Calibri" panose="020F0502020204030204" pitchFamily="34" charset="0"/>
              </a:rPr>
              <a:t> </a:t>
            </a:r>
          </a:p>
        </p:txBody>
      </p:sp>
      <p:sp>
        <p:nvSpPr>
          <p:cNvPr id="27" name="Rectangle 26">
            <a:extLst>
              <a:ext uri="{FF2B5EF4-FFF2-40B4-BE49-F238E27FC236}">
                <a16:creationId xmlns:a16="http://schemas.microsoft.com/office/drawing/2014/main" id="{0C61A233-2B3C-455D-8B63-70F452E0589B}"/>
              </a:ext>
            </a:extLst>
          </p:cNvPr>
          <p:cNvSpPr/>
          <p:nvPr/>
        </p:nvSpPr>
        <p:spPr>
          <a:xfrm>
            <a:off x="5353566" y="2743887"/>
            <a:ext cx="577402"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err="1">
                <a:solidFill>
                  <a:srgbClr val="000000"/>
                </a:solidFill>
                <a:latin typeface="Calibri" panose="020F0502020204030204" pitchFamily="34" charset="0"/>
              </a:rPr>
              <a:t>Nazret</a:t>
            </a:r>
            <a:r>
              <a:rPr lang="en-GB" sz="1050" dirty="0">
                <a:solidFill>
                  <a:srgbClr val="000000"/>
                </a:solidFill>
                <a:latin typeface="Calibri" panose="020F0502020204030204" pitchFamily="34" charset="0"/>
              </a:rPr>
              <a:t> </a:t>
            </a:r>
          </a:p>
        </p:txBody>
      </p:sp>
      <p:sp>
        <p:nvSpPr>
          <p:cNvPr id="28" name="Rectangle 27">
            <a:extLst>
              <a:ext uri="{FF2B5EF4-FFF2-40B4-BE49-F238E27FC236}">
                <a16:creationId xmlns:a16="http://schemas.microsoft.com/office/drawing/2014/main" id="{76034224-0BA5-45B0-8A9D-D3B23B4D1D2C}"/>
              </a:ext>
            </a:extLst>
          </p:cNvPr>
          <p:cNvSpPr/>
          <p:nvPr/>
        </p:nvSpPr>
        <p:spPr>
          <a:xfrm>
            <a:off x="3534307" y="1341566"/>
            <a:ext cx="724878"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Bahir Dar </a:t>
            </a:r>
          </a:p>
        </p:txBody>
      </p:sp>
      <p:sp>
        <p:nvSpPr>
          <p:cNvPr id="29" name="Rectangle 28">
            <a:extLst>
              <a:ext uri="{FF2B5EF4-FFF2-40B4-BE49-F238E27FC236}">
                <a16:creationId xmlns:a16="http://schemas.microsoft.com/office/drawing/2014/main" id="{0F38E72C-B268-48FB-BC4F-36F07D08C1D4}"/>
              </a:ext>
            </a:extLst>
          </p:cNvPr>
          <p:cNvSpPr/>
          <p:nvPr/>
        </p:nvSpPr>
        <p:spPr>
          <a:xfrm>
            <a:off x="4099944" y="696748"/>
            <a:ext cx="622286"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Gondar </a:t>
            </a:r>
          </a:p>
        </p:txBody>
      </p:sp>
      <p:sp>
        <p:nvSpPr>
          <p:cNvPr id="31" name="Rectangle 30">
            <a:extLst>
              <a:ext uri="{FF2B5EF4-FFF2-40B4-BE49-F238E27FC236}">
                <a16:creationId xmlns:a16="http://schemas.microsoft.com/office/drawing/2014/main" id="{4C596F25-66A0-49FF-9F1B-2F16E29050E4}"/>
              </a:ext>
            </a:extLst>
          </p:cNvPr>
          <p:cNvSpPr/>
          <p:nvPr/>
        </p:nvSpPr>
        <p:spPr>
          <a:xfrm>
            <a:off x="5123396" y="1244251"/>
            <a:ext cx="486030"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Dese </a:t>
            </a:r>
          </a:p>
        </p:txBody>
      </p:sp>
      <p:sp>
        <p:nvSpPr>
          <p:cNvPr id="32" name="Rectangle 31">
            <a:extLst>
              <a:ext uri="{FF2B5EF4-FFF2-40B4-BE49-F238E27FC236}">
                <a16:creationId xmlns:a16="http://schemas.microsoft.com/office/drawing/2014/main" id="{6BA796C8-B618-40E9-BE69-642429974DE7}"/>
              </a:ext>
            </a:extLst>
          </p:cNvPr>
          <p:cNvSpPr/>
          <p:nvPr/>
        </p:nvSpPr>
        <p:spPr>
          <a:xfrm>
            <a:off x="3813639" y="2820044"/>
            <a:ext cx="567784"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err="1">
                <a:solidFill>
                  <a:srgbClr val="000000"/>
                </a:solidFill>
                <a:latin typeface="Calibri" panose="020F0502020204030204" pitchFamily="34" charset="0"/>
              </a:rPr>
              <a:t>Jimma</a:t>
            </a:r>
            <a:r>
              <a:rPr lang="en-GB" sz="1050" dirty="0">
                <a:solidFill>
                  <a:srgbClr val="000000"/>
                </a:solidFill>
                <a:latin typeface="Calibri" panose="020F0502020204030204" pitchFamily="34" charset="0"/>
              </a:rPr>
              <a:t> </a:t>
            </a:r>
          </a:p>
        </p:txBody>
      </p:sp>
      <p:sp>
        <p:nvSpPr>
          <p:cNvPr id="103" name="Rectangle 102">
            <a:extLst>
              <a:ext uri="{FF2B5EF4-FFF2-40B4-BE49-F238E27FC236}">
                <a16:creationId xmlns:a16="http://schemas.microsoft.com/office/drawing/2014/main" id="{E8C1B8B6-973C-4436-9D0E-12A7E8E5334C}"/>
              </a:ext>
            </a:extLst>
          </p:cNvPr>
          <p:cNvSpPr/>
          <p:nvPr/>
        </p:nvSpPr>
        <p:spPr>
          <a:xfrm>
            <a:off x="4559687" y="3592681"/>
            <a:ext cx="805345"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Hawassa  </a:t>
            </a:r>
          </a:p>
        </p:txBody>
      </p:sp>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0" name="Straight Connector 69">
            <a:extLst>
              <a:ext uri="{FF2B5EF4-FFF2-40B4-BE49-F238E27FC236}">
                <a16:creationId xmlns:a16="http://schemas.microsoft.com/office/drawing/2014/main" id="{D4A24A53-B2EB-47AB-8B65-7FA696E71C17}"/>
              </a:ext>
            </a:extLst>
          </p:cNvPr>
          <p:cNvCxnSpPr>
            <a:cxnSpLocks/>
            <a:stCxn id="22" idx="7"/>
            <a:endCxn id="10" idx="3"/>
          </p:cNvCxnSpPr>
          <p:nvPr/>
        </p:nvCxnSpPr>
        <p:spPr>
          <a:xfrm flipV="1">
            <a:off x="4243053" y="2785929"/>
            <a:ext cx="579821" cy="346457"/>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46BEEA4-E590-4F0D-B2B8-67AACAF840DB}"/>
              </a:ext>
            </a:extLst>
          </p:cNvPr>
          <p:cNvCxnSpPr>
            <a:cxnSpLocks/>
            <a:stCxn id="22" idx="5"/>
          </p:cNvCxnSpPr>
          <p:nvPr/>
        </p:nvCxnSpPr>
        <p:spPr>
          <a:xfrm>
            <a:off x="4243052" y="3347904"/>
            <a:ext cx="524211" cy="61612"/>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33F771E-C15C-448C-BA95-423F68A3E711}"/>
              </a:ext>
            </a:extLst>
          </p:cNvPr>
          <p:cNvCxnSpPr>
            <a:cxnSpLocks/>
            <a:endCxn id="16" idx="3"/>
          </p:cNvCxnSpPr>
          <p:nvPr/>
        </p:nvCxnSpPr>
        <p:spPr>
          <a:xfrm flipV="1">
            <a:off x="4919657" y="2981047"/>
            <a:ext cx="172873" cy="276074"/>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FC1C440-84F5-4B62-8E10-2DFF912095C8}"/>
              </a:ext>
            </a:extLst>
          </p:cNvPr>
          <p:cNvCxnSpPr>
            <a:cxnSpLocks/>
            <a:stCxn id="10" idx="5"/>
            <a:endCxn id="16" idx="1"/>
          </p:cNvCxnSpPr>
          <p:nvPr/>
        </p:nvCxnSpPr>
        <p:spPr>
          <a:xfrm flipV="1">
            <a:off x="5038390" y="2765530"/>
            <a:ext cx="54140" cy="20399"/>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50442DB-1A5D-47C8-AF91-3F6A3EE43A93}"/>
              </a:ext>
            </a:extLst>
          </p:cNvPr>
          <p:cNvCxnSpPr>
            <a:stCxn id="16" idx="7"/>
            <a:endCxn id="46" idx="2"/>
          </p:cNvCxnSpPr>
          <p:nvPr/>
        </p:nvCxnSpPr>
        <p:spPr>
          <a:xfrm flipV="1">
            <a:off x="5308045" y="2441775"/>
            <a:ext cx="871956" cy="323755"/>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726C3B4-A885-430D-A16A-E1C897EB226D}"/>
              </a:ext>
            </a:extLst>
          </p:cNvPr>
          <p:cNvCxnSpPr>
            <a:cxnSpLocks/>
            <a:stCxn id="46" idx="1"/>
            <a:endCxn id="64" idx="5"/>
          </p:cNvCxnSpPr>
          <p:nvPr/>
        </p:nvCxnSpPr>
        <p:spPr>
          <a:xfrm flipH="1" flipV="1">
            <a:off x="5489432" y="1764183"/>
            <a:ext cx="735205" cy="569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56E31A6-3818-4C29-8A4F-8F444882FEDF}"/>
              </a:ext>
            </a:extLst>
          </p:cNvPr>
          <p:cNvCxnSpPr>
            <a:cxnSpLocks/>
            <a:stCxn id="10" idx="7"/>
            <a:endCxn id="64" idx="4"/>
          </p:cNvCxnSpPr>
          <p:nvPr/>
        </p:nvCxnSpPr>
        <p:spPr>
          <a:xfrm flipV="1">
            <a:off x="5038389" y="1808818"/>
            <a:ext cx="343284" cy="761592"/>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370C539-EE39-4C21-82A7-91B819DB103F}"/>
              </a:ext>
            </a:extLst>
          </p:cNvPr>
          <p:cNvCxnSpPr>
            <a:stCxn id="64" idx="0"/>
            <a:endCxn id="40" idx="4"/>
          </p:cNvCxnSpPr>
          <p:nvPr/>
        </p:nvCxnSpPr>
        <p:spPr>
          <a:xfrm flipH="1" flipV="1">
            <a:off x="5352681" y="859576"/>
            <a:ext cx="28993" cy="644454"/>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EF95468-861D-47D5-86B4-DEA83CACDE92}"/>
              </a:ext>
            </a:extLst>
          </p:cNvPr>
          <p:cNvCxnSpPr>
            <a:stCxn id="40" idx="2"/>
            <a:endCxn id="34" idx="7"/>
          </p:cNvCxnSpPr>
          <p:nvPr/>
        </p:nvCxnSpPr>
        <p:spPr>
          <a:xfrm flipH="1">
            <a:off x="4547839" y="707183"/>
            <a:ext cx="652449" cy="253503"/>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C0BC7CC-F767-403A-BD0F-DF021632AF99}"/>
              </a:ext>
            </a:extLst>
          </p:cNvPr>
          <p:cNvCxnSpPr>
            <a:cxnSpLocks/>
            <a:stCxn id="34" idx="5"/>
            <a:endCxn id="52" idx="7"/>
          </p:cNvCxnSpPr>
          <p:nvPr/>
        </p:nvCxnSpPr>
        <p:spPr>
          <a:xfrm flipH="1">
            <a:off x="4505114" y="1176204"/>
            <a:ext cx="42725" cy="228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D14AC26-5713-4E54-B075-D75B92C36E4C}"/>
              </a:ext>
            </a:extLst>
          </p:cNvPr>
          <p:cNvCxnSpPr>
            <a:stCxn id="52" idx="4"/>
            <a:endCxn id="22" idx="0"/>
          </p:cNvCxnSpPr>
          <p:nvPr/>
        </p:nvCxnSpPr>
        <p:spPr>
          <a:xfrm flipH="1">
            <a:off x="4135295" y="1665339"/>
            <a:ext cx="262061" cy="1422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35936A4F-B2DE-407C-9D21-75185C4ACE48}"/>
              </a:ext>
            </a:extLst>
          </p:cNvPr>
          <p:cNvCxnSpPr>
            <a:stCxn id="52" idx="5"/>
            <a:endCxn id="10" idx="0"/>
          </p:cNvCxnSpPr>
          <p:nvPr/>
        </p:nvCxnSpPr>
        <p:spPr>
          <a:xfrm>
            <a:off x="4505114" y="1620703"/>
            <a:ext cx="425518" cy="90507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88E75DB-D5C5-4949-80D4-D2B475995266}"/>
              </a:ext>
            </a:extLst>
          </p:cNvPr>
          <p:cNvCxnSpPr>
            <a:stCxn id="52" idx="6"/>
            <a:endCxn id="64" idx="2"/>
          </p:cNvCxnSpPr>
          <p:nvPr/>
        </p:nvCxnSpPr>
        <p:spPr>
          <a:xfrm>
            <a:off x="4549749" y="1512945"/>
            <a:ext cx="679532" cy="1434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F7C84E5F-5741-4DD2-AF29-5E97705917D8}"/>
              </a:ext>
            </a:extLst>
          </p:cNvPr>
          <p:cNvGrpSpPr/>
          <p:nvPr/>
        </p:nvGrpSpPr>
        <p:grpSpPr>
          <a:xfrm>
            <a:off x="4771530" y="3257444"/>
            <a:ext cx="304786" cy="304788"/>
            <a:chOff x="4083769" y="2552776"/>
            <a:chExt cx="529089" cy="529089"/>
          </a:xfrm>
        </p:grpSpPr>
        <p:sp>
          <p:nvSpPr>
            <p:cNvPr id="138" name="Oval 137">
              <a:extLst>
                <a:ext uri="{FF2B5EF4-FFF2-40B4-BE49-F238E27FC236}">
                  <a16:creationId xmlns:a16="http://schemas.microsoft.com/office/drawing/2014/main" id="{047E33BD-90DC-4CDA-8A6D-1051BB6A32FA}"/>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9" name="Freeform: Shape 298">
              <a:extLst>
                <a:ext uri="{FF2B5EF4-FFF2-40B4-BE49-F238E27FC236}">
                  <a16:creationId xmlns:a16="http://schemas.microsoft.com/office/drawing/2014/main" id="{1AC6E427-0AF6-4872-A876-B14AF1E2EBB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0" name="Freeform: Shape 299">
              <a:extLst>
                <a:ext uri="{FF2B5EF4-FFF2-40B4-BE49-F238E27FC236}">
                  <a16:creationId xmlns:a16="http://schemas.microsoft.com/office/drawing/2014/main" id="{B6DD2470-252A-498C-9FD1-C8C2DC1733A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301">
              <a:extLst>
                <a:ext uri="{FF2B5EF4-FFF2-40B4-BE49-F238E27FC236}">
                  <a16:creationId xmlns:a16="http://schemas.microsoft.com/office/drawing/2014/main" id="{441E03F0-F4EE-49BB-9534-F66557781AE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2">
              <a:extLst>
                <a:ext uri="{FF2B5EF4-FFF2-40B4-BE49-F238E27FC236}">
                  <a16:creationId xmlns:a16="http://schemas.microsoft.com/office/drawing/2014/main" id="{111DC9F5-4EC2-4D0B-9AF9-FDBDE96A0E7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79" name="Group 78">
            <a:extLst>
              <a:ext uri="{FF2B5EF4-FFF2-40B4-BE49-F238E27FC236}">
                <a16:creationId xmlns:a16="http://schemas.microsoft.com/office/drawing/2014/main" id="{BB745BDE-3EF9-40E9-AC3C-8D67777B1310}"/>
              </a:ext>
            </a:extLst>
          </p:cNvPr>
          <p:cNvGrpSpPr/>
          <p:nvPr/>
        </p:nvGrpSpPr>
        <p:grpSpPr>
          <a:xfrm>
            <a:off x="93692" y="337116"/>
            <a:ext cx="304786" cy="304788"/>
            <a:chOff x="4083769" y="2552776"/>
            <a:chExt cx="529089" cy="529089"/>
          </a:xfrm>
        </p:grpSpPr>
        <p:sp>
          <p:nvSpPr>
            <p:cNvPr id="149" name="Oval 148">
              <a:extLst>
                <a:ext uri="{FF2B5EF4-FFF2-40B4-BE49-F238E27FC236}">
                  <a16:creationId xmlns:a16="http://schemas.microsoft.com/office/drawing/2014/main" id="{FF3496F6-0B23-45F5-A16B-B00BBA355A60}"/>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0" name="Freeform: Shape 298">
              <a:extLst>
                <a:ext uri="{FF2B5EF4-FFF2-40B4-BE49-F238E27FC236}">
                  <a16:creationId xmlns:a16="http://schemas.microsoft.com/office/drawing/2014/main" id="{5F8F6796-EF10-4895-996A-839F8DC32EE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51" name="Freeform: Shape 299">
              <a:extLst>
                <a:ext uri="{FF2B5EF4-FFF2-40B4-BE49-F238E27FC236}">
                  <a16:creationId xmlns:a16="http://schemas.microsoft.com/office/drawing/2014/main" id="{C1EEE7D1-2B03-4CCC-AC34-3FD951C1210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52" name="Freeform: Shape 301">
              <a:extLst>
                <a:ext uri="{FF2B5EF4-FFF2-40B4-BE49-F238E27FC236}">
                  <a16:creationId xmlns:a16="http://schemas.microsoft.com/office/drawing/2014/main" id="{772B99DF-3C04-41E7-ADEB-DD5FD6DBA8A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53" name="Freeform: Shape 302">
              <a:extLst>
                <a:ext uri="{FF2B5EF4-FFF2-40B4-BE49-F238E27FC236}">
                  <a16:creationId xmlns:a16="http://schemas.microsoft.com/office/drawing/2014/main" id="{46B2E24B-CA16-4EC3-9FDD-0689F4E261A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80" name="TextBox 79">
            <a:extLst>
              <a:ext uri="{FF2B5EF4-FFF2-40B4-BE49-F238E27FC236}">
                <a16:creationId xmlns:a16="http://schemas.microsoft.com/office/drawing/2014/main" id="{85F0A124-B4D5-4DAC-BBC8-793310BC905A}"/>
              </a:ext>
            </a:extLst>
          </p:cNvPr>
          <p:cNvSpPr txBox="1"/>
          <p:nvPr/>
        </p:nvSpPr>
        <p:spPr>
          <a:xfrm>
            <a:off x="400160" y="304844"/>
            <a:ext cx="1160895" cy="369332"/>
          </a:xfrm>
          <a:prstGeom prst="rect">
            <a:avLst/>
          </a:prstGeom>
          <a:noFill/>
        </p:spPr>
        <p:txBody>
          <a:bodyPr wrap="none" rtlCol="0">
            <a:spAutoFit/>
          </a:bodyPr>
          <a:lstStyle/>
          <a:p>
            <a:pPr defTabSz="457189"/>
            <a:r>
              <a:rPr lang="en-ZA" dirty="0">
                <a:solidFill>
                  <a:srgbClr val="282828"/>
                </a:solidFill>
                <a:latin typeface="CiscoSansTT ExtraLight"/>
              </a:rPr>
              <a:t>Core Site</a:t>
            </a:r>
          </a:p>
        </p:txBody>
      </p:sp>
      <p:grpSp>
        <p:nvGrpSpPr>
          <p:cNvPr id="81" name="Group 80">
            <a:extLst>
              <a:ext uri="{FF2B5EF4-FFF2-40B4-BE49-F238E27FC236}">
                <a16:creationId xmlns:a16="http://schemas.microsoft.com/office/drawing/2014/main" id="{AFC17ECE-6D20-43A2-8380-8C83F879CC70}"/>
              </a:ext>
            </a:extLst>
          </p:cNvPr>
          <p:cNvGrpSpPr/>
          <p:nvPr/>
        </p:nvGrpSpPr>
        <p:grpSpPr>
          <a:xfrm>
            <a:off x="93692" y="776476"/>
            <a:ext cx="304786" cy="304788"/>
            <a:chOff x="4083769" y="2552776"/>
            <a:chExt cx="529089" cy="529089"/>
          </a:xfrm>
        </p:grpSpPr>
        <p:sp>
          <p:nvSpPr>
            <p:cNvPr id="144" name="Oval 143">
              <a:extLst>
                <a:ext uri="{FF2B5EF4-FFF2-40B4-BE49-F238E27FC236}">
                  <a16:creationId xmlns:a16="http://schemas.microsoft.com/office/drawing/2014/main" id="{96870E80-235E-49EB-BCE0-9F27CC4643EA}"/>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5" name="Freeform: Shape 298">
              <a:extLst>
                <a:ext uri="{FF2B5EF4-FFF2-40B4-BE49-F238E27FC236}">
                  <a16:creationId xmlns:a16="http://schemas.microsoft.com/office/drawing/2014/main" id="{BED450FB-FE23-42E4-9E5F-D90250448AE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6" name="Freeform: Shape 299">
              <a:extLst>
                <a:ext uri="{FF2B5EF4-FFF2-40B4-BE49-F238E27FC236}">
                  <a16:creationId xmlns:a16="http://schemas.microsoft.com/office/drawing/2014/main" id="{2D0855B1-20EF-4AB6-915C-25C6F857D16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301">
              <a:extLst>
                <a:ext uri="{FF2B5EF4-FFF2-40B4-BE49-F238E27FC236}">
                  <a16:creationId xmlns:a16="http://schemas.microsoft.com/office/drawing/2014/main" id="{7C3BB879-C8B2-42E6-A205-DCB5B210B77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2">
              <a:extLst>
                <a:ext uri="{FF2B5EF4-FFF2-40B4-BE49-F238E27FC236}">
                  <a16:creationId xmlns:a16="http://schemas.microsoft.com/office/drawing/2014/main" id="{85BC8700-5168-4161-804B-100FD2B6EC1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83" name="TextBox 82">
            <a:extLst>
              <a:ext uri="{FF2B5EF4-FFF2-40B4-BE49-F238E27FC236}">
                <a16:creationId xmlns:a16="http://schemas.microsoft.com/office/drawing/2014/main" id="{4B7A0C02-C488-44DE-933C-33DE01A3C92E}"/>
              </a:ext>
            </a:extLst>
          </p:cNvPr>
          <p:cNvSpPr txBox="1"/>
          <p:nvPr/>
        </p:nvSpPr>
        <p:spPr>
          <a:xfrm>
            <a:off x="400160" y="737428"/>
            <a:ext cx="1917513" cy="369332"/>
          </a:xfrm>
          <a:prstGeom prst="rect">
            <a:avLst/>
          </a:prstGeom>
          <a:noFill/>
        </p:spPr>
        <p:txBody>
          <a:bodyPr wrap="none" rtlCol="0">
            <a:spAutoFit/>
          </a:bodyPr>
          <a:lstStyle/>
          <a:p>
            <a:pPr defTabSz="457189"/>
            <a:r>
              <a:rPr lang="en-ZA" dirty="0">
                <a:solidFill>
                  <a:srgbClr val="282828"/>
                </a:solidFill>
                <a:latin typeface="CiscoSansTT ExtraLight"/>
              </a:rPr>
              <a:t>Aggregation Site</a:t>
            </a:r>
          </a:p>
        </p:txBody>
      </p:sp>
      <p:grpSp>
        <p:nvGrpSpPr>
          <p:cNvPr id="85" name="Group 84">
            <a:extLst>
              <a:ext uri="{FF2B5EF4-FFF2-40B4-BE49-F238E27FC236}">
                <a16:creationId xmlns:a16="http://schemas.microsoft.com/office/drawing/2014/main" id="{2C44F231-31C2-4460-8941-324602E54FC3}"/>
              </a:ext>
            </a:extLst>
          </p:cNvPr>
          <p:cNvGrpSpPr/>
          <p:nvPr/>
        </p:nvGrpSpPr>
        <p:grpSpPr>
          <a:xfrm>
            <a:off x="93692" y="1215836"/>
            <a:ext cx="304786" cy="304788"/>
            <a:chOff x="4083769" y="2552776"/>
            <a:chExt cx="529089" cy="529089"/>
          </a:xfrm>
        </p:grpSpPr>
        <p:sp>
          <p:nvSpPr>
            <p:cNvPr id="133" name="Oval 132">
              <a:extLst>
                <a:ext uri="{FF2B5EF4-FFF2-40B4-BE49-F238E27FC236}">
                  <a16:creationId xmlns:a16="http://schemas.microsoft.com/office/drawing/2014/main" id="{391DECA8-CDAB-4116-B3AC-2E65ADE33FB4}"/>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C01159BF-0CB7-4BEC-BA24-AFCF8FE8699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744BCA12-99D2-403F-9523-AD32982A465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A8601B70-BDD5-4E91-87D5-5FF7F36B17E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E9108A67-C491-4A3E-8DF1-611E3E134EB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86" name="TextBox 85">
            <a:extLst>
              <a:ext uri="{FF2B5EF4-FFF2-40B4-BE49-F238E27FC236}">
                <a16:creationId xmlns:a16="http://schemas.microsoft.com/office/drawing/2014/main" id="{EAF57B0A-6C71-459F-B8F1-AF9DB24D5526}"/>
              </a:ext>
            </a:extLst>
          </p:cNvPr>
          <p:cNvSpPr txBox="1"/>
          <p:nvPr/>
        </p:nvSpPr>
        <p:spPr>
          <a:xfrm>
            <a:off x="400160" y="1170012"/>
            <a:ext cx="1552028" cy="369332"/>
          </a:xfrm>
          <a:prstGeom prst="rect">
            <a:avLst/>
          </a:prstGeom>
          <a:noFill/>
        </p:spPr>
        <p:txBody>
          <a:bodyPr wrap="none" rtlCol="0">
            <a:spAutoFit/>
          </a:bodyPr>
          <a:lstStyle/>
          <a:p>
            <a:pPr defTabSz="457189"/>
            <a:r>
              <a:rPr lang="en-ZA" dirty="0">
                <a:solidFill>
                  <a:srgbClr val="282828"/>
                </a:solidFill>
                <a:latin typeface="CiscoSansTT ExtraLight"/>
              </a:rPr>
              <a:t>Pre-</a:t>
            </a:r>
            <a:r>
              <a:rPr lang="en-ZA" dirty="0" err="1">
                <a:solidFill>
                  <a:srgbClr val="282828"/>
                </a:solidFill>
                <a:latin typeface="CiscoSansTT ExtraLight"/>
              </a:rPr>
              <a:t>Agg</a:t>
            </a:r>
            <a:r>
              <a:rPr lang="en-ZA" dirty="0">
                <a:solidFill>
                  <a:srgbClr val="282828"/>
                </a:solidFill>
                <a:latin typeface="CiscoSansTT ExtraLight"/>
              </a:rPr>
              <a:t> Site</a:t>
            </a:r>
          </a:p>
        </p:txBody>
      </p:sp>
      <p:grpSp>
        <p:nvGrpSpPr>
          <p:cNvPr id="87" name="Group 86">
            <a:extLst>
              <a:ext uri="{FF2B5EF4-FFF2-40B4-BE49-F238E27FC236}">
                <a16:creationId xmlns:a16="http://schemas.microsoft.com/office/drawing/2014/main" id="{582F326A-9A7B-4532-99FF-184F60B547D5}"/>
              </a:ext>
            </a:extLst>
          </p:cNvPr>
          <p:cNvGrpSpPr/>
          <p:nvPr/>
        </p:nvGrpSpPr>
        <p:grpSpPr>
          <a:xfrm>
            <a:off x="90338" y="2101266"/>
            <a:ext cx="311495" cy="311498"/>
            <a:chOff x="4083769" y="2552776"/>
            <a:chExt cx="529089" cy="529089"/>
          </a:xfrm>
        </p:grpSpPr>
        <p:sp>
          <p:nvSpPr>
            <p:cNvPr id="128" name="Oval 127">
              <a:extLst>
                <a:ext uri="{FF2B5EF4-FFF2-40B4-BE49-F238E27FC236}">
                  <a16:creationId xmlns:a16="http://schemas.microsoft.com/office/drawing/2014/main" id="{485F3F37-F2EA-47D1-A1A8-0E301814E63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9" name="Freeform: Shape 298">
              <a:extLst>
                <a:ext uri="{FF2B5EF4-FFF2-40B4-BE49-F238E27FC236}">
                  <a16:creationId xmlns:a16="http://schemas.microsoft.com/office/drawing/2014/main" id="{CC65C26D-EF29-4B55-8766-87846816137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299">
              <a:extLst>
                <a:ext uri="{FF2B5EF4-FFF2-40B4-BE49-F238E27FC236}">
                  <a16:creationId xmlns:a16="http://schemas.microsoft.com/office/drawing/2014/main" id="{0A1DBD98-2C1F-4769-8664-6E765DB3BB4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1">
              <a:extLst>
                <a:ext uri="{FF2B5EF4-FFF2-40B4-BE49-F238E27FC236}">
                  <a16:creationId xmlns:a16="http://schemas.microsoft.com/office/drawing/2014/main" id="{DDFA76F2-334B-4F67-92C8-BF89C0670E3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2" name="Freeform: Shape 302">
              <a:extLst>
                <a:ext uri="{FF2B5EF4-FFF2-40B4-BE49-F238E27FC236}">
                  <a16:creationId xmlns:a16="http://schemas.microsoft.com/office/drawing/2014/main" id="{6A7E85A5-FE3A-4469-9604-942680B3DC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89" name="TextBox 88">
            <a:extLst>
              <a:ext uri="{FF2B5EF4-FFF2-40B4-BE49-F238E27FC236}">
                <a16:creationId xmlns:a16="http://schemas.microsoft.com/office/drawing/2014/main" id="{63C7284C-7531-4EAD-A653-81C5CAECCD0D}"/>
              </a:ext>
            </a:extLst>
          </p:cNvPr>
          <p:cNvSpPr txBox="1"/>
          <p:nvPr/>
        </p:nvSpPr>
        <p:spPr>
          <a:xfrm>
            <a:off x="400160" y="2035180"/>
            <a:ext cx="1447832" cy="369332"/>
          </a:xfrm>
          <a:prstGeom prst="rect">
            <a:avLst/>
          </a:prstGeom>
          <a:noFill/>
        </p:spPr>
        <p:txBody>
          <a:bodyPr wrap="none" rtlCol="0">
            <a:spAutoFit/>
          </a:bodyPr>
          <a:lstStyle/>
          <a:p>
            <a:pPr defTabSz="457189"/>
            <a:r>
              <a:rPr lang="en-ZA" dirty="0">
                <a:solidFill>
                  <a:srgbClr val="282828"/>
                </a:solidFill>
                <a:latin typeface="CiscoSansTT ExtraLight"/>
              </a:rPr>
              <a:t>Peering Site</a:t>
            </a:r>
          </a:p>
        </p:txBody>
      </p:sp>
      <p:grpSp>
        <p:nvGrpSpPr>
          <p:cNvPr id="90" name="Group 89">
            <a:extLst>
              <a:ext uri="{FF2B5EF4-FFF2-40B4-BE49-F238E27FC236}">
                <a16:creationId xmlns:a16="http://schemas.microsoft.com/office/drawing/2014/main" id="{C38F1816-D287-41FA-B101-DB96C3F4FC40}"/>
              </a:ext>
            </a:extLst>
          </p:cNvPr>
          <p:cNvGrpSpPr/>
          <p:nvPr/>
        </p:nvGrpSpPr>
        <p:grpSpPr>
          <a:xfrm>
            <a:off x="90338" y="1655196"/>
            <a:ext cx="311495" cy="311498"/>
            <a:chOff x="4083769" y="2552776"/>
            <a:chExt cx="529089" cy="529089"/>
          </a:xfrm>
        </p:grpSpPr>
        <p:sp>
          <p:nvSpPr>
            <p:cNvPr id="123" name="Oval 122">
              <a:extLst>
                <a:ext uri="{FF2B5EF4-FFF2-40B4-BE49-F238E27FC236}">
                  <a16:creationId xmlns:a16="http://schemas.microsoft.com/office/drawing/2014/main" id="{FF5798D9-7B3B-4A9E-A8EE-45DBE46DA0CD}"/>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4" name="Freeform: Shape 298">
              <a:extLst>
                <a:ext uri="{FF2B5EF4-FFF2-40B4-BE49-F238E27FC236}">
                  <a16:creationId xmlns:a16="http://schemas.microsoft.com/office/drawing/2014/main" id="{40C42F35-6D60-4604-A397-36787413FA5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299">
              <a:extLst>
                <a:ext uri="{FF2B5EF4-FFF2-40B4-BE49-F238E27FC236}">
                  <a16:creationId xmlns:a16="http://schemas.microsoft.com/office/drawing/2014/main" id="{9799F232-1A81-4E66-83BA-53A783DEB01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6" name="Freeform: Shape 301">
              <a:extLst>
                <a:ext uri="{FF2B5EF4-FFF2-40B4-BE49-F238E27FC236}">
                  <a16:creationId xmlns:a16="http://schemas.microsoft.com/office/drawing/2014/main" id="{7FA39F87-FE0F-453C-BC6F-049F1DB0DBC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7" name="Freeform: Shape 302">
              <a:extLst>
                <a:ext uri="{FF2B5EF4-FFF2-40B4-BE49-F238E27FC236}">
                  <a16:creationId xmlns:a16="http://schemas.microsoft.com/office/drawing/2014/main" id="{97CA5655-13B7-43D9-9916-ED99C12997C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91" name="TextBox 90">
            <a:extLst>
              <a:ext uri="{FF2B5EF4-FFF2-40B4-BE49-F238E27FC236}">
                <a16:creationId xmlns:a16="http://schemas.microsoft.com/office/drawing/2014/main" id="{C31B786F-8504-4FA7-8C27-AB4AC3DE582F}"/>
              </a:ext>
            </a:extLst>
          </p:cNvPr>
          <p:cNvSpPr txBox="1"/>
          <p:nvPr/>
        </p:nvSpPr>
        <p:spPr>
          <a:xfrm>
            <a:off x="400160" y="1602596"/>
            <a:ext cx="1415772" cy="369332"/>
          </a:xfrm>
          <a:prstGeom prst="rect">
            <a:avLst/>
          </a:prstGeom>
          <a:noFill/>
        </p:spPr>
        <p:txBody>
          <a:bodyPr wrap="none" rtlCol="0">
            <a:spAutoFit/>
          </a:bodyPr>
          <a:lstStyle/>
          <a:p>
            <a:pPr defTabSz="457189"/>
            <a:r>
              <a:rPr lang="en-ZA" dirty="0">
                <a:solidFill>
                  <a:srgbClr val="282828"/>
                </a:solidFill>
                <a:latin typeface="CiscoSansTT ExtraLight"/>
              </a:rPr>
              <a:t>Access Site</a:t>
            </a:r>
          </a:p>
        </p:txBody>
      </p:sp>
      <p:sp>
        <p:nvSpPr>
          <p:cNvPr id="92" name="TextBox 91">
            <a:extLst>
              <a:ext uri="{FF2B5EF4-FFF2-40B4-BE49-F238E27FC236}">
                <a16:creationId xmlns:a16="http://schemas.microsoft.com/office/drawing/2014/main" id="{A8485A76-F9D6-4419-853E-3C457411BF9E}"/>
              </a:ext>
            </a:extLst>
          </p:cNvPr>
          <p:cNvSpPr txBox="1"/>
          <p:nvPr/>
        </p:nvSpPr>
        <p:spPr>
          <a:xfrm>
            <a:off x="400160" y="2467764"/>
            <a:ext cx="1412566" cy="369332"/>
          </a:xfrm>
          <a:prstGeom prst="rect">
            <a:avLst/>
          </a:prstGeom>
          <a:noFill/>
        </p:spPr>
        <p:txBody>
          <a:bodyPr wrap="none" rtlCol="0">
            <a:spAutoFit/>
          </a:bodyPr>
          <a:lstStyle/>
          <a:p>
            <a:pPr defTabSz="457189"/>
            <a:r>
              <a:rPr lang="en-ZA" dirty="0">
                <a:solidFill>
                  <a:srgbClr val="282828"/>
                </a:solidFill>
                <a:latin typeface="CiscoSansTT ExtraLight"/>
              </a:rPr>
              <a:t>National DC</a:t>
            </a:r>
          </a:p>
        </p:txBody>
      </p:sp>
      <p:sp>
        <p:nvSpPr>
          <p:cNvPr id="93" name="TextBox 92">
            <a:extLst>
              <a:ext uri="{FF2B5EF4-FFF2-40B4-BE49-F238E27FC236}">
                <a16:creationId xmlns:a16="http://schemas.microsoft.com/office/drawing/2014/main" id="{10DE4762-9B1A-4D4B-9118-1880922C9363}"/>
              </a:ext>
            </a:extLst>
          </p:cNvPr>
          <p:cNvSpPr txBox="1"/>
          <p:nvPr/>
        </p:nvSpPr>
        <p:spPr>
          <a:xfrm>
            <a:off x="400160" y="2900348"/>
            <a:ext cx="1468672" cy="369332"/>
          </a:xfrm>
          <a:prstGeom prst="rect">
            <a:avLst/>
          </a:prstGeom>
          <a:noFill/>
        </p:spPr>
        <p:txBody>
          <a:bodyPr wrap="none" rtlCol="0">
            <a:spAutoFit/>
          </a:bodyPr>
          <a:lstStyle/>
          <a:p>
            <a:pPr defTabSz="457189"/>
            <a:r>
              <a:rPr lang="en-ZA" dirty="0">
                <a:solidFill>
                  <a:srgbClr val="282828"/>
                </a:solidFill>
                <a:latin typeface="CiscoSansTT ExtraLight"/>
              </a:rPr>
              <a:t>Regional DC</a:t>
            </a:r>
          </a:p>
        </p:txBody>
      </p:sp>
      <p:sp>
        <p:nvSpPr>
          <p:cNvPr id="95" name="TextBox 94">
            <a:extLst>
              <a:ext uri="{FF2B5EF4-FFF2-40B4-BE49-F238E27FC236}">
                <a16:creationId xmlns:a16="http://schemas.microsoft.com/office/drawing/2014/main" id="{2E120890-CF4C-4BBF-86FD-8983BC9247A3}"/>
              </a:ext>
            </a:extLst>
          </p:cNvPr>
          <p:cNvSpPr txBox="1"/>
          <p:nvPr/>
        </p:nvSpPr>
        <p:spPr>
          <a:xfrm>
            <a:off x="400160" y="3332932"/>
            <a:ext cx="1067921" cy="369332"/>
          </a:xfrm>
          <a:prstGeom prst="rect">
            <a:avLst/>
          </a:prstGeom>
          <a:noFill/>
        </p:spPr>
        <p:txBody>
          <a:bodyPr wrap="none" rtlCol="0">
            <a:spAutoFit/>
          </a:bodyPr>
          <a:lstStyle/>
          <a:p>
            <a:pPr defTabSz="457189"/>
            <a:r>
              <a:rPr lang="en-ZA" dirty="0">
                <a:solidFill>
                  <a:srgbClr val="282828"/>
                </a:solidFill>
                <a:latin typeface="CiscoSansTT ExtraLight"/>
              </a:rPr>
              <a:t>MEC DC</a:t>
            </a:r>
          </a:p>
        </p:txBody>
      </p:sp>
      <p:grpSp>
        <p:nvGrpSpPr>
          <p:cNvPr id="97" name="Group 96">
            <a:extLst>
              <a:ext uri="{FF2B5EF4-FFF2-40B4-BE49-F238E27FC236}">
                <a16:creationId xmlns:a16="http://schemas.microsoft.com/office/drawing/2014/main" id="{949BEBA3-92D3-4683-8722-79EE48E8A1AA}"/>
              </a:ext>
            </a:extLst>
          </p:cNvPr>
          <p:cNvGrpSpPr/>
          <p:nvPr/>
        </p:nvGrpSpPr>
        <p:grpSpPr>
          <a:xfrm>
            <a:off x="131974" y="2547336"/>
            <a:ext cx="228222" cy="280447"/>
            <a:chOff x="5491466" y="2617008"/>
            <a:chExt cx="228222" cy="409591"/>
          </a:xfrm>
        </p:grpSpPr>
        <p:sp>
          <p:nvSpPr>
            <p:cNvPr id="117" name="Freeform 195">
              <a:extLst>
                <a:ext uri="{FF2B5EF4-FFF2-40B4-BE49-F238E27FC236}">
                  <a16:creationId xmlns:a16="http://schemas.microsoft.com/office/drawing/2014/main" id="{DAB5C462-A80C-495A-8135-73759F2E37AE}"/>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3">
                <a:lumMod val="75000"/>
              </a:schemeClr>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8" name="Line 196">
              <a:extLst>
                <a:ext uri="{FF2B5EF4-FFF2-40B4-BE49-F238E27FC236}">
                  <a16:creationId xmlns:a16="http://schemas.microsoft.com/office/drawing/2014/main" id="{BE8393D4-0FDE-4D25-BD2B-BF0A7FA7ECCE}"/>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9" name="Line 197">
              <a:extLst>
                <a:ext uri="{FF2B5EF4-FFF2-40B4-BE49-F238E27FC236}">
                  <a16:creationId xmlns:a16="http://schemas.microsoft.com/office/drawing/2014/main" id="{5060D81D-3116-476E-AE44-44765A063087}"/>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0" name="Line 198">
              <a:extLst>
                <a:ext uri="{FF2B5EF4-FFF2-40B4-BE49-F238E27FC236}">
                  <a16:creationId xmlns:a16="http://schemas.microsoft.com/office/drawing/2014/main" id="{AF740C59-309E-41C3-928C-69C49AC926D9}"/>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1" name="Line 199">
              <a:extLst>
                <a:ext uri="{FF2B5EF4-FFF2-40B4-BE49-F238E27FC236}">
                  <a16:creationId xmlns:a16="http://schemas.microsoft.com/office/drawing/2014/main" id="{FD899433-1124-46A8-BBD3-FACA44D0D5C9}"/>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2" name="Line 200">
              <a:extLst>
                <a:ext uri="{FF2B5EF4-FFF2-40B4-BE49-F238E27FC236}">
                  <a16:creationId xmlns:a16="http://schemas.microsoft.com/office/drawing/2014/main" id="{22A47067-F72A-43FB-AFDC-7E5D2AE3A134}"/>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99" name="Group 98">
            <a:extLst>
              <a:ext uri="{FF2B5EF4-FFF2-40B4-BE49-F238E27FC236}">
                <a16:creationId xmlns:a16="http://schemas.microsoft.com/office/drawing/2014/main" id="{1728A82D-4EED-4509-91DA-547EC708581C}"/>
              </a:ext>
            </a:extLst>
          </p:cNvPr>
          <p:cNvGrpSpPr/>
          <p:nvPr/>
        </p:nvGrpSpPr>
        <p:grpSpPr>
          <a:xfrm>
            <a:off x="131974" y="2962355"/>
            <a:ext cx="228222" cy="280447"/>
            <a:chOff x="5491466" y="2617008"/>
            <a:chExt cx="228222" cy="409591"/>
          </a:xfrm>
        </p:grpSpPr>
        <p:sp>
          <p:nvSpPr>
            <p:cNvPr id="111" name="Freeform 195">
              <a:extLst>
                <a:ext uri="{FF2B5EF4-FFF2-40B4-BE49-F238E27FC236}">
                  <a16:creationId xmlns:a16="http://schemas.microsoft.com/office/drawing/2014/main" id="{565EA86B-BD38-4CCF-B54E-1D35623744C9}"/>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2" name="Line 196">
              <a:extLst>
                <a:ext uri="{FF2B5EF4-FFF2-40B4-BE49-F238E27FC236}">
                  <a16:creationId xmlns:a16="http://schemas.microsoft.com/office/drawing/2014/main" id="{B1AB85D7-479C-4EEF-A514-358543C47003}"/>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3" name="Line 197">
              <a:extLst>
                <a:ext uri="{FF2B5EF4-FFF2-40B4-BE49-F238E27FC236}">
                  <a16:creationId xmlns:a16="http://schemas.microsoft.com/office/drawing/2014/main" id="{D560D571-ABCC-4972-A29C-7F095A4ADB36}"/>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4" name="Line 198">
              <a:extLst>
                <a:ext uri="{FF2B5EF4-FFF2-40B4-BE49-F238E27FC236}">
                  <a16:creationId xmlns:a16="http://schemas.microsoft.com/office/drawing/2014/main" id="{9287F73A-5CAA-48C2-88D8-62D0F4FBF7F3}"/>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5" name="Line 199">
              <a:extLst>
                <a:ext uri="{FF2B5EF4-FFF2-40B4-BE49-F238E27FC236}">
                  <a16:creationId xmlns:a16="http://schemas.microsoft.com/office/drawing/2014/main" id="{EE29283D-121A-46A6-8B84-7C343991E7B9}"/>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6" name="Line 200">
              <a:extLst>
                <a:ext uri="{FF2B5EF4-FFF2-40B4-BE49-F238E27FC236}">
                  <a16:creationId xmlns:a16="http://schemas.microsoft.com/office/drawing/2014/main" id="{360DFF93-AF96-4FB9-8BF6-D7217658FDAF}"/>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00" name="Group 99">
            <a:extLst>
              <a:ext uri="{FF2B5EF4-FFF2-40B4-BE49-F238E27FC236}">
                <a16:creationId xmlns:a16="http://schemas.microsoft.com/office/drawing/2014/main" id="{7F12F71C-D3E7-43C6-B259-DBC005D5F943}"/>
              </a:ext>
            </a:extLst>
          </p:cNvPr>
          <p:cNvGrpSpPr/>
          <p:nvPr/>
        </p:nvGrpSpPr>
        <p:grpSpPr>
          <a:xfrm>
            <a:off x="131974" y="3377375"/>
            <a:ext cx="228222" cy="280447"/>
            <a:chOff x="5491466" y="2617008"/>
            <a:chExt cx="228222" cy="409591"/>
          </a:xfrm>
        </p:grpSpPr>
        <p:sp>
          <p:nvSpPr>
            <p:cNvPr id="101" name="Freeform 195">
              <a:extLst>
                <a:ext uri="{FF2B5EF4-FFF2-40B4-BE49-F238E27FC236}">
                  <a16:creationId xmlns:a16="http://schemas.microsoft.com/office/drawing/2014/main" id="{9739DF29-D29F-462F-8A45-F8BE48FF209B}"/>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5" name="Line 196">
              <a:extLst>
                <a:ext uri="{FF2B5EF4-FFF2-40B4-BE49-F238E27FC236}">
                  <a16:creationId xmlns:a16="http://schemas.microsoft.com/office/drawing/2014/main" id="{11392886-BF49-4789-856A-D505C4889218}"/>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7" name="Line 197">
              <a:extLst>
                <a:ext uri="{FF2B5EF4-FFF2-40B4-BE49-F238E27FC236}">
                  <a16:creationId xmlns:a16="http://schemas.microsoft.com/office/drawing/2014/main" id="{55898D3E-C4C5-493A-8EA4-98308F8A6EF0}"/>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8" name="Line 198">
              <a:extLst>
                <a:ext uri="{FF2B5EF4-FFF2-40B4-BE49-F238E27FC236}">
                  <a16:creationId xmlns:a16="http://schemas.microsoft.com/office/drawing/2014/main" id="{396CD0A7-7714-4A2E-A1C1-FF2F874E06E0}"/>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9" name="Line 199">
              <a:extLst>
                <a:ext uri="{FF2B5EF4-FFF2-40B4-BE49-F238E27FC236}">
                  <a16:creationId xmlns:a16="http://schemas.microsoft.com/office/drawing/2014/main" id="{97FA0E54-2200-4AEC-89AD-A8B6A5EC248F}"/>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0" name="Line 200">
              <a:extLst>
                <a:ext uri="{FF2B5EF4-FFF2-40B4-BE49-F238E27FC236}">
                  <a16:creationId xmlns:a16="http://schemas.microsoft.com/office/drawing/2014/main" id="{A55235E0-9217-49DD-B362-20E2BE9172EC}"/>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57" name="Group 156">
            <a:extLst>
              <a:ext uri="{FF2B5EF4-FFF2-40B4-BE49-F238E27FC236}">
                <a16:creationId xmlns:a16="http://schemas.microsoft.com/office/drawing/2014/main" id="{3FE90901-15C1-4BE9-AE4D-78671180C415}"/>
              </a:ext>
            </a:extLst>
          </p:cNvPr>
          <p:cNvGrpSpPr/>
          <p:nvPr/>
        </p:nvGrpSpPr>
        <p:grpSpPr>
          <a:xfrm>
            <a:off x="4566375" y="2678168"/>
            <a:ext cx="228222" cy="280447"/>
            <a:chOff x="5491466" y="2617008"/>
            <a:chExt cx="228222" cy="409591"/>
          </a:xfrm>
        </p:grpSpPr>
        <p:sp>
          <p:nvSpPr>
            <p:cNvPr id="158" name="Freeform 195">
              <a:extLst>
                <a:ext uri="{FF2B5EF4-FFF2-40B4-BE49-F238E27FC236}">
                  <a16:creationId xmlns:a16="http://schemas.microsoft.com/office/drawing/2014/main" id="{A962775D-AC2B-4FF2-9291-B55F05FBCEF5}"/>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3">
                <a:lumMod val="75000"/>
              </a:schemeClr>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9" name="Line 196">
              <a:extLst>
                <a:ext uri="{FF2B5EF4-FFF2-40B4-BE49-F238E27FC236}">
                  <a16:creationId xmlns:a16="http://schemas.microsoft.com/office/drawing/2014/main" id="{A0DA551A-47B4-4A20-98CD-451DCDE74052}"/>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0" name="Line 197">
              <a:extLst>
                <a:ext uri="{FF2B5EF4-FFF2-40B4-BE49-F238E27FC236}">
                  <a16:creationId xmlns:a16="http://schemas.microsoft.com/office/drawing/2014/main" id="{6BECBDEB-E85D-48CE-99D9-F644719455B3}"/>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1" name="Line 198">
              <a:extLst>
                <a:ext uri="{FF2B5EF4-FFF2-40B4-BE49-F238E27FC236}">
                  <a16:creationId xmlns:a16="http://schemas.microsoft.com/office/drawing/2014/main" id="{E66FFCF6-499A-41CE-94E0-5C5A47D762B4}"/>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 name="Line 199">
              <a:extLst>
                <a:ext uri="{FF2B5EF4-FFF2-40B4-BE49-F238E27FC236}">
                  <a16:creationId xmlns:a16="http://schemas.microsoft.com/office/drawing/2014/main" id="{57F1DF27-F90F-437C-A4EE-347895FF39C0}"/>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3" name="Line 200">
              <a:extLst>
                <a:ext uri="{FF2B5EF4-FFF2-40B4-BE49-F238E27FC236}">
                  <a16:creationId xmlns:a16="http://schemas.microsoft.com/office/drawing/2014/main" id="{AEE713FA-3CBF-4A70-8164-9ACC1F713CA0}"/>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64" name="Group 163">
            <a:extLst>
              <a:ext uri="{FF2B5EF4-FFF2-40B4-BE49-F238E27FC236}">
                <a16:creationId xmlns:a16="http://schemas.microsoft.com/office/drawing/2014/main" id="{21E7ADFC-7EC8-4287-9F8E-58FF5CDE9897}"/>
              </a:ext>
            </a:extLst>
          </p:cNvPr>
          <p:cNvGrpSpPr/>
          <p:nvPr/>
        </p:nvGrpSpPr>
        <p:grpSpPr>
          <a:xfrm>
            <a:off x="4070240" y="1663571"/>
            <a:ext cx="228222" cy="280447"/>
            <a:chOff x="5491466" y="2617008"/>
            <a:chExt cx="228222" cy="409591"/>
          </a:xfrm>
        </p:grpSpPr>
        <p:sp>
          <p:nvSpPr>
            <p:cNvPr id="165" name="Freeform 195">
              <a:extLst>
                <a:ext uri="{FF2B5EF4-FFF2-40B4-BE49-F238E27FC236}">
                  <a16:creationId xmlns:a16="http://schemas.microsoft.com/office/drawing/2014/main" id="{1F7C06DF-95EE-494F-A10E-F010D2CF644E}"/>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3">
                <a:lumMod val="75000"/>
              </a:schemeClr>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6" name="Line 196">
              <a:extLst>
                <a:ext uri="{FF2B5EF4-FFF2-40B4-BE49-F238E27FC236}">
                  <a16:creationId xmlns:a16="http://schemas.microsoft.com/office/drawing/2014/main" id="{6C7E50FD-EB67-476C-9B90-4AF1ED2A29B2}"/>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7" name="Line 197">
              <a:extLst>
                <a:ext uri="{FF2B5EF4-FFF2-40B4-BE49-F238E27FC236}">
                  <a16:creationId xmlns:a16="http://schemas.microsoft.com/office/drawing/2014/main" id="{3292A28F-3D8D-4DB5-817A-E2C50A37324C}"/>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8" name="Line 198">
              <a:extLst>
                <a:ext uri="{FF2B5EF4-FFF2-40B4-BE49-F238E27FC236}">
                  <a16:creationId xmlns:a16="http://schemas.microsoft.com/office/drawing/2014/main" id="{DC3E0872-3D14-458C-88CB-22BFB4E0497A}"/>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9" name="Line 199">
              <a:extLst>
                <a:ext uri="{FF2B5EF4-FFF2-40B4-BE49-F238E27FC236}">
                  <a16:creationId xmlns:a16="http://schemas.microsoft.com/office/drawing/2014/main" id="{371D9923-AD1A-4E2E-83D6-ECC6ECE66418}"/>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0" name="Line 200">
              <a:extLst>
                <a:ext uri="{FF2B5EF4-FFF2-40B4-BE49-F238E27FC236}">
                  <a16:creationId xmlns:a16="http://schemas.microsoft.com/office/drawing/2014/main" id="{BFD6BAF6-242A-4314-8DA9-4AEF3A70825D}"/>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71" name="Group 170">
            <a:extLst>
              <a:ext uri="{FF2B5EF4-FFF2-40B4-BE49-F238E27FC236}">
                <a16:creationId xmlns:a16="http://schemas.microsoft.com/office/drawing/2014/main" id="{C6958136-D92A-47DB-9981-937010AFD58B}"/>
              </a:ext>
            </a:extLst>
          </p:cNvPr>
          <p:cNvGrpSpPr/>
          <p:nvPr/>
        </p:nvGrpSpPr>
        <p:grpSpPr>
          <a:xfrm>
            <a:off x="3759123" y="3267572"/>
            <a:ext cx="228222" cy="280447"/>
            <a:chOff x="5491466" y="2617008"/>
            <a:chExt cx="228222" cy="409591"/>
          </a:xfrm>
        </p:grpSpPr>
        <p:sp>
          <p:nvSpPr>
            <p:cNvPr id="172" name="Freeform 195">
              <a:extLst>
                <a:ext uri="{FF2B5EF4-FFF2-40B4-BE49-F238E27FC236}">
                  <a16:creationId xmlns:a16="http://schemas.microsoft.com/office/drawing/2014/main" id="{9F076CA3-F707-40C8-A550-28CCAF7B509D}"/>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3" name="Line 196">
              <a:extLst>
                <a:ext uri="{FF2B5EF4-FFF2-40B4-BE49-F238E27FC236}">
                  <a16:creationId xmlns:a16="http://schemas.microsoft.com/office/drawing/2014/main" id="{864CFB7B-9EED-4FAC-8487-7D1FD5816D40}"/>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4" name="Line 197">
              <a:extLst>
                <a:ext uri="{FF2B5EF4-FFF2-40B4-BE49-F238E27FC236}">
                  <a16:creationId xmlns:a16="http://schemas.microsoft.com/office/drawing/2014/main" id="{4F41CC3E-960C-4001-AADB-4D2E02D0DC37}"/>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 name="Line 198">
              <a:extLst>
                <a:ext uri="{FF2B5EF4-FFF2-40B4-BE49-F238E27FC236}">
                  <a16:creationId xmlns:a16="http://schemas.microsoft.com/office/drawing/2014/main" id="{01BE03A0-4AE8-46E4-BF99-BD7FAFD82180}"/>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6" name="Line 199">
              <a:extLst>
                <a:ext uri="{FF2B5EF4-FFF2-40B4-BE49-F238E27FC236}">
                  <a16:creationId xmlns:a16="http://schemas.microsoft.com/office/drawing/2014/main" id="{91BD6BD7-FA51-4175-BB80-0B5DF5C22449}"/>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 name="Line 200">
              <a:extLst>
                <a:ext uri="{FF2B5EF4-FFF2-40B4-BE49-F238E27FC236}">
                  <a16:creationId xmlns:a16="http://schemas.microsoft.com/office/drawing/2014/main" id="{D9AB9089-3D75-4746-A2AD-CB9BA2547C7B}"/>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92" name="Group 191">
            <a:extLst>
              <a:ext uri="{FF2B5EF4-FFF2-40B4-BE49-F238E27FC236}">
                <a16:creationId xmlns:a16="http://schemas.microsoft.com/office/drawing/2014/main" id="{BF973029-3AFF-4375-8E3F-E46A23473DEF}"/>
              </a:ext>
            </a:extLst>
          </p:cNvPr>
          <p:cNvGrpSpPr/>
          <p:nvPr/>
        </p:nvGrpSpPr>
        <p:grpSpPr>
          <a:xfrm>
            <a:off x="5115170" y="3319852"/>
            <a:ext cx="228222" cy="280447"/>
            <a:chOff x="5491466" y="2617008"/>
            <a:chExt cx="228222" cy="409591"/>
          </a:xfrm>
        </p:grpSpPr>
        <p:sp>
          <p:nvSpPr>
            <p:cNvPr id="193" name="Freeform 195">
              <a:extLst>
                <a:ext uri="{FF2B5EF4-FFF2-40B4-BE49-F238E27FC236}">
                  <a16:creationId xmlns:a16="http://schemas.microsoft.com/office/drawing/2014/main" id="{4E67F7A1-B9A1-497F-B8A0-D0B3734CDAB1}"/>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4" name="Line 196">
              <a:extLst>
                <a:ext uri="{FF2B5EF4-FFF2-40B4-BE49-F238E27FC236}">
                  <a16:creationId xmlns:a16="http://schemas.microsoft.com/office/drawing/2014/main" id="{D5308190-0DBA-4E73-B738-30D96703433F}"/>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5" name="Line 197">
              <a:extLst>
                <a:ext uri="{FF2B5EF4-FFF2-40B4-BE49-F238E27FC236}">
                  <a16:creationId xmlns:a16="http://schemas.microsoft.com/office/drawing/2014/main" id="{5AD81B1B-1023-463B-8202-EDFCB7B49747}"/>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6" name="Line 198">
              <a:extLst>
                <a:ext uri="{FF2B5EF4-FFF2-40B4-BE49-F238E27FC236}">
                  <a16:creationId xmlns:a16="http://schemas.microsoft.com/office/drawing/2014/main" id="{59A006F2-7D05-47DB-8850-1F03141A5AD9}"/>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7" name="Line 199">
              <a:extLst>
                <a:ext uri="{FF2B5EF4-FFF2-40B4-BE49-F238E27FC236}">
                  <a16:creationId xmlns:a16="http://schemas.microsoft.com/office/drawing/2014/main" id="{951C1DC4-1721-4F97-8D3F-06AD9B7A9CC4}"/>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8" name="Line 200">
              <a:extLst>
                <a:ext uri="{FF2B5EF4-FFF2-40B4-BE49-F238E27FC236}">
                  <a16:creationId xmlns:a16="http://schemas.microsoft.com/office/drawing/2014/main" id="{7CA81809-77BD-4641-A357-9999AEC5BD4C}"/>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99" name="Group 198">
            <a:extLst>
              <a:ext uri="{FF2B5EF4-FFF2-40B4-BE49-F238E27FC236}">
                <a16:creationId xmlns:a16="http://schemas.microsoft.com/office/drawing/2014/main" id="{CF970EB0-A35B-4BC2-949B-43125568B930}"/>
              </a:ext>
            </a:extLst>
          </p:cNvPr>
          <p:cNvGrpSpPr/>
          <p:nvPr/>
        </p:nvGrpSpPr>
        <p:grpSpPr>
          <a:xfrm>
            <a:off x="6480345" y="2522874"/>
            <a:ext cx="228222" cy="280447"/>
            <a:chOff x="5491466" y="2617008"/>
            <a:chExt cx="228222" cy="409591"/>
          </a:xfrm>
        </p:grpSpPr>
        <p:sp>
          <p:nvSpPr>
            <p:cNvPr id="200" name="Freeform 195">
              <a:extLst>
                <a:ext uri="{FF2B5EF4-FFF2-40B4-BE49-F238E27FC236}">
                  <a16:creationId xmlns:a16="http://schemas.microsoft.com/office/drawing/2014/main" id="{F49886EB-0C68-4DD3-8A8E-64C74DFF2588}"/>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1" name="Line 196">
              <a:extLst>
                <a:ext uri="{FF2B5EF4-FFF2-40B4-BE49-F238E27FC236}">
                  <a16:creationId xmlns:a16="http://schemas.microsoft.com/office/drawing/2014/main" id="{6A5EC3F4-5EF6-4883-90F1-736070C67C47}"/>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2" name="Line 197">
              <a:extLst>
                <a:ext uri="{FF2B5EF4-FFF2-40B4-BE49-F238E27FC236}">
                  <a16:creationId xmlns:a16="http://schemas.microsoft.com/office/drawing/2014/main" id="{847122BF-28EF-4F07-B47D-279642B19AC0}"/>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3" name="Line 198">
              <a:extLst>
                <a:ext uri="{FF2B5EF4-FFF2-40B4-BE49-F238E27FC236}">
                  <a16:creationId xmlns:a16="http://schemas.microsoft.com/office/drawing/2014/main" id="{BB08DA49-C01F-430D-B44F-3A153E8C7E65}"/>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4" name="Line 199">
              <a:extLst>
                <a:ext uri="{FF2B5EF4-FFF2-40B4-BE49-F238E27FC236}">
                  <a16:creationId xmlns:a16="http://schemas.microsoft.com/office/drawing/2014/main" id="{2CB20DF4-BB80-474E-94A8-39585E379CA9}"/>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5" name="Line 200">
              <a:extLst>
                <a:ext uri="{FF2B5EF4-FFF2-40B4-BE49-F238E27FC236}">
                  <a16:creationId xmlns:a16="http://schemas.microsoft.com/office/drawing/2014/main" id="{EB0E1217-72B2-4BA4-974C-04C48AC8D046}"/>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206" name="Group 205">
            <a:extLst>
              <a:ext uri="{FF2B5EF4-FFF2-40B4-BE49-F238E27FC236}">
                <a16:creationId xmlns:a16="http://schemas.microsoft.com/office/drawing/2014/main" id="{0E01659E-425C-4E34-ADAF-DC4F6E87A0AE}"/>
              </a:ext>
            </a:extLst>
          </p:cNvPr>
          <p:cNvGrpSpPr/>
          <p:nvPr/>
        </p:nvGrpSpPr>
        <p:grpSpPr>
          <a:xfrm>
            <a:off x="5559964" y="1410677"/>
            <a:ext cx="228222" cy="280447"/>
            <a:chOff x="5491466" y="2617008"/>
            <a:chExt cx="228222" cy="409591"/>
          </a:xfrm>
        </p:grpSpPr>
        <p:sp>
          <p:nvSpPr>
            <p:cNvPr id="207" name="Freeform 195">
              <a:extLst>
                <a:ext uri="{FF2B5EF4-FFF2-40B4-BE49-F238E27FC236}">
                  <a16:creationId xmlns:a16="http://schemas.microsoft.com/office/drawing/2014/main" id="{77B86119-417A-4EA5-A1E8-ED92FB49EAC5}"/>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8" name="Line 196">
              <a:extLst>
                <a:ext uri="{FF2B5EF4-FFF2-40B4-BE49-F238E27FC236}">
                  <a16:creationId xmlns:a16="http://schemas.microsoft.com/office/drawing/2014/main" id="{6C6F108C-206D-4C48-AC00-2C437CF07BD3}"/>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9" name="Line 197">
              <a:extLst>
                <a:ext uri="{FF2B5EF4-FFF2-40B4-BE49-F238E27FC236}">
                  <a16:creationId xmlns:a16="http://schemas.microsoft.com/office/drawing/2014/main" id="{919B0730-99A5-4ACD-96BA-F609F9F9F144}"/>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0" name="Line 198">
              <a:extLst>
                <a:ext uri="{FF2B5EF4-FFF2-40B4-BE49-F238E27FC236}">
                  <a16:creationId xmlns:a16="http://schemas.microsoft.com/office/drawing/2014/main" id="{F797DCC3-F836-45FE-A3D5-7D04C27426C5}"/>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1" name="Line 199">
              <a:extLst>
                <a:ext uri="{FF2B5EF4-FFF2-40B4-BE49-F238E27FC236}">
                  <a16:creationId xmlns:a16="http://schemas.microsoft.com/office/drawing/2014/main" id="{841669FD-D02B-4337-B2C7-061550C515AC}"/>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2" name="Line 200">
              <a:extLst>
                <a:ext uri="{FF2B5EF4-FFF2-40B4-BE49-F238E27FC236}">
                  <a16:creationId xmlns:a16="http://schemas.microsoft.com/office/drawing/2014/main" id="{7D165CF5-A312-44B0-8044-A9D44C8D771D}"/>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213" name="Group 212">
            <a:extLst>
              <a:ext uri="{FF2B5EF4-FFF2-40B4-BE49-F238E27FC236}">
                <a16:creationId xmlns:a16="http://schemas.microsoft.com/office/drawing/2014/main" id="{E1AB80DF-6C7C-4C2C-9783-E4660D7273DE}"/>
              </a:ext>
            </a:extLst>
          </p:cNvPr>
          <p:cNvGrpSpPr/>
          <p:nvPr/>
        </p:nvGrpSpPr>
        <p:grpSpPr>
          <a:xfrm>
            <a:off x="4637354" y="939627"/>
            <a:ext cx="228222" cy="280447"/>
            <a:chOff x="5491466" y="2617008"/>
            <a:chExt cx="228222" cy="409591"/>
          </a:xfrm>
        </p:grpSpPr>
        <p:sp>
          <p:nvSpPr>
            <p:cNvPr id="214" name="Freeform 195">
              <a:extLst>
                <a:ext uri="{FF2B5EF4-FFF2-40B4-BE49-F238E27FC236}">
                  <a16:creationId xmlns:a16="http://schemas.microsoft.com/office/drawing/2014/main" id="{A6913E00-29FE-4AB5-87CB-73914C08B0DC}"/>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5" name="Line 196">
              <a:extLst>
                <a:ext uri="{FF2B5EF4-FFF2-40B4-BE49-F238E27FC236}">
                  <a16:creationId xmlns:a16="http://schemas.microsoft.com/office/drawing/2014/main" id="{51E8EBB3-A038-482D-BB2C-85654C19C188}"/>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6" name="Line 197">
              <a:extLst>
                <a:ext uri="{FF2B5EF4-FFF2-40B4-BE49-F238E27FC236}">
                  <a16:creationId xmlns:a16="http://schemas.microsoft.com/office/drawing/2014/main" id="{AF730032-EAAD-4926-B674-AF0191A7AA4F}"/>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7" name="Line 198">
              <a:extLst>
                <a:ext uri="{FF2B5EF4-FFF2-40B4-BE49-F238E27FC236}">
                  <a16:creationId xmlns:a16="http://schemas.microsoft.com/office/drawing/2014/main" id="{34E58656-0615-474A-AE5F-91BFA29BA3A3}"/>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8" name="Line 199">
              <a:extLst>
                <a:ext uri="{FF2B5EF4-FFF2-40B4-BE49-F238E27FC236}">
                  <a16:creationId xmlns:a16="http://schemas.microsoft.com/office/drawing/2014/main" id="{2AFD643F-AA7D-4FD6-92B4-58DE75889290}"/>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9" name="Line 200">
              <a:extLst>
                <a:ext uri="{FF2B5EF4-FFF2-40B4-BE49-F238E27FC236}">
                  <a16:creationId xmlns:a16="http://schemas.microsoft.com/office/drawing/2014/main" id="{E3B9793E-F62E-421C-938D-C05FBA488C90}"/>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220" name="Group 219">
            <a:extLst>
              <a:ext uri="{FF2B5EF4-FFF2-40B4-BE49-F238E27FC236}">
                <a16:creationId xmlns:a16="http://schemas.microsoft.com/office/drawing/2014/main" id="{8856F19D-B64A-4A59-8209-D59C1F8DD895}"/>
              </a:ext>
            </a:extLst>
          </p:cNvPr>
          <p:cNvGrpSpPr/>
          <p:nvPr/>
        </p:nvGrpSpPr>
        <p:grpSpPr>
          <a:xfrm>
            <a:off x="5523017" y="686534"/>
            <a:ext cx="228222" cy="280447"/>
            <a:chOff x="5491466" y="2617008"/>
            <a:chExt cx="228222" cy="409591"/>
          </a:xfrm>
        </p:grpSpPr>
        <p:sp>
          <p:nvSpPr>
            <p:cNvPr id="221" name="Freeform 195">
              <a:extLst>
                <a:ext uri="{FF2B5EF4-FFF2-40B4-BE49-F238E27FC236}">
                  <a16:creationId xmlns:a16="http://schemas.microsoft.com/office/drawing/2014/main" id="{54B76BF8-1DB1-43AB-8C98-A1662D574690}"/>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2" name="Line 196">
              <a:extLst>
                <a:ext uri="{FF2B5EF4-FFF2-40B4-BE49-F238E27FC236}">
                  <a16:creationId xmlns:a16="http://schemas.microsoft.com/office/drawing/2014/main" id="{EE90C9B8-F9C3-4CBF-B9E1-66BF961BE301}"/>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3" name="Line 197">
              <a:extLst>
                <a:ext uri="{FF2B5EF4-FFF2-40B4-BE49-F238E27FC236}">
                  <a16:creationId xmlns:a16="http://schemas.microsoft.com/office/drawing/2014/main" id="{1C4EE6D5-CF1E-400E-8C21-6E214268D2BB}"/>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4" name="Line 198">
              <a:extLst>
                <a:ext uri="{FF2B5EF4-FFF2-40B4-BE49-F238E27FC236}">
                  <a16:creationId xmlns:a16="http://schemas.microsoft.com/office/drawing/2014/main" id="{07AE3BAD-6878-439F-87C6-2543A3A8EA88}"/>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5" name="Line 199">
              <a:extLst>
                <a:ext uri="{FF2B5EF4-FFF2-40B4-BE49-F238E27FC236}">
                  <a16:creationId xmlns:a16="http://schemas.microsoft.com/office/drawing/2014/main" id="{D72EC9F1-81A1-4AC6-AACA-A46005DB6F5B}"/>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6" name="Line 200">
              <a:extLst>
                <a:ext uri="{FF2B5EF4-FFF2-40B4-BE49-F238E27FC236}">
                  <a16:creationId xmlns:a16="http://schemas.microsoft.com/office/drawing/2014/main" id="{FC054809-55C8-4FC2-9810-C3C6E9B30CA7}"/>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227" name="Group 226">
            <a:extLst>
              <a:ext uri="{FF2B5EF4-FFF2-40B4-BE49-F238E27FC236}">
                <a16:creationId xmlns:a16="http://schemas.microsoft.com/office/drawing/2014/main" id="{4F56F961-8247-413F-AAB6-D339512641D9}"/>
              </a:ext>
            </a:extLst>
          </p:cNvPr>
          <p:cNvGrpSpPr/>
          <p:nvPr/>
        </p:nvGrpSpPr>
        <p:grpSpPr>
          <a:xfrm>
            <a:off x="5354945" y="2927418"/>
            <a:ext cx="228222" cy="280447"/>
            <a:chOff x="5491466" y="2617008"/>
            <a:chExt cx="228222" cy="409591"/>
          </a:xfrm>
        </p:grpSpPr>
        <p:sp>
          <p:nvSpPr>
            <p:cNvPr id="228" name="Freeform 195">
              <a:extLst>
                <a:ext uri="{FF2B5EF4-FFF2-40B4-BE49-F238E27FC236}">
                  <a16:creationId xmlns:a16="http://schemas.microsoft.com/office/drawing/2014/main" id="{17613D12-D219-49CE-BD80-894B5B6603AE}"/>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9" name="Line 196">
              <a:extLst>
                <a:ext uri="{FF2B5EF4-FFF2-40B4-BE49-F238E27FC236}">
                  <a16:creationId xmlns:a16="http://schemas.microsoft.com/office/drawing/2014/main" id="{F0992512-8D8E-48FE-9FA3-D7B31A8B86E5}"/>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0" name="Line 197">
              <a:extLst>
                <a:ext uri="{FF2B5EF4-FFF2-40B4-BE49-F238E27FC236}">
                  <a16:creationId xmlns:a16="http://schemas.microsoft.com/office/drawing/2014/main" id="{C5FFAE66-7C4F-4719-8A70-B90443003546}"/>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1" name="Line 198">
              <a:extLst>
                <a:ext uri="{FF2B5EF4-FFF2-40B4-BE49-F238E27FC236}">
                  <a16:creationId xmlns:a16="http://schemas.microsoft.com/office/drawing/2014/main" id="{6389B702-84AC-4ECC-BA7F-132A81A91A97}"/>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2" name="Line 199">
              <a:extLst>
                <a:ext uri="{FF2B5EF4-FFF2-40B4-BE49-F238E27FC236}">
                  <a16:creationId xmlns:a16="http://schemas.microsoft.com/office/drawing/2014/main" id="{598A7717-24FF-41EA-9B3E-E57DC11837A2}"/>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3" name="Line 200">
              <a:extLst>
                <a:ext uri="{FF2B5EF4-FFF2-40B4-BE49-F238E27FC236}">
                  <a16:creationId xmlns:a16="http://schemas.microsoft.com/office/drawing/2014/main" id="{8AD2BAD5-31D3-4530-9608-CBDF7A01D6C1}"/>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234" name="Group 233">
            <a:extLst>
              <a:ext uri="{FF2B5EF4-FFF2-40B4-BE49-F238E27FC236}">
                <a16:creationId xmlns:a16="http://schemas.microsoft.com/office/drawing/2014/main" id="{6DFD0BC5-9D94-48DD-8CEB-9BA76A4A121E}"/>
              </a:ext>
            </a:extLst>
          </p:cNvPr>
          <p:cNvGrpSpPr/>
          <p:nvPr/>
        </p:nvGrpSpPr>
        <p:grpSpPr>
          <a:xfrm>
            <a:off x="4387925" y="3774678"/>
            <a:ext cx="228222" cy="280447"/>
            <a:chOff x="5491466" y="2617008"/>
            <a:chExt cx="228222" cy="409591"/>
          </a:xfrm>
        </p:grpSpPr>
        <p:sp>
          <p:nvSpPr>
            <p:cNvPr id="235" name="Freeform 195">
              <a:extLst>
                <a:ext uri="{FF2B5EF4-FFF2-40B4-BE49-F238E27FC236}">
                  <a16:creationId xmlns:a16="http://schemas.microsoft.com/office/drawing/2014/main" id="{3E3EC7AA-4E93-4CD6-9DAA-80B394C459A0}"/>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6" name="Line 196">
              <a:extLst>
                <a:ext uri="{FF2B5EF4-FFF2-40B4-BE49-F238E27FC236}">
                  <a16:creationId xmlns:a16="http://schemas.microsoft.com/office/drawing/2014/main" id="{0020E112-760B-4F57-B2F6-80AD98308E10}"/>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7" name="Line 197">
              <a:extLst>
                <a:ext uri="{FF2B5EF4-FFF2-40B4-BE49-F238E27FC236}">
                  <a16:creationId xmlns:a16="http://schemas.microsoft.com/office/drawing/2014/main" id="{B4C044E4-7B0B-4548-89A6-C0A674930B28}"/>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8" name="Line 198">
              <a:extLst>
                <a:ext uri="{FF2B5EF4-FFF2-40B4-BE49-F238E27FC236}">
                  <a16:creationId xmlns:a16="http://schemas.microsoft.com/office/drawing/2014/main" id="{AF42D1DF-F948-4936-8061-C44E47162B1B}"/>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9" name="Line 199">
              <a:extLst>
                <a:ext uri="{FF2B5EF4-FFF2-40B4-BE49-F238E27FC236}">
                  <a16:creationId xmlns:a16="http://schemas.microsoft.com/office/drawing/2014/main" id="{45D106EE-75CA-48A0-A84C-4C3DE69B1A2D}"/>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0" name="Line 200">
              <a:extLst>
                <a:ext uri="{FF2B5EF4-FFF2-40B4-BE49-F238E27FC236}">
                  <a16:creationId xmlns:a16="http://schemas.microsoft.com/office/drawing/2014/main" id="{FD718DB9-1139-4B9B-BE4F-2A555EAD37DE}"/>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Tree>
    <p:extLst>
      <p:ext uri="{BB962C8B-B14F-4D97-AF65-F5344CB8AC3E}">
        <p14:creationId xmlns:p14="http://schemas.microsoft.com/office/powerpoint/2010/main" val="2958200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a:off x="5435469" y="1086742"/>
            <a:ext cx="3146262" cy="1196133"/>
          </a:xfrm>
          <a:prstGeom prst="rect">
            <a:avLst/>
          </a:prstGeom>
          <a:no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Apple LiGothic Medium"/>
            </a:endParaRPr>
          </a:p>
        </p:txBody>
      </p:sp>
      <p:sp>
        <p:nvSpPr>
          <p:cNvPr id="65" name="Rectangle 64"/>
          <p:cNvSpPr/>
          <p:nvPr/>
        </p:nvSpPr>
        <p:spPr>
          <a:xfrm>
            <a:off x="534521" y="1086742"/>
            <a:ext cx="4727761" cy="3313808"/>
          </a:xfrm>
          <a:prstGeom prst="rect">
            <a:avLst/>
          </a:prstGeom>
          <a:no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9393B"/>
              </a:solidFill>
              <a:effectLst/>
              <a:uLnTx/>
              <a:uFillTx/>
              <a:latin typeface="Arial"/>
              <a:ea typeface="Apple LiGothic Medium"/>
            </a:endParaRPr>
          </a:p>
        </p:txBody>
      </p:sp>
      <p:sp>
        <p:nvSpPr>
          <p:cNvPr id="46" name="Rectangle 45"/>
          <p:cNvSpPr/>
          <p:nvPr/>
        </p:nvSpPr>
        <p:spPr>
          <a:xfrm>
            <a:off x="5435469" y="2388074"/>
            <a:ext cx="3173543" cy="2012471"/>
          </a:xfrm>
          <a:prstGeom prst="rect">
            <a:avLst/>
          </a:prstGeom>
          <a:solidFill>
            <a:schemeClr val="bg2"/>
          </a:solidFill>
        </p:spPr>
      </p:sp>
      <p:sp>
        <p:nvSpPr>
          <p:cNvPr id="36" name="Slide Number Placeholder 35"/>
          <p:cNvSpPr>
            <a:spLocks noGrp="1"/>
          </p:cNvSpPr>
          <p:nvPr>
            <p:ph type="sldNum" sz="quarter" idx="4"/>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96A97DD0-5BE7-4856-A2A9-C42C6688E607}" type="slidenum">
              <a:rPr kumimoji="0" lang="en-US" sz="600" b="0" i="0" u="none" strike="noStrike" kern="1200" cap="none" spc="0" normalizeH="0" baseline="0" noProof="0">
                <a:ln>
                  <a:noFill/>
                </a:ln>
                <a:solidFill>
                  <a:srgbClr val="000000"/>
                </a:solidFill>
                <a:effectLst/>
                <a:uLnTx/>
                <a:uFillTx/>
                <a:latin typeface="Arial"/>
                <a:ea typeface="Apple LiGothic Medium"/>
              </a:rPr>
              <a:pPr marL="0" marR="0" lvl="0" indent="0" algn="r" defTabSz="457200" rtl="0" eaLnBrk="1" fontAlgn="base" latinLnBrk="0" hangingPunct="1">
                <a:lnSpc>
                  <a:spcPct val="100000"/>
                </a:lnSpc>
                <a:spcBef>
                  <a:spcPct val="0"/>
                </a:spcBef>
                <a:spcAft>
                  <a:spcPct val="0"/>
                </a:spcAft>
                <a:buClrTx/>
                <a:buSzTx/>
                <a:buFontTx/>
                <a:buNone/>
                <a:tabLst/>
                <a:defRPr/>
              </a:pPr>
              <a:t>137</a:t>
            </a:fld>
            <a:endParaRPr kumimoji="0" lang="en-US" sz="600" b="0" i="0" u="none" strike="noStrike" kern="1200" cap="none" spc="0" normalizeH="0" baseline="0" noProof="0" dirty="0">
              <a:ln>
                <a:noFill/>
              </a:ln>
              <a:solidFill>
                <a:srgbClr val="000000"/>
              </a:solidFill>
              <a:effectLst/>
              <a:uLnTx/>
              <a:uFillTx/>
              <a:latin typeface="Arial"/>
              <a:ea typeface="Apple LiGothic Medium"/>
            </a:endParaRPr>
          </a:p>
        </p:txBody>
      </p:sp>
      <p:sp>
        <p:nvSpPr>
          <p:cNvPr id="3" name="Title 2"/>
          <p:cNvSpPr>
            <a:spLocks noGrp="1"/>
          </p:cNvSpPr>
          <p:nvPr>
            <p:ph type="title"/>
          </p:nvPr>
        </p:nvSpPr>
        <p:spPr>
          <a:noFill/>
          <a:ln>
            <a:noFill/>
          </a:ln>
        </p:spPr>
        <p:txBody>
          <a:bodyPr vert="horz" wrap="square" lIns="91440" tIns="45720" rIns="91440" bIns="45720" numCol="1" anchor="ctr" anchorCtr="0" compatLnSpc="1">
            <a:prstTxWarp prst="textNoShape">
              <a:avLst/>
            </a:prstTxWarp>
          </a:bodyPr>
          <a:lstStyle/>
          <a:p>
            <a:r>
              <a:rPr lang="en-GB" dirty="0"/>
              <a:t>The</a:t>
            </a:r>
            <a:r>
              <a:rPr lang="en-GB" dirty="0">
                <a:solidFill>
                  <a:schemeClr val="accent6"/>
                </a:solidFill>
              </a:rPr>
              <a:t> </a:t>
            </a:r>
            <a:r>
              <a:rPr lang="en-GB" dirty="0"/>
              <a:t>ETSI NFV Reference Architecture and NFVI</a:t>
            </a:r>
            <a:endParaRPr lang="en-US" dirty="0"/>
          </a:p>
        </p:txBody>
      </p:sp>
      <p:sp>
        <p:nvSpPr>
          <p:cNvPr id="4" name="Shape 201"/>
          <p:cNvSpPr/>
          <p:nvPr/>
        </p:nvSpPr>
        <p:spPr>
          <a:xfrm>
            <a:off x="4215816" y="1151555"/>
            <a:ext cx="985223" cy="3154867"/>
          </a:xfrm>
          <a:prstGeom prst="rect">
            <a:avLst/>
          </a:prstGeom>
          <a:noFill/>
          <a:ln w="12700" cap="flat" cmpd="sng" algn="ctr">
            <a:solidFill>
              <a:srgbClr val="7F7F7F"/>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00" tIns="27432" rIns="36000" bIns="60949" rtlCol="0" anchor="t">
            <a:normAutofit/>
          </a:bodyPr>
          <a:lstStyle/>
          <a:p>
            <a:pPr marL="0" marR="0" lvl="0" indent="0" algn="ctr" defTabSz="685800" rtl="0" eaLnBrk="1" fontAlgn="auto" latinLnBrk="0" hangingPunct="1">
              <a:lnSpc>
                <a:spcPct val="100000"/>
              </a:lnSpc>
              <a:spcBef>
                <a:spcPts val="400"/>
              </a:spcBef>
              <a:spcAft>
                <a:spcPts val="0"/>
              </a:spcAft>
              <a:buClrTx/>
              <a:buSzTx/>
              <a:buFontTx/>
              <a:buNone/>
              <a:tabLst/>
              <a:defRPr/>
            </a:pPr>
            <a:r>
              <a:rPr kumimoji="0" lang="en-US" sz="1100" b="1" i="0" u="none" strike="noStrike" kern="1200" cap="none" spc="0" normalizeH="0" baseline="0" noProof="0" dirty="0">
                <a:ln>
                  <a:noFill/>
                </a:ln>
                <a:solidFill>
                  <a:srgbClr val="39393B"/>
                </a:solidFill>
                <a:effectLst/>
                <a:uLnTx/>
                <a:uFillTx/>
                <a:latin typeface="Arial"/>
                <a:ea typeface="Apple LiGothic Medium"/>
                <a:cs typeface="Arial"/>
              </a:rPr>
              <a:t>MANO</a:t>
            </a:r>
            <a:endParaRPr kumimoji="0" lang="en-US" sz="1050" b="0" i="0" u="none" strike="noStrike" kern="1200" cap="none" spc="0" normalizeH="0" baseline="0" noProof="0" dirty="0">
              <a:ln>
                <a:noFill/>
              </a:ln>
              <a:solidFill>
                <a:srgbClr val="39393B"/>
              </a:solidFill>
              <a:effectLst/>
              <a:uLnTx/>
              <a:uFillTx/>
              <a:latin typeface="Arial"/>
              <a:ea typeface="Apple LiGothic Medium"/>
              <a:cs typeface="Arial"/>
            </a:endParaRPr>
          </a:p>
        </p:txBody>
      </p:sp>
      <p:sp>
        <p:nvSpPr>
          <p:cNvPr id="5" name="Rounded Rectangle 4"/>
          <p:cNvSpPr/>
          <p:nvPr/>
        </p:nvSpPr>
        <p:spPr>
          <a:xfrm>
            <a:off x="4380327" y="1415850"/>
            <a:ext cx="685757" cy="561745"/>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9393B"/>
                </a:solidFill>
                <a:effectLst/>
                <a:uLnTx/>
                <a:uFillTx/>
                <a:latin typeface="Arial"/>
                <a:ea typeface="Apple LiGothic Medium"/>
              </a:rPr>
              <a:t>NFV Orchestrator</a:t>
            </a:r>
            <a:endParaRPr kumimoji="0" lang="en-US" sz="700" b="0" i="0" u="none" strike="noStrike" kern="1200" cap="none" spc="0" normalizeH="0" baseline="0" noProof="0" dirty="0">
              <a:ln>
                <a:noFill/>
              </a:ln>
              <a:solidFill>
                <a:srgbClr val="39393B"/>
              </a:solidFill>
              <a:effectLst/>
              <a:uLnTx/>
              <a:uFillTx/>
              <a:latin typeface="Arial"/>
              <a:ea typeface="Apple LiGothic Medium"/>
            </a:endParaRPr>
          </a:p>
        </p:txBody>
      </p:sp>
      <p:sp>
        <p:nvSpPr>
          <p:cNvPr id="6" name="Shape 262"/>
          <p:cNvSpPr/>
          <p:nvPr/>
        </p:nvSpPr>
        <p:spPr>
          <a:xfrm>
            <a:off x="580780" y="2069806"/>
            <a:ext cx="3070283" cy="681352"/>
          </a:xfrm>
          <a:prstGeom prst="rect">
            <a:avLst/>
          </a:prstGeom>
          <a:noFill/>
          <a:ln w="12700" cap="flat" cmpd="sng" algn="ctr">
            <a:solidFill>
              <a:srgbClr val="7F7F7F"/>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t">
            <a:normAutofit/>
          </a:bodyPr>
          <a:lstStyle/>
          <a:p>
            <a:pPr marL="0" marR="0" lvl="0" indent="0" algn="ctr" defTabSz="685800" rtl="0" eaLnBrk="1" fontAlgn="auto" latinLnBrk="0" hangingPunct="1">
              <a:lnSpc>
                <a:spcPct val="100000"/>
              </a:lnSpc>
              <a:spcBef>
                <a:spcPts val="400"/>
              </a:spcBef>
              <a:spcAft>
                <a:spcPts val="0"/>
              </a:spcAft>
              <a:buClrTx/>
              <a:buSzTx/>
              <a:buFontTx/>
              <a:buNone/>
              <a:tabLst/>
              <a:defRPr/>
            </a:pPr>
            <a:endParaRPr kumimoji="0" lang="en-US" sz="800" b="0" i="0" u="none" strike="noStrike" kern="1200" cap="none" spc="0" normalizeH="0" baseline="0" noProof="0" dirty="0">
              <a:ln>
                <a:noFill/>
              </a:ln>
              <a:solidFill>
                <a:srgbClr val="39393B"/>
              </a:solidFill>
              <a:effectLst/>
              <a:uLnTx/>
              <a:uFillTx/>
              <a:latin typeface="Arial"/>
              <a:ea typeface="Apple LiGothic Medium"/>
              <a:cs typeface="Arial"/>
            </a:endParaRPr>
          </a:p>
        </p:txBody>
      </p:sp>
      <p:sp>
        <p:nvSpPr>
          <p:cNvPr id="7" name="Rectangle 6"/>
          <p:cNvSpPr/>
          <p:nvPr/>
        </p:nvSpPr>
        <p:spPr>
          <a:xfrm>
            <a:off x="747070" y="2487490"/>
            <a:ext cx="804183" cy="204388"/>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39393B"/>
                </a:solidFill>
                <a:effectLst/>
                <a:uLnTx/>
                <a:uFillTx/>
                <a:latin typeface="Arial"/>
                <a:ea typeface="Apple LiGothic Medium"/>
              </a:rPr>
              <a:t>VNF 1</a:t>
            </a:r>
          </a:p>
        </p:txBody>
      </p:sp>
      <p:sp>
        <p:nvSpPr>
          <p:cNvPr id="8" name="Rectangle 7"/>
          <p:cNvSpPr/>
          <p:nvPr/>
        </p:nvSpPr>
        <p:spPr>
          <a:xfrm>
            <a:off x="2688959" y="2487490"/>
            <a:ext cx="804183" cy="204388"/>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39393B"/>
                </a:solidFill>
                <a:effectLst/>
                <a:uLnTx/>
                <a:uFillTx/>
                <a:latin typeface="Arial"/>
                <a:ea typeface="Apple LiGothic Medium"/>
              </a:rPr>
              <a:t>VNF 3</a:t>
            </a:r>
          </a:p>
        </p:txBody>
      </p:sp>
      <p:sp>
        <p:nvSpPr>
          <p:cNvPr id="9" name="Rectangle 8"/>
          <p:cNvSpPr/>
          <p:nvPr/>
        </p:nvSpPr>
        <p:spPr>
          <a:xfrm>
            <a:off x="1730706" y="2487490"/>
            <a:ext cx="804183" cy="204388"/>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39393B"/>
                </a:solidFill>
                <a:effectLst/>
                <a:uLnTx/>
                <a:uFillTx/>
                <a:latin typeface="Arial"/>
                <a:ea typeface="Apple LiGothic Medium"/>
              </a:rPr>
              <a:t>VNF 2</a:t>
            </a:r>
          </a:p>
        </p:txBody>
      </p:sp>
      <p:sp>
        <p:nvSpPr>
          <p:cNvPr id="11" name="Rounded Rectangle 10"/>
          <p:cNvSpPr/>
          <p:nvPr/>
        </p:nvSpPr>
        <p:spPr>
          <a:xfrm>
            <a:off x="4378672" y="2144081"/>
            <a:ext cx="656961" cy="539414"/>
          </a:xfrm>
          <a:prstGeom prst="rect">
            <a:avLst/>
          </a:prstGeom>
          <a:noFill/>
          <a:ln w="3175" cmpd="sng">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9393B"/>
                </a:solidFill>
                <a:effectLst/>
                <a:uLnTx/>
                <a:uFillTx/>
                <a:latin typeface="Arial"/>
                <a:ea typeface="Apple LiGothic Medium"/>
              </a:rPr>
              <a:t>VNF Manager</a:t>
            </a:r>
          </a:p>
        </p:txBody>
      </p:sp>
      <p:sp>
        <p:nvSpPr>
          <p:cNvPr id="12" name="Rounded Rectangle 11"/>
          <p:cNvSpPr/>
          <p:nvPr/>
        </p:nvSpPr>
        <p:spPr>
          <a:xfrm>
            <a:off x="581547" y="1428955"/>
            <a:ext cx="3070244" cy="371554"/>
          </a:xfrm>
          <a:prstGeom prst="rect">
            <a:avLst/>
          </a:prstGeom>
          <a:noFill/>
          <a:ln w="635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39393B"/>
                </a:solidFill>
                <a:effectLst/>
                <a:uLnTx/>
                <a:uFillTx/>
                <a:latin typeface="Arial"/>
                <a:ea typeface="Apple LiGothic Medium"/>
              </a:rPr>
              <a:t>OSS/BSS</a:t>
            </a:r>
          </a:p>
        </p:txBody>
      </p:sp>
      <p:sp>
        <p:nvSpPr>
          <p:cNvPr id="13" name="Shape 262"/>
          <p:cNvSpPr/>
          <p:nvPr/>
        </p:nvSpPr>
        <p:spPr>
          <a:xfrm>
            <a:off x="580780" y="2855781"/>
            <a:ext cx="3070283" cy="1451974"/>
          </a:xfrm>
          <a:prstGeom prst="rect">
            <a:avLst/>
          </a:prstGeom>
          <a:noFill/>
          <a:ln w="12700" cap="flat" cmpd="sng" algn="ctr">
            <a:solidFill>
              <a:srgbClr val="FF0000"/>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t">
            <a:normAutofit/>
          </a:bodyPr>
          <a:lstStyle/>
          <a:p>
            <a:pPr marL="0" marR="0" lvl="0" indent="0" algn="ctr" defTabSz="685800" rtl="0" eaLnBrk="1" fontAlgn="auto" latinLnBrk="0" hangingPunct="1">
              <a:lnSpc>
                <a:spcPct val="100000"/>
              </a:lnSpc>
              <a:spcBef>
                <a:spcPts val="400"/>
              </a:spcBef>
              <a:spcAft>
                <a:spcPts val="0"/>
              </a:spcAft>
              <a:buClrTx/>
              <a:buSzTx/>
              <a:buFontTx/>
              <a:buNone/>
              <a:tabLst/>
              <a:defRPr/>
            </a:pPr>
            <a:r>
              <a:rPr kumimoji="0" lang="en-US" sz="1100" b="1" i="0" u="none" strike="noStrike" kern="1200" cap="none" spc="0" normalizeH="0" baseline="0" noProof="0" dirty="0">
                <a:ln>
                  <a:noFill/>
                </a:ln>
                <a:solidFill>
                  <a:srgbClr val="39393B"/>
                </a:solidFill>
                <a:effectLst/>
                <a:uLnTx/>
                <a:uFillTx/>
                <a:latin typeface="Arial"/>
                <a:ea typeface="Apple LiGothic Medium"/>
                <a:cs typeface="Arial"/>
              </a:rPr>
              <a:t>NFVI</a:t>
            </a:r>
            <a:endParaRPr kumimoji="0" lang="en-US" sz="800" b="0" i="0" u="none" strike="noStrike" kern="1200" cap="none" spc="0" normalizeH="0" baseline="0" noProof="0" dirty="0">
              <a:ln>
                <a:noFill/>
              </a:ln>
              <a:solidFill>
                <a:srgbClr val="39393B"/>
              </a:solidFill>
              <a:effectLst/>
              <a:uLnTx/>
              <a:uFillTx/>
              <a:latin typeface="Arial"/>
              <a:ea typeface="Apple LiGothic Medium"/>
              <a:cs typeface="Arial"/>
            </a:endParaRPr>
          </a:p>
        </p:txBody>
      </p:sp>
      <p:sp>
        <p:nvSpPr>
          <p:cNvPr id="14" name="Shape 262"/>
          <p:cNvSpPr/>
          <p:nvPr/>
        </p:nvSpPr>
        <p:spPr>
          <a:xfrm>
            <a:off x="649318" y="3761992"/>
            <a:ext cx="2931937" cy="475953"/>
          </a:xfrm>
          <a:prstGeom prst="rect">
            <a:avLst/>
          </a:prstGeom>
          <a:noFill/>
          <a:ln w="9525" cap="flat" cmpd="sng">
            <a:solidFill>
              <a:srgbClr val="7F7F7F"/>
            </a:solidFill>
            <a:prstDash val="solid"/>
            <a:bevel/>
          </a:ln>
          <a:effectLst/>
        </p:spPr>
        <p:txBody>
          <a:bodyPr wrap="square" lIns="0" tIns="28800" rIns="0" bIns="0" numCol="1" anchor="t">
            <a:normAutofit/>
          </a:bodyPr>
          <a:lstStyle/>
          <a:p>
            <a:pPr marL="0" marR="0" lvl="0" indent="0" algn="ctr" defTabSz="685800" rtl="0" eaLnBrk="1" fontAlgn="auto" latinLnBrk="0" hangingPunct="1">
              <a:lnSpc>
                <a:spcPct val="100000"/>
              </a:lnSpc>
              <a:spcBef>
                <a:spcPts val="200"/>
              </a:spcBef>
              <a:spcAft>
                <a:spcPts val="0"/>
              </a:spcAft>
              <a:buClrTx/>
              <a:buSzTx/>
              <a:buFontTx/>
              <a:buNone/>
              <a:tabLst/>
              <a:defRPr/>
            </a:pPr>
            <a:r>
              <a:rPr kumimoji="0" lang="en-US" sz="800" b="1" i="0" u="none" strike="noStrike" kern="1200" cap="none" spc="0" normalizeH="0" baseline="0" noProof="0" dirty="0">
                <a:ln>
                  <a:noFill/>
                </a:ln>
                <a:solidFill>
                  <a:srgbClr val="39393B"/>
                </a:solidFill>
                <a:effectLst/>
                <a:uLnTx/>
                <a:uFillTx/>
                <a:latin typeface="Arial"/>
                <a:ea typeface="ＭＳ Ｐゴシック" charset="0"/>
              </a:rPr>
              <a:t>Hardware Resources</a:t>
            </a:r>
            <a:endParaRPr kumimoji="0" lang="en-US" sz="800" b="0" i="0" u="none" strike="noStrike" kern="1200" cap="none" spc="0" normalizeH="0" baseline="0" noProof="0" dirty="0">
              <a:ln>
                <a:noFill/>
              </a:ln>
              <a:solidFill>
                <a:srgbClr val="39393B"/>
              </a:solidFill>
              <a:effectLst/>
              <a:uLnTx/>
              <a:uFillTx/>
              <a:latin typeface="Arial"/>
              <a:ea typeface="ＭＳ Ｐゴシック" charset="0"/>
            </a:endParaRPr>
          </a:p>
        </p:txBody>
      </p:sp>
      <p:sp>
        <p:nvSpPr>
          <p:cNvPr id="15" name="Rectangle 14"/>
          <p:cNvSpPr/>
          <p:nvPr/>
        </p:nvSpPr>
        <p:spPr>
          <a:xfrm>
            <a:off x="747070" y="3984105"/>
            <a:ext cx="804183" cy="171540"/>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9393B"/>
                </a:solidFill>
                <a:effectLst/>
                <a:uLnTx/>
                <a:uFillTx/>
                <a:latin typeface="Arial"/>
                <a:ea typeface="Apple LiGothic Medium"/>
              </a:rPr>
              <a:t>Compute</a:t>
            </a:r>
          </a:p>
        </p:txBody>
      </p:sp>
      <p:sp>
        <p:nvSpPr>
          <p:cNvPr id="16" name="Rectangle 15"/>
          <p:cNvSpPr/>
          <p:nvPr/>
        </p:nvSpPr>
        <p:spPr>
          <a:xfrm>
            <a:off x="2688959" y="3984105"/>
            <a:ext cx="804183" cy="171540"/>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9393B"/>
                </a:solidFill>
                <a:effectLst/>
                <a:uLnTx/>
                <a:uFillTx/>
                <a:latin typeface="Arial"/>
                <a:ea typeface="Apple LiGothic Medium"/>
              </a:rPr>
              <a:t>Network</a:t>
            </a:r>
            <a:endParaRPr kumimoji="0" lang="en-US" sz="700" b="0" i="0" u="none" strike="noStrike" kern="1200" cap="none" spc="0" normalizeH="0" baseline="0" noProof="0" dirty="0">
              <a:ln>
                <a:noFill/>
              </a:ln>
              <a:solidFill>
                <a:srgbClr val="39393B"/>
              </a:solidFill>
              <a:effectLst/>
              <a:uLnTx/>
              <a:uFillTx/>
              <a:latin typeface="Arial"/>
              <a:ea typeface="Apple LiGothic Medium"/>
            </a:endParaRPr>
          </a:p>
        </p:txBody>
      </p:sp>
      <p:sp>
        <p:nvSpPr>
          <p:cNvPr id="17" name="Rectangle 16"/>
          <p:cNvSpPr/>
          <p:nvPr/>
        </p:nvSpPr>
        <p:spPr>
          <a:xfrm>
            <a:off x="1730706" y="3984105"/>
            <a:ext cx="804183" cy="171540"/>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9393B"/>
                </a:solidFill>
                <a:effectLst/>
                <a:uLnTx/>
                <a:uFillTx/>
                <a:latin typeface="Arial"/>
                <a:ea typeface="Apple LiGothic Medium"/>
              </a:rPr>
              <a:t>Storage</a:t>
            </a:r>
            <a:endParaRPr kumimoji="0" lang="en-US" sz="700" b="0" i="0" u="none" strike="noStrike" kern="1200" cap="none" spc="0" normalizeH="0" baseline="0" noProof="0" dirty="0">
              <a:ln>
                <a:noFill/>
              </a:ln>
              <a:solidFill>
                <a:srgbClr val="39393B"/>
              </a:solidFill>
              <a:effectLst/>
              <a:uLnTx/>
              <a:uFillTx/>
              <a:latin typeface="Arial"/>
              <a:ea typeface="Apple LiGothic Medium"/>
            </a:endParaRPr>
          </a:p>
        </p:txBody>
      </p:sp>
      <p:sp>
        <p:nvSpPr>
          <p:cNvPr id="18" name="Rectangle 17"/>
          <p:cNvSpPr/>
          <p:nvPr/>
        </p:nvSpPr>
        <p:spPr>
          <a:xfrm>
            <a:off x="747070" y="2150180"/>
            <a:ext cx="804183" cy="171540"/>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39393B"/>
                </a:solidFill>
                <a:effectLst/>
                <a:uLnTx/>
                <a:uFillTx/>
                <a:latin typeface="Arial"/>
                <a:ea typeface="Apple LiGothic Medium"/>
              </a:rPr>
              <a:t>EM 1</a:t>
            </a:r>
          </a:p>
        </p:txBody>
      </p:sp>
      <p:sp>
        <p:nvSpPr>
          <p:cNvPr id="19" name="Rectangle 18"/>
          <p:cNvSpPr/>
          <p:nvPr/>
        </p:nvSpPr>
        <p:spPr>
          <a:xfrm>
            <a:off x="2688959" y="2150180"/>
            <a:ext cx="804183" cy="171540"/>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39393B"/>
                </a:solidFill>
                <a:effectLst/>
                <a:uLnTx/>
                <a:uFillTx/>
                <a:latin typeface="Arial"/>
                <a:ea typeface="Apple LiGothic Medium"/>
              </a:rPr>
              <a:t>EM 3</a:t>
            </a:r>
          </a:p>
        </p:txBody>
      </p:sp>
      <p:sp>
        <p:nvSpPr>
          <p:cNvPr id="20" name="Rectangle 19"/>
          <p:cNvSpPr/>
          <p:nvPr/>
        </p:nvSpPr>
        <p:spPr>
          <a:xfrm>
            <a:off x="1730706" y="2150180"/>
            <a:ext cx="804183" cy="171540"/>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39393B"/>
                </a:solidFill>
                <a:effectLst/>
                <a:uLnTx/>
                <a:uFillTx/>
                <a:latin typeface="Arial"/>
                <a:ea typeface="Apple LiGothic Medium"/>
              </a:rPr>
              <a:t>EM 2</a:t>
            </a:r>
          </a:p>
        </p:txBody>
      </p:sp>
      <p:sp>
        <p:nvSpPr>
          <p:cNvPr id="21" name="Shape 274"/>
          <p:cNvSpPr/>
          <p:nvPr/>
        </p:nvSpPr>
        <p:spPr>
          <a:xfrm flipV="1">
            <a:off x="1143697" y="2319021"/>
            <a:ext cx="0" cy="177023"/>
          </a:xfrm>
          <a:prstGeom prst="rect">
            <a:avLst/>
          </a:prstGeom>
          <a:noFill/>
          <a:ln w="19050">
            <a:solidFill>
              <a:schemeClr val="tx1"/>
            </a:solidFill>
            <a:prstDash val="sysDash"/>
            <a:headEnd type="none"/>
            <a:tailEnd type="none"/>
          </a:ln>
        </p:spPr>
        <p:txBody>
          <a:bodyPr lIns="0" tIns="0" rIns="0" bIns="0">
            <a:noAutofit/>
          </a:bodyPr>
          <a:lstStyle/>
          <a:p>
            <a:pPr marL="0" marR="0" lvl="0" indent="0" algn="l" defTabSz="685800" rtl="0" eaLnBrk="1" fontAlgn="auto" latinLnBrk="0" hangingPunct="1">
              <a:lnSpc>
                <a:spcPct val="100000"/>
              </a:lnSpc>
              <a:spcBef>
                <a:spcPts val="0"/>
              </a:spcBef>
              <a:spcAft>
                <a:spcPts val="0"/>
              </a:spcAft>
              <a:buClrTx/>
              <a:buSzTx/>
              <a:buFontTx/>
              <a:buNone/>
              <a:tabLst/>
              <a:defRPr sz="1200">
                <a:solidFill>
                  <a:srgbClr val="000000"/>
                </a:solidFill>
                <a:latin typeface="+mj-lt"/>
                <a:ea typeface="+mj-ea"/>
                <a:cs typeface="+mj-cs"/>
                <a:sym typeface="Helvetica"/>
              </a:defRPr>
            </a:pPr>
            <a:endParaRPr kumimoji="0" sz="200" b="0" i="0" u="none" strike="noStrike" kern="1200" cap="none" spc="0" normalizeH="0" baseline="0" noProof="0" dirty="0">
              <a:ln>
                <a:noFill/>
              </a:ln>
              <a:solidFill>
                <a:srgbClr val="000000"/>
              </a:solidFill>
              <a:effectLst/>
              <a:uLnTx/>
              <a:uFillTx/>
              <a:latin typeface="Arial"/>
              <a:ea typeface="Apple LiGothic Medium"/>
              <a:cs typeface="+mj-cs"/>
              <a:sym typeface="Helvetica"/>
            </a:endParaRPr>
          </a:p>
        </p:txBody>
      </p:sp>
      <p:sp>
        <p:nvSpPr>
          <p:cNvPr id="22" name="Shape 274"/>
          <p:cNvSpPr/>
          <p:nvPr/>
        </p:nvSpPr>
        <p:spPr>
          <a:xfrm flipV="1">
            <a:off x="2127335" y="2319021"/>
            <a:ext cx="0" cy="177023"/>
          </a:xfrm>
          <a:prstGeom prst="rect">
            <a:avLst/>
          </a:prstGeom>
          <a:noFill/>
          <a:ln w="19050">
            <a:solidFill>
              <a:schemeClr val="tx1"/>
            </a:solidFill>
            <a:prstDash val="sysDash"/>
            <a:headEnd type="none"/>
            <a:tailEnd type="none"/>
          </a:ln>
        </p:spPr>
        <p:txBody>
          <a:bodyPr lIns="0" tIns="0" rIns="0" bIns="0">
            <a:noAutofit/>
          </a:bodyPr>
          <a:lstStyle/>
          <a:p>
            <a:pPr marL="0" marR="0" lvl="0" indent="0" algn="l" defTabSz="685800" rtl="0" eaLnBrk="1" fontAlgn="auto" latinLnBrk="0" hangingPunct="1">
              <a:lnSpc>
                <a:spcPct val="100000"/>
              </a:lnSpc>
              <a:spcBef>
                <a:spcPts val="0"/>
              </a:spcBef>
              <a:spcAft>
                <a:spcPts val="0"/>
              </a:spcAft>
              <a:buClrTx/>
              <a:buSzTx/>
              <a:buFontTx/>
              <a:buNone/>
              <a:tabLst/>
              <a:defRPr sz="1200">
                <a:solidFill>
                  <a:srgbClr val="000000"/>
                </a:solidFill>
                <a:latin typeface="+mj-lt"/>
                <a:ea typeface="+mj-ea"/>
                <a:cs typeface="+mj-cs"/>
                <a:sym typeface="Helvetica"/>
              </a:defRPr>
            </a:pPr>
            <a:endParaRPr kumimoji="0" sz="200" b="0" i="0" u="none" strike="noStrike" kern="1200" cap="none" spc="0" normalizeH="0" baseline="0" noProof="0" dirty="0">
              <a:ln>
                <a:noFill/>
              </a:ln>
              <a:solidFill>
                <a:srgbClr val="000000"/>
              </a:solidFill>
              <a:effectLst/>
              <a:uLnTx/>
              <a:uFillTx/>
              <a:latin typeface="Arial"/>
              <a:ea typeface="Apple LiGothic Medium"/>
              <a:cs typeface="+mj-cs"/>
              <a:sym typeface="Helvetica"/>
            </a:endParaRPr>
          </a:p>
        </p:txBody>
      </p:sp>
      <p:sp>
        <p:nvSpPr>
          <p:cNvPr id="23" name="Shape 274"/>
          <p:cNvSpPr/>
          <p:nvPr/>
        </p:nvSpPr>
        <p:spPr>
          <a:xfrm flipV="1">
            <a:off x="3085586" y="2319021"/>
            <a:ext cx="0" cy="177023"/>
          </a:xfrm>
          <a:prstGeom prst="rect">
            <a:avLst/>
          </a:prstGeom>
          <a:noFill/>
          <a:ln w="19050">
            <a:solidFill>
              <a:schemeClr val="tx1"/>
            </a:solidFill>
            <a:prstDash val="sysDash"/>
            <a:headEnd type="none"/>
            <a:tailEnd type="none"/>
          </a:ln>
        </p:spPr>
        <p:txBody>
          <a:bodyPr lIns="0" tIns="0" rIns="0" bIns="0">
            <a:noAutofit/>
          </a:bodyPr>
          <a:lstStyle/>
          <a:p>
            <a:pPr marL="0" marR="0" lvl="0" indent="0" algn="l" defTabSz="685800" rtl="0" eaLnBrk="1" fontAlgn="auto" latinLnBrk="0" hangingPunct="1">
              <a:lnSpc>
                <a:spcPct val="100000"/>
              </a:lnSpc>
              <a:spcBef>
                <a:spcPts val="0"/>
              </a:spcBef>
              <a:spcAft>
                <a:spcPts val="0"/>
              </a:spcAft>
              <a:buClrTx/>
              <a:buSzTx/>
              <a:buFontTx/>
              <a:buNone/>
              <a:tabLst/>
              <a:defRPr sz="1200">
                <a:solidFill>
                  <a:srgbClr val="000000"/>
                </a:solidFill>
                <a:latin typeface="+mj-lt"/>
                <a:ea typeface="+mj-ea"/>
                <a:cs typeface="+mj-cs"/>
                <a:sym typeface="Helvetica"/>
              </a:defRPr>
            </a:pPr>
            <a:endParaRPr kumimoji="0" sz="200" b="0" i="0" u="none" strike="noStrike" kern="1200" cap="none" spc="0" normalizeH="0" baseline="0" noProof="0" dirty="0">
              <a:ln>
                <a:noFill/>
              </a:ln>
              <a:solidFill>
                <a:srgbClr val="000000"/>
              </a:solidFill>
              <a:effectLst/>
              <a:uLnTx/>
              <a:uFillTx/>
              <a:latin typeface="Arial"/>
              <a:ea typeface="Apple LiGothic Medium"/>
              <a:cs typeface="+mj-cs"/>
              <a:sym typeface="Helvetica"/>
            </a:endParaRPr>
          </a:p>
        </p:txBody>
      </p:sp>
      <p:sp>
        <p:nvSpPr>
          <p:cNvPr id="24" name="Shape 274"/>
          <p:cNvSpPr/>
          <p:nvPr/>
        </p:nvSpPr>
        <p:spPr>
          <a:xfrm flipV="1">
            <a:off x="1143697" y="2644456"/>
            <a:ext cx="0" cy="189714"/>
          </a:xfrm>
          <a:prstGeom prst="rect">
            <a:avLst/>
          </a:prstGeom>
          <a:noFill/>
          <a:ln w="19050">
            <a:solidFill>
              <a:schemeClr val="tx1"/>
            </a:solidFill>
            <a:headEnd type="oval" w="sm" len="sm"/>
            <a:tailEnd type="oval" w="sm" len="sm"/>
          </a:ln>
        </p:spPr>
        <p:txBody>
          <a:bodyPr lIns="0" tIns="0" rIns="0" bIns="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200" b="0" i="0" u="none" strike="noStrike" kern="1200" cap="none" spc="0" normalizeH="0" baseline="0" noProof="0" dirty="0">
              <a:ln>
                <a:noFill/>
              </a:ln>
              <a:solidFill>
                <a:srgbClr val="39393B"/>
              </a:solidFill>
              <a:effectLst/>
              <a:uLnTx/>
              <a:uFillTx/>
              <a:latin typeface="Arial"/>
              <a:ea typeface="Apple LiGothic Medium"/>
              <a:cs typeface="+mj-cs"/>
            </a:endParaRPr>
          </a:p>
        </p:txBody>
      </p:sp>
      <p:sp>
        <p:nvSpPr>
          <p:cNvPr id="25" name="Shape 274"/>
          <p:cNvSpPr/>
          <p:nvPr/>
        </p:nvSpPr>
        <p:spPr>
          <a:xfrm flipV="1">
            <a:off x="2127335" y="2644456"/>
            <a:ext cx="0" cy="177022"/>
          </a:xfrm>
          <a:prstGeom prst="rect">
            <a:avLst/>
          </a:prstGeom>
          <a:noFill/>
          <a:ln w="19050">
            <a:solidFill>
              <a:schemeClr val="tx1"/>
            </a:solidFill>
            <a:headEnd type="oval" w="sm" len="sm"/>
            <a:tailEnd type="oval" w="sm" len="sm"/>
          </a:ln>
        </p:spPr>
        <p:txBody>
          <a:bodyPr lIns="0" tIns="0" rIns="0" bIns="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200" b="0" i="0" u="none" strike="noStrike" kern="1200" cap="none" spc="0" normalizeH="0" baseline="0" noProof="0" dirty="0">
              <a:ln>
                <a:noFill/>
              </a:ln>
              <a:solidFill>
                <a:srgbClr val="39393B"/>
              </a:solidFill>
              <a:effectLst/>
              <a:uLnTx/>
              <a:uFillTx/>
              <a:latin typeface="Arial"/>
              <a:ea typeface="Apple LiGothic Medium"/>
              <a:cs typeface="+mj-cs"/>
            </a:endParaRPr>
          </a:p>
        </p:txBody>
      </p:sp>
      <p:sp>
        <p:nvSpPr>
          <p:cNvPr id="26" name="Shape 274"/>
          <p:cNvSpPr/>
          <p:nvPr/>
        </p:nvSpPr>
        <p:spPr>
          <a:xfrm flipV="1">
            <a:off x="3085586" y="2644456"/>
            <a:ext cx="0" cy="183368"/>
          </a:xfrm>
          <a:prstGeom prst="rect">
            <a:avLst/>
          </a:prstGeom>
          <a:noFill/>
          <a:ln w="19050">
            <a:solidFill>
              <a:schemeClr val="tx1"/>
            </a:solidFill>
            <a:headEnd type="oval" w="sm" len="sm"/>
            <a:tailEnd type="oval" w="sm" len="sm"/>
          </a:ln>
        </p:spPr>
        <p:txBody>
          <a:bodyPr lIns="0" tIns="0" rIns="0" bIns="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200" b="0" i="0" u="none" strike="noStrike" kern="1200" cap="none" spc="0" normalizeH="0" baseline="0" noProof="0" dirty="0">
              <a:ln>
                <a:noFill/>
              </a:ln>
              <a:solidFill>
                <a:srgbClr val="39393B"/>
              </a:solidFill>
              <a:effectLst/>
              <a:uLnTx/>
              <a:uFillTx/>
              <a:latin typeface="Arial"/>
              <a:ea typeface="Apple LiGothic Medium"/>
              <a:cs typeface="+mj-cs"/>
            </a:endParaRPr>
          </a:p>
        </p:txBody>
      </p:sp>
      <p:cxnSp>
        <p:nvCxnSpPr>
          <p:cNvPr id="27" name="Straight Connector 26"/>
          <p:cNvCxnSpPr>
            <a:stCxn id="12" idx="2"/>
            <a:endCxn id="6" idx="0"/>
          </p:cNvCxnSpPr>
          <p:nvPr/>
        </p:nvCxnSpPr>
        <p:spPr>
          <a:xfrm flipH="1">
            <a:off x="2115922" y="1800509"/>
            <a:ext cx="747" cy="269297"/>
          </a:xfrm>
          <a:prstGeom prst="line">
            <a:avLst/>
          </a:prstGeom>
          <a:ln w="19050">
            <a:solidFill>
              <a:schemeClr val="tx1"/>
            </a:solidFill>
            <a:prstDash val="sysDash"/>
            <a:headEnd type="none"/>
            <a:tailEnd type="none"/>
          </a:ln>
        </p:spPr>
      </p:cxnSp>
      <p:cxnSp>
        <p:nvCxnSpPr>
          <p:cNvPr id="28" name="Straight Connector 27"/>
          <p:cNvCxnSpPr>
            <a:stCxn id="12" idx="3"/>
          </p:cNvCxnSpPr>
          <p:nvPr/>
        </p:nvCxnSpPr>
        <p:spPr>
          <a:xfrm flipV="1">
            <a:off x="3651791" y="1612269"/>
            <a:ext cx="564025" cy="2463"/>
          </a:xfrm>
          <a:prstGeom prst="line">
            <a:avLst/>
          </a:prstGeom>
          <a:ln w="19050">
            <a:solidFill>
              <a:schemeClr val="tx1"/>
            </a:solidFill>
            <a:headEnd type="none"/>
            <a:tailEnd type="none"/>
          </a:ln>
        </p:spPr>
      </p:cxnSp>
      <p:cxnSp>
        <p:nvCxnSpPr>
          <p:cNvPr id="29" name="Elbow Connector 28"/>
          <p:cNvCxnSpPr>
            <a:stCxn id="6" idx="3"/>
            <a:endCxn id="11" idx="1"/>
          </p:cNvCxnSpPr>
          <p:nvPr/>
        </p:nvCxnSpPr>
        <p:spPr>
          <a:xfrm>
            <a:off x="3651063" y="2410482"/>
            <a:ext cx="727609" cy="3306"/>
          </a:xfrm>
          <a:prstGeom prst="bentConnector3">
            <a:avLst>
              <a:gd name="adj1" fmla="val 50000"/>
            </a:avLst>
          </a:prstGeom>
          <a:ln w="19050">
            <a:solidFill>
              <a:schemeClr val="tx1"/>
            </a:solidFill>
            <a:headEnd type="none"/>
            <a:tailEnd type="none"/>
          </a:ln>
        </p:spPr>
      </p:cxnSp>
      <p:cxnSp>
        <p:nvCxnSpPr>
          <p:cNvPr id="30" name="Elbow Connector 29"/>
          <p:cNvCxnSpPr>
            <a:stCxn id="13" idx="3"/>
            <a:endCxn id="37" idx="1"/>
          </p:cNvCxnSpPr>
          <p:nvPr/>
        </p:nvCxnSpPr>
        <p:spPr>
          <a:xfrm flipV="1">
            <a:off x="3651063" y="3581170"/>
            <a:ext cx="702684" cy="598"/>
          </a:xfrm>
          <a:prstGeom prst="bentConnector3">
            <a:avLst>
              <a:gd name="adj1" fmla="val 50000"/>
            </a:avLst>
          </a:prstGeom>
          <a:ln w="19050">
            <a:solidFill>
              <a:schemeClr val="tx1"/>
            </a:solidFill>
            <a:headEnd type="none"/>
            <a:tailEnd type="none"/>
          </a:ln>
        </p:spPr>
      </p:cxnSp>
      <p:sp>
        <p:nvSpPr>
          <p:cNvPr id="31" name="Shape 262"/>
          <p:cNvSpPr/>
          <p:nvPr/>
        </p:nvSpPr>
        <p:spPr>
          <a:xfrm>
            <a:off x="655876" y="3102007"/>
            <a:ext cx="2931937" cy="368070"/>
          </a:xfrm>
          <a:prstGeom prst="rect">
            <a:avLst/>
          </a:prstGeom>
          <a:noFill/>
          <a:ln w="9525" cap="flat" cmpd="sng">
            <a:solidFill>
              <a:srgbClr val="7F7F7F"/>
            </a:solidFill>
            <a:prstDash val="solid"/>
            <a:bevel/>
          </a:ln>
          <a:effectLst/>
        </p:spPr>
        <p:txBody>
          <a:bodyPr wrap="square" lIns="0" tIns="28800" rIns="0" bIns="0" numCol="1" anchor="t">
            <a:normAutofit/>
          </a:bodyPr>
          <a:lstStyle/>
          <a:p>
            <a:pPr marL="0" marR="0" lvl="0" indent="0" algn="ctr" defTabSz="685800" rtl="0" eaLnBrk="1" fontAlgn="auto" latinLnBrk="0" hangingPunct="1">
              <a:lnSpc>
                <a:spcPct val="100000"/>
              </a:lnSpc>
              <a:spcBef>
                <a:spcPts val="200"/>
              </a:spcBef>
              <a:spcAft>
                <a:spcPts val="0"/>
              </a:spcAft>
              <a:buClrTx/>
              <a:buSzTx/>
              <a:buFontTx/>
              <a:buNone/>
              <a:tabLst/>
              <a:defRPr/>
            </a:pPr>
            <a:endParaRPr kumimoji="0" lang="en-US" sz="800" b="1" i="0" u="none" strike="noStrike" kern="1200" cap="none" spc="0" normalizeH="0" baseline="0" noProof="0" dirty="0">
              <a:ln>
                <a:noFill/>
              </a:ln>
              <a:solidFill>
                <a:srgbClr val="39393B"/>
              </a:solidFill>
              <a:effectLst/>
              <a:uLnTx/>
              <a:uFillTx/>
              <a:latin typeface="Arial"/>
              <a:ea typeface="ＭＳ Ｐゴシック" charset="0"/>
            </a:endParaRPr>
          </a:p>
        </p:txBody>
      </p:sp>
      <p:sp>
        <p:nvSpPr>
          <p:cNvPr id="32" name="Shape 262"/>
          <p:cNvSpPr/>
          <p:nvPr/>
        </p:nvSpPr>
        <p:spPr>
          <a:xfrm>
            <a:off x="655876" y="3517038"/>
            <a:ext cx="2931937" cy="177690"/>
          </a:xfrm>
          <a:prstGeom prst="rect">
            <a:avLst/>
          </a:prstGeom>
          <a:noFill/>
          <a:ln w="635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Apple LiGothic Medium"/>
              </a:rPr>
              <a:t>Virtualization Layer</a:t>
            </a:r>
          </a:p>
        </p:txBody>
      </p:sp>
      <p:sp>
        <p:nvSpPr>
          <p:cNvPr id="33" name="Rectangle 32"/>
          <p:cNvSpPr/>
          <p:nvPr/>
        </p:nvSpPr>
        <p:spPr>
          <a:xfrm>
            <a:off x="753629" y="3140275"/>
            <a:ext cx="804183" cy="291724"/>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9393B"/>
                </a:solidFill>
                <a:effectLst/>
                <a:uLnTx/>
                <a:uFillTx/>
                <a:latin typeface="Arial"/>
                <a:ea typeface="Apple LiGothic Medium"/>
              </a:rPr>
              <a:t>Virtual Compute</a:t>
            </a:r>
          </a:p>
        </p:txBody>
      </p:sp>
      <p:sp>
        <p:nvSpPr>
          <p:cNvPr id="34" name="Rectangle 33"/>
          <p:cNvSpPr/>
          <p:nvPr/>
        </p:nvSpPr>
        <p:spPr>
          <a:xfrm>
            <a:off x="2695517" y="3140275"/>
            <a:ext cx="804183" cy="291724"/>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9393B"/>
                </a:solidFill>
                <a:effectLst/>
                <a:uLnTx/>
                <a:uFillTx/>
                <a:latin typeface="Arial"/>
                <a:ea typeface="Apple LiGothic Medium"/>
              </a:rPr>
              <a:t>Virtual Network</a:t>
            </a:r>
          </a:p>
        </p:txBody>
      </p:sp>
      <p:sp>
        <p:nvSpPr>
          <p:cNvPr id="35" name="Rectangle 34"/>
          <p:cNvSpPr/>
          <p:nvPr/>
        </p:nvSpPr>
        <p:spPr>
          <a:xfrm>
            <a:off x="1737265" y="3140275"/>
            <a:ext cx="804183" cy="291724"/>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9393B"/>
                </a:solidFill>
                <a:effectLst/>
                <a:uLnTx/>
                <a:uFillTx/>
                <a:latin typeface="Arial"/>
                <a:ea typeface="Apple LiGothic Medium"/>
              </a:rPr>
              <a:t>Virtual Storage</a:t>
            </a:r>
          </a:p>
        </p:txBody>
      </p:sp>
      <p:sp>
        <p:nvSpPr>
          <p:cNvPr id="37" name="Shape 262"/>
          <p:cNvSpPr/>
          <p:nvPr/>
        </p:nvSpPr>
        <p:spPr>
          <a:xfrm>
            <a:off x="4353747" y="3269668"/>
            <a:ext cx="685765" cy="623004"/>
          </a:xfrm>
          <a:prstGeom prst="rect">
            <a:avLst/>
          </a:prstGeom>
          <a:noFill/>
          <a:ln>
            <a:solidFill>
              <a:srgbClr val="7F7F7F"/>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t">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9393B"/>
              </a:solidFill>
              <a:effectLst/>
              <a:uLnTx/>
              <a:uFillTx/>
              <a:latin typeface="Arial"/>
              <a:ea typeface="Apple LiGothic Medium"/>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9393B"/>
                </a:solidFill>
                <a:effectLst/>
                <a:uLnTx/>
                <a:uFillTx/>
                <a:latin typeface="Arial"/>
                <a:ea typeface="Apple LiGothic Medium"/>
              </a:rPr>
              <a:t>Virtualized Infrastructure Manager</a:t>
            </a:r>
            <a:endParaRPr kumimoji="0" lang="en-US" sz="700" b="0" i="0" u="none" strike="noStrike" kern="1200" cap="none" spc="0" normalizeH="0" baseline="0" noProof="0" dirty="0">
              <a:ln>
                <a:noFill/>
              </a:ln>
              <a:solidFill>
                <a:srgbClr val="39393B"/>
              </a:solidFill>
              <a:effectLst/>
              <a:uLnTx/>
              <a:uFillTx/>
              <a:latin typeface="Arial"/>
              <a:ea typeface="Apple LiGothic Medium"/>
            </a:endParaRPr>
          </a:p>
        </p:txBody>
      </p:sp>
      <p:sp>
        <p:nvSpPr>
          <p:cNvPr id="43" name="TextBox 42"/>
          <p:cNvSpPr txBox="1"/>
          <p:nvPr/>
        </p:nvSpPr>
        <p:spPr>
          <a:xfrm>
            <a:off x="5435469" y="2629308"/>
            <a:ext cx="3141111" cy="1771237"/>
          </a:xfrm>
          <a:prstGeom prst="rect">
            <a:avLst/>
          </a:prstGeom>
          <a:solidFill>
            <a:schemeClr val="bg1">
              <a:lumMod val="95000"/>
            </a:schemeClr>
          </a:solidFill>
        </p:spPr>
        <p:txBody>
          <a:bodyPr wrap="square" rtlCol="0">
            <a:normAutofit/>
          </a:bodyPr>
          <a:lstStyle/>
          <a:p>
            <a:pPr marL="137160" marR="0" lvl="0" indent="-13716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FFFF00"/>
                </a:solidFill>
                <a:effectLst/>
                <a:uLnTx/>
                <a:uFillTx/>
                <a:latin typeface="Arial"/>
                <a:ea typeface="ＭＳ Ｐゴシック" charset="0"/>
              </a:rPr>
              <a:t>NFVI - </a:t>
            </a:r>
            <a:r>
              <a:rPr kumimoji="0" lang="en-GB" sz="1200" b="0" i="0" u="none" strike="noStrike" kern="1200" cap="none" spc="0" normalizeH="0" baseline="0" noProof="0" dirty="0">
                <a:ln>
                  <a:noFill/>
                </a:ln>
                <a:solidFill>
                  <a:srgbClr val="FFFFFF"/>
                </a:solidFill>
                <a:effectLst/>
                <a:uLnTx/>
                <a:uFillTx/>
                <a:latin typeface="Arial"/>
                <a:ea typeface="ＭＳ Ｐゴシック" charset="0"/>
              </a:rPr>
              <a:t>Network Function Virtualization Infrastructure</a:t>
            </a:r>
            <a:r>
              <a:rPr kumimoji="0" lang="en-GB" sz="1100" b="0" i="0" u="none" strike="noStrike" kern="1200" cap="none" spc="0" normalizeH="0" baseline="0" noProof="0" dirty="0">
                <a:ln>
                  <a:noFill/>
                </a:ln>
                <a:solidFill>
                  <a:srgbClr val="FFFFFF"/>
                </a:solidFill>
                <a:effectLst/>
                <a:uLnTx/>
                <a:uFillTx/>
                <a:latin typeface="Arial"/>
                <a:ea typeface="ＭＳ Ｐゴシック" charset="0"/>
              </a:rPr>
              <a:t> is the </a:t>
            </a:r>
            <a:r>
              <a:rPr kumimoji="0" lang="en-GB" sz="1100" b="0" i="0" u="sng" strike="noStrike" kern="1200" cap="none" spc="0" normalizeH="0" baseline="0" noProof="0" dirty="0">
                <a:ln>
                  <a:noFill/>
                </a:ln>
                <a:solidFill>
                  <a:srgbClr val="FFFFFF"/>
                </a:solidFill>
                <a:effectLst/>
                <a:uLnTx/>
                <a:uFillTx/>
                <a:latin typeface="Arial"/>
                <a:ea typeface="ＭＳ Ｐゴシック" charset="0"/>
              </a:rPr>
              <a:t>totality of all hardware and software components</a:t>
            </a:r>
            <a:r>
              <a:rPr kumimoji="0" lang="en-GB" sz="1100" b="0" i="0" u="none" strike="noStrike" kern="1200" cap="none" spc="0" normalizeH="0" baseline="0" noProof="0" dirty="0">
                <a:ln>
                  <a:noFill/>
                </a:ln>
                <a:solidFill>
                  <a:srgbClr val="FFFFFF"/>
                </a:solidFill>
                <a:effectLst/>
                <a:uLnTx/>
                <a:uFillTx/>
                <a:latin typeface="Arial"/>
                <a:ea typeface="ＭＳ Ｐゴシック" charset="0"/>
              </a:rPr>
              <a:t> that build the platform in which VNFs are deployed</a:t>
            </a:r>
          </a:p>
          <a:p>
            <a:pPr marL="137160" marR="0" lvl="0" indent="-13716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FFFF00"/>
                </a:solidFill>
                <a:effectLst/>
                <a:uLnTx/>
                <a:uFillTx/>
                <a:latin typeface="Arial"/>
                <a:ea typeface="ＭＳ Ｐゴシック" charset="0"/>
              </a:rPr>
              <a:t>VIM - </a:t>
            </a:r>
            <a:r>
              <a:rPr kumimoji="0" lang="en-GB" sz="1200" b="0" i="0" u="none" strike="noStrike" kern="1200" cap="none" spc="0" normalizeH="0" baseline="0" noProof="0" dirty="0">
                <a:ln>
                  <a:noFill/>
                </a:ln>
                <a:solidFill>
                  <a:srgbClr val="FFFFFF"/>
                </a:solidFill>
                <a:effectLst/>
                <a:uLnTx/>
                <a:uFillTx/>
                <a:latin typeface="Arial"/>
                <a:ea typeface="ＭＳ Ｐゴシック" charset="0"/>
              </a:rPr>
              <a:t>Virtualized Infrastructure Manager</a:t>
            </a:r>
            <a:br>
              <a:rPr kumimoji="0" lang="en-GB" sz="1100" b="0" i="0" u="none" strike="noStrike" kern="1200" cap="none" spc="0" normalizeH="0" baseline="0" noProof="0" dirty="0">
                <a:ln>
                  <a:noFill/>
                </a:ln>
                <a:solidFill>
                  <a:srgbClr val="FFFFFF"/>
                </a:solidFill>
                <a:effectLst/>
                <a:uLnTx/>
                <a:uFillTx/>
                <a:latin typeface="Arial"/>
                <a:ea typeface="ＭＳ Ｐゴシック" charset="0"/>
              </a:rPr>
            </a:br>
            <a:r>
              <a:rPr kumimoji="0" lang="en-GB" sz="1100" b="0" i="0" u="none" strike="noStrike" kern="1200" cap="none" spc="0" normalizeH="0" baseline="0" noProof="0" dirty="0">
                <a:ln>
                  <a:noFill/>
                </a:ln>
                <a:solidFill>
                  <a:srgbClr val="FFFFFF"/>
                </a:solidFill>
                <a:effectLst/>
                <a:uLnTx/>
                <a:uFillTx/>
                <a:latin typeface="Arial"/>
                <a:ea typeface="ＭＳ Ｐゴシック" charset="0"/>
              </a:rPr>
              <a:t>Controls and manages the NFVI compute, storage, and network resources. </a:t>
            </a:r>
            <a:r>
              <a:rPr kumimoji="0" lang="en-GB" sz="1100" b="0" i="0" u="sng" strike="noStrike" kern="1200" cap="none" spc="0" normalizeH="0" baseline="0" noProof="0" dirty="0">
                <a:ln>
                  <a:noFill/>
                </a:ln>
                <a:solidFill>
                  <a:srgbClr val="FFFFFF"/>
                </a:solidFill>
                <a:effectLst/>
                <a:uLnTx/>
                <a:uFillTx/>
                <a:latin typeface="Arial"/>
                <a:ea typeface="ＭＳ Ｐゴシック" charset="0"/>
              </a:rPr>
              <a:t>VIM is the NFVI software platform</a:t>
            </a:r>
          </a:p>
        </p:txBody>
      </p:sp>
      <p:sp>
        <p:nvSpPr>
          <p:cNvPr id="44" name="Rectangle 43"/>
          <p:cNvSpPr/>
          <p:nvPr/>
        </p:nvSpPr>
        <p:spPr>
          <a:xfrm>
            <a:off x="581548" y="2846833"/>
            <a:ext cx="4600052" cy="1459590"/>
          </a:xfrm>
          <a:prstGeom prst="rect">
            <a:avLst/>
          </a:prstGeom>
          <a:noFill/>
          <a:ln w="571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9393B"/>
              </a:solidFill>
              <a:effectLst/>
              <a:uLnTx/>
              <a:uFillTx/>
              <a:latin typeface="Arial"/>
              <a:ea typeface="Apple LiGothic Medium"/>
            </a:endParaRPr>
          </a:p>
        </p:txBody>
      </p:sp>
      <p:sp>
        <p:nvSpPr>
          <p:cNvPr id="68" name="TextBox 67"/>
          <p:cNvSpPr txBox="1"/>
          <p:nvPr/>
        </p:nvSpPr>
        <p:spPr>
          <a:xfrm>
            <a:off x="6210383" y="1331942"/>
            <a:ext cx="287579" cy="377026"/>
          </a:xfrm>
          <a:prstGeom prst="rect">
            <a:avLst/>
          </a:prstGeom>
          <a:noFill/>
        </p:spPr>
        <p:txBody>
          <a:bodyPr wrap="none" lIns="68580" tIns="34290" rIns="68580" bIns="3429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lumMod val="75000"/>
                  </a:srgbClr>
                </a:solidFill>
                <a:effectLst/>
                <a:uLnTx/>
                <a:uFillTx/>
                <a:latin typeface="Arial"/>
                <a:ea typeface="ＭＳ Ｐゴシック" charset="0"/>
              </a:rPr>
              <a:t>+</a:t>
            </a:r>
          </a:p>
        </p:txBody>
      </p:sp>
      <p:sp>
        <p:nvSpPr>
          <p:cNvPr id="69" name="TextBox 68"/>
          <p:cNvSpPr txBox="1"/>
          <p:nvPr/>
        </p:nvSpPr>
        <p:spPr>
          <a:xfrm>
            <a:off x="7252971" y="1320316"/>
            <a:ext cx="287579" cy="377026"/>
          </a:xfrm>
          <a:prstGeom prst="rect">
            <a:avLst/>
          </a:prstGeom>
          <a:noFill/>
        </p:spPr>
        <p:txBody>
          <a:bodyPr wrap="none" lIns="68580" tIns="34290" rIns="68580" bIns="3429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lumMod val="75000"/>
                  </a:srgbClr>
                </a:solidFill>
                <a:effectLst/>
                <a:uLnTx/>
                <a:uFillTx/>
                <a:latin typeface="Arial"/>
                <a:ea typeface="ＭＳ Ｐゴシック" charset="0"/>
              </a:rPr>
              <a:t>=</a:t>
            </a:r>
          </a:p>
        </p:txBody>
      </p:sp>
      <p:sp>
        <p:nvSpPr>
          <p:cNvPr id="70" name="TextBox 69"/>
          <p:cNvSpPr txBox="1"/>
          <p:nvPr/>
        </p:nvSpPr>
        <p:spPr>
          <a:xfrm>
            <a:off x="7436109" y="1309329"/>
            <a:ext cx="1124144" cy="438582"/>
          </a:xfrm>
          <a:prstGeom prst="rect">
            <a:avLst/>
          </a:prstGeom>
          <a:noFill/>
        </p:spPr>
        <p:txBody>
          <a:bodyPr wrap="square" lIns="68580" tIns="34290" rIns="68580" bIns="34290"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8595B"/>
                </a:solidFill>
                <a:effectLst/>
                <a:uLnTx/>
                <a:uFillTx/>
                <a:latin typeface="Arial"/>
                <a:ea typeface="ＭＳ Ｐゴシック" charset="0"/>
              </a:rPr>
              <a:t>NFVI</a:t>
            </a:r>
          </a:p>
        </p:txBody>
      </p:sp>
      <p:grpSp>
        <p:nvGrpSpPr>
          <p:cNvPr id="71" name="Group 70"/>
          <p:cNvGrpSpPr/>
          <p:nvPr/>
        </p:nvGrpSpPr>
        <p:grpSpPr>
          <a:xfrm>
            <a:off x="6534924" y="1299554"/>
            <a:ext cx="670696" cy="779826"/>
            <a:chOff x="4420908" y="1822997"/>
            <a:chExt cx="1276363" cy="1484043"/>
          </a:xfrm>
        </p:grpSpPr>
        <p:sp>
          <p:nvSpPr>
            <p:cNvPr id="72" name="Rectangle 71"/>
            <p:cNvSpPr/>
            <p:nvPr/>
          </p:nvSpPr>
          <p:spPr>
            <a:xfrm>
              <a:off x="4420908" y="2867757"/>
              <a:ext cx="1276363" cy="439283"/>
            </a:xfrm>
            <a:prstGeom prst="rect">
              <a:avLst/>
            </a:prstGeom>
          </p:spPr>
          <p:txBody>
            <a:bodyPr wrap="none" lIns="68580" tIns="34290" rIns="68580" b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39393B"/>
                  </a:solidFill>
                  <a:effectLst/>
                  <a:uLnTx/>
                  <a:uFillTx/>
                  <a:latin typeface="Arial"/>
                  <a:ea typeface="ＭＳ Ｐゴシック" charset="0"/>
                </a:rPr>
                <a:t>Software</a:t>
              </a:r>
            </a:p>
          </p:txBody>
        </p:sp>
        <p:sp>
          <p:nvSpPr>
            <p:cNvPr id="73" name="Freeform 71"/>
            <p:cNvSpPr>
              <a:spLocks noEditPoints="1"/>
            </p:cNvSpPr>
            <p:nvPr/>
          </p:nvSpPr>
          <p:spPr bwMode="auto">
            <a:xfrm>
              <a:off x="4638814" y="1822997"/>
              <a:ext cx="840551" cy="840769"/>
            </a:xfrm>
            <a:custGeom>
              <a:avLst/>
              <a:gdLst>
                <a:gd name="T0" fmla="*/ 583 w 733"/>
                <a:gd name="T1" fmla="*/ 617 h 734"/>
                <a:gd name="T2" fmla="*/ 150 w 733"/>
                <a:gd name="T3" fmla="*/ 617 h 734"/>
                <a:gd name="T4" fmla="*/ 117 w 733"/>
                <a:gd name="T5" fmla="*/ 584 h 734"/>
                <a:gd name="T6" fmla="*/ 150 w 733"/>
                <a:gd name="T7" fmla="*/ 550 h 734"/>
                <a:gd name="T8" fmla="*/ 583 w 733"/>
                <a:gd name="T9" fmla="*/ 550 h 734"/>
                <a:gd name="T10" fmla="*/ 617 w 733"/>
                <a:gd name="T11" fmla="*/ 584 h 734"/>
                <a:gd name="T12" fmla="*/ 583 w 733"/>
                <a:gd name="T13" fmla="*/ 617 h 734"/>
                <a:gd name="T14" fmla="*/ 262 w 733"/>
                <a:gd name="T15" fmla="*/ 284 h 734"/>
                <a:gd name="T16" fmla="*/ 333 w 733"/>
                <a:gd name="T17" fmla="*/ 284 h 734"/>
                <a:gd name="T18" fmla="*/ 333 w 733"/>
                <a:gd name="T19" fmla="*/ 150 h 734"/>
                <a:gd name="T20" fmla="*/ 367 w 733"/>
                <a:gd name="T21" fmla="*/ 117 h 734"/>
                <a:gd name="T22" fmla="*/ 400 w 733"/>
                <a:gd name="T23" fmla="*/ 150 h 734"/>
                <a:gd name="T24" fmla="*/ 400 w 733"/>
                <a:gd name="T25" fmla="*/ 284 h 734"/>
                <a:gd name="T26" fmla="*/ 472 w 733"/>
                <a:gd name="T27" fmla="*/ 284 h 734"/>
                <a:gd name="T28" fmla="*/ 480 w 733"/>
                <a:gd name="T29" fmla="*/ 300 h 734"/>
                <a:gd name="T30" fmla="*/ 367 w 733"/>
                <a:gd name="T31" fmla="*/ 467 h 734"/>
                <a:gd name="T32" fmla="*/ 253 w 733"/>
                <a:gd name="T33" fmla="*/ 300 h 734"/>
                <a:gd name="T34" fmla="*/ 262 w 733"/>
                <a:gd name="T35" fmla="*/ 284 h 734"/>
                <a:gd name="T36" fmla="*/ 700 w 733"/>
                <a:gd name="T37" fmla="*/ 0 h 734"/>
                <a:gd name="T38" fmla="*/ 33 w 733"/>
                <a:gd name="T39" fmla="*/ 0 h 734"/>
                <a:gd name="T40" fmla="*/ 0 w 733"/>
                <a:gd name="T41" fmla="*/ 34 h 734"/>
                <a:gd name="T42" fmla="*/ 0 w 733"/>
                <a:gd name="T43" fmla="*/ 700 h 734"/>
                <a:gd name="T44" fmla="*/ 33 w 733"/>
                <a:gd name="T45" fmla="*/ 734 h 734"/>
                <a:gd name="T46" fmla="*/ 700 w 733"/>
                <a:gd name="T47" fmla="*/ 734 h 734"/>
                <a:gd name="T48" fmla="*/ 733 w 733"/>
                <a:gd name="T49" fmla="*/ 700 h 734"/>
                <a:gd name="T50" fmla="*/ 733 w 733"/>
                <a:gd name="T51" fmla="*/ 34 h 734"/>
                <a:gd name="T52" fmla="*/ 700 w 733"/>
                <a:gd name="T53" fmla="*/ 0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3" h="734">
                  <a:moveTo>
                    <a:pt x="583" y="617"/>
                  </a:moveTo>
                  <a:lnTo>
                    <a:pt x="150" y="617"/>
                  </a:lnTo>
                  <a:cubicBezTo>
                    <a:pt x="132" y="617"/>
                    <a:pt x="117" y="602"/>
                    <a:pt x="117" y="584"/>
                  </a:cubicBezTo>
                  <a:cubicBezTo>
                    <a:pt x="117" y="565"/>
                    <a:pt x="132" y="550"/>
                    <a:pt x="150" y="550"/>
                  </a:cubicBezTo>
                  <a:lnTo>
                    <a:pt x="583" y="550"/>
                  </a:lnTo>
                  <a:cubicBezTo>
                    <a:pt x="602" y="550"/>
                    <a:pt x="617" y="565"/>
                    <a:pt x="617" y="584"/>
                  </a:cubicBezTo>
                  <a:cubicBezTo>
                    <a:pt x="617" y="602"/>
                    <a:pt x="602" y="617"/>
                    <a:pt x="583" y="617"/>
                  </a:cubicBezTo>
                  <a:moveTo>
                    <a:pt x="262" y="284"/>
                  </a:moveTo>
                  <a:lnTo>
                    <a:pt x="333" y="284"/>
                  </a:lnTo>
                  <a:lnTo>
                    <a:pt x="333" y="150"/>
                  </a:lnTo>
                  <a:cubicBezTo>
                    <a:pt x="333" y="132"/>
                    <a:pt x="348" y="117"/>
                    <a:pt x="367" y="117"/>
                  </a:cubicBezTo>
                  <a:cubicBezTo>
                    <a:pt x="385" y="117"/>
                    <a:pt x="400" y="132"/>
                    <a:pt x="400" y="150"/>
                  </a:cubicBezTo>
                  <a:lnTo>
                    <a:pt x="400" y="284"/>
                  </a:lnTo>
                  <a:lnTo>
                    <a:pt x="472" y="284"/>
                  </a:lnTo>
                  <a:cubicBezTo>
                    <a:pt x="483" y="284"/>
                    <a:pt x="487" y="291"/>
                    <a:pt x="480" y="300"/>
                  </a:cubicBezTo>
                  <a:lnTo>
                    <a:pt x="367" y="467"/>
                  </a:lnTo>
                  <a:lnTo>
                    <a:pt x="253" y="300"/>
                  </a:lnTo>
                  <a:cubicBezTo>
                    <a:pt x="247" y="291"/>
                    <a:pt x="251" y="284"/>
                    <a:pt x="262" y="284"/>
                  </a:cubicBezTo>
                  <a:moveTo>
                    <a:pt x="700" y="0"/>
                  </a:moveTo>
                  <a:lnTo>
                    <a:pt x="33" y="0"/>
                  </a:lnTo>
                  <a:cubicBezTo>
                    <a:pt x="15" y="0"/>
                    <a:pt x="0" y="15"/>
                    <a:pt x="0" y="34"/>
                  </a:cubicBezTo>
                  <a:lnTo>
                    <a:pt x="0" y="700"/>
                  </a:lnTo>
                  <a:cubicBezTo>
                    <a:pt x="0" y="719"/>
                    <a:pt x="15" y="734"/>
                    <a:pt x="33" y="734"/>
                  </a:cubicBezTo>
                  <a:lnTo>
                    <a:pt x="700" y="734"/>
                  </a:lnTo>
                  <a:cubicBezTo>
                    <a:pt x="718" y="734"/>
                    <a:pt x="733" y="719"/>
                    <a:pt x="733" y="700"/>
                  </a:cubicBezTo>
                  <a:lnTo>
                    <a:pt x="733" y="34"/>
                  </a:lnTo>
                  <a:cubicBezTo>
                    <a:pt x="733" y="15"/>
                    <a:pt x="718" y="0"/>
                    <a:pt x="700" y="0"/>
                  </a:cubicBezTo>
                </a:path>
              </a:pathLst>
            </a:custGeom>
            <a:solidFill>
              <a:schemeClr val="bg1">
                <a:lumMod val="50000"/>
              </a:schemeClr>
            </a:solidFill>
            <a:ln>
              <a:noFill/>
            </a:ln>
          </p:spPr>
          <p:txBody>
            <a:bodyPr vert="horz" wrap="square" lIns="121899" tIns="60949" rIns="121899" bIns="60949"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9393B"/>
                </a:solidFill>
                <a:effectLst/>
                <a:uLnTx/>
                <a:uFillTx/>
                <a:latin typeface="Arial"/>
                <a:ea typeface="ＭＳ Ｐゴシック" charset="0"/>
              </a:endParaRPr>
            </a:p>
          </p:txBody>
        </p:sp>
      </p:grpSp>
      <p:grpSp>
        <p:nvGrpSpPr>
          <p:cNvPr id="40" name="Group 39"/>
          <p:cNvGrpSpPr/>
          <p:nvPr/>
        </p:nvGrpSpPr>
        <p:grpSpPr>
          <a:xfrm>
            <a:off x="5585831" y="1271966"/>
            <a:ext cx="725199" cy="807414"/>
            <a:chOff x="5626651" y="1227296"/>
            <a:chExt cx="725199" cy="807414"/>
          </a:xfrm>
        </p:grpSpPr>
        <p:sp>
          <p:nvSpPr>
            <p:cNvPr id="75" name="Rectangle 74"/>
            <p:cNvSpPr/>
            <p:nvPr/>
          </p:nvSpPr>
          <p:spPr>
            <a:xfrm>
              <a:off x="5626651" y="1803878"/>
              <a:ext cx="725199" cy="230832"/>
            </a:xfrm>
            <a:prstGeom prst="rect">
              <a:avLst/>
            </a:prstGeom>
          </p:spPr>
          <p:txBody>
            <a:bodyPr wrap="none" lIns="68580" tIns="34290" rIns="68580" bIns="3429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39393B"/>
                  </a:solidFill>
                  <a:effectLst/>
                  <a:uLnTx/>
                  <a:uFillTx/>
                  <a:latin typeface="Arial"/>
                  <a:ea typeface="ＭＳ Ｐゴシック" charset="0"/>
                </a:rPr>
                <a:t>Hardware</a:t>
              </a:r>
            </a:p>
          </p:txBody>
        </p:sp>
        <p:sp>
          <p:nvSpPr>
            <p:cNvPr id="76" name="Freeform 92"/>
            <p:cNvSpPr>
              <a:spLocks noEditPoints="1"/>
            </p:cNvSpPr>
            <p:nvPr/>
          </p:nvSpPr>
          <p:spPr bwMode="auto">
            <a:xfrm>
              <a:off x="5865038" y="1227296"/>
              <a:ext cx="248424" cy="496978"/>
            </a:xfrm>
            <a:custGeom>
              <a:avLst/>
              <a:gdLst>
                <a:gd name="T0" fmla="*/ 300 w 400"/>
                <a:gd name="T1" fmla="*/ 133 h 800"/>
                <a:gd name="T2" fmla="*/ 266 w 400"/>
                <a:gd name="T3" fmla="*/ 100 h 800"/>
                <a:gd name="T4" fmla="*/ 300 w 400"/>
                <a:gd name="T5" fmla="*/ 66 h 800"/>
                <a:gd name="T6" fmla="*/ 333 w 400"/>
                <a:gd name="T7" fmla="*/ 100 h 800"/>
                <a:gd name="T8" fmla="*/ 300 w 400"/>
                <a:gd name="T9" fmla="*/ 133 h 800"/>
                <a:gd name="T10" fmla="*/ 300 w 400"/>
                <a:gd name="T11" fmla="*/ 266 h 800"/>
                <a:gd name="T12" fmla="*/ 266 w 400"/>
                <a:gd name="T13" fmla="*/ 233 h 800"/>
                <a:gd name="T14" fmla="*/ 300 w 400"/>
                <a:gd name="T15" fmla="*/ 200 h 800"/>
                <a:gd name="T16" fmla="*/ 333 w 400"/>
                <a:gd name="T17" fmla="*/ 233 h 800"/>
                <a:gd name="T18" fmla="*/ 300 w 400"/>
                <a:gd name="T19" fmla="*/ 266 h 800"/>
                <a:gd name="T20" fmla="*/ 300 w 400"/>
                <a:gd name="T21" fmla="*/ 400 h 800"/>
                <a:gd name="T22" fmla="*/ 266 w 400"/>
                <a:gd name="T23" fmla="*/ 366 h 800"/>
                <a:gd name="T24" fmla="*/ 300 w 400"/>
                <a:gd name="T25" fmla="*/ 333 h 800"/>
                <a:gd name="T26" fmla="*/ 333 w 400"/>
                <a:gd name="T27" fmla="*/ 366 h 800"/>
                <a:gd name="T28" fmla="*/ 300 w 400"/>
                <a:gd name="T29" fmla="*/ 400 h 800"/>
                <a:gd name="T30" fmla="*/ 200 w 400"/>
                <a:gd name="T31" fmla="*/ 500 h 800"/>
                <a:gd name="T32" fmla="*/ 200 w 400"/>
                <a:gd name="T33" fmla="*/ 533 h 800"/>
                <a:gd name="T34" fmla="*/ 66 w 400"/>
                <a:gd name="T35" fmla="*/ 533 h 800"/>
                <a:gd name="T36" fmla="*/ 66 w 400"/>
                <a:gd name="T37" fmla="*/ 500 h 800"/>
                <a:gd name="T38" fmla="*/ 66 w 400"/>
                <a:gd name="T39" fmla="*/ 66 h 800"/>
                <a:gd name="T40" fmla="*/ 200 w 400"/>
                <a:gd name="T41" fmla="*/ 66 h 800"/>
                <a:gd name="T42" fmla="*/ 200 w 400"/>
                <a:gd name="T43" fmla="*/ 500 h 800"/>
                <a:gd name="T44" fmla="*/ 366 w 400"/>
                <a:gd name="T45" fmla="*/ 0 h 800"/>
                <a:gd name="T46" fmla="*/ 33 w 400"/>
                <a:gd name="T47" fmla="*/ 0 h 800"/>
                <a:gd name="T48" fmla="*/ 0 w 400"/>
                <a:gd name="T49" fmla="*/ 33 h 800"/>
                <a:gd name="T50" fmla="*/ 0 w 400"/>
                <a:gd name="T51" fmla="*/ 766 h 800"/>
                <a:gd name="T52" fmla="*/ 33 w 400"/>
                <a:gd name="T53" fmla="*/ 800 h 800"/>
                <a:gd name="T54" fmla="*/ 366 w 400"/>
                <a:gd name="T55" fmla="*/ 800 h 800"/>
                <a:gd name="T56" fmla="*/ 400 w 400"/>
                <a:gd name="T57" fmla="*/ 766 h 800"/>
                <a:gd name="T58" fmla="*/ 400 w 400"/>
                <a:gd name="T59" fmla="*/ 33 h 800"/>
                <a:gd name="T60" fmla="*/ 366 w 400"/>
                <a:gd name="T61"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0" h="800">
                  <a:moveTo>
                    <a:pt x="300" y="133"/>
                  </a:moveTo>
                  <a:cubicBezTo>
                    <a:pt x="281" y="133"/>
                    <a:pt x="266" y="118"/>
                    <a:pt x="266" y="100"/>
                  </a:cubicBezTo>
                  <a:cubicBezTo>
                    <a:pt x="266" y="81"/>
                    <a:pt x="281" y="66"/>
                    <a:pt x="300" y="66"/>
                  </a:cubicBezTo>
                  <a:cubicBezTo>
                    <a:pt x="318" y="66"/>
                    <a:pt x="333" y="81"/>
                    <a:pt x="333" y="100"/>
                  </a:cubicBezTo>
                  <a:cubicBezTo>
                    <a:pt x="333" y="118"/>
                    <a:pt x="318" y="133"/>
                    <a:pt x="300" y="133"/>
                  </a:cubicBezTo>
                  <a:moveTo>
                    <a:pt x="300" y="266"/>
                  </a:moveTo>
                  <a:cubicBezTo>
                    <a:pt x="281" y="266"/>
                    <a:pt x="266" y="251"/>
                    <a:pt x="266" y="233"/>
                  </a:cubicBezTo>
                  <a:cubicBezTo>
                    <a:pt x="266" y="215"/>
                    <a:pt x="281" y="200"/>
                    <a:pt x="300" y="200"/>
                  </a:cubicBezTo>
                  <a:cubicBezTo>
                    <a:pt x="318" y="200"/>
                    <a:pt x="333" y="215"/>
                    <a:pt x="333" y="233"/>
                  </a:cubicBezTo>
                  <a:cubicBezTo>
                    <a:pt x="333" y="251"/>
                    <a:pt x="318" y="266"/>
                    <a:pt x="300" y="266"/>
                  </a:cubicBezTo>
                  <a:moveTo>
                    <a:pt x="300" y="400"/>
                  </a:moveTo>
                  <a:cubicBezTo>
                    <a:pt x="281" y="400"/>
                    <a:pt x="266" y="385"/>
                    <a:pt x="266" y="366"/>
                  </a:cubicBezTo>
                  <a:cubicBezTo>
                    <a:pt x="266" y="348"/>
                    <a:pt x="281" y="333"/>
                    <a:pt x="300" y="333"/>
                  </a:cubicBezTo>
                  <a:cubicBezTo>
                    <a:pt x="318" y="333"/>
                    <a:pt x="333" y="348"/>
                    <a:pt x="333" y="366"/>
                  </a:cubicBezTo>
                  <a:cubicBezTo>
                    <a:pt x="333" y="385"/>
                    <a:pt x="318" y="400"/>
                    <a:pt x="300" y="400"/>
                  </a:cubicBezTo>
                  <a:moveTo>
                    <a:pt x="200" y="500"/>
                  </a:moveTo>
                  <a:lnTo>
                    <a:pt x="200" y="533"/>
                  </a:lnTo>
                  <a:lnTo>
                    <a:pt x="66" y="533"/>
                  </a:lnTo>
                  <a:lnTo>
                    <a:pt x="66" y="500"/>
                  </a:lnTo>
                  <a:lnTo>
                    <a:pt x="66" y="66"/>
                  </a:lnTo>
                  <a:lnTo>
                    <a:pt x="200" y="66"/>
                  </a:lnTo>
                  <a:lnTo>
                    <a:pt x="200" y="500"/>
                  </a:lnTo>
                  <a:close/>
                  <a:moveTo>
                    <a:pt x="366" y="0"/>
                  </a:moveTo>
                  <a:lnTo>
                    <a:pt x="33" y="0"/>
                  </a:lnTo>
                  <a:cubicBezTo>
                    <a:pt x="15" y="0"/>
                    <a:pt x="0" y="15"/>
                    <a:pt x="0" y="33"/>
                  </a:cubicBezTo>
                  <a:lnTo>
                    <a:pt x="0" y="766"/>
                  </a:lnTo>
                  <a:cubicBezTo>
                    <a:pt x="0" y="785"/>
                    <a:pt x="15" y="800"/>
                    <a:pt x="33" y="800"/>
                  </a:cubicBezTo>
                  <a:lnTo>
                    <a:pt x="366" y="800"/>
                  </a:lnTo>
                  <a:cubicBezTo>
                    <a:pt x="385" y="800"/>
                    <a:pt x="400" y="785"/>
                    <a:pt x="400" y="766"/>
                  </a:cubicBezTo>
                  <a:lnTo>
                    <a:pt x="400" y="33"/>
                  </a:lnTo>
                  <a:cubicBezTo>
                    <a:pt x="400" y="15"/>
                    <a:pt x="385" y="0"/>
                    <a:pt x="366" y="0"/>
                  </a:cubicBezTo>
                </a:path>
              </a:pathLst>
            </a:custGeom>
            <a:solidFill>
              <a:schemeClr val="bg1">
                <a:lumMod val="50000"/>
              </a:schemeClr>
            </a:solidFill>
            <a:ln>
              <a:noFill/>
            </a:ln>
          </p:spPr>
          <p:txBody>
            <a:bodyPr vert="horz" wrap="square" lIns="121899" tIns="60949" rIns="121899" bIns="60949"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9393B"/>
                </a:solidFill>
                <a:effectLst/>
                <a:uLnTx/>
                <a:uFillTx/>
                <a:latin typeface="Arial"/>
                <a:ea typeface="ＭＳ Ｐゴシック" charset="0"/>
              </a:endParaRPr>
            </a:p>
          </p:txBody>
        </p:sp>
      </p:grpSp>
    </p:spTree>
    <p:extLst>
      <p:ext uri="{BB962C8B-B14F-4D97-AF65-F5344CB8AC3E}">
        <p14:creationId xmlns:p14="http://schemas.microsoft.com/office/powerpoint/2010/main" val="1809237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188916"/>
            <a:ext cx="8345488" cy="731837"/>
          </a:xfrm>
        </p:spPr>
        <p:txBody>
          <a:bodyPr/>
          <a:lstStyle/>
          <a:p>
            <a:r>
              <a:rPr lang="en-US" dirty="0"/>
              <a:t>SP Approaches to NFV</a:t>
            </a:r>
          </a:p>
        </p:txBody>
      </p:sp>
      <p:sp>
        <p:nvSpPr>
          <p:cNvPr id="4" name="Rectangle 3"/>
          <p:cNvSpPr/>
          <p:nvPr/>
        </p:nvSpPr>
        <p:spPr>
          <a:xfrm>
            <a:off x="601577" y="3325395"/>
            <a:ext cx="6858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Hardware</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9"/>
          <p:cNvSpPr/>
          <p:nvPr/>
        </p:nvSpPr>
        <p:spPr>
          <a:xfrm>
            <a:off x="1398869" y="3325393"/>
            <a:ext cx="685800" cy="246888"/>
          </a:xfrm>
          <a:prstGeom prst="rect">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Hardware</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0"/>
          <p:cNvSpPr/>
          <p:nvPr/>
        </p:nvSpPr>
        <p:spPr>
          <a:xfrm>
            <a:off x="2196161" y="3325393"/>
            <a:ext cx="685800" cy="246888"/>
          </a:xfrm>
          <a:prstGeom prst="rect">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Hardware</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Rectangle 17"/>
          <p:cNvSpPr/>
          <p:nvPr/>
        </p:nvSpPr>
        <p:spPr>
          <a:xfrm>
            <a:off x="3498781" y="3325395"/>
            <a:ext cx="1059784"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Hardware</a:t>
            </a:r>
          </a:p>
        </p:txBody>
      </p:sp>
      <p:sp>
        <p:nvSpPr>
          <p:cNvPr id="20" name="Rectangle 19"/>
          <p:cNvSpPr/>
          <p:nvPr/>
        </p:nvSpPr>
        <p:spPr>
          <a:xfrm>
            <a:off x="4705548" y="3325393"/>
            <a:ext cx="1073618"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Hardware</a:t>
            </a:r>
          </a:p>
        </p:txBody>
      </p:sp>
      <p:sp>
        <p:nvSpPr>
          <p:cNvPr id="21" name="Rectangle 20"/>
          <p:cNvSpPr/>
          <p:nvPr/>
        </p:nvSpPr>
        <p:spPr>
          <a:xfrm>
            <a:off x="6368714" y="3325395"/>
            <a:ext cx="2280384"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Hardware</a:t>
            </a:r>
          </a:p>
        </p:txBody>
      </p:sp>
      <p:sp>
        <p:nvSpPr>
          <p:cNvPr id="24" name="Rectangle 23"/>
          <p:cNvSpPr/>
          <p:nvPr/>
        </p:nvSpPr>
        <p:spPr>
          <a:xfrm>
            <a:off x="601577" y="2988510"/>
            <a:ext cx="1073618"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ization</a:t>
            </a:r>
          </a:p>
        </p:txBody>
      </p:sp>
      <p:sp>
        <p:nvSpPr>
          <p:cNvPr id="25" name="Rectangle 24"/>
          <p:cNvSpPr/>
          <p:nvPr/>
        </p:nvSpPr>
        <p:spPr>
          <a:xfrm>
            <a:off x="618420" y="2641837"/>
            <a:ext cx="456400" cy="246888"/>
          </a:xfrm>
          <a:prstGeom prst="rect">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p:cNvSpPr/>
          <p:nvPr/>
        </p:nvSpPr>
        <p:spPr>
          <a:xfrm>
            <a:off x="1218795" y="2641837"/>
            <a:ext cx="456400" cy="246888"/>
          </a:xfrm>
          <a:prstGeom prst="rect">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p:cNvSpPr/>
          <p:nvPr/>
        </p:nvSpPr>
        <p:spPr>
          <a:xfrm>
            <a:off x="1822178" y="2641837"/>
            <a:ext cx="456400" cy="246888"/>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p:cNvSpPr/>
          <p:nvPr/>
        </p:nvSpPr>
        <p:spPr>
          <a:xfrm>
            <a:off x="2425561" y="2645846"/>
            <a:ext cx="456400" cy="246888"/>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Rectangle 29"/>
          <p:cNvSpPr/>
          <p:nvPr/>
        </p:nvSpPr>
        <p:spPr>
          <a:xfrm>
            <a:off x="1822178" y="2988510"/>
            <a:ext cx="1073618"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ization</a:t>
            </a:r>
          </a:p>
        </p:txBody>
      </p:sp>
      <p:sp>
        <p:nvSpPr>
          <p:cNvPr id="31" name="Rectangle 30"/>
          <p:cNvSpPr/>
          <p:nvPr/>
        </p:nvSpPr>
        <p:spPr>
          <a:xfrm>
            <a:off x="3484947" y="2980486"/>
            <a:ext cx="1073618"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ization</a:t>
            </a:r>
          </a:p>
        </p:txBody>
      </p:sp>
      <p:sp>
        <p:nvSpPr>
          <p:cNvPr id="32" name="Rectangle 31"/>
          <p:cNvSpPr/>
          <p:nvPr/>
        </p:nvSpPr>
        <p:spPr>
          <a:xfrm>
            <a:off x="4705548" y="2980486"/>
            <a:ext cx="1073618"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ization</a:t>
            </a:r>
          </a:p>
        </p:txBody>
      </p:sp>
      <p:sp>
        <p:nvSpPr>
          <p:cNvPr id="33" name="Rectangle 32"/>
          <p:cNvSpPr/>
          <p:nvPr/>
        </p:nvSpPr>
        <p:spPr>
          <a:xfrm>
            <a:off x="3484947" y="2641837"/>
            <a:ext cx="4564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Rectangle 33"/>
          <p:cNvSpPr/>
          <p:nvPr/>
        </p:nvSpPr>
        <p:spPr>
          <a:xfrm>
            <a:off x="4093343" y="2641837"/>
            <a:ext cx="4564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NF</a:t>
            </a:r>
          </a:p>
        </p:txBody>
      </p:sp>
      <p:sp>
        <p:nvSpPr>
          <p:cNvPr id="35" name="Rectangle 34"/>
          <p:cNvSpPr/>
          <p:nvPr/>
        </p:nvSpPr>
        <p:spPr>
          <a:xfrm>
            <a:off x="4696726" y="2641837"/>
            <a:ext cx="456400"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6" name="Rectangle 35"/>
          <p:cNvSpPr/>
          <p:nvPr/>
        </p:nvSpPr>
        <p:spPr>
          <a:xfrm>
            <a:off x="5322766" y="2645846"/>
            <a:ext cx="456400"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Rectangle 36"/>
          <p:cNvSpPr/>
          <p:nvPr/>
        </p:nvSpPr>
        <p:spPr>
          <a:xfrm>
            <a:off x="6368714" y="2978718"/>
            <a:ext cx="2280384"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irtualization</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ectangle 37"/>
          <p:cNvSpPr/>
          <p:nvPr/>
        </p:nvSpPr>
        <p:spPr>
          <a:xfrm>
            <a:off x="6372721" y="2640064"/>
            <a:ext cx="4564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ctangle 38"/>
          <p:cNvSpPr/>
          <p:nvPr/>
        </p:nvSpPr>
        <p:spPr>
          <a:xfrm>
            <a:off x="6973096" y="2640064"/>
            <a:ext cx="4564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NF</a:t>
            </a:r>
          </a:p>
        </p:txBody>
      </p:sp>
      <p:sp>
        <p:nvSpPr>
          <p:cNvPr id="40" name="Rectangle 39"/>
          <p:cNvSpPr/>
          <p:nvPr/>
        </p:nvSpPr>
        <p:spPr>
          <a:xfrm>
            <a:off x="7576479" y="2640064"/>
            <a:ext cx="456400" cy="246888"/>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ectangle 40"/>
          <p:cNvSpPr/>
          <p:nvPr/>
        </p:nvSpPr>
        <p:spPr>
          <a:xfrm>
            <a:off x="8179862" y="2644073"/>
            <a:ext cx="456400" cy="246888"/>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Rectangle 41"/>
          <p:cNvSpPr/>
          <p:nvPr/>
        </p:nvSpPr>
        <p:spPr>
          <a:xfrm>
            <a:off x="618420" y="2301820"/>
            <a:ext cx="600375"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3" name="Rectangle 42"/>
          <p:cNvSpPr/>
          <p:nvPr/>
        </p:nvSpPr>
        <p:spPr>
          <a:xfrm>
            <a:off x="1391650" y="2301820"/>
            <a:ext cx="669759" cy="246888"/>
          </a:xfrm>
          <a:prstGeom prst="rect">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4" name="Rectangle 43"/>
          <p:cNvSpPr/>
          <p:nvPr/>
        </p:nvSpPr>
        <p:spPr>
          <a:xfrm>
            <a:off x="2196162" y="2296916"/>
            <a:ext cx="698434" cy="246888"/>
          </a:xfrm>
          <a:prstGeom prst="rect">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5" name="Rectangle 44"/>
          <p:cNvSpPr/>
          <p:nvPr/>
        </p:nvSpPr>
        <p:spPr>
          <a:xfrm>
            <a:off x="3484947" y="2296916"/>
            <a:ext cx="1064796"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6" name="Rectangle 45"/>
          <p:cNvSpPr/>
          <p:nvPr/>
        </p:nvSpPr>
        <p:spPr>
          <a:xfrm>
            <a:off x="4696726" y="2307197"/>
            <a:ext cx="1082440"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7" name="Rectangle 46"/>
          <p:cNvSpPr/>
          <p:nvPr/>
        </p:nvSpPr>
        <p:spPr>
          <a:xfrm>
            <a:off x="6368714" y="2303625"/>
            <a:ext cx="1064796"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8" name="Rectangle 47"/>
          <p:cNvSpPr/>
          <p:nvPr/>
        </p:nvSpPr>
        <p:spPr>
          <a:xfrm>
            <a:off x="7580493" y="2313906"/>
            <a:ext cx="1055769"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9" name="TextBox 48"/>
          <p:cNvSpPr txBox="1"/>
          <p:nvPr/>
        </p:nvSpPr>
        <p:spPr>
          <a:xfrm>
            <a:off x="913657" y="1767272"/>
            <a:ext cx="1656223" cy="461665"/>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Fully Disaggregated</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DIY or SI Led)</a:t>
            </a:r>
          </a:p>
        </p:txBody>
      </p:sp>
      <p:sp>
        <p:nvSpPr>
          <p:cNvPr id="50" name="TextBox 49"/>
          <p:cNvSpPr txBox="1"/>
          <p:nvPr/>
        </p:nvSpPr>
        <p:spPr>
          <a:xfrm>
            <a:off x="3536135" y="1767768"/>
            <a:ext cx="2195986" cy="461665"/>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Vertical NFV Solution Stack</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Use Case Led)</a:t>
            </a:r>
          </a:p>
        </p:txBody>
      </p:sp>
      <p:sp>
        <p:nvSpPr>
          <p:cNvPr id="51" name="TextBox 50"/>
          <p:cNvSpPr txBox="1"/>
          <p:nvPr/>
        </p:nvSpPr>
        <p:spPr>
          <a:xfrm>
            <a:off x="6411217" y="1771408"/>
            <a:ext cx="2196435" cy="461665"/>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Common &amp; Horizontal NFVI</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Infrastructure Led)</a:t>
            </a:r>
          </a:p>
        </p:txBody>
      </p:sp>
      <p:sp>
        <p:nvSpPr>
          <p:cNvPr id="52" name="Rectangle 51"/>
          <p:cNvSpPr/>
          <p:nvPr/>
        </p:nvSpPr>
        <p:spPr>
          <a:xfrm>
            <a:off x="3444842" y="2264832"/>
            <a:ext cx="1143200" cy="1333280"/>
          </a:xfrm>
          <a:prstGeom prst="rect">
            <a:avLst/>
          </a:prstGeom>
          <a:noFill/>
          <a:ln w="317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 name="Rectangle 52"/>
          <p:cNvSpPr/>
          <p:nvPr/>
        </p:nvSpPr>
        <p:spPr>
          <a:xfrm>
            <a:off x="4671852" y="2264832"/>
            <a:ext cx="1143200" cy="1333280"/>
          </a:xfrm>
          <a:prstGeom prst="rect">
            <a:avLst/>
          </a:prstGeom>
          <a:noFill/>
          <a:ln w="317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Rectangle 53"/>
          <p:cNvSpPr/>
          <p:nvPr/>
        </p:nvSpPr>
        <p:spPr>
          <a:xfrm>
            <a:off x="572890" y="2264832"/>
            <a:ext cx="2354387" cy="1333280"/>
          </a:xfrm>
          <a:prstGeom prst="rect">
            <a:avLst/>
          </a:prstGeom>
          <a:noFill/>
          <a:ln w="317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Rectangle 54"/>
          <p:cNvSpPr/>
          <p:nvPr/>
        </p:nvSpPr>
        <p:spPr>
          <a:xfrm>
            <a:off x="6331712" y="2939493"/>
            <a:ext cx="2354387" cy="666640"/>
          </a:xfrm>
          <a:prstGeom prst="rect">
            <a:avLst/>
          </a:prstGeom>
          <a:noFill/>
          <a:ln w="3175">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extBox 1"/>
          <p:cNvSpPr txBox="1"/>
          <p:nvPr/>
        </p:nvSpPr>
        <p:spPr>
          <a:xfrm>
            <a:off x="8640389" y="3121313"/>
            <a:ext cx="535724" cy="276999"/>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charset="0"/>
                <a:ea typeface="ＭＳ Ｐゴシック" panose="020B0600070205080204" pitchFamily="34" charset="-128"/>
                <a:cs typeface="+mn-cs"/>
              </a:rPr>
              <a:t>NFVI</a:t>
            </a:r>
          </a:p>
        </p:txBody>
      </p:sp>
    </p:spTree>
    <p:extLst>
      <p:ext uri="{BB962C8B-B14F-4D97-AF65-F5344CB8AC3E}">
        <p14:creationId xmlns:p14="http://schemas.microsoft.com/office/powerpoint/2010/main" val="20105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188916"/>
            <a:ext cx="8345488" cy="731837"/>
          </a:xfrm>
        </p:spPr>
        <p:txBody>
          <a:bodyPr/>
          <a:lstStyle/>
          <a:p>
            <a:r>
              <a:rPr lang="en-US" dirty="0"/>
              <a:t>SP Approaches to NFV</a:t>
            </a:r>
          </a:p>
        </p:txBody>
      </p:sp>
      <p:sp>
        <p:nvSpPr>
          <p:cNvPr id="4" name="Rectangle 3"/>
          <p:cNvSpPr/>
          <p:nvPr/>
        </p:nvSpPr>
        <p:spPr>
          <a:xfrm>
            <a:off x="601577" y="2398295"/>
            <a:ext cx="6858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Hardware</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9"/>
          <p:cNvSpPr/>
          <p:nvPr/>
        </p:nvSpPr>
        <p:spPr>
          <a:xfrm>
            <a:off x="1398869" y="2398293"/>
            <a:ext cx="685800" cy="246888"/>
          </a:xfrm>
          <a:prstGeom prst="rect">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Hardware</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0"/>
          <p:cNvSpPr/>
          <p:nvPr/>
        </p:nvSpPr>
        <p:spPr>
          <a:xfrm>
            <a:off x="2196161" y="2398293"/>
            <a:ext cx="685800" cy="246888"/>
          </a:xfrm>
          <a:prstGeom prst="rect">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Hardware</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Rectangle 17"/>
          <p:cNvSpPr/>
          <p:nvPr/>
        </p:nvSpPr>
        <p:spPr>
          <a:xfrm>
            <a:off x="3498781" y="2398295"/>
            <a:ext cx="1059784"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Hardware</a:t>
            </a:r>
          </a:p>
        </p:txBody>
      </p:sp>
      <p:sp>
        <p:nvSpPr>
          <p:cNvPr id="20" name="Rectangle 19"/>
          <p:cNvSpPr/>
          <p:nvPr/>
        </p:nvSpPr>
        <p:spPr>
          <a:xfrm>
            <a:off x="4705548" y="2398293"/>
            <a:ext cx="1073618"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Hardware</a:t>
            </a:r>
          </a:p>
        </p:txBody>
      </p:sp>
      <p:sp>
        <p:nvSpPr>
          <p:cNvPr id="21" name="Rectangle 20"/>
          <p:cNvSpPr/>
          <p:nvPr/>
        </p:nvSpPr>
        <p:spPr>
          <a:xfrm>
            <a:off x="6368714" y="2398295"/>
            <a:ext cx="2280384"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Hardware</a:t>
            </a:r>
          </a:p>
        </p:txBody>
      </p:sp>
      <p:sp>
        <p:nvSpPr>
          <p:cNvPr id="24" name="Rectangle 23"/>
          <p:cNvSpPr/>
          <p:nvPr/>
        </p:nvSpPr>
        <p:spPr>
          <a:xfrm>
            <a:off x="601577" y="2061410"/>
            <a:ext cx="1073618"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ization</a:t>
            </a:r>
          </a:p>
        </p:txBody>
      </p:sp>
      <p:sp>
        <p:nvSpPr>
          <p:cNvPr id="25" name="Rectangle 24"/>
          <p:cNvSpPr/>
          <p:nvPr/>
        </p:nvSpPr>
        <p:spPr>
          <a:xfrm>
            <a:off x="618420" y="1714737"/>
            <a:ext cx="456400" cy="246888"/>
          </a:xfrm>
          <a:prstGeom prst="rect">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p:cNvSpPr/>
          <p:nvPr/>
        </p:nvSpPr>
        <p:spPr>
          <a:xfrm>
            <a:off x="1218795" y="1714737"/>
            <a:ext cx="456400" cy="246888"/>
          </a:xfrm>
          <a:prstGeom prst="rect">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p:cNvSpPr/>
          <p:nvPr/>
        </p:nvSpPr>
        <p:spPr>
          <a:xfrm>
            <a:off x="1822178" y="1714737"/>
            <a:ext cx="456400" cy="246888"/>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p:cNvSpPr/>
          <p:nvPr/>
        </p:nvSpPr>
        <p:spPr>
          <a:xfrm>
            <a:off x="2425561" y="1718746"/>
            <a:ext cx="456400" cy="246888"/>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Rectangle 29"/>
          <p:cNvSpPr/>
          <p:nvPr/>
        </p:nvSpPr>
        <p:spPr>
          <a:xfrm>
            <a:off x="1822178" y="2061410"/>
            <a:ext cx="1073618"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ization</a:t>
            </a:r>
          </a:p>
        </p:txBody>
      </p:sp>
      <p:sp>
        <p:nvSpPr>
          <p:cNvPr id="31" name="Rectangle 30"/>
          <p:cNvSpPr/>
          <p:nvPr/>
        </p:nvSpPr>
        <p:spPr>
          <a:xfrm>
            <a:off x="3484947" y="2053386"/>
            <a:ext cx="1073618"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ization</a:t>
            </a:r>
          </a:p>
        </p:txBody>
      </p:sp>
      <p:sp>
        <p:nvSpPr>
          <p:cNvPr id="32" name="Rectangle 31"/>
          <p:cNvSpPr/>
          <p:nvPr/>
        </p:nvSpPr>
        <p:spPr>
          <a:xfrm>
            <a:off x="4705548" y="2053386"/>
            <a:ext cx="1073618"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ization</a:t>
            </a:r>
          </a:p>
        </p:txBody>
      </p:sp>
      <p:sp>
        <p:nvSpPr>
          <p:cNvPr id="33" name="Rectangle 32"/>
          <p:cNvSpPr/>
          <p:nvPr/>
        </p:nvSpPr>
        <p:spPr>
          <a:xfrm>
            <a:off x="3484947" y="1714737"/>
            <a:ext cx="4564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Rectangle 33"/>
          <p:cNvSpPr/>
          <p:nvPr/>
        </p:nvSpPr>
        <p:spPr>
          <a:xfrm>
            <a:off x="4093343" y="1714737"/>
            <a:ext cx="4564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NF</a:t>
            </a:r>
          </a:p>
        </p:txBody>
      </p:sp>
      <p:sp>
        <p:nvSpPr>
          <p:cNvPr id="35" name="Rectangle 34"/>
          <p:cNvSpPr/>
          <p:nvPr/>
        </p:nvSpPr>
        <p:spPr>
          <a:xfrm>
            <a:off x="4696726" y="1714737"/>
            <a:ext cx="456400"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6" name="Rectangle 35"/>
          <p:cNvSpPr/>
          <p:nvPr/>
        </p:nvSpPr>
        <p:spPr>
          <a:xfrm>
            <a:off x="5322766" y="1718746"/>
            <a:ext cx="456400"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Rectangle 36"/>
          <p:cNvSpPr/>
          <p:nvPr/>
        </p:nvSpPr>
        <p:spPr>
          <a:xfrm>
            <a:off x="6368714" y="2051618"/>
            <a:ext cx="2280384"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irtualization</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ectangle 37"/>
          <p:cNvSpPr/>
          <p:nvPr/>
        </p:nvSpPr>
        <p:spPr>
          <a:xfrm>
            <a:off x="6372721" y="1712964"/>
            <a:ext cx="4564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ctangle 38"/>
          <p:cNvSpPr/>
          <p:nvPr/>
        </p:nvSpPr>
        <p:spPr>
          <a:xfrm>
            <a:off x="6973096" y="1712964"/>
            <a:ext cx="456400"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NF</a:t>
            </a:r>
          </a:p>
        </p:txBody>
      </p:sp>
      <p:sp>
        <p:nvSpPr>
          <p:cNvPr id="40" name="Rectangle 39"/>
          <p:cNvSpPr/>
          <p:nvPr/>
        </p:nvSpPr>
        <p:spPr>
          <a:xfrm>
            <a:off x="7576479" y="1712964"/>
            <a:ext cx="456400" cy="246888"/>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ectangle 40"/>
          <p:cNvSpPr/>
          <p:nvPr/>
        </p:nvSpPr>
        <p:spPr>
          <a:xfrm>
            <a:off x="8179862" y="1716973"/>
            <a:ext cx="456400" cy="246888"/>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VNF</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Rectangle 41"/>
          <p:cNvSpPr/>
          <p:nvPr/>
        </p:nvSpPr>
        <p:spPr>
          <a:xfrm>
            <a:off x="618420" y="1374720"/>
            <a:ext cx="600375"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3" name="Rectangle 42"/>
          <p:cNvSpPr/>
          <p:nvPr/>
        </p:nvSpPr>
        <p:spPr>
          <a:xfrm>
            <a:off x="1391650" y="1374720"/>
            <a:ext cx="669759" cy="246888"/>
          </a:xfrm>
          <a:prstGeom prst="rect">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4" name="Rectangle 43"/>
          <p:cNvSpPr/>
          <p:nvPr/>
        </p:nvSpPr>
        <p:spPr>
          <a:xfrm>
            <a:off x="2196162" y="1369816"/>
            <a:ext cx="698434" cy="246888"/>
          </a:xfrm>
          <a:prstGeom prst="rect">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5" name="Rectangle 44"/>
          <p:cNvSpPr/>
          <p:nvPr/>
        </p:nvSpPr>
        <p:spPr>
          <a:xfrm>
            <a:off x="3484947" y="1369816"/>
            <a:ext cx="1064796"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6" name="Rectangle 45"/>
          <p:cNvSpPr/>
          <p:nvPr/>
        </p:nvSpPr>
        <p:spPr>
          <a:xfrm>
            <a:off x="4696726" y="1380097"/>
            <a:ext cx="1082440"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7" name="Rectangle 46"/>
          <p:cNvSpPr/>
          <p:nvPr/>
        </p:nvSpPr>
        <p:spPr>
          <a:xfrm>
            <a:off x="6368714" y="1376525"/>
            <a:ext cx="1064796" cy="24688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8" name="Rectangle 47"/>
          <p:cNvSpPr/>
          <p:nvPr/>
        </p:nvSpPr>
        <p:spPr>
          <a:xfrm>
            <a:off x="7580493" y="1386806"/>
            <a:ext cx="1055769" cy="246888"/>
          </a:xfrm>
          <a:prstGeom prst="rect">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MANO</a:t>
            </a:r>
          </a:p>
        </p:txBody>
      </p:sp>
      <p:sp>
        <p:nvSpPr>
          <p:cNvPr id="49" name="TextBox 48"/>
          <p:cNvSpPr txBox="1"/>
          <p:nvPr/>
        </p:nvSpPr>
        <p:spPr>
          <a:xfrm>
            <a:off x="913657" y="840172"/>
            <a:ext cx="1656223" cy="461665"/>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Fully Disaggregated</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DIY or SI Led)</a:t>
            </a:r>
          </a:p>
        </p:txBody>
      </p:sp>
      <p:sp>
        <p:nvSpPr>
          <p:cNvPr id="50" name="TextBox 49"/>
          <p:cNvSpPr txBox="1"/>
          <p:nvPr/>
        </p:nvSpPr>
        <p:spPr>
          <a:xfrm>
            <a:off x="3536135" y="840668"/>
            <a:ext cx="2195986" cy="461665"/>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Vertical NFV Solution Stack</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Use Case Led)</a:t>
            </a:r>
          </a:p>
        </p:txBody>
      </p:sp>
      <p:sp>
        <p:nvSpPr>
          <p:cNvPr id="51" name="TextBox 50"/>
          <p:cNvSpPr txBox="1"/>
          <p:nvPr/>
        </p:nvSpPr>
        <p:spPr>
          <a:xfrm>
            <a:off x="6411217" y="844308"/>
            <a:ext cx="2196435" cy="461665"/>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Common &amp; Horizontal NFVI</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charset="0"/>
                <a:ea typeface="ＭＳ Ｐゴシック" panose="020B0600070205080204" pitchFamily="34" charset="-128"/>
                <a:cs typeface="+mn-cs"/>
              </a:rPr>
              <a:t>(Infrastructure Led)</a:t>
            </a:r>
          </a:p>
        </p:txBody>
      </p:sp>
      <p:sp>
        <p:nvSpPr>
          <p:cNvPr id="52" name="Rectangle 51"/>
          <p:cNvSpPr/>
          <p:nvPr/>
        </p:nvSpPr>
        <p:spPr>
          <a:xfrm>
            <a:off x="3444842" y="1337732"/>
            <a:ext cx="1143200" cy="1333280"/>
          </a:xfrm>
          <a:prstGeom prst="rect">
            <a:avLst/>
          </a:prstGeom>
          <a:noFill/>
          <a:ln w="317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 name="Rectangle 52"/>
          <p:cNvSpPr/>
          <p:nvPr/>
        </p:nvSpPr>
        <p:spPr>
          <a:xfrm>
            <a:off x="4671852" y="1337732"/>
            <a:ext cx="1143200" cy="1333280"/>
          </a:xfrm>
          <a:prstGeom prst="rect">
            <a:avLst/>
          </a:prstGeom>
          <a:noFill/>
          <a:ln w="317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Rectangle 53"/>
          <p:cNvSpPr/>
          <p:nvPr/>
        </p:nvSpPr>
        <p:spPr>
          <a:xfrm>
            <a:off x="572890" y="1337732"/>
            <a:ext cx="2354387" cy="1333280"/>
          </a:xfrm>
          <a:prstGeom prst="rect">
            <a:avLst/>
          </a:prstGeom>
          <a:noFill/>
          <a:ln w="317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Rectangle 54"/>
          <p:cNvSpPr/>
          <p:nvPr/>
        </p:nvSpPr>
        <p:spPr>
          <a:xfrm>
            <a:off x="6331712" y="2012393"/>
            <a:ext cx="2354387" cy="666640"/>
          </a:xfrm>
          <a:prstGeom prst="rect">
            <a:avLst/>
          </a:prstGeom>
          <a:noFill/>
          <a:ln w="3175">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 name="TextBox 56"/>
          <p:cNvSpPr txBox="1"/>
          <p:nvPr/>
        </p:nvSpPr>
        <p:spPr>
          <a:xfrm>
            <a:off x="470572" y="2829830"/>
            <a:ext cx="2577428" cy="1785102"/>
          </a:xfrm>
          <a:prstGeom prst="rect">
            <a:avLst/>
          </a:prstGeom>
          <a:noFill/>
        </p:spPr>
        <p:txBody>
          <a:bodyPr wrap="square" lIns="91438" tIns="45719" rIns="91438" bIns="45719" rtlCol="0" anchor="ctr">
            <a:spAutoFit/>
          </a:bodyPr>
          <a:lstStyle/>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Fully disaggregated approach with different elements of the solution coming from different vendors</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SP is driving Systems Integration – either by self or by appointing a SI</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Integration overhead is very high</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Arbitraging between vendors is difficult, </a:t>
            </a:r>
            <a:r>
              <a:rPr kumimoji="0" lang="en-US" sz="1000" b="1"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no single point of ownership</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Takes longer to deploy – </a:t>
            </a:r>
            <a:r>
              <a:rPr kumimoji="0" lang="en-US" sz="1000" b="1"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perceived cost benefit may be lost in higher coordination &amp; slower time to market</a:t>
            </a:r>
          </a:p>
        </p:txBody>
      </p:sp>
      <p:sp>
        <p:nvSpPr>
          <p:cNvPr id="58" name="TextBox 57"/>
          <p:cNvSpPr txBox="1"/>
          <p:nvPr/>
        </p:nvSpPr>
        <p:spPr>
          <a:xfrm>
            <a:off x="3335438" y="2825671"/>
            <a:ext cx="2577428" cy="1938990"/>
          </a:xfrm>
          <a:prstGeom prst="rect">
            <a:avLst/>
          </a:prstGeom>
          <a:noFill/>
        </p:spPr>
        <p:txBody>
          <a:bodyPr wrap="square" lIns="91438" tIns="45719" rIns="91438" bIns="45719" rtlCol="0" anchor="ctr">
            <a:spAutoFit/>
          </a:bodyPr>
          <a:lstStyle/>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Use-case focused NFV solution stacks, each from same or different vendors</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Pre-integrated, tested and validated by vendor with single point of ownership</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Faster time to market</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However, convergence of platform may be very challenging in future due to platform architecture inconsistency</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May lead to multiple silo’s that are not cross-leveraged and more expensive to manage in longer term</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endPar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endParaRPr>
          </a:p>
        </p:txBody>
      </p:sp>
      <p:sp>
        <p:nvSpPr>
          <p:cNvPr id="59" name="TextBox 58"/>
          <p:cNvSpPr txBox="1"/>
          <p:nvPr/>
        </p:nvSpPr>
        <p:spPr>
          <a:xfrm>
            <a:off x="6220191" y="2820477"/>
            <a:ext cx="2577428" cy="1785102"/>
          </a:xfrm>
          <a:prstGeom prst="rect">
            <a:avLst/>
          </a:prstGeom>
          <a:noFill/>
        </p:spPr>
        <p:txBody>
          <a:bodyPr wrap="square" lIns="91438" tIns="45719" rIns="91438" bIns="45719" rtlCol="0" anchor="ctr">
            <a:spAutoFit/>
          </a:bodyPr>
          <a:lstStyle/>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Common, horizontal carrier-grade NFV infrastructure for multiple use cases – from one vendor</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VNF and MANO packages comes per use case from the target vendors</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Pre-integrated, tested and validated NFVI with single point of ownership</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Faster time to market</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r>
              <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rPr>
              <a:t>Convergence of the platform is achieved with this platform architecture strategy</a:t>
            </a:r>
          </a:p>
          <a:p>
            <a:pPr marL="111122" marR="0" lvl="0" indent="-111122" algn="l" defTabSz="457200" rtl="0" eaLnBrk="1" fontAlgn="base" latinLnBrk="0" hangingPunct="1">
              <a:lnSpc>
                <a:spcPct val="100000"/>
              </a:lnSpc>
              <a:spcBef>
                <a:spcPct val="0"/>
              </a:spcBef>
              <a:spcAft>
                <a:spcPct val="0"/>
              </a:spcAft>
              <a:buClrTx/>
              <a:buSzTx/>
              <a:buFont typeface="Arial"/>
              <a:buChar char="•"/>
              <a:tabLst/>
              <a:defRPr/>
            </a:pPr>
            <a:endParaRPr kumimoji="0" lang="en-US" sz="1000" b="0" i="0" u="none" strike="noStrike" kern="1200" cap="none" spc="0" normalizeH="0" baseline="0" noProof="0" dirty="0">
              <a:ln>
                <a:noFill/>
              </a:ln>
              <a:solidFill>
                <a:srgbClr val="58585B"/>
              </a:solidFill>
              <a:effectLst/>
              <a:uLnTx/>
              <a:uFillTx/>
              <a:latin typeface="Arial" charset="0"/>
              <a:ea typeface="ＭＳ Ｐゴシック" panose="020B0600070205080204" pitchFamily="34" charset="-128"/>
              <a:cs typeface="+mn-cs"/>
            </a:endParaRPr>
          </a:p>
        </p:txBody>
      </p:sp>
      <p:sp>
        <p:nvSpPr>
          <p:cNvPr id="2" name="TextBox 1"/>
          <p:cNvSpPr txBox="1"/>
          <p:nvPr/>
        </p:nvSpPr>
        <p:spPr>
          <a:xfrm>
            <a:off x="8640389" y="2194213"/>
            <a:ext cx="535724" cy="276999"/>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charset="0"/>
                <a:ea typeface="ＭＳ Ｐゴシック" panose="020B0600070205080204" pitchFamily="34" charset="-128"/>
                <a:cs typeface="+mn-cs"/>
              </a:rPr>
              <a:t>NFVI</a:t>
            </a:r>
          </a:p>
        </p:txBody>
      </p:sp>
    </p:spTree>
    <p:extLst>
      <p:ext uri="{BB962C8B-B14F-4D97-AF65-F5344CB8AC3E}">
        <p14:creationId xmlns:p14="http://schemas.microsoft.com/office/powerpoint/2010/main" val="2155546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Solution Positioning</a:t>
            </a:r>
            <a:endParaRPr lang="en-US" dirty="0">
              <a:solidFill>
                <a:srgbClr val="FF0000"/>
              </a:solidFill>
            </a:endParaRPr>
          </a:p>
        </p:txBody>
      </p:sp>
      <p:grpSp>
        <p:nvGrpSpPr>
          <p:cNvPr id="3" name="Group 2">
            <a:extLst>
              <a:ext uri="{FF2B5EF4-FFF2-40B4-BE49-F238E27FC236}">
                <a16:creationId xmlns:a16="http://schemas.microsoft.com/office/drawing/2014/main" id="{14B171A3-DE7C-4969-A919-FA2A017E1134}"/>
              </a:ext>
            </a:extLst>
          </p:cNvPr>
          <p:cNvGrpSpPr/>
          <p:nvPr/>
        </p:nvGrpSpPr>
        <p:grpSpPr>
          <a:xfrm>
            <a:off x="2239219" y="3481267"/>
            <a:ext cx="1260000" cy="924333"/>
            <a:chOff x="2239219" y="3481266"/>
            <a:chExt cx="1260000" cy="924333"/>
          </a:xfrm>
        </p:grpSpPr>
        <p:sp>
          <p:nvSpPr>
            <p:cNvPr id="201" name="Rectangle 200">
              <a:extLst>
                <a:ext uri="{FF2B5EF4-FFF2-40B4-BE49-F238E27FC236}">
                  <a16:creationId xmlns:a16="http://schemas.microsoft.com/office/drawing/2014/main" id="{3EF047EF-11D1-41B6-821C-C8ECA589C835}"/>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ACCESS</a:t>
              </a:r>
            </a:p>
          </p:txBody>
        </p:sp>
        <p:sp>
          <p:nvSpPr>
            <p:cNvPr id="221" name="Rectangle 220">
              <a:extLst>
                <a:ext uri="{FF2B5EF4-FFF2-40B4-BE49-F238E27FC236}">
                  <a16:creationId xmlns:a16="http://schemas.microsoft.com/office/drawing/2014/main" id="{FFC6004D-6F68-45EC-9B4F-319DF8A980D0}"/>
                </a:ext>
              </a:extLst>
            </p:cNvPr>
            <p:cNvSpPr/>
            <p:nvPr/>
          </p:nvSpPr>
          <p:spPr>
            <a:xfrm>
              <a:off x="2239219"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xx</a:t>
              </a:r>
            </a:p>
          </p:txBody>
        </p:sp>
      </p:grpSp>
      <p:grpSp>
        <p:nvGrpSpPr>
          <p:cNvPr id="5" name="Group 4">
            <a:extLst>
              <a:ext uri="{FF2B5EF4-FFF2-40B4-BE49-F238E27FC236}">
                <a16:creationId xmlns:a16="http://schemas.microsoft.com/office/drawing/2014/main" id="{AD2CD189-A6AB-4309-9975-3451F0F33CBC}"/>
              </a:ext>
            </a:extLst>
          </p:cNvPr>
          <p:cNvGrpSpPr/>
          <p:nvPr/>
        </p:nvGrpSpPr>
        <p:grpSpPr>
          <a:xfrm>
            <a:off x="3745220" y="3481267"/>
            <a:ext cx="1260000" cy="924333"/>
            <a:chOff x="3745220" y="3481266"/>
            <a:chExt cx="1260000" cy="924333"/>
          </a:xfrm>
        </p:grpSpPr>
        <p:sp>
          <p:nvSpPr>
            <p:cNvPr id="225" name="Rectangle 224">
              <a:extLst>
                <a:ext uri="{FF2B5EF4-FFF2-40B4-BE49-F238E27FC236}">
                  <a16:creationId xmlns:a16="http://schemas.microsoft.com/office/drawing/2014/main" id="{9549725F-1DCD-4054-A384-BEAD5555E153}"/>
                </a:ext>
              </a:extLst>
            </p:cNvPr>
            <p:cNvSpPr/>
            <p:nvPr/>
          </p:nvSpPr>
          <p:spPr>
            <a:xfrm>
              <a:off x="3768442"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PRE-AGG</a:t>
              </a:r>
            </a:p>
          </p:txBody>
        </p:sp>
        <p:sp>
          <p:nvSpPr>
            <p:cNvPr id="226" name="Rectangle 225">
              <a:extLst>
                <a:ext uri="{FF2B5EF4-FFF2-40B4-BE49-F238E27FC236}">
                  <a16:creationId xmlns:a16="http://schemas.microsoft.com/office/drawing/2014/main" id="{90B8F912-2C94-466B-AA10-D7D51A80AA7D}"/>
                </a:ext>
              </a:extLst>
            </p:cNvPr>
            <p:cNvSpPr/>
            <p:nvPr/>
          </p:nvSpPr>
          <p:spPr>
            <a:xfrm>
              <a:off x="3745220"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xx</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5xx</a:t>
              </a:r>
            </a:p>
          </p:txBody>
        </p:sp>
      </p:grpSp>
      <p:grpSp>
        <p:nvGrpSpPr>
          <p:cNvPr id="6" name="Group 5">
            <a:extLst>
              <a:ext uri="{FF2B5EF4-FFF2-40B4-BE49-F238E27FC236}">
                <a16:creationId xmlns:a16="http://schemas.microsoft.com/office/drawing/2014/main" id="{3A9B98AA-0052-4BE2-8635-250E89A90826}"/>
              </a:ext>
            </a:extLst>
          </p:cNvPr>
          <p:cNvGrpSpPr/>
          <p:nvPr/>
        </p:nvGrpSpPr>
        <p:grpSpPr>
          <a:xfrm>
            <a:off x="5251221" y="3481267"/>
            <a:ext cx="1260000" cy="924333"/>
            <a:chOff x="5251221" y="3481266"/>
            <a:chExt cx="1260000" cy="924333"/>
          </a:xfrm>
        </p:grpSpPr>
        <p:sp>
          <p:nvSpPr>
            <p:cNvPr id="227" name="Rectangle 226">
              <a:extLst>
                <a:ext uri="{FF2B5EF4-FFF2-40B4-BE49-F238E27FC236}">
                  <a16:creationId xmlns:a16="http://schemas.microsoft.com/office/drawing/2014/main" id="{2EC7F1FD-2F4E-4C38-BC4B-99C3574F471B}"/>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IP Core</a:t>
              </a:r>
            </a:p>
          </p:txBody>
        </p:sp>
        <p:sp>
          <p:nvSpPr>
            <p:cNvPr id="228" name="Rectangle 227">
              <a:extLst>
                <a:ext uri="{FF2B5EF4-FFF2-40B4-BE49-F238E27FC236}">
                  <a16:creationId xmlns:a16="http://schemas.microsoft.com/office/drawing/2014/main" id="{EF3A3F2A-E60E-43F0-ABFB-48DBCA1F5F2E}"/>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5xx</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ASR9k</a:t>
              </a:r>
            </a:p>
          </p:txBody>
        </p:sp>
      </p:grpSp>
      <p:grpSp>
        <p:nvGrpSpPr>
          <p:cNvPr id="2" name="Group 1">
            <a:extLst>
              <a:ext uri="{FF2B5EF4-FFF2-40B4-BE49-F238E27FC236}">
                <a16:creationId xmlns:a16="http://schemas.microsoft.com/office/drawing/2014/main" id="{C1DC86CA-08CD-4826-94F1-5C8EB42EFC67}"/>
              </a:ext>
            </a:extLst>
          </p:cNvPr>
          <p:cNvGrpSpPr/>
          <p:nvPr/>
        </p:nvGrpSpPr>
        <p:grpSpPr>
          <a:xfrm>
            <a:off x="733218" y="3481267"/>
            <a:ext cx="1260000" cy="924333"/>
            <a:chOff x="733218" y="3481266"/>
            <a:chExt cx="1260000" cy="924333"/>
          </a:xfrm>
        </p:grpSpPr>
        <p:sp>
          <p:nvSpPr>
            <p:cNvPr id="229" name="Rectangle 228">
              <a:extLst>
                <a:ext uri="{FF2B5EF4-FFF2-40B4-BE49-F238E27FC236}">
                  <a16:creationId xmlns:a16="http://schemas.microsoft.com/office/drawing/2014/main" id="{A075285E-91AD-4310-8CDC-10DBD109C30B}"/>
                </a:ext>
              </a:extLst>
            </p:cNvPr>
            <p:cNvSpPr/>
            <p:nvPr/>
          </p:nvSpPr>
          <p:spPr>
            <a:xfrm>
              <a:off x="733218"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VRAN</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xx</a:t>
              </a:r>
            </a:p>
          </p:txBody>
        </p:sp>
        <p:sp>
          <p:nvSpPr>
            <p:cNvPr id="230" name="Rectangle 229">
              <a:extLst>
                <a:ext uri="{FF2B5EF4-FFF2-40B4-BE49-F238E27FC236}">
                  <a16:creationId xmlns:a16="http://schemas.microsoft.com/office/drawing/2014/main" id="{7A1264B6-D59E-4D6B-989E-30EEC84CA26C}"/>
                </a:ext>
              </a:extLst>
            </p:cNvPr>
            <p:cNvSpPr/>
            <p:nvPr/>
          </p:nvSpPr>
          <p:spPr>
            <a:xfrm>
              <a:off x="752600"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bg2"/>
                  </a:solidFill>
                  <a:latin typeface="CiscoSansTT" panose="020B0503020201020303" pitchFamily="34" charset="0"/>
                  <a:cs typeface="CiscoSansTT" panose="020B0503020201020303" pitchFamily="34" charset="0"/>
                </a:rPr>
                <a:t>RAN / Cell Rx</a:t>
              </a:r>
            </a:p>
          </p:txBody>
        </p:sp>
      </p:grpSp>
      <p:grpSp>
        <p:nvGrpSpPr>
          <p:cNvPr id="414" name="Group 413">
            <a:extLst>
              <a:ext uri="{FF2B5EF4-FFF2-40B4-BE49-F238E27FC236}">
                <a16:creationId xmlns:a16="http://schemas.microsoft.com/office/drawing/2014/main" id="{071CB512-0945-485F-ADA9-5E97A8D50389}"/>
              </a:ext>
            </a:extLst>
          </p:cNvPr>
          <p:cNvGrpSpPr/>
          <p:nvPr/>
        </p:nvGrpSpPr>
        <p:grpSpPr>
          <a:xfrm>
            <a:off x="732674" y="1788913"/>
            <a:ext cx="7368255" cy="1567451"/>
            <a:chOff x="732673" y="1788912"/>
            <a:chExt cx="7368255" cy="1567451"/>
          </a:xfrm>
        </p:grpSpPr>
        <p:sp>
          <p:nvSpPr>
            <p:cNvPr id="415" name="Rectangle: Rounded Corners 152">
              <a:extLst>
                <a:ext uri="{FF2B5EF4-FFF2-40B4-BE49-F238E27FC236}">
                  <a16:creationId xmlns:a16="http://schemas.microsoft.com/office/drawing/2014/main" id="{66433419-550A-47AB-8785-816C2443B4E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6" name="Oval 415">
              <a:extLst>
                <a:ext uri="{FF2B5EF4-FFF2-40B4-BE49-F238E27FC236}">
                  <a16:creationId xmlns:a16="http://schemas.microsoft.com/office/drawing/2014/main" id="{A682726D-FB62-4139-A8B8-CE14DC4CFDE3}"/>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7" name="Group 416">
              <a:extLst>
                <a:ext uri="{FF2B5EF4-FFF2-40B4-BE49-F238E27FC236}">
                  <a16:creationId xmlns:a16="http://schemas.microsoft.com/office/drawing/2014/main" id="{2A30886C-70E2-4EE4-B625-E1429A1E714D}"/>
                </a:ext>
              </a:extLst>
            </p:cNvPr>
            <p:cNvGrpSpPr/>
            <p:nvPr/>
          </p:nvGrpSpPr>
          <p:grpSpPr>
            <a:xfrm rot="16200000">
              <a:off x="1787492" y="2428962"/>
              <a:ext cx="393048" cy="893063"/>
              <a:chOff x="1053576" y="845943"/>
              <a:chExt cx="429692" cy="976323"/>
            </a:xfrm>
          </p:grpSpPr>
          <p:sp>
            <p:nvSpPr>
              <p:cNvPr id="580" name="Arc 579">
                <a:extLst>
                  <a:ext uri="{FF2B5EF4-FFF2-40B4-BE49-F238E27FC236}">
                    <a16:creationId xmlns:a16="http://schemas.microsoft.com/office/drawing/2014/main" id="{A16FAA23-EE7E-48E5-AAED-0EB383EE5810}"/>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81" name="Straight Connector 580">
                <a:extLst>
                  <a:ext uri="{FF2B5EF4-FFF2-40B4-BE49-F238E27FC236}">
                    <a16:creationId xmlns:a16="http://schemas.microsoft.com/office/drawing/2014/main" id="{C5D63DF3-6922-4184-9AC5-A69A8D20FC96}"/>
                  </a:ext>
                </a:extLst>
              </p:cNvPr>
              <p:cNvCxnSpPr>
                <a:cxnSpLocks/>
                <a:endCxn id="580"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9D43D8EF-F1D0-4356-8F95-EEFDDD5F1CD0}"/>
                  </a:ext>
                </a:extLst>
              </p:cNvPr>
              <p:cNvCxnSpPr>
                <a:cxnSpLocks/>
                <a:stCxn id="580"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8" name="Group 417">
              <a:extLst>
                <a:ext uri="{FF2B5EF4-FFF2-40B4-BE49-F238E27FC236}">
                  <a16:creationId xmlns:a16="http://schemas.microsoft.com/office/drawing/2014/main" id="{432B770E-B2CA-47A6-B185-F021B746C2E4}"/>
                </a:ext>
              </a:extLst>
            </p:cNvPr>
            <p:cNvGrpSpPr/>
            <p:nvPr/>
          </p:nvGrpSpPr>
          <p:grpSpPr>
            <a:xfrm>
              <a:off x="1139370" y="2057674"/>
              <a:ext cx="874980" cy="214533"/>
              <a:chOff x="1053577" y="1587731"/>
              <a:chExt cx="956555" cy="234534"/>
            </a:xfrm>
          </p:grpSpPr>
          <p:sp>
            <p:nvSpPr>
              <p:cNvPr id="577" name="Arc 576">
                <a:extLst>
                  <a:ext uri="{FF2B5EF4-FFF2-40B4-BE49-F238E27FC236}">
                    <a16:creationId xmlns:a16="http://schemas.microsoft.com/office/drawing/2014/main" id="{57C513BC-7515-47A3-9E87-79DB1B11B8BA}"/>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8" name="Straight Connector 577">
                <a:extLst>
                  <a:ext uri="{FF2B5EF4-FFF2-40B4-BE49-F238E27FC236}">
                    <a16:creationId xmlns:a16="http://schemas.microsoft.com/office/drawing/2014/main" id="{CDC375ED-E430-4E96-8678-10DB5A94CFCC}"/>
                  </a:ext>
                </a:extLst>
              </p:cNvPr>
              <p:cNvCxnSpPr>
                <a:cxnSpLocks/>
                <a:endCxn id="577"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7CA68352-600C-49C4-A8BE-4AF25C2746F1}"/>
                  </a:ext>
                </a:extLst>
              </p:cNvPr>
              <p:cNvCxnSpPr>
                <a:cxnSpLocks/>
                <a:stCxn id="577"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77484D01-673D-4BCA-9347-47C4749CDD1D}"/>
                </a:ext>
              </a:extLst>
            </p:cNvPr>
            <p:cNvGrpSpPr/>
            <p:nvPr/>
          </p:nvGrpSpPr>
          <p:grpSpPr>
            <a:xfrm>
              <a:off x="1471454" y="2049161"/>
              <a:ext cx="874980" cy="168558"/>
              <a:chOff x="1416621" y="1599856"/>
              <a:chExt cx="956555" cy="184273"/>
            </a:xfrm>
          </p:grpSpPr>
          <p:sp>
            <p:nvSpPr>
              <p:cNvPr id="574" name="Arc 573">
                <a:extLst>
                  <a:ext uri="{FF2B5EF4-FFF2-40B4-BE49-F238E27FC236}">
                    <a16:creationId xmlns:a16="http://schemas.microsoft.com/office/drawing/2014/main" id="{84F879B2-C39C-4576-BADF-40F022935540}"/>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5" name="Straight Connector 574">
                <a:extLst>
                  <a:ext uri="{FF2B5EF4-FFF2-40B4-BE49-F238E27FC236}">
                    <a16:creationId xmlns:a16="http://schemas.microsoft.com/office/drawing/2014/main" id="{3C895289-37F1-4AB2-89A8-F3D013BD1C05}"/>
                  </a:ext>
                </a:extLst>
              </p:cNvPr>
              <p:cNvCxnSpPr>
                <a:cxnSpLocks/>
                <a:endCxn id="574"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27FF5772-7A24-4D80-883A-3CD3BCDD08A5}"/>
                  </a:ext>
                </a:extLst>
              </p:cNvPr>
              <p:cNvCxnSpPr>
                <a:cxnSpLocks/>
                <a:stCxn id="574"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0" name="Group 419">
              <a:extLst>
                <a:ext uri="{FF2B5EF4-FFF2-40B4-BE49-F238E27FC236}">
                  <a16:creationId xmlns:a16="http://schemas.microsoft.com/office/drawing/2014/main" id="{4D1338F0-ADE4-4547-AB21-D99037D0EB08}"/>
                </a:ext>
              </a:extLst>
            </p:cNvPr>
            <p:cNvGrpSpPr/>
            <p:nvPr/>
          </p:nvGrpSpPr>
          <p:grpSpPr>
            <a:xfrm>
              <a:off x="1802844" y="1995223"/>
              <a:ext cx="662063" cy="168558"/>
              <a:chOff x="1778907" y="1564701"/>
              <a:chExt cx="723787" cy="184273"/>
            </a:xfrm>
          </p:grpSpPr>
          <p:sp>
            <p:nvSpPr>
              <p:cNvPr id="571" name="Arc 570">
                <a:extLst>
                  <a:ext uri="{FF2B5EF4-FFF2-40B4-BE49-F238E27FC236}">
                    <a16:creationId xmlns:a16="http://schemas.microsoft.com/office/drawing/2014/main" id="{AA310D21-499B-4346-BAE9-91B856CC3103}"/>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2" name="Straight Connector 571">
                <a:extLst>
                  <a:ext uri="{FF2B5EF4-FFF2-40B4-BE49-F238E27FC236}">
                    <a16:creationId xmlns:a16="http://schemas.microsoft.com/office/drawing/2014/main" id="{9B9B4120-F430-432E-A23B-D11A96DEC292}"/>
                  </a:ext>
                </a:extLst>
              </p:cNvPr>
              <p:cNvCxnSpPr>
                <a:cxnSpLocks/>
                <a:endCxn id="57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83857221-5A81-4E04-8751-2A3018CEBC97}"/>
                  </a:ext>
                </a:extLst>
              </p:cNvPr>
              <p:cNvCxnSpPr>
                <a:cxnSpLocks/>
                <a:stCxn id="57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21" name="Oval 420">
              <a:extLst>
                <a:ext uri="{FF2B5EF4-FFF2-40B4-BE49-F238E27FC236}">
                  <a16:creationId xmlns:a16="http://schemas.microsoft.com/office/drawing/2014/main" id="{0BEF32C6-12FD-4C09-8875-5F0D7F7769F8}"/>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2" name="Oval 421">
              <a:extLst>
                <a:ext uri="{FF2B5EF4-FFF2-40B4-BE49-F238E27FC236}">
                  <a16:creationId xmlns:a16="http://schemas.microsoft.com/office/drawing/2014/main" id="{0AF9A0BF-9022-4B92-B184-D9FCF1D8C408}"/>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3" name="Oval 422">
              <a:extLst>
                <a:ext uri="{FF2B5EF4-FFF2-40B4-BE49-F238E27FC236}">
                  <a16:creationId xmlns:a16="http://schemas.microsoft.com/office/drawing/2014/main" id="{0CC49AC7-A33D-4FEF-ACF5-AD3D023C8AE7}"/>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4" name="Straight Connector 423">
              <a:extLst>
                <a:ext uri="{FF2B5EF4-FFF2-40B4-BE49-F238E27FC236}">
                  <a16:creationId xmlns:a16="http://schemas.microsoft.com/office/drawing/2014/main" id="{995F8BA5-9E35-4B52-879A-2548EB66172C}"/>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425" name="Oval 424">
              <a:extLst>
                <a:ext uri="{FF2B5EF4-FFF2-40B4-BE49-F238E27FC236}">
                  <a16:creationId xmlns:a16="http://schemas.microsoft.com/office/drawing/2014/main" id="{90632BCF-B697-4128-9C32-5C01C39BF526}"/>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6" name="Group 425">
              <a:extLst>
                <a:ext uri="{FF2B5EF4-FFF2-40B4-BE49-F238E27FC236}">
                  <a16:creationId xmlns:a16="http://schemas.microsoft.com/office/drawing/2014/main" id="{5C4445D5-41F3-463F-A207-EDE6BE4BE80C}"/>
                </a:ext>
              </a:extLst>
            </p:cNvPr>
            <p:cNvGrpSpPr/>
            <p:nvPr/>
          </p:nvGrpSpPr>
          <p:grpSpPr>
            <a:xfrm>
              <a:off x="4825353" y="1970648"/>
              <a:ext cx="2313166" cy="911499"/>
              <a:chOff x="6257463" y="1617978"/>
              <a:chExt cx="1576956" cy="996478"/>
            </a:xfrm>
          </p:grpSpPr>
          <p:grpSp>
            <p:nvGrpSpPr>
              <p:cNvPr id="561" name="Group 560">
                <a:extLst>
                  <a:ext uri="{FF2B5EF4-FFF2-40B4-BE49-F238E27FC236}">
                    <a16:creationId xmlns:a16="http://schemas.microsoft.com/office/drawing/2014/main" id="{956CA148-D73E-49CB-A1BF-0C90FB1DEEF1}"/>
                  </a:ext>
                </a:extLst>
              </p:cNvPr>
              <p:cNvGrpSpPr/>
              <p:nvPr/>
            </p:nvGrpSpPr>
            <p:grpSpPr>
              <a:xfrm>
                <a:off x="6296881" y="2015544"/>
                <a:ext cx="1537538" cy="598912"/>
                <a:chOff x="6652481" y="2039451"/>
                <a:chExt cx="1537538" cy="598912"/>
              </a:xfrm>
              <a:solidFill>
                <a:schemeClr val="bg2">
                  <a:lumMod val="85000"/>
                </a:schemeClr>
              </a:solidFill>
            </p:grpSpPr>
            <p:sp>
              <p:nvSpPr>
                <p:cNvPr id="567" name="Rectangle: Rounded Corners 6">
                  <a:extLst>
                    <a:ext uri="{FF2B5EF4-FFF2-40B4-BE49-F238E27FC236}">
                      <a16:creationId xmlns:a16="http://schemas.microsoft.com/office/drawing/2014/main" id="{01501ED8-E98F-4EE4-9F45-325F9DBC10DF}"/>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8" name="Rectangle: Rounded Corners 140">
                  <a:extLst>
                    <a:ext uri="{FF2B5EF4-FFF2-40B4-BE49-F238E27FC236}">
                      <a16:creationId xmlns:a16="http://schemas.microsoft.com/office/drawing/2014/main" id="{93E4A046-27AC-43C4-B0DF-F87ED4B5DA9F}"/>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9" name="Rectangle: Rounded Corners 141">
                  <a:extLst>
                    <a:ext uri="{FF2B5EF4-FFF2-40B4-BE49-F238E27FC236}">
                      <a16:creationId xmlns:a16="http://schemas.microsoft.com/office/drawing/2014/main" id="{9616CBC8-9838-4315-89D8-127ABE451E7D}"/>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0" name="Rectangle: Rounded Corners 142">
                  <a:extLst>
                    <a:ext uri="{FF2B5EF4-FFF2-40B4-BE49-F238E27FC236}">
                      <a16:creationId xmlns:a16="http://schemas.microsoft.com/office/drawing/2014/main" id="{30554F36-9E80-4563-9646-709761B1BDB3}"/>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62" name="Group 561">
                <a:extLst>
                  <a:ext uri="{FF2B5EF4-FFF2-40B4-BE49-F238E27FC236}">
                    <a16:creationId xmlns:a16="http://schemas.microsoft.com/office/drawing/2014/main" id="{811F7F10-406B-42FA-B163-018089FC37E8}"/>
                  </a:ext>
                </a:extLst>
              </p:cNvPr>
              <p:cNvGrpSpPr/>
              <p:nvPr/>
            </p:nvGrpSpPr>
            <p:grpSpPr>
              <a:xfrm>
                <a:off x="6257463" y="1617978"/>
                <a:ext cx="1553564" cy="594092"/>
                <a:chOff x="6606761" y="1479381"/>
                <a:chExt cx="1566167" cy="598912"/>
              </a:xfrm>
              <a:solidFill>
                <a:schemeClr val="bg2">
                  <a:lumMod val="85000"/>
                </a:schemeClr>
              </a:solidFill>
            </p:grpSpPr>
            <p:sp>
              <p:nvSpPr>
                <p:cNvPr id="563" name="Rectangle: Rounded Corners 148">
                  <a:extLst>
                    <a:ext uri="{FF2B5EF4-FFF2-40B4-BE49-F238E27FC236}">
                      <a16:creationId xmlns:a16="http://schemas.microsoft.com/office/drawing/2014/main" id="{0AB7D6CD-102A-4040-A63B-D37FFF75E6A6}"/>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4" name="Rectangle: Rounded Corners 149">
                  <a:extLst>
                    <a:ext uri="{FF2B5EF4-FFF2-40B4-BE49-F238E27FC236}">
                      <a16:creationId xmlns:a16="http://schemas.microsoft.com/office/drawing/2014/main" id="{0996C544-FC8C-4FE2-97AD-33EFC3A5162A}"/>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5" name="Rectangle: Rounded Corners 150">
                  <a:extLst>
                    <a:ext uri="{FF2B5EF4-FFF2-40B4-BE49-F238E27FC236}">
                      <a16:creationId xmlns:a16="http://schemas.microsoft.com/office/drawing/2014/main" id="{C7F8E6C2-C791-4A6A-A317-19977F4D3B57}"/>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6" name="Rectangle: Rounded Corners 151">
                  <a:extLst>
                    <a:ext uri="{FF2B5EF4-FFF2-40B4-BE49-F238E27FC236}">
                      <a16:creationId xmlns:a16="http://schemas.microsoft.com/office/drawing/2014/main" id="{616874A7-B343-466F-BD95-6C7CE7FCFC3C}"/>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7" name="Group 426">
              <a:extLst>
                <a:ext uri="{FF2B5EF4-FFF2-40B4-BE49-F238E27FC236}">
                  <a16:creationId xmlns:a16="http://schemas.microsoft.com/office/drawing/2014/main" id="{5D80F346-7841-4064-8F45-5080D7E9DC1B}"/>
                </a:ext>
              </a:extLst>
            </p:cNvPr>
            <p:cNvGrpSpPr/>
            <p:nvPr/>
          </p:nvGrpSpPr>
          <p:grpSpPr>
            <a:xfrm>
              <a:off x="4495170" y="1970649"/>
              <a:ext cx="1509591" cy="909293"/>
              <a:chOff x="4722239" y="1617979"/>
              <a:chExt cx="1650330" cy="994067"/>
            </a:xfrm>
          </p:grpSpPr>
          <p:grpSp>
            <p:nvGrpSpPr>
              <p:cNvPr id="551" name="Group 550">
                <a:extLst>
                  <a:ext uri="{FF2B5EF4-FFF2-40B4-BE49-F238E27FC236}">
                    <a16:creationId xmlns:a16="http://schemas.microsoft.com/office/drawing/2014/main" id="{70735880-CB88-4F6E-BE49-E2C976899E04}"/>
                  </a:ext>
                </a:extLst>
              </p:cNvPr>
              <p:cNvGrpSpPr/>
              <p:nvPr/>
            </p:nvGrpSpPr>
            <p:grpSpPr>
              <a:xfrm>
                <a:off x="4722239" y="1617979"/>
                <a:ext cx="1604404" cy="594092"/>
                <a:chOff x="5071331" y="1479382"/>
                <a:chExt cx="1617419" cy="598911"/>
              </a:xfrm>
              <a:solidFill>
                <a:schemeClr val="bg2">
                  <a:lumMod val="85000"/>
                </a:schemeClr>
              </a:solidFill>
            </p:grpSpPr>
            <p:sp>
              <p:nvSpPr>
                <p:cNvPr id="557" name="Rectangle: Rounded Corners 161">
                  <a:extLst>
                    <a:ext uri="{FF2B5EF4-FFF2-40B4-BE49-F238E27FC236}">
                      <a16:creationId xmlns:a16="http://schemas.microsoft.com/office/drawing/2014/main" id="{C9FB7876-AFB3-44DE-A594-5F9585F63CE2}"/>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8" name="Rectangle: Rounded Corners 162">
                  <a:extLst>
                    <a:ext uri="{FF2B5EF4-FFF2-40B4-BE49-F238E27FC236}">
                      <a16:creationId xmlns:a16="http://schemas.microsoft.com/office/drawing/2014/main" id="{9069F53D-7B23-4895-AB98-F502C3135F7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9" name="Rectangle: Rounded Corners 163">
                  <a:extLst>
                    <a:ext uri="{FF2B5EF4-FFF2-40B4-BE49-F238E27FC236}">
                      <a16:creationId xmlns:a16="http://schemas.microsoft.com/office/drawing/2014/main" id="{0FEC1854-4A88-4E22-85E7-6AFA65819298}"/>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0" name="Rectangle: Rounded Corners 164">
                  <a:extLst>
                    <a:ext uri="{FF2B5EF4-FFF2-40B4-BE49-F238E27FC236}">
                      <a16:creationId xmlns:a16="http://schemas.microsoft.com/office/drawing/2014/main" id="{59DDFF06-7989-4A31-ACE7-E67617574590}"/>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52" name="Group 551">
                <a:extLst>
                  <a:ext uri="{FF2B5EF4-FFF2-40B4-BE49-F238E27FC236}">
                    <a16:creationId xmlns:a16="http://schemas.microsoft.com/office/drawing/2014/main" id="{432A5446-55DA-4B1F-9D75-58015CAB0B7C}"/>
                  </a:ext>
                </a:extLst>
              </p:cNvPr>
              <p:cNvGrpSpPr/>
              <p:nvPr/>
            </p:nvGrpSpPr>
            <p:grpSpPr>
              <a:xfrm>
                <a:off x="4819003" y="2017956"/>
                <a:ext cx="1553566" cy="594090"/>
                <a:chOff x="5168302" y="2039452"/>
                <a:chExt cx="1566168" cy="598911"/>
              </a:xfrm>
              <a:solidFill>
                <a:schemeClr val="bg2">
                  <a:lumMod val="85000"/>
                </a:schemeClr>
              </a:solidFill>
            </p:grpSpPr>
            <p:sp>
              <p:nvSpPr>
                <p:cNvPr id="553" name="Rectangle: Rounded Corners 165">
                  <a:extLst>
                    <a:ext uri="{FF2B5EF4-FFF2-40B4-BE49-F238E27FC236}">
                      <a16:creationId xmlns:a16="http://schemas.microsoft.com/office/drawing/2014/main" id="{795B5F93-BF38-4327-877F-C2259E566CDF}"/>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4" name="Rectangle: Rounded Corners 166">
                  <a:extLst>
                    <a:ext uri="{FF2B5EF4-FFF2-40B4-BE49-F238E27FC236}">
                      <a16:creationId xmlns:a16="http://schemas.microsoft.com/office/drawing/2014/main" id="{C231098D-D5A5-42B1-8C77-6AEF5CD87E24}"/>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5" name="Rectangle: Rounded Corners 167">
                  <a:extLst>
                    <a:ext uri="{FF2B5EF4-FFF2-40B4-BE49-F238E27FC236}">
                      <a16:creationId xmlns:a16="http://schemas.microsoft.com/office/drawing/2014/main" id="{2F367DA3-71AA-4057-9384-191AD63633BC}"/>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6" name="Rectangle: Rounded Corners 168">
                  <a:extLst>
                    <a:ext uri="{FF2B5EF4-FFF2-40B4-BE49-F238E27FC236}">
                      <a16:creationId xmlns:a16="http://schemas.microsoft.com/office/drawing/2014/main" id="{E3577BD0-241E-4838-96E2-43B3BB637DB5}"/>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8" name="Group 427">
              <a:extLst>
                <a:ext uri="{FF2B5EF4-FFF2-40B4-BE49-F238E27FC236}">
                  <a16:creationId xmlns:a16="http://schemas.microsoft.com/office/drawing/2014/main" id="{D50D2B2A-A262-4F70-B228-744CCEC7EFBE}"/>
                </a:ext>
              </a:extLst>
            </p:cNvPr>
            <p:cNvGrpSpPr/>
            <p:nvPr/>
          </p:nvGrpSpPr>
          <p:grpSpPr>
            <a:xfrm>
              <a:off x="3086190" y="2006242"/>
              <a:ext cx="1509592" cy="909292"/>
              <a:chOff x="3181899" y="1656890"/>
              <a:chExt cx="1650332" cy="994066"/>
            </a:xfrm>
          </p:grpSpPr>
          <p:grpSp>
            <p:nvGrpSpPr>
              <p:cNvPr id="541" name="Group 540">
                <a:extLst>
                  <a:ext uri="{FF2B5EF4-FFF2-40B4-BE49-F238E27FC236}">
                    <a16:creationId xmlns:a16="http://schemas.microsoft.com/office/drawing/2014/main" id="{68CA2F72-0AB6-43B0-94D7-A2D2A5BE7D50}"/>
                  </a:ext>
                </a:extLst>
              </p:cNvPr>
              <p:cNvGrpSpPr/>
              <p:nvPr/>
            </p:nvGrpSpPr>
            <p:grpSpPr>
              <a:xfrm>
                <a:off x="3227827" y="2056864"/>
                <a:ext cx="1604404" cy="594092"/>
                <a:chOff x="3576919" y="2078361"/>
                <a:chExt cx="1617419" cy="598911"/>
              </a:xfrm>
              <a:solidFill>
                <a:schemeClr val="bg2">
                  <a:lumMod val="85000"/>
                </a:schemeClr>
              </a:solidFill>
            </p:grpSpPr>
            <p:sp>
              <p:nvSpPr>
                <p:cNvPr id="547" name="Rectangle: Rounded Corners 170">
                  <a:extLst>
                    <a:ext uri="{FF2B5EF4-FFF2-40B4-BE49-F238E27FC236}">
                      <a16:creationId xmlns:a16="http://schemas.microsoft.com/office/drawing/2014/main" id="{7EDED468-34A3-4D1E-8BE3-BCA9B4BD62C5}"/>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8" name="Rectangle: Rounded Corners 172">
                  <a:extLst>
                    <a:ext uri="{FF2B5EF4-FFF2-40B4-BE49-F238E27FC236}">
                      <a16:creationId xmlns:a16="http://schemas.microsoft.com/office/drawing/2014/main" id="{A6569433-62FA-47AC-99A0-0166244F2536}"/>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9" name="Rectangle: Rounded Corners 173">
                  <a:extLst>
                    <a:ext uri="{FF2B5EF4-FFF2-40B4-BE49-F238E27FC236}">
                      <a16:creationId xmlns:a16="http://schemas.microsoft.com/office/drawing/2014/main" id="{4247FAD5-D390-4BAA-8759-658E0BD2B186}"/>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0" name="Rectangle: Rounded Corners 174">
                  <a:extLst>
                    <a:ext uri="{FF2B5EF4-FFF2-40B4-BE49-F238E27FC236}">
                      <a16:creationId xmlns:a16="http://schemas.microsoft.com/office/drawing/2014/main" id="{2A335CB2-F045-45B1-9CD5-1AF09C775DED}"/>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42" name="Group 541">
                <a:extLst>
                  <a:ext uri="{FF2B5EF4-FFF2-40B4-BE49-F238E27FC236}">
                    <a16:creationId xmlns:a16="http://schemas.microsoft.com/office/drawing/2014/main" id="{3A809CAC-23C7-49B0-BFDB-739FA295FF08}"/>
                  </a:ext>
                </a:extLst>
              </p:cNvPr>
              <p:cNvGrpSpPr/>
              <p:nvPr/>
            </p:nvGrpSpPr>
            <p:grpSpPr>
              <a:xfrm>
                <a:off x="3181899" y="1656890"/>
                <a:ext cx="1443175" cy="594090"/>
                <a:chOff x="3531199" y="1518292"/>
                <a:chExt cx="1454882" cy="598911"/>
              </a:xfrm>
              <a:solidFill>
                <a:schemeClr val="bg2">
                  <a:lumMod val="85000"/>
                </a:schemeClr>
              </a:solidFill>
            </p:grpSpPr>
            <p:sp>
              <p:nvSpPr>
                <p:cNvPr id="543" name="Rectangle: Rounded Corners 175">
                  <a:extLst>
                    <a:ext uri="{FF2B5EF4-FFF2-40B4-BE49-F238E27FC236}">
                      <a16:creationId xmlns:a16="http://schemas.microsoft.com/office/drawing/2014/main" id="{6689CB55-9603-45FA-95EF-8EC89E5AD3C8}"/>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4" name="Rectangle: Rounded Corners 176">
                  <a:extLst>
                    <a:ext uri="{FF2B5EF4-FFF2-40B4-BE49-F238E27FC236}">
                      <a16:creationId xmlns:a16="http://schemas.microsoft.com/office/drawing/2014/main" id="{AA44B59E-9EC7-420C-95B2-504B3077B974}"/>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5" name="Rectangle: Rounded Corners 177">
                  <a:extLst>
                    <a:ext uri="{FF2B5EF4-FFF2-40B4-BE49-F238E27FC236}">
                      <a16:creationId xmlns:a16="http://schemas.microsoft.com/office/drawing/2014/main" id="{0F584308-9C74-4352-8591-A7AD5261180D}"/>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6" name="Rectangle: Rounded Corners 178">
                  <a:extLst>
                    <a:ext uri="{FF2B5EF4-FFF2-40B4-BE49-F238E27FC236}">
                      <a16:creationId xmlns:a16="http://schemas.microsoft.com/office/drawing/2014/main" id="{B913CE34-C127-47F2-9AC9-5CF9EABCAC94}"/>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9" name="Group 428">
              <a:extLst>
                <a:ext uri="{FF2B5EF4-FFF2-40B4-BE49-F238E27FC236}">
                  <a16:creationId xmlns:a16="http://schemas.microsoft.com/office/drawing/2014/main" id="{586E91CF-9E4A-45D6-A583-6EA74A7E2649}"/>
                </a:ext>
              </a:extLst>
            </p:cNvPr>
            <p:cNvGrpSpPr/>
            <p:nvPr/>
          </p:nvGrpSpPr>
          <p:grpSpPr>
            <a:xfrm>
              <a:off x="1799537" y="2094016"/>
              <a:ext cx="1491424" cy="749099"/>
              <a:chOff x="6621828" y="1373655"/>
              <a:chExt cx="1630470" cy="818938"/>
            </a:xfrm>
            <a:solidFill>
              <a:schemeClr val="bg2">
                <a:lumMod val="85000"/>
              </a:schemeClr>
            </a:solidFill>
          </p:grpSpPr>
          <p:sp>
            <p:nvSpPr>
              <p:cNvPr id="535" name="Rectangle: Rounded Corners 190">
                <a:extLst>
                  <a:ext uri="{FF2B5EF4-FFF2-40B4-BE49-F238E27FC236}">
                    <a16:creationId xmlns:a16="http://schemas.microsoft.com/office/drawing/2014/main" id="{948E9081-CD96-436A-AC4B-6F72F056F6F8}"/>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6" name="Rectangle: Rounded Corners 191">
                <a:extLst>
                  <a:ext uri="{FF2B5EF4-FFF2-40B4-BE49-F238E27FC236}">
                    <a16:creationId xmlns:a16="http://schemas.microsoft.com/office/drawing/2014/main" id="{A81A9705-D467-46F0-82B8-A01D92179FFE}"/>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7" name="Rectangle: Rounded Corners 192">
                <a:extLst>
                  <a:ext uri="{FF2B5EF4-FFF2-40B4-BE49-F238E27FC236}">
                    <a16:creationId xmlns:a16="http://schemas.microsoft.com/office/drawing/2014/main" id="{4B0F9048-BE28-43F0-96E5-4D865F5ECDC0}"/>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8" name="Rectangle: Rounded Corners 194">
                <a:extLst>
                  <a:ext uri="{FF2B5EF4-FFF2-40B4-BE49-F238E27FC236}">
                    <a16:creationId xmlns:a16="http://schemas.microsoft.com/office/drawing/2014/main" id="{B8646E8C-09E9-438A-9ADC-920A0A4C960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9" name="Rectangle: Rounded Corners 228">
                <a:extLst>
                  <a:ext uri="{FF2B5EF4-FFF2-40B4-BE49-F238E27FC236}">
                    <a16:creationId xmlns:a16="http://schemas.microsoft.com/office/drawing/2014/main" id="{ABFE1E99-17E1-4515-9676-CFBB2B12E140}"/>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0" name="Rectangle: Rounded Corners 229">
                <a:extLst>
                  <a:ext uri="{FF2B5EF4-FFF2-40B4-BE49-F238E27FC236}">
                    <a16:creationId xmlns:a16="http://schemas.microsoft.com/office/drawing/2014/main" id="{345A3AA8-488D-4048-847B-D088EF17E615}"/>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30" name="TextBox 429">
              <a:extLst>
                <a:ext uri="{FF2B5EF4-FFF2-40B4-BE49-F238E27FC236}">
                  <a16:creationId xmlns:a16="http://schemas.microsoft.com/office/drawing/2014/main" id="{DD827FBC-E349-4877-AEDA-0A05594455BB}"/>
                </a:ext>
              </a:extLst>
            </p:cNvPr>
            <p:cNvSpPr txBox="1"/>
            <p:nvPr/>
          </p:nvSpPr>
          <p:spPr>
            <a:xfrm>
              <a:off x="2162365" y="2322454"/>
              <a:ext cx="588624" cy="230832"/>
            </a:xfrm>
            <a:prstGeom prst="rect">
              <a:avLst/>
            </a:prstGeom>
            <a:noFill/>
          </p:spPr>
          <p:txBody>
            <a:bodyPr wrap="none" rtlCol="0">
              <a:spAutoFit/>
            </a:bodyPr>
            <a:lstStyle/>
            <a:p>
              <a:pPr algn="ctr"/>
              <a:r>
                <a:rPr lang="en-US" sz="900" b="1" dirty="0"/>
                <a:t>Access</a:t>
              </a:r>
            </a:p>
          </p:txBody>
        </p:sp>
        <p:sp>
          <p:nvSpPr>
            <p:cNvPr id="431" name="TextBox 430">
              <a:extLst>
                <a:ext uri="{FF2B5EF4-FFF2-40B4-BE49-F238E27FC236}">
                  <a16:creationId xmlns:a16="http://schemas.microsoft.com/office/drawing/2014/main" id="{0D38132E-92B8-46F3-8471-C7B7E4004432}"/>
                </a:ext>
              </a:extLst>
            </p:cNvPr>
            <p:cNvSpPr txBox="1"/>
            <p:nvPr/>
          </p:nvSpPr>
          <p:spPr>
            <a:xfrm>
              <a:off x="3399904" y="2322454"/>
              <a:ext cx="1069525" cy="230832"/>
            </a:xfrm>
            <a:prstGeom prst="rect">
              <a:avLst/>
            </a:prstGeom>
            <a:noFill/>
          </p:spPr>
          <p:txBody>
            <a:bodyPr wrap="none" rtlCol="0">
              <a:spAutoFit/>
            </a:bodyPr>
            <a:lstStyle/>
            <a:p>
              <a:pPr algn="ctr"/>
              <a:r>
                <a:rPr lang="en-US" sz="900" b="1" dirty="0"/>
                <a:t>Pre-aggregation</a:t>
              </a:r>
            </a:p>
          </p:txBody>
        </p:sp>
        <p:sp>
          <p:nvSpPr>
            <p:cNvPr id="432" name="TextBox 431">
              <a:extLst>
                <a:ext uri="{FF2B5EF4-FFF2-40B4-BE49-F238E27FC236}">
                  <a16:creationId xmlns:a16="http://schemas.microsoft.com/office/drawing/2014/main" id="{DD953ADC-8E6E-40DA-94CD-7FEB9B7597A5}"/>
                </a:ext>
              </a:extLst>
            </p:cNvPr>
            <p:cNvSpPr txBox="1"/>
            <p:nvPr/>
          </p:nvSpPr>
          <p:spPr>
            <a:xfrm>
              <a:off x="5827401" y="2334311"/>
              <a:ext cx="447558" cy="230832"/>
            </a:xfrm>
            <a:prstGeom prst="rect">
              <a:avLst/>
            </a:prstGeom>
            <a:noFill/>
          </p:spPr>
          <p:txBody>
            <a:bodyPr wrap="none" rtlCol="0">
              <a:spAutoFit/>
            </a:bodyPr>
            <a:lstStyle/>
            <a:p>
              <a:pPr algn="ctr"/>
              <a:r>
                <a:rPr lang="en-US" sz="900" b="1" dirty="0"/>
                <a:t>Core</a:t>
              </a:r>
            </a:p>
          </p:txBody>
        </p:sp>
        <p:grpSp>
          <p:nvGrpSpPr>
            <p:cNvPr id="433" name="Group 432">
              <a:extLst>
                <a:ext uri="{FF2B5EF4-FFF2-40B4-BE49-F238E27FC236}">
                  <a16:creationId xmlns:a16="http://schemas.microsoft.com/office/drawing/2014/main" id="{87602542-FAC5-4BDF-A4A8-E22544CC64CA}"/>
                </a:ext>
              </a:extLst>
            </p:cNvPr>
            <p:cNvGrpSpPr/>
            <p:nvPr/>
          </p:nvGrpSpPr>
          <p:grpSpPr>
            <a:xfrm>
              <a:off x="1722376" y="1935055"/>
              <a:ext cx="160263" cy="98451"/>
              <a:chOff x="3221673" y="3946130"/>
              <a:chExt cx="521162" cy="320153"/>
            </a:xfrm>
            <a:solidFill>
              <a:schemeClr val="accent2"/>
            </a:solidFill>
          </p:grpSpPr>
          <p:sp>
            <p:nvSpPr>
              <p:cNvPr id="533" name="Freeform 7">
                <a:extLst>
                  <a:ext uri="{FF2B5EF4-FFF2-40B4-BE49-F238E27FC236}">
                    <a16:creationId xmlns:a16="http://schemas.microsoft.com/office/drawing/2014/main" id="{44606877-F029-42A7-A114-540FC6D2EB8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dirty="0"/>
              </a:p>
            </p:txBody>
          </p:sp>
          <p:sp>
            <p:nvSpPr>
              <p:cNvPr id="534" name="Freeform 23">
                <a:extLst>
                  <a:ext uri="{FF2B5EF4-FFF2-40B4-BE49-F238E27FC236}">
                    <a16:creationId xmlns:a16="http://schemas.microsoft.com/office/drawing/2014/main" id="{1EFE0505-9F96-469E-9392-1786AC943DE9}"/>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4" name="Group 433">
              <a:extLst>
                <a:ext uri="{FF2B5EF4-FFF2-40B4-BE49-F238E27FC236}">
                  <a16:creationId xmlns:a16="http://schemas.microsoft.com/office/drawing/2014/main" id="{C28A7165-8CA8-44C4-8A59-A7D8E81FF47B}"/>
                </a:ext>
              </a:extLst>
            </p:cNvPr>
            <p:cNvGrpSpPr/>
            <p:nvPr/>
          </p:nvGrpSpPr>
          <p:grpSpPr>
            <a:xfrm>
              <a:off x="1388809" y="1934661"/>
              <a:ext cx="166060" cy="99240"/>
              <a:chOff x="3202819" y="3711222"/>
              <a:chExt cx="348044" cy="207998"/>
            </a:xfrm>
            <a:solidFill>
              <a:schemeClr val="accent1"/>
            </a:solidFill>
          </p:grpSpPr>
          <p:sp>
            <p:nvSpPr>
              <p:cNvPr id="531" name="Freeform 77">
                <a:extLst>
                  <a:ext uri="{FF2B5EF4-FFF2-40B4-BE49-F238E27FC236}">
                    <a16:creationId xmlns:a16="http://schemas.microsoft.com/office/drawing/2014/main" id="{0D888EA3-13EC-45DB-AAE2-A56AD4DD2DE8}"/>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dirty="0"/>
              </a:p>
            </p:txBody>
          </p:sp>
          <p:sp>
            <p:nvSpPr>
              <p:cNvPr id="532" name="Freeform 23">
                <a:extLst>
                  <a:ext uri="{FF2B5EF4-FFF2-40B4-BE49-F238E27FC236}">
                    <a16:creationId xmlns:a16="http://schemas.microsoft.com/office/drawing/2014/main" id="{6624EDAD-8189-4B6B-8442-6C185C3DD7C9}"/>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5" name="Group 434">
              <a:extLst>
                <a:ext uri="{FF2B5EF4-FFF2-40B4-BE49-F238E27FC236}">
                  <a16:creationId xmlns:a16="http://schemas.microsoft.com/office/drawing/2014/main" id="{D2919D61-9C74-4C04-BFD5-01A8206B7D7B}"/>
                </a:ext>
              </a:extLst>
            </p:cNvPr>
            <p:cNvGrpSpPr/>
            <p:nvPr/>
          </p:nvGrpSpPr>
          <p:grpSpPr>
            <a:xfrm>
              <a:off x="1061637" y="1935056"/>
              <a:ext cx="159067" cy="98449"/>
              <a:chOff x="974446" y="1475289"/>
              <a:chExt cx="173897" cy="107627"/>
            </a:xfrm>
            <a:solidFill>
              <a:schemeClr val="accent5"/>
            </a:solidFill>
          </p:grpSpPr>
          <p:sp>
            <p:nvSpPr>
              <p:cNvPr id="529" name="Freeform 11">
                <a:extLst>
                  <a:ext uri="{FF2B5EF4-FFF2-40B4-BE49-F238E27FC236}">
                    <a16:creationId xmlns:a16="http://schemas.microsoft.com/office/drawing/2014/main" id="{4E9113F6-2F11-4E76-B340-4B987A625CA1}"/>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530" name="Freeform 23">
                <a:extLst>
                  <a:ext uri="{FF2B5EF4-FFF2-40B4-BE49-F238E27FC236}">
                    <a16:creationId xmlns:a16="http://schemas.microsoft.com/office/drawing/2014/main" id="{682E4B11-CF1B-4398-A5E4-8C26E5DBD780}"/>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6" name="Group 435">
              <a:extLst>
                <a:ext uri="{FF2B5EF4-FFF2-40B4-BE49-F238E27FC236}">
                  <a16:creationId xmlns:a16="http://schemas.microsoft.com/office/drawing/2014/main" id="{112D7826-9847-4F1D-93C1-BCC449056B80}"/>
                </a:ext>
              </a:extLst>
            </p:cNvPr>
            <p:cNvGrpSpPr/>
            <p:nvPr/>
          </p:nvGrpSpPr>
          <p:grpSpPr>
            <a:xfrm>
              <a:off x="3062826" y="1914581"/>
              <a:ext cx="396817" cy="396817"/>
              <a:chOff x="3119641" y="1416189"/>
              <a:chExt cx="507244" cy="507244"/>
            </a:xfrm>
          </p:grpSpPr>
          <p:sp>
            <p:nvSpPr>
              <p:cNvPr id="522" name="Oval 521">
                <a:extLst>
                  <a:ext uri="{FF2B5EF4-FFF2-40B4-BE49-F238E27FC236}">
                    <a16:creationId xmlns:a16="http://schemas.microsoft.com/office/drawing/2014/main" id="{FAF32BE9-140A-40B9-A600-1739866C6B11}"/>
                  </a:ext>
                </a:extLst>
              </p:cNvPr>
              <p:cNvSpPr/>
              <p:nvPr/>
            </p:nvSpPr>
            <p:spPr>
              <a:xfrm>
                <a:off x="3119641" y="1416189"/>
                <a:ext cx="507244" cy="507244"/>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23" name="Group 522">
                <a:extLst>
                  <a:ext uri="{FF2B5EF4-FFF2-40B4-BE49-F238E27FC236}">
                    <a16:creationId xmlns:a16="http://schemas.microsoft.com/office/drawing/2014/main" id="{0794BBE5-51EE-4FA6-A7BC-B40A0815E5B2}"/>
                  </a:ext>
                </a:extLst>
              </p:cNvPr>
              <p:cNvGrpSpPr/>
              <p:nvPr/>
            </p:nvGrpSpPr>
            <p:grpSpPr>
              <a:xfrm>
                <a:off x="3179583" y="1476131"/>
                <a:ext cx="387360" cy="387360"/>
                <a:chOff x="2652535" y="-3571486"/>
                <a:chExt cx="4882348" cy="4882348"/>
              </a:xfrm>
              <a:solidFill>
                <a:schemeClr val="bg2"/>
              </a:solidFill>
            </p:grpSpPr>
            <p:sp>
              <p:nvSpPr>
                <p:cNvPr id="524" name="Freeform: Shape 298">
                  <a:extLst>
                    <a:ext uri="{FF2B5EF4-FFF2-40B4-BE49-F238E27FC236}">
                      <a16:creationId xmlns:a16="http://schemas.microsoft.com/office/drawing/2014/main" id="{B6D34471-2586-44CC-A072-68C45F52015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5" name="Freeform: Shape 299">
                  <a:extLst>
                    <a:ext uri="{FF2B5EF4-FFF2-40B4-BE49-F238E27FC236}">
                      <a16:creationId xmlns:a16="http://schemas.microsoft.com/office/drawing/2014/main" id="{87998161-2C76-4547-A932-04AF8E27D76C}"/>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26" name="Group 525">
                  <a:extLst>
                    <a:ext uri="{FF2B5EF4-FFF2-40B4-BE49-F238E27FC236}">
                      <a16:creationId xmlns:a16="http://schemas.microsoft.com/office/drawing/2014/main" id="{5E05D5C0-0427-4C95-ABA5-718A3BDFEFF0}"/>
                    </a:ext>
                  </a:extLst>
                </p:cNvPr>
                <p:cNvGrpSpPr/>
                <p:nvPr/>
              </p:nvGrpSpPr>
              <p:grpSpPr>
                <a:xfrm rot="5400000">
                  <a:off x="4197485" y="-3571486"/>
                  <a:ext cx="1792447" cy="4882348"/>
                  <a:chOff x="4197485" y="-3571486"/>
                  <a:chExt cx="1792447" cy="4882348"/>
                </a:xfrm>
                <a:grpFill/>
              </p:grpSpPr>
              <p:sp>
                <p:nvSpPr>
                  <p:cNvPr id="527" name="Freeform: Shape 301">
                    <a:extLst>
                      <a:ext uri="{FF2B5EF4-FFF2-40B4-BE49-F238E27FC236}">
                        <a16:creationId xmlns:a16="http://schemas.microsoft.com/office/drawing/2014/main" id="{61C0F6FB-D11D-4480-AF46-C2AC70CFD4DB}"/>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8" name="Freeform: Shape 302">
                    <a:extLst>
                      <a:ext uri="{FF2B5EF4-FFF2-40B4-BE49-F238E27FC236}">
                        <a16:creationId xmlns:a16="http://schemas.microsoft.com/office/drawing/2014/main" id="{8DAF4521-520B-4B6E-953E-E2D93606A29D}"/>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7" name="Group 436">
              <a:extLst>
                <a:ext uri="{FF2B5EF4-FFF2-40B4-BE49-F238E27FC236}">
                  <a16:creationId xmlns:a16="http://schemas.microsoft.com/office/drawing/2014/main" id="{6DC4E5BB-A596-442A-BFD2-D6A06384EB94}"/>
                </a:ext>
              </a:extLst>
            </p:cNvPr>
            <p:cNvGrpSpPr/>
            <p:nvPr/>
          </p:nvGrpSpPr>
          <p:grpSpPr>
            <a:xfrm>
              <a:off x="3062826" y="2564265"/>
              <a:ext cx="396817" cy="396817"/>
              <a:chOff x="3119641" y="2126443"/>
              <a:chExt cx="507244" cy="507244"/>
            </a:xfrm>
          </p:grpSpPr>
          <p:sp>
            <p:nvSpPr>
              <p:cNvPr id="515" name="Oval 514">
                <a:extLst>
                  <a:ext uri="{FF2B5EF4-FFF2-40B4-BE49-F238E27FC236}">
                    <a16:creationId xmlns:a16="http://schemas.microsoft.com/office/drawing/2014/main" id="{EE2A51AF-E4F4-49EF-9844-407D862CF805}"/>
                  </a:ext>
                </a:extLst>
              </p:cNvPr>
              <p:cNvSpPr/>
              <p:nvPr/>
            </p:nvSpPr>
            <p:spPr>
              <a:xfrm>
                <a:off x="3119641" y="2126443"/>
                <a:ext cx="507244" cy="507244"/>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16" name="Group 515">
                <a:extLst>
                  <a:ext uri="{FF2B5EF4-FFF2-40B4-BE49-F238E27FC236}">
                    <a16:creationId xmlns:a16="http://schemas.microsoft.com/office/drawing/2014/main" id="{C65B9FD2-2960-4082-98DD-139CA43AC038}"/>
                  </a:ext>
                </a:extLst>
              </p:cNvPr>
              <p:cNvGrpSpPr/>
              <p:nvPr/>
            </p:nvGrpSpPr>
            <p:grpSpPr>
              <a:xfrm>
                <a:off x="3179583" y="2186385"/>
                <a:ext cx="387360" cy="387360"/>
                <a:chOff x="2652535" y="-3571486"/>
                <a:chExt cx="4882348" cy="4882348"/>
              </a:xfrm>
              <a:solidFill>
                <a:schemeClr val="bg2"/>
              </a:solidFill>
            </p:grpSpPr>
            <p:sp>
              <p:nvSpPr>
                <p:cNvPr id="517" name="Freeform: Shape 310">
                  <a:extLst>
                    <a:ext uri="{FF2B5EF4-FFF2-40B4-BE49-F238E27FC236}">
                      <a16:creationId xmlns:a16="http://schemas.microsoft.com/office/drawing/2014/main" id="{D911AB50-D703-4670-9C78-6D9D3D91590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8" name="Freeform: Shape 311">
                  <a:extLst>
                    <a:ext uri="{FF2B5EF4-FFF2-40B4-BE49-F238E27FC236}">
                      <a16:creationId xmlns:a16="http://schemas.microsoft.com/office/drawing/2014/main" id="{A2876FE9-9C7B-4FB4-8267-F695D2D54A0F}"/>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9" name="Group 518">
                  <a:extLst>
                    <a:ext uri="{FF2B5EF4-FFF2-40B4-BE49-F238E27FC236}">
                      <a16:creationId xmlns:a16="http://schemas.microsoft.com/office/drawing/2014/main" id="{D557623F-B3D1-4FE9-84DE-9A42F1E60D9C}"/>
                    </a:ext>
                  </a:extLst>
                </p:cNvPr>
                <p:cNvGrpSpPr/>
                <p:nvPr/>
              </p:nvGrpSpPr>
              <p:grpSpPr>
                <a:xfrm rot="5400000">
                  <a:off x="4197485" y="-3571486"/>
                  <a:ext cx="1792447" cy="4882348"/>
                  <a:chOff x="4197485" y="-3571486"/>
                  <a:chExt cx="1792447" cy="4882348"/>
                </a:xfrm>
                <a:grpFill/>
              </p:grpSpPr>
              <p:sp>
                <p:nvSpPr>
                  <p:cNvPr id="520" name="Freeform: Shape 313">
                    <a:extLst>
                      <a:ext uri="{FF2B5EF4-FFF2-40B4-BE49-F238E27FC236}">
                        <a16:creationId xmlns:a16="http://schemas.microsoft.com/office/drawing/2014/main" id="{18AACA6B-044E-4DE0-A1B0-8AEAB855435C}"/>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1" name="Freeform: Shape 314">
                    <a:extLst>
                      <a:ext uri="{FF2B5EF4-FFF2-40B4-BE49-F238E27FC236}">
                        <a16:creationId xmlns:a16="http://schemas.microsoft.com/office/drawing/2014/main" id="{C27F08E9-BE5C-4412-8720-129DB0A0FA70}"/>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8" name="Group 437">
              <a:extLst>
                <a:ext uri="{FF2B5EF4-FFF2-40B4-BE49-F238E27FC236}">
                  <a16:creationId xmlns:a16="http://schemas.microsoft.com/office/drawing/2014/main" id="{70890142-3569-473A-832F-558767F2DD9B}"/>
                </a:ext>
              </a:extLst>
            </p:cNvPr>
            <p:cNvGrpSpPr/>
            <p:nvPr/>
          </p:nvGrpSpPr>
          <p:grpSpPr>
            <a:xfrm>
              <a:off x="4413642" y="1914581"/>
              <a:ext cx="396817" cy="396817"/>
              <a:chOff x="4596394" y="1416189"/>
              <a:chExt cx="507244" cy="507244"/>
            </a:xfrm>
          </p:grpSpPr>
          <p:sp>
            <p:nvSpPr>
              <p:cNvPr id="508" name="Oval 507">
                <a:extLst>
                  <a:ext uri="{FF2B5EF4-FFF2-40B4-BE49-F238E27FC236}">
                    <a16:creationId xmlns:a16="http://schemas.microsoft.com/office/drawing/2014/main" id="{A9CE2AC4-C299-4E2F-9222-25489092AFE9}"/>
                  </a:ext>
                </a:extLst>
              </p:cNvPr>
              <p:cNvSpPr/>
              <p:nvPr/>
            </p:nvSpPr>
            <p:spPr>
              <a:xfrm>
                <a:off x="4596394" y="1416189"/>
                <a:ext cx="507244" cy="507244"/>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09" name="Group 508">
                <a:extLst>
                  <a:ext uri="{FF2B5EF4-FFF2-40B4-BE49-F238E27FC236}">
                    <a16:creationId xmlns:a16="http://schemas.microsoft.com/office/drawing/2014/main" id="{BD680461-FA82-4D8F-8BD5-7A40D4367162}"/>
                  </a:ext>
                </a:extLst>
              </p:cNvPr>
              <p:cNvGrpSpPr/>
              <p:nvPr/>
            </p:nvGrpSpPr>
            <p:grpSpPr>
              <a:xfrm>
                <a:off x="4656336" y="1476131"/>
                <a:ext cx="387360" cy="387360"/>
                <a:chOff x="2652535" y="-3571486"/>
                <a:chExt cx="4882348" cy="4882348"/>
              </a:xfrm>
              <a:solidFill>
                <a:schemeClr val="bg2"/>
              </a:solidFill>
            </p:grpSpPr>
            <p:sp>
              <p:nvSpPr>
                <p:cNvPr id="510" name="Freeform: Shape 316">
                  <a:extLst>
                    <a:ext uri="{FF2B5EF4-FFF2-40B4-BE49-F238E27FC236}">
                      <a16:creationId xmlns:a16="http://schemas.microsoft.com/office/drawing/2014/main" id="{31E69456-1D42-4E0A-85FB-8A5C250668B9}"/>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1" name="Freeform: Shape 317">
                  <a:extLst>
                    <a:ext uri="{FF2B5EF4-FFF2-40B4-BE49-F238E27FC236}">
                      <a16:creationId xmlns:a16="http://schemas.microsoft.com/office/drawing/2014/main" id="{94BFB5DF-AE4C-4465-B5FD-F5FB87FECA12}"/>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2" name="Group 511">
                  <a:extLst>
                    <a:ext uri="{FF2B5EF4-FFF2-40B4-BE49-F238E27FC236}">
                      <a16:creationId xmlns:a16="http://schemas.microsoft.com/office/drawing/2014/main" id="{7719C80D-DADA-487F-B8E3-6DEF17D8FE48}"/>
                    </a:ext>
                  </a:extLst>
                </p:cNvPr>
                <p:cNvGrpSpPr/>
                <p:nvPr/>
              </p:nvGrpSpPr>
              <p:grpSpPr>
                <a:xfrm rot="5400000">
                  <a:off x="4197485" y="-3571486"/>
                  <a:ext cx="1792447" cy="4882348"/>
                  <a:chOff x="4197485" y="-3571486"/>
                  <a:chExt cx="1792447" cy="4882348"/>
                </a:xfrm>
                <a:grpFill/>
              </p:grpSpPr>
              <p:sp>
                <p:nvSpPr>
                  <p:cNvPr id="513" name="Freeform: Shape 319">
                    <a:extLst>
                      <a:ext uri="{FF2B5EF4-FFF2-40B4-BE49-F238E27FC236}">
                        <a16:creationId xmlns:a16="http://schemas.microsoft.com/office/drawing/2014/main" id="{71D479D3-E51E-4A38-ABDE-0A071DF8575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4" name="Freeform: Shape 320">
                    <a:extLst>
                      <a:ext uri="{FF2B5EF4-FFF2-40B4-BE49-F238E27FC236}">
                        <a16:creationId xmlns:a16="http://schemas.microsoft.com/office/drawing/2014/main" id="{E735D331-70C1-400C-9326-EA4D68024BFB}"/>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9" name="Group 438">
              <a:extLst>
                <a:ext uri="{FF2B5EF4-FFF2-40B4-BE49-F238E27FC236}">
                  <a16:creationId xmlns:a16="http://schemas.microsoft.com/office/drawing/2014/main" id="{89B6FE3C-095B-4EC4-B9F3-08B8797C98F4}"/>
                </a:ext>
              </a:extLst>
            </p:cNvPr>
            <p:cNvGrpSpPr/>
            <p:nvPr/>
          </p:nvGrpSpPr>
          <p:grpSpPr>
            <a:xfrm>
              <a:off x="4413642" y="2564265"/>
              <a:ext cx="396817" cy="396817"/>
              <a:chOff x="4596394" y="2126443"/>
              <a:chExt cx="507244" cy="507244"/>
            </a:xfrm>
          </p:grpSpPr>
          <p:sp>
            <p:nvSpPr>
              <p:cNvPr id="501" name="Oval 500">
                <a:extLst>
                  <a:ext uri="{FF2B5EF4-FFF2-40B4-BE49-F238E27FC236}">
                    <a16:creationId xmlns:a16="http://schemas.microsoft.com/office/drawing/2014/main" id="{5777650D-9B57-4CFA-B6CF-DF3651C58B11}"/>
                  </a:ext>
                </a:extLst>
              </p:cNvPr>
              <p:cNvSpPr/>
              <p:nvPr/>
            </p:nvSpPr>
            <p:spPr>
              <a:xfrm>
                <a:off x="4596394" y="2126443"/>
                <a:ext cx="507244" cy="507244"/>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02" name="Group 501">
                <a:extLst>
                  <a:ext uri="{FF2B5EF4-FFF2-40B4-BE49-F238E27FC236}">
                    <a16:creationId xmlns:a16="http://schemas.microsoft.com/office/drawing/2014/main" id="{5D20FC79-6FBB-4967-8601-ED6181D5FB9D}"/>
                  </a:ext>
                </a:extLst>
              </p:cNvPr>
              <p:cNvGrpSpPr/>
              <p:nvPr/>
            </p:nvGrpSpPr>
            <p:grpSpPr>
              <a:xfrm>
                <a:off x="4656336" y="2186385"/>
                <a:ext cx="387360" cy="387360"/>
                <a:chOff x="2652535" y="-3571486"/>
                <a:chExt cx="4882348" cy="4882348"/>
              </a:xfrm>
              <a:solidFill>
                <a:schemeClr val="bg2"/>
              </a:solidFill>
            </p:grpSpPr>
            <p:sp>
              <p:nvSpPr>
                <p:cNvPr id="503" name="Freeform: Shape 322">
                  <a:extLst>
                    <a:ext uri="{FF2B5EF4-FFF2-40B4-BE49-F238E27FC236}">
                      <a16:creationId xmlns:a16="http://schemas.microsoft.com/office/drawing/2014/main" id="{043DE606-CE78-4762-85B6-66ED2DA9C2AB}"/>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4" name="Freeform: Shape 323">
                  <a:extLst>
                    <a:ext uri="{FF2B5EF4-FFF2-40B4-BE49-F238E27FC236}">
                      <a16:creationId xmlns:a16="http://schemas.microsoft.com/office/drawing/2014/main" id="{499FDDB3-6530-4BC4-9CA3-03400FBE9DB1}"/>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05" name="Group 504">
                  <a:extLst>
                    <a:ext uri="{FF2B5EF4-FFF2-40B4-BE49-F238E27FC236}">
                      <a16:creationId xmlns:a16="http://schemas.microsoft.com/office/drawing/2014/main" id="{C0FC8086-3DF7-4B20-972E-26389864236B}"/>
                    </a:ext>
                  </a:extLst>
                </p:cNvPr>
                <p:cNvGrpSpPr/>
                <p:nvPr/>
              </p:nvGrpSpPr>
              <p:grpSpPr>
                <a:xfrm rot="5400000">
                  <a:off x="4197485" y="-3571486"/>
                  <a:ext cx="1792447" cy="4882348"/>
                  <a:chOff x="4197485" y="-3571486"/>
                  <a:chExt cx="1792447" cy="4882348"/>
                </a:xfrm>
                <a:grpFill/>
              </p:grpSpPr>
              <p:sp>
                <p:nvSpPr>
                  <p:cNvPr id="506" name="Freeform: Shape 325">
                    <a:extLst>
                      <a:ext uri="{FF2B5EF4-FFF2-40B4-BE49-F238E27FC236}">
                        <a16:creationId xmlns:a16="http://schemas.microsoft.com/office/drawing/2014/main" id="{3990668B-3509-4E04-8CFA-E231CDD396D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7" name="Freeform: Shape 326">
                    <a:extLst>
                      <a:ext uri="{FF2B5EF4-FFF2-40B4-BE49-F238E27FC236}">
                        <a16:creationId xmlns:a16="http://schemas.microsoft.com/office/drawing/2014/main" id="{2D720520-3E98-408A-A376-D3A8BFDAD44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40" name="Group 439">
              <a:extLst>
                <a:ext uri="{FF2B5EF4-FFF2-40B4-BE49-F238E27FC236}">
                  <a16:creationId xmlns:a16="http://schemas.microsoft.com/office/drawing/2014/main" id="{543B5AFA-85EF-4554-B3B0-24715B822CE9}"/>
                </a:ext>
              </a:extLst>
            </p:cNvPr>
            <p:cNvGrpSpPr/>
            <p:nvPr/>
          </p:nvGrpSpPr>
          <p:grpSpPr>
            <a:xfrm>
              <a:off x="6807004" y="1957907"/>
              <a:ext cx="819226" cy="517562"/>
              <a:chOff x="6444145" y="1701124"/>
              <a:chExt cx="1280626" cy="802839"/>
            </a:xfrm>
            <a:solidFill>
              <a:schemeClr val="tx2"/>
            </a:solidFill>
          </p:grpSpPr>
          <p:grpSp>
            <p:nvGrpSpPr>
              <p:cNvPr id="495" name="Group 494">
                <a:extLst>
                  <a:ext uri="{FF2B5EF4-FFF2-40B4-BE49-F238E27FC236}">
                    <a16:creationId xmlns:a16="http://schemas.microsoft.com/office/drawing/2014/main" id="{0ABED0C7-E167-4BEE-8EA8-2A7D0265C401}"/>
                  </a:ext>
                </a:extLst>
              </p:cNvPr>
              <p:cNvGrpSpPr/>
              <p:nvPr/>
            </p:nvGrpSpPr>
            <p:grpSpPr>
              <a:xfrm>
                <a:off x="6444145" y="2041258"/>
                <a:ext cx="1280626" cy="462705"/>
                <a:chOff x="6799745" y="2065165"/>
                <a:chExt cx="1280626" cy="462705"/>
              </a:xfrm>
              <a:grpFill/>
            </p:grpSpPr>
            <p:sp>
              <p:nvSpPr>
                <p:cNvPr id="499" name="Rectangle: Rounded Corners 351">
                  <a:extLst>
                    <a:ext uri="{FF2B5EF4-FFF2-40B4-BE49-F238E27FC236}">
                      <a16:creationId xmlns:a16="http://schemas.microsoft.com/office/drawing/2014/main" id="{6EEE55C2-2F45-4B6B-8105-24BF4D96233B}"/>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0" name="Rectangle: Rounded Corners 353">
                  <a:extLst>
                    <a:ext uri="{FF2B5EF4-FFF2-40B4-BE49-F238E27FC236}">
                      <a16:creationId xmlns:a16="http://schemas.microsoft.com/office/drawing/2014/main" id="{9B14800E-E859-446E-9997-E3531B0CAB75}"/>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6" name="Group 495">
                <a:extLst>
                  <a:ext uri="{FF2B5EF4-FFF2-40B4-BE49-F238E27FC236}">
                    <a16:creationId xmlns:a16="http://schemas.microsoft.com/office/drawing/2014/main" id="{7E1C808C-1610-4066-A009-E0F824BEC39C}"/>
                  </a:ext>
                </a:extLst>
              </p:cNvPr>
              <p:cNvGrpSpPr/>
              <p:nvPr/>
            </p:nvGrpSpPr>
            <p:grpSpPr>
              <a:xfrm>
                <a:off x="6691732" y="1701124"/>
                <a:ext cx="956368" cy="458033"/>
                <a:chOff x="7044558" y="1563201"/>
                <a:chExt cx="964127" cy="461749"/>
              </a:xfrm>
              <a:grpFill/>
            </p:grpSpPr>
            <p:sp>
              <p:nvSpPr>
                <p:cNvPr id="497" name="Rectangle: Rounded Corners 347">
                  <a:extLst>
                    <a:ext uri="{FF2B5EF4-FFF2-40B4-BE49-F238E27FC236}">
                      <a16:creationId xmlns:a16="http://schemas.microsoft.com/office/drawing/2014/main" id="{E8AC8778-54B5-47A9-8B25-EF1E3C9D77EC}"/>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8" name="Rectangle: Rounded Corners 348">
                  <a:extLst>
                    <a:ext uri="{FF2B5EF4-FFF2-40B4-BE49-F238E27FC236}">
                      <a16:creationId xmlns:a16="http://schemas.microsoft.com/office/drawing/2014/main" id="{EC798BCC-6951-4246-A2C7-FCF9DF9CEDC4}"/>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41" name="Group 440">
              <a:extLst>
                <a:ext uri="{FF2B5EF4-FFF2-40B4-BE49-F238E27FC236}">
                  <a16:creationId xmlns:a16="http://schemas.microsoft.com/office/drawing/2014/main" id="{C63B6FA3-3978-4224-AD05-93C4EADB2523}"/>
                </a:ext>
              </a:extLst>
            </p:cNvPr>
            <p:cNvGrpSpPr/>
            <p:nvPr/>
          </p:nvGrpSpPr>
          <p:grpSpPr>
            <a:xfrm>
              <a:off x="6999001" y="2588405"/>
              <a:ext cx="228070" cy="228070"/>
              <a:chOff x="7547191" y="1416189"/>
              <a:chExt cx="507244" cy="507244"/>
            </a:xfrm>
          </p:grpSpPr>
          <p:sp>
            <p:nvSpPr>
              <p:cNvPr id="493" name="Oval 492">
                <a:extLst>
                  <a:ext uri="{FF2B5EF4-FFF2-40B4-BE49-F238E27FC236}">
                    <a16:creationId xmlns:a16="http://schemas.microsoft.com/office/drawing/2014/main" id="{4723C510-30DA-4862-A533-8D77660422C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4" name="Freeform 594">
                <a:extLst>
                  <a:ext uri="{FF2B5EF4-FFF2-40B4-BE49-F238E27FC236}">
                    <a16:creationId xmlns:a16="http://schemas.microsoft.com/office/drawing/2014/main" id="{C0FC5380-4990-4834-BC3B-B2289600229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2" name="Group 441">
              <a:extLst>
                <a:ext uri="{FF2B5EF4-FFF2-40B4-BE49-F238E27FC236}">
                  <a16:creationId xmlns:a16="http://schemas.microsoft.com/office/drawing/2014/main" id="{8D925D69-8DBE-4ABE-B9FB-BED633744961}"/>
                </a:ext>
              </a:extLst>
            </p:cNvPr>
            <p:cNvGrpSpPr/>
            <p:nvPr/>
          </p:nvGrpSpPr>
          <p:grpSpPr>
            <a:xfrm>
              <a:off x="4858902" y="2770027"/>
              <a:ext cx="860793" cy="301990"/>
              <a:chOff x="5119882" y="2533650"/>
              <a:chExt cx="941045" cy="425467"/>
            </a:xfrm>
          </p:grpSpPr>
          <p:sp>
            <p:nvSpPr>
              <p:cNvPr id="489" name="Rounded Rectangle 133">
                <a:extLst>
                  <a:ext uri="{FF2B5EF4-FFF2-40B4-BE49-F238E27FC236}">
                    <a16:creationId xmlns:a16="http://schemas.microsoft.com/office/drawing/2014/main" id="{FF2DD8BC-42E6-42F8-BD2C-DD9034706B27}"/>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490" name="Group 489">
                <a:extLst>
                  <a:ext uri="{FF2B5EF4-FFF2-40B4-BE49-F238E27FC236}">
                    <a16:creationId xmlns:a16="http://schemas.microsoft.com/office/drawing/2014/main" id="{A8192E02-DE98-4FB6-9D91-6DE3385CA2D3}"/>
                  </a:ext>
                </a:extLst>
              </p:cNvPr>
              <p:cNvGrpSpPr/>
              <p:nvPr/>
            </p:nvGrpSpPr>
            <p:grpSpPr>
              <a:xfrm>
                <a:off x="5538458" y="2727217"/>
                <a:ext cx="433750" cy="208020"/>
                <a:chOff x="7583358" y="2759986"/>
                <a:chExt cx="552936" cy="265180"/>
              </a:xfrm>
            </p:grpSpPr>
            <p:pic>
              <p:nvPicPr>
                <p:cNvPr id="491" name="Picture 490">
                  <a:extLst>
                    <a:ext uri="{FF2B5EF4-FFF2-40B4-BE49-F238E27FC236}">
                      <a16:creationId xmlns:a16="http://schemas.microsoft.com/office/drawing/2014/main" id="{76ED62FA-AA91-4E80-81FA-57B33408FE59}"/>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492" name="Picture 491">
                  <a:extLst>
                    <a:ext uri="{FF2B5EF4-FFF2-40B4-BE49-F238E27FC236}">
                      <a16:creationId xmlns:a16="http://schemas.microsoft.com/office/drawing/2014/main" id="{76458EF2-0644-4E3C-B36E-FA2C76D5C060}"/>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443" name="Group 442">
              <a:extLst>
                <a:ext uri="{FF2B5EF4-FFF2-40B4-BE49-F238E27FC236}">
                  <a16:creationId xmlns:a16="http://schemas.microsoft.com/office/drawing/2014/main" id="{773CAD21-9D91-4880-91CB-8632888BA955}"/>
                </a:ext>
              </a:extLst>
            </p:cNvPr>
            <p:cNvGrpSpPr/>
            <p:nvPr/>
          </p:nvGrpSpPr>
          <p:grpSpPr>
            <a:xfrm>
              <a:off x="5413022" y="2657499"/>
              <a:ext cx="228070" cy="228070"/>
              <a:chOff x="7547191" y="1416189"/>
              <a:chExt cx="507244" cy="507244"/>
            </a:xfrm>
          </p:grpSpPr>
          <p:sp>
            <p:nvSpPr>
              <p:cNvPr id="487" name="Oval 486">
                <a:extLst>
                  <a:ext uri="{FF2B5EF4-FFF2-40B4-BE49-F238E27FC236}">
                    <a16:creationId xmlns:a16="http://schemas.microsoft.com/office/drawing/2014/main" id="{848492BE-6AEE-4DE7-8E55-00931E25FB1D}"/>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8" name="Freeform 594">
                <a:extLst>
                  <a:ext uri="{FF2B5EF4-FFF2-40B4-BE49-F238E27FC236}">
                    <a16:creationId xmlns:a16="http://schemas.microsoft.com/office/drawing/2014/main" id="{1B9253D0-2887-4A95-903A-E786E5E94DA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4" name="Group 443">
              <a:extLst>
                <a:ext uri="{FF2B5EF4-FFF2-40B4-BE49-F238E27FC236}">
                  <a16:creationId xmlns:a16="http://schemas.microsoft.com/office/drawing/2014/main" id="{6001D150-F09C-4497-89A7-52FD55C916C5}"/>
                </a:ext>
              </a:extLst>
            </p:cNvPr>
            <p:cNvGrpSpPr/>
            <p:nvPr/>
          </p:nvGrpSpPr>
          <p:grpSpPr>
            <a:xfrm>
              <a:off x="3509160" y="2770027"/>
              <a:ext cx="860793" cy="301990"/>
              <a:chOff x="3644303" y="2533650"/>
              <a:chExt cx="941045" cy="425467"/>
            </a:xfrm>
          </p:grpSpPr>
          <p:sp>
            <p:nvSpPr>
              <p:cNvPr id="483" name="Rounded Rectangle 133">
                <a:extLst>
                  <a:ext uri="{FF2B5EF4-FFF2-40B4-BE49-F238E27FC236}">
                    <a16:creationId xmlns:a16="http://schemas.microsoft.com/office/drawing/2014/main" id="{2E40B311-4BDC-456D-A766-0699C4C3786F}"/>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484" name="Group 483">
                <a:extLst>
                  <a:ext uri="{FF2B5EF4-FFF2-40B4-BE49-F238E27FC236}">
                    <a16:creationId xmlns:a16="http://schemas.microsoft.com/office/drawing/2014/main" id="{248947A1-0973-4E24-9CED-8E13F2C8499B}"/>
                  </a:ext>
                </a:extLst>
              </p:cNvPr>
              <p:cNvGrpSpPr/>
              <p:nvPr/>
            </p:nvGrpSpPr>
            <p:grpSpPr>
              <a:xfrm>
                <a:off x="4086942" y="2727217"/>
                <a:ext cx="433750" cy="208020"/>
                <a:chOff x="7614033" y="2759986"/>
                <a:chExt cx="552936" cy="265180"/>
              </a:xfrm>
            </p:grpSpPr>
            <p:pic>
              <p:nvPicPr>
                <p:cNvPr id="485" name="Picture 484">
                  <a:extLst>
                    <a:ext uri="{FF2B5EF4-FFF2-40B4-BE49-F238E27FC236}">
                      <a16:creationId xmlns:a16="http://schemas.microsoft.com/office/drawing/2014/main" id="{452152A9-8B77-4A34-9E6E-F0601FD50502}"/>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486" name="Picture 485">
                  <a:extLst>
                    <a:ext uri="{FF2B5EF4-FFF2-40B4-BE49-F238E27FC236}">
                      <a16:creationId xmlns:a16="http://schemas.microsoft.com/office/drawing/2014/main" id="{4A0C2DC7-B41E-408C-A6CD-6DAD568A99EC}"/>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445" name="Group 444">
              <a:extLst>
                <a:ext uri="{FF2B5EF4-FFF2-40B4-BE49-F238E27FC236}">
                  <a16:creationId xmlns:a16="http://schemas.microsoft.com/office/drawing/2014/main" id="{C1CB96D0-DEE8-435B-A0A1-FE7D1B35E27F}"/>
                </a:ext>
              </a:extLst>
            </p:cNvPr>
            <p:cNvGrpSpPr/>
            <p:nvPr/>
          </p:nvGrpSpPr>
          <p:grpSpPr>
            <a:xfrm>
              <a:off x="3939637" y="2657113"/>
              <a:ext cx="228070" cy="228070"/>
              <a:chOff x="7547191" y="1416189"/>
              <a:chExt cx="507244" cy="507244"/>
            </a:xfrm>
          </p:grpSpPr>
          <p:sp>
            <p:nvSpPr>
              <p:cNvPr id="481" name="Oval 480">
                <a:extLst>
                  <a:ext uri="{FF2B5EF4-FFF2-40B4-BE49-F238E27FC236}">
                    <a16:creationId xmlns:a16="http://schemas.microsoft.com/office/drawing/2014/main" id="{29746104-574E-4466-A23F-772ECD9FE040}"/>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2" name="Freeform 594">
                <a:extLst>
                  <a:ext uri="{FF2B5EF4-FFF2-40B4-BE49-F238E27FC236}">
                    <a16:creationId xmlns:a16="http://schemas.microsoft.com/office/drawing/2014/main" id="{F5129EEF-8AAC-4651-8416-2BA909CF281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6" name="Rectangle: Rounded Corners 692">
              <a:extLst>
                <a:ext uri="{FF2B5EF4-FFF2-40B4-BE49-F238E27FC236}">
                  <a16:creationId xmlns:a16="http://schemas.microsoft.com/office/drawing/2014/main" id="{FC092C90-E2BA-467F-8EE9-3E251A0DF86A}"/>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447" name="Rectangle: Rounded Corners 705">
              <a:extLst>
                <a:ext uri="{FF2B5EF4-FFF2-40B4-BE49-F238E27FC236}">
                  <a16:creationId xmlns:a16="http://schemas.microsoft.com/office/drawing/2014/main" id="{5CB2C742-01C6-4857-B3D8-C772FCA5A06F}"/>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448" name="Group 4">
              <a:extLst>
                <a:ext uri="{FF2B5EF4-FFF2-40B4-BE49-F238E27FC236}">
                  <a16:creationId xmlns:a16="http://schemas.microsoft.com/office/drawing/2014/main" id="{15D18056-467A-4FA9-8D1A-A5AF6F7C41E9}"/>
                </a:ext>
              </a:extLst>
            </p:cNvPr>
            <p:cNvGrpSpPr>
              <a:grpSpLocks noChangeAspect="1"/>
            </p:cNvGrpSpPr>
            <p:nvPr/>
          </p:nvGrpSpPr>
          <p:grpSpPr bwMode="auto">
            <a:xfrm>
              <a:off x="1353273" y="2463094"/>
              <a:ext cx="248989" cy="188487"/>
              <a:chOff x="740" y="0"/>
              <a:chExt cx="4280" cy="3240"/>
            </a:xfrm>
          </p:grpSpPr>
          <p:sp>
            <p:nvSpPr>
              <p:cNvPr id="477" name="Freeform 5">
                <a:extLst>
                  <a:ext uri="{FF2B5EF4-FFF2-40B4-BE49-F238E27FC236}">
                    <a16:creationId xmlns:a16="http://schemas.microsoft.com/office/drawing/2014/main" id="{65FC7727-8A13-40AE-8AC1-88633514B97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6">
                <a:extLst>
                  <a:ext uri="{FF2B5EF4-FFF2-40B4-BE49-F238E27FC236}">
                    <a16:creationId xmlns:a16="http://schemas.microsoft.com/office/drawing/2014/main" id="{DDF17004-0224-41C3-B951-97523F5150B9}"/>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7">
                <a:extLst>
                  <a:ext uri="{FF2B5EF4-FFF2-40B4-BE49-F238E27FC236}">
                    <a16:creationId xmlns:a16="http://schemas.microsoft.com/office/drawing/2014/main" id="{FDF2E347-99FE-4824-9A46-C403D8281700}"/>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8">
                <a:extLst>
                  <a:ext uri="{FF2B5EF4-FFF2-40B4-BE49-F238E27FC236}">
                    <a16:creationId xmlns:a16="http://schemas.microsoft.com/office/drawing/2014/main" id="{74D41575-10D5-489D-B28B-9CBA612FEE8B}"/>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9" name="Group 448">
              <a:extLst>
                <a:ext uri="{FF2B5EF4-FFF2-40B4-BE49-F238E27FC236}">
                  <a16:creationId xmlns:a16="http://schemas.microsoft.com/office/drawing/2014/main" id="{FA1AF6D8-447B-40BB-9B3D-6F08C9B648EC}"/>
                </a:ext>
              </a:extLst>
            </p:cNvPr>
            <p:cNvGrpSpPr/>
            <p:nvPr/>
          </p:nvGrpSpPr>
          <p:grpSpPr>
            <a:xfrm>
              <a:off x="1390132" y="2956526"/>
              <a:ext cx="167022" cy="230402"/>
              <a:chOff x="858973" y="1403744"/>
              <a:chExt cx="643458" cy="887629"/>
            </a:xfrm>
          </p:grpSpPr>
          <p:grpSp>
            <p:nvGrpSpPr>
              <p:cNvPr id="471" name="Group 470">
                <a:extLst>
                  <a:ext uri="{FF2B5EF4-FFF2-40B4-BE49-F238E27FC236}">
                    <a16:creationId xmlns:a16="http://schemas.microsoft.com/office/drawing/2014/main" id="{F6A03258-BC60-41B2-A973-45E038DB28AB}"/>
                  </a:ext>
                </a:extLst>
              </p:cNvPr>
              <p:cNvGrpSpPr/>
              <p:nvPr/>
            </p:nvGrpSpPr>
            <p:grpSpPr>
              <a:xfrm>
                <a:off x="858973" y="1403744"/>
                <a:ext cx="643458" cy="887629"/>
                <a:chOff x="565417" y="1536835"/>
                <a:chExt cx="996124" cy="1374120"/>
              </a:xfrm>
            </p:grpSpPr>
            <p:sp>
              <p:nvSpPr>
                <p:cNvPr id="473" name="Rounded Rectangle 63">
                  <a:extLst>
                    <a:ext uri="{FF2B5EF4-FFF2-40B4-BE49-F238E27FC236}">
                      <a16:creationId xmlns:a16="http://schemas.microsoft.com/office/drawing/2014/main" id="{1D11127F-F274-4A31-86A0-A6F597D58337}"/>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4" name="Group 473">
                  <a:extLst>
                    <a:ext uri="{FF2B5EF4-FFF2-40B4-BE49-F238E27FC236}">
                      <a16:creationId xmlns:a16="http://schemas.microsoft.com/office/drawing/2014/main" id="{73E11985-FBC5-4740-83CE-CC1E583D5B18}"/>
                    </a:ext>
                  </a:extLst>
                </p:cNvPr>
                <p:cNvGrpSpPr/>
                <p:nvPr/>
              </p:nvGrpSpPr>
              <p:grpSpPr>
                <a:xfrm>
                  <a:off x="565417" y="1536835"/>
                  <a:ext cx="996124" cy="1374120"/>
                  <a:chOff x="352800" y="-7200"/>
                  <a:chExt cx="1984680" cy="2737800"/>
                </a:xfrm>
              </p:grpSpPr>
              <p:sp>
                <p:nvSpPr>
                  <p:cNvPr id="475" name="Freeform: Shape 1">
                    <a:extLst>
                      <a:ext uri="{FF2B5EF4-FFF2-40B4-BE49-F238E27FC236}">
                        <a16:creationId xmlns:a16="http://schemas.microsoft.com/office/drawing/2014/main" id="{6B3412FA-3465-4711-ACEE-DE88DE2B421F}"/>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hangingPunct="0"/>
                    <a:endParaRPr lang="en-US" dirty="0">
                      <a:latin typeface="Arial" pitchFamily="18"/>
                      <a:ea typeface="Arial Unicode MS" pitchFamily="2"/>
                      <a:cs typeface="Arial Unicode MS" pitchFamily="2"/>
                    </a:endParaRPr>
                  </a:p>
                </p:txBody>
              </p:sp>
              <p:sp>
                <p:nvSpPr>
                  <p:cNvPr id="476" name="Freeform 57">
                    <a:extLst>
                      <a:ext uri="{FF2B5EF4-FFF2-40B4-BE49-F238E27FC236}">
                        <a16:creationId xmlns:a16="http://schemas.microsoft.com/office/drawing/2014/main" id="{BAEF2B69-C195-44BF-A5CC-738163E396BC}"/>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hangingPunct="0"/>
                    <a:endParaRPr lang="en-US" dirty="0">
                      <a:latin typeface="Arial" pitchFamily="18"/>
                      <a:ea typeface="Arial Unicode MS" pitchFamily="2"/>
                      <a:cs typeface="Arial Unicode MS" pitchFamily="2"/>
                    </a:endParaRPr>
                  </a:p>
                </p:txBody>
              </p:sp>
            </p:grpSp>
          </p:grpSp>
          <p:sp>
            <p:nvSpPr>
              <p:cNvPr id="472" name="Freeform: Shape 796">
                <a:extLst>
                  <a:ext uri="{FF2B5EF4-FFF2-40B4-BE49-F238E27FC236}">
                    <a16:creationId xmlns:a16="http://schemas.microsoft.com/office/drawing/2014/main" id="{4948C2C3-C430-4A7E-8724-49E422E04777}"/>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hangingPunct="0"/>
                <a:endParaRPr lang="en-US" dirty="0">
                  <a:latin typeface="Arial" pitchFamily="18"/>
                  <a:ea typeface="Arial Unicode MS" pitchFamily="2"/>
                  <a:cs typeface="Arial Unicode MS" pitchFamily="2"/>
                </a:endParaRPr>
              </a:p>
            </p:txBody>
          </p:sp>
        </p:grpSp>
        <p:sp>
          <p:nvSpPr>
            <p:cNvPr id="450" name="TextBox 449">
              <a:extLst>
                <a:ext uri="{FF2B5EF4-FFF2-40B4-BE49-F238E27FC236}">
                  <a16:creationId xmlns:a16="http://schemas.microsoft.com/office/drawing/2014/main" id="{E20BCDB2-51AF-4798-BCD7-35E56E0D843F}"/>
                </a:ext>
              </a:extLst>
            </p:cNvPr>
            <p:cNvSpPr txBox="1"/>
            <p:nvPr/>
          </p:nvSpPr>
          <p:spPr>
            <a:xfrm>
              <a:off x="6892483" y="2117447"/>
              <a:ext cx="800220" cy="369332"/>
            </a:xfrm>
            <a:prstGeom prst="rect">
              <a:avLst/>
            </a:prstGeom>
            <a:noFill/>
          </p:spPr>
          <p:txBody>
            <a:bodyPr wrap="none" rtlCol="0">
              <a:spAutoFit/>
            </a:bodyPr>
            <a:lstStyle/>
            <a:p>
              <a:pPr algn="ctr"/>
              <a:r>
                <a:rPr lang="en-US" sz="900" dirty="0">
                  <a:solidFill>
                    <a:schemeClr val="bg2"/>
                  </a:solidFill>
                </a:rPr>
                <a:t>Centralized </a:t>
              </a:r>
            </a:p>
            <a:p>
              <a:pPr algn="ctr"/>
              <a:r>
                <a:rPr lang="en-US" sz="900" dirty="0">
                  <a:solidFill>
                    <a:schemeClr val="bg2"/>
                  </a:solidFill>
                </a:rPr>
                <a:t>DC</a:t>
              </a:r>
            </a:p>
          </p:txBody>
        </p:sp>
        <p:sp>
          <p:nvSpPr>
            <p:cNvPr id="451" name="TextBox 450">
              <a:extLst>
                <a:ext uri="{FF2B5EF4-FFF2-40B4-BE49-F238E27FC236}">
                  <a16:creationId xmlns:a16="http://schemas.microsoft.com/office/drawing/2014/main" id="{46D7D0DF-4CA4-4B79-AAC1-B1ECA893DB8A}"/>
                </a:ext>
              </a:extLst>
            </p:cNvPr>
            <p:cNvSpPr txBox="1"/>
            <p:nvPr/>
          </p:nvSpPr>
          <p:spPr>
            <a:xfrm>
              <a:off x="6610334" y="2808832"/>
              <a:ext cx="1005404" cy="230832"/>
            </a:xfrm>
            <a:prstGeom prst="rect">
              <a:avLst/>
            </a:prstGeom>
            <a:noFill/>
          </p:spPr>
          <p:txBody>
            <a:bodyPr wrap="none" rtlCol="0">
              <a:spAutoFit/>
            </a:bodyPr>
            <a:lstStyle/>
            <a:p>
              <a:pPr algn="ctr"/>
              <a:r>
                <a:rPr lang="en-US" sz="900" dirty="0"/>
                <a:t>Peering/Internet</a:t>
              </a:r>
            </a:p>
          </p:txBody>
        </p:sp>
        <p:sp>
          <p:nvSpPr>
            <p:cNvPr id="452" name="Rectangle 451">
              <a:extLst>
                <a:ext uri="{FF2B5EF4-FFF2-40B4-BE49-F238E27FC236}">
                  <a16:creationId xmlns:a16="http://schemas.microsoft.com/office/drawing/2014/main" id="{686BF0DC-3F10-4B8E-B886-26575645F808}"/>
                </a:ext>
              </a:extLst>
            </p:cNvPr>
            <p:cNvSpPr/>
            <p:nvPr/>
          </p:nvSpPr>
          <p:spPr>
            <a:xfrm>
              <a:off x="4825353" y="3037150"/>
              <a:ext cx="1001422" cy="184666"/>
            </a:xfrm>
            <a:prstGeom prst="rect">
              <a:avLst/>
            </a:prstGeom>
          </p:spPr>
          <p:txBody>
            <a:bodyPr wrap="square">
              <a:spAutoFit/>
            </a:bodyPr>
            <a:lstStyle/>
            <a:p>
              <a:pPr algn="ctr" defTabSz="457178">
                <a:defRPr/>
              </a:pPr>
              <a:r>
                <a:rPr lang="en-US" sz="600" dirty="0">
                  <a:solidFill>
                    <a:srgbClr val="282828"/>
                  </a:solidFill>
                  <a:latin typeface="+mj-lt"/>
                </a:rPr>
                <a:t>Regional DC</a:t>
              </a:r>
            </a:p>
          </p:txBody>
        </p:sp>
        <p:sp>
          <p:nvSpPr>
            <p:cNvPr id="453" name="Rectangle 452">
              <a:extLst>
                <a:ext uri="{FF2B5EF4-FFF2-40B4-BE49-F238E27FC236}">
                  <a16:creationId xmlns:a16="http://schemas.microsoft.com/office/drawing/2014/main" id="{748048A7-1FF7-444C-AF54-075CB5B0BEEE}"/>
                </a:ext>
              </a:extLst>
            </p:cNvPr>
            <p:cNvSpPr/>
            <p:nvPr/>
          </p:nvSpPr>
          <p:spPr>
            <a:xfrm>
              <a:off x="3470824" y="3037150"/>
              <a:ext cx="1001422" cy="184666"/>
            </a:xfrm>
            <a:prstGeom prst="rect">
              <a:avLst/>
            </a:prstGeom>
          </p:spPr>
          <p:txBody>
            <a:bodyPr wrap="square">
              <a:spAutoFit/>
            </a:bodyPr>
            <a:lstStyle/>
            <a:p>
              <a:pPr algn="ctr" defTabSz="457178">
                <a:defRPr/>
              </a:pPr>
              <a:r>
                <a:rPr lang="en-US" sz="600" dirty="0">
                  <a:solidFill>
                    <a:srgbClr val="282828"/>
                  </a:solidFill>
                  <a:latin typeface="+mj-lt"/>
                </a:rPr>
                <a:t>MEC/CRAN Hub</a:t>
              </a:r>
            </a:p>
          </p:txBody>
        </p:sp>
        <p:pic>
          <p:nvPicPr>
            <p:cNvPr id="454" name="Picture 453">
              <a:extLst>
                <a:ext uri="{FF2B5EF4-FFF2-40B4-BE49-F238E27FC236}">
                  <a16:creationId xmlns:a16="http://schemas.microsoft.com/office/drawing/2014/main" id="{CD6C2954-35B0-4CAE-9435-003A578CEB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455" name="Picture 454">
              <a:extLst>
                <a:ext uri="{FF2B5EF4-FFF2-40B4-BE49-F238E27FC236}">
                  <a16:creationId xmlns:a16="http://schemas.microsoft.com/office/drawing/2014/main" id="{644629DF-F9F5-4492-A6BB-CCD66F0919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56" name="Rectangle: Rounded Corners 455">
              <a:extLst>
                <a:ext uri="{FF2B5EF4-FFF2-40B4-BE49-F238E27FC236}">
                  <a16:creationId xmlns:a16="http://schemas.microsoft.com/office/drawing/2014/main" id="{54AA5980-04C4-492F-8621-45F327D2CBBF}"/>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57" name="Rectangle: Rounded Corners 456">
              <a:extLst>
                <a:ext uri="{FF2B5EF4-FFF2-40B4-BE49-F238E27FC236}">
                  <a16:creationId xmlns:a16="http://schemas.microsoft.com/office/drawing/2014/main" id="{0A090C3F-D22A-4AB5-B59E-A26979BECA42}"/>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58" name="Rectangle: Rounded Corners 457">
              <a:extLst>
                <a:ext uri="{FF2B5EF4-FFF2-40B4-BE49-F238E27FC236}">
                  <a16:creationId xmlns:a16="http://schemas.microsoft.com/office/drawing/2014/main" id="{10921F29-01AD-498D-8D44-C3CC5FB48C8A}"/>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63" name="Oval 462">
              <a:extLst>
                <a:ext uri="{FF2B5EF4-FFF2-40B4-BE49-F238E27FC236}">
                  <a16:creationId xmlns:a16="http://schemas.microsoft.com/office/drawing/2014/main" id="{B08A8156-EFAE-4CAF-8437-5538E20D9E07}"/>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8" name="Freeform 23">
              <a:extLst>
                <a:ext uri="{FF2B5EF4-FFF2-40B4-BE49-F238E27FC236}">
                  <a16:creationId xmlns:a16="http://schemas.microsoft.com/office/drawing/2014/main" id="{8BFA84BE-30F8-4169-82FD-46C3C576A35B}"/>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dirty="0"/>
            </a:p>
          </p:txBody>
        </p:sp>
        <p:sp>
          <p:nvSpPr>
            <p:cNvPr id="469" name="Arc 468">
              <a:extLst>
                <a:ext uri="{FF2B5EF4-FFF2-40B4-BE49-F238E27FC236}">
                  <a16:creationId xmlns:a16="http://schemas.microsoft.com/office/drawing/2014/main" id="{3DD8EC98-66B9-48C2-BCDD-3FB8AEC873C6}"/>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470" name="Picture 469">
              <a:extLst>
                <a:ext uri="{FF2B5EF4-FFF2-40B4-BE49-F238E27FC236}">
                  <a16:creationId xmlns:a16="http://schemas.microsoft.com/office/drawing/2014/main" id="{97701729-C8EF-4672-A468-288A3BBCBAB7}"/>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grpSp>
        <p:nvGrpSpPr>
          <p:cNvPr id="180" name="Group 179">
            <a:extLst>
              <a:ext uri="{FF2B5EF4-FFF2-40B4-BE49-F238E27FC236}">
                <a16:creationId xmlns:a16="http://schemas.microsoft.com/office/drawing/2014/main" id="{129D7A5A-8E3E-4FD2-B0FB-47C49F615B78}"/>
              </a:ext>
            </a:extLst>
          </p:cNvPr>
          <p:cNvGrpSpPr/>
          <p:nvPr/>
        </p:nvGrpSpPr>
        <p:grpSpPr>
          <a:xfrm>
            <a:off x="2085125" y="1138670"/>
            <a:ext cx="5019081" cy="556743"/>
            <a:chOff x="2239219" y="3481266"/>
            <a:chExt cx="1260000" cy="556743"/>
          </a:xfrm>
        </p:grpSpPr>
        <p:sp>
          <p:nvSpPr>
            <p:cNvPr id="181" name="Rectangle 180">
              <a:extLst>
                <a:ext uri="{FF2B5EF4-FFF2-40B4-BE49-F238E27FC236}">
                  <a16:creationId xmlns:a16="http://schemas.microsoft.com/office/drawing/2014/main" id="{FBADDD96-E7B0-4E66-9B4A-0F1F5FC7527D}"/>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Automation</a:t>
              </a:r>
            </a:p>
          </p:txBody>
        </p:sp>
        <p:sp>
          <p:nvSpPr>
            <p:cNvPr id="182" name="Rectangle 181">
              <a:extLst>
                <a:ext uri="{FF2B5EF4-FFF2-40B4-BE49-F238E27FC236}">
                  <a16:creationId xmlns:a16="http://schemas.microsoft.com/office/drawing/2014/main" id="{709758CA-A3A5-4E35-A024-3AEB70BEC6E8}"/>
                </a:ext>
              </a:extLst>
            </p:cNvPr>
            <p:cNvSpPr/>
            <p:nvPr/>
          </p:nvSpPr>
          <p:spPr>
            <a:xfrm>
              <a:off x="2239219" y="3865599"/>
              <a:ext cx="1260000" cy="17241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SO/SR-PCE + Crosswork + WAE + XRv9000 + EPN-M</a:t>
              </a:r>
            </a:p>
          </p:txBody>
        </p:sp>
      </p:grpSp>
      <p:grpSp>
        <p:nvGrpSpPr>
          <p:cNvPr id="184" name="Group 183">
            <a:extLst>
              <a:ext uri="{FF2B5EF4-FFF2-40B4-BE49-F238E27FC236}">
                <a16:creationId xmlns:a16="http://schemas.microsoft.com/office/drawing/2014/main" id="{B955982E-0C5C-462C-9CBE-54EA46E48CCA}"/>
              </a:ext>
            </a:extLst>
          </p:cNvPr>
          <p:cNvGrpSpPr/>
          <p:nvPr/>
        </p:nvGrpSpPr>
        <p:grpSpPr>
          <a:xfrm>
            <a:off x="2085125" y="4523816"/>
            <a:ext cx="5019081" cy="391643"/>
            <a:chOff x="2239219" y="3481266"/>
            <a:chExt cx="1260000" cy="391643"/>
          </a:xfrm>
        </p:grpSpPr>
        <p:sp>
          <p:nvSpPr>
            <p:cNvPr id="185" name="Rectangle 184">
              <a:extLst>
                <a:ext uri="{FF2B5EF4-FFF2-40B4-BE49-F238E27FC236}">
                  <a16:creationId xmlns:a16="http://schemas.microsoft.com/office/drawing/2014/main" id="{DFD20DB4-55DD-40EF-A1E4-CB7954644276}"/>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Security</a:t>
              </a:r>
            </a:p>
          </p:txBody>
        </p:sp>
        <p:sp>
          <p:nvSpPr>
            <p:cNvPr id="186" name="Rectangle 185">
              <a:extLst>
                <a:ext uri="{FF2B5EF4-FFF2-40B4-BE49-F238E27FC236}">
                  <a16:creationId xmlns:a16="http://schemas.microsoft.com/office/drawing/2014/main" id="{9DE1876F-72DF-45BA-BC8F-B2823BFDA594}"/>
                </a:ext>
              </a:extLst>
            </p:cNvPr>
            <p:cNvSpPr/>
            <p:nvPr/>
          </p:nvSpPr>
          <p:spPr>
            <a:xfrm>
              <a:off x="2239219" y="3700499"/>
              <a:ext cx="1260000" cy="17241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Stealthwatch + Umbrella + ISE + Firepower Threat Defense + DDOS</a:t>
              </a:r>
            </a:p>
          </p:txBody>
        </p:sp>
      </p:grpSp>
      <p:grpSp>
        <p:nvGrpSpPr>
          <p:cNvPr id="187" name="Group 186">
            <a:extLst>
              <a:ext uri="{FF2B5EF4-FFF2-40B4-BE49-F238E27FC236}">
                <a16:creationId xmlns:a16="http://schemas.microsoft.com/office/drawing/2014/main" id="{A231DD56-C36A-4147-A502-8CAAD6A60A13}"/>
              </a:ext>
            </a:extLst>
          </p:cNvPr>
          <p:cNvGrpSpPr/>
          <p:nvPr/>
        </p:nvGrpSpPr>
        <p:grpSpPr>
          <a:xfrm>
            <a:off x="7780136" y="1518463"/>
            <a:ext cx="1260000" cy="950912"/>
            <a:chOff x="6757222" y="3481266"/>
            <a:chExt cx="1260000" cy="950912"/>
          </a:xfrm>
        </p:grpSpPr>
        <p:sp>
          <p:nvSpPr>
            <p:cNvPr id="188" name="Rectangle 187">
              <a:extLst>
                <a:ext uri="{FF2B5EF4-FFF2-40B4-BE49-F238E27FC236}">
                  <a16:creationId xmlns:a16="http://schemas.microsoft.com/office/drawing/2014/main" id="{079599D5-E1E3-441E-AC5B-BBCE39211D5C}"/>
                </a:ext>
              </a:extLst>
            </p:cNvPr>
            <p:cNvSpPr/>
            <p:nvPr/>
          </p:nvSpPr>
          <p:spPr>
            <a:xfrm>
              <a:off x="6784284"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Mobile Core</a:t>
              </a:r>
            </a:p>
          </p:txBody>
        </p:sp>
        <p:sp>
          <p:nvSpPr>
            <p:cNvPr id="189" name="Rectangle 188">
              <a:extLst>
                <a:ext uri="{FF2B5EF4-FFF2-40B4-BE49-F238E27FC236}">
                  <a16:creationId xmlns:a16="http://schemas.microsoft.com/office/drawing/2014/main" id="{7D07819D-3977-4333-87B4-B1D5A26B109B}"/>
                </a:ext>
              </a:extLst>
            </p:cNvPr>
            <p:cNvSpPr/>
            <p:nvPr/>
          </p:nvSpPr>
          <p:spPr>
            <a:xfrm>
              <a:off x="6757222" y="3865599"/>
              <a:ext cx="1260000" cy="56657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EPC</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PCRF</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CVIM</a:t>
              </a:r>
            </a:p>
          </p:txBody>
        </p:sp>
      </p:grpSp>
      <p:grpSp>
        <p:nvGrpSpPr>
          <p:cNvPr id="8" name="Group 7">
            <a:extLst>
              <a:ext uri="{FF2B5EF4-FFF2-40B4-BE49-F238E27FC236}">
                <a16:creationId xmlns:a16="http://schemas.microsoft.com/office/drawing/2014/main" id="{72A656B9-A884-404B-8BC7-A6288FB730AA}"/>
              </a:ext>
            </a:extLst>
          </p:cNvPr>
          <p:cNvGrpSpPr/>
          <p:nvPr/>
        </p:nvGrpSpPr>
        <p:grpSpPr>
          <a:xfrm>
            <a:off x="7771198" y="2518232"/>
            <a:ext cx="1260000" cy="924333"/>
            <a:chOff x="6757222" y="3481266"/>
            <a:chExt cx="1260000" cy="924333"/>
          </a:xfrm>
        </p:grpSpPr>
        <p:sp>
          <p:nvSpPr>
            <p:cNvPr id="231" name="Rectangle 230">
              <a:extLst>
                <a:ext uri="{FF2B5EF4-FFF2-40B4-BE49-F238E27FC236}">
                  <a16:creationId xmlns:a16="http://schemas.microsoft.com/office/drawing/2014/main" id="{A2A014CF-975E-4E76-BB56-7E9A6CFEE298}"/>
                </a:ext>
              </a:extLst>
            </p:cNvPr>
            <p:cNvSpPr/>
            <p:nvPr/>
          </p:nvSpPr>
          <p:spPr>
            <a:xfrm>
              <a:off x="6784284"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DC / MEC</a:t>
              </a:r>
            </a:p>
          </p:txBody>
        </p:sp>
        <p:sp>
          <p:nvSpPr>
            <p:cNvPr id="232" name="Rectangle 231">
              <a:extLst>
                <a:ext uri="{FF2B5EF4-FFF2-40B4-BE49-F238E27FC236}">
                  <a16:creationId xmlns:a16="http://schemas.microsoft.com/office/drawing/2014/main" id="{36DDCDAC-63F4-43A9-8B80-441C7CD785B8}"/>
                </a:ext>
              </a:extLst>
            </p:cNvPr>
            <p:cNvSpPr/>
            <p:nvPr/>
          </p:nvSpPr>
          <p:spPr>
            <a:xfrm>
              <a:off x="6757222"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ACI (N9xxx)</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UCS Compute</a:t>
              </a:r>
            </a:p>
          </p:txBody>
        </p:sp>
      </p:grpSp>
      <p:grpSp>
        <p:nvGrpSpPr>
          <p:cNvPr id="193" name="Group 192">
            <a:extLst>
              <a:ext uri="{FF2B5EF4-FFF2-40B4-BE49-F238E27FC236}">
                <a16:creationId xmlns:a16="http://schemas.microsoft.com/office/drawing/2014/main" id="{667774C5-AFC3-4638-AA1F-0BCD5BA03097}"/>
              </a:ext>
            </a:extLst>
          </p:cNvPr>
          <p:cNvGrpSpPr/>
          <p:nvPr/>
        </p:nvGrpSpPr>
        <p:grpSpPr>
          <a:xfrm>
            <a:off x="6748582" y="3483065"/>
            <a:ext cx="1260000" cy="924333"/>
            <a:chOff x="5251221" y="3481266"/>
            <a:chExt cx="1260000" cy="924333"/>
          </a:xfrm>
        </p:grpSpPr>
        <p:sp>
          <p:nvSpPr>
            <p:cNvPr id="194" name="Rectangle 193">
              <a:extLst>
                <a:ext uri="{FF2B5EF4-FFF2-40B4-BE49-F238E27FC236}">
                  <a16:creationId xmlns:a16="http://schemas.microsoft.com/office/drawing/2014/main" id="{2300343D-DF9C-46A9-9B39-90C0E774B11B}"/>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Optical</a:t>
              </a:r>
            </a:p>
          </p:txBody>
        </p:sp>
        <p:sp>
          <p:nvSpPr>
            <p:cNvPr id="195" name="Rectangle 194">
              <a:extLst>
                <a:ext uri="{FF2B5EF4-FFF2-40B4-BE49-F238E27FC236}">
                  <a16:creationId xmlns:a16="http://schemas.microsoft.com/office/drawing/2014/main" id="{F41F4217-B825-4C80-BB08-6B0BC28AF475}"/>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1k</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2k</a:t>
              </a:r>
            </a:p>
          </p:txBody>
        </p:sp>
      </p:grpSp>
      <p:sp>
        <p:nvSpPr>
          <p:cNvPr id="213" name="Oval 212">
            <a:extLst>
              <a:ext uri="{FF2B5EF4-FFF2-40B4-BE49-F238E27FC236}">
                <a16:creationId xmlns:a16="http://schemas.microsoft.com/office/drawing/2014/main" id="{CA73C6C7-658F-4678-BE10-779231116155}"/>
              </a:ext>
            </a:extLst>
          </p:cNvPr>
          <p:cNvSpPr/>
          <p:nvPr/>
        </p:nvSpPr>
        <p:spPr>
          <a:xfrm flipV="1">
            <a:off x="5544508" y="2125376"/>
            <a:ext cx="965383" cy="566121"/>
          </a:xfrm>
          <a:prstGeom prst="ellipse">
            <a:avLst/>
          </a:prstGeom>
          <a:noFill/>
          <a:ln w="25400" cap="flat" cmpd="sng" algn="ctr">
            <a:gradFill>
              <a:gsLst>
                <a:gs pos="0">
                  <a:srgbClr val="C00000"/>
                </a:gs>
                <a:gs pos="20000">
                  <a:srgbClr val="FFC000"/>
                </a:gs>
                <a:gs pos="10000">
                  <a:srgbClr val="FF0000"/>
                </a:gs>
                <a:gs pos="31000">
                  <a:srgbClr val="FFFF00"/>
                </a:gs>
                <a:gs pos="99115">
                  <a:srgbClr val="7030A0"/>
                </a:gs>
                <a:gs pos="89000">
                  <a:srgbClr val="002060"/>
                </a:gs>
                <a:gs pos="78000">
                  <a:srgbClr val="0070C0"/>
                </a:gs>
                <a:gs pos="68000">
                  <a:srgbClr val="00B0F0"/>
                </a:gs>
                <a:gs pos="56000">
                  <a:srgbClr val="00B050"/>
                </a:gs>
                <a:gs pos="45000">
                  <a:srgbClr val="92D050"/>
                </a:gs>
              </a:gsLst>
              <a:lin ang="5400000" scaled="1"/>
            </a:gradFill>
            <a:prstDash val="solid"/>
          </a:ln>
          <a:effectLst/>
        </p:spPr>
        <p:txBody>
          <a:bodyPr rtlCol="0" anchor="ctr"/>
          <a:lstStyle/>
          <a:p>
            <a:pPr algn="ctr" defTabSz="914378">
              <a:defRPr/>
            </a:pPr>
            <a:endParaRPr lang="en-US" kern="0" dirty="0">
              <a:solidFill>
                <a:srgbClr val="005073"/>
              </a:solidFill>
              <a:latin typeface="CiscoSansTT ExtraLight"/>
            </a:endParaRPr>
          </a:p>
        </p:txBody>
      </p:sp>
      <p:grpSp>
        <p:nvGrpSpPr>
          <p:cNvPr id="191" name="Group 190">
            <a:extLst>
              <a:ext uri="{FF2B5EF4-FFF2-40B4-BE49-F238E27FC236}">
                <a16:creationId xmlns:a16="http://schemas.microsoft.com/office/drawing/2014/main" id="{C4263389-1BF3-440F-B9BD-435AC43434A1}"/>
              </a:ext>
            </a:extLst>
          </p:cNvPr>
          <p:cNvGrpSpPr/>
          <p:nvPr/>
        </p:nvGrpSpPr>
        <p:grpSpPr>
          <a:xfrm>
            <a:off x="5457146" y="2103801"/>
            <a:ext cx="299337" cy="299339"/>
            <a:chOff x="4083769" y="2552776"/>
            <a:chExt cx="529089" cy="529089"/>
          </a:xfrm>
        </p:grpSpPr>
        <p:sp>
          <p:nvSpPr>
            <p:cNvPr id="192" name="Oval 191">
              <a:extLst>
                <a:ext uri="{FF2B5EF4-FFF2-40B4-BE49-F238E27FC236}">
                  <a16:creationId xmlns:a16="http://schemas.microsoft.com/office/drawing/2014/main" id="{338C5387-1AF4-421E-8F5B-D2D137376CCA}"/>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6" name="Freeform: Shape 298">
              <a:extLst>
                <a:ext uri="{FF2B5EF4-FFF2-40B4-BE49-F238E27FC236}">
                  <a16:creationId xmlns:a16="http://schemas.microsoft.com/office/drawing/2014/main" id="{7F4DA408-21D8-4E72-A284-363B3DE13A8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97" name="Freeform: Shape 299">
              <a:extLst>
                <a:ext uri="{FF2B5EF4-FFF2-40B4-BE49-F238E27FC236}">
                  <a16:creationId xmlns:a16="http://schemas.microsoft.com/office/drawing/2014/main" id="{B59423DD-5E07-4B5C-A1B7-0EA39EA34A5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98" name="Freeform: Shape 301">
              <a:extLst>
                <a:ext uri="{FF2B5EF4-FFF2-40B4-BE49-F238E27FC236}">
                  <a16:creationId xmlns:a16="http://schemas.microsoft.com/office/drawing/2014/main" id="{FFBAE51F-D623-4337-9A4B-935F540E3B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99" name="Freeform: Shape 302">
              <a:extLst>
                <a:ext uri="{FF2B5EF4-FFF2-40B4-BE49-F238E27FC236}">
                  <a16:creationId xmlns:a16="http://schemas.microsoft.com/office/drawing/2014/main" id="{8E01DF41-7F0D-43E3-925D-A904AFFDA4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00" name="Group 199">
            <a:extLst>
              <a:ext uri="{FF2B5EF4-FFF2-40B4-BE49-F238E27FC236}">
                <a16:creationId xmlns:a16="http://schemas.microsoft.com/office/drawing/2014/main" id="{DA7F1DCA-C426-4186-A053-9FDE4E7C1AEA}"/>
              </a:ext>
            </a:extLst>
          </p:cNvPr>
          <p:cNvGrpSpPr/>
          <p:nvPr/>
        </p:nvGrpSpPr>
        <p:grpSpPr>
          <a:xfrm>
            <a:off x="5889962" y="2579731"/>
            <a:ext cx="299337" cy="299339"/>
            <a:chOff x="4083769" y="2552776"/>
            <a:chExt cx="529089" cy="529089"/>
          </a:xfrm>
        </p:grpSpPr>
        <p:sp>
          <p:nvSpPr>
            <p:cNvPr id="202" name="Oval 201">
              <a:extLst>
                <a:ext uri="{FF2B5EF4-FFF2-40B4-BE49-F238E27FC236}">
                  <a16:creationId xmlns:a16="http://schemas.microsoft.com/office/drawing/2014/main" id="{92FC66C8-6242-4AB0-AE31-3895605CD65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3" name="Freeform: Shape 298">
              <a:extLst>
                <a:ext uri="{FF2B5EF4-FFF2-40B4-BE49-F238E27FC236}">
                  <a16:creationId xmlns:a16="http://schemas.microsoft.com/office/drawing/2014/main" id="{725B9FAE-A8C0-4025-8953-40ABC11CBB7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04" name="Freeform: Shape 299">
              <a:extLst>
                <a:ext uri="{FF2B5EF4-FFF2-40B4-BE49-F238E27FC236}">
                  <a16:creationId xmlns:a16="http://schemas.microsoft.com/office/drawing/2014/main" id="{7DA1F382-1A3C-4CEF-935D-A76155FE72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05" name="Freeform: Shape 301">
              <a:extLst>
                <a:ext uri="{FF2B5EF4-FFF2-40B4-BE49-F238E27FC236}">
                  <a16:creationId xmlns:a16="http://schemas.microsoft.com/office/drawing/2014/main" id="{C9EB153C-274F-4E00-A6B5-41A34B4D925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06" name="Freeform: Shape 302">
              <a:extLst>
                <a:ext uri="{FF2B5EF4-FFF2-40B4-BE49-F238E27FC236}">
                  <a16:creationId xmlns:a16="http://schemas.microsoft.com/office/drawing/2014/main" id="{1D0331D3-22C6-46A0-800E-FAC5A2988FE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07" name="Group 206">
            <a:extLst>
              <a:ext uri="{FF2B5EF4-FFF2-40B4-BE49-F238E27FC236}">
                <a16:creationId xmlns:a16="http://schemas.microsoft.com/office/drawing/2014/main" id="{44197B3F-C853-4D7E-B1FE-FD5C7CE1D883}"/>
              </a:ext>
            </a:extLst>
          </p:cNvPr>
          <p:cNvGrpSpPr/>
          <p:nvPr/>
        </p:nvGrpSpPr>
        <p:grpSpPr>
          <a:xfrm>
            <a:off x="6285455" y="2103504"/>
            <a:ext cx="299337" cy="299339"/>
            <a:chOff x="4083769" y="2552776"/>
            <a:chExt cx="529089" cy="529089"/>
          </a:xfrm>
        </p:grpSpPr>
        <p:sp>
          <p:nvSpPr>
            <p:cNvPr id="208" name="Oval 207">
              <a:extLst>
                <a:ext uri="{FF2B5EF4-FFF2-40B4-BE49-F238E27FC236}">
                  <a16:creationId xmlns:a16="http://schemas.microsoft.com/office/drawing/2014/main" id="{35FB6A0B-1BF0-4EC7-88EC-64C88C8D2FA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Freeform: Shape 298">
              <a:extLst>
                <a:ext uri="{FF2B5EF4-FFF2-40B4-BE49-F238E27FC236}">
                  <a16:creationId xmlns:a16="http://schemas.microsoft.com/office/drawing/2014/main" id="{789B635D-19E5-4D77-8230-CC0C92AC013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0" name="Freeform: Shape 299">
              <a:extLst>
                <a:ext uri="{FF2B5EF4-FFF2-40B4-BE49-F238E27FC236}">
                  <a16:creationId xmlns:a16="http://schemas.microsoft.com/office/drawing/2014/main" id="{6FB8B786-1C19-4C1C-9259-55602A75F05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1" name="Freeform: Shape 301">
              <a:extLst>
                <a:ext uri="{FF2B5EF4-FFF2-40B4-BE49-F238E27FC236}">
                  <a16:creationId xmlns:a16="http://schemas.microsoft.com/office/drawing/2014/main" id="{37423115-8B68-40A8-82F9-1F4B6B698A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2" name="Freeform: Shape 302">
              <a:extLst>
                <a:ext uri="{FF2B5EF4-FFF2-40B4-BE49-F238E27FC236}">
                  <a16:creationId xmlns:a16="http://schemas.microsoft.com/office/drawing/2014/main" id="{0C8F8C26-1A68-4D12-96EA-2E88A8F07B1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14" name="Group 213">
            <a:extLst>
              <a:ext uri="{FF2B5EF4-FFF2-40B4-BE49-F238E27FC236}">
                <a16:creationId xmlns:a16="http://schemas.microsoft.com/office/drawing/2014/main" id="{0C331C78-5CA6-4AD5-97C9-A0DD5D3FE457}"/>
              </a:ext>
            </a:extLst>
          </p:cNvPr>
          <p:cNvGrpSpPr/>
          <p:nvPr/>
        </p:nvGrpSpPr>
        <p:grpSpPr>
          <a:xfrm>
            <a:off x="6694657" y="2585845"/>
            <a:ext cx="299337" cy="299339"/>
            <a:chOff x="4083769" y="2552776"/>
            <a:chExt cx="529089" cy="529089"/>
          </a:xfrm>
        </p:grpSpPr>
        <p:sp>
          <p:nvSpPr>
            <p:cNvPr id="215" name="Oval 214">
              <a:extLst>
                <a:ext uri="{FF2B5EF4-FFF2-40B4-BE49-F238E27FC236}">
                  <a16:creationId xmlns:a16="http://schemas.microsoft.com/office/drawing/2014/main" id="{57B611A5-3413-4292-80D0-736340C5CD36}"/>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16" name="Freeform: Shape 298">
              <a:extLst>
                <a:ext uri="{FF2B5EF4-FFF2-40B4-BE49-F238E27FC236}">
                  <a16:creationId xmlns:a16="http://schemas.microsoft.com/office/drawing/2014/main" id="{25C60DD7-4458-4071-85B0-8EBFC59872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7" name="Freeform: Shape 299">
              <a:extLst>
                <a:ext uri="{FF2B5EF4-FFF2-40B4-BE49-F238E27FC236}">
                  <a16:creationId xmlns:a16="http://schemas.microsoft.com/office/drawing/2014/main" id="{29229958-9C60-4625-8BF7-DF1673DDCB5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8" name="Freeform: Shape 301">
              <a:extLst>
                <a:ext uri="{FF2B5EF4-FFF2-40B4-BE49-F238E27FC236}">
                  <a16:creationId xmlns:a16="http://schemas.microsoft.com/office/drawing/2014/main" id="{499C5114-1EF1-499D-B6D4-6FF2DFDC925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9" name="Freeform: Shape 302">
              <a:extLst>
                <a:ext uri="{FF2B5EF4-FFF2-40B4-BE49-F238E27FC236}">
                  <a16:creationId xmlns:a16="http://schemas.microsoft.com/office/drawing/2014/main" id="{55ADF633-7A9A-45CC-8A65-858B953BF9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20" name="Group 219">
            <a:extLst>
              <a:ext uri="{FF2B5EF4-FFF2-40B4-BE49-F238E27FC236}">
                <a16:creationId xmlns:a16="http://schemas.microsoft.com/office/drawing/2014/main" id="{E9524757-EBB7-4687-835D-BF4F0A833AB7}"/>
              </a:ext>
            </a:extLst>
          </p:cNvPr>
          <p:cNvGrpSpPr/>
          <p:nvPr/>
        </p:nvGrpSpPr>
        <p:grpSpPr>
          <a:xfrm>
            <a:off x="1805698" y="2192502"/>
            <a:ext cx="485160" cy="541185"/>
            <a:chOff x="1888588" y="1025862"/>
            <a:chExt cx="485160" cy="541185"/>
          </a:xfrm>
        </p:grpSpPr>
        <p:grpSp>
          <p:nvGrpSpPr>
            <p:cNvPr id="222" name="Group 221">
              <a:extLst>
                <a:ext uri="{FF2B5EF4-FFF2-40B4-BE49-F238E27FC236}">
                  <a16:creationId xmlns:a16="http://schemas.microsoft.com/office/drawing/2014/main" id="{5BAF494D-9CDC-4D2A-9701-0D38BE7AF45C}"/>
                </a:ext>
              </a:extLst>
            </p:cNvPr>
            <p:cNvGrpSpPr/>
            <p:nvPr/>
          </p:nvGrpSpPr>
          <p:grpSpPr>
            <a:xfrm>
              <a:off x="1888588" y="1025862"/>
              <a:ext cx="269059" cy="273863"/>
              <a:chOff x="3215227" y="2066982"/>
              <a:chExt cx="396817" cy="396817"/>
            </a:xfrm>
          </p:grpSpPr>
          <p:sp>
            <p:nvSpPr>
              <p:cNvPr id="243" name="Oval 242">
                <a:extLst>
                  <a:ext uri="{FF2B5EF4-FFF2-40B4-BE49-F238E27FC236}">
                    <a16:creationId xmlns:a16="http://schemas.microsoft.com/office/drawing/2014/main" id="{5B72A5E9-856E-4FF2-B887-94E981BC776F}"/>
                  </a:ext>
                </a:extLst>
              </p:cNvPr>
              <p:cNvSpPr/>
              <p:nvPr/>
            </p:nvSpPr>
            <p:spPr>
              <a:xfrm>
                <a:off x="3215227" y="2066982"/>
                <a:ext cx="396817" cy="39681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44" name="Freeform: Shape 298">
                <a:extLst>
                  <a:ext uri="{FF2B5EF4-FFF2-40B4-BE49-F238E27FC236}">
                    <a16:creationId xmlns:a16="http://schemas.microsoft.com/office/drawing/2014/main" id="{617D6220-86BF-48B9-B902-D9BDF44C6160}"/>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5" name="Freeform: Shape 299">
                <a:extLst>
                  <a:ext uri="{FF2B5EF4-FFF2-40B4-BE49-F238E27FC236}">
                    <a16:creationId xmlns:a16="http://schemas.microsoft.com/office/drawing/2014/main" id="{5F30F85F-2FF3-47C6-ADFD-869C5E210524}"/>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6" name="Freeform: Shape 301">
                <a:extLst>
                  <a:ext uri="{FF2B5EF4-FFF2-40B4-BE49-F238E27FC236}">
                    <a16:creationId xmlns:a16="http://schemas.microsoft.com/office/drawing/2014/main" id="{58389918-262A-4F19-A374-65C74B4EB09F}"/>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7" name="Freeform: Shape 302">
                <a:extLst>
                  <a:ext uri="{FF2B5EF4-FFF2-40B4-BE49-F238E27FC236}">
                    <a16:creationId xmlns:a16="http://schemas.microsoft.com/office/drawing/2014/main" id="{C1B9AB2E-73AB-4883-BE78-A00E68CF80BF}"/>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23" name="Group 222">
              <a:extLst>
                <a:ext uri="{FF2B5EF4-FFF2-40B4-BE49-F238E27FC236}">
                  <a16:creationId xmlns:a16="http://schemas.microsoft.com/office/drawing/2014/main" id="{17C64938-9C21-4291-8179-ED7C004C437D}"/>
                </a:ext>
              </a:extLst>
            </p:cNvPr>
            <p:cNvGrpSpPr/>
            <p:nvPr/>
          </p:nvGrpSpPr>
          <p:grpSpPr>
            <a:xfrm>
              <a:off x="1996638" y="1159523"/>
              <a:ext cx="269059" cy="273863"/>
              <a:chOff x="3215227" y="2066982"/>
              <a:chExt cx="396817" cy="396817"/>
            </a:xfrm>
          </p:grpSpPr>
          <p:sp>
            <p:nvSpPr>
              <p:cNvPr id="238" name="Oval 237">
                <a:extLst>
                  <a:ext uri="{FF2B5EF4-FFF2-40B4-BE49-F238E27FC236}">
                    <a16:creationId xmlns:a16="http://schemas.microsoft.com/office/drawing/2014/main" id="{BF34E4E1-94FB-43DC-A483-4B459D2E0C70}"/>
                  </a:ext>
                </a:extLst>
              </p:cNvPr>
              <p:cNvSpPr/>
              <p:nvPr/>
            </p:nvSpPr>
            <p:spPr>
              <a:xfrm>
                <a:off x="3215227" y="2066982"/>
                <a:ext cx="396817" cy="39681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39" name="Freeform: Shape 298">
                <a:extLst>
                  <a:ext uri="{FF2B5EF4-FFF2-40B4-BE49-F238E27FC236}">
                    <a16:creationId xmlns:a16="http://schemas.microsoft.com/office/drawing/2014/main" id="{66808574-DDC4-4472-B63B-D150F1106E98}"/>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0" name="Freeform: Shape 299">
                <a:extLst>
                  <a:ext uri="{FF2B5EF4-FFF2-40B4-BE49-F238E27FC236}">
                    <a16:creationId xmlns:a16="http://schemas.microsoft.com/office/drawing/2014/main" id="{A707FA5F-6EA5-4A1C-A8DC-5C3098BF436F}"/>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1" name="Freeform: Shape 301">
                <a:extLst>
                  <a:ext uri="{FF2B5EF4-FFF2-40B4-BE49-F238E27FC236}">
                    <a16:creationId xmlns:a16="http://schemas.microsoft.com/office/drawing/2014/main" id="{EC162CB2-DE0D-40A4-93C4-C9DA6DB019B0}"/>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2" name="Freeform: Shape 302">
                <a:extLst>
                  <a:ext uri="{FF2B5EF4-FFF2-40B4-BE49-F238E27FC236}">
                    <a16:creationId xmlns:a16="http://schemas.microsoft.com/office/drawing/2014/main" id="{87C87D86-B9A4-4A9C-8100-58A859715A63}"/>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24" name="Group 223">
              <a:extLst>
                <a:ext uri="{FF2B5EF4-FFF2-40B4-BE49-F238E27FC236}">
                  <a16:creationId xmlns:a16="http://schemas.microsoft.com/office/drawing/2014/main" id="{8B4FAB74-4EC3-4F66-A74D-755ECADC3638}"/>
                </a:ext>
              </a:extLst>
            </p:cNvPr>
            <p:cNvGrpSpPr/>
            <p:nvPr/>
          </p:nvGrpSpPr>
          <p:grpSpPr>
            <a:xfrm>
              <a:off x="2104689" y="1293184"/>
              <a:ext cx="269059" cy="273863"/>
              <a:chOff x="3215227" y="2066982"/>
              <a:chExt cx="396817" cy="396817"/>
            </a:xfrm>
          </p:grpSpPr>
          <p:sp>
            <p:nvSpPr>
              <p:cNvPr id="233" name="Oval 232">
                <a:extLst>
                  <a:ext uri="{FF2B5EF4-FFF2-40B4-BE49-F238E27FC236}">
                    <a16:creationId xmlns:a16="http://schemas.microsoft.com/office/drawing/2014/main" id="{4BBEA72E-930E-42F1-95FB-5C68338DA688}"/>
                  </a:ext>
                </a:extLst>
              </p:cNvPr>
              <p:cNvSpPr/>
              <p:nvPr/>
            </p:nvSpPr>
            <p:spPr>
              <a:xfrm>
                <a:off x="3215227" y="2066982"/>
                <a:ext cx="396817" cy="39681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34" name="Freeform: Shape 298">
                <a:extLst>
                  <a:ext uri="{FF2B5EF4-FFF2-40B4-BE49-F238E27FC236}">
                    <a16:creationId xmlns:a16="http://schemas.microsoft.com/office/drawing/2014/main" id="{957EFF27-B741-4F58-94F5-B976FE88BD26}"/>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35" name="Freeform: Shape 299">
                <a:extLst>
                  <a:ext uri="{FF2B5EF4-FFF2-40B4-BE49-F238E27FC236}">
                    <a16:creationId xmlns:a16="http://schemas.microsoft.com/office/drawing/2014/main" id="{3832F17C-7EA4-4A95-864F-8BD2BBED8F84}"/>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36" name="Freeform: Shape 301">
                <a:extLst>
                  <a:ext uri="{FF2B5EF4-FFF2-40B4-BE49-F238E27FC236}">
                    <a16:creationId xmlns:a16="http://schemas.microsoft.com/office/drawing/2014/main" id="{E2B5B872-D3F4-4E4F-9EBB-2E3FE889C00B}"/>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37" name="Freeform: Shape 302">
                <a:extLst>
                  <a:ext uri="{FF2B5EF4-FFF2-40B4-BE49-F238E27FC236}">
                    <a16:creationId xmlns:a16="http://schemas.microsoft.com/office/drawing/2014/main" id="{61776175-9362-4451-BB34-A92C37B8FBE6}"/>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spTree>
    <p:extLst>
      <p:ext uri="{BB962C8B-B14F-4D97-AF65-F5344CB8AC3E}">
        <p14:creationId xmlns:p14="http://schemas.microsoft.com/office/powerpoint/2010/main" val="2871728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3"/>
                                        </p:tgtEl>
                                        <p:attrNameLst>
                                          <p:attrName>style.visibility</p:attrName>
                                        </p:attrNameLst>
                                      </p:cBhvr>
                                      <p:to>
                                        <p:strVal val="visible"/>
                                      </p:to>
                                    </p:set>
                                    <p:animEffect transition="in" filter="fade">
                                      <p:cBhvr>
                                        <p:cTn id="27" dur="500"/>
                                        <p:tgtEl>
                                          <p:spTgt spid="19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80"/>
                                        </p:tgtEl>
                                        <p:attrNameLst>
                                          <p:attrName>style.visibility</p:attrName>
                                        </p:attrNameLst>
                                      </p:cBhvr>
                                      <p:to>
                                        <p:strVal val="visible"/>
                                      </p:to>
                                    </p:set>
                                    <p:animEffect transition="in" filter="fade">
                                      <p:cBhvr>
                                        <p:cTn id="42" dur="500"/>
                                        <p:tgtEl>
                                          <p:spTgt spid="18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84"/>
                                        </p:tgtEl>
                                        <p:attrNameLst>
                                          <p:attrName>style.visibility</p:attrName>
                                        </p:attrNameLst>
                                      </p:cBhvr>
                                      <p:to>
                                        <p:strVal val="visible"/>
                                      </p:to>
                                    </p:set>
                                    <p:animEffect transition="in" filter="fade">
                                      <p:cBhvr>
                                        <p:cTn id="47" dur="500"/>
                                        <p:tgtEl>
                                          <p:spTgt spid="1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8" name="Rectangle 87"/>
          <p:cNvSpPr/>
          <p:nvPr/>
        </p:nvSpPr>
        <p:spPr>
          <a:xfrm>
            <a:off x="686875" y="2704070"/>
            <a:ext cx="7815177" cy="1805729"/>
          </a:xfrm>
          <a:prstGeom prst="rect">
            <a:avLst/>
          </a:prstGeom>
          <a:solidFill>
            <a:schemeClr val="accent2">
              <a:lumMod val="75000"/>
            </a:schemeClr>
          </a:solidFill>
          <a:ln w="25400" cmpd="sng">
            <a:solidFill>
              <a:schemeClr val="accent6">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15" tIns="45707" rIns="91415" bIns="45707"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le 3"/>
          <p:cNvSpPr>
            <a:spLocks noGrp="1"/>
          </p:cNvSpPr>
          <p:nvPr>
            <p:ph type="title"/>
          </p:nvPr>
        </p:nvSpPr>
        <p:spPr>
          <a:xfrm>
            <a:off x="438842" y="192930"/>
            <a:ext cx="8343315" cy="731647"/>
          </a:xfrm>
        </p:spPr>
        <p:txBody>
          <a:bodyPr/>
          <a:lstStyle/>
          <a:p>
            <a:r>
              <a:rPr lang="en-US" dirty="0"/>
              <a:t>Cisco NFV Solution Architecture</a:t>
            </a:r>
          </a:p>
        </p:txBody>
      </p:sp>
      <p:sp>
        <p:nvSpPr>
          <p:cNvPr id="108" name="Rectangle 107"/>
          <p:cNvSpPr/>
          <p:nvPr/>
        </p:nvSpPr>
        <p:spPr>
          <a:xfrm>
            <a:off x="6992983" y="1889919"/>
            <a:ext cx="1383638" cy="680077"/>
          </a:xfrm>
          <a:prstGeom prst="rect">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1415" tIns="91416" rIns="91415" bIns="0" rtlCol="0" anchor="t"/>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mn-ea"/>
                <a:cs typeface="+mn-cs"/>
              </a:rPr>
              <a:t>VNF Manager</a:t>
            </a:r>
          </a:p>
        </p:txBody>
      </p:sp>
      <p:sp>
        <p:nvSpPr>
          <p:cNvPr id="110" name="Rectangle 109"/>
          <p:cNvSpPr/>
          <p:nvPr/>
        </p:nvSpPr>
        <p:spPr>
          <a:xfrm>
            <a:off x="7055745" y="2184717"/>
            <a:ext cx="1260706" cy="328976"/>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Cisco ESC</a:t>
            </a:r>
          </a:p>
        </p:txBody>
      </p:sp>
      <p:sp>
        <p:nvSpPr>
          <p:cNvPr id="113" name="Rectangle 112"/>
          <p:cNvSpPr/>
          <p:nvPr/>
        </p:nvSpPr>
        <p:spPr>
          <a:xfrm>
            <a:off x="772312" y="1053837"/>
            <a:ext cx="7604309" cy="735929"/>
          </a:xfrm>
          <a:prstGeom prst="rect">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1415" tIns="91416" rIns="91415" bIns="0" rtlCol="0" anchor="t"/>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mn-ea"/>
                <a:cs typeface="+mn-cs"/>
              </a:rPr>
              <a:t>NFVO, Resource Orchestration &amp; VNF Service Orchestration</a:t>
            </a:r>
          </a:p>
        </p:txBody>
      </p:sp>
      <p:sp>
        <p:nvSpPr>
          <p:cNvPr id="114" name="Rectangle 113"/>
          <p:cNvSpPr/>
          <p:nvPr/>
        </p:nvSpPr>
        <p:spPr>
          <a:xfrm>
            <a:off x="885102" y="1364360"/>
            <a:ext cx="7431350" cy="393934"/>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NSO – Network Services Orchestrator enabled by Tail-f</a:t>
            </a:r>
          </a:p>
        </p:txBody>
      </p:sp>
      <p:sp>
        <p:nvSpPr>
          <p:cNvPr id="125" name="TextBox 124"/>
          <p:cNvSpPr txBox="1"/>
          <p:nvPr/>
        </p:nvSpPr>
        <p:spPr>
          <a:xfrm>
            <a:off x="2268312" y="888581"/>
            <a:ext cx="4845058" cy="153888"/>
          </a:xfrm>
          <a:prstGeom prst="rect">
            <a:avLst/>
          </a:prstGeom>
          <a:noFill/>
        </p:spPr>
        <p:txBody>
          <a:bodyPr wrap="square" lIns="0" tIns="0" rIns="0" bIns="0" rtlCol="0">
            <a:spAutoFit/>
          </a:bodyPr>
          <a:lstStyle/>
          <a:p>
            <a:pPr marL="0" marR="0" lvl="0" indent="0" algn="ctr" defTabSz="457086"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panose="020B0604020202020204" pitchFamily="34" charset="0"/>
                <a:ea typeface="ＭＳ Ｐゴシック" panose="020B0600070205080204" pitchFamily="34" charset="-128"/>
                <a:cs typeface="+mn-cs"/>
              </a:rPr>
              <a:t>North Bound APIs</a:t>
            </a:r>
          </a:p>
        </p:txBody>
      </p:sp>
      <p:sp>
        <p:nvSpPr>
          <p:cNvPr id="130" name="Rectangle 129"/>
          <p:cNvSpPr/>
          <p:nvPr/>
        </p:nvSpPr>
        <p:spPr>
          <a:xfrm>
            <a:off x="772313" y="1908234"/>
            <a:ext cx="5907275" cy="661760"/>
          </a:xfrm>
          <a:prstGeom prst="rect">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mn-ea"/>
                <a:cs typeface="+mn-cs"/>
              </a:rPr>
              <a:t>Virtual Network Functions (Cisco and 3rd Party)</a:t>
            </a:r>
          </a:p>
        </p:txBody>
      </p:sp>
      <p:grpSp>
        <p:nvGrpSpPr>
          <p:cNvPr id="132" name="Group 131"/>
          <p:cNvGrpSpPr/>
          <p:nvPr/>
        </p:nvGrpSpPr>
        <p:grpSpPr>
          <a:xfrm>
            <a:off x="886185" y="2173334"/>
            <a:ext cx="1207750" cy="365665"/>
            <a:chOff x="605487" y="1831458"/>
            <a:chExt cx="1208064" cy="365760"/>
          </a:xfrm>
        </p:grpSpPr>
        <p:sp>
          <p:nvSpPr>
            <p:cNvPr id="137" name="Rectangle 136"/>
            <p:cNvSpPr/>
            <p:nvPr/>
          </p:nvSpPr>
          <p:spPr>
            <a:xfrm>
              <a:off x="605487" y="1831458"/>
              <a:ext cx="482480" cy="365760"/>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CSR</a:t>
              </a:r>
            </a:p>
          </p:txBody>
        </p:sp>
        <p:sp>
          <p:nvSpPr>
            <p:cNvPr id="138" name="Rectangle 137"/>
            <p:cNvSpPr/>
            <p:nvPr/>
          </p:nvSpPr>
          <p:spPr>
            <a:xfrm>
              <a:off x="1331071" y="1831458"/>
              <a:ext cx="482480" cy="365760"/>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err="1">
                  <a:ln>
                    <a:noFill/>
                  </a:ln>
                  <a:solidFill>
                    <a:srgbClr val="FFFFFF"/>
                  </a:solidFill>
                  <a:effectLst/>
                  <a:uLnTx/>
                  <a:uFillTx/>
                  <a:latin typeface="Arial"/>
                  <a:ea typeface="+mn-ea"/>
                  <a:cs typeface="+mn-cs"/>
                </a:rPr>
                <a:t>ASAv</a:t>
              </a:r>
              <a:r>
                <a:rPr kumimoji="0" lang="en-US" sz="900" b="0" i="0" u="none" strike="noStrike" kern="1200" cap="none" spc="0" normalizeH="0" baseline="0" noProof="0" dirty="0">
                  <a:ln>
                    <a:noFill/>
                  </a:ln>
                  <a:solidFill>
                    <a:srgbClr val="FFFFFF"/>
                  </a:solidFill>
                  <a:effectLst/>
                  <a:uLnTx/>
                  <a:uFillTx/>
                  <a:latin typeface="Arial"/>
                  <a:ea typeface="+mn-ea"/>
                  <a:cs typeface="+mn-cs"/>
                </a:rPr>
                <a:t> </a:t>
              </a:r>
            </a:p>
          </p:txBody>
        </p:sp>
      </p:grpSp>
      <p:sp>
        <p:nvSpPr>
          <p:cNvPr id="133" name="Rectangle 132"/>
          <p:cNvSpPr/>
          <p:nvPr/>
        </p:nvSpPr>
        <p:spPr>
          <a:xfrm>
            <a:off x="2365177" y="2173334"/>
            <a:ext cx="482354" cy="365665"/>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Ultra </a:t>
            </a:r>
          </a:p>
        </p:txBody>
      </p:sp>
      <p:sp>
        <p:nvSpPr>
          <p:cNvPr id="134" name="Rectangle 133"/>
          <p:cNvSpPr/>
          <p:nvPr/>
        </p:nvSpPr>
        <p:spPr>
          <a:xfrm>
            <a:off x="3116767" y="2184717"/>
            <a:ext cx="482354" cy="365665"/>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MS</a:t>
            </a:r>
          </a:p>
        </p:txBody>
      </p:sp>
      <p:sp>
        <p:nvSpPr>
          <p:cNvPr id="135" name="Rectangle 134"/>
          <p:cNvSpPr/>
          <p:nvPr/>
        </p:nvSpPr>
        <p:spPr>
          <a:xfrm>
            <a:off x="3868847" y="2184717"/>
            <a:ext cx="482354" cy="365665"/>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deo</a:t>
            </a:r>
          </a:p>
        </p:txBody>
      </p:sp>
      <p:sp>
        <p:nvSpPr>
          <p:cNvPr id="136" name="Rectangle 135"/>
          <p:cNvSpPr/>
          <p:nvPr/>
        </p:nvSpPr>
        <p:spPr>
          <a:xfrm>
            <a:off x="6111798" y="2182219"/>
            <a:ext cx="482354" cy="365665"/>
          </a:xfrm>
          <a:prstGeom prst="rect">
            <a:avLst/>
          </a:prstGeom>
          <a:solidFill>
            <a:schemeClr val="accent5">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3</a:t>
            </a:r>
            <a:r>
              <a:rPr kumimoji="0" lang="en-US" sz="900" b="0" i="0" u="none" strike="noStrike" kern="1200" cap="none" spc="0" normalizeH="0" baseline="50000" noProof="0" dirty="0">
                <a:ln>
                  <a:noFill/>
                </a:ln>
                <a:solidFill>
                  <a:srgbClr val="FFFFFF"/>
                </a:solidFill>
                <a:effectLst/>
                <a:uLnTx/>
                <a:uFillTx/>
                <a:latin typeface="Arial"/>
                <a:ea typeface="+mn-ea"/>
                <a:cs typeface="+mn-cs"/>
              </a:rPr>
              <a:t>rd</a:t>
            </a:r>
            <a:r>
              <a:rPr kumimoji="0" lang="en-US" sz="900" b="0" i="0" u="none" strike="noStrike" kern="1200" cap="none" spc="0" normalizeH="0" baseline="0" noProof="0" dirty="0">
                <a:ln>
                  <a:noFill/>
                </a:ln>
                <a:solidFill>
                  <a:srgbClr val="FFFFFF"/>
                </a:solidFill>
                <a:effectLst/>
                <a:uLnTx/>
                <a:uFillTx/>
                <a:latin typeface="Arial"/>
                <a:ea typeface="+mn-ea"/>
                <a:cs typeface="+mn-cs"/>
              </a:rPr>
              <a:t> Party</a:t>
            </a:r>
          </a:p>
        </p:txBody>
      </p:sp>
      <p:sp>
        <p:nvSpPr>
          <p:cNvPr id="62" name="Rectangle 61"/>
          <p:cNvSpPr/>
          <p:nvPr/>
        </p:nvSpPr>
        <p:spPr>
          <a:xfrm>
            <a:off x="2327520" y="3792621"/>
            <a:ext cx="4352067" cy="594743"/>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mn-ea"/>
                <a:cs typeface="+mn-cs"/>
              </a:rPr>
              <a:t>Cisco Physical Infrastructure</a:t>
            </a:r>
          </a:p>
        </p:txBody>
      </p:sp>
      <p:sp>
        <p:nvSpPr>
          <p:cNvPr id="65" name="Rectangle 64"/>
          <p:cNvSpPr/>
          <p:nvPr/>
        </p:nvSpPr>
        <p:spPr>
          <a:xfrm>
            <a:off x="6992982" y="3802643"/>
            <a:ext cx="1395266" cy="594206"/>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ＭＳ Ｐゴシック" charset="0"/>
                <a:cs typeface="+mn-cs"/>
              </a:rPr>
              <a:t>Optional Network VIM</a:t>
            </a:r>
          </a:p>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Cisco ACI / Cisco VTS)</a:t>
            </a:r>
          </a:p>
        </p:txBody>
      </p:sp>
      <p:sp>
        <p:nvSpPr>
          <p:cNvPr id="66" name="Rectangle 65"/>
          <p:cNvSpPr/>
          <p:nvPr/>
        </p:nvSpPr>
        <p:spPr>
          <a:xfrm>
            <a:off x="2404729" y="3556655"/>
            <a:ext cx="4207234" cy="212024"/>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5" tIns="45707" rIns="91415" bIns="45707"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Infrastructure Abstraction with Linux, KVM/</a:t>
            </a:r>
            <a:r>
              <a:rPr kumimoji="0" lang="en-US" sz="800" b="0" i="0" u="none" strike="noStrike" kern="1200" cap="none" spc="0" normalizeH="0" baseline="0" noProof="0" dirty="0" err="1">
                <a:ln>
                  <a:noFill/>
                </a:ln>
                <a:solidFill>
                  <a:srgbClr val="FFFFFF"/>
                </a:solidFill>
                <a:effectLst/>
                <a:uLnTx/>
                <a:uFillTx/>
                <a:latin typeface="Arial"/>
                <a:ea typeface="+mn-ea"/>
                <a:cs typeface="+mn-cs"/>
              </a:rPr>
              <a:t>Qemu</a:t>
            </a:r>
            <a:r>
              <a:rPr kumimoji="0" lang="en-US" sz="800" b="0" i="0" u="none" strike="noStrike" kern="1200" cap="none" spc="0" normalizeH="0" baseline="0" noProof="0" dirty="0">
                <a:ln>
                  <a:noFill/>
                </a:ln>
                <a:solidFill>
                  <a:srgbClr val="FFFFFF"/>
                </a:solidFill>
                <a:effectLst/>
                <a:uLnTx/>
                <a:uFillTx/>
                <a:latin typeface="Arial"/>
                <a:ea typeface="+mn-ea"/>
                <a:cs typeface="+mn-cs"/>
              </a:rPr>
              <a:t>, Host Packages, </a:t>
            </a:r>
            <a:r>
              <a:rPr kumimoji="0" lang="en-US" sz="800" b="0" i="0" u="none" strike="noStrike" kern="1200" cap="none" spc="0" normalizeH="0" baseline="0" noProof="0" dirty="0" err="1">
                <a:ln>
                  <a:noFill/>
                </a:ln>
                <a:solidFill>
                  <a:srgbClr val="FFFFFF"/>
                </a:solidFill>
                <a:effectLst/>
                <a:uLnTx/>
                <a:uFillTx/>
                <a:latin typeface="Arial"/>
                <a:ea typeface="+mn-ea"/>
                <a:cs typeface="+mn-cs"/>
              </a:rPr>
              <a:t>vSwitches</a:t>
            </a:r>
            <a:r>
              <a:rPr kumimoji="0" lang="en-US" sz="800" b="0" i="0" u="none" strike="noStrike" kern="1200" cap="none" spc="0" normalizeH="0" baseline="0" noProof="0" dirty="0">
                <a:ln>
                  <a:noFill/>
                </a:ln>
                <a:solidFill>
                  <a:srgbClr val="FFFFFF"/>
                </a:solidFill>
                <a:effectLst/>
                <a:uLnTx/>
                <a:uFillTx/>
                <a:latin typeface="Arial"/>
                <a:ea typeface="+mn-ea"/>
                <a:cs typeface="+mn-cs"/>
              </a:rPr>
              <a:t>  </a:t>
            </a:r>
          </a:p>
        </p:txBody>
      </p:sp>
      <p:sp>
        <p:nvSpPr>
          <p:cNvPr id="67" name="Rectangle 66"/>
          <p:cNvSpPr/>
          <p:nvPr/>
        </p:nvSpPr>
        <p:spPr>
          <a:xfrm>
            <a:off x="1840210" y="4529388"/>
            <a:ext cx="5463581" cy="215444"/>
          </a:xfrm>
          <a:prstGeom prst="rect">
            <a:avLst/>
          </a:prstGeom>
          <a:no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ABC233">
                    <a:lumMod val="50000"/>
                  </a:srgbClr>
                </a:solidFill>
                <a:effectLst/>
                <a:uLnTx/>
                <a:uFillTx/>
                <a:latin typeface="Arial"/>
                <a:ea typeface="+mn-ea"/>
                <a:cs typeface="+mn-cs"/>
              </a:rPr>
              <a:t>Cisco NFVI </a:t>
            </a:r>
            <a:r>
              <a:rPr kumimoji="0" lang="en-US" sz="1400" b="0" i="0" u="none" strike="noStrike" kern="1200" cap="none" spc="0" normalizeH="0" baseline="0" noProof="0" dirty="0">
                <a:ln>
                  <a:noFill/>
                </a:ln>
                <a:solidFill>
                  <a:srgbClr val="ABC233">
                    <a:lumMod val="50000"/>
                  </a:srgbClr>
                </a:solidFill>
                <a:effectLst/>
                <a:uLnTx/>
                <a:uFillTx/>
                <a:latin typeface="Arial"/>
                <a:ea typeface="+mn-ea"/>
                <a:cs typeface="+mn-cs"/>
              </a:rPr>
              <a:t>Scope</a:t>
            </a:r>
          </a:p>
        </p:txBody>
      </p:sp>
      <p:sp>
        <p:nvSpPr>
          <p:cNvPr id="68" name="Rectangle 67"/>
          <p:cNvSpPr/>
          <p:nvPr/>
        </p:nvSpPr>
        <p:spPr>
          <a:xfrm>
            <a:off x="3844511" y="4069913"/>
            <a:ext cx="1342114" cy="27424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Network (N9k/NCS5k)</a:t>
            </a:r>
          </a:p>
        </p:txBody>
      </p:sp>
      <p:sp>
        <p:nvSpPr>
          <p:cNvPr id="69" name="Rectangle 68"/>
          <p:cNvSpPr/>
          <p:nvPr/>
        </p:nvSpPr>
        <p:spPr>
          <a:xfrm>
            <a:off x="2404729" y="4069913"/>
            <a:ext cx="1371467" cy="27424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 Compute (UCS/3</a:t>
            </a:r>
            <a:r>
              <a:rPr kumimoji="0" lang="en-US" sz="900" b="0" i="0" u="none" strike="noStrike" kern="1200" cap="none" spc="0" normalizeH="0" baseline="30000" noProof="0" dirty="0">
                <a:ln>
                  <a:noFill/>
                </a:ln>
                <a:solidFill>
                  <a:srgbClr val="FFFFFF"/>
                </a:solidFill>
                <a:effectLst/>
                <a:uLnTx/>
                <a:uFillTx/>
                <a:latin typeface="Arial"/>
                <a:ea typeface="+mn-ea"/>
                <a:cs typeface="+mn-cs"/>
              </a:rPr>
              <a:t>rd</a:t>
            </a:r>
            <a:r>
              <a:rPr kumimoji="0" lang="en-US" sz="900" b="0" i="0" u="none" strike="noStrike" kern="1200" cap="none" spc="0" normalizeH="0" baseline="0" noProof="0" dirty="0">
                <a:ln>
                  <a:noFill/>
                </a:ln>
                <a:solidFill>
                  <a:srgbClr val="FFFFFF"/>
                </a:solidFill>
                <a:effectLst/>
                <a:uLnTx/>
                <a:uFillTx/>
                <a:latin typeface="Arial"/>
                <a:ea typeface="+mn-ea"/>
                <a:cs typeface="+mn-cs"/>
              </a:rPr>
              <a:t> P)</a:t>
            </a:r>
          </a:p>
        </p:txBody>
      </p:sp>
      <p:sp>
        <p:nvSpPr>
          <p:cNvPr id="70" name="Rectangle 69"/>
          <p:cNvSpPr/>
          <p:nvPr/>
        </p:nvSpPr>
        <p:spPr>
          <a:xfrm>
            <a:off x="5271804" y="4066436"/>
            <a:ext cx="1328500" cy="27424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   Storage (UCS /3</a:t>
            </a:r>
            <a:r>
              <a:rPr kumimoji="0" lang="en-US" sz="900" b="0" i="0" u="none" strike="noStrike" kern="1200" cap="none" spc="0" normalizeH="0" baseline="30000" noProof="0" dirty="0">
                <a:ln>
                  <a:noFill/>
                </a:ln>
                <a:solidFill>
                  <a:srgbClr val="FFFFFF"/>
                </a:solidFill>
                <a:effectLst/>
                <a:uLnTx/>
                <a:uFillTx/>
                <a:latin typeface="Arial"/>
                <a:ea typeface="+mn-ea"/>
                <a:cs typeface="+mn-cs"/>
              </a:rPr>
              <a:t>rd</a:t>
            </a:r>
            <a:r>
              <a:rPr kumimoji="0" lang="en-US" sz="900" b="0" i="0" u="none" strike="noStrike" kern="1200" cap="none" spc="0" normalizeH="0" baseline="0" noProof="0" dirty="0">
                <a:ln>
                  <a:noFill/>
                </a:ln>
                <a:solidFill>
                  <a:srgbClr val="FFFFFF"/>
                </a:solidFill>
                <a:effectLst/>
                <a:uLnTx/>
                <a:uFillTx/>
                <a:latin typeface="Arial"/>
                <a:ea typeface="+mn-ea"/>
                <a:cs typeface="+mn-cs"/>
              </a:rPr>
              <a:t> P)</a:t>
            </a:r>
          </a:p>
        </p:txBody>
      </p:sp>
      <p:sp>
        <p:nvSpPr>
          <p:cNvPr id="72" name="Rectangle 71"/>
          <p:cNvSpPr/>
          <p:nvPr/>
        </p:nvSpPr>
        <p:spPr>
          <a:xfrm rot="16200000">
            <a:off x="717556" y="2850386"/>
            <a:ext cx="1596404" cy="1486893"/>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1415" tIns="91416" rIns="91415" bIns="0" rtlCol="0" anchor="t"/>
          <a:lstStyle/>
          <a:p>
            <a:pPr marL="0" marR="0" lvl="0" indent="0" algn="ctr" defTabSz="685595"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a:p>
            <a:pPr marL="0" marR="0" lvl="0" indent="0" algn="ctr" defTabSz="685595"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a:p>
            <a:pPr marL="0" marR="0" lvl="0" indent="0" algn="ctr" defTabSz="685595"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p:txBody>
      </p:sp>
      <p:sp>
        <p:nvSpPr>
          <p:cNvPr id="73" name="TextBox 72"/>
          <p:cNvSpPr txBox="1"/>
          <p:nvPr/>
        </p:nvSpPr>
        <p:spPr>
          <a:xfrm rot="16200000">
            <a:off x="1416836" y="3524584"/>
            <a:ext cx="1475465" cy="138499"/>
          </a:xfrm>
          <a:prstGeom prst="rect">
            <a:avLst/>
          </a:prstGeom>
          <a:noFill/>
        </p:spPr>
        <p:txBody>
          <a:bodyPr wrap="square" lIns="0" tIns="0" rIns="0" bIns="0" rtlCol="0">
            <a:spAutoFit/>
          </a:bodyP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Infrastructure </a:t>
            </a:r>
            <a:r>
              <a:rPr kumimoji="0" lang="en-US" sz="900" b="0" i="0" u="none" strike="noStrike" kern="1200" cap="none" spc="0" normalizeH="0" baseline="0" noProof="0">
                <a:ln>
                  <a:noFill/>
                </a:ln>
                <a:solidFill>
                  <a:srgbClr val="58595B"/>
                </a:solidFill>
                <a:effectLst/>
                <a:uLnTx/>
                <a:uFillTx/>
                <a:latin typeface="Arial"/>
                <a:ea typeface="ＭＳ Ｐゴシック" charset="0"/>
                <a:cs typeface="+mn-cs"/>
              </a:rPr>
              <a:t>Management </a:t>
            </a:r>
            <a:endPar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endParaRPr>
          </a:p>
        </p:txBody>
      </p:sp>
      <p:sp>
        <p:nvSpPr>
          <p:cNvPr id="74" name="Rectangle 73"/>
          <p:cNvSpPr/>
          <p:nvPr/>
        </p:nvSpPr>
        <p:spPr>
          <a:xfrm rot="16200000">
            <a:off x="747981" y="3467630"/>
            <a:ext cx="1543477" cy="268731"/>
          </a:xfrm>
          <a:prstGeom prst="rect">
            <a:avLst/>
          </a:prstGeom>
          <a:solidFill>
            <a:schemeClr val="accent1"/>
          </a:solidFill>
          <a:ln w="3175">
            <a:noFill/>
          </a:ln>
          <a:effectLst/>
        </p:spPr>
        <p:style>
          <a:lnRef idx="3">
            <a:schemeClr val="lt1"/>
          </a:lnRef>
          <a:fillRef idx="1">
            <a:schemeClr val="accent2"/>
          </a:fillRef>
          <a:effectRef idx="1">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Unified Management</a:t>
            </a:r>
          </a:p>
        </p:txBody>
      </p:sp>
      <p:grpSp>
        <p:nvGrpSpPr>
          <p:cNvPr id="75" name="Group 74"/>
          <p:cNvGrpSpPr/>
          <p:nvPr/>
        </p:nvGrpSpPr>
        <p:grpSpPr>
          <a:xfrm>
            <a:off x="911671" y="3062752"/>
            <a:ext cx="370564" cy="522273"/>
            <a:chOff x="948991" y="3687430"/>
            <a:chExt cx="370661" cy="522409"/>
          </a:xfrm>
        </p:grpSpPr>
        <p:sp>
          <p:nvSpPr>
            <p:cNvPr id="76" name="TextBox 75"/>
            <p:cNvSpPr txBox="1"/>
            <p:nvPr/>
          </p:nvSpPr>
          <p:spPr>
            <a:xfrm>
              <a:off x="948991" y="3687430"/>
              <a:ext cx="370661" cy="230866"/>
            </a:xfrm>
            <a:prstGeom prst="rect">
              <a:avLst/>
            </a:prstGeom>
            <a:noFill/>
          </p:spPr>
          <p:txBody>
            <a:bodyPr wrap="none" lIns="91415" tIns="45707" rIns="91415" bIns="45707" rtlCol="0">
              <a:spAutoFit/>
            </a:bodyPr>
            <a:lstStyle/>
            <a:p>
              <a:pPr marL="0" marR="0" lvl="0" indent="0" algn="l"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API</a:t>
              </a:r>
            </a:p>
          </p:txBody>
        </p:sp>
        <p:sp>
          <p:nvSpPr>
            <p:cNvPr id="77" name="Freeform 98"/>
            <p:cNvSpPr>
              <a:spLocks noEditPoints="1"/>
            </p:cNvSpPr>
            <p:nvPr/>
          </p:nvSpPr>
          <p:spPr bwMode="auto">
            <a:xfrm>
              <a:off x="968567" y="3875588"/>
              <a:ext cx="335818" cy="334251"/>
            </a:xfrm>
            <a:custGeom>
              <a:avLst/>
              <a:gdLst>
                <a:gd name="T0" fmla="*/ 400 w 800"/>
                <a:gd name="T1" fmla="*/ 583 h 799"/>
                <a:gd name="T2" fmla="*/ 216 w 800"/>
                <a:gd name="T3" fmla="*/ 400 h 799"/>
                <a:gd name="T4" fmla="*/ 400 w 800"/>
                <a:gd name="T5" fmla="*/ 216 h 799"/>
                <a:gd name="T6" fmla="*/ 583 w 800"/>
                <a:gd name="T7" fmla="*/ 400 h 799"/>
                <a:gd name="T8" fmla="*/ 400 w 800"/>
                <a:gd name="T9" fmla="*/ 583 h 799"/>
                <a:gd name="T10" fmla="*/ 800 w 800"/>
                <a:gd name="T11" fmla="*/ 433 h 799"/>
                <a:gd name="T12" fmla="*/ 800 w 800"/>
                <a:gd name="T13" fmla="*/ 366 h 799"/>
                <a:gd name="T14" fmla="*/ 633 w 800"/>
                <a:gd name="T15" fmla="*/ 311 h 799"/>
                <a:gd name="T16" fmla="*/ 627 w 800"/>
                <a:gd name="T17" fmla="*/ 297 h 799"/>
                <a:gd name="T18" fmla="*/ 706 w 800"/>
                <a:gd name="T19" fmla="*/ 140 h 799"/>
                <a:gd name="T20" fmla="*/ 659 w 800"/>
                <a:gd name="T21" fmla="*/ 93 h 799"/>
                <a:gd name="T22" fmla="*/ 502 w 800"/>
                <a:gd name="T23" fmla="*/ 172 h 799"/>
                <a:gd name="T24" fmla="*/ 489 w 800"/>
                <a:gd name="T25" fmla="*/ 166 h 799"/>
                <a:gd name="T26" fmla="*/ 433 w 800"/>
                <a:gd name="T27" fmla="*/ 0 h 799"/>
                <a:gd name="T28" fmla="*/ 366 w 800"/>
                <a:gd name="T29" fmla="*/ 0 h 799"/>
                <a:gd name="T30" fmla="*/ 311 w 800"/>
                <a:gd name="T31" fmla="*/ 166 h 799"/>
                <a:gd name="T32" fmla="*/ 298 w 800"/>
                <a:gd name="T33" fmla="*/ 172 h 799"/>
                <a:gd name="T34" fmla="*/ 141 w 800"/>
                <a:gd name="T35" fmla="*/ 93 h 799"/>
                <a:gd name="T36" fmla="*/ 93 w 800"/>
                <a:gd name="T37" fmla="*/ 140 h 799"/>
                <a:gd name="T38" fmla="*/ 172 w 800"/>
                <a:gd name="T39" fmla="*/ 297 h 799"/>
                <a:gd name="T40" fmla="*/ 166 w 800"/>
                <a:gd name="T41" fmla="*/ 310 h 799"/>
                <a:gd name="T42" fmla="*/ 0 w 800"/>
                <a:gd name="T43" fmla="*/ 366 h 799"/>
                <a:gd name="T44" fmla="*/ 0 w 800"/>
                <a:gd name="T45" fmla="*/ 433 h 799"/>
                <a:gd name="T46" fmla="*/ 166 w 800"/>
                <a:gd name="T47" fmla="*/ 488 h 799"/>
                <a:gd name="T48" fmla="*/ 172 w 800"/>
                <a:gd name="T49" fmla="*/ 502 h 799"/>
                <a:gd name="T50" fmla="*/ 93 w 800"/>
                <a:gd name="T51" fmla="*/ 659 h 799"/>
                <a:gd name="T52" fmla="*/ 141 w 800"/>
                <a:gd name="T53" fmla="*/ 706 h 799"/>
                <a:gd name="T54" fmla="*/ 297 w 800"/>
                <a:gd name="T55" fmla="*/ 627 h 799"/>
                <a:gd name="T56" fmla="*/ 311 w 800"/>
                <a:gd name="T57" fmla="*/ 633 h 799"/>
                <a:gd name="T58" fmla="*/ 366 w 800"/>
                <a:gd name="T59" fmla="*/ 799 h 799"/>
                <a:gd name="T60" fmla="*/ 433 w 800"/>
                <a:gd name="T61" fmla="*/ 799 h 799"/>
                <a:gd name="T62" fmla="*/ 488 w 800"/>
                <a:gd name="T63" fmla="*/ 633 h 799"/>
                <a:gd name="T64" fmla="*/ 502 w 800"/>
                <a:gd name="T65" fmla="*/ 627 h 799"/>
                <a:gd name="T66" fmla="*/ 659 w 800"/>
                <a:gd name="T67" fmla="*/ 706 h 799"/>
                <a:gd name="T68" fmla="*/ 706 w 800"/>
                <a:gd name="T69" fmla="*/ 658 h 799"/>
                <a:gd name="T70" fmla="*/ 627 w 800"/>
                <a:gd name="T71" fmla="*/ 502 h 799"/>
                <a:gd name="T72" fmla="*/ 633 w 800"/>
                <a:gd name="T73" fmla="*/ 488 h 799"/>
                <a:gd name="T74" fmla="*/ 800 w 800"/>
                <a:gd name="T75" fmla="*/ 43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799">
                  <a:moveTo>
                    <a:pt x="400" y="583"/>
                  </a:moveTo>
                  <a:cubicBezTo>
                    <a:pt x="298" y="583"/>
                    <a:pt x="216" y="501"/>
                    <a:pt x="216" y="400"/>
                  </a:cubicBezTo>
                  <a:cubicBezTo>
                    <a:pt x="216" y="298"/>
                    <a:pt x="298" y="216"/>
                    <a:pt x="400" y="216"/>
                  </a:cubicBezTo>
                  <a:cubicBezTo>
                    <a:pt x="501" y="216"/>
                    <a:pt x="583" y="298"/>
                    <a:pt x="583" y="400"/>
                  </a:cubicBezTo>
                  <a:cubicBezTo>
                    <a:pt x="583" y="501"/>
                    <a:pt x="501" y="583"/>
                    <a:pt x="400" y="583"/>
                  </a:cubicBezTo>
                  <a:moveTo>
                    <a:pt x="800" y="433"/>
                  </a:moveTo>
                  <a:lnTo>
                    <a:pt x="800" y="366"/>
                  </a:lnTo>
                  <a:lnTo>
                    <a:pt x="633" y="311"/>
                  </a:lnTo>
                  <a:cubicBezTo>
                    <a:pt x="631" y="306"/>
                    <a:pt x="629" y="302"/>
                    <a:pt x="627" y="297"/>
                  </a:cubicBezTo>
                  <a:lnTo>
                    <a:pt x="706" y="140"/>
                  </a:lnTo>
                  <a:lnTo>
                    <a:pt x="659" y="93"/>
                  </a:lnTo>
                  <a:lnTo>
                    <a:pt x="502" y="172"/>
                  </a:lnTo>
                  <a:cubicBezTo>
                    <a:pt x="497" y="170"/>
                    <a:pt x="493" y="168"/>
                    <a:pt x="489" y="166"/>
                  </a:cubicBezTo>
                  <a:lnTo>
                    <a:pt x="433" y="0"/>
                  </a:lnTo>
                  <a:lnTo>
                    <a:pt x="366" y="0"/>
                  </a:lnTo>
                  <a:lnTo>
                    <a:pt x="311" y="166"/>
                  </a:lnTo>
                  <a:cubicBezTo>
                    <a:pt x="306" y="168"/>
                    <a:pt x="302" y="170"/>
                    <a:pt x="298" y="172"/>
                  </a:cubicBezTo>
                  <a:lnTo>
                    <a:pt x="141" y="93"/>
                  </a:lnTo>
                  <a:lnTo>
                    <a:pt x="93" y="140"/>
                  </a:lnTo>
                  <a:lnTo>
                    <a:pt x="172" y="297"/>
                  </a:lnTo>
                  <a:cubicBezTo>
                    <a:pt x="170" y="302"/>
                    <a:pt x="168" y="306"/>
                    <a:pt x="166" y="310"/>
                  </a:cubicBezTo>
                  <a:lnTo>
                    <a:pt x="0" y="366"/>
                  </a:lnTo>
                  <a:lnTo>
                    <a:pt x="0" y="433"/>
                  </a:lnTo>
                  <a:lnTo>
                    <a:pt x="166" y="488"/>
                  </a:lnTo>
                  <a:cubicBezTo>
                    <a:pt x="168" y="493"/>
                    <a:pt x="170" y="497"/>
                    <a:pt x="172" y="502"/>
                  </a:cubicBezTo>
                  <a:lnTo>
                    <a:pt x="93" y="659"/>
                  </a:lnTo>
                  <a:lnTo>
                    <a:pt x="141" y="706"/>
                  </a:lnTo>
                  <a:lnTo>
                    <a:pt x="297" y="627"/>
                  </a:lnTo>
                  <a:cubicBezTo>
                    <a:pt x="302" y="629"/>
                    <a:pt x="306" y="631"/>
                    <a:pt x="311" y="633"/>
                  </a:cubicBezTo>
                  <a:lnTo>
                    <a:pt x="366" y="799"/>
                  </a:lnTo>
                  <a:lnTo>
                    <a:pt x="433" y="799"/>
                  </a:lnTo>
                  <a:lnTo>
                    <a:pt x="488" y="633"/>
                  </a:lnTo>
                  <a:cubicBezTo>
                    <a:pt x="493" y="631"/>
                    <a:pt x="498" y="630"/>
                    <a:pt x="502" y="627"/>
                  </a:cubicBezTo>
                  <a:lnTo>
                    <a:pt x="659" y="706"/>
                  </a:lnTo>
                  <a:lnTo>
                    <a:pt x="706" y="658"/>
                  </a:lnTo>
                  <a:lnTo>
                    <a:pt x="627" y="502"/>
                  </a:lnTo>
                  <a:cubicBezTo>
                    <a:pt x="630" y="497"/>
                    <a:pt x="631" y="493"/>
                    <a:pt x="633" y="488"/>
                  </a:cubicBezTo>
                  <a:lnTo>
                    <a:pt x="800" y="433"/>
                  </a:lnTo>
                  <a:close/>
                </a:path>
              </a:pathLst>
            </a:custGeom>
            <a:solidFill>
              <a:schemeClr val="tx2"/>
            </a:solidFill>
            <a:ln>
              <a:noFill/>
            </a:ln>
          </p:spPr>
          <p:txBody>
            <a:bodyPr vert="horz" wrap="square" lIns="121868" tIns="60933" rIns="121868" bIns="60933" numCol="1" anchor="t" anchorCtr="0" compatLnSpc="1">
              <a:prstTxWarp prst="textNoShape">
                <a:avLst/>
              </a:prstTxWarp>
            </a:bodyPr>
            <a:lstStyle/>
            <a:p>
              <a:pPr marL="0" marR="0" lvl="0" indent="0" algn="l" defTabSz="457086"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grpSp>
      <p:grpSp>
        <p:nvGrpSpPr>
          <p:cNvPr id="78" name="Group 77"/>
          <p:cNvGrpSpPr/>
          <p:nvPr/>
        </p:nvGrpSpPr>
        <p:grpSpPr>
          <a:xfrm>
            <a:off x="885101" y="3621406"/>
            <a:ext cx="389800" cy="430018"/>
            <a:chOff x="966763" y="3176073"/>
            <a:chExt cx="389901" cy="430130"/>
          </a:xfrm>
        </p:grpSpPr>
        <p:sp>
          <p:nvSpPr>
            <p:cNvPr id="79" name="TextBox 78"/>
            <p:cNvSpPr txBox="1"/>
            <p:nvPr/>
          </p:nvSpPr>
          <p:spPr>
            <a:xfrm>
              <a:off x="966763" y="3176073"/>
              <a:ext cx="389901" cy="230866"/>
            </a:xfrm>
            <a:prstGeom prst="rect">
              <a:avLst/>
            </a:prstGeom>
            <a:noFill/>
          </p:spPr>
          <p:txBody>
            <a:bodyPr wrap="none" lIns="91415" tIns="45707" rIns="91415" bIns="45707" rtlCol="0">
              <a:spAutoFit/>
            </a:bodyPr>
            <a:lstStyle/>
            <a:p>
              <a:pPr marL="0" marR="0" lvl="0" indent="0" algn="l"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GUI</a:t>
              </a:r>
            </a:p>
          </p:txBody>
        </p:sp>
        <p:grpSp>
          <p:nvGrpSpPr>
            <p:cNvPr id="80" name="Group 79"/>
            <p:cNvGrpSpPr/>
            <p:nvPr/>
          </p:nvGrpSpPr>
          <p:grpSpPr>
            <a:xfrm>
              <a:off x="989449" y="3388152"/>
              <a:ext cx="331114" cy="218051"/>
              <a:chOff x="989449" y="3388152"/>
              <a:chExt cx="331114" cy="218051"/>
            </a:xfrm>
          </p:grpSpPr>
          <p:sp>
            <p:nvSpPr>
              <p:cNvPr id="81" name="Freeform 9463"/>
              <p:cNvSpPr>
                <a:spLocks noEditPoints="1"/>
              </p:cNvSpPr>
              <p:nvPr/>
            </p:nvSpPr>
            <p:spPr bwMode="auto">
              <a:xfrm>
                <a:off x="989449" y="3388152"/>
                <a:ext cx="331114" cy="218051"/>
              </a:xfrm>
              <a:custGeom>
                <a:avLst/>
                <a:gdLst>
                  <a:gd name="T0" fmla="*/ 184 w 192"/>
                  <a:gd name="T1" fmla="*/ 0 h 128"/>
                  <a:gd name="T2" fmla="*/ 8 w 192"/>
                  <a:gd name="T3" fmla="*/ 0 h 128"/>
                  <a:gd name="T4" fmla="*/ 0 w 192"/>
                  <a:gd name="T5" fmla="*/ 8 h 128"/>
                  <a:gd name="T6" fmla="*/ 0 w 192"/>
                  <a:gd name="T7" fmla="*/ 120 h 128"/>
                  <a:gd name="T8" fmla="*/ 8 w 192"/>
                  <a:gd name="T9" fmla="*/ 128 h 128"/>
                  <a:gd name="T10" fmla="*/ 184 w 192"/>
                  <a:gd name="T11" fmla="*/ 128 h 128"/>
                  <a:gd name="T12" fmla="*/ 192 w 192"/>
                  <a:gd name="T13" fmla="*/ 120 h 128"/>
                  <a:gd name="T14" fmla="*/ 192 w 192"/>
                  <a:gd name="T15" fmla="*/ 8 h 128"/>
                  <a:gd name="T16" fmla="*/ 184 w 192"/>
                  <a:gd name="T17" fmla="*/ 0 h 128"/>
                  <a:gd name="T18" fmla="*/ 170 w 192"/>
                  <a:gd name="T19" fmla="*/ 8 h 128"/>
                  <a:gd name="T20" fmla="*/ 176 w 192"/>
                  <a:gd name="T21" fmla="*/ 14 h 128"/>
                  <a:gd name="T22" fmla="*/ 170 w 192"/>
                  <a:gd name="T23" fmla="*/ 20 h 128"/>
                  <a:gd name="T24" fmla="*/ 164 w 192"/>
                  <a:gd name="T25" fmla="*/ 14 h 128"/>
                  <a:gd name="T26" fmla="*/ 170 w 192"/>
                  <a:gd name="T27" fmla="*/ 8 h 128"/>
                  <a:gd name="T28" fmla="*/ 150 w 192"/>
                  <a:gd name="T29" fmla="*/ 8 h 128"/>
                  <a:gd name="T30" fmla="*/ 156 w 192"/>
                  <a:gd name="T31" fmla="*/ 14 h 128"/>
                  <a:gd name="T32" fmla="*/ 150 w 192"/>
                  <a:gd name="T33" fmla="*/ 20 h 128"/>
                  <a:gd name="T34" fmla="*/ 144 w 192"/>
                  <a:gd name="T35" fmla="*/ 14 h 128"/>
                  <a:gd name="T36" fmla="*/ 150 w 192"/>
                  <a:gd name="T37" fmla="*/ 8 h 128"/>
                  <a:gd name="T38" fmla="*/ 130 w 192"/>
                  <a:gd name="T39" fmla="*/ 8 h 128"/>
                  <a:gd name="T40" fmla="*/ 136 w 192"/>
                  <a:gd name="T41" fmla="*/ 14 h 128"/>
                  <a:gd name="T42" fmla="*/ 130 w 192"/>
                  <a:gd name="T43" fmla="*/ 20 h 128"/>
                  <a:gd name="T44" fmla="*/ 124 w 192"/>
                  <a:gd name="T45" fmla="*/ 14 h 128"/>
                  <a:gd name="T46" fmla="*/ 130 w 192"/>
                  <a:gd name="T47" fmla="*/ 8 h 128"/>
                  <a:gd name="T48" fmla="*/ 176 w 192"/>
                  <a:gd name="T49" fmla="*/ 112 h 128"/>
                  <a:gd name="T50" fmla="*/ 16 w 192"/>
                  <a:gd name="T51" fmla="*/ 112 h 128"/>
                  <a:gd name="T52" fmla="*/ 16 w 192"/>
                  <a:gd name="T53" fmla="*/ 28 h 128"/>
                  <a:gd name="T54" fmla="*/ 176 w 192"/>
                  <a:gd name="T55" fmla="*/ 28 h 128"/>
                  <a:gd name="T56" fmla="*/ 176 w 192"/>
                  <a:gd name="T57"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2" h="128">
                    <a:moveTo>
                      <a:pt x="184" y="0"/>
                    </a:moveTo>
                    <a:cubicBezTo>
                      <a:pt x="8" y="0"/>
                      <a:pt x="8"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170" y="8"/>
                    </a:moveTo>
                    <a:cubicBezTo>
                      <a:pt x="173" y="8"/>
                      <a:pt x="176" y="11"/>
                      <a:pt x="176" y="14"/>
                    </a:cubicBezTo>
                    <a:cubicBezTo>
                      <a:pt x="176" y="17"/>
                      <a:pt x="173" y="20"/>
                      <a:pt x="170" y="20"/>
                    </a:cubicBezTo>
                    <a:cubicBezTo>
                      <a:pt x="167" y="20"/>
                      <a:pt x="164" y="17"/>
                      <a:pt x="164" y="14"/>
                    </a:cubicBezTo>
                    <a:cubicBezTo>
                      <a:pt x="164" y="11"/>
                      <a:pt x="167" y="8"/>
                      <a:pt x="170" y="8"/>
                    </a:cubicBezTo>
                    <a:close/>
                    <a:moveTo>
                      <a:pt x="150" y="8"/>
                    </a:moveTo>
                    <a:cubicBezTo>
                      <a:pt x="153" y="8"/>
                      <a:pt x="156" y="11"/>
                      <a:pt x="156" y="14"/>
                    </a:cubicBezTo>
                    <a:cubicBezTo>
                      <a:pt x="156" y="17"/>
                      <a:pt x="153" y="20"/>
                      <a:pt x="150" y="20"/>
                    </a:cubicBezTo>
                    <a:cubicBezTo>
                      <a:pt x="147" y="20"/>
                      <a:pt x="144" y="17"/>
                      <a:pt x="144" y="14"/>
                    </a:cubicBezTo>
                    <a:cubicBezTo>
                      <a:pt x="144" y="11"/>
                      <a:pt x="147" y="8"/>
                      <a:pt x="150" y="8"/>
                    </a:cubicBezTo>
                    <a:close/>
                    <a:moveTo>
                      <a:pt x="130" y="8"/>
                    </a:moveTo>
                    <a:cubicBezTo>
                      <a:pt x="133" y="8"/>
                      <a:pt x="136" y="11"/>
                      <a:pt x="136" y="14"/>
                    </a:cubicBezTo>
                    <a:cubicBezTo>
                      <a:pt x="136" y="17"/>
                      <a:pt x="133" y="20"/>
                      <a:pt x="130" y="20"/>
                    </a:cubicBezTo>
                    <a:cubicBezTo>
                      <a:pt x="127" y="20"/>
                      <a:pt x="124" y="17"/>
                      <a:pt x="124" y="14"/>
                    </a:cubicBezTo>
                    <a:cubicBezTo>
                      <a:pt x="124" y="11"/>
                      <a:pt x="127" y="8"/>
                      <a:pt x="130" y="8"/>
                    </a:cubicBezTo>
                    <a:close/>
                    <a:moveTo>
                      <a:pt x="176" y="112"/>
                    </a:moveTo>
                    <a:cubicBezTo>
                      <a:pt x="16" y="112"/>
                      <a:pt x="16" y="112"/>
                      <a:pt x="16" y="112"/>
                    </a:cubicBezTo>
                    <a:cubicBezTo>
                      <a:pt x="16" y="28"/>
                      <a:pt x="16" y="28"/>
                      <a:pt x="16" y="28"/>
                    </a:cubicBezTo>
                    <a:cubicBezTo>
                      <a:pt x="176" y="28"/>
                      <a:pt x="176" y="28"/>
                      <a:pt x="176" y="28"/>
                    </a:cubicBezTo>
                    <a:lnTo>
                      <a:pt x="176" y="112"/>
                    </a:lnTo>
                    <a:close/>
                  </a:path>
                </a:pathLst>
              </a:custGeom>
              <a:solidFill>
                <a:schemeClr val="tx2"/>
              </a:solidFill>
              <a:ln>
                <a:noFill/>
              </a:ln>
            </p:spPr>
            <p:txBody>
              <a:bodyPr vert="horz" wrap="square" lIns="91416" tIns="45708" rIns="91416" bIns="45708" numCol="1" anchor="t" anchorCtr="0" compatLnSpc="1">
                <a:prstTxWarp prst="textNoShape">
                  <a:avLst/>
                </a:prstTxWarp>
              </a:bodyPr>
              <a:lstStyle/>
              <a:p>
                <a:pPr marL="0" marR="0" lvl="0" indent="0" algn="l" defTabSz="457086"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sp>
            <p:nvSpPr>
              <p:cNvPr id="82" name="Freeform 9464"/>
              <p:cNvSpPr>
                <a:spLocks/>
              </p:cNvSpPr>
              <p:nvPr/>
            </p:nvSpPr>
            <p:spPr bwMode="auto">
              <a:xfrm>
                <a:off x="1191349" y="3460837"/>
                <a:ext cx="56534" cy="96911"/>
              </a:xfrm>
              <a:custGeom>
                <a:avLst/>
                <a:gdLst>
                  <a:gd name="T0" fmla="*/ 19 w 36"/>
                  <a:gd name="T1" fmla="*/ 58 h 60"/>
                  <a:gd name="T2" fmla="*/ 23 w 36"/>
                  <a:gd name="T3" fmla="*/ 60 h 60"/>
                  <a:gd name="T4" fmla="*/ 25 w 36"/>
                  <a:gd name="T5" fmla="*/ 56 h 60"/>
                  <a:gd name="T6" fmla="*/ 19 w 36"/>
                  <a:gd name="T7" fmla="*/ 42 h 60"/>
                  <a:gd name="T8" fmla="*/ 36 w 36"/>
                  <a:gd name="T9" fmla="*/ 41 h 60"/>
                  <a:gd name="T10" fmla="*/ 0 w 36"/>
                  <a:gd name="T11" fmla="*/ 0 h 60"/>
                  <a:gd name="T12" fmla="*/ 0 w 36"/>
                  <a:gd name="T13" fmla="*/ 55 h 60"/>
                  <a:gd name="T14" fmla="*/ 13 w 36"/>
                  <a:gd name="T15" fmla="*/ 44 h 60"/>
                  <a:gd name="T16" fmla="*/ 19 w 36"/>
                  <a:gd name="T17"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60">
                    <a:moveTo>
                      <a:pt x="19" y="58"/>
                    </a:moveTo>
                    <a:cubicBezTo>
                      <a:pt x="19" y="60"/>
                      <a:pt x="21" y="60"/>
                      <a:pt x="23" y="60"/>
                    </a:cubicBezTo>
                    <a:cubicBezTo>
                      <a:pt x="24" y="59"/>
                      <a:pt x="25" y="57"/>
                      <a:pt x="25" y="56"/>
                    </a:cubicBezTo>
                    <a:cubicBezTo>
                      <a:pt x="19" y="42"/>
                      <a:pt x="19" y="42"/>
                      <a:pt x="19" y="42"/>
                    </a:cubicBezTo>
                    <a:cubicBezTo>
                      <a:pt x="36" y="41"/>
                      <a:pt x="36" y="41"/>
                      <a:pt x="36" y="41"/>
                    </a:cubicBezTo>
                    <a:cubicBezTo>
                      <a:pt x="0" y="0"/>
                      <a:pt x="0" y="0"/>
                      <a:pt x="0" y="0"/>
                    </a:cubicBezTo>
                    <a:cubicBezTo>
                      <a:pt x="0" y="55"/>
                      <a:pt x="0" y="55"/>
                      <a:pt x="0" y="55"/>
                    </a:cubicBezTo>
                    <a:cubicBezTo>
                      <a:pt x="13" y="44"/>
                      <a:pt x="13" y="44"/>
                      <a:pt x="13" y="44"/>
                    </a:cubicBezTo>
                    <a:lnTo>
                      <a:pt x="19" y="58"/>
                    </a:lnTo>
                    <a:close/>
                  </a:path>
                </a:pathLst>
              </a:custGeom>
              <a:solidFill>
                <a:schemeClr val="tx2"/>
              </a:solidFill>
              <a:ln>
                <a:noFill/>
              </a:ln>
            </p:spPr>
            <p:txBody>
              <a:bodyPr vert="horz" wrap="square" lIns="91416" tIns="45708" rIns="91416" bIns="45708" numCol="1" anchor="t" anchorCtr="0" compatLnSpc="1">
                <a:prstTxWarp prst="textNoShape">
                  <a:avLst/>
                </a:prstTxWarp>
              </a:bodyPr>
              <a:lstStyle/>
              <a:p>
                <a:pPr marL="0" marR="0" lvl="0" indent="0" algn="l" defTabSz="457086"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grpSp>
      </p:grpSp>
      <p:sp>
        <p:nvSpPr>
          <p:cNvPr id="85" name="Rectangle 84"/>
          <p:cNvSpPr/>
          <p:nvPr/>
        </p:nvSpPr>
        <p:spPr>
          <a:xfrm rot="16200000">
            <a:off x="1111573" y="3467421"/>
            <a:ext cx="1543063" cy="268731"/>
          </a:xfrm>
          <a:prstGeom prst="rect">
            <a:avLst/>
          </a:prstGeom>
          <a:solidFill>
            <a:schemeClr val="accent5">
              <a:lumMod val="75000"/>
            </a:schemeClr>
          </a:solidFill>
          <a:ln w="3175">
            <a:noFill/>
          </a:ln>
          <a:effectLst/>
        </p:spPr>
        <p:style>
          <a:lnRef idx="3">
            <a:schemeClr val="lt1"/>
          </a:lnRef>
          <a:fillRef idx="1">
            <a:schemeClr val="accent2"/>
          </a:fillRef>
          <a:effectRef idx="1">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Monitoring and Assurance</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Rectangle 49"/>
          <p:cNvSpPr/>
          <p:nvPr/>
        </p:nvSpPr>
        <p:spPr>
          <a:xfrm>
            <a:off x="2333417" y="2795631"/>
            <a:ext cx="4352067" cy="721963"/>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58595B"/>
                </a:solidFill>
                <a:effectLst/>
                <a:uLnTx/>
                <a:uFillTx/>
                <a:latin typeface="Arial"/>
                <a:ea typeface="+mn-ea"/>
                <a:cs typeface="+mn-cs"/>
              </a:rPr>
              <a:t>Virtual </a:t>
            </a:r>
            <a:r>
              <a:rPr kumimoji="0" lang="en-US" sz="1000" b="0" i="0" u="none" strike="noStrike" kern="1200" cap="none" spc="0" normalizeH="0" baseline="0" noProof="0" dirty="0">
                <a:ln>
                  <a:noFill/>
                </a:ln>
                <a:solidFill>
                  <a:srgbClr val="58595B"/>
                </a:solidFill>
                <a:effectLst/>
                <a:uLnTx/>
                <a:uFillTx/>
                <a:latin typeface="Arial"/>
                <a:ea typeface="+mn-ea"/>
                <a:cs typeface="+mn-cs"/>
              </a:rPr>
              <a:t>Infrastructure</a:t>
            </a:r>
          </a:p>
        </p:txBody>
      </p:sp>
      <p:sp>
        <p:nvSpPr>
          <p:cNvPr id="51" name="Rectangle 50"/>
          <p:cNvSpPr/>
          <p:nvPr/>
        </p:nvSpPr>
        <p:spPr>
          <a:xfrm>
            <a:off x="3859301" y="3040276"/>
            <a:ext cx="1327323" cy="45722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 Storage</a:t>
            </a:r>
          </a:p>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Ceph)</a:t>
            </a:r>
          </a:p>
        </p:txBody>
      </p:sp>
      <p:sp>
        <p:nvSpPr>
          <p:cNvPr id="52" name="Rectangle 51"/>
          <p:cNvSpPr/>
          <p:nvPr/>
        </p:nvSpPr>
        <p:spPr>
          <a:xfrm>
            <a:off x="2410625" y="3040276"/>
            <a:ext cx="1371467" cy="45722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 Compute </a:t>
            </a:r>
          </a:p>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Linux)</a:t>
            </a:r>
          </a:p>
        </p:txBody>
      </p:sp>
      <p:sp>
        <p:nvSpPr>
          <p:cNvPr id="58" name="Rectangle 57"/>
          <p:cNvSpPr/>
          <p:nvPr/>
        </p:nvSpPr>
        <p:spPr>
          <a:xfrm>
            <a:off x="5271804" y="3037844"/>
            <a:ext cx="1328500" cy="45722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 Network</a:t>
            </a:r>
          </a:p>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OVS, VPP, SR-IOV)</a:t>
            </a:r>
          </a:p>
        </p:txBody>
      </p:sp>
      <p:sp>
        <p:nvSpPr>
          <p:cNvPr id="59" name="Rectangle 58"/>
          <p:cNvSpPr/>
          <p:nvPr/>
        </p:nvSpPr>
        <p:spPr>
          <a:xfrm>
            <a:off x="6992982" y="2795629"/>
            <a:ext cx="1383640" cy="959072"/>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ＭＳ Ｐゴシック" charset="0"/>
                <a:cs typeface="+mn-cs"/>
              </a:rPr>
              <a:t>VIM</a:t>
            </a:r>
          </a:p>
        </p:txBody>
      </p:sp>
      <p:sp>
        <p:nvSpPr>
          <p:cNvPr id="63" name="Rectangle 62"/>
          <p:cNvSpPr/>
          <p:nvPr/>
        </p:nvSpPr>
        <p:spPr>
          <a:xfrm>
            <a:off x="4619642" y="2182219"/>
            <a:ext cx="482354" cy="365665"/>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err="1">
                <a:ln>
                  <a:noFill/>
                </a:ln>
                <a:solidFill>
                  <a:srgbClr val="FFFFFF"/>
                </a:solidFill>
                <a:effectLst/>
                <a:uLnTx/>
                <a:uFillTx/>
                <a:latin typeface="Arial"/>
                <a:ea typeface="+mn-ea"/>
                <a:cs typeface="+mn-cs"/>
              </a:rPr>
              <a:t>XRv</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64" name="Rectangle 63"/>
          <p:cNvSpPr/>
          <p:nvPr/>
        </p:nvSpPr>
        <p:spPr>
          <a:xfrm>
            <a:off x="5353588" y="2190567"/>
            <a:ext cx="482354" cy="365665"/>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err="1">
                <a:ln>
                  <a:noFill/>
                </a:ln>
                <a:solidFill>
                  <a:srgbClr val="FFFFFF"/>
                </a:solidFill>
                <a:effectLst/>
                <a:uLnTx/>
                <a:uFillTx/>
                <a:latin typeface="Arial"/>
                <a:ea typeface="+mn-ea"/>
                <a:cs typeface="+mn-cs"/>
              </a:rPr>
              <a:t>vWSA</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03" name="Table 102"/>
          <p:cNvGraphicFramePr>
            <a:graphicFrameLocks noGrp="1"/>
          </p:cNvGraphicFramePr>
          <p:nvPr/>
        </p:nvGraphicFramePr>
        <p:xfrm>
          <a:off x="7056578" y="3030427"/>
          <a:ext cx="1271673" cy="614116"/>
        </p:xfrm>
        <a:graphic>
          <a:graphicData uri="http://schemas.openxmlformats.org/drawingml/2006/table">
            <a:tbl>
              <a:tblPr bandRow="1">
                <a:tableStyleId>{5C22544A-7EE6-4342-B048-85BDC9FD1C3A}</a:tableStyleId>
              </a:tblPr>
              <a:tblGrid>
                <a:gridCol w="1271673">
                  <a:extLst>
                    <a:ext uri="{9D8B030D-6E8A-4147-A177-3AD203B41FA5}">
                      <a16:colId xmlns:a16="http://schemas.microsoft.com/office/drawing/2014/main" val="20000"/>
                    </a:ext>
                  </a:extLst>
                </a:gridCol>
              </a:tblGrid>
              <a:tr h="307058">
                <a:tc>
                  <a:txBody>
                    <a:bodyPr/>
                    <a:lstStyle/>
                    <a:p>
                      <a:pPr marL="0" marR="0" lvl="0" indent="0" algn="l" defTabSz="91420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lumMod val="75000"/>
                            </a:schemeClr>
                          </a:solidFill>
                          <a:effectLst/>
                          <a:uLnTx/>
                          <a:uFillTx/>
                          <a:latin typeface="+mn-lt"/>
                          <a:ea typeface="+mn-ea"/>
                          <a:cs typeface="+mn-cs"/>
                        </a:rPr>
                        <a:t>        Red Hat OSP </a:t>
                      </a:r>
                    </a:p>
                  </a:txBody>
                  <a:tcPr marL="68562" marR="68562" marT="34281" marB="342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7058">
                <a:tc>
                  <a:txBody>
                    <a:bodyPr/>
                    <a:lstStyle/>
                    <a:p>
                      <a:pPr marL="0" marR="0" lvl="0" indent="0" algn="l" defTabSz="914209"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lumMod val="75000"/>
                          </a:schemeClr>
                        </a:solidFill>
                        <a:effectLst/>
                        <a:uLnTx/>
                        <a:uFillTx/>
                        <a:latin typeface="+mn-lt"/>
                        <a:ea typeface="+mn-ea"/>
                        <a:cs typeface="+mn-cs"/>
                      </a:endParaRPr>
                    </a:p>
                  </a:txBody>
                  <a:tcPr marL="68562" marR="68562" marT="34281" marB="342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07" name="Picture 2" descr="C:\Users\spius\Pictures\cisco logo blue gradient.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049089" y="3396751"/>
            <a:ext cx="334465" cy="20568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367394" y="3461788"/>
            <a:ext cx="912429" cy="200055"/>
          </a:xfrm>
          <a:prstGeom prst="rect">
            <a:avLst/>
          </a:prstGeom>
          <a:noFill/>
        </p:spPr>
        <p:txBody>
          <a:bodyPr wrap="none" rtlCol="0">
            <a:spAutoFit/>
          </a:bodyPr>
          <a:lstStyle/>
          <a:p>
            <a:pPr marL="0" marR="0" lvl="0" indent="0" algn="l" defTabSz="457086"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34" charset="-128"/>
                <a:cs typeface="+mn-cs"/>
              </a:rPr>
              <a:t>Lifecycle Manager</a:t>
            </a:r>
          </a:p>
        </p:txBody>
      </p:sp>
      <p:sp>
        <p:nvSpPr>
          <p:cNvPr id="2" name="TextBox 1"/>
          <p:cNvSpPr txBox="1"/>
          <p:nvPr/>
        </p:nvSpPr>
        <p:spPr>
          <a:xfrm>
            <a:off x="7407238" y="3310498"/>
            <a:ext cx="768159" cy="246221"/>
          </a:xfrm>
          <a:prstGeom prst="rect">
            <a:avLst/>
          </a:prstGeom>
          <a:noFill/>
        </p:spPr>
        <p:txBody>
          <a:bodyPr wrap="none" rtlCol="0">
            <a:spAutoFit/>
          </a:bodyPr>
          <a:lstStyle/>
          <a:p>
            <a:pPr marL="0" marR="0" lvl="0" indent="0" algn="l" defTabSz="457086"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34" charset="-128"/>
                <a:cs typeface="+mn-cs"/>
              </a:rPr>
              <a:t>Cisco VIM</a:t>
            </a:r>
          </a:p>
        </p:txBody>
      </p:sp>
      <p:sp>
        <p:nvSpPr>
          <p:cNvPr id="54" name="TextBox 53"/>
          <p:cNvSpPr txBox="1"/>
          <p:nvPr/>
        </p:nvSpPr>
        <p:spPr>
          <a:xfrm>
            <a:off x="8376072" y="4878646"/>
            <a:ext cx="761747" cy="230832"/>
          </a:xfrm>
          <a:prstGeom prst="rect">
            <a:avLst/>
          </a:prstGeom>
          <a:noFill/>
        </p:spPr>
        <p:txBody>
          <a:bodyPr wrap="none" rtlCol="0">
            <a:spAutoFit/>
          </a:bodyPr>
          <a:lstStyle/>
          <a:p>
            <a:pPr marL="0" marR="0" lvl="0" indent="0" algn="l" defTabSz="457086"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panose="020B0604020202020204" pitchFamily="34" charset="0"/>
                <a:ea typeface="ＭＳ Ｐゴシック" panose="020B0600070205080204" pitchFamily="34" charset="-128"/>
                <a:cs typeface="+mn-cs"/>
              </a:rPr>
              <a:t>* Roadmap</a:t>
            </a:r>
          </a:p>
        </p:txBody>
      </p:sp>
    </p:spTree>
    <p:extLst>
      <p:ext uri="{BB962C8B-B14F-4D97-AF65-F5344CB8AC3E}">
        <p14:creationId xmlns:p14="http://schemas.microsoft.com/office/powerpoint/2010/main" val="303799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437766" y="201867"/>
            <a:ext cx="8345488" cy="731837"/>
          </a:xfrm>
        </p:spPr>
        <p:txBody>
          <a:bodyPr/>
          <a:lstStyle/>
          <a:p>
            <a:r>
              <a:rPr lang="en-US" dirty="0">
                <a:latin typeface="Arial"/>
              </a:rPr>
              <a:t>Cisco NFVI Platform Use Cases</a:t>
            </a:r>
          </a:p>
        </p:txBody>
      </p:sp>
      <p:cxnSp>
        <p:nvCxnSpPr>
          <p:cNvPr id="5" name="Straight Arrow Connector 4"/>
          <p:cNvCxnSpPr/>
          <p:nvPr/>
        </p:nvCxnSpPr>
        <p:spPr>
          <a:xfrm>
            <a:off x="3347864" y="2269895"/>
            <a:ext cx="0" cy="39499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a:off x="5846851" y="2269895"/>
            <a:ext cx="0" cy="39499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430446" y="2353296"/>
            <a:ext cx="2318263" cy="246221"/>
          </a:xfrm>
          <a:prstGeom prst="rect">
            <a:avLst/>
          </a:prstGeom>
          <a:noFill/>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rPr>
              <a:t>Open APIs for Platform Consumption </a:t>
            </a:r>
            <a:endParaRPr kumimoji="0" lang="en-US" sz="1000" b="0" i="0" u="none" strike="noStrike" kern="1200" cap="none" spc="0" normalizeH="0" baseline="0" noProof="0" dirty="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sp>
        <p:nvSpPr>
          <p:cNvPr id="68" name="Rectangle 67"/>
          <p:cNvSpPr/>
          <p:nvPr/>
        </p:nvSpPr>
        <p:spPr>
          <a:xfrm>
            <a:off x="2789640" y="1063182"/>
            <a:ext cx="1811162" cy="1156718"/>
          </a:xfrm>
          <a:prstGeom prst="rect">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58688">
                    <a:lumMod val="75000"/>
                  </a:srgbClr>
                </a:solidFill>
                <a:effectLst/>
                <a:uLnTx/>
                <a:uFillTx/>
                <a:latin typeface="Arial"/>
                <a:ea typeface="+mn-ea"/>
                <a:cs typeface="+mn-cs"/>
              </a:rPr>
              <a:t>Mobility</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858688">
                    <a:lumMod val="75000"/>
                  </a:srgbClr>
                </a:solidFill>
                <a:effectLst/>
                <a:uLnTx/>
                <a:uFillTx/>
                <a:latin typeface="Arial"/>
                <a:ea typeface="+mn-ea"/>
                <a:cs typeface="+mn-cs"/>
              </a:rPr>
              <a:t>(e.g. Ultra, IoT)</a:t>
            </a:r>
          </a:p>
        </p:txBody>
      </p:sp>
      <p:sp>
        <p:nvSpPr>
          <p:cNvPr id="69" name="Rectangle 68"/>
          <p:cNvSpPr/>
          <p:nvPr/>
        </p:nvSpPr>
        <p:spPr>
          <a:xfrm>
            <a:off x="695784" y="1063182"/>
            <a:ext cx="1950312" cy="1156718"/>
          </a:xfrm>
          <a:prstGeom prst="rect">
            <a:avLst/>
          </a:prstGeom>
          <a:noFill/>
          <a:ln w="1905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4BAF">
                    <a:lumMod val="60000"/>
                    <a:lumOff val="40000"/>
                  </a:srgbClr>
                </a:solidFill>
                <a:effectLst/>
                <a:uLnTx/>
                <a:uFillTx/>
                <a:latin typeface="Arial"/>
                <a:ea typeface="+mn-ea"/>
                <a:cs typeface="+mn-cs"/>
              </a:rPr>
              <a:t>Business Services</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BAF">
                    <a:lumMod val="60000"/>
                    <a:lumOff val="40000"/>
                  </a:srgbClr>
                </a:solidFill>
                <a:effectLst/>
                <a:uLnTx/>
                <a:uFillTx/>
                <a:latin typeface="Arial"/>
                <a:ea typeface="+mn-ea"/>
                <a:cs typeface="+mn-cs"/>
              </a:rPr>
              <a:t>(e.g. Cisco </a:t>
            </a:r>
            <a:r>
              <a:rPr lang="en-US" sz="1100" dirty="0">
                <a:solidFill>
                  <a:srgbClr val="004BAF">
                    <a:lumMod val="60000"/>
                    <a:lumOff val="40000"/>
                  </a:srgbClr>
                </a:solidFill>
                <a:latin typeface="Arial"/>
              </a:rPr>
              <a:t>MSX</a:t>
            </a:r>
            <a:r>
              <a:rPr kumimoji="0" lang="en-US" sz="1100" b="0" i="0" u="none" strike="noStrike" kern="1200" cap="none" spc="0" normalizeH="0" baseline="0" noProof="0" dirty="0">
                <a:ln>
                  <a:noFill/>
                </a:ln>
                <a:solidFill>
                  <a:srgbClr val="004BAF">
                    <a:lumMod val="60000"/>
                    <a:lumOff val="40000"/>
                  </a:srgbClr>
                </a:solidFill>
                <a:effectLst/>
                <a:uLnTx/>
                <a:uFillTx/>
                <a:latin typeface="Arial"/>
                <a:ea typeface="+mn-ea"/>
                <a:cs typeface="+mn-cs"/>
              </a:rPr>
              <a:t>)</a:t>
            </a:r>
          </a:p>
        </p:txBody>
      </p:sp>
      <p:sp>
        <p:nvSpPr>
          <p:cNvPr id="70" name="Rectangle 69"/>
          <p:cNvSpPr/>
          <p:nvPr/>
        </p:nvSpPr>
        <p:spPr>
          <a:xfrm>
            <a:off x="4744347" y="1063182"/>
            <a:ext cx="1745466" cy="1156718"/>
          </a:xfrm>
          <a:prstGeom prst="rect">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4BAF"/>
                </a:solidFill>
                <a:effectLst/>
                <a:uLnTx/>
                <a:uFillTx/>
                <a:latin typeface="Arial"/>
                <a:ea typeface="+mn-ea"/>
                <a:cs typeface="+mn-cs"/>
              </a:rPr>
              <a:t>Other VNFs</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4BAF"/>
                </a:solidFill>
                <a:effectLst/>
                <a:uLnTx/>
                <a:uFillTx/>
                <a:latin typeface="Arial"/>
                <a:ea typeface="+mn-ea"/>
                <a:cs typeface="+mn-cs"/>
              </a:rPr>
              <a:t>(e.g. Media, </a:t>
            </a:r>
            <a:r>
              <a:rPr kumimoji="0" lang="en-US" sz="1100" b="0" i="0" u="none" strike="noStrike" kern="1200" cap="none" spc="0" normalizeH="0" baseline="0" noProof="0" dirty="0" err="1">
                <a:ln>
                  <a:noFill/>
                </a:ln>
                <a:solidFill>
                  <a:srgbClr val="004BAF"/>
                </a:solidFill>
                <a:effectLst/>
                <a:uLnTx/>
                <a:uFillTx/>
                <a:latin typeface="Arial"/>
                <a:ea typeface="+mn-ea"/>
                <a:cs typeface="+mn-cs"/>
              </a:rPr>
              <a:t>vPE</a:t>
            </a:r>
            <a:r>
              <a:rPr kumimoji="0" lang="en-US" sz="1100" b="0" i="0" u="none" strike="noStrike" kern="1200" cap="none" spc="0" normalizeH="0" baseline="0" noProof="0" dirty="0">
                <a:ln>
                  <a:noFill/>
                </a:ln>
                <a:solidFill>
                  <a:srgbClr val="004BAF"/>
                </a:solidFill>
                <a:effectLst/>
                <a:uLnTx/>
                <a:uFillTx/>
                <a:latin typeface="Arial"/>
                <a:ea typeface="+mn-ea"/>
                <a:cs typeface="+mn-cs"/>
              </a:rPr>
              <a:t>/</a:t>
            </a:r>
            <a:r>
              <a:rPr kumimoji="0" lang="en-US" sz="1100" b="0" i="0" u="none" strike="noStrike" kern="1200" cap="none" spc="0" normalizeH="0" baseline="0" noProof="0" dirty="0" err="1">
                <a:ln>
                  <a:noFill/>
                </a:ln>
                <a:solidFill>
                  <a:srgbClr val="004BAF"/>
                </a:solidFill>
                <a:effectLst/>
                <a:uLnTx/>
                <a:uFillTx/>
                <a:latin typeface="Arial"/>
                <a:ea typeface="+mn-ea"/>
                <a:cs typeface="+mn-cs"/>
              </a:rPr>
              <a:t>vBNG</a:t>
            </a:r>
            <a:r>
              <a:rPr kumimoji="0" lang="en-US" sz="1100" b="0" i="0" u="none" strike="noStrike" kern="1200" cap="none" spc="0" normalizeH="0" baseline="0" noProof="0" dirty="0">
                <a:ln>
                  <a:noFill/>
                </a:ln>
                <a:solidFill>
                  <a:srgbClr val="004BAF"/>
                </a:solidFill>
                <a:effectLst/>
                <a:uLnTx/>
                <a:uFillTx/>
                <a:latin typeface="Arial"/>
                <a:ea typeface="+mn-ea"/>
                <a:cs typeface="+mn-cs"/>
              </a:rPr>
              <a:t>)</a:t>
            </a:r>
          </a:p>
        </p:txBody>
      </p:sp>
      <p:grpSp>
        <p:nvGrpSpPr>
          <p:cNvPr id="71" name="Group 70"/>
          <p:cNvGrpSpPr>
            <a:grpSpLocks noChangeAspect="1"/>
          </p:cNvGrpSpPr>
          <p:nvPr/>
        </p:nvGrpSpPr>
        <p:grpSpPr>
          <a:xfrm>
            <a:off x="1427697" y="1158351"/>
            <a:ext cx="426514" cy="426622"/>
            <a:chOff x="2143129" y="1486207"/>
            <a:chExt cx="495183" cy="495312"/>
          </a:xfrm>
        </p:grpSpPr>
        <p:sp>
          <p:nvSpPr>
            <p:cNvPr id="72" name="Oval 71"/>
            <p:cNvSpPr/>
            <p:nvPr/>
          </p:nvSpPr>
          <p:spPr>
            <a:xfrm>
              <a:off x="2143129" y="1486207"/>
              <a:ext cx="495183" cy="495312"/>
            </a:xfrm>
            <a:prstGeom prst="ellipse">
              <a:avLst/>
            </a:prstGeom>
            <a:noFill/>
            <a:ln w="19050" cap="flat" cmpd="sng" algn="ctr">
              <a:solidFill>
                <a:schemeClr val="accent1">
                  <a:lumMod val="60000"/>
                  <a:lumOff val="40000"/>
                </a:schemeClr>
              </a:solidFill>
              <a:prstDash val="sysDot"/>
            </a:ln>
            <a:effectLst/>
          </p:spPr>
          <p:txBody>
            <a:bodyPr lIns="121893" tIns="60947" rIns="121893" bIns="60947" rtlCol="0" anchor="ctr"/>
            <a:lstStyle/>
            <a:p>
              <a:pPr marL="0" marR="0" lvl="0" indent="0" algn="ctr" defTabSz="1217062"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ea typeface="Arial"/>
                <a:cs typeface="Arial"/>
              </a:endParaRPr>
            </a:p>
          </p:txBody>
        </p:sp>
        <p:sp>
          <p:nvSpPr>
            <p:cNvPr id="73" name="Oval 72"/>
            <p:cNvSpPr/>
            <p:nvPr/>
          </p:nvSpPr>
          <p:spPr>
            <a:xfrm>
              <a:off x="2282219" y="1625334"/>
              <a:ext cx="217002" cy="217059"/>
            </a:xfrm>
            <a:prstGeom prst="ellipse">
              <a:avLst/>
            </a:prstGeom>
            <a:solidFill>
              <a:schemeClr val="accent1">
                <a:lumMod val="60000"/>
                <a:lumOff val="40000"/>
              </a:schemeClr>
            </a:solidFill>
            <a:ln w="9525">
              <a:noFill/>
              <a:round/>
              <a:headEnd/>
              <a:tailEnd/>
            </a:ln>
          </p:spPr>
          <p:txBody>
            <a:bodyPr vert="horz" wrap="square" lIns="121893" tIns="60947" rIns="121893" bIns="60947" numCol="1" anchor="t" anchorCtr="0" compatLnSpc="1">
              <a:prstTxWarp prst="textNoShape">
                <a:avLst/>
              </a:prstTxWarp>
            </a:bodyPr>
            <a:lstStyle/>
            <a:p>
              <a:pPr marL="0" marR="0" lvl="0" indent="0" algn="l" defTabSz="1217062"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ea typeface="Arial"/>
                <a:cs typeface="Arial"/>
              </a:endParaRPr>
            </a:p>
          </p:txBody>
        </p:sp>
      </p:grpSp>
      <p:sp>
        <p:nvSpPr>
          <p:cNvPr id="74" name="Freeform 26"/>
          <p:cNvSpPr>
            <a:spLocks noEditPoints="1"/>
          </p:cNvSpPr>
          <p:nvPr/>
        </p:nvSpPr>
        <p:spPr bwMode="auto">
          <a:xfrm>
            <a:off x="3604611" y="1158351"/>
            <a:ext cx="235628" cy="426622"/>
          </a:xfrm>
          <a:custGeom>
            <a:avLst/>
            <a:gdLst>
              <a:gd name="T0" fmla="*/ 74 w 88"/>
              <a:gd name="T1" fmla="*/ 0 h 160"/>
              <a:gd name="T2" fmla="*/ 14 w 88"/>
              <a:gd name="T3" fmla="*/ 0 h 160"/>
              <a:gd name="T4" fmla="*/ 0 w 88"/>
              <a:gd name="T5" fmla="*/ 13 h 160"/>
              <a:gd name="T6" fmla="*/ 0 w 88"/>
              <a:gd name="T7" fmla="*/ 147 h 160"/>
              <a:gd name="T8" fmla="*/ 14 w 88"/>
              <a:gd name="T9" fmla="*/ 160 h 160"/>
              <a:gd name="T10" fmla="*/ 74 w 88"/>
              <a:gd name="T11" fmla="*/ 160 h 160"/>
              <a:gd name="T12" fmla="*/ 88 w 88"/>
              <a:gd name="T13" fmla="*/ 147 h 160"/>
              <a:gd name="T14" fmla="*/ 88 w 88"/>
              <a:gd name="T15" fmla="*/ 13 h 160"/>
              <a:gd name="T16" fmla="*/ 74 w 88"/>
              <a:gd name="T17" fmla="*/ 0 h 160"/>
              <a:gd name="T18" fmla="*/ 25 w 88"/>
              <a:gd name="T19" fmla="*/ 7 h 160"/>
              <a:gd name="T20" fmla="*/ 27 w 88"/>
              <a:gd name="T21" fmla="*/ 5 h 160"/>
              <a:gd name="T22" fmla="*/ 61 w 88"/>
              <a:gd name="T23" fmla="*/ 5 h 160"/>
              <a:gd name="T24" fmla="*/ 63 w 88"/>
              <a:gd name="T25" fmla="*/ 7 h 160"/>
              <a:gd name="T26" fmla="*/ 63 w 88"/>
              <a:gd name="T27" fmla="*/ 8 h 160"/>
              <a:gd name="T28" fmla="*/ 61 w 88"/>
              <a:gd name="T29" fmla="*/ 9 h 160"/>
              <a:gd name="T30" fmla="*/ 27 w 88"/>
              <a:gd name="T31" fmla="*/ 9 h 160"/>
              <a:gd name="T32" fmla="*/ 25 w 88"/>
              <a:gd name="T33" fmla="*/ 8 h 160"/>
              <a:gd name="T34" fmla="*/ 25 w 88"/>
              <a:gd name="T35" fmla="*/ 7 h 160"/>
              <a:gd name="T36" fmla="*/ 44 w 88"/>
              <a:gd name="T37" fmla="*/ 154 h 160"/>
              <a:gd name="T38" fmla="*/ 36 w 88"/>
              <a:gd name="T39" fmla="*/ 146 h 160"/>
              <a:gd name="T40" fmla="*/ 44 w 88"/>
              <a:gd name="T41" fmla="*/ 139 h 160"/>
              <a:gd name="T42" fmla="*/ 52 w 88"/>
              <a:gd name="T43" fmla="*/ 146 h 160"/>
              <a:gd name="T44" fmla="*/ 44 w 88"/>
              <a:gd name="T45" fmla="*/ 154 h 160"/>
              <a:gd name="T46" fmla="*/ 81 w 88"/>
              <a:gd name="T47" fmla="*/ 133 h 160"/>
              <a:gd name="T48" fmla="*/ 80 w 88"/>
              <a:gd name="T49" fmla="*/ 134 h 160"/>
              <a:gd name="T50" fmla="*/ 8 w 88"/>
              <a:gd name="T51" fmla="*/ 134 h 160"/>
              <a:gd name="T52" fmla="*/ 7 w 88"/>
              <a:gd name="T53" fmla="*/ 133 h 160"/>
              <a:gd name="T54" fmla="*/ 7 w 88"/>
              <a:gd name="T55" fmla="*/ 16 h 160"/>
              <a:gd name="T56" fmla="*/ 8 w 88"/>
              <a:gd name="T57" fmla="*/ 15 h 160"/>
              <a:gd name="T58" fmla="*/ 80 w 88"/>
              <a:gd name="T59" fmla="*/ 15 h 160"/>
              <a:gd name="T60" fmla="*/ 81 w 88"/>
              <a:gd name="T61" fmla="*/ 16 h 160"/>
              <a:gd name="T62" fmla="*/ 81 w 88"/>
              <a:gd name="T63" fmla="*/ 13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160">
                <a:moveTo>
                  <a:pt x="74" y="0"/>
                </a:moveTo>
                <a:cubicBezTo>
                  <a:pt x="14" y="0"/>
                  <a:pt x="14" y="0"/>
                  <a:pt x="14" y="0"/>
                </a:cubicBezTo>
                <a:cubicBezTo>
                  <a:pt x="6" y="0"/>
                  <a:pt x="0" y="6"/>
                  <a:pt x="0" y="13"/>
                </a:cubicBezTo>
                <a:cubicBezTo>
                  <a:pt x="0" y="147"/>
                  <a:pt x="0" y="147"/>
                  <a:pt x="0" y="147"/>
                </a:cubicBezTo>
                <a:cubicBezTo>
                  <a:pt x="0" y="154"/>
                  <a:pt x="6" y="160"/>
                  <a:pt x="14" y="160"/>
                </a:cubicBezTo>
                <a:cubicBezTo>
                  <a:pt x="74" y="160"/>
                  <a:pt x="74" y="160"/>
                  <a:pt x="74" y="160"/>
                </a:cubicBezTo>
                <a:cubicBezTo>
                  <a:pt x="82" y="160"/>
                  <a:pt x="88" y="154"/>
                  <a:pt x="88" y="147"/>
                </a:cubicBezTo>
                <a:cubicBezTo>
                  <a:pt x="88" y="13"/>
                  <a:pt x="88" y="13"/>
                  <a:pt x="88" y="13"/>
                </a:cubicBezTo>
                <a:cubicBezTo>
                  <a:pt x="88" y="6"/>
                  <a:pt x="82" y="0"/>
                  <a:pt x="74" y="0"/>
                </a:cubicBezTo>
                <a:close/>
                <a:moveTo>
                  <a:pt x="25" y="7"/>
                </a:moveTo>
                <a:cubicBezTo>
                  <a:pt x="25" y="6"/>
                  <a:pt x="26" y="5"/>
                  <a:pt x="27" y="5"/>
                </a:cubicBezTo>
                <a:cubicBezTo>
                  <a:pt x="61" y="5"/>
                  <a:pt x="61" y="5"/>
                  <a:pt x="61" y="5"/>
                </a:cubicBezTo>
                <a:cubicBezTo>
                  <a:pt x="62" y="5"/>
                  <a:pt x="63" y="6"/>
                  <a:pt x="63" y="7"/>
                </a:cubicBezTo>
                <a:cubicBezTo>
                  <a:pt x="63" y="8"/>
                  <a:pt x="63" y="8"/>
                  <a:pt x="63" y="8"/>
                </a:cubicBezTo>
                <a:cubicBezTo>
                  <a:pt x="63" y="9"/>
                  <a:pt x="62" y="9"/>
                  <a:pt x="61" y="9"/>
                </a:cubicBezTo>
                <a:cubicBezTo>
                  <a:pt x="27" y="9"/>
                  <a:pt x="27" y="9"/>
                  <a:pt x="27" y="9"/>
                </a:cubicBezTo>
                <a:cubicBezTo>
                  <a:pt x="26" y="9"/>
                  <a:pt x="25" y="9"/>
                  <a:pt x="25" y="8"/>
                </a:cubicBezTo>
                <a:lnTo>
                  <a:pt x="25" y="7"/>
                </a:lnTo>
                <a:close/>
                <a:moveTo>
                  <a:pt x="44" y="154"/>
                </a:moveTo>
                <a:cubicBezTo>
                  <a:pt x="40" y="154"/>
                  <a:pt x="36" y="151"/>
                  <a:pt x="36" y="146"/>
                </a:cubicBezTo>
                <a:cubicBezTo>
                  <a:pt x="36" y="142"/>
                  <a:pt x="40" y="139"/>
                  <a:pt x="44" y="139"/>
                </a:cubicBezTo>
                <a:cubicBezTo>
                  <a:pt x="48" y="139"/>
                  <a:pt x="52" y="142"/>
                  <a:pt x="52" y="146"/>
                </a:cubicBezTo>
                <a:cubicBezTo>
                  <a:pt x="52" y="151"/>
                  <a:pt x="48" y="154"/>
                  <a:pt x="44" y="154"/>
                </a:cubicBezTo>
                <a:close/>
                <a:moveTo>
                  <a:pt x="81" y="133"/>
                </a:moveTo>
                <a:cubicBezTo>
                  <a:pt x="81" y="134"/>
                  <a:pt x="81" y="134"/>
                  <a:pt x="80" y="134"/>
                </a:cubicBezTo>
                <a:cubicBezTo>
                  <a:pt x="8" y="134"/>
                  <a:pt x="8" y="134"/>
                  <a:pt x="8" y="134"/>
                </a:cubicBezTo>
                <a:cubicBezTo>
                  <a:pt x="7" y="134"/>
                  <a:pt x="7" y="134"/>
                  <a:pt x="7" y="133"/>
                </a:cubicBezTo>
                <a:cubicBezTo>
                  <a:pt x="7" y="16"/>
                  <a:pt x="7" y="16"/>
                  <a:pt x="7" y="16"/>
                </a:cubicBezTo>
                <a:cubicBezTo>
                  <a:pt x="7" y="16"/>
                  <a:pt x="7" y="15"/>
                  <a:pt x="8" y="15"/>
                </a:cubicBezTo>
                <a:cubicBezTo>
                  <a:pt x="80" y="15"/>
                  <a:pt x="80" y="15"/>
                  <a:pt x="80" y="15"/>
                </a:cubicBezTo>
                <a:cubicBezTo>
                  <a:pt x="81" y="15"/>
                  <a:pt x="81" y="16"/>
                  <a:pt x="81" y="16"/>
                </a:cubicBezTo>
                <a:lnTo>
                  <a:pt x="81" y="133"/>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282" rtl="0" eaLnBrk="0" fontAlgn="base" latinLnBrk="0" hangingPunct="0">
              <a:lnSpc>
                <a:spcPct val="100000"/>
              </a:lnSpc>
              <a:spcBef>
                <a:spcPct val="0"/>
              </a:spcBef>
              <a:spcAft>
                <a:spcPct val="0"/>
              </a:spcAft>
              <a:buClrTx/>
              <a:buSzTx/>
              <a:buFontTx/>
              <a:buNone/>
              <a:tabLst/>
              <a:defRPr/>
            </a:pPr>
            <a:endParaRPr kumimoji="0" lang="en-US" sz="2100"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sp>
        <p:nvSpPr>
          <p:cNvPr id="75" name="Freeform 25"/>
          <p:cNvSpPr>
            <a:spLocks noChangeAspect="1"/>
          </p:cNvSpPr>
          <p:nvPr/>
        </p:nvSpPr>
        <p:spPr bwMode="auto">
          <a:xfrm>
            <a:off x="5436265" y="1238599"/>
            <a:ext cx="410586" cy="284416"/>
          </a:xfrm>
          <a:custGeom>
            <a:avLst/>
            <a:gdLst>
              <a:gd name="T0" fmla="*/ 767 w 767"/>
              <a:gd name="T1" fmla="*/ 66 h 533"/>
              <a:gd name="T2" fmla="*/ 534 w 767"/>
              <a:gd name="T3" fmla="*/ 204 h 533"/>
              <a:gd name="T4" fmla="*/ 534 w 767"/>
              <a:gd name="T5" fmla="*/ 33 h 533"/>
              <a:gd name="T6" fmla="*/ 500 w 767"/>
              <a:gd name="T7" fmla="*/ 0 h 533"/>
              <a:gd name="T8" fmla="*/ 34 w 767"/>
              <a:gd name="T9" fmla="*/ 0 h 533"/>
              <a:gd name="T10" fmla="*/ 0 w 767"/>
              <a:gd name="T11" fmla="*/ 33 h 533"/>
              <a:gd name="T12" fmla="*/ 0 w 767"/>
              <a:gd name="T13" fmla="*/ 500 h 533"/>
              <a:gd name="T14" fmla="*/ 34 w 767"/>
              <a:gd name="T15" fmla="*/ 533 h 533"/>
              <a:gd name="T16" fmla="*/ 500 w 767"/>
              <a:gd name="T17" fmla="*/ 533 h 533"/>
              <a:gd name="T18" fmla="*/ 534 w 767"/>
              <a:gd name="T19" fmla="*/ 500 h 533"/>
              <a:gd name="T20" fmla="*/ 534 w 767"/>
              <a:gd name="T21" fmla="*/ 329 h 533"/>
              <a:gd name="T22" fmla="*/ 767 w 767"/>
              <a:gd name="T23" fmla="*/ 466 h 533"/>
              <a:gd name="T24" fmla="*/ 767 w 767"/>
              <a:gd name="T25" fmla="*/ 66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7" h="533">
                <a:moveTo>
                  <a:pt x="767" y="66"/>
                </a:moveTo>
                <a:cubicBezTo>
                  <a:pt x="767" y="66"/>
                  <a:pt x="615" y="156"/>
                  <a:pt x="534" y="204"/>
                </a:cubicBezTo>
                <a:lnTo>
                  <a:pt x="534" y="33"/>
                </a:lnTo>
                <a:cubicBezTo>
                  <a:pt x="534" y="15"/>
                  <a:pt x="519" y="0"/>
                  <a:pt x="500" y="0"/>
                </a:cubicBezTo>
                <a:lnTo>
                  <a:pt x="34" y="0"/>
                </a:lnTo>
                <a:cubicBezTo>
                  <a:pt x="15" y="0"/>
                  <a:pt x="0" y="15"/>
                  <a:pt x="0" y="33"/>
                </a:cubicBezTo>
                <a:lnTo>
                  <a:pt x="0" y="500"/>
                </a:lnTo>
                <a:cubicBezTo>
                  <a:pt x="0" y="518"/>
                  <a:pt x="15" y="533"/>
                  <a:pt x="34" y="533"/>
                </a:cubicBezTo>
                <a:lnTo>
                  <a:pt x="500" y="533"/>
                </a:lnTo>
                <a:cubicBezTo>
                  <a:pt x="519" y="533"/>
                  <a:pt x="534" y="518"/>
                  <a:pt x="534" y="500"/>
                </a:cubicBezTo>
                <a:lnTo>
                  <a:pt x="534" y="329"/>
                </a:lnTo>
                <a:cubicBezTo>
                  <a:pt x="615" y="377"/>
                  <a:pt x="767" y="466"/>
                  <a:pt x="767" y="466"/>
                </a:cubicBezTo>
                <a:lnTo>
                  <a:pt x="767" y="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sp>
        <p:nvSpPr>
          <p:cNvPr id="76" name="Rectangle 75"/>
          <p:cNvSpPr/>
          <p:nvPr/>
        </p:nvSpPr>
        <p:spPr>
          <a:xfrm>
            <a:off x="6624637" y="1061365"/>
            <a:ext cx="1745466" cy="1156718"/>
          </a:xfrm>
          <a:prstGeom prst="rect">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4BAF"/>
                </a:solidFill>
                <a:effectLst/>
                <a:uLnTx/>
                <a:uFillTx/>
                <a:latin typeface="Arial"/>
                <a:ea typeface="+mn-ea"/>
                <a:cs typeface="+mn-cs"/>
              </a:rPr>
              <a:t>3</a:t>
            </a:r>
            <a:r>
              <a:rPr kumimoji="0" lang="en-US" sz="1800" b="0" i="0" u="none" strike="noStrike" kern="1200" cap="none" spc="0" normalizeH="0" baseline="30000" noProof="0" dirty="0">
                <a:ln>
                  <a:noFill/>
                </a:ln>
                <a:solidFill>
                  <a:srgbClr val="004BAF"/>
                </a:solidFill>
                <a:effectLst/>
                <a:uLnTx/>
                <a:uFillTx/>
                <a:latin typeface="Arial"/>
                <a:ea typeface="+mn-ea"/>
                <a:cs typeface="+mn-cs"/>
              </a:rPr>
              <a:t>rd</a:t>
            </a:r>
            <a:r>
              <a:rPr kumimoji="0" lang="en-US" sz="1800" b="0" i="0" u="none" strike="noStrike" kern="1200" cap="none" spc="0" normalizeH="0" baseline="0" noProof="0" dirty="0">
                <a:ln>
                  <a:noFill/>
                </a:ln>
                <a:solidFill>
                  <a:srgbClr val="004BAF"/>
                </a:solidFill>
                <a:effectLst/>
                <a:uLnTx/>
                <a:uFillTx/>
                <a:latin typeface="Arial"/>
                <a:ea typeface="+mn-ea"/>
                <a:cs typeface="+mn-cs"/>
              </a:rPr>
              <a:t> party VNFs </a:t>
            </a:r>
            <a:r>
              <a:rPr kumimoji="0" lang="en-US" sz="1100" b="0" i="0" u="none" strike="noStrike" kern="1200" cap="none" spc="0" normalizeH="0" baseline="0" noProof="0" dirty="0">
                <a:ln>
                  <a:noFill/>
                </a:ln>
                <a:solidFill>
                  <a:srgbClr val="004BAF"/>
                </a:solidFill>
                <a:effectLst/>
                <a:uLnTx/>
                <a:uFillTx/>
                <a:latin typeface="Arial"/>
                <a:ea typeface="+mn-ea"/>
                <a:cs typeface="+mn-cs"/>
              </a:rPr>
              <a:t>(e.g. </a:t>
            </a:r>
            <a:r>
              <a:rPr kumimoji="0" lang="en-US" sz="1100" b="0" i="0" u="none" strike="noStrike" kern="1200" cap="none" spc="0" normalizeH="0" baseline="0" noProof="0" dirty="0" err="1">
                <a:ln>
                  <a:noFill/>
                </a:ln>
                <a:solidFill>
                  <a:srgbClr val="004BAF"/>
                </a:solidFill>
                <a:effectLst/>
                <a:uLnTx/>
                <a:uFillTx/>
                <a:latin typeface="Arial"/>
                <a:ea typeface="+mn-ea"/>
                <a:cs typeface="+mn-cs"/>
              </a:rPr>
              <a:t>vIMS</a:t>
            </a:r>
            <a:r>
              <a:rPr kumimoji="0" lang="en-US" sz="1100" b="0" i="0" u="none" strike="noStrike" kern="1200" cap="none" spc="0" normalizeH="0" baseline="0" noProof="0" dirty="0">
                <a:ln>
                  <a:noFill/>
                </a:ln>
                <a:solidFill>
                  <a:srgbClr val="004BAF"/>
                </a:solidFill>
                <a:effectLst/>
                <a:uLnTx/>
                <a:uFillTx/>
                <a:latin typeface="Arial"/>
                <a:ea typeface="+mn-ea"/>
                <a:cs typeface="+mn-cs"/>
              </a:rPr>
              <a:t>, </a:t>
            </a:r>
            <a:r>
              <a:rPr kumimoji="0" lang="en-US" sz="1100" b="0" i="0" u="none" strike="noStrike" kern="1200" cap="none" spc="0" normalizeH="0" baseline="0" noProof="0" dirty="0" err="1">
                <a:ln>
                  <a:noFill/>
                </a:ln>
                <a:solidFill>
                  <a:srgbClr val="004BAF"/>
                </a:solidFill>
                <a:effectLst/>
                <a:uLnTx/>
                <a:uFillTx/>
                <a:latin typeface="Arial"/>
                <a:ea typeface="+mn-ea"/>
                <a:cs typeface="+mn-cs"/>
              </a:rPr>
              <a:t>vLB</a:t>
            </a:r>
            <a:r>
              <a:rPr kumimoji="0" lang="en-US" sz="1100" b="0" i="0" u="none" strike="noStrike" kern="1200" cap="none" spc="0" normalizeH="0" baseline="0" noProof="0" dirty="0">
                <a:ln>
                  <a:noFill/>
                </a:ln>
                <a:solidFill>
                  <a:srgbClr val="004BAF"/>
                </a:solidFill>
                <a:effectLst/>
                <a:uLnTx/>
                <a:uFillTx/>
                <a:latin typeface="Arial"/>
                <a:ea typeface="+mn-ea"/>
                <a:cs typeface="+mn-cs"/>
              </a:rPr>
              <a:t>)</a:t>
            </a:r>
          </a:p>
        </p:txBody>
      </p:sp>
      <p:pic>
        <p:nvPicPr>
          <p:cNvPr id="77" name="Picture 2" descr="mage result for generic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81582" y="1152878"/>
            <a:ext cx="431575" cy="431575"/>
          </a:xfrm>
          <a:prstGeom prst="rect">
            <a:avLst/>
          </a:prstGeom>
          <a:noFill/>
          <a:extLst>
            <a:ext uri="{909E8E84-426E-40dd-AFC4-6F175D3DCCD1}">
              <a14:hiddenFill xmlns:a14="http://schemas.microsoft.com/office/drawing/2010/main" xmlns="">
                <a:solidFill>
                  <a:srgbClr val="FFFFFF"/>
                </a:solidFill>
              </a14:hiddenFill>
            </a:ext>
          </a:extLst>
        </p:spPr>
      </p:pic>
      <p:sp>
        <p:nvSpPr>
          <p:cNvPr id="78" name="Rectangle 77"/>
          <p:cNvSpPr/>
          <p:nvPr/>
        </p:nvSpPr>
        <p:spPr>
          <a:xfrm>
            <a:off x="609601" y="1020905"/>
            <a:ext cx="7863840" cy="1236458"/>
          </a:xfrm>
          <a:prstGeom prst="rect">
            <a:avLst/>
          </a:prstGeom>
          <a:noFill/>
          <a:ln w="6350" cmpd="sng">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875F0D6F-C17F-D048-AC61-E9F37CA54C8C}"/>
              </a:ext>
            </a:extLst>
          </p:cNvPr>
          <p:cNvSpPr/>
          <p:nvPr/>
        </p:nvSpPr>
        <p:spPr>
          <a:xfrm>
            <a:off x="686875" y="2704070"/>
            <a:ext cx="7815177" cy="1805729"/>
          </a:xfrm>
          <a:prstGeom prst="rect">
            <a:avLst/>
          </a:prstGeom>
          <a:solidFill>
            <a:schemeClr val="accent2">
              <a:lumMod val="75000"/>
            </a:schemeClr>
          </a:solidFill>
          <a:ln w="25400" cmpd="sng">
            <a:solidFill>
              <a:schemeClr val="accent6">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15" tIns="45707" rIns="91415" bIns="45707"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30F58944-F575-D04F-9F2C-4655D53B6926}"/>
              </a:ext>
            </a:extLst>
          </p:cNvPr>
          <p:cNvSpPr/>
          <p:nvPr/>
        </p:nvSpPr>
        <p:spPr>
          <a:xfrm>
            <a:off x="2327520" y="3792621"/>
            <a:ext cx="4352067" cy="594743"/>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mn-ea"/>
                <a:cs typeface="+mn-cs"/>
              </a:rPr>
              <a:t>Cisco Physical Infrastructure</a:t>
            </a:r>
          </a:p>
        </p:txBody>
      </p:sp>
      <p:sp>
        <p:nvSpPr>
          <p:cNvPr id="60" name="Rectangle 59">
            <a:extLst>
              <a:ext uri="{FF2B5EF4-FFF2-40B4-BE49-F238E27FC236}">
                <a16:creationId xmlns:a16="http://schemas.microsoft.com/office/drawing/2014/main" id="{3FC39D57-1437-0141-BEEC-69DBBD879417}"/>
              </a:ext>
            </a:extLst>
          </p:cNvPr>
          <p:cNvSpPr/>
          <p:nvPr/>
        </p:nvSpPr>
        <p:spPr>
          <a:xfrm>
            <a:off x="6992982" y="3802643"/>
            <a:ext cx="1395266" cy="594206"/>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ＭＳ Ｐゴシック" charset="0"/>
                <a:cs typeface="+mn-cs"/>
              </a:rPr>
              <a:t>Optional Network VIM</a:t>
            </a:r>
          </a:p>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Cisco ACI / Cisco VTS)</a:t>
            </a:r>
          </a:p>
        </p:txBody>
      </p:sp>
      <p:sp>
        <p:nvSpPr>
          <p:cNvPr id="67" name="Rectangle 66">
            <a:extLst>
              <a:ext uri="{FF2B5EF4-FFF2-40B4-BE49-F238E27FC236}">
                <a16:creationId xmlns:a16="http://schemas.microsoft.com/office/drawing/2014/main" id="{604386EF-7276-E64C-9A22-085A18387637}"/>
              </a:ext>
            </a:extLst>
          </p:cNvPr>
          <p:cNvSpPr/>
          <p:nvPr/>
        </p:nvSpPr>
        <p:spPr>
          <a:xfrm>
            <a:off x="2404729" y="3556655"/>
            <a:ext cx="4207234" cy="212024"/>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5" tIns="45707" rIns="91415" bIns="45707"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Infrastructure Abstraction with Linux, KVM/</a:t>
            </a:r>
            <a:r>
              <a:rPr kumimoji="0" lang="en-US" sz="800" b="0" i="0" u="none" strike="noStrike" kern="1200" cap="none" spc="0" normalizeH="0" baseline="0" noProof="0" dirty="0" err="1">
                <a:ln>
                  <a:noFill/>
                </a:ln>
                <a:solidFill>
                  <a:srgbClr val="FFFFFF"/>
                </a:solidFill>
                <a:effectLst/>
                <a:uLnTx/>
                <a:uFillTx/>
                <a:latin typeface="Arial"/>
                <a:ea typeface="+mn-ea"/>
                <a:cs typeface="+mn-cs"/>
              </a:rPr>
              <a:t>Qemu</a:t>
            </a:r>
            <a:r>
              <a:rPr kumimoji="0" lang="en-US" sz="800" b="0" i="0" u="none" strike="noStrike" kern="1200" cap="none" spc="0" normalizeH="0" baseline="0" noProof="0" dirty="0">
                <a:ln>
                  <a:noFill/>
                </a:ln>
                <a:solidFill>
                  <a:srgbClr val="FFFFFF"/>
                </a:solidFill>
                <a:effectLst/>
                <a:uLnTx/>
                <a:uFillTx/>
                <a:latin typeface="Arial"/>
                <a:ea typeface="+mn-ea"/>
                <a:cs typeface="+mn-cs"/>
              </a:rPr>
              <a:t>, Host Packages, </a:t>
            </a:r>
            <a:r>
              <a:rPr kumimoji="0" lang="en-US" sz="800" b="0" i="0" u="none" strike="noStrike" kern="1200" cap="none" spc="0" normalizeH="0" baseline="0" noProof="0" dirty="0" err="1">
                <a:ln>
                  <a:noFill/>
                </a:ln>
                <a:solidFill>
                  <a:srgbClr val="FFFFFF"/>
                </a:solidFill>
                <a:effectLst/>
                <a:uLnTx/>
                <a:uFillTx/>
                <a:latin typeface="Arial"/>
                <a:ea typeface="+mn-ea"/>
                <a:cs typeface="+mn-cs"/>
              </a:rPr>
              <a:t>vSwitches</a:t>
            </a:r>
            <a:r>
              <a:rPr kumimoji="0" lang="en-US" sz="800" b="0" i="0" u="none" strike="noStrike" kern="1200" cap="none" spc="0" normalizeH="0" baseline="0" noProof="0" dirty="0">
                <a:ln>
                  <a:noFill/>
                </a:ln>
                <a:solidFill>
                  <a:srgbClr val="FFFFFF"/>
                </a:solidFill>
                <a:effectLst/>
                <a:uLnTx/>
                <a:uFillTx/>
                <a:latin typeface="Arial"/>
                <a:ea typeface="+mn-ea"/>
                <a:cs typeface="+mn-cs"/>
              </a:rPr>
              <a:t>  </a:t>
            </a:r>
          </a:p>
        </p:txBody>
      </p:sp>
      <p:sp>
        <p:nvSpPr>
          <p:cNvPr id="79" name="Rectangle 78">
            <a:extLst>
              <a:ext uri="{FF2B5EF4-FFF2-40B4-BE49-F238E27FC236}">
                <a16:creationId xmlns:a16="http://schemas.microsoft.com/office/drawing/2014/main" id="{88F57624-EFC3-9844-AD00-39BB5ACBD0D7}"/>
              </a:ext>
            </a:extLst>
          </p:cNvPr>
          <p:cNvSpPr/>
          <p:nvPr/>
        </p:nvSpPr>
        <p:spPr>
          <a:xfrm>
            <a:off x="1840210" y="4529388"/>
            <a:ext cx="5463581" cy="215444"/>
          </a:xfrm>
          <a:prstGeom prst="rect">
            <a:avLst/>
          </a:prstGeom>
          <a:no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ABC233">
                    <a:lumMod val="50000"/>
                  </a:srgbClr>
                </a:solidFill>
                <a:effectLst/>
                <a:uLnTx/>
                <a:uFillTx/>
                <a:latin typeface="Arial"/>
                <a:ea typeface="+mn-ea"/>
                <a:cs typeface="+mn-cs"/>
              </a:rPr>
              <a:t>Cisco NFVI </a:t>
            </a:r>
            <a:r>
              <a:rPr kumimoji="0" lang="en-US" sz="1400" b="0" i="0" u="none" strike="noStrike" kern="1200" cap="none" spc="0" normalizeH="0" baseline="0" noProof="0" dirty="0">
                <a:ln>
                  <a:noFill/>
                </a:ln>
                <a:solidFill>
                  <a:srgbClr val="ABC233">
                    <a:lumMod val="50000"/>
                  </a:srgbClr>
                </a:solidFill>
                <a:effectLst/>
                <a:uLnTx/>
                <a:uFillTx/>
                <a:latin typeface="Arial"/>
                <a:ea typeface="+mn-ea"/>
                <a:cs typeface="+mn-cs"/>
              </a:rPr>
              <a:t>Scope</a:t>
            </a:r>
          </a:p>
        </p:txBody>
      </p:sp>
      <p:sp>
        <p:nvSpPr>
          <p:cNvPr id="80" name="Rectangle 79">
            <a:extLst>
              <a:ext uri="{FF2B5EF4-FFF2-40B4-BE49-F238E27FC236}">
                <a16:creationId xmlns:a16="http://schemas.microsoft.com/office/drawing/2014/main" id="{76C2A913-ABA3-3C4D-A700-67DDEC18DEA3}"/>
              </a:ext>
            </a:extLst>
          </p:cNvPr>
          <p:cNvSpPr/>
          <p:nvPr/>
        </p:nvSpPr>
        <p:spPr>
          <a:xfrm>
            <a:off x="3844511" y="4069913"/>
            <a:ext cx="1342114" cy="27424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Network (N9k/NCS5k)</a:t>
            </a:r>
          </a:p>
        </p:txBody>
      </p:sp>
      <p:sp>
        <p:nvSpPr>
          <p:cNvPr id="81" name="Rectangle 80">
            <a:extLst>
              <a:ext uri="{FF2B5EF4-FFF2-40B4-BE49-F238E27FC236}">
                <a16:creationId xmlns:a16="http://schemas.microsoft.com/office/drawing/2014/main" id="{8FA00DA1-E969-544D-A90E-942CFF7F6FB7}"/>
              </a:ext>
            </a:extLst>
          </p:cNvPr>
          <p:cNvSpPr/>
          <p:nvPr/>
        </p:nvSpPr>
        <p:spPr>
          <a:xfrm>
            <a:off x="2404729" y="4069913"/>
            <a:ext cx="1371467" cy="27424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 Compute (UCS/3</a:t>
            </a:r>
            <a:r>
              <a:rPr kumimoji="0" lang="en-US" sz="900" b="0" i="0" u="none" strike="noStrike" kern="1200" cap="none" spc="0" normalizeH="0" baseline="30000" noProof="0" dirty="0">
                <a:ln>
                  <a:noFill/>
                </a:ln>
                <a:solidFill>
                  <a:srgbClr val="FFFFFF"/>
                </a:solidFill>
                <a:effectLst/>
                <a:uLnTx/>
                <a:uFillTx/>
                <a:latin typeface="Arial"/>
                <a:ea typeface="+mn-ea"/>
                <a:cs typeface="+mn-cs"/>
              </a:rPr>
              <a:t>rd</a:t>
            </a:r>
            <a:r>
              <a:rPr kumimoji="0" lang="en-US" sz="900" b="0" i="0" u="none" strike="noStrike" kern="1200" cap="none" spc="0" normalizeH="0" baseline="0" noProof="0" dirty="0">
                <a:ln>
                  <a:noFill/>
                </a:ln>
                <a:solidFill>
                  <a:srgbClr val="FFFFFF"/>
                </a:solidFill>
                <a:effectLst/>
                <a:uLnTx/>
                <a:uFillTx/>
                <a:latin typeface="Arial"/>
                <a:ea typeface="+mn-ea"/>
                <a:cs typeface="+mn-cs"/>
              </a:rPr>
              <a:t> P)</a:t>
            </a:r>
          </a:p>
        </p:txBody>
      </p:sp>
      <p:sp>
        <p:nvSpPr>
          <p:cNvPr id="82" name="Rectangle 81">
            <a:extLst>
              <a:ext uri="{FF2B5EF4-FFF2-40B4-BE49-F238E27FC236}">
                <a16:creationId xmlns:a16="http://schemas.microsoft.com/office/drawing/2014/main" id="{2D1E4A1A-29F1-D34B-A9B4-B4B46F0EC829}"/>
              </a:ext>
            </a:extLst>
          </p:cNvPr>
          <p:cNvSpPr/>
          <p:nvPr/>
        </p:nvSpPr>
        <p:spPr>
          <a:xfrm>
            <a:off x="5271804" y="4066436"/>
            <a:ext cx="1328500" cy="27424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   Storage (UCS /3</a:t>
            </a:r>
            <a:r>
              <a:rPr kumimoji="0" lang="en-US" sz="900" b="0" i="0" u="none" strike="noStrike" kern="1200" cap="none" spc="0" normalizeH="0" baseline="30000" noProof="0" dirty="0">
                <a:ln>
                  <a:noFill/>
                </a:ln>
                <a:solidFill>
                  <a:srgbClr val="FFFFFF"/>
                </a:solidFill>
                <a:effectLst/>
                <a:uLnTx/>
                <a:uFillTx/>
                <a:latin typeface="Arial"/>
                <a:ea typeface="+mn-ea"/>
                <a:cs typeface="+mn-cs"/>
              </a:rPr>
              <a:t>rd</a:t>
            </a:r>
            <a:r>
              <a:rPr kumimoji="0" lang="en-US" sz="900" b="0" i="0" u="none" strike="noStrike" kern="1200" cap="none" spc="0" normalizeH="0" baseline="0" noProof="0" dirty="0">
                <a:ln>
                  <a:noFill/>
                </a:ln>
                <a:solidFill>
                  <a:srgbClr val="FFFFFF"/>
                </a:solidFill>
                <a:effectLst/>
                <a:uLnTx/>
                <a:uFillTx/>
                <a:latin typeface="Arial"/>
                <a:ea typeface="+mn-ea"/>
                <a:cs typeface="+mn-cs"/>
              </a:rPr>
              <a:t> P)</a:t>
            </a:r>
          </a:p>
        </p:txBody>
      </p:sp>
      <p:sp>
        <p:nvSpPr>
          <p:cNvPr id="83" name="Rectangle 82">
            <a:extLst>
              <a:ext uri="{FF2B5EF4-FFF2-40B4-BE49-F238E27FC236}">
                <a16:creationId xmlns:a16="http://schemas.microsoft.com/office/drawing/2014/main" id="{B1C8C55C-BEB0-2246-B25B-20C134AB77FC}"/>
              </a:ext>
            </a:extLst>
          </p:cNvPr>
          <p:cNvSpPr/>
          <p:nvPr/>
        </p:nvSpPr>
        <p:spPr>
          <a:xfrm rot="16200000">
            <a:off x="717556" y="2850386"/>
            <a:ext cx="1596404" cy="1486893"/>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1415" tIns="91416" rIns="91415" bIns="0" rtlCol="0" anchor="t"/>
          <a:lstStyle/>
          <a:p>
            <a:pPr marL="0" marR="0" lvl="0" indent="0" algn="ctr" defTabSz="685595"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a:p>
            <a:pPr marL="0" marR="0" lvl="0" indent="0" algn="ctr" defTabSz="685595"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a:p>
            <a:pPr marL="0" marR="0" lvl="0" indent="0" algn="ctr" defTabSz="685595"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p:txBody>
      </p:sp>
      <p:sp>
        <p:nvSpPr>
          <p:cNvPr id="84" name="TextBox 83">
            <a:extLst>
              <a:ext uri="{FF2B5EF4-FFF2-40B4-BE49-F238E27FC236}">
                <a16:creationId xmlns:a16="http://schemas.microsoft.com/office/drawing/2014/main" id="{BFCBB49C-7E50-4F42-84E9-D98DBE5CEC12}"/>
              </a:ext>
            </a:extLst>
          </p:cNvPr>
          <p:cNvSpPr txBox="1"/>
          <p:nvPr/>
        </p:nvSpPr>
        <p:spPr>
          <a:xfrm rot="16200000">
            <a:off x="1416836" y="3524584"/>
            <a:ext cx="1475465" cy="138499"/>
          </a:xfrm>
          <a:prstGeom prst="rect">
            <a:avLst/>
          </a:prstGeom>
          <a:noFill/>
        </p:spPr>
        <p:txBody>
          <a:bodyPr wrap="square" lIns="0" tIns="0" rIns="0" bIns="0" rtlCol="0">
            <a:spAutoFit/>
          </a:bodyP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Infrastructure </a:t>
            </a:r>
            <a:r>
              <a:rPr kumimoji="0" lang="en-US" sz="900" b="0" i="0" u="none" strike="noStrike" kern="1200" cap="none" spc="0" normalizeH="0" baseline="0" noProof="0">
                <a:ln>
                  <a:noFill/>
                </a:ln>
                <a:solidFill>
                  <a:srgbClr val="58595B"/>
                </a:solidFill>
                <a:effectLst/>
                <a:uLnTx/>
                <a:uFillTx/>
                <a:latin typeface="Arial"/>
                <a:ea typeface="ＭＳ Ｐゴシック" charset="0"/>
                <a:cs typeface="+mn-cs"/>
              </a:rPr>
              <a:t>Management </a:t>
            </a:r>
            <a:endPar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endParaRPr>
          </a:p>
        </p:txBody>
      </p:sp>
      <p:sp>
        <p:nvSpPr>
          <p:cNvPr id="85" name="Rectangle 84">
            <a:extLst>
              <a:ext uri="{FF2B5EF4-FFF2-40B4-BE49-F238E27FC236}">
                <a16:creationId xmlns:a16="http://schemas.microsoft.com/office/drawing/2014/main" id="{1A0074A6-FBA0-4F4B-835E-304B0501C4E7}"/>
              </a:ext>
            </a:extLst>
          </p:cNvPr>
          <p:cNvSpPr/>
          <p:nvPr/>
        </p:nvSpPr>
        <p:spPr>
          <a:xfrm rot="16200000">
            <a:off x="747981" y="3467630"/>
            <a:ext cx="1543477" cy="268731"/>
          </a:xfrm>
          <a:prstGeom prst="rect">
            <a:avLst/>
          </a:prstGeom>
          <a:solidFill>
            <a:schemeClr val="accent1"/>
          </a:solidFill>
          <a:ln w="3175">
            <a:noFill/>
          </a:ln>
          <a:effectLst/>
        </p:spPr>
        <p:style>
          <a:lnRef idx="3">
            <a:schemeClr val="lt1"/>
          </a:lnRef>
          <a:fillRef idx="1">
            <a:schemeClr val="accent2"/>
          </a:fillRef>
          <a:effectRef idx="1">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Unified Management</a:t>
            </a:r>
          </a:p>
        </p:txBody>
      </p:sp>
      <p:grpSp>
        <p:nvGrpSpPr>
          <p:cNvPr id="86" name="Group 85">
            <a:extLst>
              <a:ext uri="{FF2B5EF4-FFF2-40B4-BE49-F238E27FC236}">
                <a16:creationId xmlns:a16="http://schemas.microsoft.com/office/drawing/2014/main" id="{23696532-DC0B-294E-89EA-2EF0EBA04C3B}"/>
              </a:ext>
            </a:extLst>
          </p:cNvPr>
          <p:cNvGrpSpPr/>
          <p:nvPr/>
        </p:nvGrpSpPr>
        <p:grpSpPr>
          <a:xfrm>
            <a:off x="911671" y="3062752"/>
            <a:ext cx="370564" cy="522273"/>
            <a:chOff x="948991" y="3687430"/>
            <a:chExt cx="370661" cy="522409"/>
          </a:xfrm>
        </p:grpSpPr>
        <p:sp>
          <p:nvSpPr>
            <p:cNvPr id="87" name="TextBox 86">
              <a:extLst>
                <a:ext uri="{FF2B5EF4-FFF2-40B4-BE49-F238E27FC236}">
                  <a16:creationId xmlns:a16="http://schemas.microsoft.com/office/drawing/2014/main" id="{686D416A-A69A-634E-BA45-0D46A634516B}"/>
                </a:ext>
              </a:extLst>
            </p:cNvPr>
            <p:cNvSpPr txBox="1"/>
            <p:nvPr/>
          </p:nvSpPr>
          <p:spPr>
            <a:xfrm>
              <a:off x="948991" y="3687430"/>
              <a:ext cx="370661" cy="230866"/>
            </a:xfrm>
            <a:prstGeom prst="rect">
              <a:avLst/>
            </a:prstGeom>
            <a:noFill/>
          </p:spPr>
          <p:txBody>
            <a:bodyPr wrap="none" lIns="91415" tIns="45707" rIns="91415" bIns="45707" rtlCol="0">
              <a:spAutoFit/>
            </a:bodyPr>
            <a:lstStyle/>
            <a:p>
              <a:pPr marL="0" marR="0" lvl="0" indent="0" algn="l"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API</a:t>
              </a:r>
            </a:p>
          </p:txBody>
        </p:sp>
        <p:sp>
          <p:nvSpPr>
            <p:cNvPr id="88" name="Freeform 98">
              <a:extLst>
                <a:ext uri="{FF2B5EF4-FFF2-40B4-BE49-F238E27FC236}">
                  <a16:creationId xmlns:a16="http://schemas.microsoft.com/office/drawing/2014/main" id="{15E80EFE-65C2-7745-9566-6BA39902CF39}"/>
                </a:ext>
              </a:extLst>
            </p:cNvPr>
            <p:cNvSpPr>
              <a:spLocks noEditPoints="1"/>
            </p:cNvSpPr>
            <p:nvPr/>
          </p:nvSpPr>
          <p:spPr bwMode="auto">
            <a:xfrm>
              <a:off x="968567" y="3875588"/>
              <a:ext cx="335818" cy="334251"/>
            </a:xfrm>
            <a:custGeom>
              <a:avLst/>
              <a:gdLst>
                <a:gd name="T0" fmla="*/ 400 w 800"/>
                <a:gd name="T1" fmla="*/ 583 h 799"/>
                <a:gd name="T2" fmla="*/ 216 w 800"/>
                <a:gd name="T3" fmla="*/ 400 h 799"/>
                <a:gd name="T4" fmla="*/ 400 w 800"/>
                <a:gd name="T5" fmla="*/ 216 h 799"/>
                <a:gd name="T6" fmla="*/ 583 w 800"/>
                <a:gd name="T7" fmla="*/ 400 h 799"/>
                <a:gd name="T8" fmla="*/ 400 w 800"/>
                <a:gd name="T9" fmla="*/ 583 h 799"/>
                <a:gd name="T10" fmla="*/ 800 w 800"/>
                <a:gd name="T11" fmla="*/ 433 h 799"/>
                <a:gd name="T12" fmla="*/ 800 w 800"/>
                <a:gd name="T13" fmla="*/ 366 h 799"/>
                <a:gd name="T14" fmla="*/ 633 w 800"/>
                <a:gd name="T15" fmla="*/ 311 h 799"/>
                <a:gd name="T16" fmla="*/ 627 w 800"/>
                <a:gd name="T17" fmla="*/ 297 h 799"/>
                <a:gd name="T18" fmla="*/ 706 w 800"/>
                <a:gd name="T19" fmla="*/ 140 h 799"/>
                <a:gd name="T20" fmla="*/ 659 w 800"/>
                <a:gd name="T21" fmla="*/ 93 h 799"/>
                <a:gd name="T22" fmla="*/ 502 w 800"/>
                <a:gd name="T23" fmla="*/ 172 h 799"/>
                <a:gd name="T24" fmla="*/ 489 w 800"/>
                <a:gd name="T25" fmla="*/ 166 h 799"/>
                <a:gd name="T26" fmla="*/ 433 w 800"/>
                <a:gd name="T27" fmla="*/ 0 h 799"/>
                <a:gd name="T28" fmla="*/ 366 w 800"/>
                <a:gd name="T29" fmla="*/ 0 h 799"/>
                <a:gd name="T30" fmla="*/ 311 w 800"/>
                <a:gd name="T31" fmla="*/ 166 h 799"/>
                <a:gd name="T32" fmla="*/ 298 w 800"/>
                <a:gd name="T33" fmla="*/ 172 h 799"/>
                <a:gd name="T34" fmla="*/ 141 w 800"/>
                <a:gd name="T35" fmla="*/ 93 h 799"/>
                <a:gd name="T36" fmla="*/ 93 w 800"/>
                <a:gd name="T37" fmla="*/ 140 h 799"/>
                <a:gd name="T38" fmla="*/ 172 w 800"/>
                <a:gd name="T39" fmla="*/ 297 h 799"/>
                <a:gd name="T40" fmla="*/ 166 w 800"/>
                <a:gd name="T41" fmla="*/ 310 h 799"/>
                <a:gd name="T42" fmla="*/ 0 w 800"/>
                <a:gd name="T43" fmla="*/ 366 h 799"/>
                <a:gd name="T44" fmla="*/ 0 w 800"/>
                <a:gd name="T45" fmla="*/ 433 h 799"/>
                <a:gd name="T46" fmla="*/ 166 w 800"/>
                <a:gd name="T47" fmla="*/ 488 h 799"/>
                <a:gd name="T48" fmla="*/ 172 w 800"/>
                <a:gd name="T49" fmla="*/ 502 h 799"/>
                <a:gd name="T50" fmla="*/ 93 w 800"/>
                <a:gd name="T51" fmla="*/ 659 h 799"/>
                <a:gd name="T52" fmla="*/ 141 w 800"/>
                <a:gd name="T53" fmla="*/ 706 h 799"/>
                <a:gd name="T54" fmla="*/ 297 w 800"/>
                <a:gd name="T55" fmla="*/ 627 h 799"/>
                <a:gd name="T56" fmla="*/ 311 w 800"/>
                <a:gd name="T57" fmla="*/ 633 h 799"/>
                <a:gd name="T58" fmla="*/ 366 w 800"/>
                <a:gd name="T59" fmla="*/ 799 h 799"/>
                <a:gd name="T60" fmla="*/ 433 w 800"/>
                <a:gd name="T61" fmla="*/ 799 h 799"/>
                <a:gd name="T62" fmla="*/ 488 w 800"/>
                <a:gd name="T63" fmla="*/ 633 h 799"/>
                <a:gd name="T64" fmla="*/ 502 w 800"/>
                <a:gd name="T65" fmla="*/ 627 h 799"/>
                <a:gd name="T66" fmla="*/ 659 w 800"/>
                <a:gd name="T67" fmla="*/ 706 h 799"/>
                <a:gd name="T68" fmla="*/ 706 w 800"/>
                <a:gd name="T69" fmla="*/ 658 h 799"/>
                <a:gd name="T70" fmla="*/ 627 w 800"/>
                <a:gd name="T71" fmla="*/ 502 h 799"/>
                <a:gd name="T72" fmla="*/ 633 w 800"/>
                <a:gd name="T73" fmla="*/ 488 h 799"/>
                <a:gd name="T74" fmla="*/ 800 w 800"/>
                <a:gd name="T75" fmla="*/ 43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799">
                  <a:moveTo>
                    <a:pt x="400" y="583"/>
                  </a:moveTo>
                  <a:cubicBezTo>
                    <a:pt x="298" y="583"/>
                    <a:pt x="216" y="501"/>
                    <a:pt x="216" y="400"/>
                  </a:cubicBezTo>
                  <a:cubicBezTo>
                    <a:pt x="216" y="298"/>
                    <a:pt x="298" y="216"/>
                    <a:pt x="400" y="216"/>
                  </a:cubicBezTo>
                  <a:cubicBezTo>
                    <a:pt x="501" y="216"/>
                    <a:pt x="583" y="298"/>
                    <a:pt x="583" y="400"/>
                  </a:cubicBezTo>
                  <a:cubicBezTo>
                    <a:pt x="583" y="501"/>
                    <a:pt x="501" y="583"/>
                    <a:pt x="400" y="583"/>
                  </a:cubicBezTo>
                  <a:moveTo>
                    <a:pt x="800" y="433"/>
                  </a:moveTo>
                  <a:lnTo>
                    <a:pt x="800" y="366"/>
                  </a:lnTo>
                  <a:lnTo>
                    <a:pt x="633" y="311"/>
                  </a:lnTo>
                  <a:cubicBezTo>
                    <a:pt x="631" y="306"/>
                    <a:pt x="629" y="302"/>
                    <a:pt x="627" y="297"/>
                  </a:cubicBezTo>
                  <a:lnTo>
                    <a:pt x="706" y="140"/>
                  </a:lnTo>
                  <a:lnTo>
                    <a:pt x="659" y="93"/>
                  </a:lnTo>
                  <a:lnTo>
                    <a:pt x="502" y="172"/>
                  </a:lnTo>
                  <a:cubicBezTo>
                    <a:pt x="497" y="170"/>
                    <a:pt x="493" y="168"/>
                    <a:pt x="489" y="166"/>
                  </a:cubicBezTo>
                  <a:lnTo>
                    <a:pt x="433" y="0"/>
                  </a:lnTo>
                  <a:lnTo>
                    <a:pt x="366" y="0"/>
                  </a:lnTo>
                  <a:lnTo>
                    <a:pt x="311" y="166"/>
                  </a:lnTo>
                  <a:cubicBezTo>
                    <a:pt x="306" y="168"/>
                    <a:pt x="302" y="170"/>
                    <a:pt x="298" y="172"/>
                  </a:cubicBezTo>
                  <a:lnTo>
                    <a:pt x="141" y="93"/>
                  </a:lnTo>
                  <a:lnTo>
                    <a:pt x="93" y="140"/>
                  </a:lnTo>
                  <a:lnTo>
                    <a:pt x="172" y="297"/>
                  </a:lnTo>
                  <a:cubicBezTo>
                    <a:pt x="170" y="302"/>
                    <a:pt x="168" y="306"/>
                    <a:pt x="166" y="310"/>
                  </a:cubicBezTo>
                  <a:lnTo>
                    <a:pt x="0" y="366"/>
                  </a:lnTo>
                  <a:lnTo>
                    <a:pt x="0" y="433"/>
                  </a:lnTo>
                  <a:lnTo>
                    <a:pt x="166" y="488"/>
                  </a:lnTo>
                  <a:cubicBezTo>
                    <a:pt x="168" y="493"/>
                    <a:pt x="170" y="497"/>
                    <a:pt x="172" y="502"/>
                  </a:cubicBezTo>
                  <a:lnTo>
                    <a:pt x="93" y="659"/>
                  </a:lnTo>
                  <a:lnTo>
                    <a:pt x="141" y="706"/>
                  </a:lnTo>
                  <a:lnTo>
                    <a:pt x="297" y="627"/>
                  </a:lnTo>
                  <a:cubicBezTo>
                    <a:pt x="302" y="629"/>
                    <a:pt x="306" y="631"/>
                    <a:pt x="311" y="633"/>
                  </a:cubicBezTo>
                  <a:lnTo>
                    <a:pt x="366" y="799"/>
                  </a:lnTo>
                  <a:lnTo>
                    <a:pt x="433" y="799"/>
                  </a:lnTo>
                  <a:lnTo>
                    <a:pt x="488" y="633"/>
                  </a:lnTo>
                  <a:cubicBezTo>
                    <a:pt x="493" y="631"/>
                    <a:pt x="498" y="630"/>
                    <a:pt x="502" y="627"/>
                  </a:cubicBezTo>
                  <a:lnTo>
                    <a:pt x="659" y="706"/>
                  </a:lnTo>
                  <a:lnTo>
                    <a:pt x="706" y="658"/>
                  </a:lnTo>
                  <a:lnTo>
                    <a:pt x="627" y="502"/>
                  </a:lnTo>
                  <a:cubicBezTo>
                    <a:pt x="630" y="497"/>
                    <a:pt x="631" y="493"/>
                    <a:pt x="633" y="488"/>
                  </a:cubicBezTo>
                  <a:lnTo>
                    <a:pt x="800" y="433"/>
                  </a:lnTo>
                  <a:close/>
                </a:path>
              </a:pathLst>
            </a:custGeom>
            <a:solidFill>
              <a:schemeClr val="tx2"/>
            </a:solidFill>
            <a:ln>
              <a:noFill/>
            </a:ln>
          </p:spPr>
          <p:txBody>
            <a:bodyPr vert="horz" wrap="square" lIns="121868" tIns="60933" rIns="121868" bIns="60933" numCol="1" anchor="t" anchorCtr="0" compatLnSpc="1">
              <a:prstTxWarp prst="textNoShape">
                <a:avLst/>
              </a:prstTxWarp>
            </a:bodyPr>
            <a:lstStyle/>
            <a:p>
              <a:pPr marL="0" marR="0" lvl="0" indent="0" algn="l" defTabSz="457086"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grpSp>
      <p:grpSp>
        <p:nvGrpSpPr>
          <p:cNvPr id="89" name="Group 88">
            <a:extLst>
              <a:ext uri="{FF2B5EF4-FFF2-40B4-BE49-F238E27FC236}">
                <a16:creationId xmlns:a16="http://schemas.microsoft.com/office/drawing/2014/main" id="{76BCAA33-8142-5E45-9B7D-7C592E4D2D7F}"/>
              </a:ext>
            </a:extLst>
          </p:cNvPr>
          <p:cNvGrpSpPr/>
          <p:nvPr/>
        </p:nvGrpSpPr>
        <p:grpSpPr>
          <a:xfrm>
            <a:off x="885101" y="3621406"/>
            <a:ext cx="389800" cy="430018"/>
            <a:chOff x="966763" y="3176073"/>
            <a:chExt cx="389901" cy="430130"/>
          </a:xfrm>
        </p:grpSpPr>
        <p:sp>
          <p:nvSpPr>
            <p:cNvPr id="90" name="TextBox 89">
              <a:extLst>
                <a:ext uri="{FF2B5EF4-FFF2-40B4-BE49-F238E27FC236}">
                  <a16:creationId xmlns:a16="http://schemas.microsoft.com/office/drawing/2014/main" id="{81D82ADA-7BAC-E148-BB8E-96486E0C2245}"/>
                </a:ext>
              </a:extLst>
            </p:cNvPr>
            <p:cNvSpPr txBox="1"/>
            <p:nvPr/>
          </p:nvSpPr>
          <p:spPr>
            <a:xfrm>
              <a:off x="966763" y="3176073"/>
              <a:ext cx="389901" cy="230866"/>
            </a:xfrm>
            <a:prstGeom prst="rect">
              <a:avLst/>
            </a:prstGeom>
            <a:noFill/>
          </p:spPr>
          <p:txBody>
            <a:bodyPr wrap="none" lIns="91415" tIns="45707" rIns="91415" bIns="45707" rtlCol="0">
              <a:spAutoFit/>
            </a:bodyPr>
            <a:lstStyle/>
            <a:p>
              <a:pPr marL="0" marR="0" lvl="0" indent="0" algn="l"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GUI</a:t>
              </a:r>
            </a:p>
          </p:txBody>
        </p:sp>
        <p:grpSp>
          <p:nvGrpSpPr>
            <p:cNvPr id="91" name="Group 90">
              <a:extLst>
                <a:ext uri="{FF2B5EF4-FFF2-40B4-BE49-F238E27FC236}">
                  <a16:creationId xmlns:a16="http://schemas.microsoft.com/office/drawing/2014/main" id="{3B562B29-4C03-2947-AA75-CE2662A7DAB3}"/>
                </a:ext>
              </a:extLst>
            </p:cNvPr>
            <p:cNvGrpSpPr/>
            <p:nvPr/>
          </p:nvGrpSpPr>
          <p:grpSpPr>
            <a:xfrm>
              <a:off x="989449" y="3388152"/>
              <a:ext cx="331114" cy="218051"/>
              <a:chOff x="989449" y="3388152"/>
              <a:chExt cx="331114" cy="218051"/>
            </a:xfrm>
          </p:grpSpPr>
          <p:sp>
            <p:nvSpPr>
              <p:cNvPr id="92" name="Freeform 9463">
                <a:extLst>
                  <a:ext uri="{FF2B5EF4-FFF2-40B4-BE49-F238E27FC236}">
                    <a16:creationId xmlns:a16="http://schemas.microsoft.com/office/drawing/2014/main" id="{3934E8A9-19DB-0840-B0AC-7B61BD4FDBC1}"/>
                  </a:ext>
                </a:extLst>
              </p:cNvPr>
              <p:cNvSpPr>
                <a:spLocks noEditPoints="1"/>
              </p:cNvSpPr>
              <p:nvPr/>
            </p:nvSpPr>
            <p:spPr bwMode="auto">
              <a:xfrm>
                <a:off x="989449" y="3388152"/>
                <a:ext cx="331114" cy="218051"/>
              </a:xfrm>
              <a:custGeom>
                <a:avLst/>
                <a:gdLst>
                  <a:gd name="T0" fmla="*/ 184 w 192"/>
                  <a:gd name="T1" fmla="*/ 0 h 128"/>
                  <a:gd name="T2" fmla="*/ 8 w 192"/>
                  <a:gd name="T3" fmla="*/ 0 h 128"/>
                  <a:gd name="T4" fmla="*/ 0 w 192"/>
                  <a:gd name="T5" fmla="*/ 8 h 128"/>
                  <a:gd name="T6" fmla="*/ 0 w 192"/>
                  <a:gd name="T7" fmla="*/ 120 h 128"/>
                  <a:gd name="T8" fmla="*/ 8 w 192"/>
                  <a:gd name="T9" fmla="*/ 128 h 128"/>
                  <a:gd name="T10" fmla="*/ 184 w 192"/>
                  <a:gd name="T11" fmla="*/ 128 h 128"/>
                  <a:gd name="T12" fmla="*/ 192 w 192"/>
                  <a:gd name="T13" fmla="*/ 120 h 128"/>
                  <a:gd name="T14" fmla="*/ 192 w 192"/>
                  <a:gd name="T15" fmla="*/ 8 h 128"/>
                  <a:gd name="T16" fmla="*/ 184 w 192"/>
                  <a:gd name="T17" fmla="*/ 0 h 128"/>
                  <a:gd name="T18" fmla="*/ 170 w 192"/>
                  <a:gd name="T19" fmla="*/ 8 h 128"/>
                  <a:gd name="T20" fmla="*/ 176 w 192"/>
                  <a:gd name="T21" fmla="*/ 14 h 128"/>
                  <a:gd name="T22" fmla="*/ 170 w 192"/>
                  <a:gd name="T23" fmla="*/ 20 h 128"/>
                  <a:gd name="T24" fmla="*/ 164 w 192"/>
                  <a:gd name="T25" fmla="*/ 14 h 128"/>
                  <a:gd name="T26" fmla="*/ 170 w 192"/>
                  <a:gd name="T27" fmla="*/ 8 h 128"/>
                  <a:gd name="T28" fmla="*/ 150 w 192"/>
                  <a:gd name="T29" fmla="*/ 8 h 128"/>
                  <a:gd name="T30" fmla="*/ 156 w 192"/>
                  <a:gd name="T31" fmla="*/ 14 h 128"/>
                  <a:gd name="T32" fmla="*/ 150 w 192"/>
                  <a:gd name="T33" fmla="*/ 20 h 128"/>
                  <a:gd name="T34" fmla="*/ 144 w 192"/>
                  <a:gd name="T35" fmla="*/ 14 h 128"/>
                  <a:gd name="T36" fmla="*/ 150 w 192"/>
                  <a:gd name="T37" fmla="*/ 8 h 128"/>
                  <a:gd name="T38" fmla="*/ 130 w 192"/>
                  <a:gd name="T39" fmla="*/ 8 h 128"/>
                  <a:gd name="T40" fmla="*/ 136 w 192"/>
                  <a:gd name="T41" fmla="*/ 14 h 128"/>
                  <a:gd name="T42" fmla="*/ 130 w 192"/>
                  <a:gd name="T43" fmla="*/ 20 h 128"/>
                  <a:gd name="T44" fmla="*/ 124 w 192"/>
                  <a:gd name="T45" fmla="*/ 14 h 128"/>
                  <a:gd name="T46" fmla="*/ 130 w 192"/>
                  <a:gd name="T47" fmla="*/ 8 h 128"/>
                  <a:gd name="T48" fmla="*/ 176 w 192"/>
                  <a:gd name="T49" fmla="*/ 112 h 128"/>
                  <a:gd name="T50" fmla="*/ 16 w 192"/>
                  <a:gd name="T51" fmla="*/ 112 h 128"/>
                  <a:gd name="T52" fmla="*/ 16 w 192"/>
                  <a:gd name="T53" fmla="*/ 28 h 128"/>
                  <a:gd name="T54" fmla="*/ 176 w 192"/>
                  <a:gd name="T55" fmla="*/ 28 h 128"/>
                  <a:gd name="T56" fmla="*/ 176 w 192"/>
                  <a:gd name="T57"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2" h="128">
                    <a:moveTo>
                      <a:pt x="184" y="0"/>
                    </a:moveTo>
                    <a:cubicBezTo>
                      <a:pt x="8" y="0"/>
                      <a:pt x="8"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170" y="8"/>
                    </a:moveTo>
                    <a:cubicBezTo>
                      <a:pt x="173" y="8"/>
                      <a:pt x="176" y="11"/>
                      <a:pt x="176" y="14"/>
                    </a:cubicBezTo>
                    <a:cubicBezTo>
                      <a:pt x="176" y="17"/>
                      <a:pt x="173" y="20"/>
                      <a:pt x="170" y="20"/>
                    </a:cubicBezTo>
                    <a:cubicBezTo>
                      <a:pt x="167" y="20"/>
                      <a:pt x="164" y="17"/>
                      <a:pt x="164" y="14"/>
                    </a:cubicBezTo>
                    <a:cubicBezTo>
                      <a:pt x="164" y="11"/>
                      <a:pt x="167" y="8"/>
                      <a:pt x="170" y="8"/>
                    </a:cubicBezTo>
                    <a:close/>
                    <a:moveTo>
                      <a:pt x="150" y="8"/>
                    </a:moveTo>
                    <a:cubicBezTo>
                      <a:pt x="153" y="8"/>
                      <a:pt x="156" y="11"/>
                      <a:pt x="156" y="14"/>
                    </a:cubicBezTo>
                    <a:cubicBezTo>
                      <a:pt x="156" y="17"/>
                      <a:pt x="153" y="20"/>
                      <a:pt x="150" y="20"/>
                    </a:cubicBezTo>
                    <a:cubicBezTo>
                      <a:pt x="147" y="20"/>
                      <a:pt x="144" y="17"/>
                      <a:pt x="144" y="14"/>
                    </a:cubicBezTo>
                    <a:cubicBezTo>
                      <a:pt x="144" y="11"/>
                      <a:pt x="147" y="8"/>
                      <a:pt x="150" y="8"/>
                    </a:cubicBezTo>
                    <a:close/>
                    <a:moveTo>
                      <a:pt x="130" y="8"/>
                    </a:moveTo>
                    <a:cubicBezTo>
                      <a:pt x="133" y="8"/>
                      <a:pt x="136" y="11"/>
                      <a:pt x="136" y="14"/>
                    </a:cubicBezTo>
                    <a:cubicBezTo>
                      <a:pt x="136" y="17"/>
                      <a:pt x="133" y="20"/>
                      <a:pt x="130" y="20"/>
                    </a:cubicBezTo>
                    <a:cubicBezTo>
                      <a:pt x="127" y="20"/>
                      <a:pt x="124" y="17"/>
                      <a:pt x="124" y="14"/>
                    </a:cubicBezTo>
                    <a:cubicBezTo>
                      <a:pt x="124" y="11"/>
                      <a:pt x="127" y="8"/>
                      <a:pt x="130" y="8"/>
                    </a:cubicBezTo>
                    <a:close/>
                    <a:moveTo>
                      <a:pt x="176" y="112"/>
                    </a:moveTo>
                    <a:cubicBezTo>
                      <a:pt x="16" y="112"/>
                      <a:pt x="16" y="112"/>
                      <a:pt x="16" y="112"/>
                    </a:cubicBezTo>
                    <a:cubicBezTo>
                      <a:pt x="16" y="28"/>
                      <a:pt x="16" y="28"/>
                      <a:pt x="16" y="28"/>
                    </a:cubicBezTo>
                    <a:cubicBezTo>
                      <a:pt x="176" y="28"/>
                      <a:pt x="176" y="28"/>
                      <a:pt x="176" y="28"/>
                    </a:cubicBezTo>
                    <a:lnTo>
                      <a:pt x="176" y="112"/>
                    </a:lnTo>
                    <a:close/>
                  </a:path>
                </a:pathLst>
              </a:custGeom>
              <a:solidFill>
                <a:schemeClr val="tx2"/>
              </a:solidFill>
              <a:ln>
                <a:noFill/>
              </a:ln>
            </p:spPr>
            <p:txBody>
              <a:bodyPr vert="horz" wrap="square" lIns="91416" tIns="45708" rIns="91416" bIns="45708" numCol="1" anchor="t" anchorCtr="0" compatLnSpc="1">
                <a:prstTxWarp prst="textNoShape">
                  <a:avLst/>
                </a:prstTxWarp>
              </a:bodyPr>
              <a:lstStyle/>
              <a:p>
                <a:pPr marL="0" marR="0" lvl="0" indent="0" algn="l" defTabSz="457086"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sp>
            <p:nvSpPr>
              <p:cNvPr id="93" name="Freeform 9464">
                <a:extLst>
                  <a:ext uri="{FF2B5EF4-FFF2-40B4-BE49-F238E27FC236}">
                    <a16:creationId xmlns:a16="http://schemas.microsoft.com/office/drawing/2014/main" id="{00264C92-CD5B-3941-9F3E-347AE1DFBA89}"/>
                  </a:ext>
                </a:extLst>
              </p:cNvPr>
              <p:cNvSpPr>
                <a:spLocks/>
              </p:cNvSpPr>
              <p:nvPr/>
            </p:nvSpPr>
            <p:spPr bwMode="auto">
              <a:xfrm>
                <a:off x="1191349" y="3460837"/>
                <a:ext cx="56534" cy="96911"/>
              </a:xfrm>
              <a:custGeom>
                <a:avLst/>
                <a:gdLst>
                  <a:gd name="T0" fmla="*/ 19 w 36"/>
                  <a:gd name="T1" fmla="*/ 58 h 60"/>
                  <a:gd name="T2" fmla="*/ 23 w 36"/>
                  <a:gd name="T3" fmla="*/ 60 h 60"/>
                  <a:gd name="T4" fmla="*/ 25 w 36"/>
                  <a:gd name="T5" fmla="*/ 56 h 60"/>
                  <a:gd name="T6" fmla="*/ 19 w 36"/>
                  <a:gd name="T7" fmla="*/ 42 h 60"/>
                  <a:gd name="T8" fmla="*/ 36 w 36"/>
                  <a:gd name="T9" fmla="*/ 41 h 60"/>
                  <a:gd name="T10" fmla="*/ 0 w 36"/>
                  <a:gd name="T11" fmla="*/ 0 h 60"/>
                  <a:gd name="T12" fmla="*/ 0 w 36"/>
                  <a:gd name="T13" fmla="*/ 55 h 60"/>
                  <a:gd name="T14" fmla="*/ 13 w 36"/>
                  <a:gd name="T15" fmla="*/ 44 h 60"/>
                  <a:gd name="T16" fmla="*/ 19 w 36"/>
                  <a:gd name="T17"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60">
                    <a:moveTo>
                      <a:pt x="19" y="58"/>
                    </a:moveTo>
                    <a:cubicBezTo>
                      <a:pt x="19" y="60"/>
                      <a:pt x="21" y="60"/>
                      <a:pt x="23" y="60"/>
                    </a:cubicBezTo>
                    <a:cubicBezTo>
                      <a:pt x="24" y="59"/>
                      <a:pt x="25" y="57"/>
                      <a:pt x="25" y="56"/>
                    </a:cubicBezTo>
                    <a:cubicBezTo>
                      <a:pt x="19" y="42"/>
                      <a:pt x="19" y="42"/>
                      <a:pt x="19" y="42"/>
                    </a:cubicBezTo>
                    <a:cubicBezTo>
                      <a:pt x="36" y="41"/>
                      <a:pt x="36" y="41"/>
                      <a:pt x="36" y="41"/>
                    </a:cubicBezTo>
                    <a:cubicBezTo>
                      <a:pt x="0" y="0"/>
                      <a:pt x="0" y="0"/>
                      <a:pt x="0" y="0"/>
                    </a:cubicBezTo>
                    <a:cubicBezTo>
                      <a:pt x="0" y="55"/>
                      <a:pt x="0" y="55"/>
                      <a:pt x="0" y="55"/>
                    </a:cubicBezTo>
                    <a:cubicBezTo>
                      <a:pt x="13" y="44"/>
                      <a:pt x="13" y="44"/>
                      <a:pt x="13" y="44"/>
                    </a:cubicBezTo>
                    <a:lnTo>
                      <a:pt x="19" y="58"/>
                    </a:lnTo>
                    <a:close/>
                  </a:path>
                </a:pathLst>
              </a:custGeom>
              <a:solidFill>
                <a:schemeClr val="tx2"/>
              </a:solidFill>
              <a:ln>
                <a:noFill/>
              </a:ln>
            </p:spPr>
            <p:txBody>
              <a:bodyPr vert="horz" wrap="square" lIns="91416" tIns="45708" rIns="91416" bIns="45708" numCol="1" anchor="t" anchorCtr="0" compatLnSpc="1">
                <a:prstTxWarp prst="textNoShape">
                  <a:avLst/>
                </a:prstTxWarp>
              </a:bodyPr>
              <a:lstStyle/>
              <a:p>
                <a:pPr marL="0" marR="0" lvl="0" indent="0" algn="l" defTabSz="457086"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grpSp>
      </p:grpSp>
      <p:sp>
        <p:nvSpPr>
          <p:cNvPr id="94" name="Rectangle 93">
            <a:extLst>
              <a:ext uri="{FF2B5EF4-FFF2-40B4-BE49-F238E27FC236}">
                <a16:creationId xmlns:a16="http://schemas.microsoft.com/office/drawing/2014/main" id="{7E62BE61-998E-6046-BA86-7C5D66AF4F61}"/>
              </a:ext>
            </a:extLst>
          </p:cNvPr>
          <p:cNvSpPr/>
          <p:nvPr/>
        </p:nvSpPr>
        <p:spPr>
          <a:xfrm rot="16200000">
            <a:off x="1111573" y="3467421"/>
            <a:ext cx="1543063" cy="268731"/>
          </a:xfrm>
          <a:prstGeom prst="rect">
            <a:avLst/>
          </a:prstGeom>
          <a:solidFill>
            <a:schemeClr val="accent5">
              <a:lumMod val="75000"/>
            </a:schemeClr>
          </a:solidFill>
          <a:ln w="3175">
            <a:noFill/>
          </a:ln>
          <a:effectLst/>
        </p:spPr>
        <p:style>
          <a:lnRef idx="3">
            <a:schemeClr val="lt1"/>
          </a:lnRef>
          <a:fillRef idx="1">
            <a:schemeClr val="accent2"/>
          </a:fillRef>
          <a:effectRef idx="1">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Monitoring and Assurance</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95" name="Rectangle 94">
            <a:extLst>
              <a:ext uri="{FF2B5EF4-FFF2-40B4-BE49-F238E27FC236}">
                <a16:creationId xmlns:a16="http://schemas.microsoft.com/office/drawing/2014/main" id="{8F1A5BB8-1E4D-8B47-966B-A8404C9FF4DB}"/>
              </a:ext>
            </a:extLst>
          </p:cNvPr>
          <p:cNvSpPr/>
          <p:nvPr/>
        </p:nvSpPr>
        <p:spPr>
          <a:xfrm>
            <a:off x="2333417" y="2795631"/>
            <a:ext cx="4352067" cy="721963"/>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58595B"/>
                </a:solidFill>
                <a:effectLst/>
                <a:uLnTx/>
                <a:uFillTx/>
                <a:latin typeface="Arial"/>
                <a:ea typeface="+mn-ea"/>
                <a:cs typeface="+mn-cs"/>
              </a:rPr>
              <a:t>Virtual </a:t>
            </a:r>
            <a:r>
              <a:rPr kumimoji="0" lang="en-US" sz="1000" b="0" i="0" u="none" strike="noStrike" kern="1200" cap="none" spc="0" normalizeH="0" baseline="0" noProof="0" dirty="0">
                <a:ln>
                  <a:noFill/>
                </a:ln>
                <a:solidFill>
                  <a:srgbClr val="58595B"/>
                </a:solidFill>
                <a:effectLst/>
                <a:uLnTx/>
                <a:uFillTx/>
                <a:latin typeface="Arial"/>
                <a:ea typeface="+mn-ea"/>
                <a:cs typeface="+mn-cs"/>
              </a:rPr>
              <a:t>Infrastructure</a:t>
            </a:r>
          </a:p>
        </p:txBody>
      </p:sp>
      <p:sp>
        <p:nvSpPr>
          <p:cNvPr id="96" name="Rectangle 95">
            <a:extLst>
              <a:ext uri="{FF2B5EF4-FFF2-40B4-BE49-F238E27FC236}">
                <a16:creationId xmlns:a16="http://schemas.microsoft.com/office/drawing/2014/main" id="{051E8561-CDA3-7649-911C-2508A4204E25}"/>
              </a:ext>
            </a:extLst>
          </p:cNvPr>
          <p:cNvSpPr/>
          <p:nvPr/>
        </p:nvSpPr>
        <p:spPr>
          <a:xfrm>
            <a:off x="3859301" y="3040276"/>
            <a:ext cx="1327323" cy="45722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 Storage</a:t>
            </a:r>
          </a:p>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Ceph)</a:t>
            </a:r>
          </a:p>
        </p:txBody>
      </p:sp>
      <p:sp>
        <p:nvSpPr>
          <p:cNvPr id="97" name="Rectangle 96">
            <a:extLst>
              <a:ext uri="{FF2B5EF4-FFF2-40B4-BE49-F238E27FC236}">
                <a16:creationId xmlns:a16="http://schemas.microsoft.com/office/drawing/2014/main" id="{302853C9-5A86-E748-B27D-614DC37E2E59}"/>
              </a:ext>
            </a:extLst>
          </p:cNvPr>
          <p:cNvSpPr/>
          <p:nvPr/>
        </p:nvSpPr>
        <p:spPr>
          <a:xfrm>
            <a:off x="2410625" y="3040276"/>
            <a:ext cx="1371467" cy="45722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 Compute </a:t>
            </a:r>
          </a:p>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Linux)</a:t>
            </a:r>
          </a:p>
        </p:txBody>
      </p:sp>
      <p:sp>
        <p:nvSpPr>
          <p:cNvPr id="98" name="Rectangle 97">
            <a:extLst>
              <a:ext uri="{FF2B5EF4-FFF2-40B4-BE49-F238E27FC236}">
                <a16:creationId xmlns:a16="http://schemas.microsoft.com/office/drawing/2014/main" id="{CB9B18F1-C749-8A48-85D7-4507FE66D888}"/>
              </a:ext>
            </a:extLst>
          </p:cNvPr>
          <p:cNvSpPr/>
          <p:nvPr/>
        </p:nvSpPr>
        <p:spPr>
          <a:xfrm>
            <a:off x="5271804" y="3037844"/>
            <a:ext cx="1328500" cy="45722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 Network</a:t>
            </a:r>
          </a:p>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OVS, VPP, SR-IOV)</a:t>
            </a:r>
          </a:p>
        </p:txBody>
      </p:sp>
      <p:sp>
        <p:nvSpPr>
          <p:cNvPr id="99" name="Rectangle 98">
            <a:extLst>
              <a:ext uri="{FF2B5EF4-FFF2-40B4-BE49-F238E27FC236}">
                <a16:creationId xmlns:a16="http://schemas.microsoft.com/office/drawing/2014/main" id="{28FBB90A-2174-1044-9DE4-1D669E046367}"/>
              </a:ext>
            </a:extLst>
          </p:cNvPr>
          <p:cNvSpPr/>
          <p:nvPr/>
        </p:nvSpPr>
        <p:spPr>
          <a:xfrm>
            <a:off x="6992982" y="2795629"/>
            <a:ext cx="1383640" cy="959072"/>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ＭＳ Ｐゴシック" charset="0"/>
                <a:cs typeface="+mn-cs"/>
              </a:rPr>
              <a:t>VIM</a:t>
            </a:r>
          </a:p>
        </p:txBody>
      </p:sp>
      <p:graphicFrame>
        <p:nvGraphicFramePr>
          <p:cNvPr id="100" name="Table 99">
            <a:extLst>
              <a:ext uri="{FF2B5EF4-FFF2-40B4-BE49-F238E27FC236}">
                <a16:creationId xmlns:a16="http://schemas.microsoft.com/office/drawing/2014/main" id="{C6404F5E-29EB-5248-9409-1686BC402B38}"/>
              </a:ext>
            </a:extLst>
          </p:cNvPr>
          <p:cNvGraphicFramePr>
            <a:graphicFrameLocks noGrp="1"/>
          </p:cNvGraphicFramePr>
          <p:nvPr/>
        </p:nvGraphicFramePr>
        <p:xfrm>
          <a:off x="7056578" y="3030427"/>
          <a:ext cx="1271673" cy="614116"/>
        </p:xfrm>
        <a:graphic>
          <a:graphicData uri="http://schemas.openxmlformats.org/drawingml/2006/table">
            <a:tbl>
              <a:tblPr bandRow="1">
                <a:tableStyleId>{5C22544A-7EE6-4342-B048-85BDC9FD1C3A}</a:tableStyleId>
              </a:tblPr>
              <a:tblGrid>
                <a:gridCol w="1271673">
                  <a:extLst>
                    <a:ext uri="{9D8B030D-6E8A-4147-A177-3AD203B41FA5}">
                      <a16:colId xmlns:a16="http://schemas.microsoft.com/office/drawing/2014/main" val="20000"/>
                    </a:ext>
                  </a:extLst>
                </a:gridCol>
              </a:tblGrid>
              <a:tr h="307058">
                <a:tc>
                  <a:txBody>
                    <a:bodyPr/>
                    <a:lstStyle/>
                    <a:p>
                      <a:pPr marL="0" marR="0" lvl="0" indent="0" algn="l" defTabSz="91420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lumMod val="75000"/>
                            </a:schemeClr>
                          </a:solidFill>
                          <a:effectLst/>
                          <a:uLnTx/>
                          <a:uFillTx/>
                          <a:latin typeface="+mn-lt"/>
                          <a:ea typeface="+mn-ea"/>
                          <a:cs typeface="+mn-cs"/>
                        </a:rPr>
                        <a:t>        Red Hat OSP </a:t>
                      </a:r>
                    </a:p>
                  </a:txBody>
                  <a:tcPr marL="68562" marR="68562" marT="34281" marB="342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7058">
                <a:tc>
                  <a:txBody>
                    <a:bodyPr/>
                    <a:lstStyle/>
                    <a:p>
                      <a:pPr marL="0" marR="0" lvl="0" indent="0" algn="l" defTabSz="914209"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lumMod val="75000"/>
                          </a:schemeClr>
                        </a:solidFill>
                        <a:effectLst/>
                        <a:uLnTx/>
                        <a:uFillTx/>
                        <a:latin typeface="+mn-lt"/>
                        <a:ea typeface="+mn-ea"/>
                        <a:cs typeface="+mn-cs"/>
                      </a:endParaRPr>
                    </a:p>
                  </a:txBody>
                  <a:tcPr marL="68562" marR="68562" marT="34281" marB="342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01" name="Picture 2" descr="C:\Users\spius\Pictures\cisco logo blue gradient.png">
            <a:extLst>
              <a:ext uri="{FF2B5EF4-FFF2-40B4-BE49-F238E27FC236}">
                <a16:creationId xmlns:a16="http://schemas.microsoft.com/office/drawing/2014/main" id="{D906E88C-2951-BA47-A7FE-AC55354F728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049089" y="3396751"/>
            <a:ext cx="334465" cy="205687"/>
          </a:xfrm>
          <a:prstGeom prst="rect">
            <a:avLst/>
          </a:prstGeom>
          <a:noFill/>
          <a:extLst>
            <a:ext uri="{909E8E84-426E-40DD-AFC4-6F175D3DCCD1}">
              <a14:hiddenFill xmlns:a14="http://schemas.microsoft.com/office/drawing/2010/main">
                <a:solidFill>
                  <a:srgbClr val="FFFFFF"/>
                </a:solidFill>
              </a14:hiddenFill>
            </a:ext>
          </a:extLst>
        </p:spPr>
      </p:pic>
      <p:sp>
        <p:nvSpPr>
          <p:cNvPr id="102" name="TextBox 101">
            <a:extLst>
              <a:ext uri="{FF2B5EF4-FFF2-40B4-BE49-F238E27FC236}">
                <a16:creationId xmlns:a16="http://schemas.microsoft.com/office/drawing/2014/main" id="{6FCD5AA7-7244-9543-ABAF-9087519B569E}"/>
              </a:ext>
            </a:extLst>
          </p:cNvPr>
          <p:cNvSpPr txBox="1"/>
          <p:nvPr/>
        </p:nvSpPr>
        <p:spPr>
          <a:xfrm>
            <a:off x="7367394" y="3461788"/>
            <a:ext cx="912429" cy="200055"/>
          </a:xfrm>
          <a:prstGeom prst="rect">
            <a:avLst/>
          </a:prstGeom>
          <a:noFill/>
        </p:spPr>
        <p:txBody>
          <a:bodyPr wrap="none" rtlCol="0">
            <a:spAutoFit/>
          </a:bodyPr>
          <a:lstStyle/>
          <a:p>
            <a:pPr marL="0" marR="0" lvl="0" indent="0" algn="l" defTabSz="457086"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34" charset="-128"/>
                <a:cs typeface="+mn-cs"/>
              </a:rPr>
              <a:t>Lifecycle Manager</a:t>
            </a:r>
          </a:p>
        </p:txBody>
      </p:sp>
      <p:sp>
        <p:nvSpPr>
          <p:cNvPr id="103" name="TextBox 102">
            <a:extLst>
              <a:ext uri="{FF2B5EF4-FFF2-40B4-BE49-F238E27FC236}">
                <a16:creationId xmlns:a16="http://schemas.microsoft.com/office/drawing/2014/main" id="{5DA42E32-BA47-5146-8F62-37DEC4DE95E8}"/>
              </a:ext>
            </a:extLst>
          </p:cNvPr>
          <p:cNvSpPr txBox="1"/>
          <p:nvPr/>
        </p:nvSpPr>
        <p:spPr>
          <a:xfrm>
            <a:off x="7407238" y="3310498"/>
            <a:ext cx="768159" cy="246221"/>
          </a:xfrm>
          <a:prstGeom prst="rect">
            <a:avLst/>
          </a:prstGeom>
          <a:noFill/>
        </p:spPr>
        <p:txBody>
          <a:bodyPr wrap="none" rtlCol="0">
            <a:spAutoFit/>
          </a:bodyPr>
          <a:lstStyle/>
          <a:p>
            <a:pPr marL="0" marR="0" lvl="0" indent="0" algn="l" defTabSz="457086"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34" charset="-128"/>
                <a:cs typeface="+mn-cs"/>
              </a:rPr>
              <a:t>Cisco VIM</a:t>
            </a:r>
          </a:p>
        </p:txBody>
      </p:sp>
    </p:spTree>
    <p:extLst>
      <p:ext uri="{BB962C8B-B14F-4D97-AF65-F5344CB8AC3E}">
        <p14:creationId xmlns:p14="http://schemas.microsoft.com/office/powerpoint/2010/main" val="913415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10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204153"/>
            <a:ext cx="8345488" cy="731837"/>
          </a:xfrm>
        </p:spPr>
        <p:txBody>
          <a:bodyPr/>
          <a:lstStyle/>
          <a:p>
            <a:r>
              <a:rPr lang="en-US" dirty="0"/>
              <a:t>Cisco NFVI Solution </a:t>
            </a:r>
            <a:br>
              <a:rPr lang="en-US" dirty="0"/>
            </a:br>
            <a:r>
              <a:rPr lang="en-US" sz="2000" dirty="0">
                <a:solidFill>
                  <a:schemeClr val="accent1"/>
                </a:solidFill>
              </a:rPr>
              <a:t>Leading Industry Partnerships</a:t>
            </a:r>
            <a:endParaRPr lang="en-US" dirty="0">
              <a:solidFill>
                <a:schemeClr val="accent1"/>
              </a:solidFill>
            </a:endParaRPr>
          </a:p>
        </p:txBody>
      </p:sp>
      <p:grpSp>
        <p:nvGrpSpPr>
          <p:cNvPr id="4" name="Group 3"/>
          <p:cNvGrpSpPr/>
          <p:nvPr/>
        </p:nvGrpSpPr>
        <p:grpSpPr>
          <a:xfrm>
            <a:off x="2176464" y="1051961"/>
            <a:ext cx="5093253" cy="1426547"/>
            <a:chOff x="3064510" y="1230483"/>
            <a:chExt cx="5093253" cy="1426547"/>
          </a:xfrm>
        </p:grpSpPr>
        <p:grpSp>
          <p:nvGrpSpPr>
            <p:cNvPr id="105" name="Group 104"/>
            <p:cNvGrpSpPr/>
            <p:nvPr/>
          </p:nvGrpSpPr>
          <p:grpSpPr>
            <a:xfrm>
              <a:off x="3064510" y="2126678"/>
              <a:ext cx="5093253" cy="530352"/>
              <a:chOff x="3064510" y="2103818"/>
              <a:chExt cx="5093253" cy="530352"/>
            </a:xfrm>
          </p:grpSpPr>
          <p:sp>
            <p:nvSpPr>
              <p:cNvPr id="106" name="Rectangle 105"/>
              <p:cNvSpPr/>
              <p:nvPr/>
            </p:nvSpPr>
            <p:spPr>
              <a:xfrm>
                <a:off x="6092857" y="2165093"/>
                <a:ext cx="2064906" cy="407802"/>
              </a:xfrm>
              <a:prstGeom prst="rect">
                <a:avLst/>
              </a:prstGeom>
            </p:spPr>
            <p:txBody>
              <a:bodyPr wrap="none" lIns="68579" tIns="34289" rIns="68579" bIns="34289">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8595B"/>
                    </a:solidFill>
                    <a:effectLst/>
                    <a:uLnTx/>
                    <a:uFillTx/>
                    <a:latin typeface="Arial"/>
                    <a:ea typeface="ＭＳ Ｐゴシック" panose="020B0600070205080204" pitchFamily="34" charset="-128"/>
                    <a:cs typeface="+mn-cs"/>
                  </a:rPr>
                  <a:t>Performance Acceleration,</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8595B"/>
                    </a:solidFill>
                    <a:effectLst/>
                    <a:uLnTx/>
                    <a:uFillTx/>
                    <a:latin typeface="Arial"/>
                    <a:ea typeface="ＭＳ Ｐゴシック" panose="020B0600070205080204" pitchFamily="34" charset="-128"/>
                    <a:cs typeface="+mn-cs"/>
                  </a:rPr>
                  <a:t>Enhanced Platform Awareness</a:t>
                </a:r>
              </a:p>
            </p:txBody>
          </p:sp>
          <p:grpSp>
            <p:nvGrpSpPr>
              <p:cNvPr id="107" name="Group 106"/>
              <p:cNvGrpSpPr/>
              <p:nvPr/>
            </p:nvGrpSpPr>
            <p:grpSpPr>
              <a:xfrm>
                <a:off x="5480099" y="2103818"/>
                <a:ext cx="530352" cy="530352"/>
                <a:chOff x="9872179" y="3513754"/>
                <a:chExt cx="530352" cy="530352"/>
              </a:xfrm>
            </p:grpSpPr>
            <p:pic>
              <p:nvPicPr>
                <p:cNvPr id="113" name="Picture 2" descr="D:\Project_Basics\December15\09-12-15\681001\DesignDev\Intel-Logo-PNG-0253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63839" y="3664630"/>
                  <a:ext cx="347033" cy="228600"/>
                </a:xfrm>
                <a:prstGeom prst="rect">
                  <a:avLst/>
                </a:prstGeom>
                <a:noFill/>
                <a:extLst>
                  <a:ext uri="{909E8E84-426E-40dd-AFC4-6F175D3DCCD1}">
                    <a14:hiddenFill xmlns:a14="http://schemas.microsoft.com/office/drawing/2010/main" xmlns="">
                      <a:solidFill>
                        <a:srgbClr val="FFFFFF"/>
                      </a:solidFill>
                    </a14:hiddenFill>
                  </a:ext>
                </a:extLst>
              </p:spPr>
            </p:pic>
            <p:sp>
              <p:nvSpPr>
                <p:cNvPr id="114" name="Oval 113"/>
                <p:cNvSpPr/>
                <p:nvPr/>
              </p:nvSpPr>
              <p:spPr>
                <a:xfrm>
                  <a:off x="9872179" y="3513754"/>
                  <a:ext cx="530352" cy="530352"/>
                </a:xfrm>
                <a:prstGeom prst="ellipse">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20" rIns="0" bIns="0" rtlCol="0" anchor="t"/>
                <a:lstStyle/>
                <a:p>
                  <a:pPr marL="0" marR="0" lvl="0" indent="0" algn="ctr" defTabSz="685766" rtl="0" eaLnBrk="0" fontAlgn="base" latinLnBrk="0" hangingPunct="0">
                    <a:lnSpc>
                      <a:spcPct val="100000"/>
                    </a:lnSpc>
                    <a:spcBef>
                      <a:spcPct val="0"/>
                    </a:spcBef>
                    <a:spcAft>
                      <a:spcPct val="0"/>
                    </a:spcAft>
                    <a:buClrTx/>
                    <a:buSzTx/>
                    <a:buFontTx/>
                    <a:buNone/>
                    <a:tabLst/>
                    <a:defRPr/>
                  </a:pPr>
                  <a:endParaRPr kumimoji="0" lang="en-IN" sz="1000" b="0" i="0" u="none" strike="noStrike" kern="1200" cap="none" spc="0" normalizeH="0" baseline="0" noProof="0">
                    <a:ln>
                      <a:noFill/>
                    </a:ln>
                    <a:solidFill>
                      <a:srgbClr val="58595B"/>
                    </a:solidFill>
                    <a:effectLst/>
                    <a:uLnTx/>
                    <a:uFillTx/>
                    <a:latin typeface="Arial"/>
                    <a:ea typeface="+mn-ea"/>
                    <a:cs typeface="+mn-cs"/>
                  </a:endParaRPr>
                </a:p>
              </p:txBody>
            </p:sp>
          </p:grpSp>
          <p:grpSp>
            <p:nvGrpSpPr>
              <p:cNvPr id="108" name="Group 107"/>
              <p:cNvGrpSpPr/>
              <p:nvPr/>
            </p:nvGrpSpPr>
            <p:grpSpPr>
              <a:xfrm>
                <a:off x="3064510" y="2105237"/>
                <a:ext cx="2336763" cy="527514"/>
                <a:chOff x="2708163" y="2093936"/>
                <a:chExt cx="2336763" cy="527514"/>
              </a:xfrm>
            </p:grpSpPr>
            <p:sp>
              <p:nvSpPr>
                <p:cNvPr id="109" name="TextBox 108"/>
                <p:cNvSpPr txBox="1"/>
                <p:nvPr/>
              </p:nvSpPr>
              <p:spPr>
                <a:xfrm>
                  <a:off x="2708163" y="2129093"/>
                  <a:ext cx="1702815" cy="457200"/>
                </a:xfrm>
                <a:prstGeom prst="rect">
                  <a:avLst/>
                </a:prstGeom>
                <a:noFill/>
              </p:spPr>
              <p:txBody>
                <a:bodyPr wrap="square" lIns="0" rIns="0" rtlCol="0" anchor="ctr">
                  <a:noAutofit/>
                </a:bodyPr>
                <a:lstStyle>
                  <a:defPPr>
                    <a:defRPr lang="en-US"/>
                  </a:defPPr>
                  <a:lvl1pPr algn="ctr">
                    <a:defRPr sz="2000" b="1">
                      <a:solidFill>
                        <a:schemeClr val="tx1">
                          <a:lumMod val="50000"/>
                        </a:schemeClr>
                      </a:solidFill>
                    </a:defRPr>
                  </a:lvl1pPr>
                  <a:lvl2pPr marL="263525" lvl="1" algn="ctr">
                    <a:defRPr sz="1600">
                      <a:solidFill>
                        <a:schemeClr val="accent2">
                          <a:lumMod val="20000"/>
                          <a:lumOff val="80000"/>
                        </a:schemeClr>
                      </a:solidFill>
                    </a:defRPr>
                  </a:lvl2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8595B"/>
                      </a:solidFill>
                      <a:effectLst/>
                      <a:uLnTx/>
                      <a:uFillTx/>
                      <a:latin typeface="Arial"/>
                      <a:ea typeface="ＭＳ Ｐゴシック" charset="0"/>
                      <a:cs typeface="+mn-cs"/>
                    </a:rPr>
                    <a:t>Certified by Red Hat</a:t>
                  </a: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58595B"/>
                      </a:solidFill>
                      <a:effectLst/>
                      <a:uLnTx/>
                      <a:uFillTx/>
                      <a:latin typeface="Arial"/>
                      <a:ea typeface="ＭＳ Ｐゴシック" charset="0"/>
                      <a:cs typeface="+mn-cs"/>
                    </a:rPr>
                    <a:t>Joint Engineering</a:t>
                  </a:r>
                  <a:endParaRPr kumimoji="0" lang="en-US" sz="1100" b="0" i="0" u="none" strike="noStrike" kern="1200" cap="none" spc="0" normalizeH="0" baseline="0" noProof="0">
                    <a:ln>
                      <a:noFill/>
                    </a:ln>
                    <a:solidFill>
                      <a:srgbClr val="58595B"/>
                    </a:solidFill>
                    <a:effectLst/>
                    <a:uLnTx/>
                    <a:uFillTx/>
                    <a:latin typeface="Arial"/>
                    <a:ea typeface="ＭＳ Ｐゴシック" charset="0"/>
                    <a:cs typeface="+mn-cs"/>
                  </a:endParaRPr>
                </a:p>
              </p:txBody>
            </p:sp>
            <p:grpSp>
              <p:nvGrpSpPr>
                <p:cNvPr id="110" name="Group 109"/>
                <p:cNvGrpSpPr/>
                <p:nvPr/>
              </p:nvGrpSpPr>
              <p:grpSpPr>
                <a:xfrm>
                  <a:off x="4517412" y="2093936"/>
                  <a:ext cx="527514" cy="527514"/>
                  <a:chOff x="3048863" y="1872956"/>
                  <a:chExt cx="527514" cy="527514"/>
                </a:xfrm>
              </p:grpSpPr>
              <p:pic>
                <p:nvPicPr>
                  <p:cNvPr id="111" name="Picture 110"/>
                  <p:cNvPicPr>
                    <a:picLocks noChangeAspect="1"/>
                  </p:cNvPicPr>
                  <p:nvPr/>
                </p:nvPicPr>
                <p:blipFill rotWithShape="1">
                  <a:blip r:embed="rId4" cstate="screen">
                    <a:extLst>
                      <a:ext uri="{28A0092B-C50C-407E-A947-70E740481C1C}">
                        <a14:useLocalDpi xmlns:a14="http://schemas.microsoft.com/office/drawing/2010/main"/>
                      </a:ext>
                    </a:extLst>
                  </a:blip>
                  <a:stretch/>
                </p:blipFill>
                <p:spPr>
                  <a:xfrm>
                    <a:off x="3096193" y="1956866"/>
                    <a:ext cx="432854" cy="359695"/>
                  </a:xfrm>
                  <a:prstGeom prst="rect">
                    <a:avLst/>
                  </a:prstGeom>
                  <a:noFill/>
                  <a:ln>
                    <a:noFill/>
                  </a:ln>
                </p:spPr>
              </p:pic>
              <p:sp>
                <p:nvSpPr>
                  <p:cNvPr id="112" name="Oval 111"/>
                  <p:cNvSpPr/>
                  <p:nvPr/>
                </p:nvSpPr>
                <p:spPr>
                  <a:xfrm>
                    <a:off x="3048863" y="1872956"/>
                    <a:ext cx="527514" cy="527514"/>
                  </a:xfrm>
                  <a:prstGeom prst="ellipse">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20" rIns="0" bIns="0" rtlCol="0" anchor="t"/>
                  <a:lstStyle/>
                  <a:p>
                    <a:pPr marL="0" marR="0" lvl="0" indent="0" algn="ctr" defTabSz="685766" rtl="0" eaLnBrk="0" fontAlgn="base" latinLnBrk="0" hangingPunct="0">
                      <a:lnSpc>
                        <a:spcPct val="100000"/>
                      </a:lnSpc>
                      <a:spcBef>
                        <a:spcPct val="0"/>
                      </a:spcBef>
                      <a:spcAft>
                        <a:spcPct val="0"/>
                      </a:spcAft>
                      <a:buClrTx/>
                      <a:buSzTx/>
                      <a:buFontTx/>
                      <a:buNone/>
                      <a:tabLst/>
                      <a:defRPr/>
                    </a:pPr>
                    <a:endParaRPr kumimoji="0" lang="en-IN" sz="1000" b="0" i="0" u="none" strike="noStrike" kern="1200" cap="none" spc="0" normalizeH="0" baseline="0" noProof="0">
                      <a:ln>
                        <a:noFill/>
                      </a:ln>
                      <a:solidFill>
                        <a:srgbClr val="58595B"/>
                      </a:solidFill>
                      <a:effectLst/>
                      <a:uLnTx/>
                      <a:uFillTx/>
                      <a:latin typeface="Arial"/>
                      <a:ea typeface="+mn-ea"/>
                      <a:cs typeface="+mn-cs"/>
                    </a:endParaRPr>
                  </a:p>
                </p:txBody>
              </p:sp>
            </p:grpSp>
          </p:grpSp>
        </p:grpSp>
        <p:sp>
          <p:nvSpPr>
            <p:cNvPr id="115" name="TextBox 114"/>
            <p:cNvSpPr txBox="1"/>
            <p:nvPr/>
          </p:nvSpPr>
          <p:spPr>
            <a:xfrm>
              <a:off x="3953292" y="1230483"/>
              <a:ext cx="2952209" cy="261610"/>
            </a:xfrm>
            <a:prstGeom prst="rect">
              <a:avLst/>
            </a:prstGeom>
            <a:noFill/>
          </p:spPr>
          <p:txBody>
            <a:bodyPr wrap="square" lIns="0" rIns="0" rtlCol="0">
              <a:spAutoFit/>
            </a:bodyPr>
            <a:lstStyle>
              <a:defPPr>
                <a:defRPr lang="en-US"/>
              </a:defPPr>
              <a:lvl1pPr algn="ctr">
                <a:defRPr sz="2000" b="1">
                  <a:solidFill>
                    <a:schemeClr val="accent2">
                      <a:lumMod val="20000"/>
                      <a:lumOff val="80000"/>
                    </a:schemeClr>
                  </a:solidFill>
                </a:defRPr>
              </a:lvl1pPr>
              <a:lvl2pPr marL="263525" lvl="1" algn="ctr">
                <a:defRPr sz="1600">
                  <a:solidFill>
                    <a:schemeClr val="accent2">
                      <a:lumMod val="20000"/>
                      <a:lumOff val="80000"/>
                    </a:schemeClr>
                  </a:solidFill>
                </a:defRPr>
              </a:lvl2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8595B"/>
                  </a:solidFill>
                  <a:effectLst/>
                  <a:uLnTx/>
                  <a:uFillTx/>
                  <a:latin typeface="Arial"/>
                  <a:ea typeface="ＭＳ Ｐゴシック" charset="0"/>
                  <a:cs typeface="+mn-cs"/>
                </a:rPr>
                <a:t>Integrated platform Design and Validation</a:t>
              </a:r>
            </a:p>
          </p:txBody>
        </p:sp>
        <p:grpSp>
          <p:nvGrpSpPr>
            <p:cNvPr id="116" name="Group 115"/>
            <p:cNvGrpSpPr/>
            <p:nvPr/>
          </p:nvGrpSpPr>
          <p:grpSpPr>
            <a:xfrm>
              <a:off x="5112545" y="1498334"/>
              <a:ext cx="633702" cy="633702"/>
              <a:chOff x="3277454" y="1327537"/>
              <a:chExt cx="633702" cy="633702"/>
            </a:xfrm>
          </p:grpSpPr>
          <p:pic>
            <p:nvPicPr>
              <p:cNvPr id="117" name="Picture 1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34533" y="1507228"/>
                <a:ext cx="519544" cy="274320"/>
              </a:xfrm>
              <a:prstGeom prst="rect">
                <a:avLst/>
              </a:prstGeom>
            </p:spPr>
          </p:pic>
          <p:sp>
            <p:nvSpPr>
              <p:cNvPr id="118" name="Oval 117"/>
              <p:cNvSpPr/>
              <p:nvPr/>
            </p:nvSpPr>
            <p:spPr>
              <a:xfrm>
                <a:off x="3277454" y="1327537"/>
                <a:ext cx="633702" cy="633702"/>
              </a:xfrm>
              <a:prstGeom prst="ellipse">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20" rIns="0" bIns="0" rtlCol="0" anchor="t"/>
              <a:lstStyle/>
              <a:p>
                <a:pPr marL="0" marR="0" lvl="0" indent="0" algn="ctr" defTabSz="685766" rtl="0" eaLnBrk="0" fontAlgn="base" latinLnBrk="0" hangingPunct="0">
                  <a:lnSpc>
                    <a:spcPct val="100000"/>
                  </a:lnSpc>
                  <a:spcBef>
                    <a:spcPct val="0"/>
                  </a:spcBef>
                  <a:spcAft>
                    <a:spcPct val="0"/>
                  </a:spcAft>
                  <a:buClrTx/>
                  <a:buSzTx/>
                  <a:buFontTx/>
                  <a:buNone/>
                  <a:tabLst/>
                  <a:defRPr/>
                </a:pPr>
                <a:endParaRPr kumimoji="0" lang="en-IN" sz="1000" b="0" i="0" u="none" strike="noStrike" kern="1200" cap="none" spc="0" normalizeH="0" baseline="0" noProof="0">
                  <a:ln>
                    <a:noFill/>
                  </a:ln>
                  <a:solidFill>
                    <a:srgbClr val="58595B"/>
                  </a:solidFill>
                  <a:effectLst/>
                  <a:uLnTx/>
                  <a:uFillTx/>
                  <a:latin typeface="Arial"/>
                  <a:ea typeface="+mn-ea"/>
                  <a:cs typeface="+mn-cs"/>
                </a:endParaRPr>
              </a:p>
            </p:txBody>
          </p:sp>
        </p:grpSp>
      </p:grpSp>
      <p:sp>
        <p:nvSpPr>
          <p:cNvPr id="119" name="Rectangle 118"/>
          <p:cNvSpPr/>
          <p:nvPr/>
        </p:nvSpPr>
        <p:spPr>
          <a:xfrm>
            <a:off x="707361" y="1021481"/>
            <a:ext cx="7667979" cy="1520336"/>
          </a:xfrm>
          <a:prstGeom prst="rect">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58595B"/>
              </a:solidFill>
              <a:effectLst/>
              <a:uLnTx/>
              <a:uFillTx/>
              <a:latin typeface="Arial"/>
              <a:ea typeface="+mn-ea"/>
              <a:cs typeface="+mn-cs"/>
            </a:endParaRPr>
          </a:p>
        </p:txBody>
      </p:sp>
      <p:grpSp>
        <p:nvGrpSpPr>
          <p:cNvPr id="8" name="Group 7"/>
          <p:cNvGrpSpPr/>
          <p:nvPr/>
        </p:nvGrpSpPr>
        <p:grpSpPr>
          <a:xfrm>
            <a:off x="657922" y="1021481"/>
            <a:ext cx="7839307" cy="1545736"/>
            <a:chOff x="707361" y="1174603"/>
            <a:chExt cx="7667978" cy="1545736"/>
          </a:xfrm>
        </p:grpSpPr>
        <p:sp>
          <p:nvSpPr>
            <p:cNvPr id="120" name="Rectangle 119"/>
            <p:cNvSpPr/>
            <p:nvPr/>
          </p:nvSpPr>
          <p:spPr>
            <a:xfrm>
              <a:off x="707361" y="1174603"/>
              <a:ext cx="7667978" cy="1545736"/>
            </a:xfrm>
            <a:prstGeom prst="rect">
              <a:avLst/>
            </a:prstGeom>
            <a:solidFill>
              <a:schemeClr val="tx1">
                <a:lumMod val="20000"/>
                <a:lumOff val="80000"/>
              </a:schemeClr>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300" b="0" i="0" u="none" strike="noStrike" kern="1200" cap="none" spc="0" normalizeH="0" baseline="0" noProof="0" dirty="0">
                <a:ln>
                  <a:noFill/>
                </a:ln>
                <a:solidFill>
                  <a:srgbClr val="58595B"/>
                </a:solidFill>
                <a:effectLst/>
                <a:uLnTx/>
                <a:uFillTx/>
                <a:latin typeface="Arial"/>
                <a:ea typeface="+mn-ea"/>
                <a:cs typeface="+mn-cs"/>
              </a:endParaRPr>
            </a:p>
          </p:txBody>
        </p:sp>
        <p:grpSp>
          <p:nvGrpSpPr>
            <p:cNvPr id="7" name="Group 6"/>
            <p:cNvGrpSpPr/>
            <p:nvPr/>
          </p:nvGrpSpPr>
          <p:grpSpPr>
            <a:xfrm>
              <a:off x="2458496" y="1285745"/>
              <a:ext cx="4165708" cy="1348852"/>
              <a:chOff x="2174627" y="1316225"/>
              <a:chExt cx="4165708" cy="1348852"/>
            </a:xfrm>
          </p:grpSpPr>
          <p:sp>
            <p:nvSpPr>
              <p:cNvPr id="121" name="Rectangle 120"/>
              <p:cNvSpPr/>
              <p:nvPr/>
            </p:nvSpPr>
            <p:spPr>
              <a:xfrm>
                <a:off x="3660506" y="1689855"/>
                <a:ext cx="2679828" cy="315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4BAF"/>
                    </a:solidFill>
                    <a:effectLst/>
                    <a:uLnTx/>
                    <a:uFillTx/>
                    <a:latin typeface="Arial"/>
                    <a:ea typeface="+mn-ea"/>
                    <a:cs typeface="+mn-cs"/>
                  </a:rPr>
                  <a:t>Simple Access to Support </a:t>
                </a:r>
              </a:p>
            </p:txBody>
          </p:sp>
          <p:sp>
            <p:nvSpPr>
              <p:cNvPr id="122" name="Oval 121"/>
              <p:cNvSpPr/>
              <p:nvPr/>
            </p:nvSpPr>
            <p:spPr>
              <a:xfrm>
                <a:off x="2174627" y="1316225"/>
                <a:ext cx="1348852" cy="1348852"/>
              </a:xfrm>
              <a:prstGeom prst="ellipse">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20" rIns="0" bIns="0" rtlCol="0" anchor="t"/>
              <a:lstStyle/>
              <a:p>
                <a:pPr marL="0" marR="0" lvl="0" indent="0" algn="ctr" defTabSz="685766" rtl="0" eaLnBrk="0" fontAlgn="base" latinLnBrk="0" hangingPunct="0">
                  <a:lnSpc>
                    <a:spcPct val="100000"/>
                  </a:lnSpc>
                  <a:spcBef>
                    <a:spcPct val="0"/>
                  </a:spcBef>
                  <a:spcAft>
                    <a:spcPct val="0"/>
                  </a:spcAft>
                  <a:buClrTx/>
                  <a:buSzTx/>
                  <a:buFontTx/>
                  <a:buNone/>
                  <a:tabLst/>
                  <a:defRPr/>
                </a:pPr>
                <a:endParaRPr kumimoji="0" lang="en-IN" sz="1000" b="0" i="0" u="none" strike="noStrike" kern="1200" cap="none" spc="0" normalizeH="0" baseline="0" noProof="0" dirty="0">
                  <a:ln>
                    <a:noFill/>
                  </a:ln>
                  <a:solidFill>
                    <a:srgbClr val="58595B"/>
                  </a:solidFill>
                  <a:effectLst/>
                  <a:uLnTx/>
                  <a:uFillTx/>
                  <a:latin typeface="Arial"/>
                  <a:ea typeface="+mn-ea"/>
                  <a:cs typeface="+mn-cs"/>
                </a:endParaRPr>
              </a:p>
            </p:txBody>
          </p:sp>
          <p:sp>
            <p:nvSpPr>
              <p:cNvPr id="123" name="Rectangle 122"/>
              <p:cNvSpPr/>
              <p:nvPr/>
            </p:nvSpPr>
            <p:spPr>
              <a:xfrm>
                <a:off x="3660505" y="2073553"/>
                <a:ext cx="2679830" cy="2800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4BAF"/>
                    </a:solidFill>
                    <a:effectLst/>
                    <a:uLnTx/>
                    <a:uFillTx/>
                    <a:latin typeface="Arial"/>
                    <a:ea typeface="+mn-ea"/>
                    <a:cs typeface="+mn-cs"/>
                  </a:rPr>
                  <a:t>Single Point of Contact</a:t>
                </a:r>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26525" y="1715341"/>
                <a:ext cx="1045056" cy="550621"/>
              </a:xfrm>
              <a:prstGeom prst="rect">
                <a:avLst/>
              </a:prstGeom>
            </p:spPr>
          </p:pic>
        </p:grpSp>
      </p:grpSp>
      <p:sp>
        <p:nvSpPr>
          <p:cNvPr id="90" name="Rectangle 89">
            <a:extLst>
              <a:ext uri="{FF2B5EF4-FFF2-40B4-BE49-F238E27FC236}">
                <a16:creationId xmlns:a16="http://schemas.microsoft.com/office/drawing/2014/main" id="{696D6005-02DC-C242-9EB5-939003C7920E}"/>
              </a:ext>
            </a:extLst>
          </p:cNvPr>
          <p:cNvSpPr/>
          <p:nvPr/>
        </p:nvSpPr>
        <p:spPr>
          <a:xfrm>
            <a:off x="686875" y="2704070"/>
            <a:ext cx="7815177" cy="1805729"/>
          </a:xfrm>
          <a:prstGeom prst="rect">
            <a:avLst/>
          </a:prstGeom>
          <a:solidFill>
            <a:schemeClr val="accent2">
              <a:lumMod val="75000"/>
            </a:schemeClr>
          </a:solidFill>
          <a:ln w="25400" cmpd="sng">
            <a:solidFill>
              <a:schemeClr val="accent6">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15" tIns="45707" rIns="91415" bIns="45707"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A49FD7E4-8D92-B440-A3FD-0F82B335FD80}"/>
              </a:ext>
            </a:extLst>
          </p:cNvPr>
          <p:cNvSpPr/>
          <p:nvPr/>
        </p:nvSpPr>
        <p:spPr>
          <a:xfrm>
            <a:off x="2327520" y="3792621"/>
            <a:ext cx="4352067" cy="594743"/>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mn-ea"/>
                <a:cs typeface="+mn-cs"/>
              </a:rPr>
              <a:t>Cisco Physical Infrastructure</a:t>
            </a:r>
          </a:p>
        </p:txBody>
      </p:sp>
      <p:sp>
        <p:nvSpPr>
          <p:cNvPr id="92" name="Rectangle 91">
            <a:extLst>
              <a:ext uri="{FF2B5EF4-FFF2-40B4-BE49-F238E27FC236}">
                <a16:creationId xmlns:a16="http://schemas.microsoft.com/office/drawing/2014/main" id="{78C7CB14-D194-4447-BAE1-139006AC8DF5}"/>
              </a:ext>
            </a:extLst>
          </p:cNvPr>
          <p:cNvSpPr/>
          <p:nvPr/>
        </p:nvSpPr>
        <p:spPr>
          <a:xfrm>
            <a:off x="6992982" y="3802643"/>
            <a:ext cx="1395266" cy="594206"/>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ＭＳ Ｐゴシック" charset="0"/>
                <a:cs typeface="+mn-cs"/>
              </a:rPr>
              <a:t>Optional Network VIM</a:t>
            </a:r>
          </a:p>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Cisco ACI / Cisco VTS)</a:t>
            </a:r>
          </a:p>
        </p:txBody>
      </p:sp>
      <p:sp>
        <p:nvSpPr>
          <p:cNvPr id="93" name="Rectangle 92">
            <a:extLst>
              <a:ext uri="{FF2B5EF4-FFF2-40B4-BE49-F238E27FC236}">
                <a16:creationId xmlns:a16="http://schemas.microsoft.com/office/drawing/2014/main" id="{4FE75C35-7ADC-284A-A558-7AC2ACA62AB2}"/>
              </a:ext>
            </a:extLst>
          </p:cNvPr>
          <p:cNvSpPr/>
          <p:nvPr/>
        </p:nvSpPr>
        <p:spPr>
          <a:xfrm>
            <a:off x="2404729" y="3556655"/>
            <a:ext cx="4207234" cy="212024"/>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5" tIns="45707" rIns="91415" bIns="45707" rtlCol="0" anchor="ctr"/>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Infrastructure Abstraction with Linux, KVM/</a:t>
            </a:r>
            <a:r>
              <a:rPr kumimoji="0" lang="en-US" sz="800" b="0" i="0" u="none" strike="noStrike" kern="1200" cap="none" spc="0" normalizeH="0" baseline="0" noProof="0" dirty="0" err="1">
                <a:ln>
                  <a:noFill/>
                </a:ln>
                <a:solidFill>
                  <a:srgbClr val="FFFFFF"/>
                </a:solidFill>
                <a:effectLst/>
                <a:uLnTx/>
                <a:uFillTx/>
                <a:latin typeface="Arial"/>
                <a:ea typeface="+mn-ea"/>
                <a:cs typeface="+mn-cs"/>
              </a:rPr>
              <a:t>Qemu</a:t>
            </a:r>
            <a:r>
              <a:rPr kumimoji="0" lang="en-US" sz="800" b="0" i="0" u="none" strike="noStrike" kern="1200" cap="none" spc="0" normalizeH="0" baseline="0" noProof="0" dirty="0">
                <a:ln>
                  <a:noFill/>
                </a:ln>
                <a:solidFill>
                  <a:srgbClr val="FFFFFF"/>
                </a:solidFill>
                <a:effectLst/>
                <a:uLnTx/>
                <a:uFillTx/>
                <a:latin typeface="Arial"/>
                <a:ea typeface="+mn-ea"/>
                <a:cs typeface="+mn-cs"/>
              </a:rPr>
              <a:t>, Host Packages, </a:t>
            </a:r>
            <a:r>
              <a:rPr kumimoji="0" lang="en-US" sz="800" b="0" i="0" u="none" strike="noStrike" kern="1200" cap="none" spc="0" normalizeH="0" baseline="0" noProof="0" dirty="0" err="1">
                <a:ln>
                  <a:noFill/>
                </a:ln>
                <a:solidFill>
                  <a:srgbClr val="FFFFFF"/>
                </a:solidFill>
                <a:effectLst/>
                <a:uLnTx/>
                <a:uFillTx/>
                <a:latin typeface="Arial"/>
                <a:ea typeface="+mn-ea"/>
                <a:cs typeface="+mn-cs"/>
              </a:rPr>
              <a:t>vSwitches</a:t>
            </a:r>
            <a:r>
              <a:rPr kumimoji="0" lang="en-US" sz="800" b="0" i="0" u="none" strike="noStrike" kern="1200" cap="none" spc="0" normalizeH="0" baseline="0" noProof="0" dirty="0">
                <a:ln>
                  <a:noFill/>
                </a:ln>
                <a:solidFill>
                  <a:srgbClr val="FFFFFF"/>
                </a:solidFill>
                <a:effectLst/>
                <a:uLnTx/>
                <a:uFillTx/>
                <a:latin typeface="Arial"/>
                <a:ea typeface="+mn-ea"/>
                <a:cs typeface="+mn-cs"/>
              </a:rPr>
              <a:t>  </a:t>
            </a:r>
          </a:p>
        </p:txBody>
      </p:sp>
      <p:sp>
        <p:nvSpPr>
          <p:cNvPr id="94" name="Rectangle 93">
            <a:extLst>
              <a:ext uri="{FF2B5EF4-FFF2-40B4-BE49-F238E27FC236}">
                <a16:creationId xmlns:a16="http://schemas.microsoft.com/office/drawing/2014/main" id="{519C8C28-AD3C-0240-BFF6-AFFE894E7776}"/>
              </a:ext>
            </a:extLst>
          </p:cNvPr>
          <p:cNvSpPr/>
          <p:nvPr/>
        </p:nvSpPr>
        <p:spPr>
          <a:xfrm>
            <a:off x="1840210" y="4529388"/>
            <a:ext cx="5463581" cy="215444"/>
          </a:xfrm>
          <a:prstGeom prst="rect">
            <a:avLst/>
          </a:prstGeom>
          <a:no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ABC233">
                    <a:lumMod val="50000"/>
                  </a:srgbClr>
                </a:solidFill>
                <a:effectLst/>
                <a:uLnTx/>
                <a:uFillTx/>
                <a:latin typeface="Arial"/>
                <a:ea typeface="+mn-ea"/>
                <a:cs typeface="+mn-cs"/>
              </a:rPr>
              <a:t>Cisco NFVI </a:t>
            </a:r>
            <a:r>
              <a:rPr kumimoji="0" lang="en-US" sz="1400" b="0" i="0" u="none" strike="noStrike" kern="1200" cap="none" spc="0" normalizeH="0" baseline="0" noProof="0" dirty="0">
                <a:ln>
                  <a:noFill/>
                </a:ln>
                <a:solidFill>
                  <a:srgbClr val="ABC233">
                    <a:lumMod val="50000"/>
                  </a:srgbClr>
                </a:solidFill>
                <a:effectLst/>
                <a:uLnTx/>
                <a:uFillTx/>
                <a:latin typeface="Arial"/>
                <a:ea typeface="+mn-ea"/>
                <a:cs typeface="+mn-cs"/>
              </a:rPr>
              <a:t>Scope</a:t>
            </a:r>
          </a:p>
        </p:txBody>
      </p:sp>
      <p:sp>
        <p:nvSpPr>
          <p:cNvPr id="95" name="Rectangle 94">
            <a:extLst>
              <a:ext uri="{FF2B5EF4-FFF2-40B4-BE49-F238E27FC236}">
                <a16:creationId xmlns:a16="http://schemas.microsoft.com/office/drawing/2014/main" id="{E837B692-E4AB-1B48-9FDF-95BBD276ED39}"/>
              </a:ext>
            </a:extLst>
          </p:cNvPr>
          <p:cNvSpPr/>
          <p:nvPr/>
        </p:nvSpPr>
        <p:spPr>
          <a:xfrm>
            <a:off x="3844511" y="4069913"/>
            <a:ext cx="1342114" cy="27424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Network (N9k/NCS5k)</a:t>
            </a:r>
          </a:p>
        </p:txBody>
      </p:sp>
      <p:sp>
        <p:nvSpPr>
          <p:cNvPr id="96" name="Rectangle 95">
            <a:extLst>
              <a:ext uri="{FF2B5EF4-FFF2-40B4-BE49-F238E27FC236}">
                <a16:creationId xmlns:a16="http://schemas.microsoft.com/office/drawing/2014/main" id="{9FE18978-094B-5A4A-8439-59F2E57D4BC1}"/>
              </a:ext>
            </a:extLst>
          </p:cNvPr>
          <p:cNvSpPr/>
          <p:nvPr/>
        </p:nvSpPr>
        <p:spPr>
          <a:xfrm>
            <a:off x="2404729" y="4069913"/>
            <a:ext cx="1371467" cy="27424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 Compute (UCS/3</a:t>
            </a:r>
            <a:r>
              <a:rPr kumimoji="0" lang="en-US" sz="900" b="0" i="0" u="none" strike="noStrike" kern="1200" cap="none" spc="0" normalizeH="0" baseline="30000" noProof="0" dirty="0">
                <a:ln>
                  <a:noFill/>
                </a:ln>
                <a:solidFill>
                  <a:srgbClr val="FFFFFF"/>
                </a:solidFill>
                <a:effectLst/>
                <a:uLnTx/>
                <a:uFillTx/>
                <a:latin typeface="Arial"/>
                <a:ea typeface="+mn-ea"/>
                <a:cs typeface="+mn-cs"/>
              </a:rPr>
              <a:t>rd</a:t>
            </a:r>
            <a:r>
              <a:rPr kumimoji="0" lang="en-US" sz="900" b="0" i="0" u="none" strike="noStrike" kern="1200" cap="none" spc="0" normalizeH="0" baseline="0" noProof="0" dirty="0">
                <a:ln>
                  <a:noFill/>
                </a:ln>
                <a:solidFill>
                  <a:srgbClr val="FFFFFF"/>
                </a:solidFill>
                <a:effectLst/>
                <a:uLnTx/>
                <a:uFillTx/>
                <a:latin typeface="Arial"/>
                <a:ea typeface="+mn-ea"/>
                <a:cs typeface="+mn-cs"/>
              </a:rPr>
              <a:t> P)</a:t>
            </a:r>
          </a:p>
        </p:txBody>
      </p:sp>
      <p:sp>
        <p:nvSpPr>
          <p:cNvPr id="97" name="Rectangle 96">
            <a:extLst>
              <a:ext uri="{FF2B5EF4-FFF2-40B4-BE49-F238E27FC236}">
                <a16:creationId xmlns:a16="http://schemas.microsoft.com/office/drawing/2014/main" id="{1A0DC7DC-AE27-2344-8A21-CDAD7A84A08E}"/>
              </a:ext>
            </a:extLst>
          </p:cNvPr>
          <p:cNvSpPr/>
          <p:nvPr/>
        </p:nvSpPr>
        <p:spPr>
          <a:xfrm>
            <a:off x="5271804" y="4066436"/>
            <a:ext cx="1328500" cy="27424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   Storage (UCS /3</a:t>
            </a:r>
            <a:r>
              <a:rPr kumimoji="0" lang="en-US" sz="900" b="0" i="0" u="none" strike="noStrike" kern="1200" cap="none" spc="0" normalizeH="0" baseline="30000" noProof="0" dirty="0">
                <a:ln>
                  <a:noFill/>
                </a:ln>
                <a:solidFill>
                  <a:srgbClr val="FFFFFF"/>
                </a:solidFill>
                <a:effectLst/>
                <a:uLnTx/>
                <a:uFillTx/>
                <a:latin typeface="Arial"/>
                <a:ea typeface="+mn-ea"/>
                <a:cs typeface="+mn-cs"/>
              </a:rPr>
              <a:t>rd</a:t>
            </a:r>
            <a:r>
              <a:rPr kumimoji="0" lang="en-US" sz="900" b="0" i="0" u="none" strike="noStrike" kern="1200" cap="none" spc="0" normalizeH="0" baseline="0" noProof="0" dirty="0">
                <a:ln>
                  <a:noFill/>
                </a:ln>
                <a:solidFill>
                  <a:srgbClr val="FFFFFF"/>
                </a:solidFill>
                <a:effectLst/>
                <a:uLnTx/>
                <a:uFillTx/>
                <a:latin typeface="Arial"/>
                <a:ea typeface="+mn-ea"/>
                <a:cs typeface="+mn-cs"/>
              </a:rPr>
              <a:t> P)</a:t>
            </a:r>
          </a:p>
        </p:txBody>
      </p:sp>
      <p:sp>
        <p:nvSpPr>
          <p:cNvPr id="98" name="Rectangle 97">
            <a:extLst>
              <a:ext uri="{FF2B5EF4-FFF2-40B4-BE49-F238E27FC236}">
                <a16:creationId xmlns:a16="http://schemas.microsoft.com/office/drawing/2014/main" id="{B61E2226-21F6-4949-855B-94B062246756}"/>
              </a:ext>
            </a:extLst>
          </p:cNvPr>
          <p:cNvSpPr/>
          <p:nvPr/>
        </p:nvSpPr>
        <p:spPr>
          <a:xfrm rot="16200000">
            <a:off x="717556" y="2850386"/>
            <a:ext cx="1596404" cy="1486893"/>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1415" tIns="91416" rIns="91415" bIns="0" rtlCol="0" anchor="t"/>
          <a:lstStyle/>
          <a:p>
            <a:pPr marL="0" marR="0" lvl="0" indent="0" algn="ctr" defTabSz="685595"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a:p>
            <a:pPr marL="0" marR="0" lvl="0" indent="0" algn="ctr" defTabSz="685595"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a:p>
            <a:pPr marL="0" marR="0" lvl="0" indent="0" algn="ctr" defTabSz="685595"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p:txBody>
      </p:sp>
      <p:sp>
        <p:nvSpPr>
          <p:cNvPr id="99" name="TextBox 98">
            <a:extLst>
              <a:ext uri="{FF2B5EF4-FFF2-40B4-BE49-F238E27FC236}">
                <a16:creationId xmlns:a16="http://schemas.microsoft.com/office/drawing/2014/main" id="{7E276C27-5323-5C49-A6B7-A1B4D189B437}"/>
              </a:ext>
            </a:extLst>
          </p:cNvPr>
          <p:cNvSpPr txBox="1"/>
          <p:nvPr/>
        </p:nvSpPr>
        <p:spPr>
          <a:xfrm rot="16200000">
            <a:off x="1416836" y="3524584"/>
            <a:ext cx="1475465" cy="138499"/>
          </a:xfrm>
          <a:prstGeom prst="rect">
            <a:avLst/>
          </a:prstGeom>
          <a:noFill/>
        </p:spPr>
        <p:txBody>
          <a:bodyPr wrap="square" lIns="0" tIns="0" rIns="0" bIns="0" rtlCol="0">
            <a:spAutoFit/>
          </a:bodyP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Infrastructure </a:t>
            </a:r>
            <a:r>
              <a:rPr kumimoji="0" lang="en-US" sz="900" b="0" i="0" u="none" strike="noStrike" kern="1200" cap="none" spc="0" normalizeH="0" baseline="0" noProof="0">
                <a:ln>
                  <a:noFill/>
                </a:ln>
                <a:solidFill>
                  <a:srgbClr val="58595B"/>
                </a:solidFill>
                <a:effectLst/>
                <a:uLnTx/>
                <a:uFillTx/>
                <a:latin typeface="Arial"/>
                <a:ea typeface="ＭＳ Ｐゴシック" charset="0"/>
                <a:cs typeface="+mn-cs"/>
              </a:rPr>
              <a:t>Management </a:t>
            </a:r>
            <a:endPar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endParaRPr>
          </a:p>
        </p:txBody>
      </p:sp>
      <p:sp>
        <p:nvSpPr>
          <p:cNvPr id="100" name="Rectangle 99">
            <a:extLst>
              <a:ext uri="{FF2B5EF4-FFF2-40B4-BE49-F238E27FC236}">
                <a16:creationId xmlns:a16="http://schemas.microsoft.com/office/drawing/2014/main" id="{73851C05-A1D4-A048-9F15-27A270802670}"/>
              </a:ext>
            </a:extLst>
          </p:cNvPr>
          <p:cNvSpPr/>
          <p:nvPr/>
        </p:nvSpPr>
        <p:spPr>
          <a:xfrm rot="16200000">
            <a:off x="747981" y="3467630"/>
            <a:ext cx="1543477" cy="268731"/>
          </a:xfrm>
          <a:prstGeom prst="rect">
            <a:avLst/>
          </a:prstGeom>
          <a:solidFill>
            <a:schemeClr val="accent1"/>
          </a:solidFill>
          <a:ln w="3175">
            <a:noFill/>
          </a:ln>
          <a:effectLst/>
        </p:spPr>
        <p:style>
          <a:lnRef idx="3">
            <a:schemeClr val="lt1"/>
          </a:lnRef>
          <a:fillRef idx="1">
            <a:schemeClr val="accent2"/>
          </a:fillRef>
          <a:effectRef idx="1">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Unified Management</a:t>
            </a:r>
          </a:p>
        </p:txBody>
      </p:sp>
      <p:grpSp>
        <p:nvGrpSpPr>
          <p:cNvPr id="101" name="Group 100">
            <a:extLst>
              <a:ext uri="{FF2B5EF4-FFF2-40B4-BE49-F238E27FC236}">
                <a16:creationId xmlns:a16="http://schemas.microsoft.com/office/drawing/2014/main" id="{7F40E053-679B-5B4E-827A-9DF4122D1237}"/>
              </a:ext>
            </a:extLst>
          </p:cNvPr>
          <p:cNvGrpSpPr/>
          <p:nvPr/>
        </p:nvGrpSpPr>
        <p:grpSpPr>
          <a:xfrm>
            <a:off x="911671" y="3062752"/>
            <a:ext cx="370564" cy="522273"/>
            <a:chOff x="948991" y="3687430"/>
            <a:chExt cx="370661" cy="522409"/>
          </a:xfrm>
        </p:grpSpPr>
        <p:sp>
          <p:nvSpPr>
            <p:cNvPr id="102" name="TextBox 101">
              <a:extLst>
                <a:ext uri="{FF2B5EF4-FFF2-40B4-BE49-F238E27FC236}">
                  <a16:creationId xmlns:a16="http://schemas.microsoft.com/office/drawing/2014/main" id="{AA4D4996-9DC3-334F-B337-10A8E9A0A5AD}"/>
                </a:ext>
              </a:extLst>
            </p:cNvPr>
            <p:cNvSpPr txBox="1"/>
            <p:nvPr/>
          </p:nvSpPr>
          <p:spPr>
            <a:xfrm>
              <a:off x="948991" y="3687430"/>
              <a:ext cx="370661" cy="230866"/>
            </a:xfrm>
            <a:prstGeom prst="rect">
              <a:avLst/>
            </a:prstGeom>
            <a:noFill/>
          </p:spPr>
          <p:txBody>
            <a:bodyPr wrap="none" lIns="91415" tIns="45707" rIns="91415" bIns="45707" rtlCol="0">
              <a:spAutoFit/>
            </a:bodyPr>
            <a:lstStyle/>
            <a:p>
              <a:pPr marL="0" marR="0" lvl="0" indent="0" algn="l"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API</a:t>
              </a:r>
            </a:p>
          </p:txBody>
        </p:sp>
        <p:sp>
          <p:nvSpPr>
            <p:cNvPr id="103" name="Freeform 98">
              <a:extLst>
                <a:ext uri="{FF2B5EF4-FFF2-40B4-BE49-F238E27FC236}">
                  <a16:creationId xmlns:a16="http://schemas.microsoft.com/office/drawing/2014/main" id="{685A7D3B-DF74-3E40-9CE5-1594940CE549}"/>
                </a:ext>
              </a:extLst>
            </p:cNvPr>
            <p:cNvSpPr>
              <a:spLocks noEditPoints="1"/>
            </p:cNvSpPr>
            <p:nvPr/>
          </p:nvSpPr>
          <p:spPr bwMode="auto">
            <a:xfrm>
              <a:off x="968567" y="3875588"/>
              <a:ext cx="335818" cy="334251"/>
            </a:xfrm>
            <a:custGeom>
              <a:avLst/>
              <a:gdLst>
                <a:gd name="T0" fmla="*/ 400 w 800"/>
                <a:gd name="T1" fmla="*/ 583 h 799"/>
                <a:gd name="T2" fmla="*/ 216 w 800"/>
                <a:gd name="T3" fmla="*/ 400 h 799"/>
                <a:gd name="T4" fmla="*/ 400 w 800"/>
                <a:gd name="T5" fmla="*/ 216 h 799"/>
                <a:gd name="T6" fmla="*/ 583 w 800"/>
                <a:gd name="T7" fmla="*/ 400 h 799"/>
                <a:gd name="T8" fmla="*/ 400 w 800"/>
                <a:gd name="T9" fmla="*/ 583 h 799"/>
                <a:gd name="T10" fmla="*/ 800 w 800"/>
                <a:gd name="T11" fmla="*/ 433 h 799"/>
                <a:gd name="T12" fmla="*/ 800 w 800"/>
                <a:gd name="T13" fmla="*/ 366 h 799"/>
                <a:gd name="T14" fmla="*/ 633 w 800"/>
                <a:gd name="T15" fmla="*/ 311 h 799"/>
                <a:gd name="T16" fmla="*/ 627 w 800"/>
                <a:gd name="T17" fmla="*/ 297 h 799"/>
                <a:gd name="T18" fmla="*/ 706 w 800"/>
                <a:gd name="T19" fmla="*/ 140 h 799"/>
                <a:gd name="T20" fmla="*/ 659 w 800"/>
                <a:gd name="T21" fmla="*/ 93 h 799"/>
                <a:gd name="T22" fmla="*/ 502 w 800"/>
                <a:gd name="T23" fmla="*/ 172 h 799"/>
                <a:gd name="T24" fmla="*/ 489 w 800"/>
                <a:gd name="T25" fmla="*/ 166 h 799"/>
                <a:gd name="T26" fmla="*/ 433 w 800"/>
                <a:gd name="T27" fmla="*/ 0 h 799"/>
                <a:gd name="T28" fmla="*/ 366 w 800"/>
                <a:gd name="T29" fmla="*/ 0 h 799"/>
                <a:gd name="T30" fmla="*/ 311 w 800"/>
                <a:gd name="T31" fmla="*/ 166 h 799"/>
                <a:gd name="T32" fmla="*/ 298 w 800"/>
                <a:gd name="T33" fmla="*/ 172 h 799"/>
                <a:gd name="T34" fmla="*/ 141 w 800"/>
                <a:gd name="T35" fmla="*/ 93 h 799"/>
                <a:gd name="T36" fmla="*/ 93 w 800"/>
                <a:gd name="T37" fmla="*/ 140 h 799"/>
                <a:gd name="T38" fmla="*/ 172 w 800"/>
                <a:gd name="T39" fmla="*/ 297 h 799"/>
                <a:gd name="T40" fmla="*/ 166 w 800"/>
                <a:gd name="T41" fmla="*/ 310 h 799"/>
                <a:gd name="T42" fmla="*/ 0 w 800"/>
                <a:gd name="T43" fmla="*/ 366 h 799"/>
                <a:gd name="T44" fmla="*/ 0 w 800"/>
                <a:gd name="T45" fmla="*/ 433 h 799"/>
                <a:gd name="T46" fmla="*/ 166 w 800"/>
                <a:gd name="T47" fmla="*/ 488 h 799"/>
                <a:gd name="T48" fmla="*/ 172 w 800"/>
                <a:gd name="T49" fmla="*/ 502 h 799"/>
                <a:gd name="T50" fmla="*/ 93 w 800"/>
                <a:gd name="T51" fmla="*/ 659 h 799"/>
                <a:gd name="T52" fmla="*/ 141 w 800"/>
                <a:gd name="T53" fmla="*/ 706 h 799"/>
                <a:gd name="T54" fmla="*/ 297 w 800"/>
                <a:gd name="T55" fmla="*/ 627 h 799"/>
                <a:gd name="T56" fmla="*/ 311 w 800"/>
                <a:gd name="T57" fmla="*/ 633 h 799"/>
                <a:gd name="T58" fmla="*/ 366 w 800"/>
                <a:gd name="T59" fmla="*/ 799 h 799"/>
                <a:gd name="T60" fmla="*/ 433 w 800"/>
                <a:gd name="T61" fmla="*/ 799 h 799"/>
                <a:gd name="T62" fmla="*/ 488 w 800"/>
                <a:gd name="T63" fmla="*/ 633 h 799"/>
                <a:gd name="T64" fmla="*/ 502 w 800"/>
                <a:gd name="T65" fmla="*/ 627 h 799"/>
                <a:gd name="T66" fmla="*/ 659 w 800"/>
                <a:gd name="T67" fmla="*/ 706 h 799"/>
                <a:gd name="T68" fmla="*/ 706 w 800"/>
                <a:gd name="T69" fmla="*/ 658 h 799"/>
                <a:gd name="T70" fmla="*/ 627 w 800"/>
                <a:gd name="T71" fmla="*/ 502 h 799"/>
                <a:gd name="T72" fmla="*/ 633 w 800"/>
                <a:gd name="T73" fmla="*/ 488 h 799"/>
                <a:gd name="T74" fmla="*/ 800 w 800"/>
                <a:gd name="T75" fmla="*/ 43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799">
                  <a:moveTo>
                    <a:pt x="400" y="583"/>
                  </a:moveTo>
                  <a:cubicBezTo>
                    <a:pt x="298" y="583"/>
                    <a:pt x="216" y="501"/>
                    <a:pt x="216" y="400"/>
                  </a:cubicBezTo>
                  <a:cubicBezTo>
                    <a:pt x="216" y="298"/>
                    <a:pt x="298" y="216"/>
                    <a:pt x="400" y="216"/>
                  </a:cubicBezTo>
                  <a:cubicBezTo>
                    <a:pt x="501" y="216"/>
                    <a:pt x="583" y="298"/>
                    <a:pt x="583" y="400"/>
                  </a:cubicBezTo>
                  <a:cubicBezTo>
                    <a:pt x="583" y="501"/>
                    <a:pt x="501" y="583"/>
                    <a:pt x="400" y="583"/>
                  </a:cubicBezTo>
                  <a:moveTo>
                    <a:pt x="800" y="433"/>
                  </a:moveTo>
                  <a:lnTo>
                    <a:pt x="800" y="366"/>
                  </a:lnTo>
                  <a:lnTo>
                    <a:pt x="633" y="311"/>
                  </a:lnTo>
                  <a:cubicBezTo>
                    <a:pt x="631" y="306"/>
                    <a:pt x="629" y="302"/>
                    <a:pt x="627" y="297"/>
                  </a:cubicBezTo>
                  <a:lnTo>
                    <a:pt x="706" y="140"/>
                  </a:lnTo>
                  <a:lnTo>
                    <a:pt x="659" y="93"/>
                  </a:lnTo>
                  <a:lnTo>
                    <a:pt x="502" y="172"/>
                  </a:lnTo>
                  <a:cubicBezTo>
                    <a:pt x="497" y="170"/>
                    <a:pt x="493" y="168"/>
                    <a:pt x="489" y="166"/>
                  </a:cubicBezTo>
                  <a:lnTo>
                    <a:pt x="433" y="0"/>
                  </a:lnTo>
                  <a:lnTo>
                    <a:pt x="366" y="0"/>
                  </a:lnTo>
                  <a:lnTo>
                    <a:pt x="311" y="166"/>
                  </a:lnTo>
                  <a:cubicBezTo>
                    <a:pt x="306" y="168"/>
                    <a:pt x="302" y="170"/>
                    <a:pt x="298" y="172"/>
                  </a:cubicBezTo>
                  <a:lnTo>
                    <a:pt x="141" y="93"/>
                  </a:lnTo>
                  <a:lnTo>
                    <a:pt x="93" y="140"/>
                  </a:lnTo>
                  <a:lnTo>
                    <a:pt x="172" y="297"/>
                  </a:lnTo>
                  <a:cubicBezTo>
                    <a:pt x="170" y="302"/>
                    <a:pt x="168" y="306"/>
                    <a:pt x="166" y="310"/>
                  </a:cubicBezTo>
                  <a:lnTo>
                    <a:pt x="0" y="366"/>
                  </a:lnTo>
                  <a:lnTo>
                    <a:pt x="0" y="433"/>
                  </a:lnTo>
                  <a:lnTo>
                    <a:pt x="166" y="488"/>
                  </a:lnTo>
                  <a:cubicBezTo>
                    <a:pt x="168" y="493"/>
                    <a:pt x="170" y="497"/>
                    <a:pt x="172" y="502"/>
                  </a:cubicBezTo>
                  <a:lnTo>
                    <a:pt x="93" y="659"/>
                  </a:lnTo>
                  <a:lnTo>
                    <a:pt x="141" y="706"/>
                  </a:lnTo>
                  <a:lnTo>
                    <a:pt x="297" y="627"/>
                  </a:lnTo>
                  <a:cubicBezTo>
                    <a:pt x="302" y="629"/>
                    <a:pt x="306" y="631"/>
                    <a:pt x="311" y="633"/>
                  </a:cubicBezTo>
                  <a:lnTo>
                    <a:pt x="366" y="799"/>
                  </a:lnTo>
                  <a:lnTo>
                    <a:pt x="433" y="799"/>
                  </a:lnTo>
                  <a:lnTo>
                    <a:pt x="488" y="633"/>
                  </a:lnTo>
                  <a:cubicBezTo>
                    <a:pt x="493" y="631"/>
                    <a:pt x="498" y="630"/>
                    <a:pt x="502" y="627"/>
                  </a:cubicBezTo>
                  <a:lnTo>
                    <a:pt x="659" y="706"/>
                  </a:lnTo>
                  <a:lnTo>
                    <a:pt x="706" y="658"/>
                  </a:lnTo>
                  <a:lnTo>
                    <a:pt x="627" y="502"/>
                  </a:lnTo>
                  <a:cubicBezTo>
                    <a:pt x="630" y="497"/>
                    <a:pt x="631" y="493"/>
                    <a:pt x="633" y="488"/>
                  </a:cubicBezTo>
                  <a:lnTo>
                    <a:pt x="800" y="433"/>
                  </a:lnTo>
                  <a:close/>
                </a:path>
              </a:pathLst>
            </a:custGeom>
            <a:solidFill>
              <a:schemeClr val="tx2"/>
            </a:solidFill>
            <a:ln>
              <a:noFill/>
            </a:ln>
          </p:spPr>
          <p:txBody>
            <a:bodyPr vert="horz" wrap="square" lIns="121868" tIns="60933" rIns="121868" bIns="60933" numCol="1" anchor="t" anchorCtr="0" compatLnSpc="1">
              <a:prstTxWarp prst="textNoShape">
                <a:avLst/>
              </a:prstTxWarp>
            </a:bodyPr>
            <a:lstStyle/>
            <a:p>
              <a:pPr marL="0" marR="0" lvl="0" indent="0" algn="l" defTabSz="457086"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grpSp>
      <p:grpSp>
        <p:nvGrpSpPr>
          <p:cNvPr id="125" name="Group 124">
            <a:extLst>
              <a:ext uri="{FF2B5EF4-FFF2-40B4-BE49-F238E27FC236}">
                <a16:creationId xmlns:a16="http://schemas.microsoft.com/office/drawing/2014/main" id="{EF9C5190-0C99-E440-A66E-BF746EA4218D}"/>
              </a:ext>
            </a:extLst>
          </p:cNvPr>
          <p:cNvGrpSpPr/>
          <p:nvPr/>
        </p:nvGrpSpPr>
        <p:grpSpPr>
          <a:xfrm>
            <a:off x="885101" y="3621406"/>
            <a:ext cx="389800" cy="430018"/>
            <a:chOff x="966763" y="3176073"/>
            <a:chExt cx="389901" cy="430130"/>
          </a:xfrm>
        </p:grpSpPr>
        <p:sp>
          <p:nvSpPr>
            <p:cNvPr id="143" name="TextBox 142">
              <a:extLst>
                <a:ext uri="{FF2B5EF4-FFF2-40B4-BE49-F238E27FC236}">
                  <a16:creationId xmlns:a16="http://schemas.microsoft.com/office/drawing/2014/main" id="{0AAE3F98-3818-454A-B63B-066B3DF2F5D4}"/>
                </a:ext>
              </a:extLst>
            </p:cNvPr>
            <p:cNvSpPr txBox="1"/>
            <p:nvPr/>
          </p:nvSpPr>
          <p:spPr>
            <a:xfrm>
              <a:off x="966763" y="3176073"/>
              <a:ext cx="389901" cy="230866"/>
            </a:xfrm>
            <a:prstGeom prst="rect">
              <a:avLst/>
            </a:prstGeom>
            <a:noFill/>
          </p:spPr>
          <p:txBody>
            <a:bodyPr wrap="none" lIns="91415" tIns="45707" rIns="91415" bIns="45707" rtlCol="0">
              <a:spAutoFit/>
            </a:bodyPr>
            <a:lstStyle/>
            <a:p>
              <a:pPr marL="0" marR="0" lvl="0" indent="0" algn="l"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58595B"/>
                  </a:solidFill>
                  <a:effectLst/>
                  <a:uLnTx/>
                  <a:uFillTx/>
                  <a:latin typeface="Arial"/>
                  <a:ea typeface="ＭＳ Ｐゴシック" charset="0"/>
                  <a:cs typeface="+mn-cs"/>
                </a:rPr>
                <a:t>GUI</a:t>
              </a:r>
            </a:p>
          </p:txBody>
        </p:sp>
        <p:grpSp>
          <p:nvGrpSpPr>
            <p:cNvPr id="144" name="Group 143">
              <a:extLst>
                <a:ext uri="{FF2B5EF4-FFF2-40B4-BE49-F238E27FC236}">
                  <a16:creationId xmlns:a16="http://schemas.microsoft.com/office/drawing/2014/main" id="{9E98BD3D-065F-DA46-8DDE-2D0DA7DAE9E8}"/>
                </a:ext>
              </a:extLst>
            </p:cNvPr>
            <p:cNvGrpSpPr/>
            <p:nvPr/>
          </p:nvGrpSpPr>
          <p:grpSpPr>
            <a:xfrm>
              <a:off x="989449" y="3388152"/>
              <a:ext cx="331114" cy="218051"/>
              <a:chOff x="989449" y="3388152"/>
              <a:chExt cx="331114" cy="218051"/>
            </a:xfrm>
          </p:grpSpPr>
          <p:sp>
            <p:nvSpPr>
              <p:cNvPr id="145" name="Freeform 9463">
                <a:extLst>
                  <a:ext uri="{FF2B5EF4-FFF2-40B4-BE49-F238E27FC236}">
                    <a16:creationId xmlns:a16="http://schemas.microsoft.com/office/drawing/2014/main" id="{C7C4BBB1-11BE-B844-A427-939454206576}"/>
                  </a:ext>
                </a:extLst>
              </p:cNvPr>
              <p:cNvSpPr>
                <a:spLocks noEditPoints="1"/>
              </p:cNvSpPr>
              <p:nvPr/>
            </p:nvSpPr>
            <p:spPr bwMode="auto">
              <a:xfrm>
                <a:off x="989449" y="3388152"/>
                <a:ext cx="331114" cy="218051"/>
              </a:xfrm>
              <a:custGeom>
                <a:avLst/>
                <a:gdLst>
                  <a:gd name="T0" fmla="*/ 184 w 192"/>
                  <a:gd name="T1" fmla="*/ 0 h 128"/>
                  <a:gd name="T2" fmla="*/ 8 w 192"/>
                  <a:gd name="T3" fmla="*/ 0 h 128"/>
                  <a:gd name="T4" fmla="*/ 0 w 192"/>
                  <a:gd name="T5" fmla="*/ 8 h 128"/>
                  <a:gd name="T6" fmla="*/ 0 w 192"/>
                  <a:gd name="T7" fmla="*/ 120 h 128"/>
                  <a:gd name="T8" fmla="*/ 8 w 192"/>
                  <a:gd name="T9" fmla="*/ 128 h 128"/>
                  <a:gd name="T10" fmla="*/ 184 w 192"/>
                  <a:gd name="T11" fmla="*/ 128 h 128"/>
                  <a:gd name="T12" fmla="*/ 192 w 192"/>
                  <a:gd name="T13" fmla="*/ 120 h 128"/>
                  <a:gd name="T14" fmla="*/ 192 w 192"/>
                  <a:gd name="T15" fmla="*/ 8 h 128"/>
                  <a:gd name="T16" fmla="*/ 184 w 192"/>
                  <a:gd name="T17" fmla="*/ 0 h 128"/>
                  <a:gd name="T18" fmla="*/ 170 w 192"/>
                  <a:gd name="T19" fmla="*/ 8 h 128"/>
                  <a:gd name="T20" fmla="*/ 176 w 192"/>
                  <a:gd name="T21" fmla="*/ 14 h 128"/>
                  <a:gd name="T22" fmla="*/ 170 w 192"/>
                  <a:gd name="T23" fmla="*/ 20 h 128"/>
                  <a:gd name="T24" fmla="*/ 164 w 192"/>
                  <a:gd name="T25" fmla="*/ 14 h 128"/>
                  <a:gd name="T26" fmla="*/ 170 w 192"/>
                  <a:gd name="T27" fmla="*/ 8 h 128"/>
                  <a:gd name="T28" fmla="*/ 150 w 192"/>
                  <a:gd name="T29" fmla="*/ 8 h 128"/>
                  <a:gd name="T30" fmla="*/ 156 w 192"/>
                  <a:gd name="T31" fmla="*/ 14 h 128"/>
                  <a:gd name="T32" fmla="*/ 150 w 192"/>
                  <a:gd name="T33" fmla="*/ 20 h 128"/>
                  <a:gd name="T34" fmla="*/ 144 w 192"/>
                  <a:gd name="T35" fmla="*/ 14 h 128"/>
                  <a:gd name="T36" fmla="*/ 150 w 192"/>
                  <a:gd name="T37" fmla="*/ 8 h 128"/>
                  <a:gd name="T38" fmla="*/ 130 w 192"/>
                  <a:gd name="T39" fmla="*/ 8 h 128"/>
                  <a:gd name="T40" fmla="*/ 136 w 192"/>
                  <a:gd name="T41" fmla="*/ 14 h 128"/>
                  <a:gd name="T42" fmla="*/ 130 w 192"/>
                  <a:gd name="T43" fmla="*/ 20 h 128"/>
                  <a:gd name="T44" fmla="*/ 124 w 192"/>
                  <a:gd name="T45" fmla="*/ 14 h 128"/>
                  <a:gd name="T46" fmla="*/ 130 w 192"/>
                  <a:gd name="T47" fmla="*/ 8 h 128"/>
                  <a:gd name="T48" fmla="*/ 176 w 192"/>
                  <a:gd name="T49" fmla="*/ 112 h 128"/>
                  <a:gd name="T50" fmla="*/ 16 w 192"/>
                  <a:gd name="T51" fmla="*/ 112 h 128"/>
                  <a:gd name="T52" fmla="*/ 16 w 192"/>
                  <a:gd name="T53" fmla="*/ 28 h 128"/>
                  <a:gd name="T54" fmla="*/ 176 w 192"/>
                  <a:gd name="T55" fmla="*/ 28 h 128"/>
                  <a:gd name="T56" fmla="*/ 176 w 192"/>
                  <a:gd name="T57"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2" h="128">
                    <a:moveTo>
                      <a:pt x="184" y="0"/>
                    </a:moveTo>
                    <a:cubicBezTo>
                      <a:pt x="8" y="0"/>
                      <a:pt x="8"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170" y="8"/>
                    </a:moveTo>
                    <a:cubicBezTo>
                      <a:pt x="173" y="8"/>
                      <a:pt x="176" y="11"/>
                      <a:pt x="176" y="14"/>
                    </a:cubicBezTo>
                    <a:cubicBezTo>
                      <a:pt x="176" y="17"/>
                      <a:pt x="173" y="20"/>
                      <a:pt x="170" y="20"/>
                    </a:cubicBezTo>
                    <a:cubicBezTo>
                      <a:pt x="167" y="20"/>
                      <a:pt x="164" y="17"/>
                      <a:pt x="164" y="14"/>
                    </a:cubicBezTo>
                    <a:cubicBezTo>
                      <a:pt x="164" y="11"/>
                      <a:pt x="167" y="8"/>
                      <a:pt x="170" y="8"/>
                    </a:cubicBezTo>
                    <a:close/>
                    <a:moveTo>
                      <a:pt x="150" y="8"/>
                    </a:moveTo>
                    <a:cubicBezTo>
                      <a:pt x="153" y="8"/>
                      <a:pt x="156" y="11"/>
                      <a:pt x="156" y="14"/>
                    </a:cubicBezTo>
                    <a:cubicBezTo>
                      <a:pt x="156" y="17"/>
                      <a:pt x="153" y="20"/>
                      <a:pt x="150" y="20"/>
                    </a:cubicBezTo>
                    <a:cubicBezTo>
                      <a:pt x="147" y="20"/>
                      <a:pt x="144" y="17"/>
                      <a:pt x="144" y="14"/>
                    </a:cubicBezTo>
                    <a:cubicBezTo>
                      <a:pt x="144" y="11"/>
                      <a:pt x="147" y="8"/>
                      <a:pt x="150" y="8"/>
                    </a:cubicBezTo>
                    <a:close/>
                    <a:moveTo>
                      <a:pt x="130" y="8"/>
                    </a:moveTo>
                    <a:cubicBezTo>
                      <a:pt x="133" y="8"/>
                      <a:pt x="136" y="11"/>
                      <a:pt x="136" y="14"/>
                    </a:cubicBezTo>
                    <a:cubicBezTo>
                      <a:pt x="136" y="17"/>
                      <a:pt x="133" y="20"/>
                      <a:pt x="130" y="20"/>
                    </a:cubicBezTo>
                    <a:cubicBezTo>
                      <a:pt x="127" y="20"/>
                      <a:pt x="124" y="17"/>
                      <a:pt x="124" y="14"/>
                    </a:cubicBezTo>
                    <a:cubicBezTo>
                      <a:pt x="124" y="11"/>
                      <a:pt x="127" y="8"/>
                      <a:pt x="130" y="8"/>
                    </a:cubicBezTo>
                    <a:close/>
                    <a:moveTo>
                      <a:pt x="176" y="112"/>
                    </a:moveTo>
                    <a:cubicBezTo>
                      <a:pt x="16" y="112"/>
                      <a:pt x="16" y="112"/>
                      <a:pt x="16" y="112"/>
                    </a:cubicBezTo>
                    <a:cubicBezTo>
                      <a:pt x="16" y="28"/>
                      <a:pt x="16" y="28"/>
                      <a:pt x="16" y="28"/>
                    </a:cubicBezTo>
                    <a:cubicBezTo>
                      <a:pt x="176" y="28"/>
                      <a:pt x="176" y="28"/>
                      <a:pt x="176" y="28"/>
                    </a:cubicBezTo>
                    <a:lnTo>
                      <a:pt x="176" y="112"/>
                    </a:lnTo>
                    <a:close/>
                  </a:path>
                </a:pathLst>
              </a:custGeom>
              <a:solidFill>
                <a:schemeClr val="tx2"/>
              </a:solidFill>
              <a:ln>
                <a:noFill/>
              </a:ln>
            </p:spPr>
            <p:txBody>
              <a:bodyPr vert="horz" wrap="square" lIns="91416" tIns="45708" rIns="91416" bIns="45708" numCol="1" anchor="t" anchorCtr="0" compatLnSpc="1">
                <a:prstTxWarp prst="textNoShape">
                  <a:avLst/>
                </a:prstTxWarp>
              </a:bodyPr>
              <a:lstStyle/>
              <a:p>
                <a:pPr marL="0" marR="0" lvl="0" indent="0" algn="l" defTabSz="457086"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sp>
            <p:nvSpPr>
              <p:cNvPr id="149" name="Freeform 9464">
                <a:extLst>
                  <a:ext uri="{FF2B5EF4-FFF2-40B4-BE49-F238E27FC236}">
                    <a16:creationId xmlns:a16="http://schemas.microsoft.com/office/drawing/2014/main" id="{B14941F6-D5B0-A040-AE8F-811D15CA6163}"/>
                  </a:ext>
                </a:extLst>
              </p:cNvPr>
              <p:cNvSpPr>
                <a:spLocks/>
              </p:cNvSpPr>
              <p:nvPr/>
            </p:nvSpPr>
            <p:spPr bwMode="auto">
              <a:xfrm>
                <a:off x="1191349" y="3460837"/>
                <a:ext cx="56534" cy="96911"/>
              </a:xfrm>
              <a:custGeom>
                <a:avLst/>
                <a:gdLst>
                  <a:gd name="T0" fmla="*/ 19 w 36"/>
                  <a:gd name="T1" fmla="*/ 58 h 60"/>
                  <a:gd name="T2" fmla="*/ 23 w 36"/>
                  <a:gd name="T3" fmla="*/ 60 h 60"/>
                  <a:gd name="T4" fmla="*/ 25 w 36"/>
                  <a:gd name="T5" fmla="*/ 56 h 60"/>
                  <a:gd name="T6" fmla="*/ 19 w 36"/>
                  <a:gd name="T7" fmla="*/ 42 h 60"/>
                  <a:gd name="T8" fmla="*/ 36 w 36"/>
                  <a:gd name="T9" fmla="*/ 41 h 60"/>
                  <a:gd name="T10" fmla="*/ 0 w 36"/>
                  <a:gd name="T11" fmla="*/ 0 h 60"/>
                  <a:gd name="T12" fmla="*/ 0 w 36"/>
                  <a:gd name="T13" fmla="*/ 55 h 60"/>
                  <a:gd name="T14" fmla="*/ 13 w 36"/>
                  <a:gd name="T15" fmla="*/ 44 h 60"/>
                  <a:gd name="T16" fmla="*/ 19 w 36"/>
                  <a:gd name="T17"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60">
                    <a:moveTo>
                      <a:pt x="19" y="58"/>
                    </a:moveTo>
                    <a:cubicBezTo>
                      <a:pt x="19" y="60"/>
                      <a:pt x="21" y="60"/>
                      <a:pt x="23" y="60"/>
                    </a:cubicBezTo>
                    <a:cubicBezTo>
                      <a:pt x="24" y="59"/>
                      <a:pt x="25" y="57"/>
                      <a:pt x="25" y="56"/>
                    </a:cubicBezTo>
                    <a:cubicBezTo>
                      <a:pt x="19" y="42"/>
                      <a:pt x="19" y="42"/>
                      <a:pt x="19" y="42"/>
                    </a:cubicBezTo>
                    <a:cubicBezTo>
                      <a:pt x="36" y="41"/>
                      <a:pt x="36" y="41"/>
                      <a:pt x="36" y="41"/>
                    </a:cubicBezTo>
                    <a:cubicBezTo>
                      <a:pt x="0" y="0"/>
                      <a:pt x="0" y="0"/>
                      <a:pt x="0" y="0"/>
                    </a:cubicBezTo>
                    <a:cubicBezTo>
                      <a:pt x="0" y="55"/>
                      <a:pt x="0" y="55"/>
                      <a:pt x="0" y="55"/>
                    </a:cubicBezTo>
                    <a:cubicBezTo>
                      <a:pt x="13" y="44"/>
                      <a:pt x="13" y="44"/>
                      <a:pt x="13" y="44"/>
                    </a:cubicBezTo>
                    <a:lnTo>
                      <a:pt x="19" y="58"/>
                    </a:lnTo>
                    <a:close/>
                  </a:path>
                </a:pathLst>
              </a:custGeom>
              <a:solidFill>
                <a:schemeClr val="tx2"/>
              </a:solidFill>
              <a:ln>
                <a:noFill/>
              </a:ln>
            </p:spPr>
            <p:txBody>
              <a:bodyPr vert="horz" wrap="square" lIns="91416" tIns="45708" rIns="91416" bIns="45708" numCol="1" anchor="t" anchorCtr="0" compatLnSpc="1">
                <a:prstTxWarp prst="textNoShape">
                  <a:avLst/>
                </a:prstTxWarp>
              </a:bodyPr>
              <a:lstStyle/>
              <a:p>
                <a:pPr marL="0" marR="0" lvl="0" indent="0" algn="l" defTabSz="457086" rtl="0" eaLnBrk="0" fontAlgn="base" latinLnBrk="0" hangingPunct="0">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58595B"/>
                  </a:solidFill>
                  <a:effectLst/>
                  <a:uLnTx/>
                  <a:uFillTx/>
                  <a:latin typeface="Arial" panose="020B0604020202020204" pitchFamily="34" charset="0"/>
                  <a:ea typeface="ＭＳ Ｐゴシック" panose="020B0600070205080204" pitchFamily="34" charset="-128"/>
                  <a:cs typeface="+mn-cs"/>
                </a:endParaRPr>
              </a:p>
            </p:txBody>
          </p:sp>
        </p:grpSp>
      </p:grpSp>
      <p:sp>
        <p:nvSpPr>
          <p:cNvPr id="151" name="Rectangle 150">
            <a:extLst>
              <a:ext uri="{FF2B5EF4-FFF2-40B4-BE49-F238E27FC236}">
                <a16:creationId xmlns:a16="http://schemas.microsoft.com/office/drawing/2014/main" id="{20BFABC0-E6EE-1941-A5D2-9FF832A757DC}"/>
              </a:ext>
            </a:extLst>
          </p:cNvPr>
          <p:cNvSpPr/>
          <p:nvPr/>
        </p:nvSpPr>
        <p:spPr>
          <a:xfrm rot="16200000">
            <a:off x="1111573" y="3467421"/>
            <a:ext cx="1543063" cy="268731"/>
          </a:xfrm>
          <a:prstGeom prst="rect">
            <a:avLst/>
          </a:prstGeom>
          <a:solidFill>
            <a:schemeClr val="accent5">
              <a:lumMod val="75000"/>
            </a:schemeClr>
          </a:solidFill>
          <a:ln w="3175">
            <a:noFill/>
          </a:ln>
          <a:effectLst/>
        </p:spPr>
        <p:style>
          <a:lnRef idx="3">
            <a:schemeClr val="lt1"/>
          </a:lnRef>
          <a:fillRef idx="1">
            <a:schemeClr val="accent2"/>
          </a:fillRef>
          <a:effectRef idx="1">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Monitoring and Assurance</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152" name="Rectangle 151">
            <a:extLst>
              <a:ext uri="{FF2B5EF4-FFF2-40B4-BE49-F238E27FC236}">
                <a16:creationId xmlns:a16="http://schemas.microsoft.com/office/drawing/2014/main" id="{220762E7-DC99-1F43-9BC8-5B2A715163E6}"/>
              </a:ext>
            </a:extLst>
          </p:cNvPr>
          <p:cNvSpPr/>
          <p:nvPr/>
        </p:nvSpPr>
        <p:spPr>
          <a:xfrm>
            <a:off x="2333417" y="2795631"/>
            <a:ext cx="4352067" cy="721963"/>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58595B"/>
                </a:solidFill>
                <a:effectLst/>
                <a:uLnTx/>
                <a:uFillTx/>
                <a:latin typeface="Arial"/>
                <a:ea typeface="+mn-ea"/>
                <a:cs typeface="+mn-cs"/>
              </a:rPr>
              <a:t>Virtual </a:t>
            </a:r>
            <a:r>
              <a:rPr kumimoji="0" lang="en-US" sz="1000" b="0" i="0" u="none" strike="noStrike" kern="1200" cap="none" spc="0" normalizeH="0" baseline="0" noProof="0" dirty="0">
                <a:ln>
                  <a:noFill/>
                </a:ln>
                <a:solidFill>
                  <a:srgbClr val="58595B"/>
                </a:solidFill>
                <a:effectLst/>
                <a:uLnTx/>
                <a:uFillTx/>
                <a:latin typeface="Arial"/>
                <a:ea typeface="+mn-ea"/>
                <a:cs typeface="+mn-cs"/>
              </a:rPr>
              <a:t>Infrastructure</a:t>
            </a:r>
          </a:p>
        </p:txBody>
      </p:sp>
      <p:sp>
        <p:nvSpPr>
          <p:cNvPr id="153" name="Rectangle 152">
            <a:extLst>
              <a:ext uri="{FF2B5EF4-FFF2-40B4-BE49-F238E27FC236}">
                <a16:creationId xmlns:a16="http://schemas.microsoft.com/office/drawing/2014/main" id="{B173DDD1-266C-CE40-842A-D13C0BCB31F7}"/>
              </a:ext>
            </a:extLst>
          </p:cNvPr>
          <p:cNvSpPr/>
          <p:nvPr/>
        </p:nvSpPr>
        <p:spPr>
          <a:xfrm>
            <a:off x="3859301" y="3040276"/>
            <a:ext cx="1327323" cy="45722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 Storage</a:t>
            </a:r>
          </a:p>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Ceph)</a:t>
            </a:r>
          </a:p>
        </p:txBody>
      </p:sp>
      <p:sp>
        <p:nvSpPr>
          <p:cNvPr id="154" name="Rectangle 153">
            <a:extLst>
              <a:ext uri="{FF2B5EF4-FFF2-40B4-BE49-F238E27FC236}">
                <a16:creationId xmlns:a16="http://schemas.microsoft.com/office/drawing/2014/main" id="{53E46529-1633-064A-ABA0-DD19A213C13C}"/>
              </a:ext>
            </a:extLst>
          </p:cNvPr>
          <p:cNvSpPr/>
          <p:nvPr/>
        </p:nvSpPr>
        <p:spPr>
          <a:xfrm>
            <a:off x="2410625" y="3040276"/>
            <a:ext cx="1371467" cy="45722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 Compute </a:t>
            </a:r>
          </a:p>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Linux)</a:t>
            </a:r>
          </a:p>
        </p:txBody>
      </p:sp>
      <p:sp>
        <p:nvSpPr>
          <p:cNvPr id="155" name="Rectangle 154">
            <a:extLst>
              <a:ext uri="{FF2B5EF4-FFF2-40B4-BE49-F238E27FC236}">
                <a16:creationId xmlns:a16="http://schemas.microsoft.com/office/drawing/2014/main" id="{811489BA-C122-7844-A403-482C097DE3E5}"/>
              </a:ext>
            </a:extLst>
          </p:cNvPr>
          <p:cNvSpPr/>
          <p:nvPr/>
        </p:nvSpPr>
        <p:spPr>
          <a:xfrm>
            <a:off x="5271804" y="3037844"/>
            <a:ext cx="1328500" cy="457229"/>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irtual Network</a:t>
            </a:r>
          </a:p>
          <a:p>
            <a:pPr marL="0" marR="0" lvl="0" indent="0" algn="ctr" defTabSz="685595"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OVS, VPP, SR-IOV)</a:t>
            </a:r>
          </a:p>
        </p:txBody>
      </p:sp>
      <p:sp>
        <p:nvSpPr>
          <p:cNvPr id="156" name="Rectangle 155">
            <a:extLst>
              <a:ext uri="{FF2B5EF4-FFF2-40B4-BE49-F238E27FC236}">
                <a16:creationId xmlns:a16="http://schemas.microsoft.com/office/drawing/2014/main" id="{6D851711-596D-4840-8CD8-B1D147338804}"/>
              </a:ext>
            </a:extLst>
          </p:cNvPr>
          <p:cNvSpPr/>
          <p:nvPr/>
        </p:nvSpPr>
        <p:spPr>
          <a:xfrm>
            <a:off x="6992982" y="2795629"/>
            <a:ext cx="1383640" cy="959072"/>
          </a:xfrm>
          <a:prstGeom prst="rect">
            <a:avLst/>
          </a:prstGeom>
          <a:solidFill>
            <a:schemeClr val="bg2"/>
          </a:solid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08" rIns="0" bIns="0" rtlCol="0" anchor="t"/>
          <a:lstStyle/>
          <a:p>
            <a:pPr marL="0" marR="0" lvl="0" indent="0" algn="ctr" defTabSz="685595"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ＭＳ Ｐゴシック" charset="0"/>
                <a:cs typeface="+mn-cs"/>
              </a:rPr>
              <a:t>VIM</a:t>
            </a:r>
          </a:p>
        </p:txBody>
      </p:sp>
      <p:graphicFrame>
        <p:nvGraphicFramePr>
          <p:cNvPr id="157" name="Table 156">
            <a:extLst>
              <a:ext uri="{FF2B5EF4-FFF2-40B4-BE49-F238E27FC236}">
                <a16:creationId xmlns:a16="http://schemas.microsoft.com/office/drawing/2014/main" id="{6482C935-D5B2-6146-9F6C-AB4771C3267C}"/>
              </a:ext>
            </a:extLst>
          </p:cNvPr>
          <p:cNvGraphicFramePr>
            <a:graphicFrameLocks noGrp="1"/>
          </p:cNvGraphicFramePr>
          <p:nvPr/>
        </p:nvGraphicFramePr>
        <p:xfrm>
          <a:off x="7056578" y="3030427"/>
          <a:ext cx="1271673" cy="614116"/>
        </p:xfrm>
        <a:graphic>
          <a:graphicData uri="http://schemas.openxmlformats.org/drawingml/2006/table">
            <a:tbl>
              <a:tblPr bandRow="1">
                <a:tableStyleId>{5C22544A-7EE6-4342-B048-85BDC9FD1C3A}</a:tableStyleId>
              </a:tblPr>
              <a:tblGrid>
                <a:gridCol w="1271673">
                  <a:extLst>
                    <a:ext uri="{9D8B030D-6E8A-4147-A177-3AD203B41FA5}">
                      <a16:colId xmlns:a16="http://schemas.microsoft.com/office/drawing/2014/main" val="20000"/>
                    </a:ext>
                  </a:extLst>
                </a:gridCol>
              </a:tblGrid>
              <a:tr h="307058">
                <a:tc>
                  <a:txBody>
                    <a:bodyPr/>
                    <a:lstStyle/>
                    <a:p>
                      <a:pPr marL="0" marR="0" lvl="0" indent="0" algn="l" defTabSz="91420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lumMod val="75000"/>
                            </a:schemeClr>
                          </a:solidFill>
                          <a:effectLst/>
                          <a:uLnTx/>
                          <a:uFillTx/>
                          <a:latin typeface="+mn-lt"/>
                          <a:ea typeface="+mn-ea"/>
                          <a:cs typeface="+mn-cs"/>
                        </a:rPr>
                        <a:t>        Red Hat OSP </a:t>
                      </a:r>
                    </a:p>
                  </a:txBody>
                  <a:tcPr marL="68562" marR="68562" marT="34281" marB="342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7058">
                <a:tc>
                  <a:txBody>
                    <a:bodyPr/>
                    <a:lstStyle/>
                    <a:p>
                      <a:pPr marL="0" marR="0" lvl="0" indent="0" algn="l" defTabSz="914209"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tx1">
                            <a:lumMod val="75000"/>
                          </a:schemeClr>
                        </a:solidFill>
                        <a:effectLst/>
                        <a:uLnTx/>
                        <a:uFillTx/>
                        <a:latin typeface="+mn-lt"/>
                        <a:ea typeface="+mn-ea"/>
                        <a:cs typeface="+mn-cs"/>
                      </a:endParaRPr>
                    </a:p>
                  </a:txBody>
                  <a:tcPr marL="68562" marR="68562" marT="34281" marB="342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58" name="Picture 2" descr="C:\Users\spius\Pictures\cisco logo blue gradient.png">
            <a:extLst>
              <a:ext uri="{FF2B5EF4-FFF2-40B4-BE49-F238E27FC236}">
                <a16:creationId xmlns:a16="http://schemas.microsoft.com/office/drawing/2014/main" id="{D047FA41-F673-9140-9A73-7131884271C4}"/>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049089" y="3396751"/>
            <a:ext cx="334465" cy="205687"/>
          </a:xfrm>
          <a:prstGeom prst="rect">
            <a:avLst/>
          </a:prstGeom>
          <a:noFill/>
          <a:extLst>
            <a:ext uri="{909E8E84-426E-40DD-AFC4-6F175D3DCCD1}">
              <a14:hiddenFill xmlns:a14="http://schemas.microsoft.com/office/drawing/2010/main">
                <a:solidFill>
                  <a:srgbClr val="FFFFFF"/>
                </a:solidFill>
              </a14:hiddenFill>
            </a:ext>
          </a:extLst>
        </p:spPr>
      </p:pic>
      <p:sp>
        <p:nvSpPr>
          <p:cNvPr id="159" name="TextBox 158">
            <a:extLst>
              <a:ext uri="{FF2B5EF4-FFF2-40B4-BE49-F238E27FC236}">
                <a16:creationId xmlns:a16="http://schemas.microsoft.com/office/drawing/2014/main" id="{5DACB16E-4805-D941-BD5B-D1B4261002E7}"/>
              </a:ext>
            </a:extLst>
          </p:cNvPr>
          <p:cNvSpPr txBox="1"/>
          <p:nvPr/>
        </p:nvSpPr>
        <p:spPr>
          <a:xfrm>
            <a:off x="7367394" y="3461788"/>
            <a:ext cx="912429" cy="200055"/>
          </a:xfrm>
          <a:prstGeom prst="rect">
            <a:avLst/>
          </a:prstGeom>
          <a:noFill/>
        </p:spPr>
        <p:txBody>
          <a:bodyPr wrap="none" rtlCol="0">
            <a:spAutoFit/>
          </a:bodyPr>
          <a:lstStyle/>
          <a:p>
            <a:pPr marL="0" marR="0" lvl="0" indent="0" algn="l" defTabSz="457086"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34" charset="-128"/>
                <a:cs typeface="+mn-cs"/>
              </a:rPr>
              <a:t>Lifecycle Manager</a:t>
            </a:r>
          </a:p>
        </p:txBody>
      </p:sp>
      <p:sp>
        <p:nvSpPr>
          <p:cNvPr id="160" name="TextBox 159">
            <a:extLst>
              <a:ext uri="{FF2B5EF4-FFF2-40B4-BE49-F238E27FC236}">
                <a16:creationId xmlns:a16="http://schemas.microsoft.com/office/drawing/2014/main" id="{4A0B3AD8-688F-2242-AD3F-BF0A284818A2}"/>
              </a:ext>
            </a:extLst>
          </p:cNvPr>
          <p:cNvSpPr txBox="1"/>
          <p:nvPr/>
        </p:nvSpPr>
        <p:spPr>
          <a:xfrm>
            <a:off x="7407238" y="3310498"/>
            <a:ext cx="768159" cy="246221"/>
          </a:xfrm>
          <a:prstGeom prst="rect">
            <a:avLst/>
          </a:prstGeom>
          <a:noFill/>
        </p:spPr>
        <p:txBody>
          <a:bodyPr wrap="none" rtlCol="0">
            <a:spAutoFit/>
          </a:bodyPr>
          <a:lstStyle/>
          <a:p>
            <a:pPr marL="0" marR="0" lvl="0" indent="0" algn="l" defTabSz="457086"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34" charset="-128"/>
                <a:cs typeface="+mn-cs"/>
              </a:rPr>
              <a:t>Cisco VIM</a:t>
            </a:r>
          </a:p>
        </p:txBody>
      </p:sp>
    </p:spTree>
    <p:extLst>
      <p:ext uri="{BB962C8B-B14F-4D97-AF65-F5344CB8AC3E}">
        <p14:creationId xmlns:p14="http://schemas.microsoft.com/office/powerpoint/2010/main" val="376226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DD9F29-44FE-5D45-9D49-73926EDB78C4}"/>
              </a:ext>
            </a:extLst>
          </p:cNvPr>
          <p:cNvSpPr>
            <a:spLocks noGrp="1"/>
          </p:cNvSpPr>
          <p:nvPr>
            <p:ph type="title"/>
          </p:nvPr>
        </p:nvSpPr>
        <p:spPr/>
        <p:txBody>
          <a:bodyPr/>
          <a:lstStyle/>
          <a:p>
            <a:r>
              <a:rPr lang="en-US" dirty="0"/>
              <a:t>Target Architecture based on ETSI MANO</a:t>
            </a:r>
          </a:p>
        </p:txBody>
      </p:sp>
      <p:pic>
        <p:nvPicPr>
          <p:cNvPr id="8" name="Picture 7">
            <a:extLst>
              <a:ext uri="{FF2B5EF4-FFF2-40B4-BE49-F238E27FC236}">
                <a16:creationId xmlns:a16="http://schemas.microsoft.com/office/drawing/2014/main" id="{D5D49734-94CA-7B4C-8A14-3EBE58B41E2F}"/>
              </a:ext>
            </a:extLst>
          </p:cNvPr>
          <p:cNvPicPr>
            <a:picLocks noChangeAspect="1"/>
          </p:cNvPicPr>
          <p:nvPr/>
        </p:nvPicPr>
        <p:blipFill>
          <a:blip r:embed="rId2"/>
          <a:stretch>
            <a:fillRect/>
          </a:stretch>
        </p:blipFill>
        <p:spPr>
          <a:xfrm>
            <a:off x="889782" y="1073150"/>
            <a:ext cx="7364436" cy="3468039"/>
          </a:xfrm>
          <a:prstGeom prst="rect">
            <a:avLst/>
          </a:prstGeom>
        </p:spPr>
      </p:pic>
    </p:spTree>
    <p:extLst>
      <p:ext uri="{BB962C8B-B14F-4D97-AF65-F5344CB8AC3E}">
        <p14:creationId xmlns:p14="http://schemas.microsoft.com/office/powerpoint/2010/main" val="864728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1" name="Richtungspfeil 65">
            <a:extLst>
              <a:ext uri="{FF2B5EF4-FFF2-40B4-BE49-F238E27FC236}">
                <a16:creationId xmlns:a16="http://schemas.microsoft.com/office/drawing/2014/main" id="{FD8BE873-6E64-4B37-A820-3A41A9398F4F}"/>
              </a:ext>
            </a:extLst>
          </p:cNvPr>
          <p:cNvSpPr/>
          <p:nvPr/>
        </p:nvSpPr>
        <p:spPr bwMode="auto">
          <a:xfrm>
            <a:off x="484168" y="4375940"/>
            <a:ext cx="8149736" cy="365628"/>
          </a:xfrm>
          <a:prstGeom prst="roundRect">
            <a:avLst>
              <a:gd name="adj" fmla="val 50000"/>
            </a:avLst>
          </a:prstGeom>
          <a:solidFill>
            <a:schemeClr val="tx1">
              <a:lumMod val="10000"/>
              <a:lumOff val="90000"/>
            </a:schemeClr>
          </a:solidFill>
          <a:ln w="12700">
            <a:noFill/>
            <a:miter lim="800000"/>
            <a:headEnd/>
            <a:tailEnd/>
          </a:ln>
          <a:effectLst/>
        </p:spPr>
        <p:txBody>
          <a:bodyPr lIns="0" tIns="0" rIns="0" bIns="0" anchor="t" anchorCtr="0"/>
          <a:lstStyle/>
          <a:p>
            <a:pPr indent="-66674" algn="ctr" defTabSz="457166"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GB" sz="1400" b="1" noProof="1">
              <a:solidFill>
                <a:srgbClr val="005073"/>
              </a:solidFill>
              <a:latin typeface="CiscoSansTT" panose="020B0503020201020303" pitchFamily="34" charset="0"/>
              <a:cs typeface="CiscoSansTT" panose="020B0503020201020303" pitchFamily="34" charset="0"/>
            </a:endParaRPr>
          </a:p>
        </p:txBody>
      </p:sp>
      <p:sp>
        <p:nvSpPr>
          <p:cNvPr id="617" name="TextBox 616">
            <a:extLst>
              <a:ext uri="{FF2B5EF4-FFF2-40B4-BE49-F238E27FC236}">
                <a16:creationId xmlns:a16="http://schemas.microsoft.com/office/drawing/2014/main" id="{46CA36E3-7511-4616-B919-2BE11886203D}"/>
              </a:ext>
            </a:extLst>
          </p:cNvPr>
          <p:cNvSpPr txBox="1"/>
          <p:nvPr/>
        </p:nvSpPr>
        <p:spPr>
          <a:xfrm>
            <a:off x="429634" y="2406015"/>
            <a:ext cx="2196072" cy="307775"/>
          </a:xfrm>
          <a:prstGeom prst="rect">
            <a:avLst/>
          </a:prstGeom>
          <a:noFill/>
        </p:spPr>
        <p:txBody>
          <a:bodyPr wrap="square" lIns="91438" tIns="45719" rIns="91438" bIns="45719" rtlCol="0" anchor="b">
            <a:spAutoFit/>
          </a:bodyPr>
          <a:lstStyle/>
          <a:p>
            <a:pPr algn="ctr" defTabSz="457106" eaLnBrk="0" fontAlgn="auto" hangingPunct="0">
              <a:spcBef>
                <a:spcPts val="0"/>
              </a:spcBef>
              <a:spcAft>
                <a:spcPts val="0"/>
              </a:spcAft>
              <a:defRPr/>
            </a:pPr>
            <a:r>
              <a:rPr lang="en-US" sz="1400" b="1" dirty="0">
                <a:solidFill>
                  <a:srgbClr val="005073"/>
                </a:solidFill>
                <a:latin typeface="CiscoSansTT ExtraLight"/>
                <a:ea typeface="ＭＳ Ｐゴシック" charset="-128"/>
                <a:cs typeface="ＭＳ Ｐゴシック" charset="-128"/>
              </a:rPr>
              <a:t>Virtual ACI</a:t>
            </a:r>
          </a:p>
        </p:txBody>
      </p:sp>
      <p:sp>
        <p:nvSpPr>
          <p:cNvPr id="618" name="TextBox 617">
            <a:extLst>
              <a:ext uri="{FF2B5EF4-FFF2-40B4-BE49-F238E27FC236}">
                <a16:creationId xmlns:a16="http://schemas.microsoft.com/office/drawing/2014/main" id="{93D42DA9-95C5-4B2B-80B8-3F524B3AD84B}"/>
              </a:ext>
            </a:extLst>
          </p:cNvPr>
          <p:cNvSpPr txBox="1"/>
          <p:nvPr/>
        </p:nvSpPr>
        <p:spPr>
          <a:xfrm>
            <a:off x="3606669" y="2412897"/>
            <a:ext cx="1814766" cy="307775"/>
          </a:xfrm>
          <a:prstGeom prst="rect">
            <a:avLst/>
          </a:prstGeom>
          <a:noFill/>
        </p:spPr>
        <p:txBody>
          <a:bodyPr wrap="square" lIns="91438" tIns="45719" rIns="91438" bIns="45719" rtlCol="0" anchor="b">
            <a:spAutoFit/>
          </a:bodyPr>
          <a:lstStyle/>
          <a:p>
            <a:pPr algn="ctr" defTabSz="457106" eaLnBrk="0" fontAlgn="auto" hangingPunct="0">
              <a:spcBef>
                <a:spcPts val="0"/>
              </a:spcBef>
              <a:spcAft>
                <a:spcPts val="0"/>
              </a:spcAft>
              <a:defRPr/>
            </a:pPr>
            <a:r>
              <a:rPr lang="en-US" sz="1400" b="1" dirty="0">
                <a:solidFill>
                  <a:srgbClr val="005073"/>
                </a:solidFill>
                <a:latin typeface="CiscoSansTT ExtraLight"/>
                <a:ea typeface="ＭＳ Ｐゴシック" charset="-128"/>
                <a:cs typeface="ＭＳ Ｐゴシック" charset="-128"/>
              </a:rPr>
              <a:t>ACI Orchestrator</a:t>
            </a:r>
          </a:p>
        </p:txBody>
      </p:sp>
      <p:sp>
        <p:nvSpPr>
          <p:cNvPr id="619" name="TextBox 618">
            <a:extLst>
              <a:ext uri="{FF2B5EF4-FFF2-40B4-BE49-F238E27FC236}">
                <a16:creationId xmlns:a16="http://schemas.microsoft.com/office/drawing/2014/main" id="{BBC58C6C-83E1-4E81-B623-2D2D989610E4}"/>
              </a:ext>
            </a:extLst>
          </p:cNvPr>
          <p:cNvSpPr txBox="1"/>
          <p:nvPr/>
        </p:nvSpPr>
        <p:spPr>
          <a:xfrm>
            <a:off x="5780322" y="2447810"/>
            <a:ext cx="3127452" cy="307775"/>
          </a:xfrm>
          <a:prstGeom prst="rect">
            <a:avLst/>
          </a:prstGeom>
          <a:noFill/>
        </p:spPr>
        <p:txBody>
          <a:bodyPr wrap="square" lIns="91438" tIns="45719" rIns="91438" bIns="45719" rtlCol="0" anchor="b">
            <a:spAutoFit/>
          </a:bodyPr>
          <a:lstStyle/>
          <a:p>
            <a:pPr algn="ctr" defTabSz="457106" eaLnBrk="0" fontAlgn="auto" hangingPunct="0">
              <a:spcBef>
                <a:spcPts val="0"/>
              </a:spcBef>
              <a:spcAft>
                <a:spcPts val="0"/>
              </a:spcAft>
              <a:defRPr/>
            </a:pPr>
            <a:r>
              <a:rPr lang="en-US" sz="1400" b="1" dirty="0">
                <a:solidFill>
                  <a:srgbClr val="005073"/>
                </a:solidFill>
                <a:latin typeface="CiscoSansTT ExtraLight"/>
                <a:ea typeface="ＭＳ Ｐゴシック" charset="-128"/>
                <a:cs typeface="ＭＳ Ｐゴシック" charset="-128"/>
              </a:rPr>
              <a:t>Cloud ACI</a:t>
            </a:r>
          </a:p>
        </p:txBody>
      </p:sp>
      <p:grpSp>
        <p:nvGrpSpPr>
          <p:cNvPr id="620" name="Group 619">
            <a:extLst>
              <a:ext uri="{FF2B5EF4-FFF2-40B4-BE49-F238E27FC236}">
                <a16:creationId xmlns:a16="http://schemas.microsoft.com/office/drawing/2014/main" id="{47A2AC18-B0D3-4618-951A-F704AF365520}"/>
              </a:ext>
            </a:extLst>
          </p:cNvPr>
          <p:cNvGrpSpPr/>
          <p:nvPr/>
        </p:nvGrpSpPr>
        <p:grpSpPr>
          <a:xfrm>
            <a:off x="2442700" y="2418709"/>
            <a:ext cx="1083788" cy="362594"/>
            <a:chOff x="5608476" y="2133601"/>
            <a:chExt cx="1334541" cy="446486"/>
          </a:xfrm>
        </p:grpSpPr>
        <p:grpSp>
          <p:nvGrpSpPr>
            <p:cNvPr id="644" name="Group 643">
              <a:extLst>
                <a:ext uri="{FF2B5EF4-FFF2-40B4-BE49-F238E27FC236}">
                  <a16:creationId xmlns:a16="http://schemas.microsoft.com/office/drawing/2014/main" id="{1B423B6E-4CB4-47B7-85A2-DE2919575E1B}"/>
                </a:ext>
              </a:extLst>
            </p:cNvPr>
            <p:cNvGrpSpPr/>
            <p:nvPr/>
          </p:nvGrpSpPr>
          <p:grpSpPr>
            <a:xfrm>
              <a:off x="5608476" y="2249413"/>
              <a:ext cx="1334541" cy="249563"/>
              <a:chOff x="5601276" y="2249413"/>
              <a:chExt cx="1334541" cy="249563"/>
            </a:xfrm>
          </p:grpSpPr>
          <p:grpSp>
            <p:nvGrpSpPr>
              <p:cNvPr id="650" name="Group 649">
                <a:extLst>
                  <a:ext uri="{FF2B5EF4-FFF2-40B4-BE49-F238E27FC236}">
                    <a16:creationId xmlns:a16="http://schemas.microsoft.com/office/drawing/2014/main" id="{B97D4A56-A9C6-43FE-8C39-CEDE7C7D382C}"/>
                  </a:ext>
                </a:extLst>
              </p:cNvPr>
              <p:cNvGrpSpPr>
                <a:grpSpLocks noChangeAspect="1"/>
              </p:cNvGrpSpPr>
              <p:nvPr/>
            </p:nvGrpSpPr>
            <p:grpSpPr>
              <a:xfrm>
                <a:off x="6351106" y="2249413"/>
                <a:ext cx="584711" cy="249563"/>
                <a:chOff x="7413625" y="909638"/>
                <a:chExt cx="1160463" cy="495300"/>
              </a:xfrm>
            </p:grpSpPr>
            <p:sp>
              <p:nvSpPr>
                <p:cNvPr id="659" name="Freeform 56">
                  <a:extLst>
                    <a:ext uri="{FF2B5EF4-FFF2-40B4-BE49-F238E27FC236}">
                      <a16:creationId xmlns:a16="http://schemas.microsoft.com/office/drawing/2014/main" id="{48FF0504-7693-414A-AC30-A52EB31328B5}"/>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60" name="Freeform 57">
                  <a:extLst>
                    <a:ext uri="{FF2B5EF4-FFF2-40B4-BE49-F238E27FC236}">
                      <a16:creationId xmlns:a16="http://schemas.microsoft.com/office/drawing/2014/main" id="{C248F415-C1D0-4E16-A472-B5CDA4DA746C}"/>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61" name="Freeform 58">
                  <a:extLst>
                    <a:ext uri="{FF2B5EF4-FFF2-40B4-BE49-F238E27FC236}">
                      <a16:creationId xmlns:a16="http://schemas.microsoft.com/office/drawing/2014/main" id="{A2EA2AAE-2822-476F-A473-41C615EED949}"/>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53565A">
                    <a:lumMod val="40000"/>
                    <a:lumOff val="6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62" name="Freeform 59">
                  <a:extLst>
                    <a:ext uri="{FF2B5EF4-FFF2-40B4-BE49-F238E27FC236}">
                      <a16:creationId xmlns:a16="http://schemas.microsoft.com/office/drawing/2014/main" id="{3EC48422-99CE-4871-B866-DD3B30A34AF6}"/>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63" name="Freeform 60">
                  <a:extLst>
                    <a:ext uri="{FF2B5EF4-FFF2-40B4-BE49-F238E27FC236}">
                      <a16:creationId xmlns:a16="http://schemas.microsoft.com/office/drawing/2014/main" id="{F40E5731-C869-4DA4-9729-168641BAA672}"/>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53565A">
                    <a:lumMod val="40000"/>
                    <a:lumOff val="6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64" name="Freeform 61">
                  <a:extLst>
                    <a:ext uri="{FF2B5EF4-FFF2-40B4-BE49-F238E27FC236}">
                      <a16:creationId xmlns:a16="http://schemas.microsoft.com/office/drawing/2014/main" id="{79460D17-E970-4628-BAC9-26F4236A2211}"/>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65" name="Freeform 62">
                  <a:extLst>
                    <a:ext uri="{FF2B5EF4-FFF2-40B4-BE49-F238E27FC236}">
                      <a16:creationId xmlns:a16="http://schemas.microsoft.com/office/drawing/2014/main" id="{57605BE7-FE71-4AEC-9934-DC280774606B}"/>
                    </a:ext>
                  </a:extLst>
                </p:cNvPr>
                <p:cNvSpPr>
                  <a:spLocks/>
                </p:cNvSpPr>
                <p:nvPr/>
              </p:nvSpPr>
              <p:spPr bwMode="auto">
                <a:xfrm>
                  <a:off x="8423275" y="1095376"/>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53565A">
                    <a:lumMod val="60000"/>
                    <a:lumOff val="4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grpSp>
          <p:grpSp>
            <p:nvGrpSpPr>
              <p:cNvPr id="651" name="Group 650">
                <a:extLst>
                  <a:ext uri="{FF2B5EF4-FFF2-40B4-BE49-F238E27FC236}">
                    <a16:creationId xmlns:a16="http://schemas.microsoft.com/office/drawing/2014/main" id="{8E6BCCBB-351A-41F4-BE93-920F36A6C625}"/>
                  </a:ext>
                </a:extLst>
              </p:cNvPr>
              <p:cNvGrpSpPr>
                <a:grpSpLocks noChangeAspect="1"/>
              </p:cNvGrpSpPr>
              <p:nvPr/>
            </p:nvGrpSpPr>
            <p:grpSpPr>
              <a:xfrm flipH="1">
                <a:off x="5601276" y="2249413"/>
                <a:ext cx="584711" cy="249563"/>
                <a:chOff x="7413625" y="909638"/>
                <a:chExt cx="1160463" cy="495300"/>
              </a:xfrm>
            </p:grpSpPr>
            <p:sp>
              <p:nvSpPr>
                <p:cNvPr id="652" name="Freeform 56">
                  <a:extLst>
                    <a:ext uri="{FF2B5EF4-FFF2-40B4-BE49-F238E27FC236}">
                      <a16:creationId xmlns:a16="http://schemas.microsoft.com/office/drawing/2014/main" id="{97704E55-D537-4745-AD6C-E4EDF910C0AD}"/>
                    </a:ext>
                  </a:extLst>
                </p:cNvPr>
                <p:cNvSpPr>
                  <a:spLocks noEditPoints="1"/>
                </p:cNvSpPr>
                <p:nvPr/>
              </p:nvSpPr>
              <p:spPr bwMode="auto">
                <a:xfrm>
                  <a:off x="7413625" y="1095376"/>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53" name="Freeform 57">
                  <a:extLst>
                    <a:ext uri="{FF2B5EF4-FFF2-40B4-BE49-F238E27FC236}">
                      <a16:creationId xmlns:a16="http://schemas.microsoft.com/office/drawing/2014/main" id="{200E82E6-211E-4F07-83E5-430E5236A456}"/>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54" name="Freeform 58">
                  <a:extLst>
                    <a:ext uri="{FF2B5EF4-FFF2-40B4-BE49-F238E27FC236}">
                      <a16:creationId xmlns:a16="http://schemas.microsoft.com/office/drawing/2014/main" id="{96512C6C-2A3C-49CB-9417-742359381D80}"/>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53565A">
                    <a:lumMod val="40000"/>
                    <a:lumOff val="6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55" name="Freeform 59">
                  <a:extLst>
                    <a:ext uri="{FF2B5EF4-FFF2-40B4-BE49-F238E27FC236}">
                      <a16:creationId xmlns:a16="http://schemas.microsoft.com/office/drawing/2014/main" id="{5F1205CF-D299-4F8D-B0BC-3F52FF86E86E}"/>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56" name="Freeform 60">
                  <a:extLst>
                    <a:ext uri="{FF2B5EF4-FFF2-40B4-BE49-F238E27FC236}">
                      <a16:creationId xmlns:a16="http://schemas.microsoft.com/office/drawing/2014/main" id="{B37423FB-7FCF-4BA6-BCB5-E35EC61829B4}"/>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53565A">
                    <a:lumMod val="40000"/>
                    <a:lumOff val="6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57" name="Freeform 61">
                  <a:extLst>
                    <a:ext uri="{FF2B5EF4-FFF2-40B4-BE49-F238E27FC236}">
                      <a16:creationId xmlns:a16="http://schemas.microsoft.com/office/drawing/2014/main" id="{A4A0212F-255A-42D9-8C8E-F84A47707552}"/>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58" name="Freeform 62">
                  <a:extLst>
                    <a:ext uri="{FF2B5EF4-FFF2-40B4-BE49-F238E27FC236}">
                      <a16:creationId xmlns:a16="http://schemas.microsoft.com/office/drawing/2014/main" id="{4E2DFE45-52FD-4B55-8FBC-958A9719B9CD}"/>
                    </a:ext>
                  </a:extLst>
                </p:cNvPr>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53565A">
                    <a:lumMod val="60000"/>
                    <a:lumOff val="4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grpSp>
        </p:grpSp>
        <p:grpSp>
          <p:nvGrpSpPr>
            <p:cNvPr id="645" name="Group 644">
              <a:extLst>
                <a:ext uri="{FF2B5EF4-FFF2-40B4-BE49-F238E27FC236}">
                  <a16:creationId xmlns:a16="http://schemas.microsoft.com/office/drawing/2014/main" id="{24841378-9604-4330-8D93-747C45EC1422}"/>
                </a:ext>
              </a:extLst>
            </p:cNvPr>
            <p:cNvGrpSpPr>
              <a:grpSpLocks noChangeAspect="1"/>
            </p:cNvGrpSpPr>
            <p:nvPr/>
          </p:nvGrpSpPr>
          <p:grpSpPr>
            <a:xfrm>
              <a:off x="5813116" y="2133601"/>
              <a:ext cx="901338" cy="446486"/>
              <a:chOff x="836085" y="1496592"/>
              <a:chExt cx="538984" cy="266991"/>
            </a:xfrm>
          </p:grpSpPr>
          <p:sp>
            <p:nvSpPr>
              <p:cNvPr id="647" name="Freeform 751">
                <a:extLst>
                  <a:ext uri="{FF2B5EF4-FFF2-40B4-BE49-F238E27FC236}">
                    <a16:creationId xmlns:a16="http://schemas.microsoft.com/office/drawing/2014/main" id="{87C44171-AFC4-463D-B3E0-566AF3DCF411}"/>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rgbClr val="00BCEB"/>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48" name="Freeform 752">
                <a:extLst>
                  <a:ext uri="{FF2B5EF4-FFF2-40B4-BE49-F238E27FC236}">
                    <a16:creationId xmlns:a16="http://schemas.microsoft.com/office/drawing/2014/main" id="{F3547B3C-D787-46EF-BBFA-64EED07E6495}"/>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rgbClr val="00BCEB"/>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49" name="Freeform 753">
                <a:extLst>
                  <a:ext uri="{FF2B5EF4-FFF2-40B4-BE49-F238E27FC236}">
                    <a16:creationId xmlns:a16="http://schemas.microsoft.com/office/drawing/2014/main" id="{B893B56B-1EAE-4913-A2E4-9D26BF3DF8DF}"/>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rgbClr val="00BCEB"/>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grpSp>
        <p:sp>
          <p:nvSpPr>
            <p:cNvPr id="646" name="TextBox 645">
              <a:extLst>
                <a:ext uri="{FF2B5EF4-FFF2-40B4-BE49-F238E27FC236}">
                  <a16:creationId xmlns:a16="http://schemas.microsoft.com/office/drawing/2014/main" id="{B34CA390-F377-4B92-9097-7882823F5864}"/>
                </a:ext>
              </a:extLst>
            </p:cNvPr>
            <p:cNvSpPr txBox="1"/>
            <p:nvPr/>
          </p:nvSpPr>
          <p:spPr>
            <a:xfrm>
              <a:off x="5942053" y="2261180"/>
              <a:ext cx="780975" cy="284239"/>
            </a:xfrm>
            <a:prstGeom prst="rect">
              <a:avLst/>
            </a:prstGeom>
            <a:noFill/>
          </p:spPr>
          <p:txBody>
            <a:bodyPr wrap="square" rtlCol="0">
              <a:spAutoFit/>
            </a:bodyPr>
            <a:lstStyle/>
            <a:p>
              <a:pPr algn="ctr" defTabSz="457106" eaLnBrk="0" fontAlgn="auto" hangingPunct="0">
                <a:spcBef>
                  <a:spcPts val="0"/>
                </a:spcBef>
                <a:spcAft>
                  <a:spcPts val="0"/>
                </a:spcAft>
                <a:defRPr/>
              </a:pPr>
              <a:r>
                <a:rPr lang="en-US" sz="900" kern="0" dirty="0">
                  <a:solidFill>
                    <a:srgbClr val="FFFFFF"/>
                  </a:solidFill>
                  <a:latin typeface="CiscoSansTT Light" panose="020B0503020201020303" pitchFamily="34" charset="0"/>
                  <a:ea typeface="ＭＳ Ｐゴシック" charset="-128"/>
                  <a:cs typeface="CiscoSansTT Light" panose="020B0503020201020303" pitchFamily="34" charset="0"/>
                </a:rPr>
                <a:t>IP WAN</a:t>
              </a:r>
            </a:p>
          </p:txBody>
        </p:sp>
      </p:grpSp>
      <p:grpSp>
        <p:nvGrpSpPr>
          <p:cNvPr id="621" name="Group 620">
            <a:extLst>
              <a:ext uri="{FF2B5EF4-FFF2-40B4-BE49-F238E27FC236}">
                <a16:creationId xmlns:a16="http://schemas.microsoft.com/office/drawing/2014/main" id="{19254360-D9A9-4856-9B17-CF0EB10DCA6E}"/>
              </a:ext>
            </a:extLst>
          </p:cNvPr>
          <p:cNvGrpSpPr/>
          <p:nvPr/>
        </p:nvGrpSpPr>
        <p:grpSpPr>
          <a:xfrm>
            <a:off x="5516995" y="2408531"/>
            <a:ext cx="1083788" cy="362594"/>
            <a:chOff x="5608476" y="2133601"/>
            <a:chExt cx="1334541" cy="446486"/>
          </a:xfrm>
        </p:grpSpPr>
        <p:grpSp>
          <p:nvGrpSpPr>
            <p:cNvPr id="622" name="Group 621">
              <a:extLst>
                <a:ext uri="{FF2B5EF4-FFF2-40B4-BE49-F238E27FC236}">
                  <a16:creationId xmlns:a16="http://schemas.microsoft.com/office/drawing/2014/main" id="{165C08E7-CD12-4551-8D91-370DFACDDF49}"/>
                </a:ext>
              </a:extLst>
            </p:cNvPr>
            <p:cNvGrpSpPr/>
            <p:nvPr/>
          </p:nvGrpSpPr>
          <p:grpSpPr>
            <a:xfrm>
              <a:off x="5608476" y="2249413"/>
              <a:ext cx="1334541" cy="249563"/>
              <a:chOff x="5601276" y="2249413"/>
              <a:chExt cx="1334541" cy="249563"/>
            </a:xfrm>
          </p:grpSpPr>
          <p:grpSp>
            <p:nvGrpSpPr>
              <p:cNvPr id="628" name="Group 627">
                <a:extLst>
                  <a:ext uri="{FF2B5EF4-FFF2-40B4-BE49-F238E27FC236}">
                    <a16:creationId xmlns:a16="http://schemas.microsoft.com/office/drawing/2014/main" id="{D8EFCC16-9C5D-4374-B9A1-3DF4FF5A2198}"/>
                  </a:ext>
                </a:extLst>
              </p:cNvPr>
              <p:cNvGrpSpPr>
                <a:grpSpLocks noChangeAspect="1"/>
              </p:cNvGrpSpPr>
              <p:nvPr/>
            </p:nvGrpSpPr>
            <p:grpSpPr>
              <a:xfrm>
                <a:off x="6351106" y="2249413"/>
                <a:ext cx="584711" cy="249563"/>
                <a:chOff x="7413625" y="909638"/>
                <a:chExt cx="1160463" cy="495300"/>
              </a:xfrm>
            </p:grpSpPr>
            <p:sp>
              <p:nvSpPr>
                <p:cNvPr id="637" name="Freeform 56">
                  <a:extLst>
                    <a:ext uri="{FF2B5EF4-FFF2-40B4-BE49-F238E27FC236}">
                      <a16:creationId xmlns:a16="http://schemas.microsoft.com/office/drawing/2014/main" id="{D883766A-F128-486A-BC96-EE8885CA6ECE}"/>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38" name="Freeform 57">
                  <a:extLst>
                    <a:ext uri="{FF2B5EF4-FFF2-40B4-BE49-F238E27FC236}">
                      <a16:creationId xmlns:a16="http://schemas.microsoft.com/office/drawing/2014/main" id="{DCA1944B-49B5-4240-9105-8D2F6F624C1D}"/>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39" name="Freeform 58">
                  <a:extLst>
                    <a:ext uri="{FF2B5EF4-FFF2-40B4-BE49-F238E27FC236}">
                      <a16:creationId xmlns:a16="http://schemas.microsoft.com/office/drawing/2014/main" id="{94790D27-FBF3-4D15-B7CC-B60403A365CA}"/>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53565A">
                    <a:lumMod val="40000"/>
                    <a:lumOff val="6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40" name="Freeform 59">
                  <a:extLst>
                    <a:ext uri="{FF2B5EF4-FFF2-40B4-BE49-F238E27FC236}">
                      <a16:creationId xmlns:a16="http://schemas.microsoft.com/office/drawing/2014/main" id="{34092E76-F9C9-420E-B6B1-FC75C3AFCA6A}"/>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41" name="Freeform 60">
                  <a:extLst>
                    <a:ext uri="{FF2B5EF4-FFF2-40B4-BE49-F238E27FC236}">
                      <a16:creationId xmlns:a16="http://schemas.microsoft.com/office/drawing/2014/main" id="{0134A43B-52C1-41C5-8F07-548A0A839BA1}"/>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53565A">
                    <a:lumMod val="40000"/>
                    <a:lumOff val="6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42" name="Freeform 61">
                  <a:extLst>
                    <a:ext uri="{FF2B5EF4-FFF2-40B4-BE49-F238E27FC236}">
                      <a16:creationId xmlns:a16="http://schemas.microsoft.com/office/drawing/2014/main" id="{2AFBADAE-8EA0-4C9B-856A-0343750ED60F}"/>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43" name="Freeform 62">
                  <a:extLst>
                    <a:ext uri="{FF2B5EF4-FFF2-40B4-BE49-F238E27FC236}">
                      <a16:creationId xmlns:a16="http://schemas.microsoft.com/office/drawing/2014/main" id="{40C07A4C-B224-451D-9A20-580D7A2ED1E5}"/>
                    </a:ext>
                  </a:extLst>
                </p:cNvPr>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53565A">
                    <a:lumMod val="60000"/>
                    <a:lumOff val="4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grpSp>
          <p:grpSp>
            <p:nvGrpSpPr>
              <p:cNvPr id="629" name="Group 628">
                <a:extLst>
                  <a:ext uri="{FF2B5EF4-FFF2-40B4-BE49-F238E27FC236}">
                    <a16:creationId xmlns:a16="http://schemas.microsoft.com/office/drawing/2014/main" id="{6FD6247F-A0BA-44A2-994D-F4EFB0BAD4EC}"/>
                  </a:ext>
                </a:extLst>
              </p:cNvPr>
              <p:cNvGrpSpPr>
                <a:grpSpLocks noChangeAspect="1"/>
              </p:cNvGrpSpPr>
              <p:nvPr/>
            </p:nvGrpSpPr>
            <p:grpSpPr>
              <a:xfrm flipH="1">
                <a:off x="5601276" y="2249413"/>
                <a:ext cx="584711" cy="249563"/>
                <a:chOff x="7413625" y="909638"/>
                <a:chExt cx="1160463" cy="495300"/>
              </a:xfrm>
            </p:grpSpPr>
            <p:sp>
              <p:nvSpPr>
                <p:cNvPr id="630" name="Freeform 56">
                  <a:extLst>
                    <a:ext uri="{FF2B5EF4-FFF2-40B4-BE49-F238E27FC236}">
                      <a16:creationId xmlns:a16="http://schemas.microsoft.com/office/drawing/2014/main" id="{D6CEE52F-4191-43D4-96F4-1678F161BEB8}"/>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31" name="Freeform 57">
                  <a:extLst>
                    <a:ext uri="{FF2B5EF4-FFF2-40B4-BE49-F238E27FC236}">
                      <a16:creationId xmlns:a16="http://schemas.microsoft.com/office/drawing/2014/main" id="{C71A7BFE-B9A7-40AD-A1EA-1F4244804A88}"/>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32" name="Freeform 58">
                  <a:extLst>
                    <a:ext uri="{FF2B5EF4-FFF2-40B4-BE49-F238E27FC236}">
                      <a16:creationId xmlns:a16="http://schemas.microsoft.com/office/drawing/2014/main" id="{6BB739C2-EE8E-4E48-A70A-8F30FB9B8877}"/>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53565A">
                    <a:lumMod val="40000"/>
                    <a:lumOff val="6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33" name="Freeform 59">
                  <a:extLst>
                    <a:ext uri="{FF2B5EF4-FFF2-40B4-BE49-F238E27FC236}">
                      <a16:creationId xmlns:a16="http://schemas.microsoft.com/office/drawing/2014/main" id="{A8A867EB-72A2-482C-A44D-4F964198ECBA}"/>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66674" indent="-66674" algn="ctr" defTabSz="457118"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endParaRPr lang="en-US" sz="900" kern="0" dirty="0">
                    <a:solidFill>
                      <a:srgbClr val="282828"/>
                    </a:solidFill>
                    <a:latin typeface="CiscoSansTT ExtraLight"/>
                    <a:cs typeface="+mn-cs"/>
                  </a:endParaRPr>
                </a:p>
              </p:txBody>
            </p:sp>
            <p:sp>
              <p:nvSpPr>
                <p:cNvPr id="634" name="Freeform 60">
                  <a:extLst>
                    <a:ext uri="{FF2B5EF4-FFF2-40B4-BE49-F238E27FC236}">
                      <a16:creationId xmlns:a16="http://schemas.microsoft.com/office/drawing/2014/main" id="{F74691D5-2B4D-4EF2-9555-3DB3D63D035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53565A">
                    <a:lumMod val="40000"/>
                    <a:lumOff val="6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35" name="Freeform 61">
                  <a:extLst>
                    <a:ext uri="{FF2B5EF4-FFF2-40B4-BE49-F238E27FC236}">
                      <a16:creationId xmlns:a16="http://schemas.microsoft.com/office/drawing/2014/main" id="{DB3A34DD-9485-4C98-9398-E4B962876E47}"/>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36" name="Freeform 62">
                  <a:extLst>
                    <a:ext uri="{FF2B5EF4-FFF2-40B4-BE49-F238E27FC236}">
                      <a16:creationId xmlns:a16="http://schemas.microsoft.com/office/drawing/2014/main" id="{43116D3C-B4A5-4F87-9331-265A77953255}"/>
                    </a:ext>
                  </a:extLst>
                </p:cNvPr>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53565A">
                    <a:lumMod val="60000"/>
                    <a:lumOff val="40000"/>
                  </a:srgbClr>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grpSp>
        </p:grpSp>
        <p:grpSp>
          <p:nvGrpSpPr>
            <p:cNvPr id="623" name="Group 622">
              <a:extLst>
                <a:ext uri="{FF2B5EF4-FFF2-40B4-BE49-F238E27FC236}">
                  <a16:creationId xmlns:a16="http://schemas.microsoft.com/office/drawing/2014/main" id="{110BC419-5639-4005-8EEB-1D4E4BF10DB5}"/>
                </a:ext>
              </a:extLst>
            </p:cNvPr>
            <p:cNvGrpSpPr>
              <a:grpSpLocks noChangeAspect="1"/>
            </p:cNvGrpSpPr>
            <p:nvPr/>
          </p:nvGrpSpPr>
          <p:grpSpPr>
            <a:xfrm>
              <a:off x="5813116" y="2133601"/>
              <a:ext cx="901338" cy="446486"/>
              <a:chOff x="836085" y="1496592"/>
              <a:chExt cx="538984" cy="266991"/>
            </a:xfrm>
          </p:grpSpPr>
          <p:sp>
            <p:nvSpPr>
              <p:cNvPr id="625" name="Freeform 751">
                <a:extLst>
                  <a:ext uri="{FF2B5EF4-FFF2-40B4-BE49-F238E27FC236}">
                    <a16:creationId xmlns:a16="http://schemas.microsoft.com/office/drawing/2014/main" id="{F5BC9F0B-FB09-42D0-A354-CB6BF7F7786C}"/>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rgbClr val="00BCEB"/>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26" name="Freeform 752">
                <a:extLst>
                  <a:ext uri="{FF2B5EF4-FFF2-40B4-BE49-F238E27FC236}">
                    <a16:creationId xmlns:a16="http://schemas.microsoft.com/office/drawing/2014/main" id="{9E21C5D4-FE5C-496C-B8BB-6452E8A680FA}"/>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rgbClr val="00BCEB"/>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sp>
            <p:nvSpPr>
              <p:cNvPr id="627" name="Freeform 753">
                <a:extLst>
                  <a:ext uri="{FF2B5EF4-FFF2-40B4-BE49-F238E27FC236}">
                    <a16:creationId xmlns:a16="http://schemas.microsoft.com/office/drawing/2014/main" id="{8F1005B9-82AF-4F8C-A214-7441B24C7A35}"/>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rgbClr val="00BCEB"/>
              </a:solidFill>
              <a:ln>
                <a:noFill/>
              </a:ln>
            </p:spPr>
            <p:txBody>
              <a:bodyPr vert="horz" wrap="square" lIns="91440" tIns="45720" rIns="91440" bIns="45720" numCol="1" anchor="t" anchorCtr="0" compatLnSpc="1">
                <a:prstTxWarp prst="textNoShape">
                  <a:avLst/>
                </a:prstTxWarp>
              </a:bodyPr>
              <a:lstStyle/>
              <a:p>
                <a:pPr defTabSz="457118" fontAlgn="auto">
                  <a:spcBef>
                    <a:spcPts val="0"/>
                  </a:spcBef>
                  <a:spcAft>
                    <a:spcPts val="0"/>
                  </a:spcAft>
                  <a:defRPr/>
                </a:pPr>
                <a:endParaRPr lang="en-US" sz="1050" kern="0" dirty="0">
                  <a:solidFill>
                    <a:srgbClr val="282828"/>
                  </a:solidFill>
                  <a:latin typeface="CiscoSansTT ExtraLight"/>
                  <a:cs typeface="+mn-cs"/>
                </a:endParaRPr>
              </a:p>
            </p:txBody>
          </p:sp>
        </p:grpSp>
        <p:sp>
          <p:nvSpPr>
            <p:cNvPr id="624" name="TextBox 623">
              <a:extLst>
                <a:ext uri="{FF2B5EF4-FFF2-40B4-BE49-F238E27FC236}">
                  <a16:creationId xmlns:a16="http://schemas.microsoft.com/office/drawing/2014/main" id="{BC2D94A8-CBB8-4449-BA40-BA588629B095}"/>
                </a:ext>
              </a:extLst>
            </p:cNvPr>
            <p:cNvSpPr txBox="1"/>
            <p:nvPr/>
          </p:nvSpPr>
          <p:spPr>
            <a:xfrm>
              <a:off x="5942053" y="2261180"/>
              <a:ext cx="780975" cy="284239"/>
            </a:xfrm>
            <a:prstGeom prst="rect">
              <a:avLst/>
            </a:prstGeom>
            <a:noFill/>
          </p:spPr>
          <p:txBody>
            <a:bodyPr wrap="square" rtlCol="0">
              <a:spAutoFit/>
            </a:bodyPr>
            <a:lstStyle/>
            <a:p>
              <a:pPr algn="ctr" defTabSz="457106" eaLnBrk="0" fontAlgn="auto" hangingPunct="0">
                <a:spcBef>
                  <a:spcPts val="0"/>
                </a:spcBef>
                <a:spcAft>
                  <a:spcPts val="0"/>
                </a:spcAft>
                <a:defRPr/>
              </a:pPr>
              <a:r>
                <a:rPr lang="en-US" sz="900" kern="0" dirty="0">
                  <a:solidFill>
                    <a:srgbClr val="FFFFFF"/>
                  </a:solidFill>
                  <a:latin typeface="CiscoSansTT Light" panose="020B0503020201020303" pitchFamily="34" charset="0"/>
                  <a:ea typeface="ＭＳ Ｐゴシック" charset="-128"/>
                  <a:cs typeface="CiscoSansTT Light" panose="020B0503020201020303" pitchFamily="34" charset="0"/>
                </a:rPr>
                <a:t>IP WAN</a:t>
              </a:r>
            </a:p>
          </p:txBody>
        </p:sp>
      </p:grpSp>
      <p:grpSp>
        <p:nvGrpSpPr>
          <p:cNvPr id="7" name="Group 6">
            <a:extLst>
              <a:ext uri="{FF2B5EF4-FFF2-40B4-BE49-F238E27FC236}">
                <a16:creationId xmlns:a16="http://schemas.microsoft.com/office/drawing/2014/main" id="{BC37B522-D227-4233-B848-9FCB2CA6E5DF}"/>
              </a:ext>
            </a:extLst>
          </p:cNvPr>
          <p:cNvGrpSpPr/>
          <p:nvPr/>
        </p:nvGrpSpPr>
        <p:grpSpPr>
          <a:xfrm>
            <a:off x="743995" y="4420254"/>
            <a:ext cx="2266692" cy="300082"/>
            <a:chOff x="1088697" y="5519475"/>
            <a:chExt cx="3022257" cy="400109"/>
          </a:xfrm>
        </p:grpSpPr>
        <p:pic>
          <p:nvPicPr>
            <p:cNvPr id="669" name="Picture 668">
              <a:extLst>
                <a:ext uri="{FF2B5EF4-FFF2-40B4-BE49-F238E27FC236}">
                  <a16:creationId xmlns:a16="http://schemas.microsoft.com/office/drawing/2014/main" id="{8A59955D-5F9E-4774-A702-DA194295CA7B}"/>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1088697" y="5534977"/>
              <a:ext cx="338328" cy="338328"/>
            </a:xfrm>
            <a:prstGeom prst="rect">
              <a:avLst/>
            </a:prstGeom>
            <a:effectLst/>
          </p:spPr>
        </p:pic>
        <p:sp>
          <p:nvSpPr>
            <p:cNvPr id="6" name="Rectangle 5">
              <a:extLst>
                <a:ext uri="{FF2B5EF4-FFF2-40B4-BE49-F238E27FC236}">
                  <a16:creationId xmlns:a16="http://schemas.microsoft.com/office/drawing/2014/main" id="{E710774C-FE45-4014-BF37-258B21D01B04}"/>
                </a:ext>
              </a:extLst>
            </p:cNvPr>
            <p:cNvSpPr/>
            <p:nvPr/>
          </p:nvSpPr>
          <p:spPr>
            <a:xfrm>
              <a:off x="1528622" y="5519475"/>
              <a:ext cx="2582332" cy="400109"/>
            </a:xfrm>
            <a:prstGeom prst="rect">
              <a:avLst/>
            </a:prstGeom>
          </p:spPr>
          <p:txBody>
            <a:bodyPr wrap="none">
              <a:spAutoFit/>
            </a:bodyPr>
            <a:lstStyle/>
            <a:p>
              <a:pPr indent="-66674" defTabSz="457166"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r>
                <a:rPr lang="en-GB" sz="1350" b="1" noProof="1">
                  <a:solidFill>
                    <a:srgbClr val="005073"/>
                  </a:solidFill>
                  <a:latin typeface="CiscoSansTT" panose="020B0503020201020303" pitchFamily="34" charset="0"/>
                  <a:cs typeface="CiscoSansTT" panose="020B0503020201020303" pitchFamily="34" charset="0"/>
                </a:rPr>
                <a:t>Security Everywhere</a:t>
              </a:r>
            </a:p>
          </p:txBody>
        </p:sp>
      </p:grpSp>
      <p:grpSp>
        <p:nvGrpSpPr>
          <p:cNvPr id="8" name="Group 7">
            <a:extLst>
              <a:ext uri="{FF2B5EF4-FFF2-40B4-BE49-F238E27FC236}">
                <a16:creationId xmlns:a16="http://schemas.microsoft.com/office/drawing/2014/main" id="{37E078C2-71FC-4D20-A3A9-F74E4FA45849}"/>
              </a:ext>
            </a:extLst>
          </p:cNvPr>
          <p:cNvGrpSpPr/>
          <p:nvPr/>
        </p:nvGrpSpPr>
        <p:grpSpPr>
          <a:xfrm>
            <a:off x="3386800" y="4416389"/>
            <a:ext cx="2352052" cy="300082"/>
            <a:chOff x="4279927" y="5514313"/>
            <a:chExt cx="3136067" cy="400108"/>
          </a:xfrm>
        </p:grpSpPr>
        <p:pic>
          <p:nvPicPr>
            <p:cNvPr id="668" name="Picture 667">
              <a:extLst>
                <a:ext uri="{FF2B5EF4-FFF2-40B4-BE49-F238E27FC236}">
                  <a16:creationId xmlns:a16="http://schemas.microsoft.com/office/drawing/2014/main" id="{E5EB78DC-97A6-4D85-8172-6E4877805360}"/>
                </a:ext>
              </a:extLst>
            </p:cNvPr>
            <p:cNvPicPr>
              <a:picLocks/>
            </p:cNvPicPr>
            <p:nvPr/>
          </p:nvPicPr>
          <p:blipFill>
            <a:blip r:embed="rId4" cstate="email">
              <a:extLst>
                <a:ext uri="{28A0092B-C50C-407E-A947-70E740481C1C}">
                  <a14:useLocalDpi xmlns:a14="http://schemas.microsoft.com/office/drawing/2010/main"/>
                </a:ext>
              </a:extLst>
            </a:blip>
            <a:stretch>
              <a:fillRect/>
            </a:stretch>
          </p:blipFill>
          <p:spPr>
            <a:xfrm>
              <a:off x="4279927" y="5534977"/>
              <a:ext cx="338328" cy="338328"/>
            </a:xfrm>
            <a:prstGeom prst="rect">
              <a:avLst/>
            </a:prstGeom>
            <a:effectLst/>
          </p:spPr>
        </p:pic>
        <p:sp>
          <p:nvSpPr>
            <p:cNvPr id="679" name="Rectangle 678">
              <a:extLst>
                <a:ext uri="{FF2B5EF4-FFF2-40B4-BE49-F238E27FC236}">
                  <a16:creationId xmlns:a16="http://schemas.microsoft.com/office/drawing/2014/main" id="{54AD7337-9BE2-4765-899B-3F67918C2A18}"/>
                </a:ext>
              </a:extLst>
            </p:cNvPr>
            <p:cNvSpPr/>
            <p:nvPr/>
          </p:nvSpPr>
          <p:spPr>
            <a:xfrm>
              <a:off x="4731072" y="5514313"/>
              <a:ext cx="2684922" cy="400108"/>
            </a:xfrm>
            <a:prstGeom prst="rect">
              <a:avLst/>
            </a:prstGeom>
          </p:spPr>
          <p:txBody>
            <a:bodyPr wrap="none">
              <a:spAutoFit/>
            </a:bodyPr>
            <a:lstStyle/>
            <a:p>
              <a:pPr indent="-66674" defTabSz="457166"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r>
                <a:rPr lang="en-GB" sz="1350" b="1" noProof="1">
                  <a:solidFill>
                    <a:srgbClr val="005073"/>
                  </a:solidFill>
                  <a:latin typeface="CiscoSansTT" panose="020B0503020201020303" pitchFamily="34" charset="0"/>
                  <a:cs typeface="CiscoSansTT" panose="020B0503020201020303" pitchFamily="34" charset="0"/>
                </a:rPr>
                <a:t>Analytics Everywhere</a:t>
              </a:r>
            </a:p>
          </p:txBody>
        </p:sp>
      </p:grpSp>
      <p:grpSp>
        <p:nvGrpSpPr>
          <p:cNvPr id="9" name="Group 8">
            <a:extLst>
              <a:ext uri="{FF2B5EF4-FFF2-40B4-BE49-F238E27FC236}">
                <a16:creationId xmlns:a16="http://schemas.microsoft.com/office/drawing/2014/main" id="{0B658216-3308-40A9-9060-F36DAE464288}"/>
              </a:ext>
            </a:extLst>
          </p:cNvPr>
          <p:cNvGrpSpPr/>
          <p:nvPr/>
        </p:nvGrpSpPr>
        <p:grpSpPr>
          <a:xfrm>
            <a:off x="6282118" y="4416389"/>
            <a:ext cx="2096022" cy="300082"/>
            <a:chOff x="8074255" y="5514313"/>
            <a:chExt cx="2794694" cy="400108"/>
          </a:xfrm>
        </p:grpSpPr>
        <p:pic>
          <p:nvPicPr>
            <p:cNvPr id="670" name="Picture 669">
              <a:extLst>
                <a:ext uri="{FF2B5EF4-FFF2-40B4-BE49-F238E27FC236}">
                  <a16:creationId xmlns:a16="http://schemas.microsoft.com/office/drawing/2014/main" id="{4682D39A-9434-4C36-83B3-EC0FE50C5764}"/>
                </a:ext>
              </a:extLst>
            </p:cNvPr>
            <p:cNvPicPr>
              <a:picLocks/>
            </p:cNvPicPr>
            <p:nvPr/>
          </p:nvPicPr>
          <p:blipFill>
            <a:blip r:embed="rId5" cstate="email">
              <a:extLst>
                <a:ext uri="{28A0092B-C50C-407E-A947-70E740481C1C}">
                  <a14:useLocalDpi xmlns:a14="http://schemas.microsoft.com/office/drawing/2010/main"/>
                </a:ext>
              </a:extLst>
            </a:blip>
            <a:stretch>
              <a:fillRect/>
            </a:stretch>
          </p:blipFill>
          <p:spPr>
            <a:xfrm>
              <a:off x="8074255" y="5534977"/>
              <a:ext cx="338328" cy="338328"/>
            </a:xfrm>
            <a:prstGeom prst="rect">
              <a:avLst/>
            </a:prstGeom>
            <a:effectLst/>
          </p:spPr>
        </p:pic>
        <p:sp>
          <p:nvSpPr>
            <p:cNvPr id="680" name="Rectangle 679">
              <a:extLst>
                <a:ext uri="{FF2B5EF4-FFF2-40B4-BE49-F238E27FC236}">
                  <a16:creationId xmlns:a16="http://schemas.microsoft.com/office/drawing/2014/main" id="{967E1889-AE9C-402A-A7CD-CEC8E46C0C6F}"/>
                </a:ext>
              </a:extLst>
            </p:cNvPr>
            <p:cNvSpPr/>
            <p:nvPr/>
          </p:nvSpPr>
          <p:spPr>
            <a:xfrm>
              <a:off x="8536688" y="5514313"/>
              <a:ext cx="2332261" cy="400108"/>
            </a:xfrm>
            <a:prstGeom prst="rect">
              <a:avLst/>
            </a:prstGeom>
          </p:spPr>
          <p:txBody>
            <a:bodyPr wrap="none">
              <a:spAutoFit/>
            </a:bodyPr>
            <a:lstStyle/>
            <a:p>
              <a:pPr indent="-66674" defTabSz="457166" fontAlgn="auto">
                <a:spcBef>
                  <a:spcPts val="0"/>
                </a:spcBef>
                <a:spcAft>
                  <a:spcPts val="450"/>
                </a:spcAft>
                <a:buClr>
                  <a:srgbClr val="005073">
                    <a:lumMod val="50000"/>
                  </a:srgbClr>
                </a:buClr>
                <a:buSzPct val="80000"/>
                <a:tabLst>
                  <a:tab pos="807211" algn="r"/>
                  <a:tab pos="1344164" algn="r"/>
                  <a:tab pos="1882300" algn="r"/>
                  <a:tab pos="2420444" algn="r"/>
                  <a:tab pos="2958580" algn="r"/>
                  <a:tab pos="3495532" algn="r"/>
                  <a:tab pos="4033671" algn="r"/>
                  <a:tab pos="4236067" algn="l"/>
                  <a:tab pos="4773019" algn="l"/>
                  <a:tab pos="5311163" algn="l"/>
                </a:tabLst>
                <a:defRPr/>
              </a:pPr>
              <a:r>
                <a:rPr lang="en-GB" sz="1350" b="1" noProof="1">
                  <a:solidFill>
                    <a:srgbClr val="005073"/>
                  </a:solidFill>
                  <a:latin typeface="CiscoSansTT" panose="020B0503020201020303" pitchFamily="34" charset="0"/>
                  <a:cs typeface="CiscoSansTT" panose="020B0503020201020303" pitchFamily="34" charset="0"/>
                </a:rPr>
                <a:t>Policy Everywhere</a:t>
              </a:r>
            </a:p>
          </p:txBody>
        </p:sp>
      </p:grpSp>
      <p:grpSp>
        <p:nvGrpSpPr>
          <p:cNvPr id="16" name="Group 15">
            <a:extLst>
              <a:ext uri="{FF2B5EF4-FFF2-40B4-BE49-F238E27FC236}">
                <a16:creationId xmlns:a16="http://schemas.microsoft.com/office/drawing/2014/main" id="{1934893A-2642-4687-BDA0-4A06271618DC}"/>
              </a:ext>
            </a:extLst>
          </p:cNvPr>
          <p:cNvGrpSpPr/>
          <p:nvPr/>
        </p:nvGrpSpPr>
        <p:grpSpPr>
          <a:xfrm>
            <a:off x="4050088" y="2919744"/>
            <a:ext cx="927929" cy="253746"/>
            <a:chOff x="5429854" y="3597845"/>
            <a:chExt cx="1237239" cy="338328"/>
          </a:xfrm>
        </p:grpSpPr>
        <p:grpSp>
          <p:nvGrpSpPr>
            <p:cNvPr id="1086" name="Group 1085">
              <a:extLst>
                <a:ext uri="{FF2B5EF4-FFF2-40B4-BE49-F238E27FC236}">
                  <a16:creationId xmlns:a16="http://schemas.microsoft.com/office/drawing/2014/main" id="{F44B97BD-00F5-4C32-83B6-156518C0B7B9}"/>
                </a:ext>
              </a:extLst>
            </p:cNvPr>
            <p:cNvGrpSpPr>
              <a:grpSpLocks noChangeAspect="1"/>
            </p:cNvGrpSpPr>
            <p:nvPr/>
          </p:nvGrpSpPr>
          <p:grpSpPr>
            <a:xfrm>
              <a:off x="5429854" y="3597845"/>
              <a:ext cx="338027" cy="338328"/>
              <a:chOff x="477632" y="3863936"/>
              <a:chExt cx="649053" cy="649628"/>
            </a:xfrm>
          </p:grpSpPr>
          <p:grpSp>
            <p:nvGrpSpPr>
              <p:cNvPr id="1125" name="Group 83">
                <a:extLst>
                  <a:ext uri="{FF2B5EF4-FFF2-40B4-BE49-F238E27FC236}">
                    <a16:creationId xmlns:a16="http://schemas.microsoft.com/office/drawing/2014/main" id="{25312128-7674-4A9F-9C38-3BBE71763715}"/>
                  </a:ext>
                </a:extLst>
              </p:cNvPr>
              <p:cNvGrpSpPr>
                <a:grpSpLocks noChangeAspect="1"/>
              </p:cNvGrpSpPr>
              <p:nvPr/>
            </p:nvGrpSpPr>
            <p:grpSpPr bwMode="auto">
              <a:xfrm>
                <a:off x="477632" y="3863936"/>
                <a:ext cx="649053" cy="649628"/>
                <a:chOff x="1751" y="492"/>
                <a:chExt cx="2258" cy="2260"/>
              </a:xfrm>
            </p:grpSpPr>
            <p:sp>
              <p:nvSpPr>
                <p:cNvPr id="1140" name="Oval 85">
                  <a:extLst>
                    <a:ext uri="{FF2B5EF4-FFF2-40B4-BE49-F238E27FC236}">
                      <a16:creationId xmlns:a16="http://schemas.microsoft.com/office/drawing/2014/main" id="{53F0E4C8-251E-43A0-ABF4-9321075F069D}"/>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41" name="Freeform 86">
                  <a:extLst>
                    <a:ext uri="{FF2B5EF4-FFF2-40B4-BE49-F238E27FC236}">
                      <a16:creationId xmlns:a16="http://schemas.microsoft.com/office/drawing/2014/main" id="{8CB3314D-48BD-4530-B481-DC3CF11B98F0}"/>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42" name="Oval 87">
                  <a:extLst>
                    <a:ext uri="{FF2B5EF4-FFF2-40B4-BE49-F238E27FC236}">
                      <a16:creationId xmlns:a16="http://schemas.microsoft.com/office/drawing/2014/main" id="{7CA9A2A2-907D-4CAA-AE8D-0A688991FE81}"/>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1126" name="Group 1125">
                <a:extLst>
                  <a:ext uri="{FF2B5EF4-FFF2-40B4-BE49-F238E27FC236}">
                    <a16:creationId xmlns:a16="http://schemas.microsoft.com/office/drawing/2014/main" id="{CD0B6D40-0095-49E5-ADD8-0947A15053A3}"/>
                  </a:ext>
                </a:extLst>
              </p:cNvPr>
              <p:cNvGrpSpPr/>
              <p:nvPr/>
            </p:nvGrpSpPr>
            <p:grpSpPr>
              <a:xfrm>
                <a:off x="594258" y="4122779"/>
                <a:ext cx="415803" cy="131941"/>
                <a:chOff x="463977" y="4257659"/>
                <a:chExt cx="1376464" cy="436773"/>
              </a:xfrm>
              <a:solidFill>
                <a:schemeClr val="accent2">
                  <a:lumMod val="75000"/>
                </a:schemeClr>
              </a:solidFill>
            </p:grpSpPr>
            <p:sp>
              <p:nvSpPr>
                <p:cNvPr id="1127" name="Freeform 15">
                  <a:extLst>
                    <a:ext uri="{FF2B5EF4-FFF2-40B4-BE49-F238E27FC236}">
                      <a16:creationId xmlns:a16="http://schemas.microsoft.com/office/drawing/2014/main" id="{6F35AFA7-9663-4DD8-9995-5EF20E247A71}"/>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nvGrpSpPr>
                <p:cNvPr id="1128" name="Group 1127">
                  <a:extLst>
                    <a:ext uri="{FF2B5EF4-FFF2-40B4-BE49-F238E27FC236}">
                      <a16:creationId xmlns:a16="http://schemas.microsoft.com/office/drawing/2014/main" id="{E6C184CF-B6D5-4E6C-B5BE-D9DF010C8AD2}"/>
                    </a:ext>
                  </a:extLst>
                </p:cNvPr>
                <p:cNvGrpSpPr/>
                <p:nvPr/>
              </p:nvGrpSpPr>
              <p:grpSpPr>
                <a:xfrm>
                  <a:off x="885723" y="4265533"/>
                  <a:ext cx="261434" cy="421024"/>
                  <a:chOff x="3170863" y="2017909"/>
                  <a:chExt cx="261434" cy="421024"/>
                </a:xfrm>
                <a:grpFill/>
              </p:grpSpPr>
              <p:sp>
                <p:nvSpPr>
                  <p:cNvPr id="1137" name="Freeform 28">
                    <a:extLst>
                      <a:ext uri="{FF2B5EF4-FFF2-40B4-BE49-F238E27FC236}">
                        <a16:creationId xmlns:a16="http://schemas.microsoft.com/office/drawing/2014/main" id="{6421BD5A-E858-4E45-B62C-E593A1D6F8EE}"/>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38" name="Freeform 35">
                    <a:extLst>
                      <a:ext uri="{FF2B5EF4-FFF2-40B4-BE49-F238E27FC236}">
                        <a16:creationId xmlns:a16="http://schemas.microsoft.com/office/drawing/2014/main" id="{196B6A1B-C575-4FFE-8670-88EA39D248F0}"/>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grpSp>
              <p:nvGrpSpPr>
                <p:cNvPr id="1129" name="Group 1128">
                  <a:extLst>
                    <a:ext uri="{FF2B5EF4-FFF2-40B4-BE49-F238E27FC236}">
                      <a16:creationId xmlns:a16="http://schemas.microsoft.com/office/drawing/2014/main" id="{EC537082-65BE-4C18-9012-19A882776F07}"/>
                    </a:ext>
                  </a:extLst>
                </p:cNvPr>
                <p:cNvGrpSpPr/>
                <p:nvPr/>
              </p:nvGrpSpPr>
              <p:grpSpPr>
                <a:xfrm>
                  <a:off x="1169337" y="4266583"/>
                  <a:ext cx="295032" cy="418924"/>
                  <a:chOff x="5731653" y="1376399"/>
                  <a:chExt cx="295032" cy="418924"/>
                </a:xfrm>
                <a:grpFill/>
              </p:grpSpPr>
              <p:sp>
                <p:nvSpPr>
                  <p:cNvPr id="1134" name="Freeform 11">
                    <a:extLst>
                      <a:ext uri="{FF2B5EF4-FFF2-40B4-BE49-F238E27FC236}">
                        <a16:creationId xmlns:a16="http://schemas.microsoft.com/office/drawing/2014/main" id="{D16072AF-3892-4616-8367-600750FB8646}"/>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35" name="Freeform 13">
                    <a:extLst>
                      <a:ext uri="{FF2B5EF4-FFF2-40B4-BE49-F238E27FC236}">
                        <a16:creationId xmlns:a16="http://schemas.microsoft.com/office/drawing/2014/main" id="{FD52A1E9-17EB-48E0-8728-4D88936877ED}"/>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36" name="Freeform 43">
                    <a:extLst>
                      <a:ext uri="{FF2B5EF4-FFF2-40B4-BE49-F238E27FC236}">
                        <a16:creationId xmlns:a16="http://schemas.microsoft.com/office/drawing/2014/main" id="{68500FF1-DA5C-4D02-86C2-C4D1751EA038}"/>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grpSp>
              <p:nvGrpSpPr>
                <p:cNvPr id="1130" name="Group 1129">
                  <a:extLst>
                    <a:ext uri="{FF2B5EF4-FFF2-40B4-BE49-F238E27FC236}">
                      <a16:creationId xmlns:a16="http://schemas.microsoft.com/office/drawing/2014/main" id="{F9842C6D-6796-46F7-83D5-3E9BF85C8BCE}"/>
                    </a:ext>
                  </a:extLst>
                </p:cNvPr>
                <p:cNvGrpSpPr/>
                <p:nvPr/>
              </p:nvGrpSpPr>
              <p:grpSpPr>
                <a:xfrm>
                  <a:off x="463977" y="4257659"/>
                  <a:ext cx="377976" cy="436773"/>
                  <a:chOff x="1563413" y="1361700"/>
                  <a:chExt cx="377976" cy="436773"/>
                </a:xfrm>
                <a:grpFill/>
              </p:grpSpPr>
              <p:sp>
                <p:nvSpPr>
                  <p:cNvPr id="1131" name="Freeform 17">
                    <a:extLst>
                      <a:ext uri="{FF2B5EF4-FFF2-40B4-BE49-F238E27FC236}">
                        <a16:creationId xmlns:a16="http://schemas.microsoft.com/office/drawing/2014/main" id="{3D8D557C-C6C0-4BFB-904C-7A75002954AD}"/>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32" name="Freeform 18">
                    <a:extLst>
                      <a:ext uri="{FF2B5EF4-FFF2-40B4-BE49-F238E27FC236}">
                        <a16:creationId xmlns:a16="http://schemas.microsoft.com/office/drawing/2014/main" id="{F02876D1-1942-478B-A071-D17DCA20ECFE}"/>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33" name="Freeform 88">
                    <a:extLst>
                      <a:ext uri="{FF2B5EF4-FFF2-40B4-BE49-F238E27FC236}">
                        <a16:creationId xmlns:a16="http://schemas.microsoft.com/office/drawing/2014/main" id="{50DAF9DD-0C31-4B8A-B36D-7F45C257C2AE}"/>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grpSp>
        </p:grpSp>
        <p:grpSp>
          <p:nvGrpSpPr>
            <p:cNvPr id="1087" name="Group 1086">
              <a:extLst>
                <a:ext uri="{FF2B5EF4-FFF2-40B4-BE49-F238E27FC236}">
                  <a16:creationId xmlns:a16="http://schemas.microsoft.com/office/drawing/2014/main" id="{41A957D2-F64A-4FF2-AD7C-73264A326331}"/>
                </a:ext>
              </a:extLst>
            </p:cNvPr>
            <p:cNvGrpSpPr>
              <a:grpSpLocks noChangeAspect="1"/>
            </p:cNvGrpSpPr>
            <p:nvPr/>
          </p:nvGrpSpPr>
          <p:grpSpPr>
            <a:xfrm>
              <a:off x="5884003" y="3597845"/>
              <a:ext cx="338027" cy="338328"/>
              <a:chOff x="477632" y="3863936"/>
              <a:chExt cx="649053" cy="649628"/>
            </a:xfrm>
          </p:grpSpPr>
          <p:grpSp>
            <p:nvGrpSpPr>
              <p:cNvPr id="1107" name="Group 83">
                <a:extLst>
                  <a:ext uri="{FF2B5EF4-FFF2-40B4-BE49-F238E27FC236}">
                    <a16:creationId xmlns:a16="http://schemas.microsoft.com/office/drawing/2014/main" id="{5C3F1CB4-E28F-48A8-8543-34E964AB50D3}"/>
                  </a:ext>
                </a:extLst>
              </p:cNvPr>
              <p:cNvGrpSpPr>
                <a:grpSpLocks noChangeAspect="1"/>
              </p:cNvGrpSpPr>
              <p:nvPr/>
            </p:nvGrpSpPr>
            <p:grpSpPr bwMode="auto">
              <a:xfrm>
                <a:off x="477632" y="3863936"/>
                <a:ext cx="649053" cy="649628"/>
                <a:chOff x="1751" y="492"/>
                <a:chExt cx="2258" cy="2260"/>
              </a:xfrm>
            </p:grpSpPr>
            <p:sp>
              <p:nvSpPr>
                <p:cNvPr id="1122" name="Oval 85">
                  <a:extLst>
                    <a:ext uri="{FF2B5EF4-FFF2-40B4-BE49-F238E27FC236}">
                      <a16:creationId xmlns:a16="http://schemas.microsoft.com/office/drawing/2014/main" id="{F6F80B67-D054-4D5F-8482-0FBA74CE6DC5}"/>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23" name="Freeform 86">
                  <a:extLst>
                    <a:ext uri="{FF2B5EF4-FFF2-40B4-BE49-F238E27FC236}">
                      <a16:creationId xmlns:a16="http://schemas.microsoft.com/office/drawing/2014/main" id="{596B411B-424A-4707-A593-258EC6BB5498}"/>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24" name="Oval 87">
                  <a:extLst>
                    <a:ext uri="{FF2B5EF4-FFF2-40B4-BE49-F238E27FC236}">
                      <a16:creationId xmlns:a16="http://schemas.microsoft.com/office/drawing/2014/main" id="{6D96A5F6-C0AE-4331-BA93-75BEDE8EEBE1}"/>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1108" name="Group 1107">
                <a:extLst>
                  <a:ext uri="{FF2B5EF4-FFF2-40B4-BE49-F238E27FC236}">
                    <a16:creationId xmlns:a16="http://schemas.microsoft.com/office/drawing/2014/main" id="{29683A89-E417-499A-B4AC-2097A45D2CCA}"/>
                  </a:ext>
                </a:extLst>
              </p:cNvPr>
              <p:cNvGrpSpPr/>
              <p:nvPr/>
            </p:nvGrpSpPr>
            <p:grpSpPr>
              <a:xfrm>
                <a:off x="594258" y="4122779"/>
                <a:ext cx="415803" cy="131941"/>
                <a:chOff x="463977" y="4257659"/>
                <a:chExt cx="1376464" cy="436773"/>
              </a:xfrm>
              <a:solidFill>
                <a:schemeClr val="accent2">
                  <a:lumMod val="75000"/>
                </a:schemeClr>
              </a:solidFill>
            </p:grpSpPr>
            <p:sp>
              <p:nvSpPr>
                <p:cNvPr id="1109" name="Freeform 15">
                  <a:extLst>
                    <a:ext uri="{FF2B5EF4-FFF2-40B4-BE49-F238E27FC236}">
                      <a16:creationId xmlns:a16="http://schemas.microsoft.com/office/drawing/2014/main" id="{6C1AC933-0FC5-4A4C-8B43-27016792DB26}"/>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nvGrpSpPr>
                <p:cNvPr id="1110" name="Group 1109">
                  <a:extLst>
                    <a:ext uri="{FF2B5EF4-FFF2-40B4-BE49-F238E27FC236}">
                      <a16:creationId xmlns:a16="http://schemas.microsoft.com/office/drawing/2014/main" id="{B041351A-F1CE-4C7D-8F1A-418953A18076}"/>
                    </a:ext>
                  </a:extLst>
                </p:cNvPr>
                <p:cNvGrpSpPr/>
                <p:nvPr/>
              </p:nvGrpSpPr>
              <p:grpSpPr>
                <a:xfrm>
                  <a:off x="885723" y="4265533"/>
                  <a:ext cx="261434" cy="421024"/>
                  <a:chOff x="3170863" y="2017909"/>
                  <a:chExt cx="261434" cy="421024"/>
                </a:xfrm>
                <a:grpFill/>
              </p:grpSpPr>
              <p:sp>
                <p:nvSpPr>
                  <p:cNvPr id="1119" name="Freeform 28">
                    <a:extLst>
                      <a:ext uri="{FF2B5EF4-FFF2-40B4-BE49-F238E27FC236}">
                        <a16:creationId xmlns:a16="http://schemas.microsoft.com/office/drawing/2014/main" id="{1DD226A4-FCEA-4AE3-BF1F-30CFD48F21C8}"/>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20" name="Freeform 35">
                    <a:extLst>
                      <a:ext uri="{FF2B5EF4-FFF2-40B4-BE49-F238E27FC236}">
                        <a16:creationId xmlns:a16="http://schemas.microsoft.com/office/drawing/2014/main" id="{C4D2161F-3E3F-49A7-8B5B-0519D53A2534}"/>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grpSp>
              <p:nvGrpSpPr>
                <p:cNvPr id="1111" name="Group 1110">
                  <a:extLst>
                    <a:ext uri="{FF2B5EF4-FFF2-40B4-BE49-F238E27FC236}">
                      <a16:creationId xmlns:a16="http://schemas.microsoft.com/office/drawing/2014/main" id="{3A0D9B25-BE7E-4FB3-9934-56132E87BC86}"/>
                    </a:ext>
                  </a:extLst>
                </p:cNvPr>
                <p:cNvGrpSpPr/>
                <p:nvPr/>
              </p:nvGrpSpPr>
              <p:grpSpPr>
                <a:xfrm>
                  <a:off x="1169337" y="4266583"/>
                  <a:ext cx="295032" cy="418924"/>
                  <a:chOff x="5731653" y="1376399"/>
                  <a:chExt cx="295032" cy="418924"/>
                </a:xfrm>
                <a:grpFill/>
              </p:grpSpPr>
              <p:sp>
                <p:nvSpPr>
                  <p:cNvPr id="1116" name="Freeform 11">
                    <a:extLst>
                      <a:ext uri="{FF2B5EF4-FFF2-40B4-BE49-F238E27FC236}">
                        <a16:creationId xmlns:a16="http://schemas.microsoft.com/office/drawing/2014/main" id="{157F07FD-5275-4878-8822-D2A080841320}"/>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17" name="Freeform 13">
                    <a:extLst>
                      <a:ext uri="{FF2B5EF4-FFF2-40B4-BE49-F238E27FC236}">
                        <a16:creationId xmlns:a16="http://schemas.microsoft.com/office/drawing/2014/main" id="{D3328152-6735-4417-BB98-C0A497CFFBF0}"/>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18" name="Freeform 43">
                    <a:extLst>
                      <a:ext uri="{FF2B5EF4-FFF2-40B4-BE49-F238E27FC236}">
                        <a16:creationId xmlns:a16="http://schemas.microsoft.com/office/drawing/2014/main" id="{DB48AEF5-D5F0-4E2F-9B91-CFC0F941BE9D}"/>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grpSp>
              <p:nvGrpSpPr>
                <p:cNvPr id="1112" name="Group 1111">
                  <a:extLst>
                    <a:ext uri="{FF2B5EF4-FFF2-40B4-BE49-F238E27FC236}">
                      <a16:creationId xmlns:a16="http://schemas.microsoft.com/office/drawing/2014/main" id="{AF40F75C-B9F7-48B2-BCF0-F16A75A3BBAE}"/>
                    </a:ext>
                  </a:extLst>
                </p:cNvPr>
                <p:cNvGrpSpPr/>
                <p:nvPr/>
              </p:nvGrpSpPr>
              <p:grpSpPr>
                <a:xfrm>
                  <a:off x="463977" y="4257659"/>
                  <a:ext cx="377976" cy="436773"/>
                  <a:chOff x="1563413" y="1361700"/>
                  <a:chExt cx="377976" cy="436773"/>
                </a:xfrm>
                <a:grpFill/>
              </p:grpSpPr>
              <p:sp>
                <p:nvSpPr>
                  <p:cNvPr id="1113" name="Freeform 17">
                    <a:extLst>
                      <a:ext uri="{FF2B5EF4-FFF2-40B4-BE49-F238E27FC236}">
                        <a16:creationId xmlns:a16="http://schemas.microsoft.com/office/drawing/2014/main" id="{9E0D1E3D-CEF6-4C5E-B49A-6FE4CBDDF0F0}"/>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14" name="Freeform 18">
                    <a:extLst>
                      <a:ext uri="{FF2B5EF4-FFF2-40B4-BE49-F238E27FC236}">
                        <a16:creationId xmlns:a16="http://schemas.microsoft.com/office/drawing/2014/main" id="{2165F5CA-92CE-4220-8CC3-0E78AE147EF5}"/>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15" name="Freeform 88">
                    <a:extLst>
                      <a:ext uri="{FF2B5EF4-FFF2-40B4-BE49-F238E27FC236}">
                        <a16:creationId xmlns:a16="http://schemas.microsoft.com/office/drawing/2014/main" id="{5E5A2FBC-DD67-4CE5-A9A9-880BF52D0876}"/>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grpSp>
        </p:grpSp>
        <p:grpSp>
          <p:nvGrpSpPr>
            <p:cNvPr id="1088" name="Group 1087">
              <a:extLst>
                <a:ext uri="{FF2B5EF4-FFF2-40B4-BE49-F238E27FC236}">
                  <a16:creationId xmlns:a16="http://schemas.microsoft.com/office/drawing/2014/main" id="{06C026E4-7067-473C-902C-F4EFEE030EF1}"/>
                </a:ext>
              </a:extLst>
            </p:cNvPr>
            <p:cNvGrpSpPr>
              <a:grpSpLocks noChangeAspect="1"/>
            </p:cNvGrpSpPr>
            <p:nvPr/>
          </p:nvGrpSpPr>
          <p:grpSpPr>
            <a:xfrm>
              <a:off x="6329066" y="3597845"/>
              <a:ext cx="338027" cy="338328"/>
              <a:chOff x="477632" y="3863936"/>
              <a:chExt cx="649053" cy="649628"/>
            </a:xfrm>
          </p:grpSpPr>
          <p:grpSp>
            <p:nvGrpSpPr>
              <p:cNvPr id="1089" name="Group 83">
                <a:extLst>
                  <a:ext uri="{FF2B5EF4-FFF2-40B4-BE49-F238E27FC236}">
                    <a16:creationId xmlns:a16="http://schemas.microsoft.com/office/drawing/2014/main" id="{E536683B-D147-4900-85A8-814CBD393C1D}"/>
                  </a:ext>
                </a:extLst>
              </p:cNvPr>
              <p:cNvGrpSpPr>
                <a:grpSpLocks noChangeAspect="1"/>
              </p:cNvGrpSpPr>
              <p:nvPr/>
            </p:nvGrpSpPr>
            <p:grpSpPr bwMode="auto">
              <a:xfrm>
                <a:off x="477632" y="3863936"/>
                <a:ext cx="649053" cy="649628"/>
                <a:chOff x="1751" y="492"/>
                <a:chExt cx="2258" cy="2260"/>
              </a:xfrm>
            </p:grpSpPr>
            <p:sp>
              <p:nvSpPr>
                <p:cNvPr id="1104" name="Oval 85">
                  <a:extLst>
                    <a:ext uri="{FF2B5EF4-FFF2-40B4-BE49-F238E27FC236}">
                      <a16:creationId xmlns:a16="http://schemas.microsoft.com/office/drawing/2014/main" id="{559113D5-C7BE-4F96-AFBF-886CBD96643F}"/>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05" name="Freeform 86">
                  <a:extLst>
                    <a:ext uri="{FF2B5EF4-FFF2-40B4-BE49-F238E27FC236}">
                      <a16:creationId xmlns:a16="http://schemas.microsoft.com/office/drawing/2014/main" id="{6C8104F9-BDE9-41C6-8D52-1034E456EC24}"/>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06" name="Oval 87">
                  <a:extLst>
                    <a:ext uri="{FF2B5EF4-FFF2-40B4-BE49-F238E27FC236}">
                      <a16:creationId xmlns:a16="http://schemas.microsoft.com/office/drawing/2014/main" id="{1205D0E6-5A74-4E4F-95D7-0D2B7AFE2AAB}"/>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1090" name="Group 1089">
                <a:extLst>
                  <a:ext uri="{FF2B5EF4-FFF2-40B4-BE49-F238E27FC236}">
                    <a16:creationId xmlns:a16="http://schemas.microsoft.com/office/drawing/2014/main" id="{CA98EB0D-FD38-4828-AF00-ED8AC6170DD0}"/>
                  </a:ext>
                </a:extLst>
              </p:cNvPr>
              <p:cNvGrpSpPr/>
              <p:nvPr/>
            </p:nvGrpSpPr>
            <p:grpSpPr>
              <a:xfrm>
                <a:off x="594258" y="4122779"/>
                <a:ext cx="415803" cy="131941"/>
                <a:chOff x="463977" y="4257659"/>
                <a:chExt cx="1376464" cy="436773"/>
              </a:xfrm>
              <a:solidFill>
                <a:schemeClr val="accent2">
                  <a:lumMod val="75000"/>
                </a:schemeClr>
              </a:solidFill>
            </p:grpSpPr>
            <p:sp>
              <p:nvSpPr>
                <p:cNvPr id="1091" name="Freeform 15">
                  <a:extLst>
                    <a:ext uri="{FF2B5EF4-FFF2-40B4-BE49-F238E27FC236}">
                      <a16:creationId xmlns:a16="http://schemas.microsoft.com/office/drawing/2014/main" id="{10A20033-B48B-4227-95A1-3AD9763FDAA9}"/>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nvGrpSpPr>
                <p:cNvPr id="1092" name="Group 1091">
                  <a:extLst>
                    <a:ext uri="{FF2B5EF4-FFF2-40B4-BE49-F238E27FC236}">
                      <a16:creationId xmlns:a16="http://schemas.microsoft.com/office/drawing/2014/main" id="{E806265C-7CFC-4DBD-B609-E9232CD409EA}"/>
                    </a:ext>
                  </a:extLst>
                </p:cNvPr>
                <p:cNvGrpSpPr/>
                <p:nvPr/>
              </p:nvGrpSpPr>
              <p:grpSpPr>
                <a:xfrm>
                  <a:off x="885723" y="4265533"/>
                  <a:ext cx="261434" cy="421024"/>
                  <a:chOff x="3170863" y="2017909"/>
                  <a:chExt cx="261434" cy="421024"/>
                </a:xfrm>
                <a:grpFill/>
              </p:grpSpPr>
              <p:sp>
                <p:nvSpPr>
                  <p:cNvPr id="1101" name="Freeform 28">
                    <a:extLst>
                      <a:ext uri="{FF2B5EF4-FFF2-40B4-BE49-F238E27FC236}">
                        <a16:creationId xmlns:a16="http://schemas.microsoft.com/office/drawing/2014/main" id="{3CA14072-0774-4C54-95EB-87478A8613D7}"/>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02" name="Freeform 35">
                    <a:extLst>
                      <a:ext uri="{FF2B5EF4-FFF2-40B4-BE49-F238E27FC236}">
                        <a16:creationId xmlns:a16="http://schemas.microsoft.com/office/drawing/2014/main" id="{37E2A295-F0E5-4360-B989-E57F4E56FF6B}"/>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grpSp>
              <p:nvGrpSpPr>
                <p:cNvPr id="1093" name="Group 1092">
                  <a:extLst>
                    <a:ext uri="{FF2B5EF4-FFF2-40B4-BE49-F238E27FC236}">
                      <a16:creationId xmlns:a16="http://schemas.microsoft.com/office/drawing/2014/main" id="{A45E39A3-B5D0-497B-ABB6-7EAC93B0E2FF}"/>
                    </a:ext>
                  </a:extLst>
                </p:cNvPr>
                <p:cNvGrpSpPr/>
                <p:nvPr/>
              </p:nvGrpSpPr>
              <p:grpSpPr>
                <a:xfrm>
                  <a:off x="1169337" y="4266583"/>
                  <a:ext cx="295032" cy="418924"/>
                  <a:chOff x="5731653" y="1376399"/>
                  <a:chExt cx="295032" cy="418924"/>
                </a:xfrm>
                <a:grpFill/>
              </p:grpSpPr>
              <p:sp>
                <p:nvSpPr>
                  <p:cNvPr id="1098" name="Freeform 11">
                    <a:extLst>
                      <a:ext uri="{FF2B5EF4-FFF2-40B4-BE49-F238E27FC236}">
                        <a16:creationId xmlns:a16="http://schemas.microsoft.com/office/drawing/2014/main" id="{88C7E2B0-3B6F-4213-BC61-9963B2E0A311}"/>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099" name="Freeform 13">
                    <a:extLst>
                      <a:ext uri="{FF2B5EF4-FFF2-40B4-BE49-F238E27FC236}">
                        <a16:creationId xmlns:a16="http://schemas.microsoft.com/office/drawing/2014/main" id="{78ABABA3-6165-43CB-93A2-444C61DABC02}"/>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100" name="Freeform 43">
                    <a:extLst>
                      <a:ext uri="{FF2B5EF4-FFF2-40B4-BE49-F238E27FC236}">
                        <a16:creationId xmlns:a16="http://schemas.microsoft.com/office/drawing/2014/main" id="{94850D3A-D124-4A07-A2BE-3345AF58E6CE}"/>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grpSp>
              <p:nvGrpSpPr>
                <p:cNvPr id="1094" name="Group 1093">
                  <a:extLst>
                    <a:ext uri="{FF2B5EF4-FFF2-40B4-BE49-F238E27FC236}">
                      <a16:creationId xmlns:a16="http://schemas.microsoft.com/office/drawing/2014/main" id="{11E9E285-3695-4000-80A3-01D7CB06A745}"/>
                    </a:ext>
                  </a:extLst>
                </p:cNvPr>
                <p:cNvGrpSpPr/>
                <p:nvPr/>
              </p:nvGrpSpPr>
              <p:grpSpPr>
                <a:xfrm>
                  <a:off x="463977" y="4257659"/>
                  <a:ext cx="377976" cy="436773"/>
                  <a:chOff x="1563413" y="1361700"/>
                  <a:chExt cx="377976" cy="436773"/>
                </a:xfrm>
                <a:grpFill/>
              </p:grpSpPr>
              <p:sp>
                <p:nvSpPr>
                  <p:cNvPr id="1095" name="Freeform 17">
                    <a:extLst>
                      <a:ext uri="{FF2B5EF4-FFF2-40B4-BE49-F238E27FC236}">
                        <a16:creationId xmlns:a16="http://schemas.microsoft.com/office/drawing/2014/main" id="{5B4CF3BB-7B1A-4E8D-9B52-C1700D1ED2F7}"/>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096" name="Freeform 18">
                    <a:extLst>
                      <a:ext uri="{FF2B5EF4-FFF2-40B4-BE49-F238E27FC236}">
                        <a16:creationId xmlns:a16="http://schemas.microsoft.com/office/drawing/2014/main" id="{F68A62E5-C7E0-40A8-9248-A6FF96D4B4BA}"/>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sp>
                <p:nvSpPr>
                  <p:cNvPr id="1097" name="Freeform 88">
                    <a:extLst>
                      <a:ext uri="{FF2B5EF4-FFF2-40B4-BE49-F238E27FC236}">
                        <a16:creationId xmlns:a16="http://schemas.microsoft.com/office/drawing/2014/main" id="{CF1E666D-4ACF-4297-A051-AFE7D63DF2EE}"/>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005073"/>
                      </a:solidFill>
                      <a:latin typeface="CiscoSansTT ExtraLight"/>
                      <a:cs typeface="+mn-cs"/>
                    </a:endParaRPr>
                  </a:p>
                </p:txBody>
              </p:sp>
            </p:grpSp>
          </p:grpSp>
        </p:grpSp>
      </p:grpSp>
      <p:grpSp>
        <p:nvGrpSpPr>
          <p:cNvPr id="687" name="Group 686">
            <a:extLst>
              <a:ext uri="{FF2B5EF4-FFF2-40B4-BE49-F238E27FC236}">
                <a16:creationId xmlns:a16="http://schemas.microsoft.com/office/drawing/2014/main" id="{4E351AA2-27FD-4B8E-ABE9-564445011BAD}"/>
              </a:ext>
            </a:extLst>
          </p:cNvPr>
          <p:cNvGrpSpPr/>
          <p:nvPr/>
        </p:nvGrpSpPr>
        <p:grpSpPr>
          <a:xfrm>
            <a:off x="3156402" y="3286931"/>
            <a:ext cx="1307881" cy="706665"/>
            <a:chOff x="2938147" y="3450049"/>
            <a:chExt cx="1033875" cy="558616"/>
          </a:xfrm>
        </p:grpSpPr>
        <p:grpSp>
          <p:nvGrpSpPr>
            <p:cNvPr id="860" name="Group 248">
              <a:extLst>
                <a:ext uri="{FF2B5EF4-FFF2-40B4-BE49-F238E27FC236}">
                  <a16:creationId xmlns:a16="http://schemas.microsoft.com/office/drawing/2014/main" id="{1D26EF76-612E-4AA6-8555-25A1245A48CC}"/>
                </a:ext>
              </a:extLst>
            </p:cNvPr>
            <p:cNvGrpSpPr>
              <a:grpSpLocks noChangeAspect="1"/>
            </p:cNvGrpSpPr>
            <p:nvPr/>
          </p:nvGrpSpPr>
          <p:grpSpPr bwMode="auto">
            <a:xfrm>
              <a:off x="3108039" y="3450049"/>
              <a:ext cx="143647" cy="215385"/>
              <a:chOff x="2223" y="539"/>
              <a:chExt cx="1698" cy="2546"/>
            </a:xfrm>
          </p:grpSpPr>
          <p:sp>
            <p:nvSpPr>
              <p:cNvPr id="1080" name="Freeform 249">
                <a:extLst>
                  <a:ext uri="{FF2B5EF4-FFF2-40B4-BE49-F238E27FC236}">
                    <a16:creationId xmlns:a16="http://schemas.microsoft.com/office/drawing/2014/main" id="{18570324-CD2A-495D-B124-D00BF77B53DD}"/>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81" name="Rectangle 250">
                <a:extLst>
                  <a:ext uri="{FF2B5EF4-FFF2-40B4-BE49-F238E27FC236}">
                    <a16:creationId xmlns:a16="http://schemas.microsoft.com/office/drawing/2014/main" id="{8CB12962-59C8-431C-8E46-1857105EBADC}"/>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82" name="Line 251">
                <a:extLst>
                  <a:ext uri="{FF2B5EF4-FFF2-40B4-BE49-F238E27FC236}">
                    <a16:creationId xmlns:a16="http://schemas.microsoft.com/office/drawing/2014/main" id="{E786302F-1540-4F2C-ACD7-4A908E3B91D5}"/>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83" name="Line 252">
                <a:extLst>
                  <a:ext uri="{FF2B5EF4-FFF2-40B4-BE49-F238E27FC236}">
                    <a16:creationId xmlns:a16="http://schemas.microsoft.com/office/drawing/2014/main" id="{804BD015-9602-4512-A7E1-035FB740C55A}"/>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84" name="Rectangle 253">
                <a:extLst>
                  <a:ext uri="{FF2B5EF4-FFF2-40B4-BE49-F238E27FC236}">
                    <a16:creationId xmlns:a16="http://schemas.microsoft.com/office/drawing/2014/main" id="{97361415-BBBA-4003-B9B5-B0D35AEDFF9B}"/>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85" name="Rectangle 254">
                <a:extLst>
                  <a:ext uri="{FF2B5EF4-FFF2-40B4-BE49-F238E27FC236}">
                    <a16:creationId xmlns:a16="http://schemas.microsoft.com/office/drawing/2014/main" id="{2B535A5A-2FCF-4E33-9DFF-FD63A41283F5}"/>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861" name="Group 248">
              <a:extLst>
                <a:ext uri="{FF2B5EF4-FFF2-40B4-BE49-F238E27FC236}">
                  <a16:creationId xmlns:a16="http://schemas.microsoft.com/office/drawing/2014/main" id="{49797556-E968-43C8-8FB5-3B263BD5D35F}"/>
                </a:ext>
              </a:extLst>
            </p:cNvPr>
            <p:cNvGrpSpPr>
              <a:grpSpLocks noChangeAspect="1"/>
            </p:cNvGrpSpPr>
            <p:nvPr/>
          </p:nvGrpSpPr>
          <p:grpSpPr bwMode="auto">
            <a:xfrm>
              <a:off x="3292638" y="3450049"/>
              <a:ext cx="143647" cy="215385"/>
              <a:chOff x="2223" y="539"/>
              <a:chExt cx="1698" cy="2546"/>
            </a:xfrm>
          </p:grpSpPr>
          <p:sp>
            <p:nvSpPr>
              <p:cNvPr id="1074" name="Freeform 249">
                <a:extLst>
                  <a:ext uri="{FF2B5EF4-FFF2-40B4-BE49-F238E27FC236}">
                    <a16:creationId xmlns:a16="http://schemas.microsoft.com/office/drawing/2014/main" id="{5DD6277E-3D54-400E-99B3-0D7F1105E6DD}"/>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75" name="Rectangle 250">
                <a:extLst>
                  <a:ext uri="{FF2B5EF4-FFF2-40B4-BE49-F238E27FC236}">
                    <a16:creationId xmlns:a16="http://schemas.microsoft.com/office/drawing/2014/main" id="{934B1021-4812-4A20-8FA3-D85E85AE2B49}"/>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76" name="Line 251">
                <a:extLst>
                  <a:ext uri="{FF2B5EF4-FFF2-40B4-BE49-F238E27FC236}">
                    <a16:creationId xmlns:a16="http://schemas.microsoft.com/office/drawing/2014/main" id="{3EF350B2-FFE6-4C75-A0EA-BD633E3345C6}"/>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77" name="Line 252">
                <a:extLst>
                  <a:ext uri="{FF2B5EF4-FFF2-40B4-BE49-F238E27FC236}">
                    <a16:creationId xmlns:a16="http://schemas.microsoft.com/office/drawing/2014/main" id="{7FF47BB3-8B1E-46B5-BCC8-F42CF239F037}"/>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78" name="Rectangle 253">
                <a:extLst>
                  <a:ext uri="{FF2B5EF4-FFF2-40B4-BE49-F238E27FC236}">
                    <a16:creationId xmlns:a16="http://schemas.microsoft.com/office/drawing/2014/main" id="{8C0B6F92-9405-44A4-9AE5-B303C9B6B5E3}"/>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79" name="Rectangle 254">
                <a:extLst>
                  <a:ext uri="{FF2B5EF4-FFF2-40B4-BE49-F238E27FC236}">
                    <a16:creationId xmlns:a16="http://schemas.microsoft.com/office/drawing/2014/main" id="{F681422A-4335-45F3-8FAC-DF691164BEE5}"/>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862" name="Group 248">
              <a:extLst>
                <a:ext uri="{FF2B5EF4-FFF2-40B4-BE49-F238E27FC236}">
                  <a16:creationId xmlns:a16="http://schemas.microsoft.com/office/drawing/2014/main" id="{A34BE18D-E9C2-4F38-B3ED-94DD88FED2CD}"/>
                </a:ext>
              </a:extLst>
            </p:cNvPr>
            <p:cNvGrpSpPr>
              <a:grpSpLocks noChangeAspect="1"/>
            </p:cNvGrpSpPr>
            <p:nvPr/>
          </p:nvGrpSpPr>
          <p:grpSpPr bwMode="auto">
            <a:xfrm>
              <a:off x="3477238" y="3450049"/>
              <a:ext cx="143647" cy="215385"/>
              <a:chOff x="2223" y="539"/>
              <a:chExt cx="1698" cy="2546"/>
            </a:xfrm>
          </p:grpSpPr>
          <p:sp>
            <p:nvSpPr>
              <p:cNvPr id="1068" name="Freeform 249">
                <a:extLst>
                  <a:ext uri="{FF2B5EF4-FFF2-40B4-BE49-F238E27FC236}">
                    <a16:creationId xmlns:a16="http://schemas.microsoft.com/office/drawing/2014/main" id="{C063C812-9E36-4C09-9E4F-FCD1BF107B02}"/>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69" name="Rectangle 250">
                <a:extLst>
                  <a:ext uri="{FF2B5EF4-FFF2-40B4-BE49-F238E27FC236}">
                    <a16:creationId xmlns:a16="http://schemas.microsoft.com/office/drawing/2014/main" id="{CC42D1CB-F69B-4CD7-9695-9E34D7445848}"/>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70" name="Line 251">
                <a:extLst>
                  <a:ext uri="{FF2B5EF4-FFF2-40B4-BE49-F238E27FC236}">
                    <a16:creationId xmlns:a16="http://schemas.microsoft.com/office/drawing/2014/main" id="{A2F100AC-691A-41AC-B3B5-5DD056D0F1EC}"/>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71" name="Line 252">
                <a:extLst>
                  <a:ext uri="{FF2B5EF4-FFF2-40B4-BE49-F238E27FC236}">
                    <a16:creationId xmlns:a16="http://schemas.microsoft.com/office/drawing/2014/main" id="{4713DF28-EE1B-4240-BA57-725AB9204C2E}"/>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72" name="Rectangle 253">
                <a:extLst>
                  <a:ext uri="{FF2B5EF4-FFF2-40B4-BE49-F238E27FC236}">
                    <a16:creationId xmlns:a16="http://schemas.microsoft.com/office/drawing/2014/main" id="{ACC25335-EE19-4F05-BA0E-ADF3CEABE17A}"/>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73" name="Rectangle 254">
                <a:extLst>
                  <a:ext uri="{FF2B5EF4-FFF2-40B4-BE49-F238E27FC236}">
                    <a16:creationId xmlns:a16="http://schemas.microsoft.com/office/drawing/2014/main" id="{243BE75B-F622-44FD-952B-A2AF044F55CE}"/>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863" name="Group 248">
              <a:extLst>
                <a:ext uri="{FF2B5EF4-FFF2-40B4-BE49-F238E27FC236}">
                  <a16:creationId xmlns:a16="http://schemas.microsoft.com/office/drawing/2014/main" id="{ABBB0217-A07A-4316-A663-B464D02645AF}"/>
                </a:ext>
              </a:extLst>
            </p:cNvPr>
            <p:cNvGrpSpPr>
              <a:grpSpLocks noChangeAspect="1"/>
            </p:cNvGrpSpPr>
            <p:nvPr/>
          </p:nvGrpSpPr>
          <p:grpSpPr bwMode="auto">
            <a:xfrm>
              <a:off x="3661836" y="3450049"/>
              <a:ext cx="143647" cy="215385"/>
              <a:chOff x="2223" y="539"/>
              <a:chExt cx="1698" cy="2546"/>
            </a:xfrm>
          </p:grpSpPr>
          <p:sp>
            <p:nvSpPr>
              <p:cNvPr id="1062" name="Freeform 249">
                <a:extLst>
                  <a:ext uri="{FF2B5EF4-FFF2-40B4-BE49-F238E27FC236}">
                    <a16:creationId xmlns:a16="http://schemas.microsoft.com/office/drawing/2014/main" id="{788BA4C3-61BE-42BD-8380-E6EF35C62244}"/>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63" name="Rectangle 250">
                <a:extLst>
                  <a:ext uri="{FF2B5EF4-FFF2-40B4-BE49-F238E27FC236}">
                    <a16:creationId xmlns:a16="http://schemas.microsoft.com/office/drawing/2014/main" id="{7572FB47-00A4-45C6-8B29-AD092074E297}"/>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64" name="Line 251">
                <a:extLst>
                  <a:ext uri="{FF2B5EF4-FFF2-40B4-BE49-F238E27FC236}">
                    <a16:creationId xmlns:a16="http://schemas.microsoft.com/office/drawing/2014/main" id="{7FC213E5-318C-4F8E-8327-E6C6403F14B7}"/>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65" name="Line 252">
                <a:extLst>
                  <a:ext uri="{FF2B5EF4-FFF2-40B4-BE49-F238E27FC236}">
                    <a16:creationId xmlns:a16="http://schemas.microsoft.com/office/drawing/2014/main" id="{C883B7C0-5CFA-44E2-AFDF-4B8C29432C4C}"/>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66" name="Rectangle 253">
                <a:extLst>
                  <a:ext uri="{FF2B5EF4-FFF2-40B4-BE49-F238E27FC236}">
                    <a16:creationId xmlns:a16="http://schemas.microsoft.com/office/drawing/2014/main" id="{DC772392-0B7C-4324-A741-E8F734E96AF7}"/>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67" name="Rectangle 254">
                <a:extLst>
                  <a:ext uri="{FF2B5EF4-FFF2-40B4-BE49-F238E27FC236}">
                    <a16:creationId xmlns:a16="http://schemas.microsoft.com/office/drawing/2014/main" id="{A28D0B71-B1EE-49F5-89D2-EB15C749D844}"/>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864" name="Group 863">
              <a:extLst>
                <a:ext uri="{FF2B5EF4-FFF2-40B4-BE49-F238E27FC236}">
                  <a16:creationId xmlns:a16="http://schemas.microsoft.com/office/drawing/2014/main" id="{874BB29D-B32E-4335-9341-1BE660B1558C}"/>
                </a:ext>
              </a:extLst>
            </p:cNvPr>
            <p:cNvGrpSpPr/>
            <p:nvPr/>
          </p:nvGrpSpPr>
          <p:grpSpPr>
            <a:xfrm>
              <a:off x="3055862" y="3665435"/>
              <a:ext cx="798446" cy="69836"/>
              <a:chOff x="1173874" y="2863720"/>
              <a:chExt cx="2523688" cy="220735"/>
            </a:xfrm>
          </p:grpSpPr>
          <p:cxnSp>
            <p:nvCxnSpPr>
              <p:cNvPr id="1046" name="Straight Connector 1045">
                <a:extLst>
                  <a:ext uri="{FF2B5EF4-FFF2-40B4-BE49-F238E27FC236}">
                    <a16:creationId xmlns:a16="http://schemas.microsoft.com/office/drawing/2014/main" id="{00E801C2-1737-402C-86A4-DFC4BDEA5ADF}"/>
                  </a:ext>
                </a:extLst>
              </p:cNvPr>
              <p:cNvCxnSpPr>
                <a:stCxn id="1081" idx="2"/>
                <a:endCxn id="1035" idx="0"/>
              </p:cNvCxnSpPr>
              <p:nvPr/>
            </p:nvCxnSpPr>
            <p:spPr>
              <a:xfrm flipH="1">
                <a:off x="1173874" y="2863720"/>
                <a:ext cx="391935"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75A2CA5D-6549-409E-9B1B-A3CE0587C369}"/>
                  </a:ext>
                </a:extLst>
              </p:cNvPr>
              <p:cNvCxnSpPr>
                <a:stCxn id="1081" idx="2"/>
                <a:endCxn id="1024" idx="0"/>
              </p:cNvCxnSpPr>
              <p:nvPr/>
            </p:nvCxnSpPr>
            <p:spPr>
              <a:xfrm>
                <a:off x="1565809" y="2863720"/>
                <a:ext cx="44630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953D5A7B-6AE4-496A-B192-6492F1CDFF30}"/>
                  </a:ext>
                </a:extLst>
              </p:cNvPr>
              <p:cNvCxnSpPr>
                <a:stCxn id="1081" idx="2"/>
                <a:endCxn id="1013" idx="0"/>
              </p:cNvCxnSpPr>
              <p:nvPr/>
            </p:nvCxnSpPr>
            <p:spPr>
              <a:xfrm>
                <a:off x="1565809" y="2863720"/>
                <a:ext cx="1293516"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6176888E-EB0C-49A8-B1A3-93634B693558}"/>
                  </a:ext>
                </a:extLst>
              </p:cNvPr>
              <p:cNvCxnSpPr>
                <a:stCxn id="1081" idx="2"/>
                <a:endCxn id="982" idx="0"/>
              </p:cNvCxnSpPr>
              <p:nvPr/>
            </p:nvCxnSpPr>
            <p:spPr>
              <a:xfrm>
                <a:off x="1565809" y="2863720"/>
                <a:ext cx="213175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0" name="Straight Connector 1049">
                <a:extLst>
                  <a:ext uri="{FF2B5EF4-FFF2-40B4-BE49-F238E27FC236}">
                    <a16:creationId xmlns:a16="http://schemas.microsoft.com/office/drawing/2014/main" id="{84E35C10-E290-4F6A-B520-0AFABEF6C724}"/>
                  </a:ext>
                </a:extLst>
              </p:cNvPr>
              <p:cNvCxnSpPr>
                <a:stCxn id="1075" idx="2"/>
                <a:endCxn id="1035" idx="0"/>
              </p:cNvCxnSpPr>
              <p:nvPr/>
            </p:nvCxnSpPr>
            <p:spPr>
              <a:xfrm flipH="1">
                <a:off x="1173874" y="2863720"/>
                <a:ext cx="9754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1" name="Straight Connector 1050">
                <a:extLst>
                  <a:ext uri="{FF2B5EF4-FFF2-40B4-BE49-F238E27FC236}">
                    <a16:creationId xmlns:a16="http://schemas.microsoft.com/office/drawing/2014/main" id="{8135B91F-3557-42F0-8BDA-630764F8DCC1}"/>
                  </a:ext>
                </a:extLst>
              </p:cNvPr>
              <p:cNvCxnSpPr>
                <a:stCxn id="1075" idx="2"/>
                <a:endCxn id="1024" idx="0"/>
              </p:cNvCxnSpPr>
              <p:nvPr/>
            </p:nvCxnSpPr>
            <p:spPr>
              <a:xfrm flipH="1">
                <a:off x="2012110" y="2863720"/>
                <a:ext cx="137172"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2" name="Straight Connector 1051">
                <a:extLst>
                  <a:ext uri="{FF2B5EF4-FFF2-40B4-BE49-F238E27FC236}">
                    <a16:creationId xmlns:a16="http://schemas.microsoft.com/office/drawing/2014/main" id="{03E852B3-E04B-40C0-9780-999F984A9B5D}"/>
                  </a:ext>
                </a:extLst>
              </p:cNvPr>
              <p:cNvCxnSpPr>
                <a:stCxn id="1075" idx="2"/>
                <a:endCxn id="1013" idx="0"/>
              </p:cNvCxnSpPr>
              <p:nvPr/>
            </p:nvCxnSpPr>
            <p:spPr>
              <a:xfrm>
                <a:off x="2149282" y="2863720"/>
                <a:ext cx="71004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3" name="Straight Connector 1052">
                <a:extLst>
                  <a:ext uri="{FF2B5EF4-FFF2-40B4-BE49-F238E27FC236}">
                    <a16:creationId xmlns:a16="http://schemas.microsoft.com/office/drawing/2014/main" id="{EC84BEDD-5DC4-40E3-88B4-D9A3C9855AFF}"/>
                  </a:ext>
                </a:extLst>
              </p:cNvPr>
              <p:cNvCxnSpPr>
                <a:stCxn id="1075" idx="2"/>
                <a:endCxn id="982" idx="0"/>
              </p:cNvCxnSpPr>
              <p:nvPr/>
            </p:nvCxnSpPr>
            <p:spPr>
              <a:xfrm>
                <a:off x="2149282" y="2863720"/>
                <a:ext cx="15482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4" name="Straight Connector 1053">
                <a:extLst>
                  <a:ext uri="{FF2B5EF4-FFF2-40B4-BE49-F238E27FC236}">
                    <a16:creationId xmlns:a16="http://schemas.microsoft.com/office/drawing/2014/main" id="{8748042C-3DAC-413B-883B-9B780AC7EED2}"/>
                  </a:ext>
                </a:extLst>
              </p:cNvPr>
              <p:cNvCxnSpPr>
                <a:stCxn id="1069" idx="2"/>
                <a:endCxn id="1035" idx="0"/>
              </p:cNvCxnSpPr>
              <p:nvPr/>
            </p:nvCxnSpPr>
            <p:spPr>
              <a:xfrm flipH="1">
                <a:off x="1173874" y="2863720"/>
                <a:ext cx="15588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F2BEF916-A2FF-4131-9CD6-546AD38C075C}"/>
                  </a:ext>
                </a:extLst>
              </p:cNvPr>
              <p:cNvCxnSpPr>
                <a:endCxn id="1024" idx="0"/>
              </p:cNvCxnSpPr>
              <p:nvPr/>
            </p:nvCxnSpPr>
            <p:spPr>
              <a:xfrm flipH="1">
                <a:off x="2012110" y="2888855"/>
                <a:ext cx="716881" cy="195600"/>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6" name="Straight Connector 1055">
                <a:extLst>
                  <a:ext uri="{FF2B5EF4-FFF2-40B4-BE49-F238E27FC236}">
                    <a16:creationId xmlns:a16="http://schemas.microsoft.com/office/drawing/2014/main" id="{4406CE9B-A19A-4B90-8BB0-BF8A9B5F99BF}"/>
                  </a:ext>
                </a:extLst>
              </p:cNvPr>
              <p:cNvCxnSpPr>
                <a:stCxn id="1069" idx="2"/>
                <a:endCxn id="1013" idx="0"/>
              </p:cNvCxnSpPr>
              <p:nvPr/>
            </p:nvCxnSpPr>
            <p:spPr>
              <a:xfrm>
                <a:off x="2732754" y="2863720"/>
                <a:ext cx="12657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7" name="Straight Connector 1056">
                <a:extLst>
                  <a:ext uri="{FF2B5EF4-FFF2-40B4-BE49-F238E27FC236}">
                    <a16:creationId xmlns:a16="http://schemas.microsoft.com/office/drawing/2014/main" id="{33EB3616-22E9-4660-985F-FB2E0B0890B8}"/>
                  </a:ext>
                </a:extLst>
              </p:cNvPr>
              <p:cNvCxnSpPr>
                <a:stCxn id="1069" idx="2"/>
                <a:endCxn id="982" idx="0"/>
              </p:cNvCxnSpPr>
              <p:nvPr/>
            </p:nvCxnSpPr>
            <p:spPr>
              <a:xfrm>
                <a:off x="2732754" y="2863720"/>
                <a:ext cx="9648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8" name="Straight Connector 1057">
                <a:extLst>
                  <a:ext uri="{FF2B5EF4-FFF2-40B4-BE49-F238E27FC236}">
                    <a16:creationId xmlns:a16="http://schemas.microsoft.com/office/drawing/2014/main" id="{073A0517-EA37-452B-92DD-9D201682ED19}"/>
                  </a:ext>
                </a:extLst>
              </p:cNvPr>
              <p:cNvCxnSpPr>
                <a:stCxn id="1063" idx="2"/>
                <a:endCxn id="982" idx="0"/>
              </p:cNvCxnSpPr>
              <p:nvPr/>
            </p:nvCxnSpPr>
            <p:spPr>
              <a:xfrm>
                <a:off x="3316223" y="2863720"/>
                <a:ext cx="38133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BE902343-5C8A-4C54-8B0A-520559D088F1}"/>
                  </a:ext>
                </a:extLst>
              </p:cNvPr>
              <p:cNvCxnSpPr>
                <a:stCxn id="1063" idx="2"/>
                <a:endCxn id="1013" idx="0"/>
              </p:cNvCxnSpPr>
              <p:nvPr/>
            </p:nvCxnSpPr>
            <p:spPr>
              <a:xfrm flipH="1">
                <a:off x="2859325" y="2863720"/>
                <a:ext cx="45689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8D340E67-F422-4A34-B707-B25B9BBCD4E7}"/>
                  </a:ext>
                </a:extLst>
              </p:cNvPr>
              <p:cNvCxnSpPr>
                <a:stCxn id="1063" idx="2"/>
                <a:endCxn id="1024" idx="0"/>
              </p:cNvCxnSpPr>
              <p:nvPr/>
            </p:nvCxnSpPr>
            <p:spPr>
              <a:xfrm flipH="1">
                <a:off x="2012110" y="2863720"/>
                <a:ext cx="130411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2E3FA8A7-A2A7-498E-8525-6C01D77CC935}"/>
                  </a:ext>
                </a:extLst>
              </p:cNvPr>
              <p:cNvCxnSpPr>
                <a:stCxn id="1063" idx="2"/>
                <a:endCxn id="1035" idx="0"/>
              </p:cNvCxnSpPr>
              <p:nvPr/>
            </p:nvCxnSpPr>
            <p:spPr>
              <a:xfrm flipH="1">
                <a:off x="1173874" y="2863720"/>
                <a:ext cx="214234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65" name="Group 864">
              <a:extLst>
                <a:ext uri="{FF2B5EF4-FFF2-40B4-BE49-F238E27FC236}">
                  <a16:creationId xmlns:a16="http://schemas.microsoft.com/office/drawing/2014/main" id="{AC92E91A-4E7F-4A69-BEB8-82BB8D07397F}"/>
                </a:ext>
              </a:extLst>
            </p:cNvPr>
            <p:cNvGrpSpPr/>
            <p:nvPr/>
          </p:nvGrpSpPr>
          <p:grpSpPr>
            <a:xfrm>
              <a:off x="2938147" y="3735271"/>
              <a:ext cx="235429" cy="51324"/>
              <a:chOff x="329334" y="3260153"/>
              <a:chExt cx="1224846" cy="267018"/>
            </a:xfrm>
          </p:grpSpPr>
          <p:sp>
            <p:nvSpPr>
              <p:cNvPr id="1035" name="Rectangle: Rounded Corners 1034">
                <a:extLst>
                  <a:ext uri="{FF2B5EF4-FFF2-40B4-BE49-F238E27FC236}">
                    <a16:creationId xmlns:a16="http://schemas.microsoft.com/office/drawing/2014/main" id="{0A937C40-FA4E-4FFD-B636-EDD47E0E642F}"/>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1036" name="Group 1035">
                <a:extLst>
                  <a:ext uri="{FF2B5EF4-FFF2-40B4-BE49-F238E27FC236}">
                    <a16:creationId xmlns:a16="http://schemas.microsoft.com/office/drawing/2014/main" id="{31C6CAC1-7965-4652-B8B3-A6BDE31191E5}"/>
                  </a:ext>
                </a:extLst>
              </p:cNvPr>
              <p:cNvGrpSpPr/>
              <p:nvPr/>
            </p:nvGrpSpPr>
            <p:grpSpPr>
              <a:xfrm>
                <a:off x="428384" y="3307885"/>
                <a:ext cx="988875" cy="171554"/>
                <a:chOff x="428384" y="3319125"/>
                <a:chExt cx="988875" cy="171554"/>
              </a:xfrm>
            </p:grpSpPr>
            <p:sp>
              <p:nvSpPr>
                <p:cNvPr id="1037" name="Freeform 42">
                  <a:extLst>
                    <a:ext uri="{FF2B5EF4-FFF2-40B4-BE49-F238E27FC236}">
                      <a16:creationId xmlns:a16="http://schemas.microsoft.com/office/drawing/2014/main" id="{0F117790-6D0D-464A-BDC0-E69EF6CC93B2}"/>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38" name="Freeform 43">
                  <a:extLst>
                    <a:ext uri="{FF2B5EF4-FFF2-40B4-BE49-F238E27FC236}">
                      <a16:creationId xmlns:a16="http://schemas.microsoft.com/office/drawing/2014/main" id="{40C6EBD7-2171-48D6-BD7D-18B69C9ECB60}"/>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39" name="Freeform 44">
                  <a:extLst>
                    <a:ext uri="{FF2B5EF4-FFF2-40B4-BE49-F238E27FC236}">
                      <a16:creationId xmlns:a16="http://schemas.microsoft.com/office/drawing/2014/main" id="{95893E88-78B9-4D7F-AD8C-0E2A419126B7}"/>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40" name="Freeform 45">
                  <a:extLst>
                    <a:ext uri="{FF2B5EF4-FFF2-40B4-BE49-F238E27FC236}">
                      <a16:creationId xmlns:a16="http://schemas.microsoft.com/office/drawing/2014/main" id="{7848B095-B749-47D5-8C78-2808DD9F5AD0}"/>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41" name="Freeform 46">
                  <a:extLst>
                    <a:ext uri="{FF2B5EF4-FFF2-40B4-BE49-F238E27FC236}">
                      <a16:creationId xmlns:a16="http://schemas.microsoft.com/office/drawing/2014/main" id="{1D098336-7D85-4B0A-8944-7C66949C894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1042" name="Group 1041">
                  <a:extLst>
                    <a:ext uri="{FF2B5EF4-FFF2-40B4-BE49-F238E27FC236}">
                      <a16:creationId xmlns:a16="http://schemas.microsoft.com/office/drawing/2014/main" id="{412FC68E-E730-44BE-9E2E-1EEA6AAD8AA2}"/>
                    </a:ext>
                  </a:extLst>
                </p:cNvPr>
                <p:cNvGrpSpPr/>
                <p:nvPr/>
              </p:nvGrpSpPr>
              <p:grpSpPr>
                <a:xfrm rot="16200000">
                  <a:off x="1194056" y="3224509"/>
                  <a:ext cx="85622" cy="360785"/>
                  <a:chOff x="1267883" y="3923111"/>
                  <a:chExt cx="45719" cy="192649"/>
                </a:xfrm>
                <a:solidFill>
                  <a:schemeClr val="accent2"/>
                </a:solidFill>
              </p:grpSpPr>
              <p:sp>
                <p:nvSpPr>
                  <p:cNvPr id="1043" name="Oval 1042">
                    <a:extLst>
                      <a:ext uri="{FF2B5EF4-FFF2-40B4-BE49-F238E27FC236}">
                        <a16:creationId xmlns:a16="http://schemas.microsoft.com/office/drawing/2014/main" id="{FE02D01B-F741-4E50-9027-9FBBDB7E13D7}"/>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044" name="Oval 1043">
                    <a:extLst>
                      <a:ext uri="{FF2B5EF4-FFF2-40B4-BE49-F238E27FC236}">
                        <a16:creationId xmlns:a16="http://schemas.microsoft.com/office/drawing/2014/main" id="{96B7FAED-AD64-4188-9C90-824DC4C229B2}"/>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045" name="Oval 1044">
                    <a:extLst>
                      <a:ext uri="{FF2B5EF4-FFF2-40B4-BE49-F238E27FC236}">
                        <a16:creationId xmlns:a16="http://schemas.microsoft.com/office/drawing/2014/main" id="{EE751A76-2B88-402D-BB8D-A98BF1EB8CCA}"/>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grpSp>
          <p:nvGrpSpPr>
            <p:cNvPr id="866" name="Group 865">
              <a:extLst>
                <a:ext uri="{FF2B5EF4-FFF2-40B4-BE49-F238E27FC236}">
                  <a16:creationId xmlns:a16="http://schemas.microsoft.com/office/drawing/2014/main" id="{19775769-A728-47A3-9A8C-0EDCF7DE08BE}"/>
                </a:ext>
              </a:extLst>
            </p:cNvPr>
            <p:cNvGrpSpPr/>
            <p:nvPr/>
          </p:nvGrpSpPr>
          <p:grpSpPr>
            <a:xfrm>
              <a:off x="3203349" y="3735271"/>
              <a:ext cx="235429" cy="51324"/>
              <a:chOff x="329334" y="3260153"/>
              <a:chExt cx="1224846" cy="267018"/>
            </a:xfrm>
          </p:grpSpPr>
          <p:sp>
            <p:nvSpPr>
              <p:cNvPr id="1024" name="Rectangle: Rounded Corners 1023">
                <a:extLst>
                  <a:ext uri="{FF2B5EF4-FFF2-40B4-BE49-F238E27FC236}">
                    <a16:creationId xmlns:a16="http://schemas.microsoft.com/office/drawing/2014/main" id="{96FD88E1-1986-457E-8517-7A85BC290C7E}"/>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1025" name="Group 1024">
                <a:extLst>
                  <a:ext uri="{FF2B5EF4-FFF2-40B4-BE49-F238E27FC236}">
                    <a16:creationId xmlns:a16="http://schemas.microsoft.com/office/drawing/2014/main" id="{4656FE84-4DBE-49F3-ADF0-EED6C360A6C3}"/>
                  </a:ext>
                </a:extLst>
              </p:cNvPr>
              <p:cNvGrpSpPr/>
              <p:nvPr/>
            </p:nvGrpSpPr>
            <p:grpSpPr>
              <a:xfrm>
                <a:off x="428384" y="3307885"/>
                <a:ext cx="988875" cy="171554"/>
                <a:chOff x="428384" y="3319125"/>
                <a:chExt cx="988875" cy="171554"/>
              </a:xfrm>
            </p:grpSpPr>
            <p:sp>
              <p:nvSpPr>
                <p:cNvPr id="1026" name="Freeform 42">
                  <a:extLst>
                    <a:ext uri="{FF2B5EF4-FFF2-40B4-BE49-F238E27FC236}">
                      <a16:creationId xmlns:a16="http://schemas.microsoft.com/office/drawing/2014/main" id="{EDAE56B3-D9B0-40A5-B0BF-DD2374E841DB}"/>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27" name="Freeform 43">
                  <a:extLst>
                    <a:ext uri="{FF2B5EF4-FFF2-40B4-BE49-F238E27FC236}">
                      <a16:creationId xmlns:a16="http://schemas.microsoft.com/office/drawing/2014/main" id="{DB891B9E-8B53-4DA4-AF17-C9615FA4D874}"/>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28" name="Freeform 44">
                  <a:extLst>
                    <a:ext uri="{FF2B5EF4-FFF2-40B4-BE49-F238E27FC236}">
                      <a16:creationId xmlns:a16="http://schemas.microsoft.com/office/drawing/2014/main" id="{FE37FCE3-F271-420B-B703-D91C9C3C244B}"/>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29" name="Freeform 45">
                  <a:extLst>
                    <a:ext uri="{FF2B5EF4-FFF2-40B4-BE49-F238E27FC236}">
                      <a16:creationId xmlns:a16="http://schemas.microsoft.com/office/drawing/2014/main" id="{27658612-2AB0-4D22-942A-343C15A01519}"/>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30" name="Freeform 46">
                  <a:extLst>
                    <a:ext uri="{FF2B5EF4-FFF2-40B4-BE49-F238E27FC236}">
                      <a16:creationId xmlns:a16="http://schemas.microsoft.com/office/drawing/2014/main" id="{CC330E56-F500-4C2B-8ED2-9366E56898BF}"/>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1031" name="Group 1030">
                  <a:extLst>
                    <a:ext uri="{FF2B5EF4-FFF2-40B4-BE49-F238E27FC236}">
                      <a16:creationId xmlns:a16="http://schemas.microsoft.com/office/drawing/2014/main" id="{D97CA0D7-F7C0-41C5-A18F-100CC700AED3}"/>
                    </a:ext>
                  </a:extLst>
                </p:cNvPr>
                <p:cNvGrpSpPr/>
                <p:nvPr/>
              </p:nvGrpSpPr>
              <p:grpSpPr>
                <a:xfrm rot="16200000">
                  <a:off x="1194056" y="3224509"/>
                  <a:ext cx="85622" cy="360785"/>
                  <a:chOff x="1267883" y="3923111"/>
                  <a:chExt cx="45719" cy="192649"/>
                </a:xfrm>
                <a:solidFill>
                  <a:schemeClr val="accent2"/>
                </a:solidFill>
              </p:grpSpPr>
              <p:sp>
                <p:nvSpPr>
                  <p:cNvPr id="1032" name="Oval 1031">
                    <a:extLst>
                      <a:ext uri="{FF2B5EF4-FFF2-40B4-BE49-F238E27FC236}">
                        <a16:creationId xmlns:a16="http://schemas.microsoft.com/office/drawing/2014/main" id="{7F1D619C-6E9E-4B14-B7B1-B990E7C0BA9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033" name="Oval 1032">
                    <a:extLst>
                      <a:ext uri="{FF2B5EF4-FFF2-40B4-BE49-F238E27FC236}">
                        <a16:creationId xmlns:a16="http://schemas.microsoft.com/office/drawing/2014/main" id="{AD7D2618-0256-4D22-B6EF-0BF15E367554}"/>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034" name="Oval 1033">
                    <a:extLst>
                      <a:ext uri="{FF2B5EF4-FFF2-40B4-BE49-F238E27FC236}">
                        <a16:creationId xmlns:a16="http://schemas.microsoft.com/office/drawing/2014/main" id="{65C7CFB8-CBC3-4C8B-B903-C549A2969337}"/>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grpSp>
          <p:nvGrpSpPr>
            <p:cNvPr id="867" name="Group 866">
              <a:extLst>
                <a:ext uri="{FF2B5EF4-FFF2-40B4-BE49-F238E27FC236}">
                  <a16:creationId xmlns:a16="http://schemas.microsoft.com/office/drawing/2014/main" id="{05F5BE43-B285-430C-922A-455FC5FECE59}"/>
                </a:ext>
              </a:extLst>
            </p:cNvPr>
            <p:cNvGrpSpPr/>
            <p:nvPr/>
          </p:nvGrpSpPr>
          <p:grpSpPr>
            <a:xfrm>
              <a:off x="3471391" y="3735271"/>
              <a:ext cx="235429" cy="51324"/>
              <a:chOff x="329334" y="3260153"/>
              <a:chExt cx="1224846" cy="267018"/>
            </a:xfrm>
          </p:grpSpPr>
          <p:sp>
            <p:nvSpPr>
              <p:cNvPr id="1013" name="Rectangle: Rounded Corners 1012">
                <a:extLst>
                  <a:ext uri="{FF2B5EF4-FFF2-40B4-BE49-F238E27FC236}">
                    <a16:creationId xmlns:a16="http://schemas.microsoft.com/office/drawing/2014/main" id="{2015ACA3-4212-4FD0-BA93-19FE07E4CB07}"/>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1014" name="Group 1013">
                <a:extLst>
                  <a:ext uri="{FF2B5EF4-FFF2-40B4-BE49-F238E27FC236}">
                    <a16:creationId xmlns:a16="http://schemas.microsoft.com/office/drawing/2014/main" id="{3DFC7CDC-6970-4324-9F74-97ADCE2A63CC}"/>
                  </a:ext>
                </a:extLst>
              </p:cNvPr>
              <p:cNvGrpSpPr/>
              <p:nvPr/>
            </p:nvGrpSpPr>
            <p:grpSpPr>
              <a:xfrm>
                <a:off x="428384" y="3307885"/>
                <a:ext cx="988875" cy="171554"/>
                <a:chOff x="428384" y="3319125"/>
                <a:chExt cx="988875" cy="171554"/>
              </a:xfrm>
            </p:grpSpPr>
            <p:sp>
              <p:nvSpPr>
                <p:cNvPr id="1015" name="Freeform 42">
                  <a:extLst>
                    <a:ext uri="{FF2B5EF4-FFF2-40B4-BE49-F238E27FC236}">
                      <a16:creationId xmlns:a16="http://schemas.microsoft.com/office/drawing/2014/main" id="{C250D7B6-482F-414F-97CE-7C9A797C504B}"/>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16" name="Freeform 43">
                  <a:extLst>
                    <a:ext uri="{FF2B5EF4-FFF2-40B4-BE49-F238E27FC236}">
                      <a16:creationId xmlns:a16="http://schemas.microsoft.com/office/drawing/2014/main" id="{C2CA91AE-BD03-4EA8-BAB9-3C47D2729418}"/>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17" name="Freeform 44">
                  <a:extLst>
                    <a:ext uri="{FF2B5EF4-FFF2-40B4-BE49-F238E27FC236}">
                      <a16:creationId xmlns:a16="http://schemas.microsoft.com/office/drawing/2014/main" id="{B985E92C-6530-436F-B97C-6A309805739F}"/>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18" name="Freeform 45">
                  <a:extLst>
                    <a:ext uri="{FF2B5EF4-FFF2-40B4-BE49-F238E27FC236}">
                      <a16:creationId xmlns:a16="http://schemas.microsoft.com/office/drawing/2014/main" id="{082CF064-818C-4998-807E-80770D851751}"/>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019" name="Freeform 46">
                  <a:extLst>
                    <a:ext uri="{FF2B5EF4-FFF2-40B4-BE49-F238E27FC236}">
                      <a16:creationId xmlns:a16="http://schemas.microsoft.com/office/drawing/2014/main" id="{B77CF1E1-BE85-4D0B-A825-B94571CC9DC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1020" name="Group 1019">
                  <a:extLst>
                    <a:ext uri="{FF2B5EF4-FFF2-40B4-BE49-F238E27FC236}">
                      <a16:creationId xmlns:a16="http://schemas.microsoft.com/office/drawing/2014/main" id="{EA7E7A9E-EBFD-459F-848F-3C99EC9ED6D7}"/>
                    </a:ext>
                  </a:extLst>
                </p:cNvPr>
                <p:cNvGrpSpPr/>
                <p:nvPr/>
              </p:nvGrpSpPr>
              <p:grpSpPr>
                <a:xfrm rot="16200000">
                  <a:off x="1194056" y="3224509"/>
                  <a:ext cx="85622" cy="360785"/>
                  <a:chOff x="1267883" y="3923111"/>
                  <a:chExt cx="45719" cy="192649"/>
                </a:xfrm>
                <a:solidFill>
                  <a:schemeClr val="accent2"/>
                </a:solidFill>
              </p:grpSpPr>
              <p:sp>
                <p:nvSpPr>
                  <p:cNvPr id="1021" name="Oval 1020">
                    <a:extLst>
                      <a:ext uri="{FF2B5EF4-FFF2-40B4-BE49-F238E27FC236}">
                        <a16:creationId xmlns:a16="http://schemas.microsoft.com/office/drawing/2014/main" id="{A3ABE910-43E0-4B49-AD3A-D1A79223787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022" name="Oval 1021">
                    <a:extLst>
                      <a:ext uri="{FF2B5EF4-FFF2-40B4-BE49-F238E27FC236}">
                        <a16:creationId xmlns:a16="http://schemas.microsoft.com/office/drawing/2014/main" id="{B2B16FE8-506D-4D31-BD56-3CC191E4BF53}"/>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023" name="Oval 1022">
                    <a:extLst>
                      <a:ext uri="{FF2B5EF4-FFF2-40B4-BE49-F238E27FC236}">
                        <a16:creationId xmlns:a16="http://schemas.microsoft.com/office/drawing/2014/main" id="{758EAFEF-9D60-45F0-A1C2-45DA5F4E4E22}"/>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grpSp>
          <p:nvGrpSpPr>
            <p:cNvPr id="868" name="Group 867">
              <a:extLst>
                <a:ext uri="{FF2B5EF4-FFF2-40B4-BE49-F238E27FC236}">
                  <a16:creationId xmlns:a16="http://schemas.microsoft.com/office/drawing/2014/main" id="{E9D663E9-8F08-4BBB-832A-30EC6DA530EF}"/>
                </a:ext>
              </a:extLst>
            </p:cNvPr>
            <p:cNvGrpSpPr/>
            <p:nvPr/>
          </p:nvGrpSpPr>
          <p:grpSpPr>
            <a:xfrm>
              <a:off x="3736593" y="3735271"/>
              <a:ext cx="235429" cy="51324"/>
              <a:chOff x="329334" y="3260153"/>
              <a:chExt cx="1224846" cy="267018"/>
            </a:xfrm>
          </p:grpSpPr>
          <p:sp>
            <p:nvSpPr>
              <p:cNvPr id="982" name="Rectangle: Rounded Corners 981">
                <a:extLst>
                  <a:ext uri="{FF2B5EF4-FFF2-40B4-BE49-F238E27FC236}">
                    <a16:creationId xmlns:a16="http://schemas.microsoft.com/office/drawing/2014/main" id="{8305A6AA-7392-4AE2-A56E-B52C8B70B5CA}"/>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983" name="Group 982">
                <a:extLst>
                  <a:ext uri="{FF2B5EF4-FFF2-40B4-BE49-F238E27FC236}">
                    <a16:creationId xmlns:a16="http://schemas.microsoft.com/office/drawing/2014/main" id="{84D080A1-CDD3-4B8D-A885-CE18F28E8CCC}"/>
                  </a:ext>
                </a:extLst>
              </p:cNvPr>
              <p:cNvGrpSpPr/>
              <p:nvPr/>
            </p:nvGrpSpPr>
            <p:grpSpPr>
              <a:xfrm>
                <a:off x="428384" y="3307885"/>
                <a:ext cx="988875" cy="171554"/>
                <a:chOff x="428384" y="3319125"/>
                <a:chExt cx="988875" cy="171554"/>
              </a:xfrm>
            </p:grpSpPr>
            <p:sp>
              <p:nvSpPr>
                <p:cNvPr id="984" name="Freeform 42">
                  <a:extLst>
                    <a:ext uri="{FF2B5EF4-FFF2-40B4-BE49-F238E27FC236}">
                      <a16:creationId xmlns:a16="http://schemas.microsoft.com/office/drawing/2014/main" id="{48BC0FA8-472E-4D78-B7D4-47DBB59B16AB}"/>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85" name="Freeform 43">
                  <a:extLst>
                    <a:ext uri="{FF2B5EF4-FFF2-40B4-BE49-F238E27FC236}">
                      <a16:creationId xmlns:a16="http://schemas.microsoft.com/office/drawing/2014/main" id="{71E051A6-8E20-4122-B924-8212CB45861C}"/>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86" name="Freeform 44">
                  <a:extLst>
                    <a:ext uri="{FF2B5EF4-FFF2-40B4-BE49-F238E27FC236}">
                      <a16:creationId xmlns:a16="http://schemas.microsoft.com/office/drawing/2014/main" id="{C937BBEC-173A-460A-92D3-6A1F56F399B1}"/>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87" name="Freeform 45">
                  <a:extLst>
                    <a:ext uri="{FF2B5EF4-FFF2-40B4-BE49-F238E27FC236}">
                      <a16:creationId xmlns:a16="http://schemas.microsoft.com/office/drawing/2014/main" id="{316AC91F-732C-4EEA-B033-9C4627D6ACFC}"/>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88" name="Freeform 46">
                  <a:extLst>
                    <a:ext uri="{FF2B5EF4-FFF2-40B4-BE49-F238E27FC236}">
                      <a16:creationId xmlns:a16="http://schemas.microsoft.com/office/drawing/2014/main" id="{00527FE5-5DA7-408C-B1B2-3C3E9E4658C9}"/>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989" name="Group 988">
                  <a:extLst>
                    <a:ext uri="{FF2B5EF4-FFF2-40B4-BE49-F238E27FC236}">
                      <a16:creationId xmlns:a16="http://schemas.microsoft.com/office/drawing/2014/main" id="{C8C2C517-9A9E-41C9-BBB2-63F82A034411}"/>
                    </a:ext>
                  </a:extLst>
                </p:cNvPr>
                <p:cNvGrpSpPr/>
                <p:nvPr/>
              </p:nvGrpSpPr>
              <p:grpSpPr>
                <a:xfrm rot="16200000">
                  <a:off x="1194056" y="3224509"/>
                  <a:ext cx="85622" cy="360785"/>
                  <a:chOff x="1267883" y="3923111"/>
                  <a:chExt cx="45719" cy="192649"/>
                </a:xfrm>
                <a:solidFill>
                  <a:schemeClr val="accent2"/>
                </a:solidFill>
              </p:grpSpPr>
              <p:sp>
                <p:nvSpPr>
                  <p:cNvPr id="990" name="Oval 989">
                    <a:extLst>
                      <a:ext uri="{FF2B5EF4-FFF2-40B4-BE49-F238E27FC236}">
                        <a16:creationId xmlns:a16="http://schemas.microsoft.com/office/drawing/2014/main" id="{AA64F91A-3F23-468E-A6F4-5D0FBE1EC51D}"/>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991" name="Oval 990">
                    <a:extLst>
                      <a:ext uri="{FF2B5EF4-FFF2-40B4-BE49-F238E27FC236}">
                        <a16:creationId xmlns:a16="http://schemas.microsoft.com/office/drawing/2014/main" id="{A82FA864-7B6C-405B-BB74-900DDF712B0B}"/>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992" name="Oval 991">
                    <a:extLst>
                      <a:ext uri="{FF2B5EF4-FFF2-40B4-BE49-F238E27FC236}">
                        <a16:creationId xmlns:a16="http://schemas.microsoft.com/office/drawing/2014/main" id="{0B91018F-2ED9-425F-BB16-11A31DB12B32}"/>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grpSp>
          <p:nvGrpSpPr>
            <p:cNvPr id="869" name="Group 868">
              <a:extLst>
                <a:ext uri="{FF2B5EF4-FFF2-40B4-BE49-F238E27FC236}">
                  <a16:creationId xmlns:a16="http://schemas.microsoft.com/office/drawing/2014/main" id="{C3BE5377-3F6C-45E2-B28B-988D2A26C60C}"/>
                </a:ext>
              </a:extLst>
            </p:cNvPr>
            <p:cNvGrpSpPr/>
            <p:nvPr/>
          </p:nvGrpSpPr>
          <p:grpSpPr>
            <a:xfrm>
              <a:off x="3008945" y="3786595"/>
              <a:ext cx="888494" cy="74760"/>
              <a:chOff x="1025581" y="3246677"/>
              <a:chExt cx="2808308" cy="236298"/>
            </a:xfrm>
          </p:grpSpPr>
          <p:cxnSp>
            <p:nvCxnSpPr>
              <p:cNvPr id="974" name="Straight Connector 973">
                <a:extLst>
                  <a:ext uri="{FF2B5EF4-FFF2-40B4-BE49-F238E27FC236}">
                    <a16:creationId xmlns:a16="http://schemas.microsoft.com/office/drawing/2014/main" id="{67F11857-0696-49A7-8C61-6591BDB1335D}"/>
                  </a:ext>
                </a:extLst>
              </p:cNvPr>
              <p:cNvCxnSpPr>
                <a:cxnSpLocks/>
              </p:cNvCxnSpPr>
              <p:nvPr/>
            </p:nvCxnSpPr>
            <p:spPr>
              <a:xfrm>
                <a:off x="1025581"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5" name="Straight Connector 974">
                <a:extLst>
                  <a:ext uri="{FF2B5EF4-FFF2-40B4-BE49-F238E27FC236}">
                    <a16:creationId xmlns:a16="http://schemas.microsoft.com/office/drawing/2014/main" id="{976A757F-18E9-4FE5-896B-F2AD089B48EC}"/>
                  </a:ext>
                </a:extLst>
              </p:cNvPr>
              <p:cNvCxnSpPr>
                <a:cxnSpLocks/>
              </p:cNvCxnSpPr>
              <p:nvPr/>
            </p:nvCxnSpPr>
            <p:spPr>
              <a:xfrm>
                <a:off x="130185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6" name="Straight Connector 975">
                <a:extLst>
                  <a:ext uri="{FF2B5EF4-FFF2-40B4-BE49-F238E27FC236}">
                    <a16:creationId xmlns:a16="http://schemas.microsoft.com/office/drawing/2014/main" id="{DDEE3F4F-4160-40E7-9BFE-73DB0B73E82B}"/>
                  </a:ext>
                </a:extLst>
              </p:cNvPr>
              <p:cNvCxnSpPr>
                <a:cxnSpLocks/>
              </p:cNvCxnSpPr>
              <p:nvPr/>
            </p:nvCxnSpPr>
            <p:spPr>
              <a:xfrm>
                <a:off x="1863873"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7" name="Straight Connector 976">
                <a:extLst>
                  <a:ext uri="{FF2B5EF4-FFF2-40B4-BE49-F238E27FC236}">
                    <a16:creationId xmlns:a16="http://schemas.microsoft.com/office/drawing/2014/main" id="{B9F1BCBC-2BE4-44FD-B6BE-23EE281D99EF}"/>
                  </a:ext>
                </a:extLst>
              </p:cNvPr>
              <p:cNvCxnSpPr>
                <a:cxnSpLocks/>
              </p:cNvCxnSpPr>
              <p:nvPr/>
            </p:nvCxnSpPr>
            <p:spPr>
              <a:xfrm>
                <a:off x="2140147"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8" name="Straight Connector 977">
                <a:extLst>
                  <a:ext uri="{FF2B5EF4-FFF2-40B4-BE49-F238E27FC236}">
                    <a16:creationId xmlns:a16="http://schemas.microsoft.com/office/drawing/2014/main" id="{6030F580-F2EF-491C-A2DA-E55475C3A759}"/>
                  </a:ext>
                </a:extLst>
              </p:cNvPr>
              <p:cNvCxnSpPr>
                <a:cxnSpLocks/>
              </p:cNvCxnSpPr>
              <p:nvPr/>
            </p:nvCxnSpPr>
            <p:spPr>
              <a:xfrm>
                <a:off x="2719796"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9" name="Straight Connector 978">
                <a:extLst>
                  <a:ext uri="{FF2B5EF4-FFF2-40B4-BE49-F238E27FC236}">
                    <a16:creationId xmlns:a16="http://schemas.microsoft.com/office/drawing/2014/main" id="{8FCB3D1A-C063-47DF-8C8F-EB589A4C8DA2}"/>
                  </a:ext>
                </a:extLst>
              </p:cNvPr>
              <p:cNvCxnSpPr>
                <a:cxnSpLocks/>
              </p:cNvCxnSpPr>
              <p:nvPr/>
            </p:nvCxnSpPr>
            <p:spPr>
              <a:xfrm>
                <a:off x="2996070"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0" name="Straight Connector 979">
                <a:extLst>
                  <a:ext uri="{FF2B5EF4-FFF2-40B4-BE49-F238E27FC236}">
                    <a16:creationId xmlns:a16="http://schemas.microsoft.com/office/drawing/2014/main" id="{40323D96-D114-460A-9891-BA24698F4C18}"/>
                  </a:ext>
                </a:extLst>
              </p:cNvPr>
              <p:cNvCxnSpPr>
                <a:cxnSpLocks/>
              </p:cNvCxnSpPr>
              <p:nvPr/>
            </p:nvCxnSpPr>
            <p:spPr>
              <a:xfrm>
                <a:off x="355761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1" name="Straight Connector 980">
                <a:extLst>
                  <a:ext uri="{FF2B5EF4-FFF2-40B4-BE49-F238E27FC236}">
                    <a16:creationId xmlns:a16="http://schemas.microsoft.com/office/drawing/2014/main" id="{3910F596-2AA4-49A7-BA7C-5115E42278CD}"/>
                  </a:ext>
                </a:extLst>
              </p:cNvPr>
              <p:cNvCxnSpPr>
                <a:cxnSpLocks/>
              </p:cNvCxnSpPr>
              <p:nvPr/>
            </p:nvCxnSpPr>
            <p:spPr>
              <a:xfrm>
                <a:off x="3833889"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70" name="Group 869">
              <a:extLst>
                <a:ext uri="{FF2B5EF4-FFF2-40B4-BE49-F238E27FC236}">
                  <a16:creationId xmlns:a16="http://schemas.microsoft.com/office/drawing/2014/main" id="{C1DE5E1E-9436-4995-AA96-E90031C7B3E3}"/>
                </a:ext>
              </a:extLst>
            </p:cNvPr>
            <p:cNvGrpSpPr/>
            <p:nvPr/>
          </p:nvGrpSpPr>
          <p:grpSpPr>
            <a:xfrm>
              <a:off x="2967800" y="3856637"/>
              <a:ext cx="167474" cy="152028"/>
              <a:chOff x="530596" y="3493006"/>
              <a:chExt cx="294146" cy="267018"/>
            </a:xfrm>
          </p:grpSpPr>
          <p:grpSp>
            <p:nvGrpSpPr>
              <p:cNvPr id="958" name="Group 957">
                <a:extLst>
                  <a:ext uri="{FF2B5EF4-FFF2-40B4-BE49-F238E27FC236}">
                    <a16:creationId xmlns:a16="http://schemas.microsoft.com/office/drawing/2014/main" id="{0841AD1F-B668-40EF-9B6E-48C0C15742F8}"/>
                  </a:ext>
                </a:extLst>
              </p:cNvPr>
              <p:cNvGrpSpPr/>
              <p:nvPr/>
            </p:nvGrpSpPr>
            <p:grpSpPr>
              <a:xfrm>
                <a:off x="684848" y="3493006"/>
                <a:ext cx="139894" cy="267018"/>
                <a:chOff x="530145" y="2847566"/>
                <a:chExt cx="193208" cy="368779"/>
              </a:xfrm>
            </p:grpSpPr>
            <p:sp>
              <p:nvSpPr>
                <p:cNvPr id="967" name="Freeform 411">
                  <a:extLst>
                    <a:ext uri="{FF2B5EF4-FFF2-40B4-BE49-F238E27FC236}">
                      <a16:creationId xmlns:a16="http://schemas.microsoft.com/office/drawing/2014/main" id="{80578B6D-344D-44E5-9FBC-73D29F5DD404}"/>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68" name="Freeform 412">
                  <a:extLst>
                    <a:ext uri="{FF2B5EF4-FFF2-40B4-BE49-F238E27FC236}">
                      <a16:creationId xmlns:a16="http://schemas.microsoft.com/office/drawing/2014/main" id="{8055DA35-29F8-4229-96FA-763BCFD91653}"/>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69" name="Freeform 413">
                  <a:extLst>
                    <a:ext uri="{FF2B5EF4-FFF2-40B4-BE49-F238E27FC236}">
                      <a16:creationId xmlns:a16="http://schemas.microsoft.com/office/drawing/2014/main" id="{792E2037-50F8-4233-B717-4AF6E270DAA8}"/>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70" name="Freeform 414">
                  <a:extLst>
                    <a:ext uri="{FF2B5EF4-FFF2-40B4-BE49-F238E27FC236}">
                      <a16:creationId xmlns:a16="http://schemas.microsoft.com/office/drawing/2014/main" id="{2F91AE95-BB78-4541-9575-62E43D290F19}"/>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71" name="Freeform 415">
                  <a:extLst>
                    <a:ext uri="{FF2B5EF4-FFF2-40B4-BE49-F238E27FC236}">
                      <a16:creationId xmlns:a16="http://schemas.microsoft.com/office/drawing/2014/main" id="{8410ABB1-343A-4FCD-AD38-DDD0DF5EADE7}"/>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72" name="Freeform 416">
                  <a:extLst>
                    <a:ext uri="{FF2B5EF4-FFF2-40B4-BE49-F238E27FC236}">
                      <a16:creationId xmlns:a16="http://schemas.microsoft.com/office/drawing/2014/main" id="{EDAE9C22-A9F8-449F-B846-E8904B79BC5D}"/>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73" name="Freeform 416">
                  <a:extLst>
                    <a:ext uri="{FF2B5EF4-FFF2-40B4-BE49-F238E27FC236}">
                      <a16:creationId xmlns:a16="http://schemas.microsoft.com/office/drawing/2014/main" id="{F5FA711A-14BA-4498-9E4C-9B26B834AF2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959" name="Group 958">
                <a:extLst>
                  <a:ext uri="{FF2B5EF4-FFF2-40B4-BE49-F238E27FC236}">
                    <a16:creationId xmlns:a16="http://schemas.microsoft.com/office/drawing/2014/main" id="{78677955-49F0-4FDD-BB16-3E78D13BF74D}"/>
                  </a:ext>
                </a:extLst>
              </p:cNvPr>
              <p:cNvGrpSpPr/>
              <p:nvPr/>
            </p:nvGrpSpPr>
            <p:grpSpPr>
              <a:xfrm>
                <a:off x="530596" y="3493006"/>
                <a:ext cx="139894" cy="267018"/>
                <a:chOff x="530145" y="2847566"/>
                <a:chExt cx="193208" cy="368779"/>
              </a:xfrm>
            </p:grpSpPr>
            <p:sp>
              <p:nvSpPr>
                <p:cNvPr id="960" name="Freeform 411">
                  <a:extLst>
                    <a:ext uri="{FF2B5EF4-FFF2-40B4-BE49-F238E27FC236}">
                      <a16:creationId xmlns:a16="http://schemas.microsoft.com/office/drawing/2014/main" id="{53B530F8-E153-47E1-BC39-539E987A19C2}"/>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61" name="Freeform 412">
                  <a:extLst>
                    <a:ext uri="{FF2B5EF4-FFF2-40B4-BE49-F238E27FC236}">
                      <a16:creationId xmlns:a16="http://schemas.microsoft.com/office/drawing/2014/main" id="{FD958F24-C45B-4C35-B562-404C81B9692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62" name="Freeform 413">
                  <a:extLst>
                    <a:ext uri="{FF2B5EF4-FFF2-40B4-BE49-F238E27FC236}">
                      <a16:creationId xmlns:a16="http://schemas.microsoft.com/office/drawing/2014/main" id="{8F0E7DDB-9776-4154-A07C-CF731260A72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63" name="Freeform 414">
                  <a:extLst>
                    <a:ext uri="{FF2B5EF4-FFF2-40B4-BE49-F238E27FC236}">
                      <a16:creationId xmlns:a16="http://schemas.microsoft.com/office/drawing/2014/main" id="{8F2FCAE7-0D06-45B7-BB2A-ADD6DC3189D2}"/>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64" name="Freeform 415">
                  <a:extLst>
                    <a:ext uri="{FF2B5EF4-FFF2-40B4-BE49-F238E27FC236}">
                      <a16:creationId xmlns:a16="http://schemas.microsoft.com/office/drawing/2014/main" id="{98A8EE60-5483-4D09-BBF4-2848A8C468AD}"/>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65" name="Freeform 416">
                  <a:extLst>
                    <a:ext uri="{FF2B5EF4-FFF2-40B4-BE49-F238E27FC236}">
                      <a16:creationId xmlns:a16="http://schemas.microsoft.com/office/drawing/2014/main" id="{DEC1CC61-010B-4339-B187-5837F1CECDE2}"/>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66" name="Freeform 416">
                  <a:extLst>
                    <a:ext uri="{FF2B5EF4-FFF2-40B4-BE49-F238E27FC236}">
                      <a16:creationId xmlns:a16="http://schemas.microsoft.com/office/drawing/2014/main" id="{229E9359-8830-4815-BE0A-58191CDB4332}"/>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nvGrpSpPr>
            <p:cNvPr id="871" name="Group 870">
              <a:extLst>
                <a:ext uri="{FF2B5EF4-FFF2-40B4-BE49-F238E27FC236}">
                  <a16:creationId xmlns:a16="http://schemas.microsoft.com/office/drawing/2014/main" id="{7C719183-14FD-42C1-83A0-CF5453EE0DE3}"/>
                </a:ext>
              </a:extLst>
            </p:cNvPr>
            <p:cNvGrpSpPr/>
            <p:nvPr/>
          </p:nvGrpSpPr>
          <p:grpSpPr>
            <a:xfrm>
              <a:off x="3234560" y="3856637"/>
              <a:ext cx="167474" cy="152028"/>
              <a:chOff x="530596" y="3493006"/>
              <a:chExt cx="294146" cy="267018"/>
            </a:xfrm>
          </p:grpSpPr>
          <p:grpSp>
            <p:nvGrpSpPr>
              <p:cNvPr id="942" name="Group 941">
                <a:extLst>
                  <a:ext uri="{FF2B5EF4-FFF2-40B4-BE49-F238E27FC236}">
                    <a16:creationId xmlns:a16="http://schemas.microsoft.com/office/drawing/2014/main" id="{7D205A44-6447-4C09-8BE1-630C15175311}"/>
                  </a:ext>
                </a:extLst>
              </p:cNvPr>
              <p:cNvGrpSpPr/>
              <p:nvPr/>
            </p:nvGrpSpPr>
            <p:grpSpPr>
              <a:xfrm>
                <a:off x="684848" y="3493006"/>
                <a:ext cx="139894" cy="267018"/>
                <a:chOff x="530145" y="2847566"/>
                <a:chExt cx="193208" cy="368779"/>
              </a:xfrm>
            </p:grpSpPr>
            <p:sp>
              <p:nvSpPr>
                <p:cNvPr id="951" name="Freeform 411">
                  <a:extLst>
                    <a:ext uri="{FF2B5EF4-FFF2-40B4-BE49-F238E27FC236}">
                      <a16:creationId xmlns:a16="http://schemas.microsoft.com/office/drawing/2014/main" id="{495BCC56-84D7-4688-9E41-33E4013E42EA}"/>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52" name="Freeform 412">
                  <a:extLst>
                    <a:ext uri="{FF2B5EF4-FFF2-40B4-BE49-F238E27FC236}">
                      <a16:creationId xmlns:a16="http://schemas.microsoft.com/office/drawing/2014/main" id="{58E0004D-4F4E-4131-9F85-1D10A437BD1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53" name="Freeform 413">
                  <a:extLst>
                    <a:ext uri="{FF2B5EF4-FFF2-40B4-BE49-F238E27FC236}">
                      <a16:creationId xmlns:a16="http://schemas.microsoft.com/office/drawing/2014/main" id="{4786C715-96AE-4D11-8BFB-C7E7FDAA06A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54" name="Freeform 414">
                  <a:extLst>
                    <a:ext uri="{FF2B5EF4-FFF2-40B4-BE49-F238E27FC236}">
                      <a16:creationId xmlns:a16="http://schemas.microsoft.com/office/drawing/2014/main" id="{676E7D99-C64B-44A1-AEFE-FE15B9D81C72}"/>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55" name="Freeform 415">
                  <a:extLst>
                    <a:ext uri="{FF2B5EF4-FFF2-40B4-BE49-F238E27FC236}">
                      <a16:creationId xmlns:a16="http://schemas.microsoft.com/office/drawing/2014/main" id="{54316C92-B949-4287-8AB0-742D736153D2}"/>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56" name="Freeform 416">
                  <a:extLst>
                    <a:ext uri="{FF2B5EF4-FFF2-40B4-BE49-F238E27FC236}">
                      <a16:creationId xmlns:a16="http://schemas.microsoft.com/office/drawing/2014/main" id="{90749D51-6AC0-45DD-8DE2-772DCDAD350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57" name="Freeform 416">
                  <a:extLst>
                    <a:ext uri="{FF2B5EF4-FFF2-40B4-BE49-F238E27FC236}">
                      <a16:creationId xmlns:a16="http://schemas.microsoft.com/office/drawing/2014/main" id="{2DA98818-10BA-48D7-9958-C7B13A4DDC64}"/>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943" name="Group 942">
                <a:extLst>
                  <a:ext uri="{FF2B5EF4-FFF2-40B4-BE49-F238E27FC236}">
                    <a16:creationId xmlns:a16="http://schemas.microsoft.com/office/drawing/2014/main" id="{7B01F6AE-6F4A-4373-8254-371B80B6D264}"/>
                  </a:ext>
                </a:extLst>
              </p:cNvPr>
              <p:cNvGrpSpPr/>
              <p:nvPr/>
            </p:nvGrpSpPr>
            <p:grpSpPr>
              <a:xfrm>
                <a:off x="530596" y="3493006"/>
                <a:ext cx="139894" cy="267018"/>
                <a:chOff x="530145" y="2847566"/>
                <a:chExt cx="193208" cy="368779"/>
              </a:xfrm>
            </p:grpSpPr>
            <p:sp>
              <p:nvSpPr>
                <p:cNvPr id="944" name="Freeform 411">
                  <a:extLst>
                    <a:ext uri="{FF2B5EF4-FFF2-40B4-BE49-F238E27FC236}">
                      <a16:creationId xmlns:a16="http://schemas.microsoft.com/office/drawing/2014/main" id="{7334BA85-8599-4EE7-A73B-DAACAAEB30F0}"/>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45" name="Freeform 412">
                  <a:extLst>
                    <a:ext uri="{FF2B5EF4-FFF2-40B4-BE49-F238E27FC236}">
                      <a16:creationId xmlns:a16="http://schemas.microsoft.com/office/drawing/2014/main" id="{055CE457-DD4E-42F1-97AD-C005A83BE2C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46" name="Freeform 413">
                  <a:extLst>
                    <a:ext uri="{FF2B5EF4-FFF2-40B4-BE49-F238E27FC236}">
                      <a16:creationId xmlns:a16="http://schemas.microsoft.com/office/drawing/2014/main" id="{64859366-1ACC-4A1E-874B-B061DD6B33C4}"/>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47" name="Freeform 414">
                  <a:extLst>
                    <a:ext uri="{FF2B5EF4-FFF2-40B4-BE49-F238E27FC236}">
                      <a16:creationId xmlns:a16="http://schemas.microsoft.com/office/drawing/2014/main" id="{4598FDB5-3022-48E4-85D3-595A49EB0A9C}"/>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48" name="Freeform 415">
                  <a:extLst>
                    <a:ext uri="{FF2B5EF4-FFF2-40B4-BE49-F238E27FC236}">
                      <a16:creationId xmlns:a16="http://schemas.microsoft.com/office/drawing/2014/main" id="{FD35729B-0D70-4AF1-B6EF-5B979C3D6317}"/>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49" name="Freeform 416">
                  <a:extLst>
                    <a:ext uri="{FF2B5EF4-FFF2-40B4-BE49-F238E27FC236}">
                      <a16:creationId xmlns:a16="http://schemas.microsoft.com/office/drawing/2014/main" id="{8C1E06F0-205C-4689-94B9-711D639B7B9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50" name="Freeform 416">
                  <a:extLst>
                    <a:ext uri="{FF2B5EF4-FFF2-40B4-BE49-F238E27FC236}">
                      <a16:creationId xmlns:a16="http://schemas.microsoft.com/office/drawing/2014/main" id="{1C2F3512-7927-4022-9371-289E8D9C04A7}"/>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nvGrpSpPr>
            <p:cNvPr id="872" name="Group 871">
              <a:extLst>
                <a:ext uri="{FF2B5EF4-FFF2-40B4-BE49-F238E27FC236}">
                  <a16:creationId xmlns:a16="http://schemas.microsoft.com/office/drawing/2014/main" id="{43201A75-2977-47A2-988F-7DB77B516BA6}"/>
                </a:ext>
              </a:extLst>
            </p:cNvPr>
            <p:cNvGrpSpPr/>
            <p:nvPr/>
          </p:nvGrpSpPr>
          <p:grpSpPr>
            <a:xfrm>
              <a:off x="3505137" y="3856637"/>
              <a:ext cx="167474" cy="152028"/>
              <a:chOff x="530596" y="3493006"/>
              <a:chExt cx="294146" cy="267018"/>
            </a:xfrm>
          </p:grpSpPr>
          <p:grpSp>
            <p:nvGrpSpPr>
              <p:cNvPr id="890" name="Group 889">
                <a:extLst>
                  <a:ext uri="{FF2B5EF4-FFF2-40B4-BE49-F238E27FC236}">
                    <a16:creationId xmlns:a16="http://schemas.microsoft.com/office/drawing/2014/main" id="{ABD49575-5A76-4693-AE02-1997C14CD7EE}"/>
                  </a:ext>
                </a:extLst>
              </p:cNvPr>
              <p:cNvGrpSpPr/>
              <p:nvPr/>
            </p:nvGrpSpPr>
            <p:grpSpPr>
              <a:xfrm>
                <a:off x="684848" y="3493006"/>
                <a:ext cx="139894" cy="267018"/>
                <a:chOff x="530145" y="2847566"/>
                <a:chExt cx="193208" cy="368779"/>
              </a:xfrm>
            </p:grpSpPr>
            <p:sp>
              <p:nvSpPr>
                <p:cNvPr id="899" name="Freeform 411">
                  <a:extLst>
                    <a:ext uri="{FF2B5EF4-FFF2-40B4-BE49-F238E27FC236}">
                      <a16:creationId xmlns:a16="http://schemas.microsoft.com/office/drawing/2014/main" id="{D428C8A2-8BEA-4486-A357-1C7B9A46DC79}"/>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36" name="Freeform 412">
                  <a:extLst>
                    <a:ext uri="{FF2B5EF4-FFF2-40B4-BE49-F238E27FC236}">
                      <a16:creationId xmlns:a16="http://schemas.microsoft.com/office/drawing/2014/main" id="{26E9CF26-B88C-4657-BEFF-5E3EFAD0E715}"/>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37" name="Freeform 413">
                  <a:extLst>
                    <a:ext uri="{FF2B5EF4-FFF2-40B4-BE49-F238E27FC236}">
                      <a16:creationId xmlns:a16="http://schemas.microsoft.com/office/drawing/2014/main" id="{839D6852-7494-4B24-839D-221058951EE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38" name="Freeform 414">
                  <a:extLst>
                    <a:ext uri="{FF2B5EF4-FFF2-40B4-BE49-F238E27FC236}">
                      <a16:creationId xmlns:a16="http://schemas.microsoft.com/office/drawing/2014/main" id="{CB543FD0-715E-41AB-8706-B261C3B96001}"/>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39" name="Freeform 415">
                  <a:extLst>
                    <a:ext uri="{FF2B5EF4-FFF2-40B4-BE49-F238E27FC236}">
                      <a16:creationId xmlns:a16="http://schemas.microsoft.com/office/drawing/2014/main" id="{13492681-2793-41D0-9539-524BB5CBCAC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40" name="Freeform 416">
                  <a:extLst>
                    <a:ext uri="{FF2B5EF4-FFF2-40B4-BE49-F238E27FC236}">
                      <a16:creationId xmlns:a16="http://schemas.microsoft.com/office/drawing/2014/main" id="{5EC9C481-9C20-444A-985A-1B530FC03C2D}"/>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941" name="Freeform 416">
                  <a:extLst>
                    <a:ext uri="{FF2B5EF4-FFF2-40B4-BE49-F238E27FC236}">
                      <a16:creationId xmlns:a16="http://schemas.microsoft.com/office/drawing/2014/main" id="{0549D652-A9DA-4AE0-92EC-507D61E97034}"/>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891" name="Group 890">
                <a:extLst>
                  <a:ext uri="{FF2B5EF4-FFF2-40B4-BE49-F238E27FC236}">
                    <a16:creationId xmlns:a16="http://schemas.microsoft.com/office/drawing/2014/main" id="{8D616CE3-12E6-4488-A50F-E46E2C4D87CC}"/>
                  </a:ext>
                </a:extLst>
              </p:cNvPr>
              <p:cNvGrpSpPr/>
              <p:nvPr/>
            </p:nvGrpSpPr>
            <p:grpSpPr>
              <a:xfrm>
                <a:off x="530596" y="3493006"/>
                <a:ext cx="139894" cy="267018"/>
                <a:chOff x="530145" y="2847566"/>
                <a:chExt cx="193208" cy="368779"/>
              </a:xfrm>
            </p:grpSpPr>
            <p:sp>
              <p:nvSpPr>
                <p:cNvPr id="892" name="Freeform 411">
                  <a:extLst>
                    <a:ext uri="{FF2B5EF4-FFF2-40B4-BE49-F238E27FC236}">
                      <a16:creationId xmlns:a16="http://schemas.microsoft.com/office/drawing/2014/main" id="{14F69AA1-9B54-40CE-89AC-0F93317DD270}"/>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93" name="Freeform 412">
                  <a:extLst>
                    <a:ext uri="{FF2B5EF4-FFF2-40B4-BE49-F238E27FC236}">
                      <a16:creationId xmlns:a16="http://schemas.microsoft.com/office/drawing/2014/main" id="{FECCBFD3-93E0-4139-BB70-DB54572338AB}"/>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94" name="Freeform 413">
                  <a:extLst>
                    <a:ext uri="{FF2B5EF4-FFF2-40B4-BE49-F238E27FC236}">
                      <a16:creationId xmlns:a16="http://schemas.microsoft.com/office/drawing/2014/main" id="{9A8A5D3B-C446-4EC4-A25B-7311E1AAF18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95" name="Freeform 414">
                  <a:extLst>
                    <a:ext uri="{FF2B5EF4-FFF2-40B4-BE49-F238E27FC236}">
                      <a16:creationId xmlns:a16="http://schemas.microsoft.com/office/drawing/2014/main" id="{335962CB-3CCE-436F-846D-58559A5AF318}"/>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96" name="Freeform 415">
                  <a:extLst>
                    <a:ext uri="{FF2B5EF4-FFF2-40B4-BE49-F238E27FC236}">
                      <a16:creationId xmlns:a16="http://schemas.microsoft.com/office/drawing/2014/main" id="{2012D89E-096D-46D6-B964-51A25DEC5E88}"/>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97" name="Freeform 416">
                  <a:extLst>
                    <a:ext uri="{FF2B5EF4-FFF2-40B4-BE49-F238E27FC236}">
                      <a16:creationId xmlns:a16="http://schemas.microsoft.com/office/drawing/2014/main" id="{350546F0-9DFC-495A-AD15-977893785EB5}"/>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98" name="Freeform 416">
                  <a:extLst>
                    <a:ext uri="{FF2B5EF4-FFF2-40B4-BE49-F238E27FC236}">
                      <a16:creationId xmlns:a16="http://schemas.microsoft.com/office/drawing/2014/main" id="{4DCC724E-54DB-4438-88C7-A41A01605E3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nvGrpSpPr>
            <p:cNvPr id="873" name="Group 872">
              <a:extLst>
                <a:ext uri="{FF2B5EF4-FFF2-40B4-BE49-F238E27FC236}">
                  <a16:creationId xmlns:a16="http://schemas.microsoft.com/office/drawing/2014/main" id="{40664D8C-9245-412C-9FE3-BAD270F16957}"/>
                </a:ext>
              </a:extLst>
            </p:cNvPr>
            <p:cNvGrpSpPr/>
            <p:nvPr/>
          </p:nvGrpSpPr>
          <p:grpSpPr>
            <a:xfrm>
              <a:off x="3768987" y="3856637"/>
              <a:ext cx="167474" cy="152028"/>
              <a:chOff x="530596" y="3493006"/>
              <a:chExt cx="294146" cy="267018"/>
            </a:xfrm>
          </p:grpSpPr>
          <p:grpSp>
            <p:nvGrpSpPr>
              <p:cNvPr id="874" name="Group 873">
                <a:extLst>
                  <a:ext uri="{FF2B5EF4-FFF2-40B4-BE49-F238E27FC236}">
                    <a16:creationId xmlns:a16="http://schemas.microsoft.com/office/drawing/2014/main" id="{48D58B0C-8C4F-46B8-87BE-0F30C0290C0D}"/>
                  </a:ext>
                </a:extLst>
              </p:cNvPr>
              <p:cNvGrpSpPr/>
              <p:nvPr/>
            </p:nvGrpSpPr>
            <p:grpSpPr>
              <a:xfrm>
                <a:off x="684848" y="3493006"/>
                <a:ext cx="139894" cy="267018"/>
                <a:chOff x="530145" y="2847566"/>
                <a:chExt cx="193208" cy="368779"/>
              </a:xfrm>
            </p:grpSpPr>
            <p:sp>
              <p:nvSpPr>
                <p:cNvPr id="883" name="Freeform 411">
                  <a:extLst>
                    <a:ext uri="{FF2B5EF4-FFF2-40B4-BE49-F238E27FC236}">
                      <a16:creationId xmlns:a16="http://schemas.microsoft.com/office/drawing/2014/main" id="{755E0F7D-5E60-4274-8DC3-F368AF84C85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84" name="Freeform 412">
                  <a:extLst>
                    <a:ext uri="{FF2B5EF4-FFF2-40B4-BE49-F238E27FC236}">
                      <a16:creationId xmlns:a16="http://schemas.microsoft.com/office/drawing/2014/main" id="{26BE255D-A1E7-4B89-B831-CEDC781A3945}"/>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85" name="Freeform 413">
                  <a:extLst>
                    <a:ext uri="{FF2B5EF4-FFF2-40B4-BE49-F238E27FC236}">
                      <a16:creationId xmlns:a16="http://schemas.microsoft.com/office/drawing/2014/main" id="{1CFF2915-4FF4-4711-9721-2A7B97AD4C63}"/>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86" name="Freeform 414">
                  <a:extLst>
                    <a:ext uri="{FF2B5EF4-FFF2-40B4-BE49-F238E27FC236}">
                      <a16:creationId xmlns:a16="http://schemas.microsoft.com/office/drawing/2014/main" id="{A49615E0-8C6D-4A71-836A-CD1135D27014}"/>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87" name="Freeform 415">
                  <a:extLst>
                    <a:ext uri="{FF2B5EF4-FFF2-40B4-BE49-F238E27FC236}">
                      <a16:creationId xmlns:a16="http://schemas.microsoft.com/office/drawing/2014/main" id="{9A330C91-E65A-4626-9B67-F0F01A4BF4F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88" name="Freeform 416">
                  <a:extLst>
                    <a:ext uri="{FF2B5EF4-FFF2-40B4-BE49-F238E27FC236}">
                      <a16:creationId xmlns:a16="http://schemas.microsoft.com/office/drawing/2014/main" id="{DD729467-7EAB-44D0-829D-8F3BB15D871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89" name="Freeform 416">
                  <a:extLst>
                    <a:ext uri="{FF2B5EF4-FFF2-40B4-BE49-F238E27FC236}">
                      <a16:creationId xmlns:a16="http://schemas.microsoft.com/office/drawing/2014/main" id="{3F917CB0-602A-4EDF-8760-CF398E902279}"/>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875" name="Group 874">
                <a:extLst>
                  <a:ext uri="{FF2B5EF4-FFF2-40B4-BE49-F238E27FC236}">
                    <a16:creationId xmlns:a16="http://schemas.microsoft.com/office/drawing/2014/main" id="{A32B32C2-59BF-4A1C-B2E6-BF49EE981FE5}"/>
                  </a:ext>
                </a:extLst>
              </p:cNvPr>
              <p:cNvGrpSpPr/>
              <p:nvPr/>
            </p:nvGrpSpPr>
            <p:grpSpPr>
              <a:xfrm>
                <a:off x="530596" y="3493006"/>
                <a:ext cx="139894" cy="267018"/>
                <a:chOff x="530145" y="2847566"/>
                <a:chExt cx="193208" cy="368779"/>
              </a:xfrm>
            </p:grpSpPr>
            <p:sp>
              <p:nvSpPr>
                <p:cNvPr id="876" name="Freeform 411">
                  <a:extLst>
                    <a:ext uri="{FF2B5EF4-FFF2-40B4-BE49-F238E27FC236}">
                      <a16:creationId xmlns:a16="http://schemas.microsoft.com/office/drawing/2014/main" id="{D0A4577F-B86B-4427-8B7E-C811870A284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77" name="Freeform 412">
                  <a:extLst>
                    <a:ext uri="{FF2B5EF4-FFF2-40B4-BE49-F238E27FC236}">
                      <a16:creationId xmlns:a16="http://schemas.microsoft.com/office/drawing/2014/main" id="{6D9E0A4D-4F15-4558-90C4-8D091120FAB1}"/>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78" name="Freeform 413">
                  <a:extLst>
                    <a:ext uri="{FF2B5EF4-FFF2-40B4-BE49-F238E27FC236}">
                      <a16:creationId xmlns:a16="http://schemas.microsoft.com/office/drawing/2014/main" id="{83C19400-2A2F-49C5-87C2-09EC505B6019}"/>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79" name="Freeform 414">
                  <a:extLst>
                    <a:ext uri="{FF2B5EF4-FFF2-40B4-BE49-F238E27FC236}">
                      <a16:creationId xmlns:a16="http://schemas.microsoft.com/office/drawing/2014/main" id="{739DEB3A-80A3-434F-A007-9486DC5A004C}"/>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80" name="Freeform 415">
                  <a:extLst>
                    <a:ext uri="{FF2B5EF4-FFF2-40B4-BE49-F238E27FC236}">
                      <a16:creationId xmlns:a16="http://schemas.microsoft.com/office/drawing/2014/main" id="{FA7454CB-A35E-47CA-8035-1661118A3210}"/>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81" name="Freeform 416">
                  <a:extLst>
                    <a:ext uri="{FF2B5EF4-FFF2-40B4-BE49-F238E27FC236}">
                      <a16:creationId xmlns:a16="http://schemas.microsoft.com/office/drawing/2014/main" id="{63489513-0402-4EF2-B48F-123C1C3EC1C5}"/>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82" name="Freeform 416">
                  <a:extLst>
                    <a:ext uri="{FF2B5EF4-FFF2-40B4-BE49-F238E27FC236}">
                      <a16:creationId xmlns:a16="http://schemas.microsoft.com/office/drawing/2014/main" id="{D4EC908C-D50B-4D76-B57F-F632411A5177}"/>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grpSp>
        <p:nvGrpSpPr>
          <p:cNvPr id="688" name="Group 687">
            <a:extLst>
              <a:ext uri="{FF2B5EF4-FFF2-40B4-BE49-F238E27FC236}">
                <a16:creationId xmlns:a16="http://schemas.microsoft.com/office/drawing/2014/main" id="{6C8A13FE-24AC-402A-955A-81D2914BE973}"/>
              </a:ext>
            </a:extLst>
          </p:cNvPr>
          <p:cNvGrpSpPr/>
          <p:nvPr/>
        </p:nvGrpSpPr>
        <p:grpSpPr>
          <a:xfrm>
            <a:off x="4641300" y="3276044"/>
            <a:ext cx="1307881" cy="706665"/>
            <a:chOff x="2938147" y="3450049"/>
            <a:chExt cx="1033875" cy="558616"/>
          </a:xfrm>
        </p:grpSpPr>
        <p:grpSp>
          <p:nvGrpSpPr>
            <p:cNvPr id="690" name="Group 248">
              <a:extLst>
                <a:ext uri="{FF2B5EF4-FFF2-40B4-BE49-F238E27FC236}">
                  <a16:creationId xmlns:a16="http://schemas.microsoft.com/office/drawing/2014/main" id="{E9005F13-E003-4916-860B-FF94FED7F3C5}"/>
                </a:ext>
              </a:extLst>
            </p:cNvPr>
            <p:cNvGrpSpPr>
              <a:grpSpLocks noChangeAspect="1"/>
            </p:cNvGrpSpPr>
            <p:nvPr/>
          </p:nvGrpSpPr>
          <p:grpSpPr bwMode="auto">
            <a:xfrm>
              <a:off x="3108039" y="3450049"/>
              <a:ext cx="143647" cy="215385"/>
              <a:chOff x="2223" y="539"/>
              <a:chExt cx="1698" cy="2546"/>
            </a:xfrm>
          </p:grpSpPr>
          <p:sp>
            <p:nvSpPr>
              <p:cNvPr id="854" name="Freeform 249">
                <a:extLst>
                  <a:ext uri="{FF2B5EF4-FFF2-40B4-BE49-F238E27FC236}">
                    <a16:creationId xmlns:a16="http://schemas.microsoft.com/office/drawing/2014/main" id="{608B86FB-D1ED-441B-822A-E4F8A4B76C67}"/>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55" name="Rectangle 250">
                <a:extLst>
                  <a:ext uri="{FF2B5EF4-FFF2-40B4-BE49-F238E27FC236}">
                    <a16:creationId xmlns:a16="http://schemas.microsoft.com/office/drawing/2014/main" id="{E24444C0-91E6-4251-8178-48B0D995D916}"/>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56" name="Line 251">
                <a:extLst>
                  <a:ext uri="{FF2B5EF4-FFF2-40B4-BE49-F238E27FC236}">
                    <a16:creationId xmlns:a16="http://schemas.microsoft.com/office/drawing/2014/main" id="{BDE47F06-97CC-436E-9EA3-776C8857AC27}"/>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57" name="Line 252">
                <a:extLst>
                  <a:ext uri="{FF2B5EF4-FFF2-40B4-BE49-F238E27FC236}">
                    <a16:creationId xmlns:a16="http://schemas.microsoft.com/office/drawing/2014/main" id="{BD4950E3-7EB5-420C-80E9-4266A14CE40E}"/>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58" name="Rectangle 253">
                <a:extLst>
                  <a:ext uri="{FF2B5EF4-FFF2-40B4-BE49-F238E27FC236}">
                    <a16:creationId xmlns:a16="http://schemas.microsoft.com/office/drawing/2014/main" id="{BC2B3574-4C66-4CFB-9A09-1A340546A482}"/>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59" name="Rectangle 254">
                <a:extLst>
                  <a:ext uri="{FF2B5EF4-FFF2-40B4-BE49-F238E27FC236}">
                    <a16:creationId xmlns:a16="http://schemas.microsoft.com/office/drawing/2014/main" id="{2612DF72-027E-4F56-A327-F63BD6D66C31}"/>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691" name="Group 248">
              <a:extLst>
                <a:ext uri="{FF2B5EF4-FFF2-40B4-BE49-F238E27FC236}">
                  <a16:creationId xmlns:a16="http://schemas.microsoft.com/office/drawing/2014/main" id="{33C2FB67-D16F-4DE5-AAA7-F0D3EE958019}"/>
                </a:ext>
              </a:extLst>
            </p:cNvPr>
            <p:cNvGrpSpPr>
              <a:grpSpLocks noChangeAspect="1"/>
            </p:cNvGrpSpPr>
            <p:nvPr/>
          </p:nvGrpSpPr>
          <p:grpSpPr bwMode="auto">
            <a:xfrm>
              <a:off x="3292638" y="3450049"/>
              <a:ext cx="143647" cy="215385"/>
              <a:chOff x="2223" y="539"/>
              <a:chExt cx="1698" cy="2546"/>
            </a:xfrm>
          </p:grpSpPr>
          <p:sp>
            <p:nvSpPr>
              <p:cNvPr id="848" name="Freeform 249">
                <a:extLst>
                  <a:ext uri="{FF2B5EF4-FFF2-40B4-BE49-F238E27FC236}">
                    <a16:creationId xmlns:a16="http://schemas.microsoft.com/office/drawing/2014/main" id="{E7D6C9BF-E6C6-4355-B4F6-58A693858315}"/>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49" name="Rectangle 250">
                <a:extLst>
                  <a:ext uri="{FF2B5EF4-FFF2-40B4-BE49-F238E27FC236}">
                    <a16:creationId xmlns:a16="http://schemas.microsoft.com/office/drawing/2014/main" id="{6EB58B6D-2135-4692-85F2-FAF34395954C}"/>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50" name="Line 251">
                <a:extLst>
                  <a:ext uri="{FF2B5EF4-FFF2-40B4-BE49-F238E27FC236}">
                    <a16:creationId xmlns:a16="http://schemas.microsoft.com/office/drawing/2014/main" id="{8567F268-3B27-4911-8A41-F69B1503F50D}"/>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51" name="Line 252">
                <a:extLst>
                  <a:ext uri="{FF2B5EF4-FFF2-40B4-BE49-F238E27FC236}">
                    <a16:creationId xmlns:a16="http://schemas.microsoft.com/office/drawing/2014/main" id="{947599C1-D0AE-4A93-8A89-2A27810E54E0}"/>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52" name="Rectangle 253">
                <a:extLst>
                  <a:ext uri="{FF2B5EF4-FFF2-40B4-BE49-F238E27FC236}">
                    <a16:creationId xmlns:a16="http://schemas.microsoft.com/office/drawing/2014/main" id="{70909573-2CE1-4A2D-8E2D-00C2DBC0977A}"/>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53" name="Rectangle 254">
                <a:extLst>
                  <a:ext uri="{FF2B5EF4-FFF2-40B4-BE49-F238E27FC236}">
                    <a16:creationId xmlns:a16="http://schemas.microsoft.com/office/drawing/2014/main" id="{3BE75F2A-0C1E-4F7E-9A46-F6E11F56F7DE}"/>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692" name="Group 248">
              <a:extLst>
                <a:ext uri="{FF2B5EF4-FFF2-40B4-BE49-F238E27FC236}">
                  <a16:creationId xmlns:a16="http://schemas.microsoft.com/office/drawing/2014/main" id="{21CEBB39-5743-4651-B5A6-BBB2ADCEB51F}"/>
                </a:ext>
              </a:extLst>
            </p:cNvPr>
            <p:cNvGrpSpPr>
              <a:grpSpLocks noChangeAspect="1"/>
            </p:cNvGrpSpPr>
            <p:nvPr/>
          </p:nvGrpSpPr>
          <p:grpSpPr bwMode="auto">
            <a:xfrm>
              <a:off x="3477238" y="3450049"/>
              <a:ext cx="143647" cy="215385"/>
              <a:chOff x="2223" y="539"/>
              <a:chExt cx="1698" cy="2546"/>
            </a:xfrm>
          </p:grpSpPr>
          <p:sp>
            <p:nvSpPr>
              <p:cNvPr id="842" name="Freeform 249">
                <a:extLst>
                  <a:ext uri="{FF2B5EF4-FFF2-40B4-BE49-F238E27FC236}">
                    <a16:creationId xmlns:a16="http://schemas.microsoft.com/office/drawing/2014/main" id="{81D78915-D6DC-45AF-833D-E1F3BF9673AB}"/>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43" name="Rectangle 250">
                <a:extLst>
                  <a:ext uri="{FF2B5EF4-FFF2-40B4-BE49-F238E27FC236}">
                    <a16:creationId xmlns:a16="http://schemas.microsoft.com/office/drawing/2014/main" id="{1C7F424C-0317-4185-AAF8-50A2A2339AC4}"/>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44" name="Line 251">
                <a:extLst>
                  <a:ext uri="{FF2B5EF4-FFF2-40B4-BE49-F238E27FC236}">
                    <a16:creationId xmlns:a16="http://schemas.microsoft.com/office/drawing/2014/main" id="{CE33C126-FC93-4519-AA10-B87EFFBEF8B9}"/>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45" name="Line 252">
                <a:extLst>
                  <a:ext uri="{FF2B5EF4-FFF2-40B4-BE49-F238E27FC236}">
                    <a16:creationId xmlns:a16="http://schemas.microsoft.com/office/drawing/2014/main" id="{3A5C0112-6554-4687-A363-A435C4FE22E2}"/>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46" name="Rectangle 253">
                <a:extLst>
                  <a:ext uri="{FF2B5EF4-FFF2-40B4-BE49-F238E27FC236}">
                    <a16:creationId xmlns:a16="http://schemas.microsoft.com/office/drawing/2014/main" id="{5B27717C-F17E-45D7-96AF-6F0827FC5ECA}"/>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47" name="Rectangle 254">
                <a:extLst>
                  <a:ext uri="{FF2B5EF4-FFF2-40B4-BE49-F238E27FC236}">
                    <a16:creationId xmlns:a16="http://schemas.microsoft.com/office/drawing/2014/main" id="{757C314F-7DD8-4409-970E-016FC227A700}"/>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693" name="Group 248">
              <a:extLst>
                <a:ext uri="{FF2B5EF4-FFF2-40B4-BE49-F238E27FC236}">
                  <a16:creationId xmlns:a16="http://schemas.microsoft.com/office/drawing/2014/main" id="{612AB9EF-FDEF-4365-8377-4BCFDF44250E}"/>
                </a:ext>
              </a:extLst>
            </p:cNvPr>
            <p:cNvGrpSpPr>
              <a:grpSpLocks noChangeAspect="1"/>
            </p:cNvGrpSpPr>
            <p:nvPr/>
          </p:nvGrpSpPr>
          <p:grpSpPr bwMode="auto">
            <a:xfrm>
              <a:off x="3661836" y="3450049"/>
              <a:ext cx="143647" cy="215385"/>
              <a:chOff x="2223" y="539"/>
              <a:chExt cx="1698" cy="2546"/>
            </a:xfrm>
          </p:grpSpPr>
          <p:sp>
            <p:nvSpPr>
              <p:cNvPr id="836" name="Freeform 249">
                <a:extLst>
                  <a:ext uri="{FF2B5EF4-FFF2-40B4-BE49-F238E27FC236}">
                    <a16:creationId xmlns:a16="http://schemas.microsoft.com/office/drawing/2014/main" id="{C9697751-836B-4E46-8A53-8333036C17F4}"/>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37" name="Rectangle 250">
                <a:extLst>
                  <a:ext uri="{FF2B5EF4-FFF2-40B4-BE49-F238E27FC236}">
                    <a16:creationId xmlns:a16="http://schemas.microsoft.com/office/drawing/2014/main" id="{6C6024FE-03E9-4F65-B89A-84FC33CA6F45}"/>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38" name="Line 251">
                <a:extLst>
                  <a:ext uri="{FF2B5EF4-FFF2-40B4-BE49-F238E27FC236}">
                    <a16:creationId xmlns:a16="http://schemas.microsoft.com/office/drawing/2014/main" id="{67A827C4-7F21-4EEF-90C9-E6238AC163CF}"/>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39" name="Line 252">
                <a:extLst>
                  <a:ext uri="{FF2B5EF4-FFF2-40B4-BE49-F238E27FC236}">
                    <a16:creationId xmlns:a16="http://schemas.microsoft.com/office/drawing/2014/main" id="{9D56B1F9-D937-45EE-A7C7-44D76D8245F9}"/>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40" name="Rectangle 253">
                <a:extLst>
                  <a:ext uri="{FF2B5EF4-FFF2-40B4-BE49-F238E27FC236}">
                    <a16:creationId xmlns:a16="http://schemas.microsoft.com/office/drawing/2014/main" id="{E0F0B0CC-793E-4457-B464-52DBF658E4E1}"/>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41" name="Rectangle 254">
                <a:extLst>
                  <a:ext uri="{FF2B5EF4-FFF2-40B4-BE49-F238E27FC236}">
                    <a16:creationId xmlns:a16="http://schemas.microsoft.com/office/drawing/2014/main" id="{5A6EF2CA-5005-4FA2-80B9-8515B112E5A5}"/>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694" name="Group 693">
              <a:extLst>
                <a:ext uri="{FF2B5EF4-FFF2-40B4-BE49-F238E27FC236}">
                  <a16:creationId xmlns:a16="http://schemas.microsoft.com/office/drawing/2014/main" id="{73E16CA6-94A9-4F91-8B15-1BF15BF539A2}"/>
                </a:ext>
              </a:extLst>
            </p:cNvPr>
            <p:cNvGrpSpPr/>
            <p:nvPr/>
          </p:nvGrpSpPr>
          <p:grpSpPr>
            <a:xfrm>
              <a:off x="3055862" y="3665435"/>
              <a:ext cx="798446" cy="69836"/>
              <a:chOff x="1173874" y="2863720"/>
              <a:chExt cx="2523688" cy="220735"/>
            </a:xfrm>
          </p:grpSpPr>
          <p:cxnSp>
            <p:nvCxnSpPr>
              <p:cNvPr id="820" name="Straight Connector 819">
                <a:extLst>
                  <a:ext uri="{FF2B5EF4-FFF2-40B4-BE49-F238E27FC236}">
                    <a16:creationId xmlns:a16="http://schemas.microsoft.com/office/drawing/2014/main" id="{865C2451-877A-45E8-A32F-E7C0F7B22B92}"/>
                  </a:ext>
                </a:extLst>
              </p:cNvPr>
              <p:cNvCxnSpPr>
                <a:stCxn id="855" idx="2"/>
                <a:endCxn id="809" idx="0"/>
              </p:cNvCxnSpPr>
              <p:nvPr/>
            </p:nvCxnSpPr>
            <p:spPr>
              <a:xfrm flipH="1">
                <a:off x="1173874" y="2863720"/>
                <a:ext cx="391935"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1" name="Straight Connector 820">
                <a:extLst>
                  <a:ext uri="{FF2B5EF4-FFF2-40B4-BE49-F238E27FC236}">
                    <a16:creationId xmlns:a16="http://schemas.microsoft.com/office/drawing/2014/main" id="{EB157AF5-7DA2-4763-B390-0E8CD5886C8D}"/>
                  </a:ext>
                </a:extLst>
              </p:cNvPr>
              <p:cNvCxnSpPr>
                <a:stCxn id="855" idx="2"/>
                <a:endCxn id="798" idx="0"/>
              </p:cNvCxnSpPr>
              <p:nvPr/>
            </p:nvCxnSpPr>
            <p:spPr>
              <a:xfrm>
                <a:off x="1565809" y="2863720"/>
                <a:ext cx="44630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2" name="Straight Connector 821">
                <a:extLst>
                  <a:ext uri="{FF2B5EF4-FFF2-40B4-BE49-F238E27FC236}">
                    <a16:creationId xmlns:a16="http://schemas.microsoft.com/office/drawing/2014/main" id="{37B5EAD3-64C6-4ED0-BDBB-A4417649F7BC}"/>
                  </a:ext>
                </a:extLst>
              </p:cNvPr>
              <p:cNvCxnSpPr>
                <a:stCxn id="855" idx="2"/>
                <a:endCxn id="787" idx="0"/>
              </p:cNvCxnSpPr>
              <p:nvPr/>
            </p:nvCxnSpPr>
            <p:spPr>
              <a:xfrm>
                <a:off x="1565809" y="2863720"/>
                <a:ext cx="1293516"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33ABC830-FC9D-4ABA-90F3-AFF176093F97}"/>
                  </a:ext>
                </a:extLst>
              </p:cNvPr>
              <p:cNvCxnSpPr>
                <a:stCxn id="855" idx="2"/>
                <a:endCxn id="776" idx="0"/>
              </p:cNvCxnSpPr>
              <p:nvPr/>
            </p:nvCxnSpPr>
            <p:spPr>
              <a:xfrm>
                <a:off x="1565809" y="2863720"/>
                <a:ext cx="213175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4" name="Straight Connector 823">
                <a:extLst>
                  <a:ext uri="{FF2B5EF4-FFF2-40B4-BE49-F238E27FC236}">
                    <a16:creationId xmlns:a16="http://schemas.microsoft.com/office/drawing/2014/main" id="{37AF4F70-0961-4BA0-B973-E89BD4CA0498}"/>
                  </a:ext>
                </a:extLst>
              </p:cNvPr>
              <p:cNvCxnSpPr>
                <a:stCxn id="849" idx="2"/>
                <a:endCxn id="809" idx="0"/>
              </p:cNvCxnSpPr>
              <p:nvPr/>
            </p:nvCxnSpPr>
            <p:spPr>
              <a:xfrm flipH="1">
                <a:off x="1173874" y="2863720"/>
                <a:ext cx="9754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5" name="Straight Connector 824">
                <a:extLst>
                  <a:ext uri="{FF2B5EF4-FFF2-40B4-BE49-F238E27FC236}">
                    <a16:creationId xmlns:a16="http://schemas.microsoft.com/office/drawing/2014/main" id="{AB5BC7FB-7BCC-44D1-BA8A-393DE93A5E36}"/>
                  </a:ext>
                </a:extLst>
              </p:cNvPr>
              <p:cNvCxnSpPr>
                <a:stCxn id="849" idx="2"/>
                <a:endCxn id="798" idx="0"/>
              </p:cNvCxnSpPr>
              <p:nvPr/>
            </p:nvCxnSpPr>
            <p:spPr>
              <a:xfrm flipH="1">
                <a:off x="2012110" y="2863720"/>
                <a:ext cx="137172"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6" name="Straight Connector 825">
                <a:extLst>
                  <a:ext uri="{FF2B5EF4-FFF2-40B4-BE49-F238E27FC236}">
                    <a16:creationId xmlns:a16="http://schemas.microsoft.com/office/drawing/2014/main" id="{F64CB577-E592-4D73-AD8D-DC504CA43BE5}"/>
                  </a:ext>
                </a:extLst>
              </p:cNvPr>
              <p:cNvCxnSpPr>
                <a:stCxn id="849" idx="2"/>
                <a:endCxn id="787" idx="0"/>
              </p:cNvCxnSpPr>
              <p:nvPr/>
            </p:nvCxnSpPr>
            <p:spPr>
              <a:xfrm>
                <a:off x="2149282" y="2863720"/>
                <a:ext cx="71004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7" name="Straight Connector 826">
                <a:extLst>
                  <a:ext uri="{FF2B5EF4-FFF2-40B4-BE49-F238E27FC236}">
                    <a16:creationId xmlns:a16="http://schemas.microsoft.com/office/drawing/2014/main" id="{5B13F199-FD20-4342-A277-A209B9FF9CFD}"/>
                  </a:ext>
                </a:extLst>
              </p:cNvPr>
              <p:cNvCxnSpPr>
                <a:stCxn id="849" idx="2"/>
                <a:endCxn id="776" idx="0"/>
              </p:cNvCxnSpPr>
              <p:nvPr/>
            </p:nvCxnSpPr>
            <p:spPr>
              <a:xfrm>
                <a:off x="2149282" y="2863720"/>
                <a:ext cx="15482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8" name="Straight Connector 827">
                <a:extLst>
                  <a:ext uri="{FF2B5EF4-FFF2-40B4-BE49-F238E27FC236}">
                    <a16:creationId xmlns:a16="http://schemas.microsoft.com/office/drawing/2014/main" id="{43686BFB-1A83-43D1-9A6B-998C295D2D34}"/>
                  </a:ext>
                </a:extLst>
              </p:cNvPr>
              <p:cNvCxnSpPr>
                <a:stCxn id="843" idx="2"/>
                <a:endCxn id="809" idx="0"/>
              </p:cNvCxnSpPr>
              <p:nvPr/>
            </p:nvCxnSpPr>
            <p:spPr>
              <a:xfrm flipH="1">
                <a:off x="1173874" y="2863720"/>
                <a:ext cx="15588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9" name="Straight Connector 828">
                <a:extLst>
                  <a:ext uri="{FF2B5EF4-FFF2-40B4-BE49-F238E27FC236}">
                    <a16:creationId xmlns:a16="http://schemas.microsoft.com/office/drawing/2014/main" id="{7FC93BF7-EE36-46EE-BA6F-593C1F89F1CB}"/>
                  </a:ext>
                </a:extLst>
              </p:cNvPr>
              <p:cNvCxnSpPr>
                <a:endCxn id="798" idx="0"/>
              </p:cNvCxnSpPr>
              <p:nvPr/>
            </p:nvCxnSpPr>
            <p:spPr>
              <a:xfrm flipH="1">
                <a:off x="2012110" y="2888855"/>
                <a:ext cx="716881" cy="195600"/>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30" name="Straight Connector 829">
                <a:extLst>
                  <a:ext uri="{FF2B5EF4-FFF2-40B4-BE49-F238E27FC236}">
                    <a16:creationId xmlns:a16="http://schemas.microsoft.com/office/drawing/2014/main" id="{7DFF9AA0-BB2E-4A07-9114-D9A94CA3A79A}"/>
                  </a:ext>
                </a:extLst>
              </p:cNvPr>
              <p:cNvCxnSpPr>
                <a:stCxn id="843" idx="2"/>
                <a:endCxn id="787" idx="0"/>
              </p:cNvCxnSpPr>
              <p:nvPr/>
            </p:nvCxnSpPr>
            <p:spPr>
              <a:xfrm>
                <a:off x="2732754" y="2863720"/>
                <a:ext cx="12657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31" name="Straight Connector 830">
                <a:extLst>
                  <a:ext uri="{FF2B5EF4-FFF2-40B4-BE49-F238E27FC236}">
                    <a16:creationId xmlns:a16="http://schemas.microsoft.com/office/drawing/2014/main" id="{BD2743CF-E537-49A9-AD45-B32BEEE39E56}"/>
                  </a:ext>
                </a:extLst>
              </p:cNvPr>
              <p:cNvCxnSpPr>
                <a:stCxn id="843" idx="2"/>
                <a:endCxn id="776" idx="0"/>
              </p:cNvCxnSpPr>
              <p:nvPr/>
            </p:nvCxnSpPr>
            <p:spPr>
              <a:xfrm>
                <a:off x="2732754" y="2863720"/>
                <a:ext cx="9648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32" name="Straight Connector 831">
                <a:extLst>
                  <a:ext uri="{FF2B5EF4-FFF2-40B4-BE49-F238E27FC236}">
                    <a16:creationId xmlns:a16="http://schemas.microsoft.com/office/drawing/2014/main" id="{BD4CCAF0-B8C9-4E51-8E95-29EC968C3DBF}"/>
                  </a:ext>
                </a:extLst>
              </p:cNvPr>
              <p:cNvCxnSpPr>
                <a:stCxn id="837" idx="2"/>
                <a:endCxn id="776" idx="0"/>
              </p:cNvCxnSpPr>
              <p:nvPr/>
            </p:nvCxnSpPr>
            <p:spPr>
              <a:xfrm>
                <a:off x="3316223" y="2863720"/>
                <a:ext cx="38133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33" name="Straight Connector 832">
                <a:extLst>
                  <a:ext uri="{FF2B5EF4-FFF2-40B4-BE49-F238E27FC236}">
                    <a16:creationId xmlns:a16="http://schemas.microsoft.com/office/drawing/2014/main" id="{A5F1B9B9-1266-4A9B-933A-7A0FFDD89689}"/>
                  </a:ext>
                </a:extLst>
              </p:cNvPr>
              <p:cNvCxnSpPr>
                <a:stCxn id="837" idx="2"/>
                <a:endCxn id="787" idx="0"/>
              </p:cNvCxnSpPr>
              <p:nvPr/>
            </p:nvCxnSpPr>
            <p:spPr>
              <a:xfrm flipH="1">
                <a:off x="2859325" y="2863720"/>
                <a:ext cx="45689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34" name="Straight Connector 833">
                <a:extLst>
                  <a:ext uri="{FF2B5EF4-FFF2-40B4-BE49-F238E27FC236}">
                    <a16:creationId xmlns:a16="http://schemas.microsoft.com/office/drawing/2014/main" id="{3FFA026E-40E2-42AC-85E8-4738132CFDED}"/>
                  </a:ext>
                </a:extLst>
              </p:cNvPr>
              <p:cNvCxnSpPr>
                <a:stCxn id="837" idx="2"/>
                <a:endCxn id="798" idx="0"/>
              </p:cNvCxnSpPr>
              <p:nvPr/>
            </p:nvCxnSpPr>
            <p:spPr>
              <a:xfrm flipH="1">
                <a:off x="2012110" y="2863720"/>
                <a:ext cx="130411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C867DE0A-912F-4798-B45A-D1728DCF9E27}"/>
                  </a:ext>
                </a:extLst>
              </p:cNvPr>
              <p:cNvCxnSpPr>
                <a:stCxn id="837" idx="2"/>
                <a:endCxn id="809" idx="0"/>
              </p:cNvCxnSpPr>
              <p:nvPr/>
            </p:nvCxnSpPr>
            <p:spPr>
              <a:xfrm flipH="1">
                <a:off x="1173874" y="2863720"/>
                <a:ext cx="214234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695" name="Group 694">
              <a:extLst>
                <a:ext uri="{FF2B5EF4-FFF2-40B4-BE49-F238E27FC236}">
                  <a16:creationId xmlns:a16="http://schemas.microsoft.com/office/drawing/2014/main" id="{880835AB-DCE6-4530-B89D-E48D2AD3CFA8}"/>
                </a:ext>
              </a:extLst>
            </p:cNvPr>
            <p:cNvGrpSpPr/>
            <p:nvPr/>
          </p:nvGrpSpPr>
          <p:grpSpPr>
            <a:xfrm>
              <a:off x="2938147" y="3735271"/>
              <a:ext cx="235429" cy="51324"/>
              <a:chOff x="329334" y="3260153"/>
              <a:chExt cx="1224846" cy="267018"/>
            </a:xfrm>
          </p:grpSpPr>
          <p:sp>
            <p:nvSpPr>
              <p:cNvPr id="809" name="Rectangle: Rounded Corners 808">
                <a:extLst>
                  <a:ext uri="{FF2B5EF4-FFF2-40B4-BE49-F238E27FC236}">
                    <a16:creationId xmlns:a16="http://schemas.microsoft.com/office/drawing/2014/main" id="{F3DAD192-004D-4012-82CA-E516F28CD8DB}"/>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810" name="Group 809">
                <a:extLst>
                  <a:ext uri="{FF2B5EF4-FFF2-40B4-BE49-F238E27FC236}">
                    <a16:creationId xmlns:a16="http://schemas.microsoft.com/office/drawing/2014/main" id="{E2D65956-CED1-4233-B007-C59D411F8284}"/>
                  </a:ext>
                </a:extLst>
              </p:cNvPr>
              <p:cNvGrpSpPr/>
              <p:nvPr/>
            </p:nvGrpSpPr>
            <p:grpSpPr>
              <a:xfrm>
                <a:off x="428384" y="3307885"/>
                <a:ext cx="988875" cy="171554"/>
                <a:chOff x="428384" y="3319125"/>
                <a:chExt cx="988875" cy="171554"/>
              </a:xfrm>
            </p:grpSpPr>
            <p:sp>
              <p:nvSpPr>
                <p:cNvPr id="811" name="Freeform 42">
                  <a:extLst>
                    <a:ext uri="{FF2B5EF4-FFF2-40B4-BE49-F238E27FC236}">
                      <a16:creationId xmlns:a16="http://schemas.microsoft.com/office/drawing/2014/main" id="{217A5D07-75A7-4D5C-8B54-CCAD91C5A3FB}"/>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12" name="Freeform 43">
                  <a:extLst>
                    <a:ext uri="{FF2B5EF4-FFF2-40B4-BE49-F238E27FC236}">
                      <a16:creationId xmlns:a16="http://schemas.microsoft.com/office/drawing/2014/main" id="{EBB32FB0-5451-4CA8-9DD8-806CCDDCB5EF}"/>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13" name="Freeform 44">
                  <a:extLst>
                    <a:ext uri="{FF2B5EF4-FFF2-40B4-BE49-F238E27FC236}">
                      <a16:creationId xmlns:a16="http://schemas.microsoft.com/office/drawing/2014/main" id="{E07CA1F8-4706-4CDD-A7C5-315B8C655333}"/>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14" name="Freeform 45">
                  <a:extLst>
                    <a:ext uri="{FF2B5EF4-FFF2-40B4-BE49-F238E27FC236}">
                      <a16:creationId xmlns:a16="http://schemas.microsoft.com/office/drawing/2014/main" id="{02C7A1F0-D17E-4B8D-B1EE-A41452095AA6}"/>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15" name="Freeform 46">
                  <a:extLst>
                    <a:ext uri="{FF2B5EF4-FFF2-40B4-BE49-F238E27FC236}">
                      <a16:creationId xmlns:a16="http://schemas.microsoft.com/office/drawing/2014/main" id="{F74F34D3-DBA7-4F9A-AF2C-6674A5B3A95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816" name="Group 815">
                  <a:extLst>
                    <a:ext uri="{FF2B5EF4-FFF2-40B4-BE49-F238E27FC236}">
                      <a16:creationId xmlns:a16="http://schemas.microsoft.com/office/drawing/2014/main" id="{F54CC08B-651A-4BBC-8977-AB56ACFB6BAB}"/>
                    </a:ext>
                  </a:extLst>
                </p:cNvPr>
                <p:cNvGrpSpPr/>
                <p:nvPr/>
              </p:nvGrpSpPr>
              <p:grpSpPr>
                <a:xfrm rot="16200000">
                  <a:off x="1194056" y="3224509"/>
                  <a:ext cx="85622" cy="360785"/>
                  <a:chOff x="1267883" y="3923111"/>
                  <a:chExt cx="45719" cy="192649"/>
                </a:xfrm>
                <a:solidFill>
                  <a:schemeClr val="accent2"/>
                </a:solidFill>
              </p:grpSpPr>
              <p:sp>
                <p:nvSpPr>
                  <p:cNvPr id="817" name="Oval 816">
                    <a:extLst>
                      <a:ext uri="{FF2B5EF4-FFF2-40B4-BE49-F238E27FC236}">
                        <a16:creationId xmlns:a16="http://schemas.microsoft.com/office/drawing/2014/main" id="{53EAC190-F86C-49F9-9EB0-D471796BFFE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818" name="Oval 817">
                    <a:extLst>
                      <a:ext uri="{FF2B5EF4-FFF2-40B4-BE49-F238E27FC236}">
                        <a16:creationId xmlns:a16="http://schemas.microsoft.com/office/drawing/2014/main" id="{41AF7A21-615D-4CA6-AF70-651EF2DFAFB5}"/>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819" name="Oval 818">
                    <a:extLst>
                      <a:ext uri="{FF2B5EF4-FFF2-40B4-BE49-F238E27FC236}">
                        <a16:creationId xmlns:a16="http://schemas.microsoft.com/office/drawing/2014/main" id="{6896AE39-8326-4C3C-B6DD-609F807B7817}"/>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grpSp>
          <p:nvGrpSpPr>
            <p:cNvPr id="696" name="Group 695">
              <a:extLst>
                <a:ext uri="{FF2B5EF4-FFF2-40B4-BE49-F238E27FC236}">
                  <a16:creationId xmlns:a16="http://schemas.microsoft.com/office/drawing/2014/main" id="{E7CF8136-9DCD-4C54-9894-1D03065660AD}"/>
                </a:ext>
              </a:extLst>
            </p:cNvPr>
            <p:cNvGrpSpPr/>
            <p:nvPr/>
          </p:nvGrpSpPr>
          <p:grpSpPr>
            <a:xfrm>
              <a:off x="3203349" y="3735271"/>
              <a:ext cx="235429" cy="51324"/>
              <a:chOff x="329334" y="3260153"/>
              <a:chExt cx="1224846" cy="267018"/>
            </a:xfrm>
          </p:grpSpPr>
          <p:sp>
            <p:nvSpPr>
              <p:cNvPr id="798" name="Rectangle: Rounded Corners 797">
                <a:extLst>
                  <a:ext uri="{FF2B5EF4-FFF2-40B4-BE49-F238E27FC236}">
                    <a16:creationId xmlns:a16="http://schemas.microsoft.com/office/drawing/2014/main" id="{093187D9-910E-48B2-8414-68BD7A3910F3}"/>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799" name="Group 798">
                <a:extLst>
                  <a:ext uri="{FF2B5EF4-FFF2-40B4-BE49-F238E27FC236}">
                    <a16:creationId xmlns:a16="http://schemas.microsoft.com/office/drawing/2014/main" id="{EA66C9B0-9388-448E-A29C-985E2AC150C6}"/>
                  </a:ext>
                </a:extLst>
              </p:cNvPr>
              <p:cNvGrpSpPr/>
              <p:nvPr/>
            </p:nvGrpSpPr>
            <p:grpSpPr>
              <a:xfrm>
                <a:off x="428384" y="3307885"/>
                <a:ext cx="988875" cy="171554"/>
                <a:chOff x="428384" y="3319125"/>
                <a:chExt cx="988875" cy="171554"/>
              </a:xfrm>
            </p:grpSpPr>
            <p:sp>
              <p:nvSpPr>
                <p:cNvPr id="800" name="Freeform 42">
                  <a:extLst>
                    <a:ext uri="{FF2B5EF4-FFF2-40B4-BE49-F238E27FC236}">
                      <a16:creationId xmlns:a16="http://schemas.microsoft.com/office/drawing/2014/main" id="{22F1EB20-74E1-4F1A-9E1B-3E310F217A19}"/>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01" name="Freeform 43">
                  <a:extLst>
                    <a:ext uri="{FF2B5EF4-FFF2-40B4-BE49-F238E27FC236}">
                      <a16:creationId xmlns:a16="http://schemas.microsoft.com/office/drawing/2014/main" id="{D6E11717-F7D2-42FD-9CD5-09FB3F5858D5}"/>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02" name="Freeform 44">
                  <a:extLst>
                    <a:ext uri="{FF2B5EF4-FFF2-40B4-BE49-F238E27FC236}">
                      <a16:creationId xmlns:a16="http://schemas.microsoft.com/office/drawing/2014/main" id="{71347CA2-73D6-4BE0-8BA1-65C98FBEBDD9}"/>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03" name="Freeform 45">
                  <a:extLst>
                    <a:ext uri="{FF2B5EF4-FFF2-40B4-BE49-F238E27FC236}">
                      <a16:creationId xmlns:a16="http://schemas.microsoft.com/office/drawing/2014/main" id="{9F319F10-3700-4026-8111-9CAE425C9700}"/>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804" name="Freeform 46">
                  <a:extLst>
                    <a:ext uri="{FF2B5EF4-FFF2-40B4-BE49-F238E27FC236}">
                      <a16:creationId xmlns:a16="http://schemas.microsoft.com/office/drawing/2014/main" id="{D2721A1B-C5BA-4962-8D6F-1ADB347D9F29}"/>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805" name="Group 804">
                  <a:extLst>
                    <a:ext uri="{FF2B5EF4-FFF2-40B4-BE49-F238E27FC236}">
                      <a16:creationId xmlns:a16="http://schemas.microsoft.com/office/drawing/2014/main" id="{0E7C7BEE-7FA6-4EFF-95CD-D1FFA6AC08F8}"/>
                    </a:ext>
                  </a:extLst>
                </p:cNvPr>
                <p:cNvGrpSpPr/>
                <p:nvPr/>
              </p:nvGrpSpPr>
              <p:grpSpPr>
                <a:xfrm rot="16200000">
                  <a:off x="1194056" y="3224509"/>
                  <a:ext cx="85622" cy="360785"/>
                  <a:chOff x="1267883" y="3923111"/>
                  <a:chExt cx="45719" cy="192649"/>
                </a:xfrm>
                <a:solidFill>
                  <a:schemeClr val="accent2"/>
                </a:solidFill>
              </p:grpSpPr>
              <p:sp>
                <p:nvSpPr>
                  <p:cNvPr id="806" name="Oval 805">
                    <a:extLst>
                      <a:ext uri="{FF2B5EF4-FFF2-40B4-BE49-F238E27FC236}">
                        <a16:creationId xmlns:a16="http://schemas.microsoft.com/office/drawing/2014/main" id="{9A3AF554-0958-46C9-81DC-A4E440348DB7}"/>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807" name="Oval 806">
                    <a:extLst>
                      <a:ext uri="{FF2B5EF4-FFF2-40B4-BE49-F238E27FC236}">
                        <a16:creationId xmlns:a16="http://schemas.microsoft.com/office/drawing/2014/main" id="{76FF013E-A21A-4A2A-9888-F57ADD9285D4}"/>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808" name="Oval 807">
                    <a:extLst>
                      <a:ext uri="{FF2B5EF4-FFF2-40B4-BE49-F238E27FC236}">
                        <a16:creationId xmlns:a16="http://schemas.microsoft.com/office/drawing/2014/main" id="{0CABF796-9BC3-4512-A5A7-C0F153D82C3C}"/>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grpSp>
          <p:nvGrpSpPr>
            <p:cNvPr id="697" name="Group 696">
              <a:extLst>
                <a:ext uri="{FF2B5EF4-FFF2-40B4-BE49-F238E27FC236}">
                  <a16:creationId xmlns:a16="http://schemas.microsoft.com/office/drawing/2014/main" id="{7042EF68-342F-4FA1-A74A-CEDE0D8AB9F6}"/>
                </a:ext>
              </a:extLst>
            </p:cNvPr>
            <p:cNvGrpSpPr/>
            <p:nvPr/>
          </p:nvGrpSpPr>
          <p:grpSpPr>
            <a:xfrm>
              <a:off x="3471391" y="3735271"/>
              <a:ext cx="235429" cy="51324"/>
              <a:chOff x="329334" y="3260153"/>
              <a:chExt cx="1224846" cy="267018"/>
            </a:xfrm>
          </p:grpSpPr>
          <p:sp>
            <p:nvSpPr>
              <p:cNvPr id="787" name="Rectangle: Rounded Corners 786">
                <a:extLst>
                  <a:ext uri="{FF2B5EF4-FFF2-40B4-BE49-F238E27FC236}">
                    <a16:creationId xmlns:a16="http://schemas.microsoft.com/office/drawing/2014/main" id="{E3504506-13F5-4332-A4AF-8E438DBA4B68}"/>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788" name="Group 787">
                <a:extLst>
                  <a:ext uri="{FF2B5EF4-FFF2-40B4-BE49-F238E27FC236}">
                    <a16:creationId xmlns:a16="http://schemas.microsoft.com/office/drawing/2014/main" id="{1E5E97F2-DDD2-428F-BB7F-804722B7C27D}"/>
                  </a:ext>
                </a:extLst>
              </p:cNvPr>
              <p:cNvGrpSpPr/>
              <p:nvPr/>
            </p:nvGrpSpPr>
            <p:grpSpPr>
              <a:xfrm>
                <a:off x="428384" y="3307885"/>
                <a:ext cx="988875" cy="171554"/>
                <a:chOff x="428384" y="3319125"/>
                <a:chExt cx="988875" cy="171554"/>
              </a:xfrm>
            </p:grpSpPr>
            <p:sp>
              <p:nvSpPr>
                <p:cNvPr id="789" name="Freeform 42">
                  <a:extLst>
                    <a:ext uri="{FF2B5EF4-FFF2-40B4-BE49-F238E27FC236}">
                      <a16:creationId xmlns:a16="http://schemas.microsoft.com/office/drawing/2014/main" id="{8D81D341-2A0B-4E5D-96C0-997D3260E2BF}"/>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90" name="Freeform 43">
                  <a:extLst>
                    <a:ext uri="{FF2B5EF4-FFF2-40B4-BE49-F238E27FC236}">
                      <a16:creationId xmlns:a16="http://schemas.microsoft.com/office/drawing/2014/main" id="{A52DD4D7-0191-41DD-A9CE-97B0E2DFFB57}"/>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91" name="Freeform 44">
                  <a:extLst>
                    <a:ext uri="{FF2B5EF4-FFF2-40B4-BE49-F238E27FC236}">
                      <a16:creationId xmlns:a16="http://schemas.microsoft.com/office/drawing/2014/main" id="{B66E6AB0-F5D7-41FC-9F0B-72C5192164F3}"/>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92" name="Freeform 45">
                  <a:extLst>
                    <a:ext uri="{FF2B5EF4-FFF2-40B4-BE49-F238E27FC236}">
                      <a16:creationId xmlns:a16="http://schemas.microsoft.com/office/drawing/2014/main" id="{BC5498B7-EB5C-40AA-B1C3-17E7AE1A747B}"/>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93" name="Freeform 46">
                  <a:extLst>
                    <a:ext uri="{FF2B5EF4-FFF2-40B4-BE49-F238E27FC236}">
                      <a16:creationId xmlns:a16="http://schemas.microsoft.com/office/drawing/2014/main" id="{D05BE304-3C29-495D-A943-C10268EECBA0}"/>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794" name="Group 793">
                  <a:extLst>
                    <a:ext uri="{FF2B5EF4-FFF2-40B4-BE49-F238E27FC236}">
                      <a16:creationId xmlns:a16="http://schemas.microsoft.com/office/drawing/2014/main" id="{EF34A145-9E36-4E40-9063-DFFA0D138434}"/>
                    </a:ext>
                  </a:extLst>
                </p:cNvPr>
                <p:cNvGrpSpPr/>
                <p:nvPr/>
              </p:nvGrpSpPr>
              <p:grpSpPr>
                <a:xfrm rot="16200000">
                  <a:off x="1194056" y="3224509"/>
                  <a:ext cx="85622" cy="360785"/>
                  <a:chOff x="1267883" y="3923111"/>
                  <a:chExt cx="45719" cy="192649"/>
                </a:xfrm>
                <a:solidFill>
                  <a:schemeClr val="accent2"/>
                </a:solidFill>
              </p:grpSpPr>
              <p:sp>
                <p:nvSpPr>
                  <p:cNvPr id="795" name="Oval 794">
                    <a:extLst>
                      <a:ext uri="{FF2B5EF4-FFF2-40B4-BE49-F238E27FC236}">
                        <a16:creationId xmlns:a16="http://schemas.microsoft.com/office/drawing/2014/main" id="{5A2E3E90-E52F-471B-976A-EDF3485A29F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796" name="Oval 795">
                    <a:extLst>
                      <a:ext uri="{FF2B5EF4-FFF2-40B4-BE49-F238E27FC236}">
                        <a16:creationId xmlns:a16="http://schemas.microsoft.com/office/drawing/2014/main" id="{C806BC67-E264-4FBC-96EB-24B929D3CB9F}"/>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797" name="Oval 796">
                    <a:extLst>
                      <a:ext uri="{FF2B5EF4-FFF2-40B4-BE49-F238E27FC236}">
                        <a16:creationId xmlns:a16="http://schemas.microsoft.com/office/drawing/2014/main" id="{C3C1278A-B69B-4D5B-8DF8-8467CD0EC350}"/>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grpSp>
          <p:nvGrpSpPr>
            <p:cNvPr id="698" name="Group 697">
              <a:extLst>
                <a:ext uri="{FF2B5EF4-FFF2-40B4-BE49-F238E27FC236}">
                  <a16:creationId xmlns:a16="http://schemas.microsoft.com/office/drawing/2014/main" id="{FF95F3D3-94CF-40A6-A39F-5AC86580F5FF}"/>
                </a:ext>
              </a:extLst>
            </p:cNvPr>
            <p:cNvGrpSpPr/>
            <p:nvPr/>
          </p:nvGrpSpPr>
          <p:grpSpPr>
            <a:xfrm>
              <a:off x="3736593" y="3735271"/>
              <a:ext cx="235429" cy="51324"/>
              <a:chOff x="329334" y="3260153"/>
              <a:chExt cx="1224846" cy="267018"/>
            </a:xfrm>
          </p:grpSpPr>
          <p:sp>
            <p:nvSpPr>
              <p:cNvPr id="776" name="Rectangle: Rounded Corners 775">
                <a:extLst>
                  <a:ext uri="{FF2B5EF4-FFF2-40B4-BE49-F238E27FC236}">
                    <a16:creationId xmlns:a16="http://schemas.microsoft.com/office/drawing/2014/main" id="{9D82EE7B-77F7-4901-ACC6-970B19732BE7}"/>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777" name="Group 776">
                <a:extLst>
                  <a:ext uri="{FF2B5EF4-FFF2-40B4-BE49-F238E27FC236}">
                    <a16:creationId xmlns:a16="http://schemas.microsoft.com/office/drawing/2014/main" id="{3A2CBD7A-DE13-4B45-B4DB-A39A16010D87}"/>
                  </a:ext>
                </a:extLst>
              </p:cNvPr>
              <p:cNvGrpSpPr/>
              <p:nvPr/>
            </p:nvGrpSpPr>
            <p:grpSpPr>
              <a:xfrm>
                <a:off x="428384" y="3307885"/>
                <a:ext cx="988875" cy="171554"/>
                <a:chOff x="428384" y="3319125"/>
                <a:chExt cx="988875" cy="171554"/>
              </a:xfrm>
            </p:grpSpPr>
            <p:sp>
              <p:nvSpPr>
                <p:cNvPr id="778" name="Freeform 42">
                  <a:extLst>
                    <a:ext uri="{FF2B5EF4-FFF2-40B4-BE49-F238E27FC236}">
                      <a16:creationId xmlns:a16="http://schemas.microsoft.com/office/drawing/2014/main" id="{EB72925D-BB2D-44C2-80F3-FB66E08C539D}"/>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79" name="Freeform 43">
                  <a:extLst>
                    <a:ext uri="{FF2B5EF4-FFF2-40B4-BE49-F238E27FC236}">
                      <a16:creationId xmlns:a16="http://schemas.microsoft.com/office/drawing/2014/main" id="{3CD4C9A6-18D8-4B86-86DF-8CA09D567E11}"/>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80" name="Freeform 44">
                  <a:extLst>
                    <a:ext uri="{FF2B5EF4-FFF2-40B4-BE49-F238E27FC236}">
                      <a16:creationId xmlns:a16="http://schemas.microsoft.com/office/drawing/2014/main" id="{DD0EDD70-6843-4AAD-B930-16ABBF941568}"/>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81" name="Freeform 45">
                  <a:extLst>
                    <a:ext uri="{FF2B5EF4-FFF2-40B4-BE49-F238E27FC236}">
                      <a16:creationId xmlns:a16="http://schemas.microsoft.com/office/drawing/2014/main" id="{DC86482C-A9B8-40D4-A7F9-578BA8C8FD89}"/>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82" name="Freeform 46">
                  <a:extLst>
                    <a:ext uri="{FF2B5EF4-FFF2-40B4-BE49-F238E27FC236}">
                      <a16:creationId xmlns:a16="http://schemas.microsoft.com/office/drawing/2014/main" id="{15A40E4D-041A-4348-BF35-C77C54512D40}"/>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783" name="Group 782">
                  <a:extLst>
                    <a:ext uri="{FF2B5EF4-FFF2-40B4-BE49-F238E27FC236}">
                      <a16:creationId xmlns:a16="http://schemas.microsoft.com/office/drawing/2014/main" id="{3E2D7512-98DE-4280-A416-AB8D0543C4B5}"/>
                    </a:ext>
                  </a:extLst>
                </p:cNvPr>
                <p:cNvGrpSpPr/>
                <p:nvPr/>
              </p:nvGrpSpPr>
              <p:grpSpPr>
                <a:xfrm rot="16200000">
                  <a:off x="1194056" y="3224509"/>
                  <a:ext cx="85622" cy="360785"/>
                  <a:chOff x="1267883" y="3923111"/>
                  <a:chExt cx="45719" cy="192649"/>
                </a:xfrm>
                <a:solidFill>
                  <a:schemeClr val="accent2"/>
                </a:solidFill>
              </p:grpSpPr>
              <p:sp>
                <p:nvSpPr>
                  <p:cNvPr id="784" name="Oval 783">
                    <a:extLst>
                      <a:ext uri="{FF2B5EF4-FFF2-40B4-BE49-F238E27FC236}">
                        <a16:creationId xmlns:a16="http://schemas.microsoft.com/office/drawing/2014/main" id="{52B1C4C0-92AA-43E0-98D2-4EF5475DCFE9}"/>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785" name="Oval 784">
                    <a:extLst>
                      <a:ext uri="{FF2B5EF4-FFF2-40B4-BE49-F238E27FC236}">
                        <a16:creationId xmlns:a16="http://schemas.microsoft.com/office/drawing/2014/main" id="{6236DE6F-DB42-471F-BB8E-2589C876EE12}"/>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786" name="Oval 785">
                    <a:extLst>
                      <a:ext uri="{FF2B5EF4-FFF2-40B4-BE49-F238E27FC236}">
                        <a16:creationId xmlns:a16="http://schemas.microsoft.com/office/drawing/2014/main" id="{EA6F197E-D62B-4769-BC7F-A4D7611AC3B8}"/>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grpSp>
          <p:nvGrpSpPr>
            <p:cNvPr id="699" name="Group 698">
              <a:extLst>
                <a:ext uri="{FF2B5EF4-FFF2-40B4-BE49-F238E27FC236}">
                  <a16:creationId xmlns:a16="http://schemas.microsoft.com/office/drawing/2014/main" id="{7711D319-6089-4B70-B5FE-8EBF4CC6A412}"/>
                </a:ext>
              </a:extLst>
            </p:cNvPr>
            <p:cNvGrpSpPr/>
            <p:nvPr/>
          </p:nvGrpSpPr>
          <p:grpSpPr>
            <a:xfrm>
              <a:off x="3008945" y="3786595"/>
              <a:ext cx="888494" cy="74760"/>
              <a:chOff x="1025581" y="3246677"/>
              <a:chExt cx="2808308" cy="236298"/>
            </a:xfrm>
          </p:grpSpPr>
          <p:cxnSp>
            <p:nvCxnSpPr>
              <p:cNvPr id="768" name="Straight Connector 767">
                <a:extLst>
                  <a:ext uri="{FF2B5EF4-FFF2-40B4-BE49-F238E27FC236}">
                    <a16:creationId xmlns:a16="http://schemas.microsoft.com/office/drawing/2014/main" id="{9E50A43A-3516-4316-B7D4-8CCA0060D77A}"/>
                  </a:ext>
                </a:extLst>
              </p:cNvPr>
              <p:cNvCxnSpPr>
                <a:cxnSpLocks/>
              </p:cNvCxnSpPr>
              <p:nvPr/>
            </p:nvCxnSpPr>
            <p:spPr>
              <a:xfrm>
                <a:off x="1025581"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69" name="Straight Connector 768">
                <a:extLst>
                  <a:ext uri="{FF2B5EF4-FFF2-40B4-BE49-F238E27FC236}">
                    <a16:creationId xmlns:a16="http://schemas.microsoft.com/office/drawing/2014/main" id="{231D095E-976B-42F3-950A-31E110982E42}"/>
                  </a:ext>
                </a:extLst>
              </p:cNvPr>
              <p:cNvCxnSpPr>
                <a:cxnSpLocks/>
              </p:cNvCxnSpPr>
              <p:nvPr/>
            </p:nvCxnSpPr>
            <p:spPr>
              <a:xfrm>
                <a:off x="130185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70" name="Straight Connector 769">
                <a:extLst>
                  <a:ext uri="{FF2B5EF4-FFF2-40B4-BE49-F238E27FC236}">
                    <a16:creationId xmlns:a16="http://schemas.microsoft.com/office/drawing/2014/main" id="{5FB614F2-102D-4DEA-88D2-FC94F6F03B9F}"/>
                  </a:ext>
                </a:extLst>
              </p:cNvPr>
              <p:cNvCxnSpPr>
                <a:cxnSpLocks/>
              </p:cNvCxnSpPr>
              <p:nvPr/>
            </p:nvCxnSpPr>
            <p:spPr>
              <a:xfrm>
                <a:off x="1863873"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71" name="Straight Connector 770">
                <a:extLst>
                  <a:ext uri="{FF2B5EF4-FFF2-40B4-BE49-F238E27FC236}">
                    <a16:creationId xmlns:a16="http://schemas.microsoft.com/office/drawing/2014/main" id="{1347E30B-FD4D-4558-87EF-7A95ED39D291}"/>
                  </a:ext>
                </a:extLst>
              </p:cNvPr>
              <p:cNvCxnSpPr>
                <a:cxnSpLocks/>
              </p:cNvCxnSpPr>
              <p:nvPr/>
            </p:nvCxnSpPr>
            <p:spPr>
              <a:xfrm>
                <a:off x="2140147"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72" name="Straight Connector 771">
                <a:extLst>
                  <a:ext uri="{FF2B5EF4-FFF2-40B4-BE49-F238E27FC236}">
                    <a16:creationId xmlns:a16="http://schemas.microsoft.com/office/drawing/2014/main" id="{6C9AA198-03F7-4BF6-AE9A-F22B1D536C3B}"/>
                  </a:ext>
                </a:extLst>
              </p:cNvPr>
              <p:cNvCxnSpPr>
                <a:cxnSpLocks/>
              </p:cNvCxnSpPr>
              <p:nvPr/>
            </p:nvCxnSpPr>
            <p:spPr>
              <a:xfrm>
                <a:off x="2719796"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73" name="Straight Connector 772">
                <a:extLst>
                  <a:ext uri="{FF2B5EF4-FFF2-40B4-BE49-F238E27FC236}">
                    <a16:creationId xmlns:a16="http://schemas.microsoft.com/office/drawing/2014/main" id="{DCBD2054-764C-4BC1-8EFE-10510038747F}"/>
                  </a:ext>
                </a:extLst>
              </p:cNvPr>
              <p:cNvCxnSpPr>
                <a:cxnSpLocks/>
              </p:cNvCxnSpPr>
              <p:nvPr/>
            </p:nvCxnSpPr>
            <p:spPr>
              <a:xfrm>
                <a:off x="2996070"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74" name="Straight Connector 773">
                <a:extLst>
                  <a:ext uri="{FF2B5EF4-FFF2-40B4-BE49-F238E27FC236}">
                    <a16:creationId xmlns:a16="http://schemas.microsoft.com/office/drawing/2014/main" id="{74F71F20-C717-4581-92DA-8FBFE2419FD6}"/>
                  </a:ext>
                </a:extLst>
              </p:cNvPr>
              <p:cNvCxnSpPr>
                <a:cxnSpLocks/>
              </p:cNvCxnSpPr>
              <p:nvPr/>
            </p:nvCxnSpPr>
            <p:spPr>
              <a:xfrm>
                <a:off x="355761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75" name="Straight Connector 774">
                <a:extLst>
                  <a:ext uri="{FF2B5EF4-FFF2-40B4-BE49-F238E27FC236}">
                    <a16:creationId xmlns:a16="http://schemas.microsoft.com/office/drawing/2014/main" id="{46557730-B346-46DA-9767-584BD64763E9}"/>
                  </a:ext>
                </a:extLst>
              </p:cNvPr>
              <p:cNvCxnSpPr>
                <a:cxnSpLocks/>
              </p:cNvCxnSpPr>
              <p:nvPr/>
            </p:nvCxnSpPr>
            <p:spPr>
              <a:xfrm>
                <a:off x="3833889"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700" name="Group 699">
              <a:extLst>
                <a:ext uri="{FF2B5EF4-FFF2-40B4-BE49-F238E27FC236}">
                  <a16:creationId xmlns:a16="http://schemas.microsoft.com/office/drawing/2014/main" id="{0EE397BC-0899-4AB1-A573-97B709E02C6F}"/>
                </a:ext>
              </a:extLst>
            </p:cNvPr>
            <p:cNvGrpSpPr/>
            <p:nvPr/>
          </p:nvGrpSpPr>
          <p:grpSpPr>
            <a:xfrm>
              <a:off x="2967800" y="3856637"/>
              <a:ext cx="167474" cy="152028"/>
              <a:chOff x="530596" y="3493006"/>
              <a:chExt cx="294146" cy="267018"/>
            </a:xfrm>
          </p:grpSpPr>
          <p:grpSp>
            <p:nvGrpSpPr>
              <p:cNvPr id="752" name="Group 751">
                <a:extLst>
                  <a:ext uri="{FF2B5EF4-FFF2-40B4-BE49-F238E27FC236}">
                    <a16:creationId xmlns:a16="http://schemas.microsoft.com/office/drawing/2014/main" id="{DA7373CF-5108-4425-BD79-678E7E28E6EB}"/>
                  </a:ext>
                </a:extLst>
              </p:cNvPr>
              <p:cNvGrpSpPr/>
              <p:nvPr/>
            </p:nvGrpSpPr>
            <p:grpSpPr>
              <a:xfrm>
                <a:off x="684848" y="3493006"/>
                <a:ext cx="139894" cy="267018"/>
                <a:chOff x="530145" y="2847566"/>
                <a:chExt cx="193208" cy="368779"/>
              </a:xfrm>
            </p:grpSpPr>
            <p:sp>
              <p:nvSpPr>
                <p:cNvPr id="761" name="Freeform 411">
                  <a:extLst>
                    <a:ext uri="{FF2B5EF4-FFF2-40B4-BE49-F238E27FC236}">
                      <a16:creationId xmlns:a16="http://schemas.microsoft.com/office/drawing/2014/main" id="{2F7E5B7F-3679-4C5C-AA97-D3B548F01B1E}"/>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62" name="Freeform 412">
                  <a:extLst>
                    <a:ext uri="{FF2B5EF4-FFF2-40B4-BE49-F238E27FC236}">
                      <a16:creationId xmlns:a16="http://schemas.microsoft.com/office/drawing/2014/main" id="{F036C275-F93D-4C09-A89B-64A2035BCAC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63" name="Freeform 413">
                  <a:extLst>
                    <a:ext uri="{FF2B5EF4-FFF2-40B4-BE49-F238E27FC236}">
                      <a16:creationId xmlns:a16="http://schemas.microsoft.com/office/drawing/2014/main" id="{333F420C-048E-4694-A99A-E4EF67833E3B}"/>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64" name="Freeform 414">
                  <a:extLst>
                    <a:ext uri="{FF2B5EF4-FFF2-40B4-BE49-F238E27FC236}">
                      <a16:creationId xmlns:a16="http://schemas.microsoft.com/office/drawing/2014/main" id="{273A8958-B9C8-4692-946C-E26FCC043A38}"/>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65" name="Freeform 415">
                  <a:extLst>
                    <a:ext uri="{FF2B5EF4-FFF2-40B4-BE49-F238E27FC236}">
                      <a16:creationId xmlns:a16="http://schemas.microsoft.com/office/drawing/2014/main" id="{34D69FE8-B349-4419-8A0B-DBB83DD8F75F}"/>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66" name="Freeform 416">
                  <a:extLst>
                    <a:ext uri="{FF2B5EF4-FFF2-40B4-BE49-F238E27FC236}">
                      <a16:creationId xmlns:a16="http://schemas.microsoft.com/office/drawing/2014/main" id="{2D87D0F5-EC64-4215-A56D-DE8832CCC5C1}"/>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67" name="Freeform 416">
                  <a:extLst>
                    <a:ext uri="{FF2B5EF4-FFF2-40B4-BE49-F238E27FC236}">
                      <a16:creationId xmlns:a16="http://schemas.microsoft.com/office/drawing/2014/main" id="{537162D6-DAE8-4D19-B426-39F3724AD6B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753" name="Group 752">
                <a:extLst>
                  <a:ext uri="{FF2B5EF4-FFF2-40B4-BE49-F238E27FC236}">
                    <a16:creationId xmlns:a16="http://schemas.microsoft.com/office/drawing/2014/main" id="{93C559A3-BD2F-44DB-9F87-E9B1DEDE4F63}"/>
                  </a:ext>
                </a:extLst>
              </p:cNvPr>
              <p:cNvGrpSpPr/>
              <p:nvPr/>
            </p:nvGrpSpPr>
            <p:grpSpPr>
              <a:xfrm>
                <a:off x="530596" y="3493006"/>
                <a:ext cx="139894" cy="267018"/>
                <a:chOff x="530145" y="2847566"/>
                <a:chExt cx="193208" cy="368779"/>
              </a:xfrm>
            </p:grpSpPr>
            <p:sp>
              <p:nvSpPr>
                <p:cNvPr id="754" name="Freeform 411">
                  <a:extLst>
                    <a:ext uri="{FF2B5EF4-FFF2-40B4-BE49-F238E27FC236}">
                      <a16:creationId xmlns:a16="http://schemas.microsoft.com/office/drawing/2014/main" id="{CDCE95D1-B754-4314-9620-069F88098025}"/>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55" name="Freeform 412">
                  <a:extLst>
                    <a:ext uri="{FF2B5EF4-FFF2-40B4-BE49-F238E27FC236}">
                      <a16:creationId xmlns:a16="http://schemas.microsoft.com/office/drawing/2014/main" id="{DE35B59A-2745-4BFC-A20A-525876E331B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56" name="Freeform 413">
                  <a:extLst>
                    <a:ext uri="{FF2B5EF4-FFF2-40B4-BE49-F238E27FC236}">
                      <a16:creationId xmlns:a16="http://schemas.microsoft.com/office/drawing/2014/main" id="{2F23D07A-2E66-4F02-9DF4-80F7880E639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57" name="Freeform 414">
                  <a:extLst>
                    <a:ext uri="{FF2B5EF4-FFF2-40B4-BE49-F238E27FC236}">
                      <a16:creationId xmlns:a16="http://schemas.microsoft.com/office/drawing/2014/main" id="{C01B7B7E-08B2-44D6-B390-0575A7774601}"/>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58" name="Freeform 415">
                  <a:extLst>
                    <a:ext uri="{FF2B5EF4-FFF2-40B4-BE49-F238E27FC236}">
                      <a16:creationId xmlns:a16="http://schemas.microsoft.com/office/drawing/2014/main" id="{998F6A4D-846A-46D9-AF96-E2E0FC8BC39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59" name="Freeform 416">
                  <a:extLst>
                    <a:ext uri="{FF2B5EF4-FFF2-40B4-BE49-F238E27FC236}">
                      <a16:creationId xmlns:a16="http://schemas.microsoft.com/office/drawing/2014/main" id="{BC1C21AD-3FDA-4156-B3C1-7035DFF4AF74}"/>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60" name="Freeform 416">
                  <a:extLst>
                    <a:ext uri="{FF2B5EF4-FFF2-40B4-BE49-F238E27FC236}">
                      <a16:creationId xmlns:a16="http://schemas.microsoft.com/office/drawing/2014/main" id="{E791F53E-215E-4863-B7F1-235E0AF2F97F}"/>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nvGrpSpPr>
            <p:cNvPr id="701" name="Group 700">
              <a:extLst>
                <a:ext uri="{FF2B5EF4-FFF2-40B4-BE49-F238E27FC236}">
                  <a16:creationId xmlns:a16="http://schemas.microsoft.com/office/drawing/2014/main" id="{AC9F5061-FBEE-4442-B9D5-823CF0C977AB}"/>
                </a:ext>
              </a:extLst>
            </p:cNvPr>
            <p:cNvGrpSpPr/>
            <p:nvPr/>
          </p:nvGrpSpPr>
          <p:grpSpPr>
            <a:xfrm>
              <a:off x="3234560" y="3856637"/>
              <a:ext cx="167474" cy="152028"/>
              <a:chOff x="530596" y="3493006"/>
              <a:chExt cx="294146" cy="267018"/>
            </a:xfrm>
          </p:grpSpPr>
          <p:grpSp>
            <p:nvGrpSpPr>
              <p:cNvPr id="736" name="Group 735">
                <a:extLst>
                  <a:ext uri="{FF2B5EF4-FFF2-40B4-BE49-F238E27FC236}">
                    <a16:creationId xmlns:a16="http://schemas.microsoft.com/office/drawing/2014/main" id="{265DC72F-21DA-4BE4-87BB-70F8FD4E48CC}"/>
                  </a:ext>
                </a:extLst>
              </p:cNvPr>
              <p:cNvGrpSpPr/>
              <p:nvPr/>
            </p:nvGrpSpPr>
            <p:grpSpPr>
              <a:xfrm>
                <a:off x="684848" y="3493006"/>
                <a:ext cx="139894" cy="267018"/>
                <a:chOff x="530145" y="2847566"/>
                <a:chExt cx="193208" cy="368779"/>
              </a:xfrm>
            </p:grpSpPr>
            <p:sp>
              <p:nvSpPr>
                <p:cNvPr id="745" name="Freeform 411">
                  <a:extLst>
                    <a:ext uri="{FF2B5EF4-FFF2-40B4-BE49-F238E27FC236}">
                      <a16:creationId xmlns:a16="http://schemas.microsoft.com/office/drawing/2014/main" id="{A4200FDF-C447-415E-A2CE-947C8B8987F9}"/>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46" name="Freeform 412">
                  <a:extLst>
                    <a:ext uri="{FF2B5EF4-FFF2-40B4-BE49-F238E27FC236}">
                      <a16:creationId xmlns:a16="http://schemas.microsoft.com/office/drawing/2014/main" id="{4DB03177-8EFE-4551-9022-701E919F0A90}"/>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47" name="Freeform 413">
                  <a:extLst>
                    <a:ext uri="{FF2B5EF4-FFF2-40B4-BE49-F238E27FC236}">
                      <a16:creationId xmlns:a16="http://schemas.microsoft.com/office/drawing/2014/main" id="{619C1A56-DB99-4F89-B6AD-677AEF6A8BB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48" name="Freeform 414">
                  <a:extLst>
                    <a:ext uri="{FF2B5EF4-FFF2-40B4-BE49-F238E27FC236}">
                      <a16:creationId xmlns:a16="http://schemas.microsoft.com/office/drawing/2014/main" id="{A89B234F-DAC5-41A9-98B5-844F031E5FE7}"/>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49" name="Freeform 415">
                  <a:extLst>
                    <a:ext uri="{FF2B5EF4-FFF2-40B4-BE49-F238E27FC236}">
                      <a16:creationId xmlns:a16="http://schemas.microsoft.com/office/drawing/2014/main" id="{7CA26279-15F3-411D-B7EB-99116BB827D4}"/>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50" name="Freeform 416">
                  <a:extLst>
                    <a:ext uri="{FF2B5EF4-FFF2-40B4-BE49-F238E27FC236}">
                      <a16:creationId xmlns:a16="http://schemas.microsoft.com/office/drawing/2014/main" id="{73CAB31F-50DE-4D5E-AB19-4FEE791A54BC}"/>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51" name="Freeform 416">
                  <a:extLst>
                    <a:ext uri="{FF2B5EF4-FFF2-40B4-BE49-F238E27FC236}">
                      <a16:creationId xmlns:a16="http://schemas.microsoft.com/office/drawing/2014/main" id="{21BF9DEA-9548-4C39-8B22-4C1C77FECE9F}"/>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737" name="Group 736">
                <a:extLst>
                  <a:ext uri="{FF2B5EF4-FFF2-40B4-BE49-F238E27FC236}">
                    <a16:creationId xmlns:a16="http://schemas.microsoft.com/office/drawing/2014/main" id="{41CE8A93-E3BB-4F94-9ECD-FEFFE13774C5}"/>
                  </a:ext>
                </a:extLst>
              </p:cNvPr>
              <p:cNvGrpSpPr/>
              <p:nvPr/>
            </p:nvGrpSpPr>
            <p:grpSpPr>
              <a:xfrm>
                <a:off x="530596" y="3493006"/>
                <a:ext cx="139894" cy="267018"/>
                <a:chOff x="530145" y="2847566"/>
                <a:chExt cx="193208" cy="368779"/>
              </a:xfrm>
            </p:grpSpPr>
            <p:sp>
              <p:nvSpPr>
                <p:cNvPr id="738" name="Freeform 411">
                  <a:extLst>
                    <a:ext uri="{FF2B5EF4-FFF2-40B4-BE49-F238E27FC236}">
                      <a16:creationId xmlns:a16="http://schemas.microsoft.com/office/drawing/2014/main" id="{1C5CF606-FE04-425B-AE01-F3E5D7ACB27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39" name="Freeform 412">
                  <a:extLst>
                    <a:ext uri="{FF2B5EF4-FFF2-40B4-BE49-F238E27FC236}">
                      <a16:creationId xmlns:a16="http://schemas.microsoft.com/office/drawing/2014/main" id="{6D6132F8-6691-4D13-BEB8-0979098C87A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40" name="Freeform 413">
                  <a:extLst>
                    <a:ext uri="{FF2B5EF4-FFF2-40B4-BE49-F238E27FC236}">
                      <a16:creationId xmlns:a16="http://schemas.microsoft.com/office/drawing/2014/main" id="{00413B27-1803-4666-A8EB-DEFDCDBFA102}"/>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41" name="Freeform 414">
                  <a:extLst>
                    <a:ext uri="{FF2B5EF4-FFF2-40B4-BE49-F238E27FC236}">
                      <a16:creationId xmlns:a16="http://schemas.microsoft.com/office/drawing/2014/main" id="{3B4DA25B-24B1-41E7-8CF7-FD91E19677A0}"/>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42" name="Freeform 415">
                  <a:extLst>
                    <a:ext uri="{FF2B5EF4-FFF2-40B4-BE49-F238E27FC236}">
                      <a16:creationId xmlns:a16="http://schemas.microsoft.com/office/drawing/2014/main" id="{8AD61D16-B853-4039-AA0D-EDE1CBD667D1}"/>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43" name="Freeform 416">
                  <a:extLst>
                    <a:ext uri="{FF2B5EF4-FFF2-40B4-BE49-F238E27FC236}">
                      <a16:creationId xmlns:a16="http://schemas.microsoft.com/office/drawing/2014/main" id="{79A63188-9C37-4F9E-B29E-CB0F8B91E96D}"/>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44" name="Freeform 416">
                  <a:extLst>
                    <a:ext uri="{FF2B5EF4-FFF2-40B4-BE49-F238E27FC236}">
                      <a16:creationId xmlns:a16="http://schemas.microsoft.com/office/drawing/2014/main" id="{CC125CBC-A0E2-49BE-B02F-6F20AAC1DF6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nvGrpSpPr>
            <p:cNvPr id="702" name="Group 701">
              <a:extLst>
                <a:ext uri="{FF2B5EF4-FFF2-40B4-BE49-F238E27FC236}">
                  <a16:creationId xmlns:a16="http://schemas.microsoft.com/office/drawing/2014/main" id="{0ECF8B70-9D31-44B4-865F-13903F0D2122}"/>
                </a:ext>
              </a:extLst>
            </p:cNvPr>
            <p:cNvGrpSpPr/>
            <p:nvPr/>
          </p:nvGrpSpPr>
          <p:grpSpPr>
            <a:xfrm>
              <a:off x="3505137" y="3856637"/>
              <a:ext cx="167474" cy="152028"/>
              <a:chOff x="530596" y="3493006"/>
              <a:chExt cx="294146" cy="267018"/>
            </a:xfrm>
          </p:grpSpPr>
          <p:grpSp>
            <p:nvGrpSpPr>
              <p:cNvPr id="720" name="Group 719">
                <a:extLst>
                  <a:ext uri="{FF2B5EF4-FFF2-40B4-BE49-F238E27FC236}">
                    <a16:creationId xmlns:a16="http://schemas.microsoft.com/office/drawing/2014/main" id="{9735BDE0-1454-4548-B652-AD8DDBBFD913}"/>
                  </a:ext>
                </a:extLst>
              </p:cNvPr>
              <p:cNvGrpSpPr/>
              <p:nvPr/>
            </p:nvGrpSpPr>
            <p:grpSpPr>
              <a:xfrm>
                <a:off x="684848" y="3493006"/>
                <a:ext cx="139894" cy="267018"/>
                <a:chOff x="530145" y="2847566"/>
                <a:chExt cx="193208" cy="368779"/>
              </a:xfrm>
            </p:grpSpPr>
            <p:sp>
              <p:nvSpPr>
                <p:cNvPr id="729" name="Freeform 411">
                  <a:extLst>
                    <a:ext uri="{FF2B5EF4-FFF2-40B4-BE49-F238E27FC236}">
                      <a16:creationId xmlns:a16="http://schemas.microsoft.com/office/drawing/2014/main" id="{3A829711-F8A6-4576-BF48-3EA8C589DA6E}"/>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30" name="Freeform 412">
                  <a:extLst>
                    <a:ext uri="{FF2B5EF4-FFF2-40B4-BE49-F238E27FC236}">
                      <a16:creationId xmlns:a16="http://schemas.microsoft.com/office/drawing/2014/main" id="{BF913F67-7CB8-4DD2-A50D-7BB71D08E77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31" name="Freeform 413">
                  <a:extLst>
                    <a:ext uri="{FF2B5EF4-FFF2-40B4-BE49-F238E27FC236}">
                      <a16:creationId xmlns:a16="http://schemas.microsoft.com/office/drawing/2014/main" id="{423E0454-DCC1-4A3C-8AEE-38A111FCCA7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32" name="Freeform 414">
                  <a:extLst>
                    <a:ext uri="{FF2B5EF4-FFF2-40B4-BE49-F238E27FC236}">
                      <a16:creationId xmlns:a16="http://schemas.microsoft.com/office/drawing/2014/main" id="{2407F009-2E29-4EF9-B758-09DBCCD999F8}"/>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33" name="Freeform 415">
                  <a:extLst>
                    <a:ext uri="{FF2B5EF4-FFF2-40B4-BE49-F238E27FC236}">
                      <a16:creationId xmlns:a16="http://schemas.microsoft.com/office/drawing/2014/main" id="{7C161008-F954-4224-AF83-057C599B27D1}"/>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34" name="Freeform 416">
                  <a:extLst>
                    <a:ext uri="{FF2B5EF4-FFF2-40B4-BE49-F238E27FC236}">
                      <a16:creationId xmlns:a16="http://schemas.microsoft.com/office/drawing/2014/main" id="{D34B4C1D-F58A-4E68-89E3-33610185D4AE}"/>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35" name="Freeform 416">
                  <a:extLst>
                    <a:ext uri="{FF2B5EF4-FFF2-40B4-BE49-F238E27FC236}">
                      <a16:creationId xmlns:a16="http://schemas.microsoft.com/office/drawing/2014/main" id="{A23CFF0E-0F6B-423A-8D1D-7BC1BF4C7FC9}"/>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721" name="Group 720">
                <a:extLst>
                  <a:ext uri="{FF2B5EF4-FFF2-40B4-BE49-F238E27FC236}">
                    <a16:creationId xmlns:a16="http://schemas.microsoft.com/office/drawing/2014/main" id="{8C979BBB-3758-4E43-8D2A-CB70976DAB45}"/>
                  </a:ext>
                </a:extLst>
              </p:cNvPr>
              <p:cNvGrpSpPr/>
              <p:nvPr/>
            </p:nvGrpSpPr>
            <p:grpSpPr>
              <a:xfrm>
                <a:off x="530596" y="3493006"/>
                <a:ext cx="139894" cy="267018"/>
                <a:chOff x="530145" y="2847566"/>
                <a:chExt cx="193208" cy="368779"/>
              </a:xfrm>
            </p:grpSpPr>
            <p:sp>
              <p:nvSpPr>
                <p:cNvPr id="722" name="Freeform 411">
                  <a:extLst>
                    <a:ext uri="{FF2B5EF4-FFF2-40B4-BE49-F238E27FC236}">
                      <a16:creationId xmlns:a16="http://schemas.microsoft.com/office/drawing/2014/main" id="{552CE698-1F89-4A67-9C4A-A15E7DB38CAE}"/>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23" name="Freeform 412">
                  <a:extLst>
                    <a:ext uri="{FF2B5EF4-FFF2-40B4-BE49-F238E27FC236}">
                      <a16:creationId xmlns:a16="http://schemas.microsoft.com/office/drawing/2014/main" id="{3D2092E9-0101-4C11-92E2-ABB2018E8FEB}"/>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24" name="Freeform 413">
                  <a:extLst>
                    <a:ext uri="{FF2B5EF4-FFF2-40B4-BE49-F238E27FC236}">
                      <a16:creationId xmlns:a16="http://schemas.microsoft.com/office/drawing/2014/main" id="{8B6EB125-066A-4F59-8AF9-83B95A58E96A}"/>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25" name="Freeform 414">
                  <a:extLst>
                    <a:ext uri="{FF2B5EF4-FFF2-40B4-BE49-F238E27FC236}">
                      <a16:creationId xmlns:a16="http://schemas.microsoft.com/office/drawing/2014/main" id="{E2A0ECBE-DCEC-46C7-9EF7-DE53B12ABBDC}"/>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26" name="Freeform 415">
                  <a:extLst>
                    <a:ext uri="{FF2B5EF4-FFF2-40B4-BE49-F238E27FC236}">
                      <a16:creationId xmlns:a16="http://schemas.microsoft.com/office/drawing/2014/main" id="{4F594D22-2A25-4FE1-89A7-4B9C34A40A4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27" name="Freeform 416">
                  <a:extLst>
                    <a:ext uri="{FF2B5EF4-FFF2-40B4-BE49-F238E27FC236}">
                      <a16:creationId xmlns:a16="http://schemas.microsoft.com/office/drawing/2014/main" id="{2B18118A-0536-459E-82A6-C3EBA216058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28" name="Freeform 416">
                  <a:extLst>
                    <a:ext uri="{FF2B5EF4-FFF2-40B4-BE49-F238E27FC236}">
                      <a16:creationId xmlns:a16="http://schemas.microsoft.com/office/drawing/2014/main" id="{D738BCB8-CB54-4404-90E1-E6BFBF019B56}"/>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nvGrpSpPr>
            <p:cNvPr id="703" name="Group 702">
              <a:extLst>
                <a:ext uri="{FF2B5EF4-FFF2-40B4-BE49-F238E27FC236}">
                  <a16:creationId xmlns:a16="http://schemas.microsoft.com/office/drawing/2014/main" id="{65EB059F-59ED-47EF-A65A-1942863311AA}"/>
                </a:ext>
              </a:extLst>
            </p:cNvPr>
            <p:cNvGrpSpPr/>
            <p:nvPr/>
          </p:nvGrpSpPr>
          <p:grpSpPr>
            <a:xfrm>
              <a:off x="3768987" y="3856637"/>
              <a:ext cx="167474" cy="152028"/>
              <a:chOff x="530596" y="3493006"/>
              <a:chExt cx="294146" cy="267018"/>
            </a:xfrm>
          </p:grpSpPr>
          <p:grpSp>
            <p:nvGrpSpPr>
              <p:cNvPr id="704" name="Group 703">
                <a:extLst>
                  <a:ext uri="{FF2B5EF4-FFF2-40B4-BE49-F238E27FC236}">
                    <a16:creationId xmlns:a16="http://schemas.microsoft.com/office/drawing/2014/main" id="{8DC51F44-44BB-4148-A354-893ECBCB4F9E}"/>
                  </a:ext>
                </a:extLst>
              </p:cNvPr>
              <p:cNvGrpSpPr/>
              <p:nvPr/>
            </p:nvGrpSpPr>
            <p:grpSpPr>
              <a:xfrm>
                <a:off x="684848" y="3493006"/>
                <a:ext cx="139894" cy="267018"/>
                <a:chOff x="530145" y="2847566"/>
                <a:chExt cx="193208" cy="368779"/>
              </a:xfrm>
            </p:grpSpPr>
            <p:sp>
              <p:nvSpPr>
                <p:cNvPr id="713" name="Freeform 411">
                  <a:extLst>
                    <a:ext uri="{FF2B5EF4-FFF2-40B4-BE49-F238E27FC236}">
                      <a16:creationId xmlns:a16="http://schemas.microsoft.com/office/drawing/2014/main" id="{C2EFDF93-B5DF-45F2-B987-7A2A894B9FB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14" name="Freeform 412">
                  <a:extLst>
                    <a:ext uri="{FF2B5EF4-FFF2-40B4-BE49-F238E27FC236}">
                      <a16:creationId xmlns:a16="http://schemas.microsoft.com/office/drawing/2014/main" id="{04039587-7A7E-4B32-B635-DCF9946353C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15" name="Freeform 413">
                  <a:extLst>
                    <a:ext uri="{FF2B5EF4-FFF2-40B4-BE49-F238E27FC236}">
                      <a16:creationId xmlns:a16="http://schemas.microsoft.com/office/drawing/2014/main" id="{C4162D09-8D3B-473C-9C7F-8164AB851C1E}"/>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16" name="Freeform 414">
                  <a:extLst>
                    <a:ext uri="{FF2B5EF4-FFF2-40B4-BE49-F238E27FC236}">
                      <a16:creationId xmlns:a16="http://schemas.microsoft.com/office/drawing/2014/main" id="{DFFAED5C-32CB-4954-9C1E-33520E9E677F}"/>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17" name="Freeform 415">
                  <a:extLst>
                    <a:ext uri="{FF2B5EF4-FFF2-40B4-BE49-F238E27FC236}">
                      <a16:creationId xmlns:a16="http://schemas.microsoft.com/office/drawing/2014/main" id="{D933A77D-7DAF-49ED-9192-DC1B5905FB0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18" name="Freeform 416">
                  <a:extLst>
                    <a:ext uri="{FF2B5EF4-FFF2-40B4-BE49-F238E27FC236}">
                      <a16:creationId xmlns:a16="http://schemas.microsoft.com/office/drawing/2014/main" id="{49288801-F06C-4D62-98F8-16773CFC4FA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19" name="Freeform 416">
                  <a:extLst>
                    <a:ext uri="{FF2B5EF4-FFF2-40B4-BE49-F238E27FC236}">
                      <a16:creationId xmlns:a16="http://schemas.microsoft.com/office/drawing/2014/main" id="{9FF76B1A-9B46-46DC-9B50-6CF52C98213C}"/>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705" name="Group 704">
                <a:extLst>
                  <a:ext uri="{FF2B5EF4-FFF2-40B4-BE49-F238E27FC236}">
                    <a16:creationId xmlns:a16="http://schemas.microsoft.com/office/drawing/2014/main" id="{27C053FE-0BB5-4593-8D4A-158197D449FB}"/>
                  </a:ext>
                </a:extLst>
              </p:cNvPr>
              <p:cNvGrpSpPr/>
              <p:nvPr/>
            </p:nvGrpSpPr>
            <p:grpSpPr>
              <a:xfrm>
                <a:off x="530596" y="3493006"/>
                <a:ext cx="139894" cy="267018"/>
                <a:chOff x="530145" y="2847566"/>
                <a:chExt cx="193208" cy="368779"/>
              </a:xfrm>
            </p:grpSpPr>
            <p:sp>
              <p:nvSpPr>
                <p:cNvPr id="706" name="Freeform 411">
                  <a:extLst>
                    <a:ext uri="{FF2B5EF4-FFF2-40B4-BE49-F238E27FC236}">
                      <a16:creationId xmlns:a16="http://schemas.microsoft.com/office/drawing/2014/main" id="{BFC0D0C2-6CA4-4386-94BA-5C3C76CE0776}"/>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07" name="Freeform 412">
                  <a:extLst>
                    <a:ext uri="{FF2B5EF4-FFF2-40B4-BE49-F238E27FC236}">
                      <a16:creationId xmlns:a16="http://schemas.microsoft.com/office/drawing/2014/main" id="{4A77D784-6741-4532-996F-567ED5092C1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08" name="Freeform 413">
                  <a:extLst>
                    <a:ext uri="{FF2B5EF4-FFF2-40B4-BE49-F238E27FC236}">
                      <a16:creationId xmlns:a16="http://schemas.microsoft.com/office/drawing/2014/main" id="{4A334714-0FBC-4C40-8B5B-D382E5C00151}"/>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09" name="Freeform 414">
                  <a:extLst>
                    <a:ext uri="{FF2B5EF4-FFF2-40B4-BE49-F238E27FC236}">
                      <a16:creationId xmlns:a16="http://schemas.microsoft.com/office/drawing/2014/main" id="{C2BB6BA2-1692-42CD-B71F-EA73A6F7F17F}"/>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10" name="Freeform 415">
                  <a:extLst>
                    <a:ext uri="{FF2B5EF4-FFF2-40B4-BE49-F238E27FC236}">
                      <a16:creationId xmlns:a16="http://schemas.microsoft.com/office/drawing/2014/main" id="{5BEDAE9C-B8E7-4B25-94A2-6639F0D72F0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11" name="Freeform 416">
                  <a:extLst>
                    <a:ext uri="{FF2B5EF4-FFF2-40B4-BE49-F238E27FC236}">
                      <a16:creationId xmlns:a16="http://schemas.microsoft.com/office/drawing/2014/main" id="{86669B5C-9A11-44ED-B244-C00C1F429BA2}"/>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712" name="Freeform 416">
                  <a:extLst>
                    <a:ext uri="{FF2B5EF4-FFF2-40B4-BE49-F238E27FC236}">
                      <a16:creationId xmlns:a16="http://schemas.microsoft.com/office/drawing/2014/main" id="{7DD374B9-0989-47B9-92F7-32E533AEEAAF}"/>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grpSp>
        <p:nvGrpSpPr>
          <p:cNvPr id="1161" name="Group 1160">
            <a:extLst>
              <a:ext uri="{FF2B5EF4-FFF2-40B4-BE49-F238E27FC236}">
                <a16:creationId xmlns:a16="http://schemas.microsoft.com/office/drawing/2014/main" id="{802DB966-9726-4057-ADE7-3E76E940A755}"/>
              </a:ext>
            </a:extLst>
          </p:cNvPr>
          <p:cNvGrpSpPr/>
          <p:nvPr/>
        </p:nvGrpSpPr>
        <p:grpSpPr>
          <a:xfrm>
            <a:off x="1073249" y="3202715"/>
            <a:ext cx="793026" cy="815622"/>
            <a:chOff x="1108126" y="3057862"/>
            <a:chExt cx="1040453" cy="1154411"/>
          </a:xfrm>
        </p:grpSpPr>
        <p:cxnSp>
          <p:nvCxnSpPr>
            <p:cNvPr id="1163" name="Straight Connector 1162">
              <a:extLst>
                <a:ext uri="{FF2B5EF4-FFF2-40B4-BE49-F238E27FC236}">
                  <a16:creationId xmlns:a16="http://schemas.microsoft.com/office/drawing/2014/main" id="{B5E27685-2E24-45D5-8651-9442AD0BA84C}"/>
                </a:ext>
              </a:extLst>
            </p:cNvPr>
            <p:cNvCxnSpPr>
              <a:stCxn id="1191" idx="2"/>
              <a:endCxn id="1239" idx="0"/>
            </p:cNvCxnSpPr>
            <p:nvPr/>
          </p:nvCxnSpPr>
          <p:spPr>
            <a:xfrm flipH="1">
              <a:off x="1351390" y="3502968"/>
              <a:ext cx="89686" cy="144321"/>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994E9CCD-B64D-46B5-93B2-0A8AD01BD03F}"/>
                </a:ext>
              </a:extLst>
            </p:cNvPr>
            <p:cNvCxnSpPr>
              <a:stCxn id="1191" idx="2"/>
              <a:endCxn id="1228" idx="0"/>
            </p:cNvCxnSpPr>
            <p:nvPr/>
          </p:nvCxnSpPr>
          <p:spPr>
            <a:xfrm>
              <a:off x="1441075" y="3502968"/>
              <a:ext cx="464239" cy="144321"/>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65" name="Straight Connector 1164">
              <a:extLst>
                <a:ext uri="{FF2B5EF4-FFF2-40B4-BE49-F238E27FC236}">
                  <a16:creationId xmlns:a16="http://schemas.microsoft.com/office/drawing/2014/main" id="{A99D6B1A-2717-490F-B855-C7E67E6BD28E}"/>
                </a:ext>
              </a:extLst>
            </p:cNvPr>
            <p:cNvCxnSpPr>
              <a:endCxn id="1239" idx="0"/>
            </p:cNvCxnSpPr>
            <p:nvPr/>
          </p:nvCxnSpPr>
          <p:spPr>
            <a:xfrm flipH="1">
              <a:off x="1351390" y="3519402"/>
              <a:ext cx="468710" cy="127887"/>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66" name="Straight Connector 1165">
              <a:extLst>
                <a:ext uri="{FF2B5EF4-FFF2-40B4-BE49-F238E27FC236}">
                  <a16:creationId xmlns:a16="http://schemas.microsoft.com/office/drawing/2014/main" id="{05DCBEB7-CE72-4B29-925E-73A1978A5969}"/>
                </a:ext>
              </a:extLst>
            </p:cNvPr>
            <p:cNvCxnSpPr>
              <a:cxnSpLocks/>
              <a:stCxn id="1185" idx="2"/>
              <a:endCxn id="1228" idx="0"/>
            </p:cNvCxnSpPr>
            <p:nvPr/>
          </p:nvCxnSpPr>
          <p:spPr>
            <a:xfrm>
              <a:off x="1822560" y="3502968"/>
              <a:ext cx="82754" cy="144321"/>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167" name="Group 1166">
              <a:extLst>
                <a:ext uri="{FF2B5EF4-FFF2-40B4-BE49-F238E27FC236}">
                  <a16:creationId xmlns:a16="http://schemas.microsoft.com/office/drawing/2014/main" id="{C7A66F62-1A52-4A3F-8839-1A04127D83F7}"/>
                </a:ext>
              </a:extLst>
            </p:cNvPr>
            <p:cNvGrpSpPr/>
            <p:nvPr/>
          </p:nvGrpSpPr>
          <p:grpSpPr>
            <a:xfrm>
              <a:off x="1108126" y="3647289"/>
              <a:ext cx="486528" cy="106064"/>
              <a:chOff x="329334" y="3260153"/>
              <a:chExt cx="1224846" cy="267018"/>
            </a:xfrm>
          </p:grpSpPr>
          <p:sp>
            <p:nvSpPr>
              <p:cNvPr id="1239" name="Rectangle: Rounded Corners 1238">
                <a:extLst>
                  <a:ext uri="{FF2B5EF4-FFF2-40B4-BE49-F238E27FC236}">
                    <a16:creationId xmlns:a16="http://schemas.microsoft.com/office/drawing/2014/main" id="{CDA3CA52-9FBB-41E8-BFFC-F0FCCF082B3B}"/>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1240" name="Group 1239">
                <a:extLst>
                  <a:ext uri="{FF2B5EF4-FFF2-40B4-BE49-F238E27FC236}">
                    <a16:creationId xmlns:a16="http://schemas.microsoft.com/office/drawing/2014/main" id="{5A97F843-F98D-453C-9238-A299CAE49464}"/>
                  </a:ext>
                </a:extLst>
              </p:cNvPr>
              <p:cNvGrpSpPr/>
              <p:nvPr/>
            </p:nvGrpSpPr>
            <p:grpSpPr>
              <a:xfrm>
                <a:off x="428384" y="3307885"/>
                <a:ext cx="988875" cy="171554"/>
                <a:chOff x="428384" y="3319125"/>
                <a:chExt cx="988875" cy="171554"/>
              </a:xfrm>
            </p:grpSpPr>
            <p:sp>
              <p:nvSpPr>
                <p:cNvPr id="1241" name="Freeform 42">
                  <a:extLst>
                    <a:ext uri="{FF2B5EF4-FFF2-40B4-BE49-F238E27FC236}">
                      <a16:creationId xmlns:a16="http://schemas.microsoft.com/office/drawing/2014/main" id="{55412CB8-B453-43B1-AA24-0A2A696CD6B8}"/>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42" name="Freeform 43">
                  <a:extLst>
                    <a:ext uri="{FF2B5EF4-FFF2-40B4-BE49-F238E27FC236}">
                      <a16:creationId xmlns:a16="http://schemas.microsoft.com/office/drawing/2014/main" id="{FFAD9A82-A8CA-440A-98E8-B2EE8F3CA0D2}"/>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43" name="Freeform 44">
                  <a:extLst>
                    <a:ext uri="{FF2B5EF4-FFF2-40B4-BE49-F238E27FC236}">
                      <a16:creationId xmlns:a16="http://schemas.microsoft.com/office/drawing/2014/main" id="{FB690292-E27B-4B49-B0D5-7D8CAB6245E0}"/>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44" name="Freeform 45">
                  <a:extLst>
                    <a:ext uri="{FF2B5EF4-FFF2-40B4-BE49-F238E27FC236}">
                      <a16:creationId xmlns:a16="http://schemas.microsoft.com/office/drawing/2014/main" id="{AC28089F-6CE4-4235-A7BD-B076AF5B1AF2}"/>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45" name="Freeform 46">
                  <a:extLst>
                    <a:ext uri="{FF2B5EF4-FFF2-40B4-BE49-F238E27FC236}">
                      <a16:creationId xmlns:a16="http://schemas.microsoft.com/office/drawing/2014/main" id="{6699BDC9-8829-4A36-AF2C-E7D758B92C48}"/>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1246" name="Group 1245">
                  <a:extLst>
                    <a:ext uri="{FF2B5EF4-FFF2-40B4-BE49-F238E27FC236}">
                      <a16:creationId xmlns:a16="http://schemas.microsoft.com/office/drawing/2014/main" id="{E7F64D18-29EC-49AE-A68A-1613414F2483}"/>
                    </a:ext>
                  </a:extLst>
                </p:cNvPr>
                <p:cNvGrpSpPr/>
                <p:nvPr/>
              </p:nvGrpSpPr>
              <p:grpSpPr>
                <a:xfrm rot="16200000">
                  <a:off x="1194056" y="3224509"/>
                  <a:ext cx="85622" cy="360785"/>
                  <a:chOff x="1267883" y="3923111"/>
                  <a:chExt cx="45719" cy="192649"/>
                </a:xfrm>
                <a:solidFill>
                  <a:schemeClr val="accent2"/>
                </a:solidFill>
              </p:grpSpPr>
              <p:sp>
                <p:nvSpPr>
                  <p:cNvPr id="1247" name="Oval 1246">
                    <a:extLst>
                      <a:ext uri="{FF2B5EF4-FFF2-40B4-BE49-F238E27FC236}">
                        <a16:creationId xmlns:a16="http://schemas.microsoft.com/office/drawing/2014/main" id="{64B54D8C-F52F-44B5-9757-E57415FFD3C3}"/>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248" name="Oval 1247">
                    <a:extLst>
                      <a:ext uri="{FF2B5EF4-FFF2-40B4-BE49-F238E27FC236}">
                        <a16:creationId xmlns:a16="http://schemas.microsoft.com/office/drawing/2014/main" id="{9A1ACBA0-2EC6-4832-B5E1-FC0B685DBCC3}"/>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249" name="Oval 1248">
                    <a:extLst>
                      <a:ext uri="{FF2B5EF4-FFF2-40B4-BE49-F238E27FC236}">
                        <a16:creationId xmlns:a16="http://schemas.microsoft.com/office/drawing/2014/main" id="{CA045A15-0659-4799-BAE5-9AF36E3DF8F7}"/>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grpSp>
          <p:nvGrpSpPr>
            <p:cNvPr id="1168" name="Group 1167">
              <a:extLst>
                <a:ext uri="{FF2B5EF4-FFF2-40B4-BE49-F238E27FC236}">
                  <a16:creationId xmlns:a16="http://schemas.microsoft.com/office/drawing/2014/main" id="{7480135B-D240-45DA-8814-005BAAB37160}"/>
                </a:ext>
              </a:extLst>
            </p:cNvPr>
            <p:cNvGrpSpPr/>
            <p:nvPr/>
          </p:nvGrpSpPr>
          <p:grpSpPr>
            <a:xfrm>
              <a:off x="1662051" y="3647289"/>
              <a:ext cx="486528" cy="106064"/>
              <a:chOff x="329334" y="3260153"/>
              <a:chExt cx="1224846" cy="267018"/>
            </a:xfrm>
          </p:grpSpPr>
          <p:sp>
            <p:nvSpPr>
              <p:cNvPr id="1228" name="Rectangle: Rounded Corners 1227">
                <a:extLst>
                  <a:ext uri="{FF2B5EF4-FFF2-40B4-BE49-F238E27FC236}">
                    <a16:creationId xmlns:a16="http://schemas.microsoft.com/office/drawing/2014/main" id="{ED3D3608-6523-4C52-93B1-0274FD4B3F3D}"/>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nvGrpSpPr>
              <p:cNvPr id="1229" name="Group 1228">
                <a:extLst>
                  <a:ext uri="{FF2B5EF4-FFF2-40B4-BE49-F238E27FC236}">
                    <a16:creationId xmlns:a16="http://schemas.microsoft.com/office/drawing/2014/main" id="{E4523AAD-E62F-481D-B1E3-43B1B067E8BC}"/>
                  </a:ext>
                </a:extLst>
              </p:cNvPr>
              <p:cNvGrpSpPr/>
              <p:nvPr/>
            </p:nvGrpSpPr>
            <p:grpSpPr>
              <a:xfrm>
                <a:off x="428384" y="3307885"/>
                <a:ext cx="988875" cy="171554"/>
                <a:chOff x="428384" y="3319125"/>
                <a:chExt cx="988875" cy="171554"/>
              </a:xfrm>
            </p:grpSpPr>
            <p:sp>
              <p:nvSpPr>
                <p:cNvPr id="1230" name="Freeform 42">
                  <a:extLst>
                    <a:ext uri="{FF2B5EF4-FFF2-40B4-BE49-F238E27FC236}">
                      <a16:creationId xmlns:a16="http://schemas.microsoft.com/office/drawing/2014/main" id="{D7334D87-ADB4-4347-A58C-64410CDED569}"/>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31" name="Freeform 43">
                  <a:extLst>
                    <a:ext uri="{FF2B5EF4-FFF2-40B4-BE49-F238E27FC236}">
                      <a16:creationId xmlns:a16="http://schemas.microsoft.com/office/drawing/2014/main" id="{58EA573F-226D-4178-BA76-93B85B403C74}"/>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32" name="Freeform 44">
                  <a:extLst>
                    <a:ext uri="{FF2B5EF4-FFF2-40B4-BE49-F238E27FC236}">
                      <a16:creationId xmlns:a16="http://schemas.microsoft.com/office/drawing/2014/main" id="{AB9E78E9-CE6E-4CB1-880D-69613E4AF15C}"/>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33" name="Freeform 45">
                  <a:extLst>
                    <a:ext uri="{FF2B5EF4-FFF2-40B4-BE49-F238E27FC236}">
                      <a16:creationId xmlns:a16="http://schemas.microsoft.com/office/drawing/2014/main" id="{D7F7EDBD-6744-40D3-B015-276D7DC9FCE3}"/>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34" name="Freeform 46">
                  <a:extLst>
                    <a:ext uri="{FF2B5EF4-FFF2-40B4-BE49-F238E27FC236}">
                      <a16:creationId xmlns:a16="http://schemas.microsoft.com/office/drawing/2014/main" id="{D940FFEC-A13B-4B19-A01C-2B5CCBB0D074}"/>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nvGrpSpPr>
                <p:cNvPr id="1235" name="Group 1234">
                  <a:extLst>
                    <a:ext uri="{FF2B5EF4-FFF2-40B4-BE49-F238E27FC236}">
                      <a16:creationId xmlns:a16="http://schemas.microsoft.com/office/drawing/2014/main" id="{C4979D5B-4435-4642-B239-094CB7E38883}"/>
                    </a:ext>
                  </a:extLst>
                </p:cNvPr>
                <p:cNvGrpSpPr/>
                <p:nvPr/>
              </p:nvGrpSpPr>
              <p:grpSpPr>
                <a:xfrm rot="16200000">
                  <a:off x="1194056" y="3224509"/>
                  <a:ext cx="85622" cy="360785"/>
                  <a:chOff x="1267883" y="3923111"/>
                  <a:chExt cx="45719" cy="192649"/>
                </a:xfrm>
                <a:solidFill>
                  <a:schemeClr val="accent2"/>
                </a:solidFill>
              </p:grpSpPr>
              <p:sp>
                <p:nvSpPr>
                  <p:cNvPr id="1236" name="Oval 1235">
                    <a:extLst>
                      <a:ext uri="{FF2B5EF4-FFF2-40B4-BE49-F238E27FC236}">
                        <a16:creationId xmlns:a16="http://schemas.microsoft.com/office/drawing/2014/main" id="{AE0486E1-5640-44DD-8ED6-E9B1549B2713}"/>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237" name="Oval 1236">
                    <a:extLst>
                      <a:ext uri="{FF2B5EF4-FFF2-40B4-BE49-F238E27FC236}">
                        <a16:creationId xmlns:a16="http://schemas.microsoft.com/office/drawing/2014/main" id="{0C6A515B-1760-4D14-8CD3-AC048A6F5010}"/>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sp>
                <p:nvSpPr>
                  <p:cNvPr id="1238" name="Oval 1237">
                    <a:extLst>
                      <a:ext uri="{FF2B5EF4-FFF2-40B4-BE49-F238E27FC236}">
                        <a16:creationId xmlns:a16="http://schemas.microsoft.com/office/drawing/2014/main" id="{474CB5D2-1E48-4265-9645-EC5EA9632D2B}"/>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pPr>
                    <a:endParaRPr lang="en-US" dirty="0">
                      <a:solidFill>
                        <a:srgbClr val="005073"/>
                      </a:solidFill>
                      <a:latin typeface="CiscoSansTT ExtraLight"/>
                    </a:endParaRPr>
                  </a:p>
                </p:txBody>
              </p:sp>
            </p:grpSp>
          </p:grpSp>
        </p:grpSp>
        <p:cxnSp>
          <p:nvCxnSpPr>
            <p:cNvPr id="1169" name="Straight Connector 1168">
              <a:extLst>
                <a:ext uri="{FF2B5EF4-FFF2-40B4-BE49-F238E27FC236}">
                  <a16:creationId xmlns:a16="http://schemas.microsoft.com/office/drawing/2014/main" id="{50DD60C8-EB52-48A4-A28B-4344BE262EE4}"/>
                </a:ext>
              </a:extLst>
            </p:cNvPr>
            <p:cNvCxnSpPr>
              <a:cxnSpLocks/>
            </p:cNvCxnSpPr>
            <p:nvPr/>
          </p:nvCxnSpPr>
          <p:spPr>
            <a:xfrm>
              <a:off x="1254471" y="3753352"/>
              <a:ext cx="0" cy="154496"/>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24A68192-9307-4C0F-AA4F-F1D1941DFAF0}"/>
                </a:ext>
              </a:extLst>
            </p:cNvPr>
            <p:cNvCxnSpPr>
              <a:cxnSpLocks/>
            </p:cNvCxnSpPr>
            <p:nvPr/>
          </p:nvCxnSpPr>
          <p:spPr>
            <a:xfrm>
              <a:off x="1435104" y="3753352"/>
              <a:ext cx="0" cy="154496"/>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71" name="Straight Connector 1170">
              <a:extLst>
                <a:ext uri="{FF2B5EF4-FFF2-40B4-BE49-F238E27FC236}">
                  <a16:creationId xmlns:a16="http://schemas.microsoft.com/office/drawing/2014/main" id="{073FEEB9-E47B-42C0-BC48-DA3194B0B7D5}"/>
                </a:ext>
              </a:extLst>
            </p:cNvPr>
            <p:cNvCxnSpPr>
              <a:cxnSpLocks/>
            </p:cNvCxnSpPr>
            <p:nvPr/>
          </p:nvCxnSpPr>
          <p:spPr>
            <a:xfrm>
              <a:off x="1814089" y="3753352"/>
              <a:ext cx="0" cy="154496"/>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72" name="Straight Connector 1171">
              <a:extLst>
                <a:ext uri="{FF2B5EF4-FFF2-40B4-BE49-F238E27FC236}">
                  <a16:creationId xmlns:a16="http://schemas.microsoft.com/office/drawing/2014/main" id="{B9226A73-B411-4688-BB58-DA712395D1C9}"/>
                </a:ext>
              </a:extLst>
            </p:cNvPr>
            <p:cNvCxnSpPr>
              <a:cxnSpLocks/>
            </p:cNvCxnSpPr>
            <p:nvPr/>
          </p:nvCxnSpPr>
          <p:spPr>
            <a:xfrm>
              <a:off x="1994722" y="3753352"/>
              <a:ext cx="0" cy="154496"/>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173" name="Group 1172">
              <a:extLst>
                <a:ext uri="{FF2B5EF4-FFF2-40B4-BE49-F238E27FC236}">
                  <a16:creationId xmlns:a16="http://schemas.microsoft.com/office/drawing/2014/main" id="{E00A7CAD-7832-4682-BA16-57B55544322D}"/>
                </a:ext>
              </a:extLst>
            </p:cNvPr>
            <p:cNvGrpSpPr/>
            <p:nvPr/>
          </p:nvGrpSpPr>
          <p:grpSpPr>
            <a:xfrm>
              <a:off x="1172627" y="3898098"/>
              <a:ext cx="346094" cy="314175"/>
              <a:chOff x="530596" y="3493006"/>
              <a:chExt cx="294146" cy="267018"/>
            </a:xfrm>
          </p:grpSpPr>
          <p:grpSp>
            <p:nvGrpSpPr>
              <p:cNvPr id="1212" name="Group 1211">
                <a:extLst>
                  <a:ext uri="{FF2B5EF4-FFF2-40B4-BE49-F238E27FC236}">
                    <a16:creationId xmlns:a16="http://schemas.microsoft.com/office/drawing/2014/main" id="{CB1BF0AB-191C-47EA-8EAA-943B98B47ADB}"/>
                  </a:ext>
                </a:extLst>
              </p:cNvPr>
              <p:cNvGrpSpPr/>
              <p:nvPr/>
            </p:nvGrpSpPr>
            <p:grpSpPr>
              <a:xfrm>
                <a:off x="684848" y="3493006"/>
                <a:ext cx="139894" cy="267018"/>
                <a:chOff x="530145" y="2847566"/>
                <a:chExt cx="193208" cy="368779"/>
              </a:xfrm>
            </p:grpSpPr>
            <p:sp>
              <p:nvSpPr>
                <p:cNvPr id="1221" name="Freeform 411">
                  <a:extLst>
                    <a:ext uri="{FF2B5EF4-FFF2-40B4-BE49-F238E27FC236}">
                      <a16:creationId xmlns:a16="http://schemas.microsoft.com/office/drawing/2014/main" id="{C27331CE-5A77-486D-9FF4-C7FDF9E07D95}"/>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22" name="Freeform 412">
                  <a:extLst>
                    <a:ext uri="{FF2B5EF4-FFF2-40B4-BE49-F238E27FC236}">
                      <a16:creationId xmlns:a16="http://schemas.microsoft.com/office/drawing/2014/main" id="{E384F90E-BDC8-4E2C-9905-9FA4ED62F27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23" name="Freeform 413">
                  <a:extLst>
                    <a:ext uri="{FF2B5EF4-FFF2-40B4-BE49-F238E27FC236}">
                      <a16:creationId xmlns:a16="http://schemas.microsoft.com/office/drawing/2014/main" id="{C2BC9175-73CA-4292-978C-3B9B65EAB6F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24" name="Freeform 414">
                  <a:extLst>
                    <a:ext uri="{FF2B5EF4-FFF2-40B4-BE49-F238E27FC236}">
                      <a16:creationId xmlns:a16="http://schemas.microsoft.com/office/drawing/2014/main" id="{E8BCAF9F-EDE8-43AF-8D5D-F77507E7C60F}"/>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25" name="Freeform 415">
                  <a:extLst>
                    <a:ext uri="{FF2B5EF4-FFF2-40B4-BE49-F238E27FC236}">
                      <a16:creationId xmlns:a16="http://schemas.microsoft.com/office/drawing/2014/main" id="{6C0001A4-D0C1-4467-9EF0-56801EDE840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26" name="Freeform 416">
                  <a:extLst>
                    <a:ext uri="{FF2B5EF4-FFF2-40B4-BE49-F238E27FC236}">
                      <a16:creationId xmlns:a16="http://schemas.microsoft.com/office/drawing/2014/main" id="{9B18EE77-BA0D-40C0-8D36-7236FA20A934}"/>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27" name="Freeform 416">
                  <a:extLst>
                    <a:ext uri="{FF2B5EF4-FFF2-40B4-BE49-F238E27FC236}">
                      <a16:creationId xmlns:a16="http://schemas.microsoft.com/office/drawing/2014/main" id="{0B7DCEE4-60AA-4DEC-8060-2D8811096F5A}"/>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1213" name="Group 1212">
                <a:extLst>
                  <a:ext uri="{FF2B5EF4-FFF2-40B4-BE49-F238E27FC236}">
                    <a16:creationId xmlns:a16="http://schemas.microsoft.com/office/drawing/2014/main" id="{A818C387-A75B-4DA8-8429-20B289D587F2}"/>
                  </a:ext>
                </a:extLst>
              </p:cNvPr>
              <p:cNvGrpSpPr/>
              <p:nvPr/>
            </p:nvGrpSpPr>
            <p:grpSpPr>
              <a:xfrm>
                <a:off x="530596" y="3493006"/>
                <a:ext cx="139894" cy="267018"/>
                <a:chOff x="530145" y="2847566"/>
                <a:chExt cx="193208" cy="368779"/>
              </a:xfrm>
            </p:grpSpPr>
            <p:sp>
              <p:nvSpPr>
                <p:cNvPr id="1214" name="Freeform 411">
                  <a:extLst>
                    <a:ext uri="{FF2B5EF4-FFF2-40B4-BE49-F238E27FC236}">
                      <a16:creationId xmlns:a16="http://schemas.microsoft.com/office/drawing/2014/main" id="{7ACB9D0E-4C6D-4288-8981-B7CF33ABCBD5}"/>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15" name="Freeform 412">
                  <a:extLst>
                    <a:ext uri="{FF2B5EF4-FFF2-40B4-BE49-F238E27FC236}">
                      <a16:creationId xmlns:a16="http://schemas.microsoft.com/office/drawing/2014/main" id="{AA2317DE-BA5E-49C9-9BD8-1CF5FC921F9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16" name="Freeform 413">
                  <a:extLst>
                    <a:ext uri="{FF2B5EF4-FFF2-40B4-BE49-F238E27FC236}">
                      <a16:creationId xmlns:a16="http://schemas.microsoft.com/office/drawing/2014/main" id="{4C0C327C-10D9-498D-8C7D-7509F24444A3}"/>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17" name="Freeform 414">
                  <a:extLst>
                    <a:ext uri="{FF2B5EF4-FFF2-40B4-BE49-F238E27FC236}">
                      <a16:creationId xmlns:a16="http://schemas.microsoft.com/office/drawing/2014/main" id="{770C4CFF-5FBA-472A-B9B5-11405DCCF243}"/>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18" name="Freeform 415">
                  <a:extLst>
                    <a:ext uri="{FF2B5EF4-FFF2-40B4-BE49-F238E27FC236}">
                      <a16:creationId xmlns:a16="http://schemas.microsoft.com/office/drawing/2014/main" id="{5276205A-D50A-4999-A2B5-FF735798EDD9}"/>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19" name="Freeform 416">
                  <a:extLst>
                    <a:ext uri="{FF2B5EF4-FFF2-40B4-BE49-F238E27FC236}">
                      <a16:creationId xmlns:a16="http://schemas.microsoft.com/office/drawing/2014/main" id="{CD7AE79B-0C94-49B1-B5DC-87170C060F7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20" name="Freeform 416">
                  <a:extLst>
                    <a:ext uri="{FF2B5EF4-FFF2-40B4-BE49-F238E27FC236}">
                      <a16:creationId xmlns:a16="http://schemas.microsoft.com/office/drawing/2014/main" id="{1EA93223-EDBE-4627-A07F-81E9A2E0A969}"/>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nvGrpSpPr>
            <p:cNvPr id="1175" name="Group 1174">
              <a:extLst>
                <a:ext uri="{FF2B5EF4-FFF2-40B4-BE49-F238E27FC236}">
                  <a16:creationId xmlns:a16="http://schemas.microsoft.com/office/drawing/2014/main" id="{F2A214EE-6290-4747-85B1-038F64B339B2}"/>
                </a:ext>
              </a:extLst>
            </p:cNvPr>
            <p:cNvGrpSpPr/>
            <p:nvPr/>
          </p:nvGrpSpPr>
          <p:grpSpPr>
            <a:xfrm>
              <a:off x="1731789" y="3898098"/>
              <a:ext cx="346094" cy="314175"/>
              <a:chOff x="530596" y="3493006"/>
              <a:chExt cx="294146" cy="267018"/>
            </a:xfrm>
          </p:grpSpPr>
          <p:grpSp>
            <p:nvGrpSpPr>
              <p:cNvPr id="1196" name="Group 1195">
                <a:extLst>
                  <a:ext uri="{FF2B5EF4-FFF2-40B4-BE49-F238E27FC236}">
                    <a16:creationId xmlns:a16="http://schemas.microsoft.com/office/drawing/2014/main" id="{171314A1-0826-47CE-966D-EAF51A24B6C0}"/>
                  </a:ext>
                </a:extLst>
              </p:cNvPr>
              <p:cNvGrpSpPr/>
              <p:nvPr/>
            </p:nvGrpSpPr>
            <p:grpSpPr>
              <a:xfrm>
                <a:off x="684848" y="3493006"/>
                <a:ext cx="139894" cy="267018"/>
                <a:chOff x="530145" y="2847566"/>
                <a:chExt cx="193208" cy="368779"/>
              </a:xfrm>
            </p:grpSpPr>
            <p:sp>
              <p:nvSpPr>
                <p:cNvPr id="1205" name="Freeform 411">
                  <a:extLst>
                    <a:ext uri="{FF2B5EF4-FFF2-40B4-BE49-F238E27FC236}">
                      <a16:creationId xmlns:a16="http://schemas.microsoft.com/office/drawing/2014/main" id="{CDDCE4E2-9A74-4E11-939A-07AAFFE05769}"/>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06" name="Freeform 412">
                  <a:extLst>
                    <a:ext uri="{FF2B5EF4-FFF2-40B4-BE49-F238E27FC236}">
                      <a16:creationId xmlns:a16="http://schemas.microsoft.com/office/drawing/2014/main" id="{7BCB9595-C3F6-4816-A10E-361D3F99131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07" name="Freeform 413">
                  <a:extLst>
                    <a:ext uri="{FF2B5EF4-FFF2-40B4-BE49-F238E27FC236}">
                      <a16:creationId xmlns:a16="http://schemas.microsoft.com/office/drawing/2014/main" id="{3975BCC8-2D78-4CB7-BBC3-EC8869902200}"/>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08" name="Freeform 414">
                  <a:extLst>
                    <a:ext uri="{FF2B5EF4-FFF2-40B4-BE49-F238E27FC236}">
                      <a16:creationId xmlns:a16="http://schemas.microsoft.com/office/drawing/2014/main" id="{FFC123E3-F64E-4D09-A28F-8BA15E0CF43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09" name="Freeform 415">
                  <a:extLst>
                    <a:ext uri="{FF2B5EF4-FFF2-40B4-BE49-F238E27FC236}">
                      <a16:creationId xmlns:a16="http://schemas.microsoft.com/office/drawing/2014/main" id="{0B6AA49B-C98C-430D-A606-EB2E76EEB32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10" name="Freeform 416">
                  <a:extLst>
                    <a:ext uri="{FF2B5EF4-FFF2-40B4-BE49-F238E27FC236}">
                      <a16:creationId xmlns:a16="http://schemas.microsoft.com/office/drawing/2014/main" id="{2AD25EB3-EBD5-4433-8F00-C3ADB0D2DBE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11" name="Freeform 416">
                  <a:extLst>
                    <a:ext uri="{FF2B5EF4-FFF2-40B4-BE49-F238E27FC236}">
                      <a16:creationId xmlns:a16="http://schemas.microsoft.com/office/drawing/2014/main" id="{C61FD07F-287B-47A7-87FD-C1ED869FA36E}"/>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1197" name="Group 1196">
                <a:extLst>
                  <a:ext uri="{FF2B5EF4-FFF2-40B4-BE49-F238E27FC236}">
                    <a16:creationId xmlns:a16="http://schemas.microsoft.com/office/drawing/2014/main" id="{55B3CF03-4DBD-4C08-A45B-FC031FF4DA48}"/>
                  </a:ext>
                </a:extLst>
              </p:cNvPr>
              <p:cNvGrpSpPr/>
              <p:nvPr/>
            </p:nvGrpSpPr>
            <p:grpSpPr>
              <a:xfrm>
                <a:off x="530596" y="3493006"/>
                <a:ext cx="139894" cy="267018"/>
                <a:chOff x="530145" y="2847566"/>
                <a:chExt cx="193208" cy="368779"/>
              </a:xfrm>
            </p:grpSpPr>
            <p:sp>
              <p:nvSpPr>
                <p:cNvPr id="1198" name="Freeform 411">
                  <a:extLst>
                    <a:ext uri="{FF2B5EF4-FFF2-40B4-BE49-F238E27FC236}">
                      <a16:creationId xmlns:a16="http://schemas.microsoft.com/office/drawing/2014/main" id="{BF17B74C-3D45-4BD4-B8B4-F212EEE5768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99" name="Freeform 412">
                  <a:extLst>
                    <a:ext uri="{FF2B5EF4-FFF2-40B4-BE49-F238E27FC236}">
                      <a16:creationId xmlns:a16="http://schemas.microsoft.com/office/drawing/2014/main" id="{7A902669-179D-4D36-90D7-E0A565C9853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00" name="Freeform 413">
                  <a:extLst>
                    <a:ext uri="{FF2B5EF4-FFF2-40B4-BE49-F238E27FC236}">
                      <a16:creationId xmlns:a16="http://schemas.microsoft.com/office/drawing/2014/main" id="{13330302-C0F8-4D29-93B5-537F4FA0613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01" name="Freeform 414">
                  <a:extLst>
                    <a:ext uri="{FF2B5EF4-FFF2-40B4-BE49-F238E27FC236}">
                      <a16:creationId xmlns:a16="http://schemas.microsoft.com/office/drawing/2014/main" id="{2FD1D76E-E1E6-4149-889B-7016EB84C21B}"/>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02" name="Freeform 415">
                  <a:extLst>
                    <a:ext uri="{FF2B5EF4-FFF2-40B4-BE49-F238E27FC236}">
                      <a16:creationId xmlns:a16="http://schemas.microsoft.com/office/drawing/2014/main" id="{47BA598A-5564-4AA3-9FAF-DE676E9FD954}"/>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03" name="Freeform 416">
                  <a:extLst>
                    <a:ext uri="{FF2B5EF4-FFF2-40B4-BE49-F238E27FC236}">
                      <a16:creationId xmlns:a16="http://schemas.microsoft.com/office/drawing/2014/main" id="{7AA5404E-E4AF-471A-B2C2-1A32CE9731D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04" name="Freeform 416">
                  <a:extLst>
                    <a:ext uri="{FF2B5EF4-FFF2-40B4-BE49-F238E27FC236}">
                      <a16:creationId xmlns:a16="http://schemas.microsoft.com/office/drawing/2014/main" id="{C291E9BC-BFBB-46A6-B961-8F917491F15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nvGrpSpPr>
            <p:cNvPr id="1176" name="Group 248">
              <a:extLst>
                <a:ext uri="{FF2B5EF4-FFF2-40B4-BE49-F238E27FC236}">
                  <a16:creationId xmlns:a16="http://schemas.microsoft.com/office/drawing/2014/main" id="{374F8812-8A40-414B-87AF-F5DED568D0DE}"/>
                </a:ext>
              </a:extLst>
            </p:cNvPr>
            <p:cNvGrpSpPr>
              <a:grpSpLocks noChangeAspect="1"/>
            </p:cNvGrpSpPr>
            <p:nvPr/>
          </p:nvGrpSpPr>
          <p:grpSpPr bwMode="auto">
            <a:xfrm>
              <a:off x="1292649" y="3057862"/>
              <a:ext cx="296854" cy="445106"/>
              <a:chOff x="2223" y="539"/>
              <a:chExt cx="1698" cy="2546"/>
            </a:xfrm>
          </p:grpSpPr>
          <p:sp>
            <p:nvSpPr>
              <p:cNvPr id="1190" name="Freeform 249">
                <a:extLst>
                  <a:ext uri="{FF2B5EF4-FFF2-40B4-BE49-F238E27FC236}">
                    <a16:creationId xmlns:a16="http://schemas.microsoft.com/office/drawing/2014/main" id="{18B9DDE6-8E02-4503-905E-FC5769429BE1}"/>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91" name="Rectangle 250">
                <a:extLst>
                  <a:ext uri="{FF2B5EF4-FFF2-40B4-BE49-F238E27FC236}">
                    <a16:creationId xmlns:a16="http://schemas.microsoft.com/office/drawing/2014/main" id="{50E4FABC-6790-40DC-84FC-3C36160679D1}"/>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92" name="Line 251">
                <a:extLst>
                  <a:ext uri="{FF2B5EF4-FFF2-40B4-BE49-F238E27FC236}">
                    <a16:creationId xmlns:a16="http://schemas.microsoft.com/office/drawing/2014/main" id="{9973E458-2940-4335-A261-0EABCEBDA624}"/>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93" name="Line 252">
                <a:extLst>
                  <a:ext uri="{FF2B5EF4-FFF2-40B4-BE49-F238E27FC236}">
                    <a16:creationId xmlns:a16="http://schemas.microsoft.com/office/drawing/2014/main" id="{461AA149-D853-4CC0-9B2A-EAEC6FC07DF4}"/>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94" name="Rectangle 253">
                <a:extLst>
                  <a:ext uri="{FF2B5EF4-FFF2-40B4-BE49-F238E27FC236}">
                    <a16:creationId xmlns:a16="http://schemas.microsoft.com/office/drawing/2014/main" id="{FE1A8DA3-6AD9-4746-9681-C1E27A412556}"/>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95" name="Rectangle 254">
                <a:extLst>
                  <a:ext uri="{FF2B5EF4-FFF2-40B4-BE49-F238E27FC236}">
                    <a16:creationId xmlns:a16="http://schemas.microsoft.com/office/drawing/2014/main" id="{C61316EA-46B2-4535-87C4-F13C832D3BB4}"/>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nvGrpSpPr>
            <p:cNvPr id="1177" name="Group 248">
              <a:extLst>
                <a:ext uri="{FF2B5EF4-FFF2-40B4-BE49-F238E27FC236}">
                  <a16:creationId xmlns:a16="http://schemas.microsoft.com/office/drawing/2014/main" id="{60FD7B9E-B1C6-493F-9838-ED68C17B2C46}"/>
                </a:ext>
              </a:extLst>
            </p:cNvPr>
            <p:cNvGrpSpPr>
              <a:grpSpLocks noChangeAspect="1"/>
            </p:cNvGrpSpPr>
            <p:nvPr/>
          </p:nvGrpSpPr>
          <p:grpSpPr bwMode="auto">
            <a:xfrm>
              <a:off x="1674133" y="3057862"/>
              <a:ext cx="296854" cy="445106"/>
              <a:chOff x="2223" y="539"/>
              <a:chExt cx="1698" cy="2546"/>
            </a:xfrm>
          </p:grpSpPr>
          <p:sp>
            <p:nvSpPr>
              <p:cNvPr id="1178" name="Freeform 249">
                <a:extLst>
                  <a:ext uri="{FF2B5EF4-FFF2-40B4-BE49-F238E27FC236}">
                    <a16:creationId xmlns:a16="http://schemas.microsoft.com/office/drawing/2014/main" id="{ED07FF47-3205-459D-A56C-2C1C87435D3A}"/>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85" name="Rectangle 250">
                <a:extLst>
                  <a:ext uri="{FF2B5EF4-FFF2-40B4-BE49-F238E27FC236}">
                    <a16:creationId xmlns:a16="http://schemas.microsoft.com/office/drawing/2014/main" id="{681B54B0-4E37-4B95-980F-04B6809F1CA5}"/>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86" name="Line 251">
                <a:extLst>
                  <a:ext uri="{FF2B5EF4-FFF2-40B4-BE49-F238E27FC236}">
                    <a16:creationId xmlns:a16="http://schemas.microsoft.com/office/drawing/2014/main" id="{14F9D9E1-0C39-4603-BE6D-70FB66B82DD5}"/>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87" name="Line 252">
                <a:extLst>
                  <a:ext uri="{FF2B5EF4-FFF2-40B4-BE49-F238E27FC236}">
                    <a16:creationId xmlns:a16="http://schemas.microsoft.com/office/drawing/2014/main" id="{99E0FDD0-3FCE-42C6-AF0B-FED6D493639C}"/>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88" name="Rectangle 253">
                <a:extLst>
                  <a:ext uri="{FF2B5EF4-FFF2-40B4-BE49-F238E27FC236}">
                    <a16:creationId xmlns:a16="http://schemas.microsoft.com/office/drawing/2014/main" id="{3392DBF2-D0FE-474D-AFD1-B52B0388ABFC}"/>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189" name="Rectangle 254">
                <a:extLst>
                  <a:ext uri="{FF2B5EF4-FFF2-40B4-BE49-F238E27FC236}">
                    <a16:creationId xmlns:a16="http://schemas.microsoft.com/office/drawing/2014/main" id="{ED4AC835-DE7B-416C-98F2-E0280617C2AB}"/>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grpSp>
      <p:grpSp>
        <p:nvGrpSpPr>
          <p:cNvPr id="1258" name="Group 1257">
            <a:extLst>
              <a:ext uri="{FF2B5EF4-FFF2-40B4-BE49-F238E27FC236}">
                <a16:creationId xmlns:a16="http://schemas.microsoft.com/office/drawing/2014/main" id="{B0344B0F-53EE-4704-9932-D49157F438CF}"/>
              </a:ext>
            </a:extLst>
          </p:cNvPr>
          <p:cNvGrpSpPr/>
          <p:nvPr/>
        </p:nvGrpSpPr>
        <p:grpSpPr>
          <a:xfrm>
            <a:off x="6489556" y="3006043"/>
            <a:ext cx="1735550" cy="859718"/>
            <a:chOff x="7114067" y="1970642"/>
            <a:chExt cx="2135447" cy="1057813"/>
          </a:xfrm>
        </p:grpSpPr>
        <p:grpSp>
          <p:nvGrpSpPr>
            <p:cNvPr id="1259" name="Group 1258">
              <a:extLst>
                <a:ext uri="{FF2B5EF4-FFF2-40B4-BE49-F238E27FC236}">
                  <a16:creationId xmlns:a16="http://schemas.microsoft.com/office/drawing/2014/main" id="{35E8475E-6D12-4684-85BC-8DD787F5FCBE}"/>
                </a:ext>
              </a:extLst>
            </p:cNvPr>
            <p:cNvGrpSpPr>
              <a:grpSpLocks noChangeAspect="1"/>
            </p:cNvGrpSpPr>
            <p:nvPr/>
          </p:nvGrpSpPr>
          <p:grpSpPr>
            <a:xfrm flipH="1">
              <a:off x="7114067" y="1970642"/>
              <a:ext cx="2135447" cy="1057813"/>
              <a:chOff x="836085" y="1496592"/>
              <a:chExt cx="538984" cy="266991"/>
            </a:xfrm>
          </p:grpSpPr>
          <p:sp>
            <p:nvSpPr>
              <p:cNvPr id="1263" name="Freeform 751">
                <a:extLst>
                  <a:ext uri="{FF2B5EF4-FFF2-40B4-BE49-F238E27FC236}">
                    <a16:creationId xmlns:a16="http://schemas.microsoft.com/office/drawing/2014/main" id="{9D02E155-4A26-49A0-96FF-591FC68B370B}"/>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rgbClr val="000000">
                  <a:lumMod val="10000"/>
                  <a:lumOff val="90000"/>
                </a:srgbClr>
              </a:solidFill>
              <a:ln w="12700">
                <a:noFill/>
                <a:miter lim="800000"/>
                <a:headEnd/>
                <a:tailEnd/>
              </a:ln>
              <a:effectLst/>
            </p:spPr>
            <p:txBody>
              <a:bodyPr lIns="0" tIns="0" rIns="0" bIns="0" anchor="ctr" anchorCtr="0"/>
              <a:lstStyle/>
              <a:p>
                <a:pPr marL="66672" indent="-66672" algn="ctr" defTabSz="457106" fontAlgn="auto">
                  <a:spcBef>
                    <a:spcPts val="0"/>
                  </a:spcBef>
                  <a:spcAft>
                    <a:spcPts val="450"/>
                  </a:spcAft>
                  <a:buClr>
                    <a:srgbClr val="005073">
                      <a:lumMod val="50000"/>
                    </a:srgbClr>
                  </a:buClr>
                  <a:buSzPct val="80000"/>
                  <a:tabLst>
                    <a:tab pos="807191" algn="r"/>
                    <a:tab pos="1344131" algn="r"/>
                    <a:tab pos="1882253" algn="r"/>
                    <a:tab pos="2420384" algn="r"/>
                    <a:tab pos="2958506" algn="r"/>
                    <a:tab pos="3495445" algn="r"/>
                    <a:tab pos="4033571" algn="r"/>
                    <a:tab pos="4235961" algn="l"/>
                    <a:tab pos="4772900" algn="l"/>
                    <a:tab pos="5311031" algn="l"/>
                  </a:tabLst>
                  <a:defRPr/>
                </a:pPr>
                <a:endParaRPr lang="en-US" sz="1400" kern="0">
                  <a:solidFill>
                    <a:srgbClr val="282828"/>
                  </a:solidFill>
                  <a:latin typeface="CiscoSansTT ExtraLight"/>
                  <a:cs typeface="+mn-cs"/>
                </a:endParaRPr>
              </a:p>
            </p:txBody>
          </p:sp>
          <p:sp>
            <p:nvSpPr>
              <p:cNvPr id="1264" name="Freeform 752">
                <a:extLst>
                  <a:ext uri="{FF2B5EF4-FFF2-40B4-BE49-F238E27FC236}">
                    <a16:creationId xmlns:a16="http://schemas.microsoft.com/office/drawing/2014/main" id="{E0E489B3-86D4-47F6-A3D5-ABB6A641A6D0}"/>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rgbClr val="000000">
                  <a:lumMod val="10000"/>
                  <a:lumOff val="90000"/>
                </a:srgbClr>
              </a:solidFill>
              <a:ln w="12700">
                <a:noFill/>
                <a:miter lim="800000"/>
                <a:headEnd/>
                <a:tailEnd/>
              </a:ln>
              <a:effectLst/>
            </p:spPr>
            <p:txBody>
              <a:bodyPr lIns="0" tIns="0" rIns="0" bIns="0" anchor="ctr" anchorCtr="0"/>
              <a:lstStyle/>
              <a:p>
                <a:pPr marL="66672" indent="-66672" algn="ctr" defTabSz="457106" fontAlgn="auto">
                  <a:spcBef>
                    <a:spcPts val="0"/>
                  </a:spcBef>
                  <a:spcAft>
                    <a:spcPts val="450"/>
                  </a:spcAft>
                  <a:buClr>
                    <a:srgbClr val="005073">
                      <a:lumMod val="50000"/>
                    </a:srgbClr>
                  </a:buClr>
                  <a:buSzPct val="80000"/>
                  <a:tabLst>
                    <a:tab pos="807191" algn="r"/>
                    <a:tab pos="1344131" algn="r"/>
                    <a:tab pos="1882253" algn="r"/>
                    <a:tab pos="2420384" algn="r"/>
                    <a:tab pos="2958506" algn="r"/>
                    <a:tab pos="3495445" algn="r"/>
                    <a:tab pos="4033571" algn="r"/>
                    <a:tab pos="4235961" algn="l"/>
                    <a:tab pos="4772900" algn="l"/>
                    <a:tab pos="5311031" algn="l"/>
                  </a:tabLst>
                  <a:defRPr/>
                </a:pPr>
                <a:endParaRPr lang="en-US" sz="1400" kern="0">
                  <a:solidFill>
                    <a:srgbClr val="282828"/>
                  </a:solidFill>
                  <a:latin typeface="CiscoSansTT ExtraLight"/>
                  <a:cs typeface="+mn-cs"/>
                </a:endParaRPr>
              </a:p>
            </p:txBody>
          </p:sp>
          <p:sp>
            <p:nvSpPr>
              <p:cNvPr id="1265" name="Freeform 753">
                <a:extLst>
                  <a:ext uri="{FF2B5EF4-FFF2-40B4-BE49-F238E27FC236}">
                    <a16:creationId xmlns:a16="http://schemas.microsoft.com/office/drawing/2014/main" id="{7F6C05AF-4B07-4BB4-95BC-6C14B38F9CE2}"/>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rgbClr val="000000">
                  <a:lumMod val="10000"/>
                  <a:lumOff val="90000"/>
                </a:srgbClr>
              </a:solidFill>
              <a:ln w="12700">
                <a:noFill/>
                <a:miter lim="800000"/>
                <a:headEnd/>
                <a:tailEnd/>
              </a:ln>
              <a:effectLst/>
            </p:spPr>
            <p:txBody>
              <a:bodyPr lIns="0" tIns="0" rIns="0" bIns="0" anchor="ctr" anchorCtr="0"/>
              <a:lstStyle/>
              <a:p>
                <a:pPr marL="66672" indent="-66672" algn="ctr" defTabSz="457106" fontAlgn="auto">
                  <a:spcBef>
                    <a:spcPts val="0"/>
                  </a:spcBef>
                  <a:spcAft>
                    <a:spcPts val="450"/>
                  </a:spcAft>
                  <a:buClr>
                    <a:srgbClr val="005073">
                      <a:lumMod val="50000"/>
                    </a:srgbClr>
                  </a:buClr>
                  <a:buSzPct val="80000"/>
                  <a:tabLst>
                    <a:tab pos="807191" algn="r"/>
                    <a:tab pos="1344131" algn="r"/>
                    <a:tab pos="1882253" algn="r"/>
                    <a:tab pos="2420384" algn="r"/>
                    <a:tab pos="2958506" algn="r"/>
                    <a:tab pos="3495445" algn="r"/>
                    <a:tab pos="4033571" algn="r"/>
                    <a:tab pos="4235961" algn="l"/>
                    <a:tab pos="4772900" algn="l"/>
                    <a:tab pos="5311031" algn="l"/>
                  </a:tabLst>
                  <a:defRPr/>
                </a:pPr>
                <a:endParaRPr lang="en-US" sz="1400" kern="0">
                  <a:solidFill>
                    <a:srgbClr val="282828"/>
                  </a:solidFill>
                  <a:latin typeface="CiscoSansTT ExtraLight"/>
                  <a:cs typeface="+mn-cs"/>
                </a:endParaRPr>
              </a:p>
            </p:txBody>
          </p:sp>
        </p:grpSp>
        <p:pic>
          <p:nvPicPr>
            <p:cNvPr id="1260" name="Picture 1259">
              <a:extLst>
                <a:ext uri="{FF2B5EF4-FFF2-40B4-BE49-F238E27FC236}">
                  <a16:creationId xmlns:a16="http://schemas.microsoft.com/office/drawing/2014/main" id="{96226F13-3A16-4867-9158-090498F30AF7}"/>
                </a:ext>
              </a:extLst>
            </p:cNvPr>
            <p:cNvPicPr>
              <a:picLocks noChangeAspect="1"/>
            </p:cNvPicPr>
            <p:nvPr/>
          </p:nvPicPr>
          <p:blipFill>
            <a:blip r:embed="rId6"/>
            <a:stretch>
              <a:fillRect/>
            </a:stretch>
          </p:blipFill>
          <p:spPr>
            <a:xfrm>
              <a:off x="7714674" y="2264535"/>
              <a:ext cx="654916" cy="261968"/>
            </a:xfrm>
            <a:prstGeom prst="rect">
              <a:avLst/>
            </a:prstGeom>
          </p:spPr>
        </p:pic>
        <p:pic>
          <p:nvPicPr>
            <p:cNvPr id="1261" name="Picture 1260">
              <a:extLst>
                <a:ext uri="{FF2B5EF4-FFF2-40B4-BE49-F238E27FC236}">
                  <a16:creationId xmlns:a16="http://schemas.microsoft.com/office/drawing/2014/main" id="{20FA232A-328C-4C66-9FE1-8F4BBB34884A}"/>
                </a:ext>
              </a:extLst>
            </p:cNvPr>
            <p:cNvPicPr>
              <a:picLocks noChangeAspect="1"/>
            </p:cNvPicPr>
            <p:nvPr/>
          </p:nvPicPr>
          <p:blipFill>
            <a:blip r:embed="rId7"/>
            <a:stretch>
              <a:fillRect/>
            </a:stretch>
          </p:blipFill>
          <p:spPr>
            <a:xfrm>
              <a:off x="8001734" y="2685045"/>
              <a:ext cx="1138051" cy="194947"/>
            </a:xfrm>
            <a:prstGeom prst="rect">
              <a:avLst/>
            </a:prstGeom>
          </p:spPr>
        </p:pic>
        <p:pic>
          <p:nvPicPr>
            <p:cNvPr id="1262" name="Picture 1261">
              <a:extLst>
                <a:ext uri="{FF2B5EF4-FFF2-40B4-BE49-F238E27FC236}">
                  <a16:creationId xmlns:a16="http://schemas.microsoft.com/office/drawing/2014/main" id="{3BCBDAAB-7A06-4EF7-AD56-B48961F0B890}"/>
                </a:ext>
              </a:extLst>
            </p:cNvPr>
            <p:cNvPicPr>
              <a:picLocks noChangeAspect="1"/>
            </p:cNvPicPr>
            <p:nvPr/>
          </p:nvPicPr>
          <p:blipFill>
            <a:blip r:embed="rId8"/>
            <a:stretch>
              <a:fillRect/>
            </a:stretch>
          </p:blipFill>
          <p:spPr>
            <a:xfrm>
              <a:off x="7171762" y="2463376"/>
              <a:ext cx="734506" cy="453806"/>
            </a:xfrm>
            <a:prstGeom prst="rect">
              <a:avLst/>
            </a:prstGeom>
          </p:spPr>
        </p:pic>
      </p:grpSp>
      <p:grpSp>
        <p:nvGrpSpPr>
          <p:cNvPr id="2" name="Group 1">
            <a:extLst>
              <a:ext uri="{FF2B5EF4-FFF2-40B4-BE49-F238E27FC236}">
                <a16:creationId xmlns:a16="http://schemas.microsoft.com/office/drawing/2014/main" id="{0FB79E76-EDA3-7D4F-BB83-3A5EFAB4E6D3}"/>
              </a:ext>
            </a:extLst>
          </p:cNvPr>
          <p:cNvGrpSpPr/>
          <p:nvPr/>
        </p:nvGrpSpPr>
        <p:grpSpPr>
          <a:xfrm>
            <a:off x="484168" y="405102"/>
            <a:ext cx="8149736" cy="1681851"/>
            <a:chOff x="484167" y="195551"/>
            <a:chExt cx="8149736" cy="1681851"/>
          </a:xfrm>
        </p:grpSpPr>
        <p:sp>
          <p:nvSpPr>
            <p:cNvPr id="492" name="Oval 491">
              <a:extLst>
                <a:ext uri="{FF2B5EF4-FFF2-40B4-BE49-F238E27FC236}">
                  <a16:creationId xmlns:a16="http://schemas.microsoft.com/office/drawing/2014/main" id="{018B9A2D-DBEF-4D99-BE2C-C6199BD7088C}"/>
                </a:ext>
              </a:extLst>
            </p:cNvPr>
            <p:cNvSpPr/>
            <p:nvPr/>
          </p:nvSpPr>
          <p:spPr>
            <a:xfrm>
              <a:off x="484167" y="1143596"/>
              <a:ext cx="733806" cy="73380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dirty="0">
                <a:solidFill>
                  <a:srgbClr val="005073"/>
                </a:solidFill>
                <a:latin typeface="CiscoSansTT ExtraLight"/>
              </a:endParaRPr>
            </a:p>
          </p:txBody>
        </p:sp>
        <p:sp>
          <p:nvSpPr>
            <p:cNvPr id="493" name="Oval 492">
              <a:extLst>
                <a:ext uri="{FF2B5EF4-FFF2-40B4-BE49-F238E27FC236}">
                  <a16:creationId xmlns:a16="http://schemas.microsoft.com/office/drawing/2014/main" id="{BD717798-C836-47BF-A63C-8EFACE5FC15E}"/>
                </a:ext>
              </a:extLst>
            </p:cNvPr>
            <p:cNvSpPr/>
            <p:nvPr/>
          </p:nvSpPr>
          <p:spPr>
            <a:xfrm>
              <a:off x="2395590" y="1143596"/>
              <a:ext cx="733806" cy="73380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dirty="0">
                <a:solidFill>
                  <a:srgbClr val="005073"/>
                </a:solidFill>
                <a:latin typeface="CiscoSansTT ExtraLight"/>
              </a:endParaRPr>
            </a:p>
          </p:txBody>
        </p:sp>
        <p:sp>
          <p:nvSpPr>
            <p:cNvPr id="494" name="Rectangle: Rounded Corners 493">
              <a:extLst>
                <a:ext uri="{FF2B5EF4-FFF2-40B4-BE49-F238E27FC236}">
                  <a16:creationId xmlns:a16="http://schemas.microsoft.com/office/drawing/2014/main" id="{9F447E30-C6DC-431A-B4E9-4F937CA00834}"/>
                </a:ext>
              </a:extLst>
            </p:cNvPr>
            <p:cNvSpPr/>
            <p:nvPr/>
          </p:nvSpPr>
          <p:spPr>
            <a:xfrm>
              <a:off x="892156" y="1143596"/>
              <a:ext cx="1894770" cy="733806"/>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dirty="0">
                <a:solidFill>
                  <a:srgbClr val="005073"/>
                </a:solidFill>
                <a:latin typeface="CiscoSansTT ExtraLight"/>
              </a:endParaRPr>
            </a:p>
          </p:txBody>
        </p:sp>
        <p:sp>
          <p:nvSpPr>
            <p:cNvPr id="495" name="Oval 494">
              <a:extLst>
                <a:ext uri="{FF2B5EF4-FFF2-40B4-BE49-F238E27FC236}">
                  <a16:creationId xmlns:a16="http://schemas.microsoft.com/office/drawing/2014/main" id="{EF068B00-F1BB-4B28-8E25-1DDECEF93436}"/>
                </a:ext>
              </a:extLst>
            </p:cNvPr>
            <p:cNvSpPr/>
            <p:nvPr/>
          </p:nvSpPr>
          <p:spPr>
            <a:xfrm>
              <a:off x="3238668" y="1143596"/>
              <a:ext cx="733806" cy="73380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dirty="0">
                <a:solidFill>
                  <a:srgbClr val="005073"/>
                </a:solidFill>
                <a:latin typeface="CiscoSansTT ExtraLight"/>
              </a:endParaRPr>
            </a:p>
          </p:txBody>
        </p:sp>
        <p:sp>
          <p:nvSpPr>
            <p:cNvPr id="496" name="Oval 495">
              <a:extLst>
                <a:ext uri="{FF2B5EF4-FFF2-40B4-BE49-F238E27FC236}">
                  <a16:creationId xmlns:a16="http://schemas.microsoft.com/office/drawing/2014/main" id="{81775236-F6E3-4920-BA1B-6F3A1FABC8F4}"/>
                </a:ext>
              </a:extLst>
            </p:cNvPr>
            <p:cNvSpPr/>
            <p:nvPr/>
          </p:nvSpPr>
          <p:spPr>
            <a:xfrm>
              <a:off x="5150091" y="1143596"/>
              <a:ext cx="733806" cy="73380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dirty="0">
                <a:solidFill>
                  <a:srgbClr val="005073"/>
                </a:solidFill>
                <a:latin typeface="CiscoSansTT ExtraLight"/>
              </a:endParaRPr>
            </a:p>
          </p:txBody>
        </p:sp>
        <p:sp>
          <p:nvSpPr>
            <p:cNvPr id="497" name="Rectangle: Rounded Corners 496">
              <a:extLst>
                <a:ext uri="{FF2B5EF4-FFF2-40B4-BE49-F238E27FC236}">
                  <a16:creationId xmlns:a16="http://schemas.microsoft.com/office/drawing/2014/main" id="{864B3FC7-9CA6-4F6D-9939-98187173A7EF}"/>
                </a:ext>
              </a:extLst>
            </p:cNvPr>
            <p:cNvSpPr/>
            <p:nvPr/>
          </p:nvSpPr>
          <p:spPr>
            <a:xfrm>
              <a:off x="3646657" y="1143596"/>
              <a:ext cx="1894770" cy="733806"/>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dirty="0">
                <a:solidFill>
                  <a:srgbClr val="005073"/>
                </a:solidFill>
                <a:latin typeface="CiscoSansTT ExtraLight"/>
              </a:endParaRPr>
            </a:p>
          </p:txBody>
        </p:sp>
        <p:sp>
          <p:nvSpPr>
            <p:cNvPr id="498" name="Oval 497">
              <a:extLst>
                <a:ext uri="{FF2B5EF4-FFF2-40B4-BE49-F238E27FC236}">
                  <a16:creationId xmlns:a16="http://schemas.microsoft.com/office/drawing/2014/main" id="{51224790-C726-4BD7-B756-B1337FA34403}"/>
                </a:ext>
              </a:extLst>
            </p:cNvPr>
            <p:cNvSpPr/>
            <p:nvPr/>
          </p:nvSpPr>
          <p:spPr>
            <a:xfrm>
              <a:off x="5988674" y="1143596"/>
              <a:ext cx="733806" cy="73380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dirty="0">
                <a:solidFill>
                  <a:srgbClr val="005073"/>
                </a:solidFill>
                <a:latin typeface="CiscoSansTT ExtraLight"/>
              </a:endParaRPr>
            </a:p>
          </p:txBody>
        </p:sp>
        <p:sp>
          <p:nvSpPr>
            <p:cNvPr id="499" name="Oval 498">
              <a:extLst>
                <a:ext uri="{FF2B5EF4-FFF2-40B4-BE49-F238E27FC236}">
                  <a16:creationId xmlns:a16="http://schemas.microsoft.com/office/drawing/2014/main" id="{B02894F6-BEE4-48F2-8677-230FCDEFFD85}"/>
                </a:ext>
              </a:extLst>
            </p:cNvPr>
            <p:cNvSpPr/>
            <p:nvPr/>
          </p:nvSpPr>
          <p:spPr>
            <a:xfrm>
              <a:off x="7900097" y="1143596"/>
              <a:ext cx="733806" cy="73380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dirty="0">
                <a:solidFill>
                  <a:srgbClr val="005073"/>
                </a:solidFill>
                <a:latin typeface="CiscoSansTT ExtraLight"/>
              </a:endParaRPr>
            </a:p>
          </p:txBody>
        </p:sp>
        <p:sp>
          <p:nvSpPr>
            <p:cNvPr id="500" name="Rectangle: Rounded Corners 499">
              <a:extLst>
                <a:ext uri="{FF2B5EF4-FFF2-40B4-BE49-F238E27FC236}">
                  <a16:creationId xmlns:a16="http://schemas.microsoft.com/office/drawing/2014/main" id="{652D26DD-BA27-4542-B16A-EF5A0DC0E93B}"/>
                </a:ext>
              </a:extLst>
            </p:cNvPr>
            <p:cNvSpPr/>
            <p:nvPr/>
          </p:nvSpPr>
          <p:spPr>
            <a:xfrm>
              <a:off x="6396663" y="1143596"/>
              <a:ext cx="1894770" cy="733806"/>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dirty="0">
                <a:solidFill>
                  <a:srgbClr val="005073"/>
                </a:solidFill>
                <a:latin typeface="CiscoSansTT ExtraLight"/>
              </a:endParaRPr>
            </a:p>
          </p:txBody>
        </p:sp>
        <p:grpSp>
          <p:nvGrpSpPr>
            <p:cNvPr id="501" name="Group 25">
              <a:extLst>
                <a:ext uri="{FF2B5EF4-FFF2-40B4-BE49-F238E27FC236}">
                  <a16:creationId xmlns:a16="http://schemas.microsoft.com/office/drawing/2014/main" id="{AAB8D057-E65F-4736-8398-CDC3B0B3EF5A}"/>
                </a:ext>
              </a:extLst>
            </p:cNvPr>
            <p:cNvGrpSpPr>
              <a:grpSpLocks noChangeAspect="1"/>
            </p:cNvGrpSpPr>
            <p:nvPr/>
          </p:nvGrpSpPr>
          <p:grpSpPr bwMode="auto">
            <a:xfrm>
              <a:off x="1494475" y="1020265"/>
              <a:ext cx="255293" cy="255492"/>
              <a:chOff x="1800" y="539"/>
              <a:chExt cx="2544" cy="2546"/>
            </a:xfrm>
          </p:grpSpPr>
          <p:sp>
            <p:nvSpPr>
              <p:cNvPr id="502" name="Oval 26">
                <a:extLst>
                  <a:ext uri="{FF2B5EF4-FFF2-40B4-BE49-F238E27FC236}">
                    <a16:creationId xmlns:a16="http://schemas.microsoft.com/office/drawing/2014/main" id="{56F2B873-FF3F-47F0-90C0-B2F825FD43A4}"/>
                  </a:ext>
                </a:extLst>
              </p:cNvPr>
              <p:cNvSpPr>
                <a:spLocks noChangeArrowheads="1"/>
              </p:cNvSpPr>
              <p:nvPr/>
            </p:nvSpPr>
            <p:spPr bwMode="auto">
              <a:xfrm>
                <a:off x="1800"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03" name="Freeform 27">
                <a:extLst>
                  <a:ext uri="{FF2B5EF4-FFF2-40B4-BE49-F238E27FC236}">
                    <a16:creationId xmlns:a16="http://schemas.microsoft.com/office/drawing/2014/main" id="{E24062AF-EEA8-43B8-A94C-01D5BDF41DB7}"/>
                  </a:ext>
                </a:extLst>
              </p:cNvPr>
              <p:cNvSpPr>
                <a:spLocks/>
              </p:cNvSpPr>
              <p:nvPr/>
            </p:nvSpPr>
            <p:spPr bwMode="auto">
              <a:xfrm>
                <a:off x="2528" y="1069"/>
                <a:ext cx="1805" cy="2016"/>
              </a:xfrm>
              <a:custGeom>
                <a:avLst/>
                <a:gdLst>
                  <a:gd name="T0" fmla="*/ 1022 w 1022"/>
                  <a:gd name="T1" fmla="*/ 512 h 1140"/>
                  <a:gd name="T2" fmla="*/ 518 w 1022"/>
                  <a:gd name="T3" fmla="*/ 8 h 1140"/>
                  <a:gd name="T4" fmla="*/ 518 w 1022"/>
                  <a:gd name="T5" fmla="*/ 8 h 1140"/>
                  <a:gd name="T6" fmla="*/ 498 w 1022"/>
                  <a:gd name="T7" fmla="*/ 0 h 1140"/>
                  <a:gd name="T8" fmla="*/ 118 w 1022"/>
                  <a:gd name="T9" fmla="*/ 0 h 1140"/>
                  <a:gd name="T10" fmla="*/ 89 w 1022"/>
                  <a:gd name="T11" fmla="*/ 28 h 1140"/>
                  <a:gd name="T12" fmla="*/ 89 w 1022"/>
                  <a:gd name="T13" fmla="*/ 417 h 1140"/>
                  <a:gd name="T14" fmla="*/ 28 w 1022"/>
                  <a:gd name="T15" fmla="*/ 417 h 1140"/>
                  <a:gd name="T16" fmla="*/ 0 w 1022"/>
                  <a:gd name="T17" fmla="*/ 445 h 1140"/>
                  <a:gd name="T18" fmla="*/ 0 w 1022"/>
                  <a:gd name="T19" fmla="*/ 812 h 1140"/>
                  <a:gd name="T20" fmla="*/ 8 w 1022"/>
                  <a:gd name="T21" fmla="*/ 832 h 1140"/>
                  <a:gd name="T22" fmla="*/ 316 w 1022"/>
                  <a:gd name="T23" fmla="*/ 1140 h 1140"/>
                  <a:gd name="T24" fmla="*/ 1022 w 1022"/>
                  <a:gd name="T25" fmla="*/ 51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2" h="1140">
                    <a:moveTo>
                      <a:pt x="1022" y="512"/>
                    </a:moveTo>
                    <a:cubicBezTo>
                      <a:pt x="518" y="8"/>
                      <a:pt x="518" y="8"/>
                      <a:pt x="518" y="8"/>
                    </a:cubicBezTo>
                    <a:cubicBezTo>
                      <a:pt x="518" y="8"/>
                      <a:pt x="518" y="8"/>
                      <a:pt x="518" y="8"/>
                    </a:cubicBezTo>
                    <a:cubicBezTo>
                      <a:pt x="513" y="3"/>
                      <a:pt x="506"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0"/>
                      <a:pt x="3" y="827"/>
                      <a:pt x="8" y="832"/>
                    </a:cubicBezTo>
                    <a:cubicBezTo>
                      <a:pt x="316" y="1140"/>
                      <a:pt x="316" y="1140"/>
                      <a:pt x="316" y="1140"/>
                    </a:cubicBezTo>
                    <a:cubicBezTo>
                      <a:pt x="679" y="1136"/>
                      <a:pt x="977" y="864"/>
                      <a:pt x="1022" y="512"/>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04" name="Freeform 28">
                <a:extLst>
                  <a:ext uri="{FF2B5EF4-FFF2-40B4-BE49-F238E27FC236}">
                    <a16:creationId xmlns:a16="http://schemas.microsoft.com/office/drawing/2014/main" id="{1938E145-ACDF-45CF-86C5-A39BD17413B3}"/>
                  </a:ext>
                </a:extLst>
              </p:cNvPr>
              <p:cNvSpPr>
                <a:spLocks/>
              </p:cNvSpPr>
              <p:nvPr/>
            </p:nvSpPr>
            <p:spPr bwMode="auto">
              <a:xfrm>
                <a:off x="2528" y="1069"/>
                <a:ext cx="1088" cy="1487"/>
              </a:xfrm>
              <a:custGeom>
                <a:avLst/>
                <a:gdLst>
                  <a:gd name="T0" fmla="*/ 588 w 616"/>
                  <a:gd name="T1" fmla="*/ 417 h 841"/>
                  <a:gd name="T2" fmla="*/ 527 w 616"/>
                  <a:gd name="T3" fmla="*/ 417 h 841"/>
                  <a:gd name="T4" fmla="*/ 527 w 616"/>
                  <a:gd name="T5" fmla="*/ 28 h 841"/>
                  <a:gd name="T6" fmla="*/ 498 w 616"/>
                  <a:gd name="T7" fmla="*/ 0 h 841"/>
                  <a:gd name="T8" fmla="*/ 118 w 616"/>
                  <a:gd name="T9" fmla="*/ 0 h 841"/>
                  <a:gd name="T10" fmla="*/ 89 w 616"/>
                  <a:gd name="T11" fmla="*/ 28 h 841"/>
                  <a:gd name="T12" fmla="*/ 89 w 616"/>
                  <a:gd name="T13" fmla="*/ 417 h 841"/>
                  <a:gd name="T14" fmla="*/ 28 w 616"/>
                  <a:gd name="T15" fmla="*/ 417 h 841"/>
                  <a:gd name="T16" fmla="*/ 0 w 616"/>
                  <a:gd name="T17" fmla="*/ 445 h 841"/>
                  <a:gd name="T18" fmla="*/ 0 w 616"/>
                  <a:gd name="T19" fmla="*/ 812 h 841"/>
                  <a:gd name="T20" fmla="*/ 28 w 616"/>
                  <a:gd name="T21" fmla="*/ 841 h 841"/>
                  <a:gd name="T22" fmla="*/ 588 w 616"/>
                  <a:gd name="T23" fmla="*/ 841 h 841"/>
                  <a:gd name="T24" fmla="*/ 616 w 616"/>
                  <a:gd name="T25" fmla="*/ 812 h 841"/>
                  <a:gd name="T26" fmla="*/ 616 w 616"/>
                  <a:gd name="T27" fmla="*/ 445 h 841"/>
                  <a:gd name="T28" fmla="*/ 588 w 616"/>
                  <a:gd name="T29" fmla="*/ 417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6" h="841">
                    <a:moveTo>
                      <a:pt x="588" y="417"/>
                    </a:moveTo>
                    <a:cubicBezTo>
                      <a:pt x="527" y="417"/>
                      <a:pt x="527" y="417"/>
                      <a:pt x="527" y="417"/>
                    </a:cubicBezTo>
                    <a:cubicBezTo>
                      <a:pt x="527" y="28"/>
                      <a:pt x="527" y="28"/>
                      <a:pt x="527" y="28"/>
                    </a:cubicBezTo>
                    <a:cubicBezTo>
                      <a:pt x="527" y="12"/>
                      <a:pt x="514"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8"/>
                      <a:pt x="13" y="841"/>
                      <a:pt x="28" y="841"/>
                    </a:cubicBezTo>
                    <a:cubicBezTo>
                      <a:pt x="588" y="841"/>
                      <a:pt x="588" y="841"/>
                      <a:pt x="588" y="841"/>
                    </a:cubicBezTo>
                    <a:cubicBezTo>
                      <a:pt x="603" y="841"/>
                      <a:pt x="616" y="828"/>
                      <a:pt x="616" y="812"/>
                    </a:cubicBezTo>
                    <a:cubicBezTo>
                      <a:pt x="616" y="445"/>
                      <a:pt x="616" y="445"/>
                      <a:pt x="616" y="445"/>
                    </a:cubicBezTo>
                    <a:cubicBezTo>
                      <a:pt x="616" y="429"/>
                      <a:pt x="603" y="417"/>
                      <a:pt x="588" y="41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05" name="Freeform 29">
                <a:extLst>
                  <a:ext uri="{FF2B5EF4-FFF2-40B4-BE49-F238E27FC236}">
                    <a16:creationId xmlns:a16="http://schemas.microsoft.com/office/drawing/2014/main" id="{35C31108-432B-433E-BDED-F00B23F23514}"/>
                  </a:ext>
                </a:extLst>
              </p:cNvPr>
              <p:cNvSpPr>
                <a:spLocks/>
              </p:cNvSpPr>
              <p:nvPr/>
            </p:nvSpPr>
            <p:spPr bwMode="auto">
              <a:xfrm>
                <a:off x="2759"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100" y="108"/>
                      <a:pt x="108" y="100"/>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06" name="Freeform 30">
                <a:extLst>
                  <a:ext uri="{FF2B5EF4-FFF2-40B4-BE49-F238E27FC236}">
                    <a16:creationId xmlns:a16="http://schemas.microsoft.com/office/drawing/2014/main" id="{D94DCB4F-01A3-4F2B-9385-2CAD765BB36D}"/>
                  </a:ext>
                </a:extLst>
              </p:cNvPr>
              <p:cNvSpPr>
                <a:spLocks/>
              </p:cNvSpPr>
              <p:nvPr/>
            </p:nvSpPr>
            <p:spPr bwMode="auto">
              <a:xfrm>
                <a:off x="2977" y="1142"/>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07" name="Freeform 31">
                <a:extLst>
                  <a:ext uri="{FF2B5EF4-FFF2-40B4-BE49-F238E27FC236}">
                    <a16:creationId xmlns:a16="http://schemas.microsoft.com/office/drawing/2014/main" id="{CC178092-04EB-49A5-B39B-4AAB65D9D192}"/>
                  </a:ext>
                </a:extLst>
              </p:cNvPr>
              <p:cNvSpPr>
                <a:spLocks/>
              </p:cNvSpPr>
              <p:nvPr/>
            </p:nvSpPr>
            <p:spPr bwMode="auto">
              <a:xfrm>
                <a:off x="3194"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100"/>
                      <a:pt x="8"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08" name="Freeform 32">
                <a:extLst>
                  <a:ext uri="{FF2B5EF4-FFF2-40B4-BE49-F238E27FC236}">
                    <a16:creationId xmlns:a16="http://schemas.microsoft.com/office/drawing/2014/main" id="{0F8B79EB-62F6-46B4-9CCA-0B4F84A39EA7}"/>
                  </a:ext>
                </a:extLst>
              </p:cNvPr>
              <p:cNvSpPr>
                <a:spLocks/>
              </p:cNvSpPr>
              <p:nvPr/>
            </p:nvSpPr>
            <p:spPr bwMode="auto">
              <a:xfrm>
                <a:off x="2759"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09" name="Freeform 33">
                <a:extLst>
                  <a:ext uri="{FF2B5EF4-FFF2-40B4-BE49-F238E27FC236}">
                    <a16:creationId xmlns:a16="http://schemas.microsoft.com/office/drawing/2014/main" id="{01DE0B82-23C0-4A44-85E9-04F6051CD469}"/>
                  </a:ext>
                </a:extLst>
              </p:cNvPr>
              <p:cNvSpPr>
                <a:spLocks/>
              </p:cNvSpPr>
              <p:nvPr/>
            </p:nvSpPr>
            <p:spPr bwMode="auto">
              <a:xfrm>
                <a:off x="2977" y="1359"/>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0" name="Freeform 34">
                <a:extLst>
                  <a:ext uri="{FF2B5EF4-FFF2-40B4-BE49-F238E27FC236}">
                    <a16:creationId xmlns:a16="http://schemas.microsoft.com/office/drawing/2014/main" id="{409D4CED-0AB0-40C8-8112-5DDE43A3177C}"/>
                  </a:ext>
                </a:extLst>
              </p:cNvPr>
              <p:cNvSpPr>
                <a:spLocks/>
              </p:cNvSpPr>
              <p:nvPr/>
            </p:nvSpPr>
            <p:spPr bwMode="auto">
              <a:xfrm>
                <a:off x="3194"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1" name="Freeform 35">
                <a:extLst>
                  <a:ext uri="{FF2B5EF4-FFF2-40B4-BE49-F238E27FC236}">
                    <a16:creationId xmlns:a16="http://schemas.microsoft.com/office/drawing/2014/main" id="{DB0FE964-43A7-4952-A19E-196D38AE51A9}"/>
                  </a:ext>
                </a:extLst>
              </p:cNvPr>
              <p:cNvSpPr>
                <a:spLocks/>
              </p:cNvSpPr>
              <p:nvPr/>
            </p:nvSpPr>
            <p:spPr bwMode="auto">
              <a:xfrm>
                <a:off x="2759"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2" name="Freeform 36">
                <a:extLst>
                  <a:ext uri="{FF2B5EF4-FFF2-40B4-BE49-F238E27FC236}">
                    <a16:creationId xmlns:a16="http://schemas.microsoft.com/office/drawing/2014/main" id="{480171EE-01CE-49DF-9C9B-A42E7A84B414}"/>
                  </a:ext>
                </a:extLst>
              </p:cNvPr>
              <p:cNvSpPr>
                <a:spLocks/>
              </p:cNvSpPr>
              <p:nvPr/>
            </p:nvSpPr>
            <p:spPr bwMode="auto">
              <a:xfrm>
                <a:off x="2977" y="1577"/>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3" name="Freeform 37">
                <a:extLst>
                  <a:ext uri="{FF2B5EF4-FFF2-40B4-BE49-F238E27FC236}">
                    <a16:creationId xmlns:a16="http://schemas.microsoft.com/office/drawing/2014/main" id="{5AA83B7B-BBA2-496A-9195-3AD50A4DD48A}"/>
                  </a:ext>
                </a:extLst>
              </p:cNvPr>
              <p:cNvSpPr>
                <a:spLocks/>
              </p:cNvSpPr>
              <p:nvPr/>
            </p:nvSpPr>
            <p:spPr bwMode="auto">
              <a:xfrm>
                <a:off x="3194"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8"/>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4" name="Freeform 38">
                <a:extLst>
                  <a:ext uri="{FF2B5EF4-FFF2-40B4-BE49-F238E27FC236}">
                    <a16:creationId xmlns:a16="http://schemas.microsoft.com/office/drawing/2014/main" id="{B709A662-081A-40DD-BB23-93A9A1BC7321}"/>
                  </a:ext>
                </a:extLst>
              </p:cNvPr>
              <p:cNvSpPr>
                <a:spLocks/>
              </p:cNvSpPr>
              <p:nvPr/>
            </p:nvSpPr>
            <p:spPr bwMode="auto">
              <a:xfrm>
                <a:off x="2759"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5" name="Freeform 39">
                <a:extLst>
                  <a:ext uri="{FF2B5EF4-FFF2-40B4-BE49-F238E27FC236}">
                    <a16:creationId xmlns:a16="http://schemas.microsoft.com/office/drawing/2014/main" id="{D7EE77E0-7A07-481D-B0CA-17798A5E2D04}"/>
                  </a:ext>
                </a:extLst>
              </p:cNvPr>
              <p:cNvSpPr>
                <a:spLocks/>
              </p:cNvSpPr>
              <p:nvPr/>
            </p:nvSpPr>
            <p:spPr bwMode="auto">
              <a:xfrm>
                <a:off x="2977" y="1798"/>
                <a:ext cx="190"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6" name="Freeform 40">
                <a:extLst>
                  <a:ext uri="{FF2B5EF4-FFF2-40B4-BE49-F238E27FC236}">
                    <a16:creationId xmlns:a16="http://schemas.microsoft.com/office/drawing/2014/main" id="{CF66F53E-BC90-4215-B4C9-D9A037DEC6E0}"/>
                  </a:ext>
                </a:extLst>
              </p:cNvPr>
              <p:cNvSpPr>
                <a:spLocks/>
              </p:cNvSpPr>
              <p:nvPr/>
            </p:nvSpPr>
            <p:spPr bwMode="auto">
              <a:xfrm>
                <a:off x="3194"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7" name="Freeform 41">
                <a:extLst>
                  <a:ext uri="{FF2B5EF4-FFF2-40B4-BE49-F238E27FC236}">
                    <a16:creationId xmlns:a16="http://schemas.microsoft.com/office/drawing/2014/main" id="{1427AD6E-F51A-46F5-90A6-D7E68E150364}"/>
                  </a:ext>
                </a:extLst>
              </p:cNvPr>
              <p:cNvSpPr>
                <a:spLocks/>
              </p:cNvSpPr>
              <p:nvPr/>
            </p:nvSpPr>
            <p:spPr bwMode="auto">
              <a:xfrm>
                <a:off x="2759"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8" name="Freeform 42">
                <a:extLst>
                  <a:ext uri="{FF2B5EF4-FFF2-40B4-BE49-F238E27FC236}">
                    <a16:creationId xmlns:a16="http://schemas.microsoft.com/office/drawing/2014/main" id="{44FAC46F-ECDE-4B81-9A45-D2B4A767060D}"/>
                  </a:ext>
                </a:extLst>
              </p:cNvPr>
              <p:cNvSpPr>
                <a:spLocks/>
              </p:cNvSpPr>
              <p:nvPr/>
            </p:nvSpPr>
            <p:spPr bwMode="auto">
              <a:xfrm>
                <a:off x="2977" y="2015"/>
                <a:ext cx="190"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19" name="Freeform 43">
                <a:extLst>
                  <a:ext uri="{FF2B5EF4-FFF2-40B4-BE49-F238E27FC236}">
                    <a16:creationId xmlns:a16="http://schemas.microsoft.com/office/drawing/2014/main" id="{E7DB4834-D4CB-4D26-9AE2-51B58CB07240}"/>
                  </a:ext>
                </a:extLst>
              </p:cNvPr>
              <p:cNvSpPr>
                <a:spLocks/>
              </p:cNvSpPr>
              <p:nvPr/>
            </p:nvSpPr>
            <p:spPr bwMode="auto">
              <a:xfrm>
                <a:off x="3194"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20" name="Freeform 44">
                <a:extLst>
                  <a:ext uri="{FF2B5EF4-FFF2-40B4-BE49-F238E27FC236}">
                    <a16:creationId xmlns:a16="http://schemas.microsoft.com/office/drawing/2014/main" id="{BDB7B1AF-89D2-41A7-BFC5-E87EB8093EA8}"/>
                  </a:ext>
                </a:extLst>
              </p:cNvPr>
              <p:cNvSpPr>
                <a:spLocks/>
              </p:cNvSpPr>
              <p:nvPr/>
            </p:nvSpPr>
            <p:spPr bwMode="auto">
              <a:xfrm>
                <a:off x="2977" y="2228"/>
                <a:ext cx="190" cy="327"/>
              </a:xfrm>
              <a:custGeom>
                <a:avLst/>
                <a:gdLst>
                  <a:gd name="T0" fmla="*/ 108 w 108"/>
                  <a:gd name="T1" fmla="*/ 185 h 185"/>
                  <a:gd name="T2" fmla="*/ 108 w 108"/>
                  <a:gd name="T3" fmla="*/ 18 h 185"/>
                  <a:gd name="T4" fmla="*/ 89 w 108"/>
                  <a:gd name="T5" fmla="*/ 0 h 185"/>
                  <a:gd name="T6" fmla="*/ 19 w 108"/>
                  <a:gd name="T7" fmla="*/ 0 h 185"/>
                  <a:gd name="T8" fmla="*/ 0 w 108"/>
                  <a:gd name="T9" fmla="*/ 18 h 185"/>
                  <a:gd name="T10" fmla="*/ 0 w 108"/>
                  <a:gd name="T11" fmla="*/ 185 h 185"/>
                  <a:gd name="T12" fmla="*/ 108 w 108"/>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108" h="185">
                    <a:moveTo>
                      <a:pt x="108" y="185"/>
                    </a:moveTo>
                    <a:cubicBezTo>
                      <a:pt x="108" y="18"/>
                      <a:pt x="108" y="18"/>
                      <a:pt x="108" y="18"/>
                    </a:cubicBezTo>
                    <a:cubicBezTo>
                      <a:pt x="108" y="8"/>
                      <a:pt x="99" y="0"/>
                      <a:pt x="89" y="0"/>
                    </a:cubicBezTo>
                    <a:cubicBezTo>
                      <a:pt x="19" y="0"/>
                      <a:pt x="19" y="0"/>
                      <a:pt x="19" y="0"/>
                    </a:cubicBezTo>
                    <a:cubicBezTo>
                      <a:pt x="9" y="0"/>
                      <a:pt x="0" y="8"/>
                      <a:pt x="0" y="18"/>
                    </a:cubicBezTo>
                    <a:cubicBezTo>
                      <a:pt x="0" y="185"/>
                      <a:pt x="0" y="185"/>
                      <a:pt x="0" y="185"/>
                    </a:cubicBezTo>
                    <a:lnTo>
                      <a:pt x="108" y="185"/>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grpSp>
        <p:grpSp>
          <p:nvGrpSpPr>
            <p:cNvPr id="521" name="Graphic 3">
              <a:extLst>
                <a:ext uri="{FF2B5EF4-FFF2-40B4-BE49-F238E27FC236}">
                  <a16:creationId xmlns:a16="http://schemas.microsoft.com/office/drawing/2014/main" id="{54112182-8834-471E-9E31-45EC10050F02}"/>
                </a:ext>
              </a:extLst>
            </p:cNvPr>
            <p:cNvGrpSpPr>
              <a:grpSpLocks noChangeAspect="1"/>
            </p:cNvGrpSpPr>
            <p:nvPr/>
          </p:nvGrpSpPr>
          <p:grpSpPr>
            <a:xfrm>
              <a:off x="2342688" y="1020265"/>
              <a:ext cx="255492" cy="255492"/>
              <a:chOff x="2850355" y="850105"/>
              <a:chExt cx="3438524" cy="3438525"/>
            </a:xfrm>
          </p:grpSpPr>
          <p:sp>
            <p:nvSpPr>
              <p:cNvPr id="522" name="Freeform: Shape 521">
                <a:extLst>
                  <a:ext uri="{FF2B5EF4-FFF2-40B4-BE49-F238E27FC236}">
                    <a16:creationId xmlns:a16="http://schemas.microsoft.com/office/drawing/2014/main" id="{308B6F75-9C56-46A9-9DC2-C1C4BE9CFCEA}"/>
                  </a:ext>
                </a:extLst>
              </p:cNvPr>
              <p:cNvSpPr/>
              <p:nvPr/>
            </p:nvSpPr>
            <p:spPr>
              <a:xfrm>
                <a:off x="2850355" y="850105"/>
                <a:ext cx="3438524" cy="3438525"/>
              </a:xfrm>
              <a:custGeom>
                <a:avLst/>
                <a:gdLst>
                  <a:gd name="connsiteX0" fmla="*/ 3432334 w 3438525"/>
                  <a:gd name="connsiteY0" fmla="*/ 1719739 h 3438525"/>
                  <a:gd name="connsiteX1" fmla="*/ 1719739 w 3438525"/>
                  <a:gd name="connsiteY1" fmla="*/ 3432334 h 3438525"/>
                  <a:gd name="connsiteX2" fmla="*/ 7144 w 3438525"/>
                  <a:gd name="connsiteY2" fmla="*/ 1719739 h 3438525"/>
                  <a:gd name="connsiteX3" fmla="*/ 1719739 w 3438525"/>
                  <a:gd name="connsiteY3" fmla="*/ 7144 h 3438525"/>
                  <a:gd name="connsiteX4" fmla="*/ 3432334 w 3438525"/>
                  <a:gd name="connsiteY4" fmla="*/ 1719739 h 343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25" h="3438525">
                    <a:moveTo>
                      <a:pt x="3432334" y="1719739"/>
                    </a:moveTo>
                    <a:cubicBezTo>
                      <a:pt x="3432334" y="2665579"/>
                      <a:pt x="2665579" y="3432334"/>
                      <a:pt x="1719739" y="3432334"/>
                    </a:cubicBezTo>
                    <a:cubicBezTo>
                      <a:pt x="773899" y="3432334"/>
                      <a:pt x="7144" y="2665579"/>
                      <a:pt x="7144" y="1719739"/>
                    </a:cubicBezTo>
                    <a:cubicBezTo>
                      <a:pt x="7144" y="773899"/>
                      <a:pt x="773899" y="7144"/>
                      <a:pt x="1719739" y="7144"/>
                    </a:cubicBezTo>
                    <a:cubicBezTo>
                      <a:pt x="2665579" y="7144"/>
                      <a:pt x="3432334" y="773899"/>
                      <a:pt x="3432334" y="1719739"/>
                    </a:cubicBezTo>
                    <a:close/>
                  </a:path>
                </a:pathLst>
              </a:custGeom>
              <a:solidFill>
                <a:schemeClr val="accent1"/>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23" name="Freeform: Shape 522">
                <a:extLst>
                  <a:ext uri="{FF2B5EF4-FFF2-40B4-BE49-F238E27FC236}">
                    <a16:creationId xmlns:a16="http://schemas.microsoft.com/office/drawing/2014/main" id="{1DCF4373-52AB-427C-82B8-230A0F865297}"/>
                  </a:ext>
                </a:extLst>
              </p:cNvPr>
              <p:cNvSpPr/>
              <p:nvPr/>
            </p:nvSpPr>
            <p:spPr>
              <a:xfrm>
                <a:off x="3004353" y="1182867"/>
                <a:ext cx="3276600" cy="3105150"/>
              </a:xfrm>
              <a:custGeom>
                <a:avLst/>
                <a:gdLst>
                  <a:gd name="connsiteX0" fmla="*/ 3278337 w 3276600"/>
                  <a:gd name="connsiteY0" fmla="*/ 1386978 h 3105150"/>
                  <a:gd name="connsiteX1" fmla="*/ 3265954 w 3276600"/>
                  <a:gd name="connsiteY1" fmla="*/ 1184096 h 3105150"/>
                  <a:gd name="connsiteX2" fmla="*/ 2303929 w 3276600"/>
                  <a:gd name="connsiteY2" fmla="*/ 222071 h 3105150"/>
                  <a:gd name="connsiteX3" fmla="*/ 2291547 w 3276600"/>
                  <a:gd name="connsiteY3" fmla="*/ 209688 h 3105150"/>
                  <a:gd name="connsiteX4" fmla="*/ 2283927 w 3276600"/>
                  <a:gd name="connsiteY4" fmla="*/ 203021 h 3105150"/>
                  <a:gd name="connsiteX5" fmla="*/ 1292374 w 3276600"/>
                  <a:gd name="connsiteY5" fmla="*/ 210641 h 3105150"/>
                  <a:gd name="connsiteX6" fmla="*/ 1283802 w 3276600"/>
                  <a:gd name="connsiteY6" fmla="*/ 324941 h 3105150"/>
                  <a:gd name="connsiteX7" fmla="*/ 1288564 w 3276600"/>
                  <a:gd name="connsiteY7" fmla="*/ 329703 h 3105150"/>
                  <a:gd name="connsiteX8" fmla="*/ 1288564 w 3276600"/>
                  <a:gd name="connsiteY8" fmla="*/ 329703 h 3105150"/>
                  <a:gd name="connsiteX9" fmla="*/ 1460014 w 3276600"/>
                  <a:gd name="connsiteY9" fmla="*/ 501153 h 3105150"/>
                  <a:gd name="connsiteX10" fmla="*/ 1477159 w 3276600"/>
                  <a:gd name="connsiteY10" fmla="*/ 534491 h 3105150"/>
                  <a:gd name="connsiteX11" fmla="*/ 1481922 w 3276600"/>
                  <a:gd name="connsiteY11" fmla="*/ 539253 h 3105150"/>
                  <a:gd name="connsiteX12" fmla="*/ 1481922 w 3276600"/>
                  <a:gd name="connsiteY12" fmla="*/ 539253 h 3105150"/>
                  <a:gd name="connsiteX13" fmla="*/ 1707664 w 3276600"/>
                  <a:gd name="connsiteY13" fmla="*/ 764996 h 3105150"/>
                  <a:gd name="connsiteX14" fmla="*/ 1728619 w 3276600"/>
                  <a:gd name="connsiteY14" fmla="*/ 787856 h 3105150"/>
                  <a:gd name="connsiteX15" fmla="*/ 2197249 w 3276600"/>
                  <a:gd name="connsiteY15" fmla="*/ 1256486 h 3105150"/>
                  <a:gd name="connsiteX16" fmla="*/ 2197249 w 3276600"/>
                  <a:gd name="connsiteY16" fmla="*/ 1769883 h 3105150"/>
                  <a:gd name="connsiteX17" fmla="*/ 2214394 w 3276600"/>
                  <a:gd name="connsiteY17" fmla="*/ 1819413 h 3105150"/>
                  <a:gd name="connsiteX18" fmla="*/ 1496209 w 3276600"/>
                  <a:gd name="connsiteY18" fmla="*/ 1101228 h 3105150"/>
                  <a:gd name="connsiteX19" fmla="*/ 1496209 w 3276600"/>
                  <a:gd name="connsiteY19" fmla="*/ 1101228 h 3105150"/>
                  <a:gd name="connsiteX20" fmla="*/ 1489542 w 3276600"/>
                  <a:gd name="connsiteY20" fmla="*/ 1095513 h 3105150"/>
                  <a:gd name="connsiteX21" fmla="*/ 1135212 w 3276600"/>
                  <a:gd name="connsiteY21" fmla="*/ 855483 h 3105150"/>
                  <a:gd name="connsiteX22" fmla="*/ 811362 w 3276600"/>
                  <a:gd name="connsiteY22" fmla="*/ 625931 h 3105150"/>
                  <a:gd name="connsiteX23" fmla="*/ 707539 w 3276600"/>
                  <a:gd name="connsiteY23" fmla="*/ 625931 h 3105150"/>
                  <a:gd name="connsiteX24" fmla="*/ 446554 w 3276600"/>
                  <a:gd name="connsiteY24" fmla="*/ 811668 h 3105150"/>
                  <a:gd name="connsiteX25" fmla="*/ 34122 w 3276600"/>
                  <a:gd name="connsiteY25" fmla="*/ 1099324 h 3105150"/>
                  <a:gd name="connsiteX26" fmla="*/ 17929 w 3276600"/>
                  <a:gd name="connsiteY26" fmla="*/ 1185049 h 3105150"/>
                  <a:gd name="connsiteX27" fmla="*/ 26502 w 3276600"/>
                  <a:gd name="connsiteY27" fmla="*/ 1194574 h 3105150"/>
                  <a:gd name="connsiteX28" fmla="*/ 26502 w 3276600"/>
                  <a:gd name="connsiteY28" fmla="*/ 1194574 h 3105150"/>
                  <a:gd name="connsiteX29" fmla="*/ 307489 w 3276600"/>
                  <a:gd name="connsiteY29" fmla="*/ 1475561 h 3105150"/>
                  <a:gd name="connsiteX30" fmla="*/ 307489 w 3276600"/>
                  <a:gd name="connsiteY30" fmla="*/ 1591766 h 3105150"/>
                  <a:gd name="connsiteX31" fmla="*/ 307489 w 3276600"/>
                  <a:gd name="connsiteY31" fmla="*/ 1591766 h 3105150"/>
                  <a:gd name="connsiteX32" fmla="*/ 307489 w 3276600"/>
                  <a:gd name="connsiteY32" fmla="*/ 1591766 h 3105150"/>
                  <a:gd name="connsiteX33" fmla="*/ 960904 w 3276600"/>
                  <a:gd name="connsiteY33" fmla="*/ 2245181 h 3105150"/>
                  <a:gd name="connsiteX34" fmla="*/ 945664 w 3276600"/>
                  <a:gd name="connsiteY34" fmla="*/ 2301378 h 3105150"/>
                  <a:gd name="connsiteX35" fmla="*/ 945664 w 3276600"/>
                  <a:gd name="connsiteY35" fmla="*/ 2633801 h 3105150"/>
                  <a:gd name="connsiteX36" fmla="*/ 945664 w 3276600"/>
                  <a:gd name="connsiteY36" fmla="*/ 2633801 h 3105150"/>
                  <a:gd name="connsiteX37" fmla="*/ 945664 w 3276600"/>
                  <a:gd name="connsiteY37" fmla="*/ 2633801 h 3105150"/>
                  <a:gd name="connsiteX38" fmla="*/ 1402864 w 3276600"/>
                  <a:gd name="connsiteY38" fmla="*/ 3091001 h 3105150"/>
                  <a:gd name="connsiteX39" fmla="*/ 1565742 w 3276600"/>
                  <a:gd name="connsiteY39" fmla="*/ 3098621 h 3105150"/>
                  <a:gd name="connsiteX40" fmla="*/ 3278337 w 3276600"/>
                  <a:gd name="connsiteY40" fmla="*/ 1386978 h 310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6600" h="3105150">
                    <a:moveTo>
                      <a:pt x="3278337" y="1386978"/>
                    </a:moveTo>
                    <a:cubicBezTo>
                      <a:pt x="3278337" y="1318399"/>
                      <a:pt x="3274527" y="1250771"/>
                      <a:pt x="3265954" y="1184096"/>
                    </a:cubicBezTo>
                    <a:lnTo>
                      <a:pt x="2303929" y="222071"/>
                    </a:lnTo>
                    <a:cubicBezTo>
                      <a:pt x="2300119" y="217308"/>
                      <a:pt x="2296309" y="213498"/>
                      <a:pt x="2291547" y="209688"/>
                    </a:cubicBezTo>
                    <a:lnTo>
                      <a:pt x="2283927" y="203021"/>
                    </a:lnTo>
                    <a:cubicBezTo>
                      <a:pt x="1972459" y="-60822"/>
                      <a:pt x="1601937" y="-57964"/>
                      <a:pt x="1292374" y="210641"/>
                    </a:cubicBezTo>
                    <a:cubicBezTo>
                      <a:pt x="1258084" y="240168"/>
                      <a:pt x="1255227" y="290651"/>
                      <a:pt x="1283802" y="324941"/>
                    </a:cubicBezTo>
                    <a:cubicBezTo>
                      <a:pt x="1285707" y="326846"/>
                      <a:pt x="1286659" y="328751"/>
                      <a:pt x="1288564" y="329703"/>
                    </a:cubicBezTo>
                    <a:lnTo>
                      <a:pt x="1288564" y="329703"/>
                    </a:lnTo>
                    <a:lnTo>
                      <a:pt x="1460014" y="501153"/>
                    </a:lnTo>
                    <a:cubicBezTo>
                      <a:pt x="1462872" y="512583"/>
                      <a:pt x="1468587" y="524013"/>
                      <a:pt x="1477159" y="534491"/>
                    </a:cubicBezTo>
                    <a:cubicBezTo>
                      <a:pt x="1479064" y="536396"/>
                      <a:pt x="1480017" y="537348"/>
                      <a:pt x="1481922" y="539253"/>
                    </a:cubicBezTo>
                    <a:lnTo>
                      <a:pt x="1481922" y="539253"/>
                    </a:lnTo>
                    <a:lnTo>
                      <a:pt x="1707664" y="764996"/>
                    </a:lnTo>
                    <a:cubicBezTo>
                      <a:pt x="1713379" y="773568"/>
                      <a:pt x="1720047" y="781188"/>
                      <a:pt x="1728619" y="787856"/>
                    </a:cubicBezTo>
                    <a:lnTo>
                      <a:pt x="2197249" y="1256486"/>
                    </a:lnTo>
                    <a:lnTo>
                      <a:pt x="2197249" y="1769883"/>
                    </a:lnTo>
                    <a:cubicBezTo>
                      <a:pt x="2197249" y="1788933"/>
                      <a:pt x="2203917" y="1806078"/>
                      <a:pt x="2214394" y="1819413"/>
                    </a:cubicBezTo>
                    <a:lnTo>
                      <a:pt x="1496209" y="1101228"/>
                    </a:lnTo>
                    <a:lnTo>
                      <a:pt x="1496209" y="1101228"/>
                    </a:lnTo>
                    <a:cubicBezTo>
                      <a:pt x="1494304" y="1099324"/>
                      <a:pt x="1491447" y="1097418"/>
                      <a:pt x="1489542" y="1095513"/>
                    </a:cubicBezTo>
                    <a:lnTo>
                      <a:pt x="1135212" y="855483"/>
                    </a:lnTo>
                    <a:lnTo>
                      <a:pt x="811362" y="625931"/>
                    </a:lnTo>
                    <a:cubicBezTo>
                      <a:pt x="779929" y="604023"/>
                      <a:pt x="738972" y="604023"/>
                      <a:pt x="707539" y="625931"/>
                    </a:cubicBezTo>
                    <a:lnTo>
                      <a:pt x="446554" y="811668"/>
                    </a:lnTo>
                    <a:lnTo>
                      <a:pt x="34122" y="1099324"/>
                    </a:lnTo>
                    <a:cubicBezTo>
                      <a:pt x="5547" y="1118374"/>
                      <a:pt x="-1121" y="1157426"/>
                      <a:pt x="17929" y="1185049"/>
                    </a:cubicBezTo>
                    <a:cubicBezTo>
                      <a:pt x="20787" y="1188858"/>
                      <a:pt x="23644" y="1191716"/>
                      <a:pt x="26502" y="1194574"/>
                    </a:cubicBezTo>
                    <a:lnTo>
                      <a:pt x="26502" y="1194574"/>
                    </a:lnTo>
                    <a:lnTo>
                      <a:pt x="307489" y="1475561"/>
                    </a:lnTo>
                    <a:lnTo>
                      <a:pt x="307489" y="1591766"/>
                    </a:lnTo>
                    <a:lnTo>
                      <a:pt x="307489" y="1591766"/>
                    </a:lnTo>
                    <a:lnTo>
                      <a:pt x="307489" y="1591766"/>
                    </a:lnTo>
                    <a:lnTo>
                      <a:pt x="960904" y="2245181"/>
                    </a:lnTo>
                    <a:cubicBezTo>
                      <a:pt x="951379" y="2261374"/>
                      <a:pt x="945664" y="2280424"/>
                      <a:pt x="945664" y="2301378"/>
                    </a:cubicBezTo>
                    <a:lnTo>
                      <a:pt x="945664" y="2633801"/>
                    </a:lnTo>
                    <a:lnTo>
                      <a:pt x="945664" y="2633801"/>
                    </a:lnTo>
                    <a:lnTo>
                      <a:pt x="945664" y="2633801"/>
                    </a:lnTo>
                    <a:lnTo>
                      <a:pt x="1402864" y="3091001"/>
                    </a:lnTo>
                    <a:cubicBezTo>
                      <a:pt x="1456204" y="3095764"/>
                      <a:pt x="1510497" y="3098621"/>
                      <a:pt x="1565742" y="3098621"/>
                    </a:cubicBezTo>
                    <a:cubicBezTo>
                      <a:pt x="2511574" y="3099574"/>
                      <a:pt x="3278337" y="2332811"/>
                      <a:pt x="3278337" y="1386978"/>
                    </a:cubicBezTo>
                    <a:close/>
                  </a:path>
                </a:pathLst>
              </a:custGeom>
              <a:solidFill>
                <a:srgbClr val="00A3E0"/>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24" name="Freeform: Shape 523">
                <a:extLst>
                  <a:ext uri="{FF2B5EF4-FFF2-40B4-BE49-F238E27FC236}">
                    <a16:creationId xmlns:a16="http://schemas.microsoft.com/office/drawing/2014/main" id="{1476E2CA-EC06-41B5-B612-122A6DCDE006}"/>
                  </a:ext>
                </a:extLst>
              </p:cNvPr>
              <p:cNvSpPr/>
              <p:nvPr/>
            </p:nvSpPr>
            <p:spPr>
              <a:xfrm>
                <a:off x="5193506" y="1916906"/>
                <a:ext cx="809625" cy="1333500"/>
              </a:xfrm>
              <a:custGeom>
                <a:avLst/>
                <a:gdLst>
                  <a:gd name="connsiteX0" fmla="*/ 739616 w 809625"/>
                  <a:gd name="connsiteY0" fmla="*/ 510064 h 1333500"/>
                  <a:gd name="connsiteX1" fmla="*/ 739616 w 809625"/>
                  <a:gd name="connsiteY1" fmla="*/ 290036 h 1333500"/>
                  <a:gd name="connsiteX2" fmla="*/ 660559 w 809625"/>
                  <a:gd name="connsiteY2" fmla="*/ 210979 h 1333500"/>
                  <a:gd name="connsiteX3" fmla="*/ 560546 w 809625"/>
                  <a:gd name="connsiteY3" fmla="*/ 210979 h 1333500"/>
                  <a:gd name="connsiteX4" fmla="*/ 560546 w 809625"/>
                  <a:gd name="connsiteY4" fmla="*/ 86201 h 1333500"/>
                  <a:gd name="connsiteX5" fmla="*/ 481489 w 809625"/>
                  <a:gd name="connsiteY5" fmla="*/ 7144 h 1333500"/>
                  <a:gd name="connsiteX6" fmla="*/ 265271 w 809625"/>
                  <a:gd name="connsiteY6" fmla="*/ 7144 h 1333500"/>
                  <a:gd name="connsiteX7" fmla="*/ 186214 w 809625"/>
                  <a:gd name="connsiteY7" fmla="*/ 86201 h 1333500"/>
                  <a:gd name="connsiteX8" fmla="*/ 186214 w 809625"/>
                  <a:gd name="connsiteY8" fmla="*/ 210979 h 1333500"/>
                  <a:gd name="connsiteX9" fmla="*/ 86201 w 809625"/>
                  <a:gd name="connsiteY9" fmla="*/ 210979 h 1333500"/>
                  <a:gd name="connsiteX10" fmla="*/ 7144 w 809625"/>
                  <a:gd name="connsiteY10" fmla="*/ 290036 h 1333500"/>
                  <a:gd name="connsiteX11" fmla="*/ 7144 w 809625"/>
                  <a:gd name="connsiteY11" fmla="*/ 1035844 h 1333500"/>
                  <a:gd name="connsiteX12" fmla="*/ 86201 w 809625"/>
                  <a:gd name="connsiteY12" fmla="*/ 1114901 h 1333500"/>
                  <a:gd name="connsiteX13" fmla="*/ 186214 w 809625"/>
                  <a:gd name="connsiteY13" fmla="*/ 1114901 h 1333500"/>
                  <a:gd name="connsiteX14" fmla="*/ 186214 w 809625"/>
                  <a:gd name="connsiteY14" fmla="*/ 1248251 h 1333500"/>
                  <a:gd name="connsiteX15" fmla="*/ 265271 w 809625"/>
                  <a:gd name="connsiteY15" fmla="*/ 1327309 h 1333500"/>
                  <a:gd name="connsiteX16" fmla="*/ 481489 w 809625"/>
                  <a:gd name="connsiteY16" fmla="*/ 1327309 h 1333500"/>
                  <a:gd name="connsiteX17" fmla="*/ 560546 w 809625"/>
                  <a:gd name="connsiteY17" fmla="*/ 1248251 h 1333500"/>
                  <a:gd name="connsiteX18" fmla="*/ 560546 w 809625"/>
                  <a:gd name="connsiteY18" fmla="*/ 1114901 h 1333500"/>
                  <a:gd name="connsiteX19" fmla="*/ 660559 w 809625"/>
                  <a:gd name="connsiteY19" fmla="*/ 1114901 h 1333500"/>
                  <a:gd name="connsiteX20" fmla="*/ 739616 w 809625"/>
                  <a:gd name="connsiteY20" fmla="*/ 1035844 h 1333500"/>
                  <a:gd name="connsiteX21" fmla="*/ 739616 w 809625"/>
                  <a:gd name="connsiteY21" fmla="*/ 815816 h 1333500"/>
                  <a:gd name="connsiteX22" fmla="*/ 808196 w 809625"/>
                  <a:gd name="connsiteY22" fmla="*/ 737711 h 1333500"/>
                  <a:gd name="connsiteX23" fmla="*/ 808196 w 809625"/>
                  <a:gd name="connsiteY23" fmla="*/ 588169 h 1333500"/>
                  <a:gd name="connsiteX24" fmla="*/ 739616 w 809625"/>
                  <a:gd name="connsiteY24" fmla="*/ 510064 h 1333500"/>
                  <a:gd name="connsiteX25" fmla="*/ 594836 w 809625"/>
                  <a:gd name="connsiteY25" fmla="*/ 957739 h 1333500"/>
                  <a:gd name="connsiteX26" fmla="*/ 145256 w 809625"/>
                  <a:gd name="connsiteY26" fmla="*/ 957739 h 1333500"/>
                  <a:gd name="connsiteX27" fmla="*/ 145256 w 809625"/>
                  <a:gd name="connsiteY27" fmla="*/ 368141 h 1333500"/>
                  <a:gd name="connsiteX28" fmla="*/ 594836 w 809625"/>
                  <a:gd name="connsiteY28" fmla="*/ 368141 h 1333500"/>
                  <a:gd name="connsiteX29" fmla="*/ 594836 w 809625"/>
                  <a:gd name="connsiteY29" fmla="*/ 957739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1333500">
                    <a:moveTo>
                      <a:pt x="739616" y="510064"/>
                    </a:moveTo>
                    <a:lnTo>
                      <a:pt x="739616" y="290036"/>
                    </a:lnTo>
                    <a:cubicBezTo>
                      <a:pt x="739616" y="246221"/>
                      <a:pt x="704374" y="210979"/>
                      <a:pt x="660559" y="210979"/>
                    </a:cubicBezTo>
                    <a:lnTo>
                      <a:pt x="560546" y="210979"/>
                    </a:lnTo>
                    <a:lnTo>
                      <a:pt x="560546" y="86201"/>
                    </a:lnTo>
                    <a:cubicBezTo>
                      <a:pt x="560546" y="42386"/>
                      <a:pt x="525304" y="7144"/>
                      <a:pt x="481489" y="7144"/>
                    </a:cubicBezTo>
                    <a:lnTo>
                      <a:pt x="265271" y="7144"/>
                    </a:lnTo>
                    <a:cubicBezTo>
                      <a:pt x="221456" y="7144"/>
                      <a:pt x="186214" y="42386"/>
                      <a:pt x="186214" y="86201"/>
                    </a:cubicBezTo>
                    <a:lnTo>
                      <a:pt x="186214" y="210979"/>
                    </a:lnTo>
                    <a:lnTo>
                      <a:pt x="86201" y="210979"/>
                    </a:lnTo>
                    <a:cubicBezTo>
                      <a:pt x="42386" y="210979"/>
                      <a:pt x="7144" y="246221"/>
                      <a:pt x="7144" y="290036"/>
                    </a:cubicBezTo>
                    <a:lnTo>
                      <a:pt x="7144" y="1035844"/>
                    </a:lnTo>
                    <a:cubicBezTo>
                      <a:pt x="7144" y="1079659"/>
                      <a:pt x="42386" y="1114901"/>
                      <a:pt x="86201" y="1114901"/>
                    </a:cubicBezTo>
                    <a:lnTo>
                      <a:pt x="186214" y="1114901"/>
                    </a:lnTo>
                    <a:lnTo>
                      <a:pt x="186214" y="1248251"/>
                    </a:lnTo>
                    <a:cubicBezTo>
                      <a:pt x="186214" y="1292066"/>
                      <a:pt x="221456" y="1327309"/>
                      <a:pt x="265271" y="1327309"/>
                    </a:cubicBezTo>
                    <a:lnTo>
                      <a:pt x="481489" y="1327309"/>
                    </a:lnTo>
                    <a:cubicBezTo>
                      <a:pt x="525304" y="1327309"/>
                      <a:pt x="560546" y="1292066"/>
                      <a:pt x="560546" y="1248251"/>
                    </a:cubicBezTo>
                    <a:lnTo>
                      <a:pt x="560546" y="1114901"/>
                    </a:lnTo>
                    <a:lnTo>
                      <a:pt x="660559" y="1114901"/>
                    </a:lnTo>
                    <a:cubicBezTo>
                      <a:pt x="704374" y="1114901"/>
                      <a:pt x="739616" y="1079659"/>
                      <a:pt x="739616" y="1035844"/>
                    </a:cubicBezTo>
                    <a:lnTo>
                      <a:pt x="739616" y="815816"/>
                    </a:lnTo>
                    <a:cubicBezTo>
                      <a:pt x="778669" y="811054"/>
                      <a:pt x="808196" y="777716"/>
                      <a:pt x="808196" y="737711"/>
                    </a:cubicBezTo>
                    <a:lnTo>
                      <a:pt x="808196" y="588169"/>
                    </a:lnTo>
                    <a:cubicBezTo>
                      <a:pt x="808196" y="548164"/>
                      <a:pt x="778669" y="514826"/>
                      <a:pt x="739616" y="510064"/>
                    </a:cubicBezTo>
                    <a:close/>
                    <a:moveTo>
                      <a:pt x="594836" y="957739"/>
                    </a:moveTo>
                    <a:lnTo>
                      <a:pt x="145256" y="957739"/>
                    </a:lnTo>
                    <a:lnTo>
                      <a:pt x="145256" y="368141"/>
                    </a:lnTo>
                    <a:lnTo>
                      <a:pt x="594836" y="368141"/>
                    </a:lnTo>
                    <a:lnTo>
                      <a:pt x="594836" y="957739"/>
                    </a:lnTo>
                    <a:close/>
                  </a:path>
                </a:pathLst>
              </a:custGeom>
              <a:solidFill>
                <a:schemeClr val="bg2"/>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25" name="Freeform: Shape 524">
                <a:extLst>
                  <a:ext uri="{FF2B5EF4-FFF2-40B4-BE49-F238E27FC236}">
                    <a16:creationId xmlns:a16="http://schemas.microsoft.com/office/drawing/2014/main" id="{F20B84BE-97E4-4BBE-8FD3-A9D914885E89}"/>
                  </a:ext>
                </a:extLst>
              </p:cNvPr>
              <p:cNvSpPr/>
              <p:nvPr/>
            </p:nvSpPr>
            <p:spPr>
              <a:xfrm>
                <a:off x="3004353" y="1785223"/>
                <a:ext cx="1514475" cy="990600"/>
              </a:xfrm>
              <a:custGeom>
                <a:avLst/>
                <a:gdLst>
                  <a:gd name="connsiteX0" fmla="*/ 1488589 w 1514475"/>
                  <a:gd name="connsiteY0" fmla="*/ 493157 h 990600"/>
                  <a:gd name="connsiteX1" fmla="*/ 1135212 w 1514475"/>
                  <a:gd name="connsiteY1" fmla="*/ 253127 h 990600"/>
                  <a:gd name="connsiteX2" fmla="*/ 811362 w 1514475"/>
                  <a:gd name="connsiteY2" fmla="*/ 23574 h 990600"/>
                  <a:gd name="connsiteX3" fmla="*/ 707539 w 1514475"/>
                  <a:gd name="connsiteY3" fmla="*/ 23574 h 990600"/>
                  <a:gd name="connsiteX4" fmla="*/ 446554 w 1514475"/>
                  <a:gd name="connsiteY4" fmla="*/ 209312 h 990600"/>
                  <a:gd name="connsiteX5" fmla="*/ 34122 w 1514475"/>
                  <a:gd name="connsiteY5" fmla="*/ 496967 h 990600"/>
                  <a:gd name="connsiteX6" fmla="*/ 17929 w 1514475"/>
                  <a:gd name="connsiteY6" fmla="*/ 582692 h 990600"/>
                  <a:gd name="connsiteX7" fmla="*/ 69364 w 1514475"/>
                  <a:gd name="connsiteY7" fmla="*/ 609362 h 990600"/>
                  <a:gd name="connsiteX8" fmla="*/ 103654 w 1514475"/>
                  <a:gd name="connsiteY8" fmla="*/ 598884 h 990600"/>
                  <a:gd name="connsiteX9" fmla="*/ 307489 w 1514475"/>
                  <a:gd name="connsiteY9" fmla="*/ 460772 h 990600"/>
                  <a:gd name="connsiteX10" fmla="*/ 307489 w 1514475"/>
                  <a:gd name="connsiteY10" fmla="*/ 989409 h 990600"/>
                  <a:gd name="connsiteX11" fmla="*/ 638959 w 1514475"/>
                  <a:gd name="connsiteY11" fmla="*/ 989409 h 990600"/>
                  <a:gd name="connsiteX12" fmla="*/ 638959 w 1514475"/>
                  <a:gd name="connsiteY12" fmla="*/ 717947 h 990600"/>
                  <a:gd name="connsiteX13" fmla="*/ 761832 w 1514475"/>
                  <a:gd name="connsiteY13" fmla="*/ 595074 h 990600"/>
                  <a:gd name="connsiteX14" fmla="*/ 884704 w 1514475"/>
                  <a:gd name="connsiteY14" fmla="*/ 717947 h 990600"/>
                  <a:gd name="connsiteX15" fmla="*/ 884704 w 1514475"/>
                  <a:gd name="connsiteY15" fmla="*/ 989409 h 990600"/>
                  <a:gd name="connsiteX16" fmla="*/ 1213317 w 1514475"/>
                  <a:gd name="connsiteY16" fmla="*/ 989409 h 990600"/>
                  <a:gd name="connsiteX17" fmla="*/ 1213317 w 1514475"/>
                  <a:gd name="connsiteY17" fmla="*/ 454104 h 990600"/>
                  <a:gd name="connsiteX18" fmla="*/ 1420009 w 1514475"/>
                  <a:gd name="connsiteY18" fmla="*/ 594122 h 990600"/>
                  <a:gd name="connsiteX19" fmla="*/ 1454299 w 1514475"/>
                  <a:gd name="connsiteY19" fmla="*/ 604599 h 990600"/>
                  <a:gd name="connsiteX20" fmla="*/ 1505734 w 1514475"/>
                  <a:gd name="connsiteY20" fmla="*/ 577929 h 990600"/>
                  <a:gd name="connsiteX21" fmla="*/ 1488589 w 1514475"/>
                  <a:gd name="connsiteY21" fmla="*/ 493157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4475" h="990600">
                    <a:moveTo>
                      <a:pt x="1488589" y="493157"/>
                    </a:moveTo>
                    <a:lnTo>
                      <a:pt x="1135212" y="253127"/>
                    </a:lnTo>
                    <a:lnTo>
                      <a:pt x="811362" y="23574"/>
                    </a:lnTo>
                    <a:cubicBezTo>
                      <a:pt x="779929" y="1667"/>
                      <a:pt x="738972" y="1667"/>
                      <a:pt x="707539" y="23574"/>
                    </a:cubicBezTo>
                    <a:lnTo>
                      <a:pt x="446554" y="209312"/>
                    </a:lnTo>
                    <a:lnTo>
                      <a:pt x="34122" y="496967"/>
                    </a:lnTo>
                    <a:cubicBezTo>
                      <a:pt x="5547" y="516017"/>
                      <a:pt x="-1121" y="555069"/>
                      <a:pt x="17929" y="582692"/>
                    </a:cubicBezTo>
                    <a:cubicBezTo>
                      <a:pt x="30312" y="600789"/>
                      <a:pt x="49362" y="609362"/>
                      <a:pt x="69364" y="609362"/>
                    </a:cubicBezTo>
                    <a:cubicBezTo>
                      <a:pt x="81747" y="609362"/>
                      <a:pt x="93177" y="605552"/>
                      <a:pt x="103654" y="598884"/>
                    </a:cubicBezTo>
                    <a:lnTo>
                      <a:pt x="307489" y="460772"/>
                    </a:lnTo>
                    <a:lnTo>
                      <a:pt x="307489" y="989409"/>
                    </a:lnTo>
                    <a:lnTo>
                      <a:pt x="638959" y="989409"/>
                    </a:lnTo>
                    <a:lnTo>
                      <a:pt x="638959" y="717947"/>
                    </a:lnTo>
                    <a:cubicBezTo>
                      <a:pt x="638959" y="650319"/>
                      <a:pt x="694204" y="595074"/>
                      <a:pt x="761832" y="595074"/>
                    </a:cubicBezTo>
                    <a:cubicBezTo>
                      <a:pt x="829459" y="595074"/>
                      <a:pt x="884704" y="650319"/>
                      <a:pt x="884704" y="717947"/>
                    </a:cubicBezTo>
                    <a:lnTo>
                      <a:pt x="884704" y="989409"/>
                    </a:lnTo>
                    <a:lnTo>
                      <a:pt x="1213317" y="989409"/>
                    </a:lnTo>
                    <a:lnTo>
                      <a:pt x="1213317" y="454104"/>
                    </a:lnTo>
                    <a:lnTo>
                      <a:pt x="1420009" y="594122"/>
                    </a:lnTo>
                    <a:cubicBezTo>
                      <a:pt x="1430487" y="601742"/>
                      <a:pt x="1442869" y="604599"/>
                      <a:pt x="1454299" y="604599"/>
                    </a:cubicBezTo>
                    <a:cubicBezTo>
                      <a:pt x="1474302" y="604599"/>
                      <a:pt x="1493352" y="595074"/>
                      <a:pt x="1505734" y="577929"/>
                    </a:cubicBezTo>
                    <a:cubicBezTo>
                      <a:pt x="1523832" y="550307"/>
                      <a:pt x="1517164" y="512207"/>
                      <a:pt x="1488589" y="493157"/>
                    </a:cubicBezTo>
                    <a:close/>
                  </a:path>
                </a:pathLst>
              </a:custGeom>
              <a:solidFill>
                <a:schemeClr val="bg2"/>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26" name="Freeform: Shape 525">
                <a:extLst>
                  <a:ext uri="{FF2B5EF4-FFF2-40B4-BE49-F238E27FC236}">
                    <a16:creationId xmlns:a16="http://schemas.microsoft.com/office/drawing/2014/main" id="{81318432-F4FB-4105-984F-40B63DDBF73E}"/>
                  </a:ext>
                </a:extLst>
              </p:cNvPr>
              <p:cNvSpPr/>
              <p:nvPr/>
            </p:nvSpPr>
            <p:spPr>
              <a:xfrm>
                <a:off x="4687729" y="1787366"/>
                <a:ext cx="209550" cy="209550"/>
              </a:xfrm>
              <a:custGeom>
                <a:avLst/>
                <a:gdLst>
                  <a:gd name="connsiteX0" fmla="*/ 205264 w 209550"/>
                  <a:gd name="connsiteY0" fmla="*/ 106204 h 209550"/>
                  <a:gd name="connsiteX1" fmla="*/ 106204 w 209550"/>
                  <a:gd name="connsiteY1" fmla="*/ 205264 h 209550"/>
                  <a:gd name="connsiteX2" fmla="*/ 7144 w 209550"/>
                  <a:gd name="connsiteY2" fmla="*/ 106204 h 209550"/>
                  <a:gd name="connsiteX3" fmla="*/ 106204 w 209550"/>
                  <a:gd name="connsiteY3" fmla="*/ 7144 h 209550"/>
                  <a:gd name="connsiteX4" fmla="*/ 205264 w 209550"/>
                  <a:gd name="connsiteY4" fmla="*/ 106204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09550">
                    <a:moveTo>
                      <a:pt x="205264" y="106204"/>
                    </a:moveTo>
                    <a:cubicBezTo>
                      <a:pt x="205264" y="160913"/>
                      <a:pt x="160913" y="205264"/>
                      <a:pt x="106204" y="205264"/>
                    </a:cubicBezTo>
                    <a:cubicBezTo>
                      <a:pt x="51494" y="205264"/>
                      <a:pt x="7144" y="160913"/>
                      <a:pt x="7144" y="106204"/>
                    </a:cubicBezTo>
                    <a:cubicBezTo>
                      <a:pt x="7144" y="51494"/>
                      <a:pt x="51494" y="7144"/>
                      <a:pt x="106204" y="7144"/>
                    </a:cubicBezTo>
                    <a:cubicBezTo>
                      <a:pt x="160913" y="7144"/>
                      <a:pt x="205264" y="51494"/>
                      <a:pt x="205264" y="106204"/>
                    </a:cubicBezTo>
                    <a:close/>
                  </a:path>
                </a:pathLst>
              </a:custGeom>
              <a:solidFill>
                <a:schemeClr val="bg2"/>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27" name="Freeform: Shape 526">
                <a:extLst>
                  <a:ext uri="{FF2B5EF4-FFF2-40B4-BE49-F238E27FC236}">
                    <a16:creationId xmlns:a16="http://schemas.microsoft.com/office/drawing/2014/main" id="{0CDA37E9-5D41-4B21-95A8-0C44C0380711}"/>
                  </a:ext>
                </a:extLst>
              </p:cNvPr>
              <p:cNvSpPr/>
              <p:nvPr/>
            </p:nvSpPr>
            <p:spPr>
              <a:xfrm>
                <a:off x="4453546" y="1472195"/>
                <a:ext cx="676275" cy="276225"/>
              </a:xfrm>
              <a:custGeom>
                <a:avLst/>
                <a:gdLst>
                  <a:gd name="connsiteX0" fmla="*/ 597562 w 676275"/>
                  <a:gd name="connsiteY0" fmla="*/ 272785 h 276225"/>
                  <a:gd name="connsiteX1" fmla="*/ 545174 w 676275"/>
                  <a:gd name="connsiteY1" fmla="*/ 253735 h 276225"/>
                  <a:gd name="connsiteX2" fmla="*/ 540412 w 676275"/>
                  <a:gd name="connsiteY2" fmla="*/ 249925 h 276225"/>
                  <a:gd name="connsiteX3" fmla="*/ 141314 w 676275"/>
                  <a:gd name="connsiteY3" fmla="*/ 252783 h 276225"/>
                  <a:gd name="connsiteX4" fmla="*/ 27014 w 676275"/>
                  <a:gd name="connsiteY4" fmla="*/ 244210 h 276225"/>
                  <a:gd name="connsiteX5" fmla="*/ 35587 w 676275"/>
                  <a:gd name="connsiteY5" fmla="*/ 129910 h 276225"/>
                  <a:gd name="connsiteX6" fmla="*/ 645187 w 676275"/>
                  <a:gd name="connsiteY6" fmla="*/ 125148 h 276225"/>
                  <a:gd name="connsiteX7" fmla="*/ 649949 w 676275"/>
                  <a:gd name="connsiteY7" fmla="*/ 128958 h 276225"/>
                  <a:gd name="connsiteX8" fmla="*/ 659474 w 676275"/>
                  <a:gd name="connsiteY8" fmla="*/ 243258 h 276225"/>
                  <a:gd name="connsiteX9" fmla="*/ 597562 w 676275"/>
                  <a:gd name="connsiteY9" fmla="*/ 272785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6275" h="276225">
                    <a:moveTo>
                      <a:pt x="597562" y="272785"/>
                    </a:moveTo>
                    <a:cubicBezTo>
                      <a:pt x="579464" y="272785"/>
                      <a:pt x="560414" y="266118"/>
                      <a:pt x="545174" y="253735"/>
                    </a:cubicBezTo>
                    <a:lnTo>
                      <a:pt x="540412" y="249925"/>
                    </a:lnTo>
                    <a:cubicBezTo>
                      <a:pt x="411824" y="140388"/>
                      <a:pt x="269901" y="142293"/>
                      <a:pt x="141314" y="252783"/>
                    </a:cubicBezTo>
                    <a:cubicBezTo>
                      <a:pt x="107024" y="282310"/>
                      <a:pt x="56541" y="278500"/>
                      <a:pt x="27014" y="244210"/>
                    </a:cubicBezTo>
                    <a:cubicBezTo>
                      <a:pt x="-2513" y="209920"/>
                      <a:pt x="1296" y="159438"/>
                      <a:pt x="35587" y="129910"/>
                    </a:cubicBezTo>
                    <a:cubicBezTo>
                      <a:pt x="223229" y="-32015"/>
                      <a:pt x="456591" y="-33920"/>
                      <a:pt x="645187" y="125148"/>
                    </a:cubicBezTo>
                    <a:lnTo>
                      <a:pt x="649949" y="128958"/>
                    </a:lnTo>
                    <a:cubicBezTo>
                      <a:pt x="684239" y="157533"/>
                      <a:pt x="688049" y="208968"/>
                      <a:pt x="659474" y="243258"/>
                    </a:cubicBezTo>
                    <a:cubicBezTo>
                      <a:pt x="643282" y="263260"/>
                      <a:pt x="620421" y="272785"/>
                      <a:pt x="597562" y="272785"/>
                    </a:cubicBezTo>
                    <a:close/>
                  </a:path>
                </a:pathLst>
              </a:custGeom>
              <a:solidFill>
                <a:schemeClr val="tx2"/>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28" name="Freeform: Shape 527">
                <a:extLst>
                  <a:ext uri="{FF2B5EF4-FFF2-40B4-BE49-F238E27FC236}">
                    <a16:creationId xmlns:a16="http://schemas.microsoft.com/office/drawing/2014/main" id="{D26C9C16-27B5-4DDD-84D2-06AAB226F5D4}"/>
                  </a:ext>
                </a:extLst>
              </p:cNvPr>
              <p:cNvSpPr/>
              <p:nvPr/>
            </p:nvSpPr>
            <p:spPr>
              <a:xfrm>
                <a:off x="4262094" y="1182628"/>
                <a:ext cx="1066800" cy="352425"/>
              </a:xfrm>
              <a:custGeom>
                <a:avLst/>
                <a:gdLst>
                  <a:gd name="connsiteX0" fmla="*/ 982372 w 1066800"/>
                  <a:gd name="connsiteY0" fmla="*/ 352802 h 352425"/>
                  <a:gd name="connsiteX1" fmla="*/ 929984 w 1066800"/>
                  <a:gd name="connsiteY1" fmla="*/ 333752 h 352425"/>
                  <a:gd name="connsiteX2" fmla="*/ 922364 w 1066800"/>
                  <a:gd name="connsiteY2" fmla="*/ 327084 h 352425"/>
                  <a:gd name="connsiteX3" fmla="*/ 141314 w 1066800"/>
                  <a:gd name="connsiteY3" fmla="*/ 332799 h 352425"/>
                  <a:gd name="connsiteX4" fmla="*/ 27014 w 1066800"/>
                  <a:gd name="connsiteY4" fmla="*/ 324227 h 352425"/>
                  <a:gd name="connsiteX5" fmla="*/ 35586 w 1066800"/>
                  <a:gd name="connsiteY5" fmla="*/ 209927 h 352425"/>
                  <a:gd name="connsiteX6" fmla="*/ 1027139 w 1066800"/>
                  <a:gd name="connsiteY6" fmla="*/ 202307 h 352425"/>
                  <a:gd name="connsiteX7" fmla="*/ 1034759 w 1066800"/>
                  <a:gd name="connsiteY7" fmla="*/ 208974 h 352425"/>
                  <a:gd name="connsiteX8" fmla="*/ 1044284 w 1066800"/>
                  <a:gd name="connsiteY8" fmla="*/ 323274 h 352425"/>
                  <a:gd name="connsiteX9" fmla="*/ 982372 w 1066800"/>
                  <a:gd name="connsiteY9" fmla="*/ 35280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800" h="352425">
                    <a:moveTo>
                      <a:pt x="982372" y="352802"/>
                    </a:moveTo>
                    <a:cubicBezTo>
                      <a:pt x="964274" y="352802"/>
                      <a:pt x="945224" y="346134"/>
                      <a:pt x="929984" y="333752"/>
                    </a:cubicBezTo>
                    <a:lnTo>
                      <a:pt x="922364" y="327084"/>
                    </a:lnTo>
                    <a:cubicBezTo>
                      <a:pt x="673761" y="116582"/>
                      <a:pt x="388964" y="118487"/>
                      <a:pt x="141314" y="332799"/>
                    </a:cubicBezTo>
                    <a:cubicBezTo>
                      <a:pt x="107024" y="362327"/>
                      <a:pt x="56541" y="358517"/>
                      <a:pt x="27014" y="324227"/>
                    </a:cubicBezTo>
                    <a:cubicBezTo>
                      <a:pt x="-2514" y="289937"/>
                      <a:pt x="1297" y="239454"/>
                      <a:pt x="35586" y="209927"/>
                    </a:cubicBezTo>
                    <a:cubicBezTo>
                      <a:pt x="345149" y="-57726"/>
                      <a:pt x="716624" y="-60583"/>
                      <a:pt x="1027139" y="202307"/>
                    </a:cubicBezTo>
                    <a:lnTo>
                      <a:pt x="1034759" y="208974"/>
                    </a:lnTo>
                    <a:cubicBezTo>
                      <a:pt x="1069049" y="237549"/>
                      <a:pt x="1072859" y="288984"/>
                      <a:pt x="1044284" y="323274"/>
                    </a:cubicBezTo>
                    <a:cubicBezTo>
                      <a:pt x="1028091" y="343277"/>
                      <a:pt x="1005232" y="352802"/>
                      <a:pt x="982372" y="352802"/>
                    </a:cubicBezTo>
                    <a:close/>
                  </a:path>
                </a:pathLst>
              </a:custGeom>
              <a:solidFill>
                <a:schemeClr val="tx2"/>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29" name="Freeform: Shape 528">
                <a:extLst>
                  <a:ext uri="{FF2B5EF4-FFF2-40B4-BE49-F238E27FC236}">
                    <a16:creationId xmlns:a16="http://schemas.microsoft.com/office/drawing/2014/main" id="{FBAB69E5-2078-49D4-8608-7D801D643377}"/>
                  </a:ext>
                </a:extLst>
              </p:cNvPr>
              <p:cNvSpPr/>
              <p:nvPr/>
            </p:nvSpPr>
            <p:spPr>
              <a:xfrm>
                <a:off x="3942874" y="3002756"/>
                <a:ext cx="1219200" cy="981075"/>
              </a:xfrm>
              <a:custGeom>
                <a:avLst/>
                <a:gdLst>
                  <a:gd name="connsiteX0" fmla="*/ 1220629 w 1219200"/>
                  <a:gd name="connsiteY0" fmla="*/ 482441 h 981075"/>
                  <a:gd name="connsiteX1" fmla="*/ 1120616 w 1219200"/>
                  <a:gd name="connsiteY1" fmla="*/ 371951 h 981075"/>
                  <a:gd name="connsiteX2" fmla="*/ 1034891 w 1219200"/>
                  <a:gd name="connsiteY2" fmla="*/ 116681 h 981075"/>
                  <a:gd name="connsiteX3" fmla="*/ 882491 w 1219200"/>
                  <a:gd name="connsiteY3" fmla="*/ 7144 h 981075"/>
                  <a:gd name="connsiteX4" fmla="*/ 345281 w 1219200"/>
                  <a:gd name="connsiteY4" fmla="*/ 7144 h 981075"/>
                  <a:gd name="connsiteX5" fmla="*/ 192881 w 1219200"/>
                  <a:gd name="connsiteY5" fmla="*/ 116681 h 981075"/>
                  <a:gd name="connsiteX6" fmla="*/ 107156 w 1219200"/>
                  <a:gd name="connsiteY6" fmla="*/ 371951 h 981075"/>
                  <a:gd name="connsiteX7" fmla="*/ 7144 w 1219200"/>
                  <a:gd name="connsiteY7" fmla="*/ 482441 h 981075"/>
                  <a:gd name="connsiteX8" fmla="*/ 7144 w 1219200"/>
                  <a:gd name="connsiteY8" fmla="*/ 814864 h 981075"/>
                  <a:gd name="connsiteX9" fmla="*/ 150019 w 1219200"/>
                  <a:gd name="connsiteY9" fmla="*/ 814864 h 981075"/>
                  <a:gd name="connsiteX10" fmla="*/ 150019 w 1219200"/>
                  <a:gd name="connsiteY10" fmla="*/ 893921 h 981075"/>
                  <a:gd name="connsiteX11" fmla="*/ 235744 w 1219200"/>
                  <a:gd name="connsiteY11" fmla="*/ 979646 h 981075"/>
                  <a:gd name="connsiteX12" fmla="*/ 321469 w 1219200"/>
                  <a:gd name="connsiteY12" fmla="*/ 893921 h 981075"/>
                  <a:gd name="connsiteX13" fmla="*/ 321469 w 1219200"/>
                  <a:gd name="connsiteY13" fmla="*/ 814864 h 981075"/>
                  <a:gd name="connsiteX14" fmla="*/ 914876 w 1219200"/>
                  <a:gd name="connsiteY14" fmla="*/ 814864 h 981075"/>
                  <a:gd name="connsiteX15" fmla="*/ 914876 w 1219200"/>
                  <a:gd name="connsiteY15" fmla="*/ 893921 h 981075"/>
                  <a:gd name="connsiteX16" fmla="*/ 1000601 w 1219200"/>
                  <a:gd name="connsiteY16" fmla="*/ 979646 h 981075"/>
                  <a:gd name="connsiteX17" fmla="*/ 1086326 w 1219200"/>
                  <a:gd name="connsiteY17" fmla="*/ 893921 h 981075"/>
                  <a:gd name="connsiteX18" fmla="*/ 1086326 w 1219200"/>
                  <a:gd name="connsiteY18" fmla="*/ 814864 h 981075"/>
                  <a:gd name="connsiteX19" fmla="*/ 1220629 w 1219200"/>
                  <a:gd name="connsiteY19" fmla="*/ 814864 h 981075"/>
                  <a:gd name="connsiteX20" fmla="*/ 1220629 w 1219200"/>
                  <a:gd name="connsiteY20" fmla="*/ 482441 h 981075"/>
                  <a:gd name="connsiteX21" fmla="*/ 301466 w 1219200"/>
                  <a:gd name="connsiteY21" fmla="*/ 152876 h 981075"/>
                  <a:gd name="connsiteX22" fmla="*/ 345281 w 1219200"/>
                  <a:gd name="connsiteY22" fmla="*/ 121444 h 981075"/>
                  <a:gd name="connsiteX23" fmla="*/ 882491 w 1219200"/>
                  <a:gd name="connsiteY23" fmla="*/ 121444 h 981075"/>
                  <a:gd name="connsiteX24" fmla="*/ 926306 w 1219200"/>
                  <a:gd name="connsiteY24" fmla="*/ 152876 h 981075"/>
                  <a:gd name="connsiteX25" fmla="*/ 999649 w 1219200"/>
                  <a:gd name="connsiteY25" fmla="*/ 370999 h 981075"/>
                  <a:gd name="connsiteX26" fmla="*/ 227171 w 1219200"/>
                  <a:gd name="connsiteY26" fmla="*/ 370999 h 981075"/>
                  <a:gd name="connsiteX27" fmla="*/ 301466 w 1219200"/>
                  <a:gd name="connsiteY27" fmla="*/ 152876 h 981075"/>
                  <a:gd name="connsiteX28" fmla="*/ 433864 w 1219200"/>
                  <a:gd name="connsiteY28" fmla="*/ 600551 h 981075"/>
                  <a:gd name="connsiteX29" fmla="*/ 329089 w 1219200"/>
                  <a:gd name="connsiteY29" fmla="*/ 699611 h 981075"/>
                  <a:gd name="connsiteX30" fmla="*/ 224314 w 1219200"/>
                  <a:gd name="connsiteY30" fmla="*/ 600551 h 981075"/>
                  <a:gd name="connsiteX31" fmla="*/ 224314 w 1219200"/>
                  <a:gd name="connsiteY31" fmla="*/ 593884 h 981075"/>
                  <a:gd name="connsiteX32" fmla="*/ 329089 w 1219200"/>
                  <a:gd name="connsiteY32" fmla="*/ 489109 h 981075"/>
                  <a:gd name="connsiteX33" fmla="*/ 433864 w 1219200"/>
                  <a:gd name="connsiteY33" fmla="*/ 593884 h 981075"/>
                  <a:gd name="connsiteX34" fmla="*/ 433864 w 1219200"/>
                  <a:gd name="connsiteY34" fmla="*/ 600551 h 981075"/>
                  <a:gd name="connsiteX35" fmla="*/ 805339 w 1219200"/>
                  <a:gd name="connsiteY35" fmla="*/ 600551 h 981075"/>
                  <a:gd name="connsiteX36" fmla="*/ 805339 w 1219200"/>
                  <a:gd name="connsiteY36" fmla="*/ 593884 h 981075"/>
                  <a:gd name="connsiteX37" fmla="*/ 910114 w 1219200"/>
                  <a:gd name="connsiteY37" fmla="*/ 489109 h 981075"/>
                  <a:gd name="connsiteX38" fmla="*/ 1014889 w 1219200"/>
                  <a:gd name="connsiteY38" fmla="*/ 593884 h 981075"/>
                  <a:gd name="connsiteX39" fmla="*/ 1014889 w 1219200"/>
                  <a:gd name="connsiteY39" fmla="*/ 600551 h 981075"/>
                  <a:gd name="connsiteX40" fmla="*/ 910114 w 1219200"/>
                  <a:gd name="connsiteY40" fmla="*/ 699611 h 981075"/>
                  <a:gd name="connsiteX41" fmla="*/ 805339 w 1219200"/>
                  <a:gd name="connsiteY41" fmla="*/ 600551 h 98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 h="981075">
                    <a:moveTo>
                      <a:pt x="1220629" y="482441"/>
                    </a:moveTo>
                    <a:cubicBezTo>
                      <a:pt x="1220629" y="425291"/>
                      <a:pt x="1176814" y="377666"/>
                      <a:pt x="1120616" y="371951"/>
                    </a:cubicBezTo>
                    <a:lnTo>
                      <a:pt x="1034891" y="116681"/>
                    </a:lnTo>
                    <a:cubicBezTo>
                      <a:pt x="1012984" y="50959"/>
                      <a:pt x="952024" y="7144"/>
                      <a:pt x="882491" y="7144"/>
                    </a:cubicBezTo>
                    <a:lnTo>
                      <a:pt x="345281" y="7144"/>
                    </a:lnTo>
                    <a:cubicBezTo>
                      <a:pt x="276701" y="7144"/>
                      <a:pt x="215741" y="50959"/>
                      <a:pt x="192881" y="116681"/>
                    </a:cubicBezTo>
                    <a:lnTo>
                      <a:pt x="107156" y="371951"/>
                    </a:lnTo>
                    <a:cubicBezTo>
                      <a:pt x="50959" y="377666"/>
                      <a:pt x="7144" y="425291"/>
                      <a:pt x="7144" y="482441"/>
                    </a:cubicBezTo>
                    <a:lnTo>
                      <a:pt x="7144" y="814864"/>
                    </a:lnTo>
                    <a:lnTo>
                      <a:pt x="150019" y="814864"/>
                    </a:lnTo>
                    <a:lnTo>
                      <a:pt x="150019" y="893921"/>
                    </a:lnTo>
                    <a:cubicBezTo>
                      <a:pt x="150019" y="940594"/>
                      <a:pt x="188119" y="979646"/>
                      <a:pt x="235744" y="979646"/>
                    </a:cubicBezTo>
                    <a:cubicBezTo>
                      <a:pt x="283369" y="979646"/>
                      <a:pt x="321469" y="940594"/>
                      <a:pt x="321469" y="893921"/>
                    </a:cubicBezTo>
                    <a:lnTo>
                      <a:pt x="321469" y="814864"/>
                    </a:lnTo>
                    <a:lnTo>
                      <a:pt x="914876" y="814864"/>
                    </a:lnTo>
                    <a:lnTo>
                      <a:pt x="914876" y="893921"/>
                    </a:lnTo>
                    <a:cubicBezTo>
                      <a:pt x="914876" y="940594"/>
                      <a:pt x="952976" y="979646"/>
                      <a:pt x="1000601" y="979646"/>
                    </a:cubicBezTo>
                    <a:cubicBezTo>
                      <a:pt x="1047274" y="979646"/>
                      <a:pt x="1086326" y="940594"/>
                      <a:pt x="1086326" y="893921"/>
                    </a:cubicBezTo>
                    <a:lnTo>
                      <a:pt x="1086326" y="814864"/>
                    </a:lnTo>
                    <a:lnTo>
                      <a:pt x="1220629" y="814864"/>
                    </a:lnTo>
                    <a:lnTo>
                      <a:pt x="1220629" y="482441"/>
                    </a:lnTo>
                    <a:close/>
                    <a:moveTo>
                      <a:pt x="301466" y="152876"/>
                    </a:moveTo>
                    <a:cubicBezTo>
                      <a:pt x="308134" y="133826"/>
                      <a:pt x="325279" y="121444"/>
                      <a:pt x="345281" y="121444"/>
                    </a:cubicBezTo>
                    <a:lnTo>
                      <a:pt x="882491" y="121444"/>
                    </a:lnTo>
                    <a:cubicBezTo>
                      <a:pt x="902494" y="121444"/>
                      <a:pt x="919639" y="133826"/>
                      <a:pt x="926306" y="152876"/>
                    </a:cubicBezTo>
                    <a:lnTo>
                      <a:pt x="999649" y="370999"/>
                    </a:lnTo>
                    <a:lnTo>
                      <a:pt x="227171" y="370999"/>
                    </a:lnTo>
                    <a:lnTo>
                      <a:pt x="301466" y="152876"/>
                    </a:lnTo>
                    <a:close/>
                    <a:moveTo>
                      <a:pt x="433864" y="600551"/>
                    </a:moveTo>
                    <a:cubicBezTo>
                      <a:pt x="431006" y="655796"/>
                      <a:pt x="385286" y="699611"/>
                      <a:pt x="329089" y="699611"/>
                    </a:cubicBezTo>
                    <a:cubicBezTo>
                      <a:pt x="272891" y="699611"/>
                      <a:pt x="228124" y="655796"/>
                      <a:pt x="224314" y="600551"/>
                    </a:cubicBezTo>
                    <a:cubicBezTo>
                      <a:pt x="224314" y="598646"/>
                      <a:pt x="224314" y="596741"/>
                      <a:pt x="224314" y="593884"/>
                    </a:cubicBezTo>
                    <a:cubicBezTo>
                      <a:pt x="224314" y="535781"/>
                      <a:pt x="270986" y="489109"/>
                      <a:pt x="329089" y="489109"/>
                    </a:cubicBezTo>
                    <a:cubicBezTo>
                      <a:pt x="387191" y="489109"/>
                      <a:pt x="433864" y="535781"/>
                      <a:pt x="433864" y="593884"/>
                    </a:cubicBezTo>
                    <a:cubicBezTo>
                      <a:pt x="433864" y="596741"/>
                      <a:pt x="433864" y="598646"/>
                      <a:pt x="433864" y="600551"/>
                    </a:cubicBezTo>
                    <a:close/>
                    <a:moveTo>
                      <a:pt x="805339" y="600551"/>
                    </a:moveTo>
                    <a:cubicBezTo>
                      <a:pt x="805339" y="598646"/>
                      <a:pt x="805339" y="596741"/>
                      <a:pt x="805339" y="593884"/>
                    </a:cubicBezTo>
                    <a:cubicBezTo>
                      <a:pt x="805339" y="535781"/>
                      <a:pt x="852011" y="489109"/>
                      <a:pt x="910114" y="489109"/>
                    </a:cubicBezTo>
                    <a:cubicBezTo>
                      <a:pt x="968216" y="489109"/>
                      <a:pt x="1014889" y="535781"/>
                      <a:pt x="1014889" y="593884"/>
                    </a:cubicBezTo>
                    <a:cubicBezTo>
                      <a:pt x="1014889" y="595789"/>
                      <a:pt x="1014889" y="597694"/>
                      <a:pt x="1014889" y="600551"/>
                    </a:cubicBezTo>
                    <a:cubicBezTo>
                      <a:pt x="1012031" y="655796"/>
                      <a:pt x="966311" y="699611"/>
                      <a:pt x="910114" y="699611"/>
                    </a:cubicBezTo>
                    <a:cubicBezTo>
                      <a:pt x="853916" y="699611"/>
                      <a:pt x="809149" y="655796"/>
                      <a:pt x="805339" y="600551"/>
                    </a:cubicBezTo>
                    <a:close/>
                  </a:path>
                </a:pathLst>
              </a:custGeom>
              <a:solidFill>
                <a:schemeClr val="tx2"/>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grpSp>
        <p:grpSp>
          <p:nvGrpSpPr>
            <p:cNvPr id="530" name="Group 13">
              <a:extLst>
                <a:ext uri="{FF2B5EF4-FFF2-40B4-BE49-F238E27FC236}">
                  <a16:creationId xmlns:a16="http://schemas.microsoft.com/office/drawing/2014/main" id="{8E48735C-F8E4-420E-AE9E-416287AF2CBF}"/>
                </a:ext>
              </a:extLst>
            </p:cNvPr>
            <p:cNvGrpSpPr>
              <a:grpSpLocks noChangeAspect="1"/>
            </p:cNvGrpSpPr>
            <p:nvPr/>
          </p:nvGrpSpPr>
          <p:grpSpPr bwMode="auto">
            <a:xfrm>
              <a:off x="1070269" y="1020265"/>
              <a:ext cx="255807" cy="255492"/>
              <a:chOff x="1256" y="-2"/>
              <a:chExt cx="3246" cy="3242"/>
            </a:xfrm>
          </p:grpSpPr>
          <p:sp>
            <p:nvSpPr>
              <p:cNvPr id="531" name="Oval 14">
                <a:extLst>
                  <a:ext uri="{FF2B5EF4-FFF2-40B4-BE49-F238E27FC236}">
                    <a16:creationId xmlns:a16="http://schemas.microsoft.com/office/drawing/2014/main" id="{917712E9-4D18-4617-B7AF-C1C8C8A193D1}"/>
                  </a:ext>
                </a:extLst>
              </p:cNvPr>
              <p:cNvSpPr>
                <a:spLocks noChangeArrowheads="1"/>
              </p:cNvSpPr>
              <p:nvPr/>
            </p:nvSpPr>
            <p:spPr bwMode="auto">
              <a:xfrm>
                <a:off x="1256" y="-2"/>
                <a:ext cx="3246" cy="324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32" name="Freeform 15">
                <a:extLst>
                  <a:ext uri="{FF2B5EF4-FFF2-40B4-BE49-F238E27FC236}">
                    <a16:creationId xmlns:a16="http://schemas.microsoft.com/office/drawing/2014/main" id="{9F56C9B8-6B3E-4848-978D-EE5C3B7AD56F}"/>
                  </a:ext>
                </a:extLst>
              </p:cNvPr>
              <p:cNvSpPr>
                <a:spLocks/>
              </p:cNvSpPr>
              <p:nvPr/>
            </p:nvSpPr>
            <p:spPr bwMode="auto">
              <a:xfrm>
                <a:off x="1934" y="559"/>
                <a:ext cx="2568" cy="2681"/>
              </a:xfrm>
              <a:custGeom>
                <a:avLst/>
                <a:gdLst>
                  <a:gd name="T0" fmla="*/ 1258 w 1261"/>
                  <a:gd name="T1" fmla="*/ 450 h 1318"/>
                  <a:gd name="T2" fmla="*/ 814 w 1261"/>
                  <a:gd name="T3" fmla="*/ 6 h 1318"/>
                  <a:gd name="T4" fmla="*/ 813 w 1261"/>
                  <a:gd name="T5" fmla="*/ 7 h 1318"/>
                  <a:gd name="T6" fmla="*/ 779 w 1261"/>
                  <a:gd name="T7" fmla="*/ 8 h 1318"/>
                  <a:gd name="T8" fmla="*/ 775 w 1261"/>
                  <a:gd name="T9" fmla="*/ 49 h 1318"/>
                  <a:gd name="T10" fmla="*/ 863 w 1261"/>
                  <a:gd name="T11" fmla="*/ 237 h 1318"/>
                  <a:gd name="T12" fmla="*/ 724 w 1261"/>
                  <a:gd name="T13" fmla="*/ 98 h 1318"/>
                  <a:gd name="T14" fmla="*/ 720 w 1261"/>
                  <a:gd name="T15" fmla="*/ 93 h 1318"/>
                  <a:gd name="T16" fmla="*/ 679 w 1261"/>
                  <a:gd name="T17" fmla="*/ 90 h 1318"/>
                  <a:gd name="T18" fmla="*/ 676 w 1261"/>
                  <a:gd name="T19" fmla="*/ 131 h 1318"/>
                  <a:gd name="T20" fmla="*/ 741 w 1261"/>
                  <a:gd name="T21" fmla="*/ 292 h 1318"/>
                  <a:gd name="T22" fmla="*/ 644 w 1261"/>
                  <a:gd name="T23" fmla="*/ 195 h 1318"/>
                  <a:gd name="T24" fmla="*/ 626 w 1261"/>
                  <a:gd name="T25" fmla="*/ 171 h 1318"/>
                  <a:gd name="T26" fmla="*/ 585 w 1261"/>
                  <a:gd name="T27" fmla="*/ 168 h 1318"/>
                  <a:gd name="T28" fmla="*/ 582 w 1261"/>
                  <a:gd name="T29" fmla="*/ 208 h 1318"/>
                  <a:gd name="T30" fmla="*/ 619 w 1261"/>
                  <a:gd name="T31" fmla="*/ 309 h 1318"/>
                  <a:gd name="T32" fmla="*/ 614 w 1261"/>
                  <a:gd name="T33" fmla="*/ 348 h 1318"/>
                  <a:gd name="T34" fmla="*/ 535 w 1261"/>
                  <a:gd name="T35" fmla="*/ 269 h 1318"/>
                  <a:gd name="T36" fmla="*/ 464 w 1261"/>
                  <a:gd name="T37" fmla="*/ 228 h 1318"/>
                  <a:gd name="T38" fmla="*/ 415 w 1261"/>
                  <a:gd name="T39" fmla="*/ 244 h 1318"/>
                  <a:gd name="T40" fmla="*/ 347 w 1261"/>
                  <a:gd name="T41" fmla="*/ 176 h 1318"/>
                  <a:gd name="T42" fmla="*/ 347 w 1261"/>
                  <a:gd name="T43" fmla="*/ 176 h 1318"/>
                  <a:gd name="T44" fmla="*/ 341 w 1261"/>
                  <a:gd name="T45" fmla="*/ 169 h 1318"/>
                  <a:gd name="T46" fmla="*/ 317 w 1261"/>
                  <a:gd name="T47" fmla="*/ 163 h 1318"/>
                  <a:gd name="T48" fmla="*/ 253 w 1261"/>
                  <a:gd name="T49" fmla="*/ 100 h 1318"/>
                  <a:gd name="T50" fmla="*/ 247 w 1261"/>
                  <a:gd name="T51" fmla="*/ 91 h 1318"/>
                  <a:gd name="T52" fmla="*/ 220 w 1261"/>
                  <a:gd name="T53" fmla="*/ 86 h 1318"/>
                  <a:gd name="T54" fmla="*/ 156 w 1261"/>
                  <a:gd name="T55" fmla="*/ 23 h 1318"/>
                  <a:gd name="T56" fmla="*/ 147 w 1261"/>
                  <a:gd name="T57" fmla="*/ 10 h 1318"/>
                  <a:gd name="T58" fmla="*/ 107 w 1261"/>
                  <a:gd name="T59" fmla="*/ 14 h 1318"/>
                  <a:gd name="T60" fmla="*/ 0 w 1261"/>
                  <a:gd name="T61" fmla="*/ 309 h 1318"/>
                  <a:gd name="T62" fmla="*/ 107 w 1261"/>
                  <a:gd name="T63" fmla="*/ 605 h 1318"/>
                  <a:gd name="T64" fmla="*/ 129 w 1261"/>
                  <a:gd name="T65" fmla="*/ 615 h 1318"/>
                  <a:gd name="T66" fmla="*/ 131 w 1261"/>
                  <a:gd name="T67" fmla="*/ 615 h 1318"/>
                  <a:gd name="T68" fmla="*/ 250 w 1261"/>
                  <a:gd name="T69" fmla="*/ 734 h 1318"/>
                  <a:gd name="T70" fmla="*/ 101 w 1261"/>
                  <a:gd name="T71" fmla="*/ 1072 h 1318"/>
                  <a:gd name="T72" fmla="*/ 108 w 1261"/>
                  <a:gd name="T73" fmla="*/ 1105 h 1318"/>
                  <a:gd name="T74" fmla="*/ 124 w 1261"/>
                  <a:gd name="T75" fmla="*/ 1112 h 1318"/>
                  <a:gd name="T76" fmla="*/ 316 w 1261"/>
                  <a:gd name="T77" fmla="*/ 1304 h 1318"/>
                  <a:gd name="T78" fmla="*/ 464 w 1261"/>
                  <a:gd name="T79" fmla="*/ 1318 h 1318"/>
                  <a:gd name="T80" fmla="*/ 1261 w 1261"/>
                  <a:gd name="T81" fmla="*/ 521 h 1318"/>
                  <a:gd name="T82" fmla="*/ 1258 w 1261"/>
                  <a:gd name="T83" fmla="*/ 45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1" h="1318">
                    <a:moveTo>
                      <a:pt x="1258" y="450"/>
                    </a:moveTo>
                    <a:cubicBezTo>
                      <a:pt x="814" y="6"/>
                      <a:pt x="814" y="6"/>
                      <a:pt x="814" y="6"/>
                    </a:cubicBezTo>
                    <a:cubicBezTo>
                      <a:pt x="813" y="7"/>
                      <a:pt x="813" y="7"/>
                      <a:pt x="813" y="7"/>
                    </a:cubicBezTo>
                    <a:cubicBezTo>
                      <a:pt x="803" y="0"/>
                      <a:pt x="789" y="0"/>
                      <a:pt x="779" y="8"/>
                    </a:cubicBezTo>
                    <a:cubicBezTo>
                      <a:pt x="766" y="19"/>
                      <a:pt x="765" y="37"/>
                      <a:pt x="775" y="49"/>
                    </a:cubicBezTo>
                    <a:cubicBezTo>
                      <a:pt x="820" y="103"/>
                      <a:pt x="850" y="168"/>
                      <a:pt x="863" y="237"/>
                    </a:cubicBezTo>
                    <a:cubicBezTo>
                      <a:pt x="724" y="98"/>
                      <a:pt x="724" y="98"/>
                      <a:pt x="724" y="98"/>
                    </a:cubicBezTo>
                    <a:cubicBezTo>
                      <a:pt x="722" y="96"/>
                      <a:pt x="721" y="95"/>
                      <a:pt x="720" y="93"/>
                    </a:cubicBezTo>
                    <a:cubicBezTo>
                      <a:pt x="710" y="81"/>
                      <a:pt x="692" y="80"/>
                      <a:pt x="679" y="90"/>
                    </a:cubicBezTo>
                    <a:cubicBezTo>
                      <a:pt x="667" y="100"/>
                      <a:pt x="666" y="118"/>
                      <a:pt x="676" y="131"/>
                    </a:cubicBezTo>
                    <a:cubicBezTo>
                      <a:pt x="714" y="176"/>
                      <a:pt x="737" y="233"/>
                      <a:pt x="741" y="292"/>
                    </a:cubicBezTo>
                    <a:cubicBezTo>
                      <a:pt x="644" y="195"/>
                      <a:pt x="644" y="195"/>
                      <a:pt x="644" y="195"/>
                    </a:cubicBezTo>
                    <a:cubicBezTo>
                      <a:pt x="638" y="186"/>
                      <a:pt x="632" y="178"/>
                      <a:pt x="626" y="171"/>
                    </a:cubicBezTo>
                    <a:cubicBezTo>
                      <a:pt x="615" y="159"/>
                      <a:pt x="597" y="157"/>
                      <a:pt x="585" y="168"/>
                    </a:cubicBezTo>
                    <a:cubicBezTo>
                      <a:pt x="573" y="178"/>
                      <a:pt x="572" y="196"/>
                      <a:pt x="582" y="208"/>
                    </a:cubicBezTo>
                    <a:cubicBezTo>
                      <a:pt x="606" y="236"/>
                      <a:pt x="619" y="272"/>
                      <a:pt x="619" y="309"/>
                    </a:cubicBezTo>
                    <a:cubicBezTo>
                      <a:pt x="619" y="323"/>
                      <a:pt x="618" y="336"/>
                      <a:pt x="614" y="348"/>
                    </a:cubicBezTo>
                    <a:cubicBezTo>
                      <a:pt x="535" y="269"/>
                      <a:pt x="535" y="269"/>
                      <a:pt x="535" y="269"/>
                    </a:cubicBezTo>
                    <a:cubicBezTo>
                      <a:pt x="521" y="244"/>
                      <a:pt x="494" y="228"/>
                      <a:pt x="464" y="228"/>
                    </a:cubicBezTo>
                    <a:cubicBezTo>
                      <a:pt x="445" y="228"/>
                      <a:pt x="428" y="234"/>
                      <a:pt x="415" y="244"/>
                    </a:cubicBezTo>
                    <a:cubicBezTo>
                      <a:pt x="347" y="176"/>
                      <a:pt x="347" y="176"/>
                      <a:pt x="347" y="176"/>
                    </a:cubicBezTo>
                    <a:cubicBezTo>
                      <a:pt x="347" y="176"/>
                      <a:pt x="347" y="176"/>
                      <a:pt x="347" y="176"/>
                    </a:cubicBezTo>
                    <a:cubicBezTo>
                      <a:pt x="345" y="173"/>
                      <a:pt x="343" y="171"/>
                      <a:pt x="341" y="169"/>
                    </a:cubicBezTo>
                    <a:cubicBezTo>
                      <a:pt x="334" y="163"/>
                      <a:pt x="325" y="161"/>
                      <a:pt x="317" y="163"/>
                    </a:cubicBezTo>
                    <a:cubicBezTo>
                      <a:pt x="253" y="100"/>
                      <a:pt x="253" y="100"/>
                      <a:pt x="253" y="100"/>
                    </a:cubicBezTo>
                    <a:cubicBezTo>
                      <a:pt x="252" y="97"/>
                      <a:pt x="249" y="94"/>
                      <a:pt x="247" y="91"/>
                    </a:cubicBezTo>
                    <a:cubicBezTo>
                      <a:pt x="239" y="85"/>
                      <a:pt x="229" y="83"/>
                      <a:pt x="220" y="86"/>
                    </a:cubicBezTo>
                    <a:cubicBezTo>
                      <a:pt x="156" y="23"/>
                      <a:pt x="156" y="23"/>
                      <a:pt x="156" y="23"/>
                    </a:cubicBezTo>
                    <a:cubicBezTo>
                      <a:pt x="155" y="18"/>
                      <a:pt x="152" y="13"/>
                      <a:pt x="147" y="10"/>
                    </a:cubicBezTo>
                    <a:cubicBezTo>
                      <a:pt x="135" y="0"/>
                      <a:pt x="117" y="1"/>
                      <a:pt x="107" y="14"/>
                    </a:cubicBezTo>
                    <a:cubicBezTo>
                      <a:pt x="38" y="97"/>
                      <a:pt x="0" y="202"/>
                      <a:pt x="0" y="309"/>
                    </a:cubicBezTo>
                    <a:cubicBezTo>
                      <a:pt x="0" y="417"/>
                      <a:pt x="38" y="522"/>
                      <a:pt x="107" y="605"/>
                    </a:cubicBezTo>
                    <a:cubicBezTo>
                      <a:pt x="113" y="612"/>
                      <a:pt x="121" y="615"/>
                      <a:pt x="129" y="615"/>
                    </a:cubicBezTo>
                    <a:cubicBezTo>
                      <a:pt x="130" y="615"/>
                      <a:pt x="130" y="615"/>
                      <a:pt x="131" y="615"/>
                    </a:cubicBezTo>
                    <a:cubicBezTo>
                      <a:pt x="250" y="734"/>
                      <a:pt x="250" y="734"/>
                      <a:pt x="250" y="734"/>
                    </a:cubicBezTo>
                    <a:cubicBezTo>
                      <a:pt x="101" y="1072"/>
                      <a:pt x="101" y="1072"/>
                      <a:pt x="101" y="1072"/>
                    </a:cubicBezTo>
                    <a:cubicBezTo>
                      <a:pt x="95" y="1084"/>
                      <a:pt x="98" y="1097"/>
                      <a:pt x="108" y="1105"/>
                    </a:cubicBezTo>
                    <a:cubicBezTo>
                      <a:pt x="112" y="1109"/>
                      <a:pt x="118" y="1112"/>
                      <a:pt x="124" y="1112"/>
                    </a:cubicBezTo>
                    <a:cubicBezTo>
                      <a:pt x="316" y="1304"/>
                      <a:pt x="316" y="1304"/>
                      <a:pt x="316" y="1304"/>
                    </a:cubicBezTo>
                    <a:cubicBezTo>
                      <a:pt x="364" y="1313"/>
                      <a:pt x="413" y="1318"/>
                      <a:pt x="464" y="1318"/>
                    </a:cubicBezTo>
                    <a:cubicBezTo>
                      <a:pt x="904" y="1318"/>
                      <a:pt x="1261" y="961"/>
                      <a:pt x="1261" y="521"/>
                    </a:cubicBezTo>
                    <a:cubicBezTo>
                      <a:pt x="1261" y="497"/>
                      <a:pt x="1260" y="473"/>
                      <a:pt x="1258" y="450"/>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33" name="Freeform 16">
                <a:extLst>
                  <a:ext uri="{FF2B5EF4-FFF2-40B4-BE49-F238E27FC236}">
                    <a16:creationId xmlns:a16="http://schemas.microsoft.com/office/drawing/2014/main" id="{0CD5A03D-7EEA-45CF-8348-90E05A5F958A}"/>
                  </a:ext>
                </a:extLst>
              </p:cNvPr>
              <p:cNvSpPr>
                <a:spLocks/>
              </p:cNvSpPr>
              <p:nvPr/>
            </p:nvSpPr>
            <p:spPr bwMode="auto">
              <a:xfrm>
                <a:off x="3290" y="722"/>
                <a:ext cx="271" cy="925"/>
              </a:xfrm>
              <a:custGeom>
                <a:avLst/>
                <a:gdLst>
                  <a:gd name="T0" fmla="*/ 32 w 133"/>
                  <a:gd name="T1" fmla="*/ 455 h 455"/>
                  <a:gd name="T2" fmla="*/ 13 w 133"/>
                  <a:gd name="T3" fmla="*/ 449 h 455"/>
                  <a:gd name="T4" fmla="*/ 10 w 133"/>
                  <a:gd name="T5" fmla="*/ 408 h 455"/>
                  <a:gd name="T6" fmla="*/ 75 w 133"/>
                  <a:gd name="T7" fmla="*/ 229 h 455"/>
                  <a:gd name="T8" fmla="*/ 10 w 133"/>
                  <a:gd name="T9" fmla="*/ 51 h 455"/>
                  <a:gd name="T10" fmla="*/ 13 w 133"/>
                  <a:gd name="T11" fmla="*/ 10 h 455"/>
                  <a:gd name="T12" fmla="*/ 54 w 133"/>
                  <a:gd name="T13" fmla="*/ 13 h 455"/>
                  <a:gd name="T14" fmla="*/ 133 w 133"/>
                  <a:gd name="T15" fmla="*/ 229 h 455"/>
                  <a:gd name="T16" fmla="*/ 54 w 133"/>
                  <a:gd name="T17" fmla="*/ 445 h 455"/>
                  <a:gd name="T18" fmla="*/ 32 w 133"/>
                  <a:gd name="T19"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455">
                    <a:moveTo>
                      <a:pt x="32" y="455"/>
                    </a:moveTo>
                    <a:cubicBezTo>
                      <a:pt x="25" y="455"/>
                      <a:pt x="19" y="453"/>
                      <a:pt x="13" y="449"/>
                    </a:cubicBezTo>
                    <a:cubicBezTo>
                      <a:pt x="1" y="438"/>
                      <a:pt x="0" y="420"/>
                      <a:pt x="10" y="408"/>
                    </a:cubicBezTo>
                    <a:cubicBezTo>
                      <a:pt x="52" y="358"/>
                      <a:pt x="75" y="295"/>
                      <a:pt x="75" y="229"/>
                    </a:cubicBezTo>
                    <a:cubicBezTo>
                      <a:pt x="75" y="164"/>
                      <a:pt x="52" y="101"/>
                      <a:pt x="10" y="51"/>
                    </a:cubicBezTo>
                    <a:cubicBezTo>
                      <a:pt x="0" y="38"/>
                      <a:pt x="1" y="20"/>
                      <a:pt x="13" y="10"/>
                    </a:cubicBezTo>
                    <a:cubicBezTo>
                      <a:pt x="26" y="0"/>
                      <a:pt x="44" y="1"/>
                      <a:pt x="54" y="13"/>
                    </a:cubicBezTo>
                    <a:cubicBezTo>
                      <a:pt x="105" y="74"/>
                      <a:pt x="133" y="150"/>
                      <a:pt x="133" y="229"/>
                    </a:cubicBezTo>
                    <a:cubicBezTo>
                      <a:pt x="133" y="308"/>
                      <a:pt x="105" y="385"/>
                      <a:pt x="54" y="445"/>
                    </a:cubicBezTo>
                    <a:cubicBezTo>
                      <a:pt x="48" y="452"/>
                      <a:pt x="40" y="455"/>
                      <a:pt x="32"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34" name="Freeform 17">
                <a:extLst>
                  <a:ext uri="{FF2B5EF4-FFF2-40B4-BE49-F238E27FC236}">
                    <a16:creationId xmlns:a16="http://schemas.microsoft.com/office/drawing/2014/main" id="{C3AA3205-CAFE-4EE8-AC8A-E24D00103336}"/>
                  </a:ext>
                </a:extLst>
              </p:cNvPr>
              <p:cNvSpPr>
                <a:spLocks/>
              </p:cNvSpPr>
              <p:nvPr/>
            </p:nvSpPr>
            <p:spPr bwMode="auto">
              <a:xfrm>
                <a:off x="2197" y="724"/>
                <a:ext cx="269" cy="921"/>
              </a:xfrm>
              <a:custGeom>
                <a:avLst/>
                <a:gdLst>
                  <a:gd name="T0" fmla="*/ 99 w 132"/>
                  <a:gd name="T1" fmla="*/ 453 h 453"/>
                  <a:gd name="T2" fmla="*/ 77 w 132"/>
                  <a:gd name="T3" fmla="*/ 442 h 453"/>
                  <a:gd name="T4" fmla="*/ 0 w 132"/>
                  <a:gd name="T5" fmla="*/ 228 h 453"/>
                  <a:gd name="T6" fmla="*/ 77 w 132"/>
                  <a:gd name="T7" fmla="*/ 14 h 453"/>
                  <a:gd name="T8" fmla="*/ 118 w 132"/>
                  <a:gd name="T9" fmla="*/ 10 h 453"/>
                  <a:gd name="T10" fmla="*/ 121 w 132"/>
                  <a:gd name="T11" fmla="*/ 51 h 453"/>
                  <a:gd name="T12" fmla="*/ 57 w 132"/>
                  <a:gd name="T13" fmla="*/ 228 h 453"/>
                  <a:gd name="T14" fmla="*/ 121 w 132"/>
                  <a:gd name="T15" fmla="*/ 406 h 453"/>
                  <a:gd name="T16" fmla="*/ 118 w 132"/>
                  <a:gd name="T17" fmla="*/ 446 h 453"/>
                  <a:gd name="T18" fmla="*/ 99 w 132"/>
                  <a:gd name="T19"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453">
                    <a:moveTo>
                      <a:pt x="99" y="453"/>
                    </a:moveTo>
                    <a:cubicBezTo>
                      <a:pt x="91" y="453"/>
                      <a:pt x="83" y="449"/>
                      <a:pt x="77" y="442"/>
                    </a:cubicBezTo>
                    <a:cubicBezTo>
                      <a:pt x="27" y="382"/>
                      <a:pt x="0" y="306"/>
                      <a:pt x="0" y="228"/>
                    </a:cubicBezTo>
                    <a:cubicBezTo>
                      <a:pt x="0" y="150"/>
                      <a:pt x="27" y="74"/>
                      <a:pt x="77" y="14"/>
                    </a:cubicBezTo>
                    <a:cubicBezTo>
                      <a:pt x="87" y="2"/>
                      <a:pt x="105" y="0"/>
                      <a:pt x="118" y="10"/>
                    </a:cubicBezTo>
                    <a:cubicBezTo>
                      <a:pt x="130" y="21"/>
                      <a:pt x="132" y="39"/>
                      <a:pt x="121" y="51"/>
                    </a:cubicBezTo>
                    <a:cubicBezTo>
                      <a:pt x="80" y="101"/>
                      <a:pt x="57" y="164"/>
                      <a:pt x="57" y="228"/>
                    </a:cubicBezTo>
                    <a:cubicBezTo>
                      <a:pt x="57" y="293"/>
                      <a:pt x="80" y="356"/>
                      <a:pt x="121" y="406"/>
                    </a:cubicBezTo>
                    <a:cubicBezTo>
                      <a:pt x="132" y="418"/>
                      <a:pt x="130" y="436"/>
                      <a:pt x="118" y="446"/>
                    </a:cubicBezTo>
                    <a:cubicBezTo>
                      <a:pt x="112" y="451"/>
                      <a:pt x="106" y="453"/>
                      <a:pt x="99" y="453"/>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35" name="Freeform 18">
                <a:extLst>
                  <a:ext uri="{FF2B5EF4-FFF2-40B4-BE49-F238E27FC236}">
                    <a16:creationId xmlns:a16="http://schemas.microsoft.com/office/drawing/2014/main" id="{BBB9C9B7-451D-486A-A374-8764E202B74A}"/>
                  </a:ext>
                </a:extLst>
              </p:cNvPr>
              <p:cNvSpPr>
                <a:spLocks/>
              </p:cNvSpPr>
              <p:nvPr/>
            </p:nvSpPr>
            <p:spPr bwMode="auto">
              <a:xfrm>
                <a:off x="3492" y="555"/>
                <a:ext cx="330" cy="1259"/>
              </a:xfrm>
              <a:custGeom>
                <a:avLst/>
                <a:gdLst>
                  <a:gd name="T0" fmla="*/ 32 w 162"/>
                  <a:gd name="T1" fmla="*/ 619 h 619"/>
                  <a:gd name="T2" fmla="*/ 14 w 162"/>
                  <a:gd name="T3" fmla="*/ 612 h 619"/>
                  <a:gd name="T4" fmla="*/ 10 w 162"/>
                  <a:gd name="T5" fmla="*/ 572 h 619"/>
                  <a:gd name="T6" fmla="*/ 104 w 162"/>
                  <a:gd name="T7" fmla="*/ 311 h 619"/>
                  <a:gd name="T8" fmla="*/ 10 w 162"/>
                  <a:gd name="T9" fmla="*/ 51 h 619"/>
                  <a:gd name="T10" fmla="*/ 14 w 162"/>
                  <a:gd name="T11" fmla="*/ 10 h 619"/>
                  <a:gd name="T12" fmla="*/ 54 w 162"/>
                  <a:gd name="T13" fmla="*/ 14 h 619"/>
                  <a:gd name="T14" fmla="*/ 162 w 162"/>
                  <a:gd name="T15" fmla="*/ 311 h 619"/>
                  <a:gd name="T16" fmla="*/ 54 w 162"/>
                  <a:gd name="T17" fmla="*/ 609 h 619"/>
                  <a:gd name="T18" fmla="*/ 32 w 162"/>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619">
                    <a:moveTo>
                      <a:pt x="32" y="619"/>
                    </a:moveTo>
                    <a:cubicBezTo>
                      <a:pt x="26" y="619"/>
                      <a:pt x="19" y="617"/>
                      <a:pt x="14" y="612"/>
                    </a:cubicBezTo>
                    <a:cubicBezTo>
                      <a:pt x="1" y="602"/>
                      <a:pt x="0" y="584"/>
                      <a:pt x="10" y="572"/>
                    </a:cubicBezTo>
                    <a:cubicBezTo>
                      <a:pt x="71" y="499"/>
                      <a:pt x="104" y="406"/>
                      <a:pt x="104" y="311"/>
                    </a:cubicBezTo>
                    <a:cubicBezTo>
                      <a:pt x="104" y="216"/>
                      <a:pt x="71" y="124"/>
                      <a:pt x="10" y="51"/>
                    </a:cubicBezTo>
                    <a:cubicBezTo>
                      <a:pt x="0" y="39"/>
                      <a:pt x="1" y="21"/>
                      <a:pt x="14" y="10"/>
                    </a:cubicBezTo>
                    <a:cubicBezTo>
                      <a:pt x="26" y="0"/>
                      <a:pt x="44" y="2"/>
                      <a:pt x="54" y="14"/>
                    </a:cubicBezTo>
                    <a:cubicBezTo>
                      <a:pt x="124" y="97"/>
                      <a:pt x="162" y="203"/>
                      <a:pt x="162" y="311"/>
                    </a:cubicBezTo>
                    <a:cubicBezTo>
                      <a:pt x="162" y="420"/>
                      <a:pt x="124" y="525"/>
                      <a:pt x="54" y="609"/>
                    </a:cubicBezTo>
                    <a:cubicBezTo>
                      <a:pt x="49" y="615"/>
                      <a:pt x="40" y="619"/>
                      <a:pt x="32" y="619"/>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36" name="Freeform 19">
                <a:extLst>
                  <a:ext uri="{FF2B5EF4-FFF2-40B4-BE49-F238E27FC236}">
                    <a16:creationId xmlns:a16="http://schemas.microsoft.com/office/drawing/2014/main" id="{12A2DD73-147B-4E86-BF55-FB106440EBF9}"/>
                  </a:ext>
                </a:extLst>
              </p:cNvPr>
              <p:cNvSpPr>
                <a:spLocks/>
              </p:cNvSpPr>
              <p:nvPr/>
            </p:nvSpPr>
            <p:spPr bwMode="auto">
              <a:xfrm>
                <a:off x="1934" y="559"/>
                <a:ext cx="328" cy="1251"/>
              </a:xfrm>
              <a:custGeom>
                <a:avLst/>
                <a:gdLst>
                  <a:gd name="T0" fmla="*/ 129 w 161"/>
                  <a:gd name="T1" fmla="*/ 615 h 615"/>
                  <a:gd name="T2" fmla="*/ 107 w 161"/>
                  <a:gd name="T3" fmla="*/ 605 h 615"/>
                  <a:gd name="T4" fmla="*/ 0 w 161"/>
                  <a:gd name="T5" fmla="*/ 309 h 615"/>
                  <a:gd name="T6" fmla="*/ 107 w 161"/>
                  <a:gd name="T7" fmla="*/ 14 h 615"/>
                  <a:gd name="T8" fmla="*/ 147 w 161"/>
                  <a:gd name="T9" fmla="*/ 10 h 615"/>
                  <a:gd name="T10" fmla="*/ 151 w 161"/>
                  <a:gd name="T11" fmla="*/ 51 h 615"/>
                  <a:gd name="T12" fmla="*/ 58 w 161"/>
                  <a:gd name="T13" fmla="*/ 309 h 615"/>
                  <a:gd name="T14" fmla="*/ 151 w 161"/>
                  <a:gd name="T15" fmla="*/ 568 h 615"/>
                  <a:gd name="T16" fmla="*/ 147 w 161"/>
                  <a:gd name="T17" fmla="*/ 609 h 615"/>
                  <a:gd name="T18" fmla="*/ 129 w 161"/>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615">
                    <a:moveTo>
                      <a:pt x="129" y="615"/>
                    </a:moveTo>
                    <a:cubicBezTo>
                      <a:pt x="121" y="615"/>
                      <a:pt x="113" y="612"/>
                      <a:pt x="107" y="605"/>
                    </a:cubicBezTo>
                    <a:cubicBezTo>
                      <a:pt x="38" y="522"/>
                      <a:pt x="0" y="417"/>
                      <a:pt x="0" y="309"/>
                    </a:cubicBezTo>
                    <a:cubicBezTo>
                      <a:pt x="0" y="202"/>
                      <a:pt x="38" y="97"/>
                      <a:pt x="107" y="14"/>
                    </a:cubicBezTo>
                    <a:cubicBezTo>
                      <a:pt x="117" y="1"/>
                      <a:pt x="135" y="0"/>
                      <a:pt x="147" y="10"/>
                    </a:cubicBezTo>
                    <a:cubicBezTo>
                      <a:pt x="160" y="20"/>
                      <a:pt x="161" y="38"/>
                      <a:pt x="151" y="51"/>
                    </a:cubicBezTo>
                    <a:cubicBezTo>
                      <a:pt x="91" y="123"/>
                      <a:pt x="58" y="215"/>
                      <a:pt x="58" y="309"/>
                    </a:cubicBezTo>
                    <a:cubicBezTo>
                      <a:pt x="58" y="404"/>
                      <a:pt x="91" y="496"/>
                      <a:pt x="151" y="568"/>
                    </a:cubicBezTo>
                    <a:cubicBezTo>
                      <a:pt x="161" y="580"/>
                      <a:pt x="160" y="599"/>
                      <a:pt x="147" y="609"/>
                    </a:cubicBezTo>
                    <a:cubicBezTo>
                      <a:pt x="142" y="613"/>
                      <a:pt x="136" y="615"/>
                      <a:pt x="129" y="61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37" name="Freeform 20">
                <a:extLst>
                  <a:ext uri="{FF2B5EF4-FFF2-40B4-BE49-F238E27FC236}">
                    <a16:creationId xmlns:a16="http://schemas.microsoft.com/office/drawing/2014/main" id="{E647A49C-40B7-4A97-BBED-08527419FCDB}"/>
                  </a:ext>
                </a:extLst>
              </p:cNvPr>
              <p:cNvSpPr>
                <a:spLocks/>
              </p:cNvSpPr>
              <p:nvPr/>
            </p:nvSpPr>
            <p:spPr bwMode="auto">
              <a:xfrm>
                <a:off x="3099" y="879"/>
                <a:ext cx="214" cy="612"/>
              </a:xfrm>
              <a:custGeom>
                <a:avLst/>
                <a:gdLst>
                  <a:gd name="T0" fmla="*/ 32 w 105"/>
                  <a:gd name="T1" fmla="*/ 301 h 301"/>
                  <a:gd name="T2" fmla="*/ 13 w 105"/>
                  <a:gd name="T3" fmla="*/ 294 h 301"/>
                  <a:gd name="T4" fmla="*/ 10 w 105"/>
                  <a:gd name="T5" fmla="*/ 253 h 301"/>
                  <a:gd name="T6" fmla="*/ 47 w 105"/>
                  <a:gd name="T7" fmla="*/ 152 h 301"/>
                  <a:gd name="T8" fmla="*/ 10 w 105"/>
                  <a:gd name="T9" fmla="*/ 51 h 301"/>
                  <a:gd name="T10" fmla="*/ 13 w 105"/>
                  <a:gd name="T11" fmla="*/ 11 h 301"/>
                  <a:gd name="T12" fmla="*/ 54 w 105"/>
                  <a:gd name="T13" fmla="*/ 14 h 301"/>
                  <a:gd name="T14" fmla="*/ 105 w 105"/>
                  <a:gd name="T15" fmla="*/ 152 h 301"/>
                  <a:gd name="T16" fmla="*/ 54 w 105"/>
                  <a:gd name="T17" fmla="*/ 291 h 301"/>
                  <a:gd name="T18" fmla="*/ 32 w 105"/>
                  <a:gd name="T19"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01">
                    <a:moveTo>
                      <a:pt x="32" y="301"/>
                    </a:moveTo>
                    <a:cubicBezTo>
                      <a:pt x="25" y="301"/>
                      <a:pt x="18" y="299"/>
                      <a:pt x="13" y="294"/>
                    </a:cubicBezTo>
                    <a:cubicBezTo>
                      <a:pt x="1" y="284"/>
                      <a:pt x="0" y="266"/>
                      <a:pt x="10" y="253"/>
                    </a:cubicBezTo>
                    <a:cubicBezTo>
                      <a:pt x="34" y="225"/>
                      <a:pt x="47" y="189"/>
                      <a:pt x="47" y="152"/>
                    </a:cubicBezTo>
                    <a:cubicBezTo>
                      <a:pt x="47" y="115"/>
                      <a:pt x="34" y="79"/>
                      <a:pt x="10" y="51"/>
                    </a:cubicBezTo>
                    <a:cubicBezTo>
                      <a:pt x="0" y="39"/>
                      <a:pt x="1" y="21"/>
                      <a:pt x="13" y="11"/>
                    </a:cubicBezTo>
                    <a:cubicBezTo>
                      <a:pt x="25" y="0"/>
                      <a:pt x="43" y="2"/>
                      <a:pt x="54" y="14"/>
                    </a:cubicBezTo>
                    <a:cubicBezTo>
                      <a:pt x="87" y="52"/>
                      <a:pt x="105" y="102"/>
                      <a:pt x="105" y="152"/>
                    </a:cubicBezTo>
                    <a:cubicBezTo>
                      <a:pt x="105" y="203"/>
                      <a:pt x="87" y="252"/>
                      <a:pt x="54" y="291"/>
                    </a:cubicBezTo>
                    <a:cubicBezTo>
                      <a:pt x="48" y="298"/>
                      <a:pt x="40" y="301"/>
                      <a:pt x="32" y="301"/>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38" name="Freeform 21">
                <a:extLst>
                  <a:ext uri="{FF2B5EF4-FFF2-40B4-BE49-F238E27FC236}">
                    <a16:creationId xmlns:a16="http://schemas.microsoft.com/office/drawing/2014/main" id="{C12C9C28-98EF-4EC0-9AD2-B5FB993487A0}"/>
                  </a:ext>
                </a:extLst>
              </p:cNvPr>
              <p:cNvSpPr>
                <a:spLocks/>
              </p:cNvSpPr>
              <p:nvPr/>
            </p:nvSpPr>
            <p:spPr bwMode="auto">
              <a:xfrm>
                <a:off x="2443" y="883"/>
                <a:ext cx="214" cy="606"/>
              </a:xfrm>
              <a:custGeom>
                <a:avLst/>
                <a:gdLst>
                  <a:gd name="T0" fmla="*/ 72 w 105"/>
                  <a:gd name="T1" fmla="*/ 298 h 298"/>
                  <a:gd name="T2" fmla="*/ 50 w 105"/>
                  <a:gd name="T3" fmla="*/ 287 h 298"/>
                  <a:gd name="T4" fmla="*/ 0 w 105"/>
                  <a:gd name="T5" fmla="*/ 150 h 298"/>
                  <a:gd name="T6" fmla="*/ 50 w 105"/>
                  <a:gd name="T7" fmla="*/ 13 h 298"/>
                  <a:gd name="T8" fmla="*/ 91 w 105"/>
                  <a:gd name="T9" fmla="*/ 10 h 298"/>
                  <a:gd name="T10" fmla="*/ 94 w 105"/>
                  <a:gd name="T11" fmla="*/ 51 h 298"/>
                  <a:gd name="T12" fmla="*/ 58 w 105"/>
                  <a:gd name="T13" fmla="*/ 150 h 298"/>
                  <a:gd name="T14" fmla="*/ 94 w 105"/>
                  <a:gd name="T15" fmla="*/ 250 h 298"/>
                  <a:gd name="T16" fmla="*/ 91 w 105"/>
                  <a:gd name="T17" fmla="*/ 291 h 298"/>
                  <a:gd name="T18" fmla="*/ 72 w 105"/>
                  <a:gd name="T19"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298">
                    <a:moveTo>
                      <a:pt x="72" y="298"/>
                    </a:moveTo>
                    <a:cubicBezTo>
                      <a:pt x="64" y="298"/>
                      <a:pt x="56" y="294"/>
                      <a:pt x="50" y="287"/>
                    </a:cubicBezTo>
                    <a:cubicBezTo>
                      <a:pt x="18" y="249"/>
                      <a:pt x="0" y="200"/>
                      <a:pt x="0" y="150"/>
                    </a:cubicBezTo>
                    <a:cubicBezTo>
                      <a:pt x="0" y="100"/>
                      <a:pt x="18" y="52"/>
                      <a:pt x="50" y="13"/>
                    </a:cubicBezTo>
                    <a:cubicBezTo>
                      <a:pt x="60" y="1"/>
                      <a:pt x="79" y="0"/>
                      <a:pt x="91" y="10"/>
                    </a:cubicBezTo>
                    <a:cubicBezTo>
                      <a:pt x="103" y="20"/>
                      <a:pt x="105" y="38"/>
                      <a:pt x="94" y="51"/>
                    </a:cubicBezTo>
                    <a:cubicBezTo>
                      <a:pt x="71" y="78"/>
                      <a:pt x="58" y="114"/>
                      <a:pt x="58" y="150"/>
                    </a:cubicBezTo>
                    <a:cubicBezTo>
                      <a:pt x="58" y="187"/>
                      <a:pt x="71" y="222"/>
                      <a:pt x="94" y="250"/>
                    </a:cubicBezTo>
                    <a:cubicBezTo>
                      <a:pt x="105" y="262"/>
                      <a:pt x="103" y="281"/>
                      <a:pt x="91" y="291"/>
                    </a:cubicBezTo>
                    <a:cubicBezTo>
                      <a:pt x="85" y="295"/>
                      <a:pt x="79" y="298"/>
                      <a:pt x="72" y="298"/>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39" name="Freeform 22">
                <a:extLst>
                  <a:ext uri="{FF2B5EF4-FFF2-40B4-BE49-F238E27FC236}">
                    <a16:creationId xmlns:a16="http://schemas.microsoft.com/office/drawing/2014/main" id="{1182DDBE-CA35-4B81-A3B4-0DB75CBDCBB7}"/>
                  </a:ext>
                </a:extLst>
              </p:cNvPr>
              <p:cNvSpPr>
                <a:spLocks noEditPoints="1"/>
              </p:cNvSpPr>
              <p:nvPr/>
            </p:nvSpPr>
            <p:spPr bwMode="auto">
              <a:xfrm>
                <a:off x="2128" y="1153"/>
                <a:ext cx="1500" cy="1670"/>
              </a:xfrm>
              <a:custGeom>
                <a:avLst/>
                <a:gdLst>
                  <a:gd name="T0" fmla="*/ 732 w 737"/>
                  <a:gd name="T1" fmla="*/ 780 h 821"/>
                  <a:gd name="T2" fmla="*/ 395 w 737"/>
                  <a:gd name="T3" fmla="*/ 17 h 821"/>
                  <a:gd name="T4" fmla="*/ 393 w 737"/>
                  <a:gd name="T5" fmla="*/ 13 h 821"/>
                  <a:gd name="T6" fmla="*/ 393 w 737"/>
                  <a:gd name="T7" fmla="*/ 13 h 821"/>
                  <a:gd name="T8" fmla="*/ 390 w 737"/>
                  <a:gd name="T9" fmla="*/ 9 h 821"/>
                  <a:gd name="T10" fmla="*/ 390 w 737"/>
                  <a:gd name="T11" fmla="*/ 8 h 821"/>
                  <a:gd name="T12" fmla="*/ 386 w 737"/>
                  <a:gd name="T13" fmla="*/ 5 h 821"/>
                  <a:gd name="T14" fmla="*/ 385 w 737"/>
                  <a:gd name="T15" fmla="*/ 5 h 821"/>
                  <a:gd name="T16" fmla="*/ 381 w 737"/>
                  <a:gd name="T17" fmla="*/ 2 h 821"/>
                  <a:gd name="T18" fmla="*/ 380 w 737"/>
                  <a:gd name="T19" fmla="*/ 2 h 821"/>
                  <a:gd name="T20" fmla="*/ 380 w 737"/>
                  <a:gd name="T21" fmla="*/ 2 h 821"/>
                  <a:gd name="T22" fmla="*/ 376 w 737"/>
                  <a:gd name="T23" fmla="*/ 0 h 821"/>
                  <a:gd name="T24" fmla="*/ 375 w 737"/>
                  <a:gd name="T25" fmla="*/ 0 h 821"/>
                  <a:gd name="T26" fmla="*/ 371 w 737"/>
                  <a:gd name="T27" fmla="*/ 0 h 821"/>
                  <a:gd name="T28" fmla="*/ 369 w 737"/>
                  <a:gd name="T29" fmla="*/ 0 h 821"/>
                  <a:gd name="T30" fmla="*/ 366 w 737"/>
                  <a:gd name="T31" fmla="*/ 0 h 821"/>
                  <a:gd name="T32" fmla="*/ 363 w 737"/>
                  <a:gd name="T33" fmla="*/ 0 h 821"/>
                  <a:gd name="T34" fmla="*/ 362 w 737"/>
                  <a:gd name="T35" fmla="*/ 0 h 821"/>
                  <a:gd name="T36" fmla="*/ 357 w 737"/>
                  <a:gd name="T37" fmla="*/ 2 h 821"/>
                  <a:gd name="T38" fmla="*/ 357 w 737"/>
                  <a:gd name="T39" fmla="*/ 2 h 821"/>
                  <a:gd name="T40" fmla="*/ 357 w 737"/>
                  <a:gd name="T41" fmla="*/ 2 h 821"/>
                  <a:gd name="T42" fmla="*/ 352 w 737"/>
                  <a:gd name="T43" fmla="*/ 5 h 821"/>
                  <a:gd name="T44" fmla="*/ 352 w 737"/>
                  <a:gd name="T45" fmla="*/ 5 h 821"/>
                  <a:gd name="T46" fmla="*/ 348 w 737"/>
                  <a:gd name="T47" fmla="*/ 8 h 821"/>
                  <a:gd name="T48" fmla="*/ 348 w 737"/>
                  <a:gd name="T49" fmla="*/ 9 h 821"/>
                  <a:gd name="T50" fmla="*/ 344 w 737"/>
                  <a:gd name="T51" fmla="*/ 13 h 821"/>
                  <a:gd name="T52" fmla="*/ 344 w 737"/>
                  <a:gd name="T53" fmla="*/ 13 h 821"/>
                  <a:gd name="T54" fmla="*/ 342 w 737"/>
                  <a:gd name="T55" fmla="*/ 17 h 821"/>
                  <a:gd name="T56" fmla="*/ 6 w 737"/>
                  <a:gd name="T57" fmla="*/ 780 h 821"/>
                  <a:gd name="T58" fmla="*/ 13 w 737"/>
                  <a:gd name="T59" fmla="*/ 813 h 821"/>
                  <a:gd name="T60" fmla="*/ 32 w 737"/>
                  <a:gd name="T61" fmla="*/ 821 h 821"/>
                  <a:gd name="T62" fmla="*/ 46 w 737"/>
                  <a:gd name="T63" fmla="*/ 817 h 821"/>
                  <a:gd name="T64" fmla="*/ 369 w 737"/>
                  <a:gd name="T65" fmla="*/ 632 h 821"/>
                  <a:gd name="T66" fmla="*/ 691 w 737"/>
                  <a:gd name="T67" fmla="*/ 817 h 821"/>
                  <a:gd name="T68" fmla="*/ 706 w 737"/>
                  <a:gd name="T69" fmla="*/ 821 h 821"/>
                  <a:gd name="T70" fmla="*/ 725 w 737"/>
                  <a:gd name="T71" fmla="*/ 813 h 821"/>
                  <a:gd name="T72" fmla="*/ 732 w 737"/>
                  <a:gd name="T73" fmla="*/ 780 h 821"/>
                  <a:gd name="T74" fmla="*/ 528 w 737"/>
                  <a:gd name="T75" fmla="*/ 461 h 821"/>
                  <a:gd name="T76" fmla="*/ 421 w 737"/>
                  <a:gd name="T77" fmla="*/ 391 h 821"/>
                  <a:gd name="T78" fmla="*/ 480 w 737"/>
                  <a:gd name="T79" fmla="*/ 352 h 821"/>
                  <a:gd name="T80" fmla="*/ 528 w 737"/>
                  <a:gd name="T81" fmla="*/ 461 h 821"/>
                  <a:gd name="T82" fmla="*/ 483 w 737"/>
                  <a:gd name="T83" fmla="*/ 500 h 821"/>
                  <a:gd name="T84" fmla="*/ 369 w 737"/>
                  <a:gd name="T85" fmla="*/ 565 h 821"/>
                  <a:gd name="T86" fmla="*/ 255 w 737"/>
                  <a:gd name="T87" fmla="*/ 500 h 821"/>
                  <a:gd name="T88" fmla="*/ 369 w 737"/>
                  <a:gd name="T89" fmla="*/ 425 h 821"/>
                  <a:gd name="T90" fmla="*/ 483 w 737"/>
                  <a:gd name="T91" fmla="*/ 500 h 821"/>
                  <a:gd name="T92" fmla="*/ 369 w 737"/>
                  <a:gd name="T93" fmla="*/ 100 h 821"/>
                  <a:gd name="T94" fmla="*/ 457 w 737"/>
                  <a:gd name="T95" fmla="*/ 299 h 821"/>
                  <a:gd name="T96" fmla="*/ 369 w 737"/>
                  <a:gd name="T97" fmla="*/ 356 h 821"/>
                  <a:gd name="T98" fmla="*/ 281 w 737"/>
                  <a:gd name="T99" fmla="*/ 299 h 821"/>
                  <a:gd name="T100" fmla="*/ 369 w 737"/>
                  <a:gd name="T101" fmla="*/ 100 h 821"/>
                  <a:gd name="T102" fmla="*/ 316 w 737"/>
                  <a:gd name="T103" fmla="*/ 391 h 821"/>
                  <a:gd name="T104" fmla="*/ 210 w 737"/>
                  <a:gd name="T105" fmla="*/ 461 h 821"/>
                  <a:gd name="T106" fmla="*/ 257 w 737"/>
                  <a:gd name="T107" fmla="*/ 352 h 821"/>
                  <a:gd name="T108" fmla="*/ 316 w 737"/>
                  <a:gd name="T109" fmla="*/ 391 h 821"/>
                  <a:gd name="T110" fmla="*/ 94 w 737"/>
                  <a:gd name="T111" fmla="*/ 723 h 821"/>
                  <a:gd name="T112" fmla="*/ 182 w 737"/>
                  <a:gd name="T113" fmla="*/ 524 h 821"/>
                  <a:gd name="T114" fmla="*/ 311 w 737"/>
                  <a:gd name="T115" fmla="*/ 599 h 821"/>
                  <a:gd name="T116" fmla="*/ 94 w 737"/>
                  <a:gd name="T117" fmla="*/ 723 h 821"/>
                  <a:gd name="T118" fmla="*/ 427 w 737"/>
                  <a:gd name="T119" fmla="*/ 599 h 821"/>
                  <a:gd name="T120" fmla="*/ 556 w 737"/>
                  <a:gd name="T121" fmla="*/ 524 h 821"/>
                  <a:gd name="T122" fmla="*/ 644 w 737"/>
                  <a:gd name="T123" fmla="*/ 723 h 821"/>
                  <a:gd name="T124" fmla="*/ 427 w 737"/>
                  <a:gd name="T125" fmla="*/ 59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821">
                    <a:moveTo>
                      <a:pt x="732" y="780"/>
                    </a:moveTo>
                    <a:cubicBezTo>
                      <a:pt x="395" y="17"/>
                      <a:pt x="395" y="17"/>
                      <a:pt x="395" y="17"/>
                    </a:cubicBezTo>
                    <a:cubicBezTo>
                      <a:pt x="395" y="15"/>
                      <a:pt x="394" y="14"/>
                      <a:pt x="393" y="13"/>
                    </a:cubicBezTo>
                    <a:cubicBezTo>
                      <a:pt x="393" y="13"/>
                      <a:pt x="393" y="13"/>
                      <a:pt x="393" y="13"/>
                    </a:cubicBezTo>
                    <a:cubicBezTo>
                      <a:pt x="392" y="11"/>
                      <a:pt x="391" y="10"/>
                      <a:pt x="390" y="9"/>
                    </a:cubicBezTo>
                    <a:cubicBezTo>
                      <a:pt x="390" y="9"/>
                      <a:pt x="390" y="9"/>
                      <a:pt x="390" y="8"/>
                    </a:cubicBezTo>
                    <a:cubicBezTo>
                      <a:pt x="388" y="7"/>
                      <a:pt x="387" y="6"/>
                      <a:pt x="386" y="5"/>
                    </a:cubicBezTo>
                    <a:cubicBezTo>
                      <a:pt x="386" y="5"/>
                      <a:pt x="385" y="5"/>
                      <a:pt x="385" y="5"/>
                    </a:cubicBezTo>
                    <a:cubicBezTo>
                      <a:pt x="384" y="4"/>
                      <a:pt x="382" y="3"/>
                      <a:pt x="381" y="2"/>
                    </a:cubicBezTo>
                    <a:cubicBezTo>
                      <a:pt x="381" y="2"/>
                      <a:pt x="381" y="2"/>
                      <a:pt x="380" y="2"/>
                    </a:cubicBezTo>
                    <a:cubicBezTo>
                      <a:pt x="380" y="2"/>
                      <a:pt x="380" y="2"/>
                      <a:pt x="380" y="2"/>
                    </a:cubicBezTo>
                    <a:cubicBezTo>
                      <a:pt x="379" y="1"/>
                      <a:pt x="377" y="1"/>
                      <a:pt x="376" y="0"/>
                    </a:cubicBezTo>
                    <a:cubicBezTo>
                      <a:pt x="375" y="0"/>
                      <a:pt x="375" y="0"/>
                      <a:pt x="375" y="0"/>
                    </a:cubicBezTo>
                    <a:cubicBezTo>
                      <a:pt x="373" y="0"/>
                      <a:pt x="372" y="0"/>
                      <a:pt x="371" y="0"/>
                    </a:cubicBezTo>
                    <a:cubicBezTo>
                      <a:pt x="370" y="0"/>
                      <a:pt x="370" y="0"/>
                      <a:pt x="369" y="0"/>
                    </a:cubicBezTo>
                    <a:cubicBezTo>
                      <a:pt x="368" y="0"/>
                      <a:pt x="367" y="0"/>
                      <a:pt x="366" y="0"/>
                    </a:cubicBezTo>
                    <a:cubicBezTo>
                      <a:pt x="365" y="0"/>
                      <a:pt x="364" y="0"/>
                      <a:pt x="363" y="0"/>
                    </a:cubicBezTo>
                    <a:cubicBezTo>
                      <a:pt x="363" y="0"/>
                      <a:pt x="362" y="0"/>
                      <a:pt x="362" y="0"/>
                    </a:cubicBezTo>
                    <a:cubicBezTo>
                      <a:pt x="360" y="1"/>
                      <a:pt x="359" y="1"/>
                      <a:pt x="357" y="2"/>
                    </a:cubicBezTo>
                    <a:cubicBezTo>
                      <a:pt x="357" y="2"/>
                      <a:pt x="357" y="2"/>
                      <a:pt x="357" y="2"/>
                    </a:cubicBezTo>
                    <a:cubicBezTo>
                      <a:pt x="357" y="2"/>
                      <a:pt x="357" y="2"/>
                      <a:pt x="357" y="2"/>
                    </a:cubicBezTo>
                    <a:cubicBezTo>
                      <a:pt x="355" y="3"/>
                      <a:pt x="354" y="4"/>
                      <a:pt x="352" y="5"/>
                    </a:cubicBezTo>
                    <a:cubicBezTo>
                      <a:pt x="352" y="5"/>
                      <a:pt x="352" y="5"/>
                      <a:pt x="352" y="5"/>
                    </a:cubicBezTo>
                    <a:cubicBezTo>
                      <a:pt x="350" y="6"/>
                      <a:pt x="349" y="7"/>
                      <a:pt x="348" y="8"/>
                    </a:cubicBezTo>
                    <a:cubicBezTo>
                      <a:pt x="348" y="9"/>
                      <a:pt x="348" y="9"/>
                      <a:pt x="348" y="9"/>
                    </a:cubicBezTo>
                    <a:cubicBezTo>
                      <a:pt x="346" y="10"/>
                      <a:pt x="345" y="11"/>
                      <a:pt x="344" y="13"/>
                    </a:cubicBezTo>
                    <a:cubicBezTo>
                      <a:pt x="344" y="13"/>
                      <a:pt x="344" y="13"/>
                      <a:pt x="344" y="13"/>
                    </a:cubicBezTo>
                    <a:cubicBezTo>
                      <a:pt x="344" y="14"/>
                      <a:pt x="343" y="15"/>
                      <a:pt x="342" y="17"/>
                    </a:cubicBezTo>
                    <a:cubicBezTo>
                      <a:pt x="6" y="780"/>
                      <a:pt x="6" y="780"/>
                      <a:pt x="6" y="780"/>
                    </a:cubicBezTo>
                    <a:cubicBezTo>
                      <a:pt x="0" y="792"/>
                      <a:pt x="3" y="805"/>
                      <a:pt x="13" y="813"/>
                    </a:cubicBezTo>
                    <a:cubicBezTo>
                      <a:pt x="18" y="818"/>
                      <a:pt x="25" y="821"/>
                      <a:pt x="32" y="821"/>
                    </a:cubicBezTo>
                    <a:cubicBezTo>
                      <a:pt x="37" y="821"/>
                      <a:pt x="42" y="819"/>
                      <a:pt x="46" y="817"/>
                    </a:cubicBezTo>
                    <a:cubicBezTo>
                      <a:pt x="369" y="632"/>
                      <a:pt x="369" y="632"/>
                      <a:pt x="369" y="632"/>
                    </a:cubicBezTo>
                    <a:cubicBezTo>
                      <a:pt x="691" y="817"/>
                      <a:pt x="691" y="817"/>
                      <a:pt x="691" y="817"/>
                    </a:cubicBezTo>
                    <a:cubicBezTo>
                      <a:pt x="696" y="819"/>
                      <a:pt x="701" y="821"/>
                      <a:pt x="706" y="821"/>
                    </a:cubicBezTo>
                    <a:cubicBezTo>
                      <a:pt x="713" y="821"/>
                      <a:pt x="719" y="818"/>
                      <a:pt x="725" y="813"/>
                    </a:cubicBezTo>
                    <a:cubicBezTo>
                      <a:pt x="734" y="805"/>
                      <a:pt x="737" y="792"/>
                      <a:pt x="732" y="780"/>
                    </a:cubicBezTo>
                    <a:close/>
                    <a:moveTo>
                      <a:pt x="528" y="461"/>
                    </a:moveTo>
                    <a:cubicBezTo>
                      <a:pt x="421" y="391"/>
                      <a:pt x="421" y="391"/>
                      <a:pt x="421" y="391"/>
                    </a:cubicBezTo>
                    <a:cubicBezTo>
                      <a:pt x="480" y="352"/>
                      <a:pt x="480" y="352"/>
                      <a:pt x="480" y="352"/>
                    </a:cubicBezTo>
                    <a:lnTo>
                      <a:pt x="528" y="461"/>
                    </a:lnTo>
                    <a:close/>
                    <a:moveTo>
                      <a:pt x="483" y="500"/>
                    </a:moveTo>
                    <a:cubicBezTo>
                      <a:pt x="369" y="565"/>
                      <a:pt x="369" y="565"/>
                      <a:pt x="369" y="565"/>
                    </a:cubicBezTo>
                    <a:cubicBezTo>
                      <a:pt x="255" y="500"/>
                      <a:pt x="255" y="500"/>
                      <a:pt x="255" y="500"/>
                    </a:cubicBezTo>
                    <a:cubicBezTo>
                      <a:pt x="369" y="425"/>
                      <a:pt x="369" y="425"/>
                      <a:pt x="369" y="425"/>
                    </a:cubicBezTo>
                    <a:lnTo>
                      <a:pt x="483" y="500"/>
                    </a:lnTo>
                    <a:close/>
                    <a:moveTo>
                      <a:pt x="369" y="100"/>
                    </a:moveTo>
                    <a:cubicBezTo>
                      <a:pt x="457" y="299"/>
                      <a:pt x="457" y="299"/>
                      <a:pt x="457" y="299"/>
                    </a:cubicBezTo>
                    <a:cubicBezTo>
                      <a:pt x="369" y="356"/>
                      <a:pt x="369" y="356"/>
                      <a:pt x="369" y="356"/>
                    </a:cubicBezTo>
                    <a:cubicBezTo>
                      <a:pt x="281" y="299"/>
                      <a:pt x="281" y="299"/>
                      <a:pt x="281" y="299"/>
                    </a:cubicBezTo>
                    <a:lnTo>
                      <a:pt x="369" y="100"/>
                    </a:lnTo>
                    <a:close/>
                    <a:moveTo>
                      <a:pt x="316" y="391"/>
                    </a:moveTo>
                    <a:cubicBezTo>
                      <a:pt x="210" y="461"/>
                      <a:pt x="210" y="461"/>
                      <a:pt x="210" y="461"/>
                    </a:cubicBezTo>
                    <a:cubicBezTo>
                      <a:pt x="257" y="352"/>
                      <a:pt x="257" y="352"/>
                      <a:pt x="257" y="352"/>
                    </a:cubicBezTo>
                    <a:lnTo>
                      <a:pt x="316" y="391"/>
                    </a:lnTo>
                    <a:close/>
                    <a:moveTo>
                      <a:pt x="94" y="723"/>
                    </a:moveTo>
                    <a:cubicBezTo>
                      <a:pt x="182" y="524"/>
                      <a:pt x="182" y="524"/>
                      <a:pt x="182" y="524"/>
                    </a:cubicBezTo>
                    <a:cubicBezTo>
                      <a:pt x="311" y="599"/>
                      <a:pt x="311" y="599"/>
                      <a:pt x="311" y="599"/>
                    </a:cubicBezTo>
                    <a:lnTo>
                      <a:pt x="94" y="723"/>
                    </a:lnTo>
                    <a:close/>
                    <a:moveTo>
                      <a:pt x="427" y="599"/>
                    </a:moveTo>
                    <a:cubicBezTo>
                      <a:pt x="556" y="524"/>
                      <a:pt x="556" y="524"/>
                      <a:pt x="556" y="524"/>
                    </a:cubicBezTo>
                    <a:cubicBezTo>
                      <a:pt x="644" y="723"/>
                      <a:pt x="644" y="723"/>
                      <a:pt x="644" y="723"/>
                    </a:cubicBezTo>
                    <a:lnTo>
                      <a:pt x="427" y="599"/>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dirty="0">
                  <a:solidFill>
                    <a:srgbClr val="282828"/>
                  </a:solidFill>
                  <a:latin typeface="CiscoSansTT ExtraLight"/>
                  <a:cs typeface="+mn-cs"/>
                </a:endParaRPr>
              </a:p>
            </p:txBody>
          </p:sp>
          <p:sp>
            <p:nvSpPr>
              <p:cNvPr id="540" name="Oval 23">
                <a:extLst>
                  <a:ext uri="{FF2B5EF4-FFF2-40B4-BE49-F238E27FC236}">
                    <a16:creationId xmlns:a16="http://schemas.microsoft.com/office/drawing/2014/main" id="{77601086-B035-418E-B000-D5E5096F5A00}"/>
                  </a:ext>
                </a:extLst>
              </p:cNvPr>
              <p:cNvSpPr>
                <a:spLocks noChangeArrowheads="1"/>
              </p:cNvSpPr>
              <p:nvPr/>
            </p:nvSpPr>
            <p:spPr bwMode="auto">
              <a:xfrm>
                <a:off x="2712" y="1023"/>
                <a:ext cx="334" cy="33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grpSp>
        <p:grpSp>
          <p:nvGrpSpPr>
            <p:cNvPr id="541" name="Group 540">
              <a:extLst>
                <a:ext uri="{FF2B5EF4-FFF2-40B4-BE49-F238E27FC236}">
                  <a16:creationId xmlns:a16="http://schemas.microsoft.com/office/drawing/2014/main" id="{80C58F9B-373A-40DC-AD15-62BB0673D453}"/>
                </a:ext>
              </a:extLst>
            </p:cNvPr>
            <p:cNvGrpSpPr>
              <a:grpSpLocks noChangeAspect="1"/>
            </p:cNvGrpSpPr>
            <p:nvPr/>
          </p:nvGrpSpPr>
          <p:grpSpPr>
            <a:xfrm>
              <a:off x="1918168" y="1020265"/>
              <a:ext cx="256121" cy="255492"/>
              <a:chOff x="2020646" y="3712312"/>
              <a:chExt cx="595820" cy="594360"/>
            </a:xfrm>
          </p:grpSpPr>
          <p:sp>
            <p:nvSpPr>
              <p:cNvPr id="542" name="Oval 27">
                <a:extLst>
                  <a:ext uri="{FF2B5EF4-FFF2-40B4-BE49-F238E27FC236}">
                    <a16:creationId xmlns:a16="http://schemas.microsoft.com/office/drawing/2014/main" id="{C0C6997C-DBF7-469C-B887-BBD45C2DD8D0}"/>
                  </a:ext>
                </a:extLst>
              </p:cNvPr>
              <p:cNvSpPr>
                <a:spLocks noChangeArrowheads="1"/>
              </p:cNvSpPr>
              <p:nvPr/>
            </p:nvSpPr>
            <p:spPr bwMode="auto">
              <a:xfrm>
                <a:off x="2020646" y="3712312"/>
                <a:ext cx="595820" cy="59436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43" name="Freeform 28">
                <a:extLst>
                  <a:ext uri="{FF2B5EF4-FFF2-40B4-BE49-F238E27FC236}">
                    <a16:creationId xmlns:a16="http://schemas.microsoft.com/office/drawing/2014/main" id="{09E919F7-8C14-4357-A719-8B042AB77AEC}"/>
                  </a:ext>
                </a:extLst>
              </p:cNvPr>
              <p:cNvSpPr>
                <a:spLocks/>
              </p:cNvSpPr>
              <p:nvPr/>
            </p:nvSpPr>
            <p:spPr bwMode="auto">
              <a:xfrm>
                <a:off x="2092417" y="3783353"/>
                <a:ext cx="524049" cy="523319"/>
              </a:xfrm>
              <a:custGeom>
                <a:avLst/>
                <a:gdLst>
                  <a:gd name="T0" fmla="*/ 911 w 912"/>
                  <a:gd name="T1" fmla="*/ 355 h 912"/>
                  <a:gd name="T2" fmla="*/ 692 w 912"/>
                  <a:gd name="T3" fmla="*/ 136 h 912"/>
                  <a:gd name="T4" fmla="*/ 672 w 912"/>
                  <a:gd name="T5" fmla="*/ 115 h 912"/>
                  <a:gd name="T6" fmla="*/ 394 w 912"/>
                  <a:gd name="T7" fmla="*/ 0 h 912"/>
                  <a:gd name="T8" fmla="*/ 394 w 912"/>
                  <a:gd name="T9" fmla="*/ 0 h 912"/>
                  <a:gd name="T10" fmla="*/ 115 w 912"/>
                  <a:gd name="T11" fmla="*/ 115 h 912"/>
                  <a:gd name="T12" fmla="*/ 0 w 912"/>
                  <a:gd name="T13" fmla="*/ 394 h 912"/>
                  <a:gd name="T14" fmla="*/ 115 w 912"/>
                  <a:gd name="T15" fmla="*/ 672 h 912"/>
                  <a:gd name="T16" fmla="*/ 146 w 912"/>
                  <a:gd name="T17" fmla="*/ 700 h 912"/>
                  <a:gd name="T18" fmla="*/ 356 w 912"/>
                  <a:gd name="T19" fmla="*/ 910 h 912"/>
                  <a:gd name="T20" fmla="*/ 394 w 912"/>
                  <a:gd name="T21" fmla="*/ 912 h 912"/>
                  <a:gd name="T22" fmla="*/ 912 w 912"/>
                  <a:gd name="T23" fmla="*/ 394 h 912"/>
                  <a:gd name="T24" fmla="*/ 911 w 912"/>
                  <a:gd name="T25" fmla="*/ 355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2" h="912">
                    <a:moveTo>
                      <a:pt x="911" y="355"/>
                    </a:moveTo>
                    <a:cubicBezTo>
                      <a:pt x="692" y="136"/>
                      <a:pt x="692" y="136"/>
                      <a:pt x="692" y="136"/>
                    </a:cubicBezTo>
                    <a:cubicBezTo>
                      <a:pt x="686" y="129"/>
                      <a:pt x="679" y="122"/>
                      <a:pt x="672" y="115"/>
                    </a:cubicBez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25" y="682"/>
                      <a:pt x="135" y="691"/>
                      <a:pt x="146" y="700"/>
                    </a:cubicBezTo>
                    <a:cubicBezTo>
                      <a:pt x="356" y="910"/>
                      <a:pt x="356" y="910"/>
                      <a:pt x="356" y="910"/>
                    </a:cubicBezTo>
                    <a:cubicBezTo>
                      <a:pt x="368" y="911"/>
                      <a:pt x="381" y="912"/>
                      <a:pt x="394" y="912"/>
                    </a:cubicBezTo>
                    <a:cubicBezTo>
                      <a:pt x="680" y="912"/>
                      <a:pt x="912" y="680"/>
                      <a:pt x="912" y="394"/>
                    </a:cubicBezTo>
                    <a:cubicBezTo>
                      <a:pt x="912" y="381"/>
                      <a:pt x="912" y="368"/>
                      <a:pt x="911" y="355"/>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44" name="Freeform 29">
                <a:extLst>
                  <a:ext uri="{FF2B5EF4-FFF2-40B4-BE49-F238E27FC236}">
                    <a16:creationId xmlns:a16="http://schemas.microsoft.com/office/drawing/2014/main" id="{2EE1B088-6176-445B-BA48-7A2006F4C7A1}"/>
                  </a:ext>
                </a:extLst>
              </p:cNvPr>
              <p:cNvSpPr>
                <a:spLocks/>
              </p:cNvSpPr>
              <p:nvPr/>
            </p:nvSpPr>
            <p:spPr bwMode="auto">
              <a:xfrm>
                <a:off x="2309676" y="3961929"/>
                <a:ext cx="102669" cy="112887"/>
              </a:xfrm>
              <a:custGeom>
                <a:avLst/>
                <a:gdLst>
                  <a:gd name="T0" fmla="*/ 90 w 179"/>
                  <a:gd name="T1" fmla="*/ 197 h 197"/>
                  <a:gd name="T2" fmla="*/ 0 w 179"/>
                  <a:gd name="T3" fmla="*/ 99 h 197"/>
                  <a:gd name="T4" fmla="*/ 90 w 179"/>
                  <a:gd name="T5" fmla="*/ 0 h 197"/>
                  <a:gd name="T6" fmla="*/ 144 w 179"/>
                  <a:gd name="T7" fmla="*/ 21 h 197"/>
                  <a:gd name="T8" fmla="*/ 147 w 179"/>
                  <a:gd name="T9" fmla="*/ 48 h 197"/>
                  <a:gd name="T10" fmla="*/ 118 w 179"/>
                  <a:gd name="T11" fmla="*/ 51 h 197"/>
                  <a:gd name="T12" fmla="*/ 90 w 179"/>
                  <a:gd name="T13" fmla="*/ 40 h 197"/>
                  <a:gd name="T14" fmla="*/ 40 w 179"/>
                  <a:gd name="T15" fmla="*/ 99 h 197"/>
                  <a:gd name="T16" fmla="*/ 90 w 179"/>
                  <a:gd name="T17" fmla="*/ 158 h 197"/>
                  <a:gd name="T18" fmla="*/ 137 w 179"/>
                  <a:gd name="T19" fmla="*/ 118 h 197"/>
                  <a:gd name="T20" fmla="*/ 111 w 179"/>
                  <a:gd name="T21" fmla="*/ 118 h 197"/>
                  <a:gd name="T22" fmla="*/ 91 w 179"/>
                  <a:gd name="T23" fmla="*/ 99 h 197"/>
                  <a:gd name="T24" fmla="*/ 111 w 179"/>
                  <a:gd name="T25" fmla="*/ 79 h 197"/>
                  <a:gd name="T26" fmla="*/ 159 w 179"/>
                  <a:gd name="T27" fmla="*/ 79 h 197"/>
                  <a:gd name="T28" fmla="*/ 179 w 179"/>
                  <a:gd name="T29" fmla="*/ 99 h 197"/>
                  <a:gd name="T30" fmla="*/ 90 w 179"/>
                  <a:gd name="T31"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 h="197">
                    <a:moveTo>
                      <a:pt x="90" y="197"/>
                    </a:moveTo>
                    <a:cubicBezTo>
                      <a:pt x="40" y="197"/>
                      <a:pt x="0" y="153"/>
                      <a:pt x="0" y="99"/>
                    </a:cubicBezTo>
                    <a:cubicBezTo>
                      <a:pt x="0" y="44"/>
                      <a:pt x="40" y="0"/>
                      <a:pt x="90" y="0"/>
                    </a:cubicBezTo>
                    <a:cubicBezTo>
                      <a:pt x="110" y="0"/>
                      <a:pt x="129" y="7"/>
                      <a:pt x="144" y="21"/>
                    </a:cubicBezTo>
                    <a:cubicBezTo>
                      <a:pt x="153" y="28"/>
                      <a:pt x="154" y="40"/>
                      <a:pt x="147" y="48"/>
                    </a:cubicBezTo>
                    <a:cubicBezTo>
                      <a:pt x="139" y="57"/>
                      <a:pt x="127" y="58"/>
                      <a:pt x="118" y="51"/>
                    </a:cubicBezTo>
                    <a:cubicBezTo>
                      <a:pt x="110" y="43"/>
                      <a:pt x="100" y="40"/>
                      <a:pt x="90" y="40"/>
                    </a:cubicBezTo>
                    <a:cubicBezTo>
                      <a:pt x="62" y="40"/>
                      <a:pt x="40" y="66"/>
                      <a:pt x="40" y="99"/>
                    </a:cubicBezTo>
                    <a:cubicBezTo>
                      <a:pt x="40" y="131"/>
                      <a:pt x="62" y="158"/>
                      <a:pt x="90" y="158"/>
                    </a:cubicBezTo>
                    <a:cubicBezTo>
                      <a:pt x="111" y="158"/>
                      <a:pt x="130" y="141"/>
                      <a:pt x="137" y="118"/>
                    </a:cubicBezTo>
                    <a:cubicBezTo>
                      <a:pt x="111" y="118"/>
                      <a:pt x="111" y="118"/>
                      <a:pt x="111" y="118"/>
                    </a:cubicBezTo>
                    <a:cubicBezTo>
                      <a:pt x="100" y="118"/>
                      <a:pt x="91" y="109"/>
                      <a:pt x="91" y="99"/>
                    </a:cubicBezTo>
                    <a:cubicBezTo>
                      <a:pt x="91" y="88"/>
                      <a:pt x="100" y="79"/>
                      <a:pt x="111" y="79"/>
                    </a:cubicBezTo>
                    <a:cubicBezTo>
                      <a:pt x="159" y="79"/>
                      <a:pt x="159" y="79"/>
                      <a:pt x="159" y="79"/>
                    </a:cubicBezTo>
                    <a:cubicBezTo>
                      <a:pt x="170" y="79"/>
                      <a:pt x="179" y="88"/>
                      <a:pt x="179" y="99"/>
                    </a:cubicBezTo>
                    <a:cubicBezTo>
                      <a:pt x="179" y="153"/>
                      <a:pt x="139" y="197"/>
                      <a:pt x="90"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45" name="Freeform 30">
                <a:extLst>
                  <a:ext uri="{FF2B5EF4-FFF2-40B4-BE49-F238E27FC236}">
                    <a16:creationId xmlns:a16="http://schemas.microsoft.com/office/drawing/2014/main" id="{35A15199-996A-475A-8267-D226345EB46A}"/>
                  </a:ext>
                </a:extLst>
              </p:cNvPr>
              <p:cNvSpPr>
                <a:spLocks/>
              </p:cNvSpPr>
              <p:nvPr/>
            </p:nvSpPr>
            <p:spPr bwMode="auto">
              <a:xfrm>
                <a:off x="2217712" y="3961929"/>
                <a:ext cx="82719" cy="112887"/>
              </a:xfrm>
              <a:custGeom>
                <a:avLst/>
                <a:gdLst>
                  <a:gd name="T0" fmla="*/ 67 w 144"/>
                  <a:gd name="T1" fmla="*/ 197 h 197"/>
                  <a:gd name="T2" fmla="*/ 4 w 144"/>
                  <a:gd name="T3" fmla="*/ 156 h 197"/>
                  <a:gd name="T4" fmla="*/ 16 w 144"/>
                  <a:gd name="T5" fmla="*/ 130 h 197"/>
                  <a:gd name="T6" fmla="*/ 42 w 144"/>
                  <a:gd name="T7" fmla="*/ 142 h 197"/>
                  <a:gd name="T8" fmla="*/ 67 w 144"/>
                  <a:gd name="T9" fmla="*/ 158 h 197"/>
                  <a:gd name="T10" fmla="*/ 103 w 144"/>
                  <a:gd name="T11" fmla="*/ 128 h 197"/>
                  <a:gd name="T12" fmla="*/ 72 w 144"/>
                  <a:gd name="T13" fmla="*/ 98 h 197"/>
                  <a:gd name="T14" fmla="*/ 44 w 144"/>
                  <a:gd name="T15" fmla="*/ 104 h 197"/>
                  <a:gd name="T16" fmla="*/ 21 w 144"/>
                  <a:gd name="T17" fmla="*/ 104 h 197"/>
                  <a:gd name="T18" fmla="*/ 13 w 144"/>
                  <a:gd name="T19" fmla="*/ 83 h 197"/>
                  <a:gd name="T20" fmla="*/ 29 w 144"/>
                  <a:gd name="T21" fmla="*/ 15 h 197"/>
                  <a:gd name="T22" fmla="*/ 49 w 144"/>
                  <a:gd name="T23" fmla="*/ 0 h 197"/>
                  <a:gd name="T24" fmla="*/ 114 w 144"/>
                  <a:gd name="T25" fmla="*/ 0 h 197"/>
                  <a:gd name="T26" fmla="*/ 134 w 144"/>
                  <a:gd name="T27" fmla="*/ 20 h 197"/>
                  <a:gd name="T28" fmla="*/ 114 w 144"/>
                  <a:gd name="T29" fmla="*/ 40 h 197"/>
                  <a:gd name="T30" fmla="*/ 65 w 144"/>
                  <a:gd name="T31" fmla="*/ 40 h 197"/>
                  <a:gd name="T32" fmla="*/ 60 w 144"/>
                  <a:gd name="T33" fmla="*/ 59 h 197"/>
                  <a:gd name="T34" fmla="*/ 72 w 144"/>
                  <a:gd name="T35" fmla="*/ 58 h 197"/>
                  <a:gd name="T36" fmla="*/ 144 w 144"/>
                  <a:gd name="T37" fmla="*/ 128 h 197"/>
                  <a:gd name="T38" fmla="*/ 67 w 144"/>
                  <a:gd name="T3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97">
                    <a:moveTo>
                      <a:pt x="67" y="197"/>
                    </a:moveTo>
                    <a:cubicBezTo>
                      <a:pt x="39" y="197"/>
                      <a:pt x="14" y="180"/>
                      <a:pt x="4" y="156"/>
                    </a:cubicBezTo>
                    <a:cubicBezTo>
                      <a:pt x="0" y="145"/>
                      <a:pt x="6" y="134"/>
                      <a:pt x="16" y="130"/>
                    </a:cubicBezTo>
                    <a:cubicBezTo>
                      <a:pt x="26" y="126"/>
                      <a:pt x="38" y="131"/>
                      <a:pt x="42" y="142"/>
                    </a:cubicBezTo>
                    <a:cubicBezTo>
                      <a:pt x="46" y="151"/>
                      <a:pt x="56" y="158"/>
                      <a:pt x="67" y="158"/>
                    </a:cubicBezTo>
                    <a:cubicBezTo>
                      <a:pt x="103" y="158"/>
                      <a:pt x="103" y="135"/>
                      <a:pt x="103" y="128"/>
                    </a:cubicBezTo>
                    <a:cubicBezTo>
                      <a:pt x="103" y="114"/>
                      <a:pt x="86" y="98"/>
                      <a:pt x="72" y="98"/>
                    </a:cubicBezTo>
                    <a:cubicBezTo>
                      <a:pt x="55" y="98"/>
                      <a:pt x="44" y="104"/>
                      <a:pt x="44" y="104"/>
                    </a:cubicBezTo>
                    <a:cubicBezTo>
                      <a:pt x="37" y="108"/>
                      <a:pt x="28" y="108"/>
                      <a:pt x="21" y="104"/>
                    </a:cubicBezTo>
                    <a:cubicBezTo>
                      <a:pt x="14" y="99"/>
                      <a:pt x="11" y="91"/>
                      <a:pt x="13" y="83"/>
                    </a:cubicBezTo>
                    <a:cubicBezTo>
                      <a:pt x="29" y="15"/>
                      <a:pt x="29" y="15"/>
                      <a:pt x="29" y="15"/>
                    </a:cubicBezTo>
                    <a:cubicBezTo>
                      <a:pt x="31" y="7"/>
                      <a:pt x="39" y="0"/>
                      <a:pt x="49" y="0"/>
                    </a:cubicBezTo>
                    <a:cubicBezTo>
                      <a:pt x="114" y="0"/>
                      <a:pt x="114" y="0"/>
                      <a:pt x="114" y="0"/>
                    </a:cubicBezTo>
                    <a:cubicBezTo>
                      <a:pt x="125" y="0"/>
                      <a:pt x="134" y="9"/>
                      <a:pt x="134" y="20"/>
                    </a:cubicBezTo>
                    <a:cubicBezTo>
                      <a:pt x="134" y="31"/>
                      <a:pt x="125" y="40"/>
                      <a:pt x="114" y="40"/>
                    </a:cubicBezTo>
                    <a:cubicBezTo>
                      <a:pt x="65" y="40"/>
                      <a:pt x="65" y="40"/>
                      <a:pt x="65" y="40"/>
                    </a:cubicBezTo>
                    <a:cubicBezTo>
                      <a:pt x="60" y="59"/>
                      <a:pt x="60" y="59"/>
                      <a:pt x="60" y="59"/>
                    </a:cubicBezTo>
                    <a:cubicBezTo>
                      <a:pt x="64" y="59"/>
                      <a:pt x="68" y="58"/>
                      <a:pt x="72" y="58"/>
                    </a:cubicBezTo>
                    <a:cubicBezTo>
                      <a:pt x="109" y="58"/>
                      <a:pt x="144" y="92"/>
                      <a:pt x="144" y="128"/>
                    </a:cubicBezTo>
                    <a:cubicBezTo>
                      <a:pt x="144" y="170"/>
                      <a:pt x="113" y="197"/>
                      <a:pt x="67"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sp>
            <p:nvSpPr>
              <p:cNvPr id="546" name="Freeform 31">
                <a:extLst>
                  <a:ext uri="{FF2B5EF4-FFF2-40B4-BE49-F238E27FC236}">
                    <a16:creationId xmlns:a16="http://schemas.microsoft.com/office/drawing/2014/main" id="{A31E8AD7-66D8-412C-8A82-2C366D45C986}"/>
                  </a:ext>
                </a:extLst>
              </p:cNvPr>
              <p:cNvSpPr>
                <a:spLocks noEditPoints="1"/>
              </p:cNvSpPr>
              <p:nvPr/>
            </p:nvSpPr>
            <p:spPr bwMode="auto">
              <a:xfrm>
                <a:off x="2092417" y="3783353"/>
                <a:ext cx="452765" cy="452278"/>
              </a:xfrm>
              <a:custGeom>
                <a:avLst/>
                <a:gdLst>
                  <a:gd name="T0" fmla="*/ 394 w 788"/>
                  <a:gd name="T1" fmla="*/ 0 h 788"/>
                  <a:gd name="T2" fmla="*/ 115 w 788"/>
                  <a:gd name="T3" fmla="*/ 115 h 788"/>
                  <a:gd name="T4" fmla="*/ 115 w 788"/>
                  <a:gd name="T5" fmla="*/ 672 h 788"/>
                  <a:gd name="T6" fmla="*/ 394 w 788"/>
                  <a:gd name="T7" fmla="*/ 788 h 788"/>
                  <a:gd name="T8" fmla="*/ 788 w 788"/>
                  <a:gd name="T9" fmla="*/ 394 h 788"/>
                  <a:gd name="T10" fmla="*/ 691 w 788"/>
                  <a:gd name="T11" fmla="*/ 326 h 788"/>
                  <a:gd name="T12" fmla="*/ 581 w 788"/>
                  <a:gd name="T13" fmla="*/ 207 h 788"/>
                  <a:gd name="T14" fmla="*/ 462 w 788"/>
                  <a:gd name="T15" fmla="*/ 96 h 788"/>
                  <a:gd name="T16" fmla="*/ 650 w 788"/>
                  <a:gd name="T17" fmla="*/ 138 h 788"/>
                  <a:gd name="T18" fmla="*/ 691 w 788"/>
                  <a:gd name="T19" fmla="*/ 462 h 788"/>
                  <a:gd name="T20" fmla="*/ 462 w 788"/>
                  <a:gd name="T21" fmla="*/ 691 h 788"/>
                  <a:gd name="T22" fmla="*/ 581 w 788"/>
                  <a:gd name="T23" fmla="*/ 581 h 788"/>
                  <a:gd name="T24" fmla="*/ 691 w 788"/>
                  <a:gd name="T25" fmla="*/ 462 h 788"/>
                  <a:gd name="T26" fmla="*/ 394 w 788"/>
                  <a:gd name="T27" fmla="*/ 670 h 788"/>
                  <a:gd name="T28" fmla="*/ 117 w 788"/>
                  <a:gd name="T29" fmla="*/ 394 h 788"/>
                  <a:gd name="T30" fmla="*/ 394 w 788"/>
                  <a:gd name="T31" fmla="*/ 117 h 788"/>
                  <a:gd name="T32" fmla="*/ 670 w 788"/>
                  <a:gd name="T33" fmla="*/ 394 h 788"/>
                  <a:gd name="T34" fmla="*/ 96 w 788"/>
                  <a:gd name="T35" fmla="*/ 462 h 788"/>
                  <a:gd name="T36" fmla="*/ 207 w 788"/>
                  <a:gd name="T37" fmla="*/ 581 h 788"/>
                  <a:gd name="T38" fmla="*/ 326 w 788"/>
                  <a:gd name="T39" fmla="*/ 691 h 788"/>
                  <a:gd name="T40" fmla="*/ 96 w 788"/>
                  <a:gd name="T41" fmla="*/ 462 h 788"/>
                  <a:gd name="T42" fmla="*/ 138 w 788"/>
                  <a:gd name="T43" fmla="*/ 138 h 788"/>
                  <a:gd name="T44" fmla="*/ 326 w 788"/>
                  <a:gd name="T45" fmla="*/ 96 h 788"/>
                  <a:gd name="T46" fmla="*/ 207 w 788"/>
                  <a:gd name="T47" fmla="*/ 207 h 788"/>
                  <a:gd name="T48" fmla="*/ 96 w 788"/>
                  <a:gd name="T49" fmla="*/ 326 h 788"/>
                  <a:gd name="T50" fmla="*/ 394 w 788"/>
                  <a:gd name="T51" fmla="*/ 32 h 788"/>
                  <a:gd name="T52" fmla="*/ 455 w 788"/>
                  <a:gd name="T53" fmla="*/ 65 h 788"/>
                  <a:gd name="T54" fmla="*/ 332 w 788"/>
                  <a:gd name="T55" fmla="*/ 65 h 788"/>
                  <a:gd name="T56" fmla="*/ 394 w 788"/>
                  <a:gd name="T57" fmla="*/ 32 h 788"/>
                  <a:gd name="T58" fmla="*/ 65 w 788"/>
                  <a:gd name="T59" fmla="*/ 332 h 788"/>
                  <a:gd name="T60" fmla="*/ 65 w 788"/>
                  <a:gd name="T61" fmla="*/ 455 h 788"/>
                  <a:gd name="T62" fmla="*/ 32 w 788"/>
                  <a:gd name="T63" fmla="*/ 394 h 788"/>
                  <a:gd name="T64" fmla="*/ 394 w 788"/>
                  <a:gd name="T65" fmla="*/ 756 h 788"/>
                  <a:gd name="T66" fmla="*/ 258 w 788"/>
                  <a:gd name="T67" fmla="*/ 729 h 788"/>
                  <a:gd name="T68" fmla="*/ 332 w 788"/>
                  <a:gd name="T69" fmla="*/ 723 h 788"/>
                  <a:gd name="T70" fmla="*/ 455 w 788"/>
                  <a:gd name="T71" fmla="*/ 723 h 788"/>
                  <a:gd name="T72" fmla="*/ 529 w 788"/>
                  <a:gd name="T73" fmla="*/ 729 h 788"/>
                  <a:gd name="T74" fmla="*/ 723 w 788"/>
                  <a:gd name="T75" fmla="*/ 455 h 788"/>
                  <a:gd name="T76" fmla="*/ 723 w 788"/>
                  <a:gd name="T77" fmla="*/ 332 h 788"/>
                  <a:gd name="T78" fmla="*/ 756 w 788"/>
                  <a:gd name="T79" fmla="*/ 394 h 788"/>
                  <a:gd name="T80" fmla="*/ 723 w 788"/>
                  <a:gd name="T81" fmla="*/ 455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8" h="788">
                    <a:moveTo>
                      <a:pt x="672" y="115"/>
                    </a:move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89" y="747"/>
                      <a:pt x="288" y="788"/>
                      <a:pt x="393" y="788"/>
                    </a:cubicBezTo>
                    <a:cubicBezTo>
                      <a:pt x="393" y="788"/>
                      <a:pt x="393" y="788"/>
                      <a:pt x="394" y="788"/>
                    </a:cubicBezTo>
                    <a:cubicBezTo>
                      <a:pt x="499" y="788"/>
                      <a:pt x="598" y="747"/>
                      <a:pt x="672" y="672"/>
                    </a:cubicBezTo>
                    <a:cubicBezTo>
                      <a:pt x="747" y="598"/>
                      <a:pt x="788" y="499"/>
                      <a:pt x="788" y="394"/>
                    </a:cubicBezTo>
                    <a:cubicBezTo>
                      <a:pt x="788" y="288"/>
                      <a:pt x="747" y="189"/>
                      <a:pt x="672" y="115"/>
                    </a:cubicBezTo>
                    <a:close/>
                    <a:moveTo>
                      <a:pt x="691" y="326"/>
                    </a:moveTo>
                    <a:cubicBezTo>
                      <a:pt x="690" y="334"/>
                      <a:pt x="688" y="342"/>
                      <a:pt x="685" y="350"/>
                    </a:cubicBezTo>
                    <a:cubicBezTo>
                      <a:pt x="660" y="299"/>
                      <a:pt x="625" y="250"/>
                      <a:pt x="581" y="207"/>
                    </a:cubicBezTo>
                    <a:cubicBezTo>
                      <a:pt x="537" y="163"/>
                      <a:pt x="488" y="128"/>
                      <a:pt x="438" y="102"/>
                    </a:cubicBezTo>
                    <a:cubicBezTo>
                      <a:pt x="446" y="100"/>
                      <a:pt x="454" y="98"/>
                      <a:pt x="462" y="96"/>
                    </a:cubicBezTo>
                    <a:cubicBezTo>
                      <a:pt x="482" y="92"/>
                      <a:pt x="502" y="90"/>
                      <a:pt x="521" y="90"/>
                    </a:cubicBezTo>
                    <a:cubicBezTo>
                      <a:pt x="573" y="90"/>
                      <a:pt x="618" y="106"/>
                      <a:pt x="650" y="138"/>
                    </a:cubicBezTo>
                    <a:cubicBezTo>
                      <a:pt x="693" y="181"/>
                      <a:pt x="707" y="248"/>
                      <a:pt x="691" y="326"/>
                    </a:cubicBezTo>
                    <a:close/>
                    <a:moveTo>
                      <a:pt x="691" y="462"/>
                    </a:moveTo>
                    <a:cubicBezTo>
                      <a:pt x="707" y="540"/>
                      <a:pt x="693" y="607"/>
                      <a:pt x="650" y="650"/>
                    </a:cubicBezTo>
                    <a:cubicBezTo>
                      <a:pt x="607" y="693"/>
                      <a:pt x="540" y="707"/>
                      <a:pt x="462" y="691"/>
                    </a:cubicBezTo>
                    <a:cubicBezTo>
                      <a:pt x="454" y="690"/>
                      <a:pt x="446" y="688"/>
                      <a:pt x="438" y="685"/>
                    </a:cubicBezTo>
                    <a:cubicBezTo>
                      <a:pt x="488" y="660"/>
                      <a:pt x="537" y="625"/>
                      <a:pt x="581" y="581"/>
                    </a:cubicBezTo>
                    <a:cubicBezTo>
                      <a:pt x="625" y="537"/>
                      <a:pt x="660" y="488"/>
                      <a:pt x="685" y="438"/>
                    </a:cubicBezTo>
                    <a:cubicBezTo>
                      <a:pt x="688" y="446"/>
                      <a:pt x="690" y="454"/>
                      <a:pt x="691" y="462"/>
                    </a:cubicBezTo>
                    <a:close/>
                    <a:moveTo>
                      <a:pt x="558" y="558"/>
                    </a:moveTo>
                    <a:cubicBezTo>
                      <a:pt x="508" y="608"/>
                      <a:pt x="452" y="646"/>
                      <a:pt x="394" y="670"/>
                    </a:cubicBezTo>
                    <a:cubicBezTo>
                      <a:pt x="336" y="646"/>
                      <a:pt x="279" y="608"/>
                      <a:pt x="229" y="558"/>
                    </a:cubicBezTo>
                    <a:cubicBezTo>
                      <a:pt x="179" y="508"/>
                      <a:pt x="141" y="452"/>
                      <a:pt x="117" y="394"/>
                    </a:cubicBezTo>
                    <a:cubicBezTo>
                      <a:pt x="141" y="336"/>
                      <a:pt x="179" y="279"/>
                      <a:pt x="229" y="229"/>
                    </a:cubicBezTo>
                    <a:cubicBezTo>
                      <a:pt x="279" y="179"/>
                      <a:pt x="336" y="141"/>
                      <a:pt x="394" y="117"/>
                    </a:cubicBezTo>
                    <a:cubicBezTo>
                      <a:pt x="452" y="141"/>
                      <a:pt x="508" y="179"/>
                      <a:pt x="558" y="229"/>
                    </a:cubicBezTo>
                    <a:cubicBezTo>
                      <a:pt x="608" y="279"/>
                      <a:pt x="646" y="336"/>
                      <a:pt x="670" y="394"/>
                    </a:cubicBezTo>
                    <a:cubicBezTo>
                      <a:pt x="646" y="452"/>
                      <a:pt x="608" y="508"/>
                      <a:pt x="558" y="558"/>
                    </a:cubicBezTo>
                    <a:close/>
                    <a:moveTo>
                      <a:pt x="96" y="462"/>
                    </a:moveTo>
                    <a:cubicBezTo>
                      <a:pt x="98" y="454"/>
                      <a:pt x="100" y="446"/>
                      <a:pt x="102" y="438"/>
                    </a:cubicBezTo>
                    <a:cubicBezTo>
                      <a:pt x="128" y="488"/>
                      <a:pt x="163" y="537"/>
                      <a:pt x="207" y="581"/>
                    </a:cubicBezTo>
                    <a:cubicBezTo>
                      <a:pt x="250" y="625"/>
                      <a:pt x="299" y="660"/>
                      <a:pt x="350" y="685"/>
                    </a:cubicBezTo>
                    <a:cubicBezTo>
                      <a:pt x="342" y="688"/>
                      <a:pt x="334" y="690"/>
                      <a:pt x="326" y="691"/>
                    </a:cubicBezTo>
                    <a:cubicBezTo>
                      <a:pt x="248" y="707"/>
                      <a:pt x="181" y="693"/>
                      <a:pt x="138" y="650"/>
                    </a:cubicBezTo>
                    <a:cubicBezTo>
                      <a:pt x="95" y="607"/>
                      <a:pt x="80" y="540"/>
                      <a:pt x="96" y="462"/>
                    </a:cubicBezTo>
                    <a:close/>
                    <a:moveTo>
                      <a:pt x="96" y="326"/>
                    </a:moveTo>
                    <a:cubicBezTo>
                      <a:pt x="80" y="248"/>
                      <a:pt x="95" y="181"/>
                      <a:pt x="138" y="138"/>
                    </a:cubicBezTo>
                    <a:cubicBezTo>
                      <a:pt x="170" y="106"/>
                      <a:pt x="214" y="90"/>
                      <a:pt x="267" y="90"/>
                    </a:cubicBezTo>
                    <a:cubicBezTo>
                      <a:pt x="286" y="90"/>
                      <a:pt x="305" y="92"/>
                      <a:pt x="326" y="96"/>
                    </a:cubicBezTo>
                    <a:cubicBezTo>
                      <a:pt x="334" y="98"/>
                      <a:pt x="342" y="100"/>
                      <a:pt x="350" y="102"/>
                    </a:cubicBezTo>
                    <a:cubicBezTo>
                      <a:pt x="299" y="128"/>
                      <a:pt x="250" y="163"/>
                      <a:pt x="207" y="207"/>
                    </a:cubicBezTo>
                    <a:cubicBezTo>
                      <a:pt x="163" y="250"/>
                      <a:pt x="128" y="299"/>
                      <a:pt x="102" y="350"/>
                    </a:cubicBezTo>
                    <a:cubicBezTo>
                      <a:pt x="100" y="342"/>
                      <a:pt x="98" y="334"/>
                      <a:pt x="96" y="326"/>
                    </a:cubicBezTo>
                    <a:close/>
                    <a:moveTo>
                      <a:pt x="394" y="32"/>
                    </a:moveTo>
                    <a:cubicBezTo>
                      <a:pt x="394" y="32"/>
                      <a:pt x="394" y="32"/>
                      <a:pt x="394" y="32"/>
                    </a:cubicBezTo>
                    <a:cubicBezTo>
                      <a:pt x="442" y="32"/>
                      <a:pt x="487" y="41"/>
                      <a:pt x="530" y="58"/>
                    </a:cubicBezTo>
                    <a:cubicBezTo>
                      <a:pt x="506" y="57"/>
                      <a:pt x="481" y="60"/>
                      <a:pt x="455" y="65"/>
                    </a:cubicBezTo>
                    <a:cubicBezTo>
                      <a:pt x="435" y="69"/>
                      <a:pt x="414" y="75"/>
                      <a:pt x="394" y="83"/>
                    </a:cubicBezTo>
                    <a:cubicBezTo>
                      <a:pt x="373" y="75"/>
                      <a:pt x="353" y="69"/>
                      <a:pt x="332" y="65"/>
                    </a:cubicBezTo>
                    <a:cubicBezTo>
                      <a:pt x="307" y="60"/>
                      <a:pt x="282" y="57"/>
                      <a:pt x="258" y="58"/>
                    </a:cubicBezTo>
                    <a:cubicBezTo>
                      <a:pt x="301" y="41"/>
                      <a:pt x="347" y="32"/>
                      <a:pt x="394" y="32"/>
                    </a:cubicBezTo>
                    <a:close/>
                    <a:moveTo>
                      <a:pt x="58" y="258"/>
                    </a:moveTo>
                    <a:cubicBezTo>
                      <a:pt x="57" y="282"/>
                      <a:pt x="60" y="307"/>
                      <a:pt x="65" y="332"/>
                    </a:cubicBezTo>
                    <a:cubicBezTo>
                      <a:pt x="69" y="353"/>
                      <a:pt x="75" y="373"/>
                      <a:pt x="83" y="394"/>
                    </a:cubicBezTo>
                    <a:cubicBezTo>
                      <a:pt x="75" y="414"/>
                      <a:pt x="69" y="435"/>
                      <a:pt x="65" y="455"/>
                    </a:cubicBezTo>
                    <a:cubicBezTo>
                      <a:pt x="60" y="481"/>
                      <a:pt x="57" y="506"/>
                      <a:pt x="58" y="530"/>
                    </a:cubicBezTo>
                    <a:cubicBezTo>
                      <a:pt x="41" y="487"/>
                      <a:pt x="32" y="441"/>
                      <a:pt x="32" y="394"/>
                    </a:cubicBezTo>
                    <a:cubicBezTo>
                      <a:pt x="32" y="347"/>
                      <a:pt x="41" y="301"/>
                      <a:pt x="58" y="258"/>
                    </a:cubicBezTo>
                    <a:close/>
                    <a:moveTo>
                      <a:pt x="394" y="756"/>
                    </a:moveTo>
                    <a:cubicBezTo>
                      <a:pt x="393" y="756"/>
                      <a:pt x="393" y="756"/>
                      <a:pt x="393" y="756"/>
                    </a:cubicBezTo>
                    <a:cubicBezTo>
                      <a:pt x="346" y="756"/>
                      <a:pt x="300" y="747"/>
                      <a:pt x="258" y="729"/>
                    </a:cubicBezTo>
                    <a:cubicBezTo>
                      <a:pt x="261" y="730"/>
                      <a:pt x="264" y="730"/>
                      <a:pt x="267" y="730"/>
                    </a:cubicBezTo>
                    <a:cubicBezTo>
                      <a:pt x="288" y="730"/>
                      <a:pt x="310" y="727"/>
                      <a:pt x="332" y="723"/>
                    </a:cubicBezTo>
                    <a:cubicBezTo>
                      <a:pt x="353" y="718"/>
                      <a:pt x="373" y="712"/>
                      <a:pt x="394" y="705"/>
                    </a:cubicBezTo>
                    <a:cubicBezTo>
                      <a:pt x="414" y="712"/>
                      <a:pt x="435" y="718"/>
                      <a:pt x="455" y="723"/>
                    </a:cubicBezTo>
                    <a:cubicBezTo>
                      <a:pt x="478" y="727"/>
                      <a:pt x="500" y="730"/>
                      <a:pt x="521" y="730"/>
                    </a:cubicBezTo>
                    <a:cubicBezTo>
                      <a:pt x="524" y="730"/>
                      <a:pt x="526" y="730"/>
                      <a:pt x="529" y="729"/>
                    </a:cubicBezTo>
                    <a:cubicBezTo>
                      <a:pt x="487" y="747"/>
                      <a:pt x="441" y="756"/>
                      <a:pt x="394" y="756"/>
                    </a:cubicBezTo>
                    <a:close/>
                    <a:moveTo>
                      <a:pt x="723" y="455"/>
                    </a:moveTo>
                    <a:cubicBezTo>
                      <a:pt x="718" y="435"/>
                      <a:pt x="712" y="414"/>
                      <a:pt x="705" y="394"/>
                    </a:cubicBezTo>
                    <a:cubicBezTo>
                      <a:pt x="712" y="373"/>
                      <a:pt x="718" y="353"/>
                      <a:pt x="723" y="332"/>
                    </a:cubicBezTo>
                    <a:cubicBezTo>
                      <a:pt x="728" y="306"/>
                      <a:pt x="730" y="281"/>
                      <a:pt x="729" y="257"/>
                    </a:cubicBezTo>
                    <a:cubicBezTo>
                      <a:pt x="747" y="300"/>
                      <a:pt x="756" y="346"/>
                      <a:pt x="756" y="394"/>
                    </a:cubicBezTo>
                    <a:cubicBezTo>
                      <a:pt x="756" y="441"/>
                      <a:pt x="747" y="487"/>
                      <a:pt x="729" y="529"/>
                    </a:cubicBezTo>
                    <a:cubicBezTo>
                      <a:pt x="730" y="506"/>
                      <a:pt x="728" y="481"/>
                      <a:pt x="723"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defRPr/>
                </a:pPr>
                <a:endParaRPr lang="en-US">
                  <a:solidFill>
                    <a:srgbClr val="282828"/>
                  </a:solidFill>
                  <a:latin typeface="CiscoSansTT ExtraLight"/>
                  <a:cs typeface="+mn-cs"/>
                </a:endParaRPr>
              </a:p>
            </p:txBody>
          </p:sp>
        </p:grpSp>
        <p:grpSp>
          <p:nvGrpSpPr>
            <p:cNvPr id="547" name="Group 546">
              <a:extLst>
                <a:ext uri="{FF2B5EF4-FFF2-40B4-BE49-F238E27FC236}">
                  <a16:creationId xmlns:a16="http://schemas.microsoft.com/office/drawing/2014/main" id="{511244E8-9C33-44E6-80CF-FF2D9B406317}"/>
                </a:ext>
              </a:extLst>
            </p:cNvPr>
            <p:cNvGrpSpPr>
              <a:grpSpLocks noChangeAspect="1"/>
            </p:cNvGrpSpPr>
            <p:nvPr/>
          </p:nvGrpSpPr>
          <p:grpSpPr>
            <a:xfrm>
              <a:off x="7190425" y="1020265"/>
              <a:ext cx="255492" cy="255492"/>
              <a:chOff x="1617300" y="1885950"/>
              <a:chExt cx="1370523" cy="1371600"/>
            </a:xfrm>
          </p:grpSpPr>
          <p:sp>
            <p:nvSpPr>
              <p:cNvPr id="548" name="Oval 24">
                <a:extLst>
                  <a:ext uri="{FF2B5EF4-FFF2-40B4-BE49-F238E27FC236}">
                    <a16:creationId xmlns:a16="http://schemas.microsoft.com/office/drawing/2014/main" id="{5BB9D701-1110-48D7-9D1E-20BB8A4F7212}"/>
                  </a:ext>
                </a:extLst>
              </p:cNvPr>
              <p:cNvSpPr>
                <a:spLocks noChangeArrowheads="1"/>
              </p:cNvSpPr>
              <p:nvPr/>
            </p:nvSpPr>
            <p:spPr bwMode="auto">
              <a:xfrm>
                <a:off x="1617300" y="1885950"/>
                <a:ext cx="1370523" cy="137160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49" name="Freeform 25">
                <a:extLst>
                  <a:ext uri="{FF2B5EF4-FFF2-40B4-BE49-F238E27FC236}">
                    <a16:creationId xmlns:a16="http://schemas.microsoft.com/office/drawing/2014/main" id="{4253C203-8495-4CD5-8441-C3861E1DF555}"/>
                  </a:ext>
                </a:extLst>
              </p:cNvPr>
              <p:cNvSpPr>
                <a:spLocks/>
              </p:cNvSpPr>
              <p:nvPr/>
            </p:nvSpPr>
            <p:spPr bwMode="auto">
              <a:xfrm>
                <a:off x="1734204" y="2233429"/>
                <a:ext cx="1252542" cy="1024121"/>
              </a:xfrm>
              <a:custGeom>
                <a:avLst/>
                <a:gdLst>
                  <a:gd name="T0" fmla="*/ 982 w 1316"/>
                  <a:gd name="T1" fmla="*/ 49 h 1075"/>
                  <a:gd name="T2" fmla="*/ 887 w 1316"/>
                  <a:gd name="T3" fmla="*/ 1 h 1075"/>
                  <a:gd name="T4" fmla="*/ 887 w 1316"/>
                  <a:gd name="T5" fmla="*/ 0 h 1075"/>
                  <a:gd name="T6" fmla="*/ 735 w 1316"/>
                  <a:gd name="T7" fmla="*/ 0 h 1075"/>
                  <a:gd name="T8" fmla="*/ 735 w 1316"/>
                  <a:gd name="T9" fmla="*/ 0 h 1075"/>
                  <a:gd name="T10" fmla="*/ 733 w 1316"/>
                  <a:gd name="T11" fmla="*/ 0 h 1075"/>
                  <a:gd name="T12" fmla="*/ 605 w 1316"/>
                  <a:gd name="T13" fmla="*/ 128 h 1075"/>
                  <a:gd name="T14" fmla="*/ 612 w 1316"/>
                  <a:gd name="T15" fmla="*/ 169 h 1075"/>
                  <a:gd name="T16" fmla="*/ 401 w 1316"/>
                  <a:gd name="T17" fmla="*/ 169 h 1075"/>
                  <a:gd name="T18" fmla="*/ 276 w 1316"/>
                  <a:gd name="T19" fmla="*/ 256 h 1075"/>
                  <a:gd name="T20" fmla="*/ 276 w 1316"/>
                  <a:gd name="T21" fmla="*/ 337 h 1075"/>
                  <a:gd name="T22" fmla="*/ 137 w 1316"/>
                  <a:gd name="T23" fmla="*/ 337 h 1075"/>
                  <a:gd name="T24" fmla="*/ 6 w 1316"/>
                  <a:gd name="T25" fmla="*/ 446 h 1075"/>
                  <a:gd name="T26" fmla="*/ 40 w 1316"/>
                  <a:gd name="T27" fmla="*/ 553 h 1075"/>
                  <a:gd name="T28" fmla="*/ 40 w 1316"/>
                  <a:gd name="T29" fmla="*/ 553 h 1075"/>
                  <a:gd name="T30" fmla="*/ 561 w 1316"/>
                  <a:gd name="T31" fmla="*/ 1074 h 1075"/>
                  <a:gd name="T32" fmla="*/ 597 w 1316"/>
                  <a:gd name="T33" fmla="*/ 1075 h 1075"/>
                  <a:gd name="T34" fmla="*/ 1316 w 1316"/>
                  <a:gd name="T35" fmla="*/ 384 h 1075"/>
                  <a:gd name="T36" fmla="*/ 982 w 1316"/>
                  <a:gd name="T37"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6" h="1075">
                    <a:moveTo>
                      <a:pt x="982" y="49"/>
                    </a:moveTo>
                    <a:cubicBezTo>
                      <a:pt x="959" y="21"/>
                      <a:pt x="925" y="2"/>
                      <a:pt x="887" y="1"/>
                    </a:cubicBezTo>
                    <a:cubicBezTo>
                      <a:pt x="887" y="0"/>
                      <a:pt x="887" y="0"/>
                      <a:pt x="887" y="0"/>
                    </a:cubicBezTo>
                    <a:cubicBezTo>
                      <a:pt x="735" y="0"/>
                      <a:pt x="735" y="0"/>
                      <a:pt x="735" y="0"/>
                    </a:cubicBezTo>
                    <a:cubicBezTo>
                      <a:pt x="735" y="0"/>
                      <a:pt x="735" y="0"/>
                      <a:pt x="735" y="0"/>
                    </a:cubicBezTo>
                    <a:cubicBezTo>
                      <a:pt x="734" y="0"/>
                      <a:pt x="734" y="0"/>
                      <a:pt x="733" y="0"/>
                    </a:cubicBezTo>
                    <a:cubicBezTo>
                      <a:pt x="662" y="0"/>
                      <a:pt x="605" y="57"/>
                      <a:pt x="605" y="128"/>
                    </a:cubicBezTo>
                    <a:cubicBezTo>
                      <a:pt x="605" y="142"/>
                      <a:pt x="607" y="156"/>
                      <a:pt x="612" y="169"/>
                    </a:cubicBezTo>
                    <a:cubicBezTo>
                      <a:pt x="401" y="169"/>
                      <a:pt x="401" y="169"/>
                      <a:pt x="401" y="169"/>
                    </a:cubicBezTo>
                    <a:cubicBezTo>
                      <a:pt x="345" y="169"/>
                      <a:pt x="294" y="203"/>
                      <a:pt x="276" y="256"/>
                    </a:cubicBezTo>
                    <a:cubicBezTo>
                      <a:pt x="267" y="285"/>
                      <a:pt x="268" y="313"/>
                      <a:pt x="276" y="337"/>
                    </a:cubicBezTo>
                    <a:cubicBezTo>
                      <a:pt x="137" y="337"/>
                      <a:pt x="137" y="337"/>
                      <a:pt x="137" y="337"/>
                    </a:cubicBezTo>
                    <a:cubicBezTo>
                      <a:pt x="73" y="337"/>
                      <a:pt x="15" y="383"/>
                      <a:pt x="6" y="446"/>
                    </a:cubicBezTo>
                    <a:cubicBezTo>
                      <a:pt x="0" y="488"/>
                      <a:pt x="15" y="526"/>
                      <a:pt x="40" y="553"/>
                    </a:cubicBezTo>
                    <a:cubicBezTo>
                      <a:pt x="40" y="553"/>
                      <a:pt x="40" y="553"/>
                      <a:pt x="40" y="553"/>
                    </a:cubicBezTo>
                    <a:cubicBezTo>
                      <a:pt x="561" y="1074"/>
                      <a:pt x="561" y="1074"/>
                      <a:pt x="561" y="1074"/>
                    </a:cubicBezTo>
                    <a:cubicBezTo>
                      <a:pt x="573" y="1075"/>
                      <a:pt x="585" y="1075"/>
                      <a:pt x="597" y="1075"/>
                    </a:cubicBezTo>
                    <a:cubicBezTo>
                      <a:pt x="985" y="1075"/>
                      <a:pt x="1301" y="768"/>
                      <a:pt x="1316" y="384"/>
                    </a:cubicBezTo>
                    <a:lnTo>
                      <a:pt x="982" y="49"/>
                    </a:lnTo>
                    <a:close/>
                  </a:path>
                </a:pathLst>
              </a:custGeom>
              <a:solidFill>
                <a:srgbClr val="00A3E1"/>
              </a:solidFill>
              <a:ln>
                <a:noFill/>
              </a:ln>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50" name="Freeform 26">
                <a:extLst>
                  <a:ext uri="{FF2B5EF4-FFF2-40B4-BE49-F238E27FC236}">
                    <a16:creationId xmlns:a16="http://schemas.microsoft.com/office/drawing/2014/main" id="{F55EFF19-7415-4533-8592-83C2434E607A}"/>
                  </a:ext>
                </a:extLst>
              </p:cNvPr>
              <p:cNvSpPr>
                <a:spLocks/>
              </p:cNvSpPr>
              <p:nvPr/>
            </p:nvSpPr>
            <p:spPr bwMode="auto">
              <a:xfrm>
                <a:off x="1729355" y="2233429"/>
                <a:ext cx="1158803" cy="565125"/>
              </a:xfrm>
              <a:custGeom>
                <a:avLst/>
                <a:gdLst>
                  <a:gd name="T0" fmla="*/ 1115 w 1217"/>
                  <a:gd name="T1" fmla="*/ 342 h 593"/>
                  <a:gd name="T2" fmla="*/ 1124 w 1217"/>
                  <a:gd name="T3" fmla="*/ 297 h 593"/>
                  <a:gd name="T4" fmla="*/ 1007 w 1217"/>
                  <a:gd name="T5" fmla="*/ 170 h 593"/>
                  <a:gd name="T6" fmla="*/ 1014 w 1217"/>
                  <a:gd name="T7" fmla="*/ 128 h 593"/>
                  <a:gd name="T8" fmla="*/ 892 w 1217"/>
                  <a:gd name="T9" fmla="*/ 1 h 593"/>
                  <a:gd name="T10" fmla="*/ 892 w 1217"/>
                  <a:gd name="T11" fmla="*/ 0 h 593"/>
                  <a:gd name="T12" fmla="*/ 740 w 1217"/>
                  <a:gd name="T13" fmla="*/ 0 h 593"/>
                  <a:gd name="T14" fmla="*/ 740 w 1217"/>
                  <a:gd name="T15" fmla="*/ 0 h 593"/>
                  <a:gd name="T16" fmla="*/ 738 w 1217"/>
                  <a:gd name="T17" fmla="*/ 0 h 593"/>
                  <a:gd name="T18" fmla="*/ 610 w 1217"/>
                  <a:gd name="T19" fmla="*/ 128 h 593"/>
                  <a:gd name="T20" fmla="*/ 617 w 1217"/>
                  <a:gd name="T21" fmla="*/ 169 h 593"/>
                  <a:gd name="T22" fmla="*/ 406 w 1217"/>
                  <a:gd name="T23" fmla="*/ 169 h 593"/>
                  <a:gd name="T24" fmla="*/ 281 w 1217"/>
                  <a:gd name="T25" fmla="*/ 256 h 593"/>
                  <a:gd name="T26" fmla="*/ 281 w 1217"/>
                  <a:gd name="T27" fmla="*/ 337 h 593"/>
                  <a:gd name="T28" fmla="*/ 142 w 1217"/>
                  <a:gd name="T29" fmla="*/ 337 h 593"/>
                  <a:gd name="T30" fmla="*/ 11 w 1217"/>
                  <a:gd name="T31" fmla="*/ 446 h 593"/>
                  <a:gd name="T32" fmla="*/ 138 w 1217"/>
                  <a:gd name="T33" fmla="*/ 593 h 593"/>
                  <a:gd name="T34" fmla="*/ 1078 w 1217"/>
                  <a:gd name="T35" fmla="*/ 593 h 593"/>
                  <a:gd name="T36" fmla="*/ 1209 w 1217"/>
                  <a:gd name="T37" fmla="*/ 481 h 593"/>
                  <a:gd name="T38" fmla="*/ 1115 w 1217"/>
                  <a:gd name="T39"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7" h="593">
                    <a:moveTo>
                      <a:pt x="1115" y="342"/>
                    </a:moveTo>
                    <a:cubicBezTo>
                      <a:pt x="1121" y="328"/>
                      <a:pt x="1124" y="313"/>
                      <a:pt x="1124" y="297"/>
                    </a:cubicBezTo>
                    <a:cubicBezTo>
                      <a:pt x="1124" y="230"/>
                      <a:pt x="1072" y="175"/>
                      <a:pt x="1007" y="170"/>
                    </a:cubicBezTo>
                    <a:cubicBezTo>
                      <a:pt x="1012" y="157"/>
                      <a:pt x="1014" y="143"/>
                      <a:pt x="1014" y="128"/>
                    </a:cubicBezTo>
                    <a:cubicBezTo>
                      <a:pt x="1014" y="59"/>
                      <a:pt x="960" y="3"/>
                      <a:pt x="892" y="1"/>
                    </a:cubicBezTo>
                    <a:cubicBezTo>
                      <a:pt x="892" y="0"/>
                      <a:pt x="892" y="0"/>
                      <a:pt x="892" y="0"/>
                    </a:cubicBezTo>
                    <a:cubicBezTo>
                      <a:pt x="740" y="0"/>
                      <a:pt x="740" y="0"/>
                      <a:pt x="740" y="0"/>
                    </a:cubicBezTo>
                    <a:cubicBezTo>
                      <a:pt x="740" y="0"/>
                      <a:pt x="740" y="0"/>
                      <a:pt x="740" y="0"/>
                    </a:cubicBezTo>
                    <a:cubicBezTo>
                      <a:pt x="739" y="0"/>
                      <a:pt x="739" y="0"/>
                      <a:pt x="738" y="0"/>
                    </a:cubicBezTo>
                    <a:cubicBezTo>
                      <a:pt x="667" y="0"/>
                      <a:pt x="610" y="57"/>
                      <a:pt x="610" y="128"/>
                    </a:cubicBezTo>
                    <a:cubicBezTo>
                      <a:pt x="610" y="142"/>
                      <a:pt x="612" y="156"/>
                      <a:pt x="617" y="169"/>
                    </a:cubicBezTo>
                    <a:cubicBezTo>
                      <a:pt x="406" y="169"/>
                      <a:pt x="406" y="169"/>
                      <a:pt x="406" y="169"/>
                    </a:cubicBezTo>
                    <a:cubicBezTo>
                      <a:pt x="350" y="169"/>
                      <a:pt x="299" y="203"/>
                      <a:pt x="281" y="256"/>
                    </a:cubicBezTo>
                    <a:cubicBezTo>
                      <a:pt x="272" y="285"/>
                      <a:pt x="273" y="313"/>
                      <a:pt x="281" y="337"/>
                    </a:cubicBezTo>
                    <a:cubicBezTo>
                      <a:pt x="142" y="337"/>
                      <a:pt x="142" y="337"/>
                      <a:pt x="142" y="337"/>
                    </a:cubicBezTo>
                    <a:cubicBezTo>
                      <a:pt x="78" y="337"/>
                      <a:pt x="20" y="383"/>
                      <a:pt x="11" y="446"/>
                    </a:cubicBezTo>
                    <a:cubicBezTo>
                      <a:pt x="0" y="525"/>
                      <a:pt x="61" y="593"/>
                      <a:pt x="138" y="593"/>
                    </a:cubicBezTo>
                    <a:cubicBezTo>
                      <a:pt x="1078" y="593"/>
                      <a:pt x="1078" y="593"/>
                      <a:pt x="1078" y="593"/>
                    </a:cubicBezTo>
                    <a:cubicBezTo>
                      <a:pt x="1143" y="593"/>
                      <a:pt x="1201" y="546"/>
                      <a:pt x="1209" y="481"/>
                    </a:cubicBezTo>
                    <a:cubicBezTo>
                      <a:pt x="1217" y="415"/>
                      <a:pt x="1175" y="358"/>
                      <a:pt x="111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51" name="Freeform 27">
                <a:extLst>
                  <a:ext uri="{FF2B5EF4-FFF2-40B4-BE49-F238E27FC236}">
                    <a16:creationId xmlns:a16="http://schemas.microsoft.com/office/drawing/2014/main" id="{C18C98F0-98A7-4F16-99CB-57E853E54718}"/>
                  </a:ext>
                </a:extLst>
              </p:cNvPr>
              <p:cNvSpPr>
                <a:spLocks noEditPoints="1"/>
              </p:cNvSpPr>
              <p:nvPr/>
            </p:nvSpPr>
            <p:spPr bwMode="auto">
              <a:xfrm>
                <a:off x="1884509" y="2587912"/>
                <a:ext cx="838799" cy="182090"/>
              </a:xfrm>
              <a:custGeom>
                <a:avLst/>
                <a:gdLst>
                  <a:gd name="T0" fmla="*/ 724 w 881"/>
                  <a:gd name="T1" fmla="*/ 98 h 191"/>
                  <a:gd name="T2" fmla="*/ 873 w 881"/>
                  <a:gd name="T3" fmla="*/ 32 h 191"/>
                  <a:gd name="T4" fmla="*/ 845 w 881"/>
                  <a:gd name="T5" fmla="*/ 58 h 191"/>
                  <a:gd name="T6" fmla="*/ 763 w 881"/>
                  <a:gd name="T7" fmla="*/ 98 h 191"/>
                  <a:gd name="T8" fmla="*/ 845 w 881"/>
                  <a:gd name="T9" fmla="*/ 137 h 191"/>
                  <a:gd name="T10" fmla="*/ 874 w 881"/>
                  <a:gd name="T11" fmla="*/ 162 h 191"/>
                  <a:gd name="T12" fmla="*/ 548 w 881"/>
                  <a:gd name="T13" fmla="*/ 153 h 191"/>
                  <a:gd name="T14" fmla="*/ 487 w 881"/>
                  <a:gd name="T15" fmla="*/ 21 h 191"/>
                  <a:gd name="T16" fmla="*/ 449 w 881"/>
                  <a:gd name="T17" fmla="*/ 21 h 191"/>
                  <a:gd name="T18" fmla="*/ 449 w 881"/>
                  <a:gd name="T19" fmla="*/ 172 h 191"/>
                  <a:gd name="T20" fmla="*/ 468 w 881"/>
                  <a:gd name="T21" fmla="*/ 191 h 191"/>
                  <a:gd name="T22" fmla="*/ 567 w 881"/>
                  <a:gd name="T23" fmla="*/ 172 h 191"/>
                  <a:gd name="T24" fmla="*/ 117 w 881"/>
                  <a:gd name="T25" fmla="*/ 62 h 191"/>
                  <a:gd name="T26" fmla="*/ 38 w 881"/>
                  <a:gd name="T27" fmla="*/ 120 h 191"/>
                  <a:gd name="T28" fmla="*/ 19 w 881"/>
                  <a:gd name="T29" fmla="*/ 191 h 191"/>
                  <a:gd name="T30" fmla="*/ 0 w 881"/>
                  <a:gd name="T31" fmla="*/ 22 h 191"/>
                  <a:gd name="T32" fmla="*/ 61 w 881"/>
                  <a:gd name="T33" fmla="*/ 3 h 191"/>
                  <a:gd name="T34" fmla="*/ 79 w 881"/>
                  <a:gd name="T35" fmla="*/ 62 h 191"/>
                  <a:gd name="T36" fmla="*/ 38 w 881"/>
                  <a:gd name="T37" fmla="*/ 41 h 191"/>
                  <a:gd name="T38" fmla="*/ 61 w 881"/>
                  <a:gd name="T39" fmla="*/ 82 h 191"/>
                  <a:gd name="T40" fmla="*/ 430 w 881"/>
                  <a:gd name="T41" fmla="*/ 131 h 191"/>
                  <a:gd name="T42" fmla="*/ 320 w 881"/>
                  <a:gd name="T43" fmla="*/ 191 h 191"/>
                  <a:gd name="T44" fmla="*/ 309 w 881"/>
                  <a:gd name="T45" fmla="*/ 188 h 191"/>
                  <a:gd name="T46" fmla="*/ 306 w 881"/>
                  <a:gd name="T47" fmla="*/ 185 h 191"/>
                  <a:gd name="T48" fmla="*/ 304 w 881"/>
                  <a:gd name="T49" fmla="*/ 183 h 191"/>
                  <a:gd name="T50" fmla="*/ 302 w 881"/>
                  <a:gd name="T51" fmla="*/ 179 h 191"/>
                  <a:gd name="T52" fmla="*/ 301 w 881"/>
                  <a:gd name="T53" fmla="*/ 176 h 191"/>
                  <a:gd name="T54" fmla="*/ 301 w 881"/>
                  <a:gd name="T55" fmla="*/ 172 h 191"/>
                  <a:gd name="T56" fmla="*/ 301 w 881"/>
                  <a:gd name="T57" fmla="*/ 172 h 191"/>
                  <a:gd name="T58" fmla="*/ 320 w 881"/>
                  <a:gd name="T59" fmla="*/ 2 h 191"/>
                  <a:gd name="T60" fmla="*/ 418 w 881"/>
                  <a:gd name="T61" fmla="*/ 56 h 191"/>
                  <a:gd name="T62" fmla="*/ 430 w 881"/>
                  <a:gd name="T63" fmla="*/ 131 h 191"/>
                  <a:gd name="T64" fmla="*/ 339 w 881"/>
                  <a:gd name="T65" fmla="*/ 40 h 191"/>
                  <a:gd name="T66" fmla="*/ 362 w 881"/>
                  <a:gd name="T67" fmla="*/ 71 h 191"/>
                  <a:gd name="T68" fmla="*/ 362 w 881"/>
                  <a:gd name="T69" fmla="*/ 40 h 191"/>
                  <a:gd name="T70" fmla="*/ 368 w 881"/>
                  <a:gd name="T71" fmla="*/ 109 h 191"/>
                  <a:gd name="T72" fmla="*/ 339 w 881"/>
                  <a:gd name="T73" fmla="*/ 153 h 191"/>
                  <a:gd name="T74" fmla="*/ 392 w 881"/>
                  <a:gd name="T75" fmla="*/ 131 h 191"/>
                  <a:gd name="T76" fmla="*/ 669 w 881"/>
                  <a:gd name="T77" fmla="*/ 153 h 191"/>
                  <a:gd name="T78" fmla="*/ 696 w 881"/>
                  <a:gd name="T79" fmla="*/ 42 h 191"/>
                  <a:gd name="T80" fmla="*/ 696 w 881"/>
                  <a:gd name="T81" fmla="*/ 3 h 191"/>
                  <a:gd name="T82" fmla="*/ 583 w 881"/>
                  <a:gd name="T83" fmla="*/ 23 h 191"/>
                  <a:gd name="T84" fmla="*/ 630 w 881"/>
                  <a:gd name="T85" fmla="*/ 42 h 191"/>
                  <a:gd name="T86" fmla="*/ 603 w 881"/>
                  <a:gd name="T87" fmla="*/ 153 h 191"/>
                  <a:gd name="T88" fmla="*/ 603 w 881"/>
                  <a:gd name="T89" fmla="*/ 191 h 191"/>
                  <a:gd name="T90" fmla="*/ 716 w 881"/>
                  <a:gd name="T91" fmla="*/ 172 h 191"/>
                  <a:gd name="T92" fmla="*/ 281 w 881"/>
                  <a:gd name="T93" fmla="*/ 114 h 191"/>
                  <a:gd name="T94" fmla="*/ 262 w 881"/>
                  <a:gd name="T95" fmla="*/ 0 h 191"/>
                  <a:gd name="T96" fmla="*/ 243 w 881"/>
                  <a:gd name="T97" fmla="*/ 114 h 191"/>
                  <a:gd name="T98" fmla="*/ 175 w 881"/>
                  <a:gd name="T99" fmla="*/ 114 h 191"/>
                  <a:gd name="T100" fmla="*/ 156 w 881"/>
                  <a:gd name="T101" fmla="*/ 0 h 191"/>
                  <a:gd name="T102" fmla="*/ 137 w 881"/>
                  <a:gd name="T103" fmla="*/ 114 h 191"/>
                  <a:gd name="T104" fmla="*/ 281 w 881"/>
                  <a:gd name="T105" fmla="*/ 11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1" h="191">
                    <a:moveTo>
                      <a:pt x="811" y="191"/>
                    </a:moveTo>
                    <a:cubicBezTo>
                      <a:pt x="763" y="191"/>
                      <a:pt x="724" y="149"/>
                      <a:pt x="724" y="98"/>
                    </a:cubicBezTo>
                    <a:cubicBezTo>
                      <a:pt x="724" y="46"/>
                      <a:pt x="763" y="4"/>
                      <a:pt x="811" y="4"/>
                    </a:cubicBezTo>
                    <a:cubicBezTo>
                      <a:pt x="835" y="4"/>
                      <a:pt x="857" y="14"/>
                      <a:pt x="873" y="32"/>
                    </a:cubicBezTo>
                    <a:cubicBezTo>
                      <a:pt x="880" y="40"/>
                      <a:pt x="880" y="52"/>
                      <a:pt x="872" y="59"/>
                    </a:cubicBezTo>
                    <a:cubicBezTo>
                      <a:pt x="864" y="66"/>
                      <a:pt x="852" y="66"/>
                      <a:pt x="845" y="58"/>
                    </a:cubicBezTo>
                    <a:cubicBezTo>
                      <a:pt x="836" y="48"/>
                      <a:pt x="824" y="42"/>
                      <a:pt x="811" y="42"/>
                    </a:cubicBezTo>
                    <a:cubicBezTo>
                      <a:pt x="784" y="42"/>
                      <a:pt x="763" y="67"/>
                      <a:pt x="763" y="98"/>
                    </a:cubicBezTo>
                    <a:cubicBezTo>
                      <a:pt x="763" y="128"/>
                      <a:pt x="784" y="153"/>
                      <a:pt x="811" y="153"/>
                    </a:cubicBezTo>
                    <a:cubicBezTo>
                      <a:pt x="824" y="153"/>
                      <a:pt x="836" y="147"/>
                      <a:pt x="845" y="137"/>
                    </a:cubicBezTo>
                    <a:cubicBezTo>
                      <a:pt x="852" y="129"/>
                      <a:pt x="864" y="128"/>
                      <a:pt x="872" y="135"/>
                    </a:cubicBezTo>
                    <a:cubicBezTo>
                      <a:pt x="880" y="142"/>
                      <a:pt x="881" y="155"/>
                      <a:pt x="874" y="162"/>
                    </a:cubicBezTo>
                    <a:cubicBezTo>
                      <a:pt x="857" y="181"/>
                      <a:pt x="835" y="191"/>
                      <a:pt x="811" y="191"/>
                    </a:cubicBezTo>
                    <a:close/>
                    <a:moveTo>
                      <a:pt x="548" y="153"/>
                    </a:moveTo>
                    <a:cubicBezTo>
                      <a:pt x="487" y="153"/>
                      <a:pt x="487" y="153"/>
                      <a:pt x="487" y="153"/>
                    </a:cubicBezTo>
                    <a:cubicBezTo>
                      <a:pt x="487" y="21"/>
                      <a:pt x="487" y="21"/>
                      <a:pt x="487" y="21"/>
                    </a:cubicBezTo>
                    <a:cubicBezTo>
                      <a:pt x="487" y="10"/>
                      <a:pt x="479" y="2"/>
                      <a:pt x="468" y="2"/>
                    </a:cubicBezTo>
                    <a:cubicBezTo>
                      <a:pt x="457" y="2"/>
                      <a:pt x="449" y="10"/>
                      <a:pt x="449" y="21"/>
                    </a:cubicBezTo>
                    <a:cubicBezTo>
                      <a:pt x="449" y="171"/>
                      <a:pt x="449" y="171"/>
                      <a:pt x="449" y="171"/>
                    </a:cubicBezTo>
                    <a:cubicBezTo>
                      <a:pt x="449" y="172"/>
                      <a:pt x="449" y="172"/>
                      <a:pt x="449" y="172"/>
                    </a:cubicBezTo>
                    <a:cubicBezTo>
                      <a:pt x="449" y="172"/>
                      <a:pt x="449" y="172"/>
                      <a:pt x="449" y="172"/>
                    </a:cubicBezTo>
                    <a:cubicBezTo>
                      <a:pt x="449" y="182"/>
                      <a:pt x="457" y="191"/>
                      <a:pt x="468" y="191"/>
                    </a:cubicBezTo>
                    <a:cubicBezTo>
                      <a:pt x="548" y="191"/>
                      <a:pt x="548" y="191"/>
                      <a:pt x="548" y="191"/>
                    </a:cubicBezTo>
                    <a:cubicBezTo>
                      <a:pt x="558" y="191"/>
                      <a:pt x="567" y="182"/>
                      <a:pt x="567" y="172"/>
                    </a:cubicBezTo>
                    <a:cubicBezTo>
                      <a:pt x="567" y="161"/>
                      <a:pt x="558" y="153"/>
                      <a:pt x="548" y="153"/>
                    </a:cubicBezTo>
                    <a:close/>
                    <a:moveTo>
                      <a:pt x="117" y="62"/>
                    </a:moveTo>
                    <a:cubicBezTo>
                      <a:pt x="117" y="98"/>
                      <a:pt x="89" y="120"/>
                      <a:pt x="61" y="120"/>
                    </a:cubicBezTo>
                    <a:cubicBezTo>
                      <a:pt x="38" y="120"/>
                      <a:pt x="38" y="120"/>
                      <a:pt x="38" y="120"/>
                    </a:cubicBezTo>
                    <a:cubicBezTo>
                      <a:pt x="38" y="172"/>
                      <a:pt x="38" y="172"/>
                      <a:pt x="38" y="172"/>
                    </a:cubicBezTo>
                    <a:cubicBezTo>
                      <a:pt x="38" y="182"/>
                      <a:pt x="29" y="191"/>
                      <a:pt x="19" y="191"/>
                    </a:cubicBezTo>
                    <a:cubicBezTo>
                      <a:pt x="8" y="191"/>
                      <a:pt x="0" y="182"/>
                      <a:pt x="0" y="172"/>
                    </a:cubicBezTo>
                    <a:cubicBezTo>
                      <a:pt x="0" y="22"/>
                      <a:pt x="0" y="22"/>
                      <a:pt x="0" y="22"/>
                    </a:cubicBezTo>
                    <a:cubicBezTo>
                      <a:pt x="0" y="11"/>
                      <a:pt x="8" y="3"/>
                      <a:pt x="19" y="3"/>
                    </a:cubicBezTo>
                    <a:cubicBezTo>
                      <a:pt x="61" y="3"/>
                      <a:pt x="61" y="3"/>
                      <a:pt x="61" y="3"/>
                    </a:cubicBezTo>
                    <a:cubicBezTo>
                      <a:pt x="89" y="3"/>
                      <a:pt x="117" y="25"/>
                      <a:pt x="117" y="62"/>
                    </a:cubicBezTo>
                    <a:close/>
                    <a:moveTo>
                      <a:pt x="79" y="62"/>
                    </a:moveTo>
                    <a:cubicBezTo>
                      <a:pt x="79" y="45"/>
                      <a:pt x="66" y="41"/>
                      <a:pt x="61" y="41"/>
                    </a:cubicBezTo>
                    <a:cubicBezTo>
                      <a:pt x="38" y="41"/>
                      <a:pt x="38" y="41"/>
                      <a:pt x="38" y="41"/>
                    </a:cubicBezTo>
                    <a:cubicBezTo>
                      <a:pt x="38" y="82"/>
                      <a:pt x="38" y="82"/>
                      <a:pt x="38" y="82"/>
                    </a:cubicBezTo>
                    <a:cubicBezTo>
                      <a:pt x="61" y="82"/>
                      <a:pt x="61" y="82"/>
                      <a:pt x="61" y="82"/>
                    </a:cubicBezTo>
                    <a:cubicBezTo>
                      <a:pt x="66" y="82"/>
                      <a:pt x="79" y="78"/>
                      <a:pt x="79" y="62"/>
                    </a:cubicBezTo>
                    <a:close/>
                    <a:moveTo>
                      <a:pt x="430" y="131"/>
                    </a:moveTo>
                    <a:cubicBezTo>
                      <a:pt x="430" y="168"/>
                      <a:pt x="398" y="191"/>
                      <a:pt x="368" y="191"/>
                    </a:cubicBezTo>
                    <a:cubicBezTo>
                      <a:pt x="320" y="191"/>
                      <a:pt x="320" y="191"/>
                      <a:pt x="320" y="191"/>
                    </a:cubicBezTo>
                    <a:cubicBezTo>
                      <a:pt x="320" y="191"/>
                      <a:pt x="320" y="191"/>
                      <a:pt x="320" y="191"/>
                    </a:cubicBezTo>
                    <a:cubicBezTo>
                      <a:pt x="316" y="191"/>
                      <a:pt x="312" y="190"/>
                      <a:pt x="309" y="188"/>
                    </a:cubicBezTo>
                    <a:cubicBezTo>
                      <a:pt x="309" y="187"/>
                      <a:pt x="308" y="187"/>
                      <a:pt x="308" y="187"/>
                    </a:cubicBezTo>
                    <a:cubicBezTo>
                      <a:pt x="308" y="186"/>
                      <a:pt x="307" y="186"/>
                      <a:pt x="306" y="185"/>
                    </a:cubicBezTo>
                    <a:cubicBezTo>
                      <a:pt x="306" y="185"/>
                      <a:pt x="306" y="184"/>
                      <a:pt x="305" y="184"/>
                    </a:cubicBezTo>
                    <a:cubicBezTo>
                      <a:pt x="305" y="183"/>
                      <a:pt x="304" y="183"/>
                      <a:pt x="304" y="183"/>
                    </a:cubicBezTo>
                    <a:cubicBezTo>
                      <a:pt x="304" y="182"/>
                      <a:pt x="303" y="181"/>
                      <a:pt x="303" y="181"/>
                    </a:cubicBezTo>
                    <a:cubicBezTo>
                      <a:pt x="303" y="180"/>
                      <a:pt x="303" y="180"/>
                      <a:pt x="302" y="179"/>
                    </a:cubicBezTo>
                    <a:cubicBezTo>
                      <a:pt x="302" y="179"/>
                      <a:pt x="302" y="178"/>
                      <a:pt x="302" y="177"/>
                    </a:cubicBezTo>
                    <a:cubicBezTo>
                      <a:pt x="302" y="177"/>
                      <a:pt x="301" y="176"/>
                      <a:pt x="301" y="176"/>
                    </a:cubicBezTo>
                    <a:cubicBezTo>
                      <a:pt x="301" y="175"/>
                      <a:pt x="301" y="174"/>
                      <a:pt x="301" y="174"/>
                    </a:cubicBezTo>
                    <a:cubicBezTo>
                      <a:pt x="301" y="173"/>
                      <a:pt x="301" y="173"/>
                      <a:pt x="301" y="172"/>
                    </a:cubicBezTo>
                    <a:cubicBezTo>
                      <a:pt x="301" y="172"/>
                      <a:pt x="301" y="172"/>
                      <a:pt x="301" y="172"/>
                    </a:cubicBezTo>
                    <a:cubicBezTo>
                      <a:pt x="301" y="172"/>
                      <a:pt x="301" y="172"/>
                      <a:pt x="301" y="172"/>
                    </a:cubicBezTo>
                    <a:cubicBezTo>
                      <a:pt x="301" y="21"/>
                      <a:pt x="301" y="21"/>
                      <a:pt x="301" y="21"/>
                    </a:cubicBezTo>
                    <a:cubicBezTo>
                      <a:pt x="301" y="11"/>
                      <a:pt x="309" y="2"/>
                      <a:pt x="320" y="2"/>
                    </a:cubicBezTo>
                    <a:cubicBezTo>
                      <a:pt x="362" y="2"/>
                      <a:pt x="362" y="2"/>
                      <a:pt x="362" y="2"/>
                    </a:cubicBezTo>
                    <a:cubicBezTo>
                      <a:pt x="390" y="2"/>
                      <a:pt x="418" y="22"/>
                      <a:pt x="418" y="56"/>
                    </a:cubicBezTo>
                    <a:cubicBezTo>
                      <a:pt x="418" y="67"/>
                      <a:pt x="414" y="77"/>
                      <a:pt x="409" y="86"/>
                    </a:cubicBezTo>
                    <a:cubicBezTo>
                      <a:pt x="421" y="96"/>
                      <a:pt x="430" y="111"/>
                      <a:pt x="430" y="131"/>
                    </a:cubicBezTo>
                    <a:close/>
                    <a:moveTo>
                      <a:pt x="362" y="40"/>
                    </a:moveTo>
                    <a:cubicBezTo>
                      <a:pt x="339" y="40"/>
                      <a:pt x="339" y="40"/>
                      <a:pt x="339" y="40"/>
                    </a:cubicBezTo>
                    <a:cubicBezTo>
                      <a:pt x="339" y="71"/>
                      <a:pt x="339" y="71"/>
                      <a:pt x="339" y="71"/>
                    </a:cubicBezTo>
                    <a:cubicBezTo>
                      <a:pt x="362" y="71"/>
                      <a:pt x="362" y="71"/>
                      <a:pt x="362" y="71"/>
                    </a:cubicBezTo>
                    <a:cubicBezTo>
                      <a:pt x="363" y="71"/>
                      <a:pt x="380" y="71"/>
                      <a:pt x="380" y="56"/>
                    </a:cubicBezTo>
                    <a:cubicBezTo>
                      <a:pt x="380" y="41"/>
                      <a:pt x="363" y="40"/>
                      <a:pt x="362" y="40"/>
                    </a:cubicBezTo>
                    <a:close/>
                    <a:moveTo>
                      <a:pt x="392" y="131"/>
                    </a:moveTo>
                    <a:cubicBezTo>
                      <a:pt x="392" y="110"/>
                      <a:pt x="368" y="109"/>
                      <a:pt x="368" y="109"/>
                    </a:cubicBezTo>
                    <a:cubicBezTo>
                      <a:pt x="339" y="109"/>
                      <a:pt x="339" y="109"/>
                      <a:pt x="339" y="109"/>
                    </a:cubicBezTo>
                    <a:cubicBezTo>
                      <a:pt x="339" y="153"/>
                      <a:pt x="339" y="153"/>
                      <a:pt x="339" y="153"/>
                    </a:cubicBezTo>
                    <a:cubicBezTo>
                      <a:pt x="368" y="153"/>
                      <a:pt x="368" y="153"/>
                      <a:pt x="368" y="153"/>
                    </a:cubicBezTo>
                    <a:cubicBezTo>
                      <a:pt x="368" y="153"/>
                      <a:pt x="392" y="152"/>
                      <a:pt x="392" y="131"/>
                    </a:cubicBezTo>
                    <a:close/>
                    <a:moveTo>
                      <a:pt x="696" y="153"/>
                    </a:moveTo>
                    <a:cubicBezTo>
                      <a:pt x="669" y="153"/>
                      <a:pt x="669" y="153"/>
                      <a:pt x="669" y="153"/>
                    </a:cubicBezTo>
                    <a:cubicBezTo>
                      <a:pt x="669" y="42"/>
                      <a:pt x="669" y="42"/>
                      <a:pt x="669" y="42"/>
                    </a:cubicBezTo>
                    <a:cubicBezTo>
                      <a:pt x="696" y="42"/>
                      <a:pt x="696" y="42"/>
                      <a:pt x="696" y="42"/>
                    </a:cubicBezTo>
                    <a:cubicBezTo>
                      <a:pt x="707" y="42"/>
                      <a:pt x="716" y="33"/>
                      <a:pt x="716" y="23"/>
                    </a:cubicBezTo>
                    <a:cubicBezTo>
                      <a:pt x="716" y="12"/>
                      <a:pt x="707" y="3"/>
                      <a:pt x="696" y="3"/>
                    </a:cubicBezTo>
                    <a:cubicBezTo>
                      <a:pt x="603" y="3"/>
                      <a:pt x="603" y="3"/>
                      <a:pt x="603" y="3"/>
                    </a:cubicBezTo>
                    <a:cubicBezTo>
                      <a:pt x="592" y="3"/>
                      <a:pt x="583" y="12"/>
                      <a:pt x="583" y="23"/>
                    </a:cubicBezTo>
                    <a:cubicBezTo>
                      <a:pt x="583" y="33"/>
                      <a:pt x="592" y="42"/>
                      <a:pt x="603" y="42"/>
                    </a:cubicBezTo>
                    <a:cubicBezTo>
                      <a:pt x="630" y="42"/>
                      <a:pt x="630" y="42"/>
                      <a:pt x="630" y="42"/>
                    </a:cubicBezTo>
                    <a:cubicBezTo>
                      <a:pt x="630" y="153"/>
                      <a:pt x="630" y="153"/>
                      <a:pt x="630" y="153"/>
                    </a:cubicBezTo>
                    <a:cubicBezTo>
                      <a:pt x="603" y="153"/>
                      <a:pt x="603" y="153"/>
                      <a:pt x="603" y="153"/>
                    </a:cubicBezTo>
                    <a:cubicBezTo>
                      <a:pt x="592" y="153"/>
                      <a:pt x="583" y="161"/>
                      <a:pt x="583" y="172"/>
                    </a:cubicBezTo>
                    <a:cubicBezTo>
                      <a:pt x="583" y="182"/>
                      <a:pt x="592" y="191"/>
                      <a:pt x="603" y="191"/>
                    </a:cubicBezTo>
                    <a:cubicBezTo>
                      <a:pt x="696" y="191"/>
                      <a:pt x="696" y="191"/>
                      <a:pt x="696" y="191"/>
                    </a:cubicBezTo>
                    <a:cubicBezTo>
                      <a:pt x="707" y="191"/>
                      <a:pt x="716" y="182"/>
                      <a:pt x="716" y="172"/>
                    </a:cubicBezTo>
                    <a:cubicBezTo>
                      <a:pt x="716" y="161"/>
                      <a:pt x="707" y="153"/>
                      <a:pt x="696" y="153"/>
                    </a:cubicBezTo>
                    <a:close/>
                    <a:moveTo>
                      <a:pt x="281" y="114"/>
                    </a:moveTo>
                    <a:cubicBezTo>
                      <a:pt x="281" y="19"/>
                      <a:pt x="281" y="19"/>
                      <a:pt x="281" y="19"/>
                    </a:cubicBezTo>
                    <a:cubicBezTo>
                      <a:pt x="281" y="8"/>
                      <a:pt x="272" y="0"/>
                      <a:pt x="262" y="0"/>
                    </a:cubicBezTo>
                    <a:cubicBezTo>
                      <a:pt x="251" y="0"/>
                      <a:pt x="243" y="8"/>
                      <a:pt x="243" y="19"/>
                    </a:cubicBezTo>
                    <a:cubicBezTo>
                      <a:pt x="243" y="114"/>
                      <a:pt x="243" y="114"/>
                      <a:pt x="243" y="114"/>
                    </a:cubicBezTo>
                    <a:cubicBezTo>
                      <a:pt x="243" y="153"/>
                      <a:pt x="217" y="153"/>
                      <a:pt x="209" y="153"/>
                    </a:cubicBezTo>
                    <a:cubicBezTo>
                      <a:pt x="201" y="153"/>
                      <a:pt x="175" y="153"/>
                      <a:pt x="175" y="114"/>
                    </a:cubicBezTo>
                    <a:cubicBezTo>
                      <a:pt x="175" y="19"/>
                      <a:pt x="175" y="19"/>
                      <a:pt x="175" y="19"/>
                    </a:cubicBezTo>
                    <a:cubicBezTo>
                      <a:pt x="175" y="8"/>
                      <a:pt x="167" y="0"/>
                      <a:pt x="156" y="0"/>
                    </a:cubicBezTo>
                    <a:cubicBezTo>
                      <a:pt x="146" y="0"/>
                      <a:pt x="137" y="8"/>
                      <a:pt x="137" y="19"/>
                    </a:cubicBezTo>
                    <a:cubicBezTo>
                      <a:pt x="137" y="114"/>
                      <a:pt x="137" y="114"/>
                      <a:pt x="137" y="114"/>
                    </a:cubicBezTo>
                    <a:cubicBezTo>
                      <a:pt x="137" y="161"/>
                      <a:pt x="165" y="191"/>
                      <a:pt x="209" y="191"/>
                    </a:cubicBezTo>
                    <a:cubicBezTo>
                      <a:pt x="253" y="191"/>
                      <a:pt x="281" y="161"/>
                      <a:pt x="281" y="11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grpSp>
        <p:grpSp>
          <p:nvGrpSpPr>
            <p:cNvPr id="552" name="Group 551">
              <a:extLst>
                <a:ext uri="{FF2B5EF4-FFF2-40B4-BE49-F238E27FC236}">
                  <a16:creationId xmlns:a16="http://schemas.microsoft.com/office/drawing/2014/main" id="{93A852D0-A07E-42D3-B749-5681628DC3F8}"/>
                </a:ext>
              </a:extLst>
            </p:cNvPr>
            <p:cNvGrpSpPr/>
            <p:nvPr/>
          </p:nvGrpSpPr>
          <p:grpSpPr>
            <a:xfrm>
              <a:off x="4635992" y="1020736"/>
              <a:ext cx="254553" cy="254552"/>
              <a:chOff x="1547664" y="1885950"/>
              <a:chExt cx="1370525" cy="1371600"/>
            </a:xfrm>
          </p:grpSpPr>
          <p:sp>
            <p:nvSpPr>
              <p:cNvPr id="553" name="Oval 5">
                <a:extLst>
                  <a:ext uri="{FF2B5EF4-FFF2-40B4-BE49-F238E27FC236}">
                    <a16:creationId xmlns:a16="http://schemas.microsoft.com/office/drawing/2014/main" id="{40F59C5A-EBC1-4EE1-9783-50A16F2C58DA}"/>
                  </a:ext>
                </a:extLst>
              </p:cNvPr>
              <p:cNvSpPr>
                <a:spLocks noChangeArrowheads="1"/>
              </p:cNvSpPr>
              <p:nvPr/>
            </p:nvSpPr>
            <p:spPr bwMode="auto">
              <a:xfrm>
                <a:off x="1547664" y="1885950"/>
                <a:ext cx="1370525" cy="137160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dirty="0">
                  <a:solidFill>
                    <a:srgbClr val="282828"/>
                  </a:solidFill>
                  <a:latin typeface="CiscoSansTT ExtraLight"/>
                  <a:cs typeface="+mn-cs"/>
                </a:endParaRPr>
              </a:p>
            </p:txBody>
          </p:sp>
          <p:sp>
            <p:nvSpPr>
              <p:cNvPr id="554" name="Freeform 6">
                <a:extLst>
                  <a:ext uri="{FF2B5EF4-FFF2-40B4-BE49-F238E27FC236}">
                    <a16:creationId xmlns:a16="http://schemas.microsoft.com/office/drawing/2014/main" id="{DF565570-25EC-4B0E-A265-52C665C47244}"/>
                  </a:ext>
                </a:extLst>
              </p:cNvPr>
              <p:cNvSpPr>
                <a:spLocks/>
              </p:cNvSpPr>
              <p:nvPr/>
            </p:nvSpPr>
            <p:spPr bwMode="auto">
              <a:xfrm>
                <a:off x="1669417" y="2233429"/>
                <a:ext cx="1247695" cy="1024121"/>
              </a:xfrm>
              <a:custGeom>
                <a:avLst/>
                <a:gdLst>
                  <a:gd name="T0" fmla="*/ 977 w 1311"/>
                  <a:gd name="T1" fmla="*/ 49 h 1075"/>
                  <a:gd name="T2" fmla="*/ 882 w 1311"/>
                  <a:gd name="T3" fmla="*/ 0 h 1075"/>
                  <a:gd name="T4" fmla="*/ 728 w 1311"/>
                  <a:gd name="T5" fmla="*/ 0 h 1075"/>
                  <a:gd name="T6" fmla="*/ 600 w 1311"/>
                  <a:gd name="T7" fmla="*/ 128 h 1075"/>
                  <a:gd name="T8" fmla="*/ 607 w 1311"/>
                  <a:gd name="T9" fmla="*/ 169 h 1075"/>
                  <a:gd name="T10" fmla="*/ 393 w 1311"/>
                  <a:gd name="T11" fmla="*/ 169 h 1075"/>
                  <a:gd name="T12" fmla="*/ 265 w 1311"/>
                  <a:gd name="T13" fmla="*/ 297 h 1075"/>
                  <a:gd name="T14" fmla="*/ 271 w 1311"/>
                  <a:gd name="T15" fmla="*/ 337 h 1075"/>
                  <a:gd name="T16" fmla="*/ 128 w 1311"/>
                  <a:gd name="T17" fmla="*/ 337 h 1075"/>
                  <a:gd name="T18" fmla="*/ 0 w 1311"/>
                  <a:gd name="T19" fmla="*/ 465 h 1075"/>
                  <a:gd name="T20" fmla="*/ 36 w 1311"/>
                  <a:gd name="T21" fmla="*/ 554 h 1075"/>
                  <a:gd name="T22" fmla="*/ 556 w 1311"/>
                  <a:gd name="T23" fmla="*/ 1074 h 1075"/>
                  <a:gd name="T24" fmla="*/ 592 w 1311"/>
                  <a:gd name="T25" fmla="*/ 1075 h 1075"/>
                  <a:gd name="T26" fmla="*/ 1311 w 1311"/>
                  <a:gd name="T27" fmla="*/ 384 h 1075"/>
                  <a:gd name="T28" fmla="*/ 977 w 1311"/>
                  <a:gd name="T29"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1" h="1075">
                    <a:moveTo>
                      <a:pt x="977" y="49"/>
                    </a:moveTo>
                    <a:cubicBezTo>
                      <a:pt x="954" y="21"/>
                      <a:pt x="920" y="2"/>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499"/>
                      <a:pt x="14" y="531"/>
                      <a:pt x="36" y="554"/>
                    </a:cubicBezTo>
                    <a:cubicBezTo>
                      <a:pt x="556" y="1074"/>
                      <a:pt x="556" y="1074"/>
                      <a:pt x="556" y="1074"/>
                    </a:cubicBezTo>
                    <a:cubicBezTo>
                      <a:pt x="568" y="1075"/>
                      <a:pt x="580" y="1075"/>
                      <a:pt x="592" y="1075"/>
                    </a:cubicBezTo>
                    <a:cubicBezTo>
                      <a:pt x="980" y="1075"/>
                      <a:pt x="1296" y="768"/>
                      <a:pt x="1311" y="384"/>
                    </a:cubicBezTo>
                    <a:lnTo>
                      <a:pt x="977" y="49"/>
                    </a:lnTo>
                    <a:close/>
                  </a:path>
                </a:pathLst>
              </a:custGeom>
              <a:solidFill>
                <a:srgbClr val="00A3E1"/>
              </a:solidFill>
              <a:ln>
                <a:noFill/>
              </a:ln>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55" name="Freeform 7">
                <a:extLst>
                  <a:ext uri="{FF2B5EF4-FFF2-40B4-BE49-F238E27FC236}">
                    <a16:creationId xmlns:a16="http://schemas.microsoft.com/office/drawing/2014/main" id="{33606ECB-52A4-434D-BDAD-121015480209}"/>
                  </a:ext>
                </a:extLst>
              </p:cNvPr>
              <p:cNvSpPr>
                <a:spLocks/>
              </p:cNvSpPr>
              <p:nvPr/>
            </p:nvSpPr>
            <p:spPr bwMode="auto">
              <a:xfrm>
                <a:off x="1669417" y="2233429"/>
                <a:ext cx="1142104" cy="565125"/>
              </a:xfrm>
              <a:custGeom>
                <a:avLst/>
                <a:gdLst>
                  <a:gd name="T0" fmla="*/ 1105 w 1200"/>
                  <a:gd name="T1" fmla="*/ 342 h 593"/>
                  <a:gd name="T2" fmla="*/ 1114 w 1200"/>
                  <a:gd name="T3" fmla="*/ 297 h 593"/>
                  <a:gd name="T4" fmla="*/ 997 w 1200"/>
                  <a:gd name="T5" fmla="*/ 170 h 593"/>
                  <a:gd name="T6" fmla="*/ 1004 w 1200"/>
                  <a:gd name="T7" fmla="*/ 128 h 593"/>
                  <a:gd name="T8" fmla="*/ 882 w 1200"/>
                  <a:gd name="T9" fmla="*/ 0 h 593"/>
                  <a:gd name="T10" fmla="*/ 728 w 1200"/>
                  <a:gd name="T11" fmla="*/ 0 h 593"/>
                  <a:gd name="T12" fmla="*/ 600 w 1200"/>
                  <a:gd name="T13" fmla="*/ 128 h 593"/>
                  <a:gd name="T14" fmla="*/ 607 w 1200"/>
                  <a:gd name="T15" fmla="*/ 169 h 593"/>
                  <a:gd name="T16" fmla="*/ 393 w 1200"/>
                  <a:gd name="T17" fmla="*/ 169 h 593"/>
                  <a:gd name="T18" fmla="*/ 265 w 1200"/>
                  <a:gd name="T19" fmla="*/ 297 h 593"/>
                  <a:gd name="T20" fmla="*/ 271 w 1200"/>
                  <a:gd name="T21" fmla="*/ 337 h 593"/>
                  <a:gd name="T22" fmla="*/ 128 w 1200"/>
                  <a:gd name="T23" fmla="*/ 337 h 593"/>
                  <a:gd name="T24" fmla="*/ 0 w 1200"/>
                  <a:gd name="T25" fmla="*/ 465 h 593"/>
                  <a:gd name="T26" fmla="*/ 128 w 1200"/>
                  <a:gd name="T27" fmla="*/ 593 h 593"/>
                  <a:gd name="T28" fmla="*/ 1072 w 1200"/>
                  <a:gd name="T29" fmla="*/ 593 h 593"/>
                  <a:gd name="T30" fmla="*/ 1200 w 1200"/>
                  <a:gd name="T31" fmla="*/ 465 h 593"/>
                  <a:gd name="T32" fmla="*/ 1105 w 1200"/>
                  <a:gd name="T33"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0" h="593">
                    <a:moveTo>
                      <a:pt x="1105" y="342"/>
                    </a:moveTo>
                    <a:cubicBezTo>
                      <a:pt x="1111" y="328"/>
                      <a:pt x="1114" y="313"/>
                      <a:pt x="1114" y="297"/>
                    </a:cubicBezTo>
                    <a:cubicBezTo>
                      <a:pt x="1114" y="230"/>
                      <a:pt x="1062" y="175"/>
                      <a:pt x="997" y="170"/>
                    </a:cubicBezTo>
                    <a:cubicBezTo>
                      <a:pt x="1002" y="157"/>
                      <a:pt x="1004" y="143"/>
                      <a:pt x="1004" y="128"/>
                    </a:cubicBezTo>
                    <a:cubicBezTo>
                      <a:pt x="1004" y="59"/>
                      <a:pt x="950" y="3"/>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536"/>
                      <a:pt x="57" y="593"/>
                      <a:pt x="128" y="593"/>
                    </a:cubicBezTo>
                    <a:cubicBezTo>
                      <a:pt x="1072" y="593"/>
                      <a:pt x="1072" y="593"/>
                      <a:pt x="1072" y="593"/>
                    </a:cubicBezTo>
                    <a:cubicBezTo>
                      <a:pt x="1143" y="593"/>
                      <a:pt x="1200" y="536"/>
                      <a:pt x="1200" y="465"/>
                    </a:cubicBezTo>
                    <a:cubicBezTo>
                      <a:pt x="1200" y="406"/>
                      <a:pt x="1160" y="356"/>
                      <a:pt x="110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grpSp>
            <p:nvGrpSpPr>
              <p:cNvPr id="556" name="Group 555">
                <a:extLst>
                  <a:ext uri="{FF2B5EF4-FFF2-40B4-BE49-F238E27FC236}">
                    <a16:creationId xmlns:a16="http://schemas.microsoft.com/office/drawing/2014/main" id="{A298ECD8-C512-44DA-9C4C-195E0BF8584C}"/>
                  </a:ext>
                </a:extLst>
              </p:cNvPr>
              <p:cNvGrpSpPr/>
              <p:nvPr/>
            </p:nvGrpSpPr>
            <p:grpSpPr>
              <a:xfrm>
                <a:off x="1735141" y="2591683"/>
                <a:ext cx="1011732" cy="175086"/>
                <a:chOff x="1735141" y="2591683"/>
                <a:chExt cx="1011732" cy="175086"/>
              </a:xfrm>
              <a:solidFill>
                <a:schemeClr val="tx2"/>
              </a:solidFill>
            </p:grpSpPr>
            <p:sp>
              <p:nvSpPr>
                <p:cNvPr id="557" name="Freeform 8">
                  <a:extLst>
                    <a:ext uri="{FF2B5EF4-FFF2-40B4-BE49-F238E27FC236}">
                      <a16:creationId xmlns:a16="http://schemas.microsoft.com/office/drawing/2014/main" id="{16CDCDD7-4EB1-4486-971C-CD96D5ADBFC7}"/>
                    </a:ext>
                  </a:extLst>
                </p:cNvPr>
                <p:cNvSpPr>
                  <a:spLocks/>
                </p:cNvSpPr>
                <p:nvPr/>
              </p:nvSpPr>
              <p:spPr bwMode="auto">
                <a:xfrm>
                  <a:off x="1916693" y="2591683"/>
                  <a:ext cx="141147" cy="173470"/>
                </a:xfrm>
                <a:custGeom>
                  <a:avLst/>
                  <a:gdLst>
                    <a:gd name="T0" fmla="*/ 130 w 148"/>
                    <a:gd name="T1" fmla="*/ 182 h 182"/>
                    <a:gd name="T2" fmla="*/ 116 w 148"/>
                    <a:gd name="T3" fmla="*/ 175 h 182"/>
                    <a:gd name="T4" fmla="*/ 37 w 148"/>
                    <a:gd name="T5" fmla="*/ 74 h 182"/>
                    <a:gd name="T6" fmla="*/ 37 w 148"/>
                    <a:gd name="T7" fmla="*/ 164 h 182"/>
                    <a:gd name="T8" fmla="*/ 19 w 148"/>
                    <a:gd name="T9" fmla="*/ 182 h 182"/>
                    <a:gd name="T10" fmla="*/ 0 w 148"/>
                    <a:gd name="T11" fmla="*/ 164 h 182"/>
                    <a:gd name="T12" fmla="*/ 0 w 148"/>
                    <a:gd name="T13" fmla="*/ 20 h 182"/>
                    <a:gd name="T14" fmla="*/ 13 w 148"/>
                    <a:gd name="T15" fmla="*/ 3 h 182"/>
                    <a:gd name="T16" fmla="*/ 33 w 148"/>
                    <a:gd name="T17" fmla="*/ 9 h 182"/>
                    <a:gd name="T18" fmla="*/ 112 w 148"/>
                    <a:gd name="T19" fmla="*/ 110 h 182"/>
                    <a:gd name="T20" fmla="*/ 112 w 148"/>
                    <a:gd name="T21" fmla="*/ 20 h 182"/>
                    <a:gd name="T22" fmla="*/ 130 w 148"/>
                    <a:gd name="T23" fmla="*/ 2 h 182"/>
                    <a:gd name="T24" fmla="*/ 148 w 148"/>
                    <a:gd name="T25" fmla="*/ 20 h 182"/>
                    <a:gd name="T26" fmla="*/ 148 w 148"/>
                    <a:gd name="T27" fmla="*/ 164 h 182"/>
                    <a:gd name="T28" fmla="*/ 136 w 148"/>
                    <a:gd name="T29" fmla="*/ 182 h 182"/>
                    <a:gd name="T30" fmla="*/ 130 w 148"/>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82">
                      <a:moveTo>
                        <a:pt x="130" y="182"/>
                      </a:moveTo>
                      <a:cubicBezTo>
                        <a:pt x="125" y="182"/>
                        <a:pt x="119" y="180"/>
                        <a:pt x="116" y="175"/>
                      </a:cubicBezTo>
                      <a:cubicBezTo>
                        <a:pt x="37" y="74"/>
                        <a:pt x="37" y="74"/>
                        <a:pt x="37" y="74"/>
                      </a:cubicBezTo>
                      <a:cubicBezTo>
                        <a:pt x="37" y="164"/>
                        <a:pt x="37" y="164"/>
                        <a:pt x="37" y="164"/>
                      </a:cubicBezTo>
                      <a:cubicBezTo>
                        <a:pt x="37" y="174"/>
                        <a:pt x="29" y="182"/>
                        <a:pt x="19" y="182"/>
                      </a:cubicBezTo>
                      <a:cubicBezTo>
                        <a:pt x="9" y="182"/>
                        <a:pt x="0" y="174"/>
                        <a:pt x="0" y="164"/>
                      </a:cubicBezTo>
                      <a:cubicBezTo>
                        <a:pt x="0" y="20"/>
                        <a:pt x="0" y="20"/>
                        <a:pt x="0" y="20"/>
                      </a:cubicBezTo>
                      <a:cubicBezTo>
                        <a:pt x="0" y="12"/>
                        <a:pt x="5" y="5"/>
                        <a:pt x="13" y="3"/>
                      </a:cubicBezTo>
                      <a:cubicBezTo>
                        <a:pt x="20" y="0"/>
                        <a:pt x="28" y="3"/>
                        <a:pt x="33" y="9"/>
                      </a:cubicBezTo>
                      <a:cubicBezTo>
                        <a:pt x="112" y="110"/>
                        <a:pt x="112" y="110"/>
                        <a:pt x="112" y="110"/>
                      </a:cubicBezTo>
                      <a:cubicBezTo>
                        <a:pt x="112" y="20"/>
                        <a:pt x="112" y="20"/>
                        <a:pt x="112" y="20"/>
                      </a:cubicBezTo>
                      <a:cubicBezTo>
                        <a:pt x="112" y="10"/>
                        <a:pt x="120" y="2"/>
                        <a:pt x="130" y="2"/>
                      </a:cubicBezTo>
                      <a:cubicBezTo>
                        <a:pt x="140" y="2"/>
                        <a:pt x="148" y="10"/>
                        <a:pt x="148" y="20"/>
                      </a:cubicBezTo>
                      <a:cubicBezTo>
                        <a:pt x="148" y="164"/>
                        <a:pt x="148" y="164"/>
                        <a:pt x="148" y="164"/>
                      </a:cubicBezTo>
                      <a:cubicBezTo>
                        <a:pt x="148" y="172"/>
                        <a:pt x="143" y="179"/>
                        <a:pt x="136" y="182"/>
                      </a:cubicBezTo>
                      <a:cubicBezTo>
                        <a:pt x="134" y="182"/>
                        <a:pt x="132" y="182"/>
                        <a:pt x="130"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58" name="Freeform 9">
                  <a:extLst>
                    <a:ext uri="{FF2B5EF4-FFF2-40B4-BE49-F238E27FC236}">
                      <a16:creationId xmlns:a16="http://schemas.microsoft.com/office/drawing/2014/main" id="{AE937881-D0E1-4276-AF8A-7FD04DC1E272}"/>
                    </a:ext>
                  </a:extLst>
                </p:cNvPr>
                <p:cNvSpPr>
                  <a:spLocks noEditPoints="1"/>
                </p:cNvSpPr>
                <p:nvPr/>
              </p:nvSpPr>
              <p:spPr bwMode="auto">
                <a:xfrm>
                  <a:off x="1735141" y="2591683"/>
                  <a:ext cx="158925" cy="173470"/>
                </a:xfrm>
                <a:custGeom>
                  <a:avLst/>
                  <a:gdLst>
                    <a:gd name="T0" fmla="*/ 84 w 167"/>
                    <a:gd name="T1" fmla="*/ 182 h 182"/>
                    <a:gd name="T2" fmla="*/ 0 w 167"/>
                    <a:gd name="T3" fmla="*/ 91 h 182"/>
                    <a:gd name="T4" fmla="*/ 84 w 167"/>
                    <a:gd name="T5" fmla="*/ 0 h 182"/>
                    <a:gd name="T6" fmla="*/ 167 w 167"/>
                    <a:gd name="T7" fmla="*/ 91 h 182"/>
                    <a:gd name="T8" fmla="*/ 84 w 167"/>
                    <a:gd name="T9" fmla="*/ 182 h 182"/>
                    <a:gd name="T10" fmla="*/ 84 w 167"/>
                    <a:gd name="T11" fmla="*/ 37 h 182"/>
                    <a:gd name="T12" fmla="*/ 37 w 167"/>
                    <a:gd name="T13" fmla="*/ 91 h 182"/>
                    <a:gd name="T14" fmla="*/ 84 w 167"/>
                    <a:gd name="T15" fmla="*/ 146 h 182"/>
                    <a:gd name="T16" fmla="*/ 131 w 167"/>
                    <a:gd name="T17" fmla="*/ 91 h 182"/>
                    <a:gd name="T18" fmla="*/ 84 w 167"/>
                    <a:gd name="T19" fmla="*/ 3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82">
                      <a:moveTo>
                        <a:pt x="84" y="182"/>
                      </a:moveTo>
                      <a:cubicBezTo>
                        <a:pt x="38" y="182"/>
                        <a:pt x="0" y="142"/>
                        <a:pt x="0" y="91"/>
                      </a:cubicBezTo>
                      <a:cubicBezTo>
                        <a:pt x="0" y="41"/>
                        <a:pt x="38" y="0"/>
                        <a:pt x="84" y="0"/>
                      </a:cubicBezTo>
                      <a:cubicBezTo>
                        <a:pt x="130" y="0"/>
                        <a:pt x="167" y="41"/>
                        <a:pt x="167" y="91"/>
                      </a:cubicBezTo>
                      <a:cubicBezTo>
                        <a:pt x="167" y="142"/>
                        <a:pt x="130" y="182"/>
                        <a:pt x="84" y="182"/>
                      </a:cubicBezTo>
                      <a:close/>
                      <a:moveTo>
                        <a:pt x="84" y="37"/>
                      </a:moveTo>
                      <a:cubicBezTo>
                        <a:pt x="58" y="37"/>
                        <a:pt x="37" y="61"/>
                        <a:pt x="37" y="91"/>
                      </a:cubicBezTo>
                      <a:cubicBezTo>
                        <a:pt x="37" y="121"/>
                        <a:pt x="58" y="146"/>
                        <a:pt x="84" y="146"/>
                      </a:cubicBezTo>
                      <a:cubicBezTo>
                        <a:pt x="110" y="146"/>
                        <a:pt x="131" y="121"/>
                        <a:pt x="131" y="91"/>
                      </a:cubicBezTo>
                      <a:cubicBezTo>
                        <a:pt x="131" y="61"/>
                        <a:pt x="110" y="37"/>
                        <a:pt x="8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59" name="Freeform 10">
                  <a:extLst>
                    <a:ext uri="{FF2B5EF4-FFF2-40B4-BE49-F238E27FC236}">
                      <a16:creationId xmlns:a16="http://schemas.microsoft.com/office/drawing/2014/main" id="{D0B61A69-F73F-4553-BBD1-E201716719F8}"/>
                    </a:ext>
                  </a:extLst>
                </p:cNvPr>
                <p:cNvSpPr>
                  <a:spLocks noEditPoints="1"/>
                </p:cNvSpPr>
                <p:nvPr/>
              </p:nvSpPr>
              <p:spPr bwMode="auto">
                <a:xfrm>
                  <a:off x="2203296" y="2593299"/>
                  <a:ext cx="107746" cy="171854"/>
                </a:xfrm>
                <a:custGeom>
                  <a:avLst/>
                  <a:gdLst>
                    <a:gd name="T0" fmla="*/ 59 w 113"/>
                    <a:gd name="T1" fmla="*/ 0 h 180"/>
                    <a:gd name="T2" fmla="*/ 18 w 113"/>
                    <a:gd name="T3" fmla="*/ 0 h 180"/>
                    <a:gd name="T4" fmla="*/ 0 w 113"/>
                    <a:gd name="T5" fmla="*/ 18 h 180"/>
                    <a:gd name="T6" fmla="*/ 0 w 113"/>
                    <a:gd name="T7" fmla="*/ 162 h 180"/>
                    <a:gd name="T8" fmla="*/ 18 w 113"/>
                    <a:gd name="T9" fmla="*/ 180 h 180"/>
                    <a:gd name="T10" fmla="*/ 37 w 113"/>
                    <a:gd name="T11" fmla="*/ 162 h 180"/>
                    <a:gd name="T12" fmla="*/ 37 w 113"/>
                    <a:gd name="T13" fmla="*/ 113 h 180"/>
                    <a:gd name="T14" fmla="*/ 59 w 113"/>
                    <a:gd name="T15" fmla="*/ 113 h 180"/>
                    <a:gd name="T16" fmla="*/ 113 w 113"/>
                    <a:gd name="T17" fmla="*/ 56 h 180"/>
                    <a:gd name="T18" fmla="*/ 59 w 113"/>
                    <a:gd name="T19" fmla="*/ 0 h 180"/>
                    <a:gd name="T20" fmla="*/ 59 w 113"/>
                    <a:gd name="T21" fmla="*/ 76 h 180"/>
                    <a:gd name="T22" fmla="*/ 37 w 113"/>
                    <a:gd name="T23" fmla="*/ 76 h 180"/>
                    <a:gd name="T24" fmla="*/ 37 w 113"/>
                    <a:gd name="T25" fmla="*/ 36 h 180"/>
                    <a:gd name="T26" fmla="*/ 59 w 113"/>
                    <a:gd name="T27" fmla="*/ 36 h 180"/>
                    <a:gd name="T28" fmla="*/ 76 w 113"/>
                    <a:gd name="T29" fmla="*/ 56 h 180"/>
                    <a:gd name="T30" fmla="*/ 59 w 113"/>
                    <a:gd name="T31"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80">
                      <a:moveTo>
                        <a:pt x="59" y="0"/>
                      </a:move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59" y="113"/>
                        <a:pt x="59" y="113"/>
                        <a:pt x="59" y="113"/>
                      </a:cubicBezTo>
                      <a:cubicBezTo>
                        <a:pt x="85" y="113"/>
                        <a:pt x="113" y="92"/>
                        <a:pt x="113" y="56"/>
                      </a:cubicBezTo>
                      <a:cubicBezTo>
                        <a:pt x="113" y="21"/>
                        <a:pt x="85" y="0"/>
                        <a:pt x="59" y="0"/>
                      </a:cubicBezTo>
                      <a:close/>
                      <a:moveTo>
                        <a:pt x="59" y="76"/>
                      </a:moveTo>
                      <a:cubicBezTo>
                        <a:pt x="37" y="76"/>
                        <a:pt x="37" y="76"/>
                        <a:pt x="37" y="76"/>
                      </a:cubicBezTo>
                      <a:cubicBezTo>
                        <a:pt x="37" y="36"/>
                        <a:pt x="37" y="36"/>
                        <a:pt x="37" y="36"/>
                      </a:cubicBezTo>
                      <a:cubicBezTo>
                        <a:pt x="59" y="36"/>
                        <a:pt x="59" y="36"/>
                        <a:pt x="59" y="36"/>
                      </a:cubicBezTo>
                      <a:cubicBezTo>
                        <a:pt x="64" y="36"/>
                        <a:pt x="76" y="40"/>
                        <a:pt x="76" y="56"/>
                      </a:cubicBezTo>
                      <a:cubicBezTo>
                        <a:pt x="76" y="72"/>
                        <a:pt x="64" y="76"/>
                        <a:pt x="5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60" name="Freeform 11">
                  <a:extLst>
                    <a:ext uri="{FF2B5EF4-FFF2-40B4-BE49-F238E27FC236}">
                      <a16:creationId xmlns:a16="http://schemas.microsoft.com/office/drawing/2014/main" id="{ACA9B909-324C-41E9-8CD2-4A918A2C0101}"/>
                    </a:ext>
                  </a:extLst>
                </p:cNvPr>
                <p:cNvSpPr>
                  <a:spLocks/>
                </p:cNvSpPr>
                <p:nvPr/>
              </p:nvSpPr>
              <p:spPr bwMode="auto">
                <a:xfrm>
                  <a:off x="2465118" y="2594377"/>
                  <a:ext cx="102897" cy="170777"/>
                </a:xfrm>
                <a:custGeom>
                  <a:avLst/>
                  <a:gdLst>
                    <a:gd name="T0" fmla="*/ 89 w 108"/>
                    <a:gd name="T1" fmla="*/ 109 h 179"/>
                    <a:gd name="T2" fmla="*/ 108 w 108"/>
                    <a:gd name="T3" fmla="*/ 90 h 179"/>
                    <a:gd name="T4" fmla="*/ 89 w 108"/>
                    <a:gd name="T5" fmla="*/ 72 h 179"/>
                    <a:gd name="T6" fmla="*/ 37 w 108"/>
                    <a:gd name="T7" fmla="*/ 72 h 179"/>
                    <a:gd name="T8" fmla="*/ 37 w 108"/>
                    <a:gd name="T9" fmla="*/ 37 h 179"/>
                    <a:gd name="T10" fmla="*/ 89 w 108"/>
                    <a:gd name="T11" fmla="*/ 37 h 179"/>
                    <a:gd name="T12" fmla="*/ 108 w 108"/>
                    <a:gd name="T13" fmla="*/ 19 h 179"/>
                    <a:gd name="T14" fmla="*/ 89 w 108"/>
                    <a:gd name="T15" fmla="*/ 0 h 179"/>
                    <a:gd name="T16" fmla="*/ 18 w 108"/>
                    <a:gd name="T17" fmla="*/ 0 h 179"/>
                    <a:gd name="T18" fmla="*/ 0 w 108"/>
                    <a:gd name="T19" fmla="*/ 19 h 179"/>
                    <a:gd name="T20" fmla="*/ 0 w 108"/>
                    <a:gd name="T21" fmla="*/ 19 h 179"/>
                    <a:gd name="T22" fmla="*/ 0 w 108"/>
                    <a:gd name="T23" fmla="*/ 20 h 179"/>
                    <a:gd name="T24" fmla="*/ 0 w 108"/>
                    <a:gd name="T25" fmla="*/ 161 h 179"/>
                    <a:gd name="T26" fmla="*/ 0 w 108"/>
                    <a:gd name="T27" fmla="*/ 161 h 179"/>
                    <a:gd name="T28" fmla="*/ 0 w 108"/>
                    <a:gd name="T29" fmla="*/ 161 h 179"/>
                    <a:gd name="T30" fmla="*/ 18 w 108"/>
                    <a:gd name="T31" fmla="*/ 179 h 179"/>
                    <a:gd name="T32" fmla="*/ 18 w 108"/>
                    <a:gd name="T33" fmla="*/ 179 h 179"/>
                    <a:gd name="T34" fmla="*/ 89 w 108"/>
                    <a:gd name="T35" fmla="*/ 179 h 179"/>
                    <a:gd name="T36" fmla="*/ 108 w 108"/>
                    <a:gd name="T37" fmla="*/ 161 h 179"/>
                    <a:gd name="T38" fmla="*/ 89 w 108"/>
                    <a:gd name="T39" fmla="*/ 143 h 179"/>
                    <a:gd name="T40" fmla="*/ 89 w 108"/>
                    <a:gd name="T41" fmla="*/ 143 h 179"/>
                    <a:gd name="T42" fmla="*/ 37 w 108"/>
                    <a:gd name="T43" fmla="*/ 143 h 179"/>
                    <a:gd name="T44" fmla="*/ 37 w 108"/>
                    <a:gd name="T45" fmla="*/ 109 h 179"/>
                    <a:gd name="T46" fmla="*/ 89 w 108"/>
                    <a:gd name="T47" fmla="*/ 10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179">
                      <a:moveTo>
                        <a:pt x="89" y="109"/>
                      </a:moveTo>
                      <a:cubicBezTo>
                        <a:pt x="100" y="109"/>
                        <a:pt x="108" y="100"/>
                        <a:pt x="108" y="90"/>
                      </a:cubicBezTo>
                      <a:cubicBezTo>
                        <a:pt x="108" y="80"/>
                        <a:pt x="100" y="72"/>
                        <a:pt x="89" y="72"/>
                      </a:cubicBezTo>
                      <a:cubicBezTo>
                        <a:pt x="37" y="72"/>
                        <a:pt x="37" y="72"/>
                        <a:pt x="37" y="72"/>
                      </a:cubicBezTo>
                      <a:cubicBezTo>
                        <a:pt x="37" y="37"/>
                        <a:pt x="37" y="37"/>
                        <a:pt x="37" y="37"/>
                      </a:cubicBezTo>
                      <a:cubicBezTo>
                        <a:pt x="89" y="37"/>
                        <a:pt x="89" y="37"/>
                        <a:pt x="89" y="37"/>
                      </a:cubicBezTo>
                      <a:cubicBezTo>
                        <a:pt x="100" y="37"/>
                        <a:pt x="108" y="29"/>
                        <a:pt x="108" y="19"/>
                      </a:cubicBezTo>
                      <a:cubicBezTo>
                        <a:pt x="108" y="9"/>
                        <a:pt x="100" y="0"/>
                        <a:pt x="89" y="0"/>
                      </a:cubicBezTo>
                      <a:cubicBezTo>
                        <a:pt x="18" y="0"/>
                        <a:pt x="18" y="0"/>
                        <a:pt x="18" y="0"/>
                      </a:cubicBezTo>
                      <a:cubicBezTo>
                        <a:pt x="8" y="0"/>
                        <a:pt x="0" y="9"/>
                        <a:pt x="0" y="19"/>
                      </a:cubicBezTo>
                      <a:cubicBezTo>
                        <a:pt x="0" y="19"/>
                        <a:pt x="0" y="19"/>
                        <a:pt x="0" y="19"/>
                      </a:cubicBezTo>
                      <a:cubicBezTo>
                        <a:pt x="0" y="19"/>
                        <a:pt x="0" y="19"/>
                        <a:pt x="0" y="20"/>
                      </a:cubicBezTo>
                      <a:cubicBezTo>
                        <a:pt x="0" y="161"/>
                        <a:pt x="0" y="161"/>
                        <a:pt x="0" y="161"/>
                      </a:cubicBezTo>
                      <a:cubicBezTo>
                        <a:pt x="0" y="161"/>
                        <a:pt x="0" y="161"/>
                        <a:pt x="0" y="161"/>
                      </a:cubicBezTo>
                      <a:cubicBezTo>
                        <a:pt x="0" y="161"/>
                        <a:pt x="0" y="161"/>
                        <a:pt x="0" y="161"/>
                      </a:cubicBezTo>
                      <a:cubicBezTo>
                        <a:pt x="0" y="171"/>
                        <a:pt x="8" y="179"/>
                        <a:pt x="18" y="179"/>
                      </a:cubicBezTo>
                      <a:cubicBezTo>
                        <a:pt x="18" y="179"/>
                        <a:pt x="18" y="179"/>
                        <a:pt x="18" y="179"/>
                      </a:cubicBezTo>
                      <a:cubicBezTo>
                        <a:pt x="89" y="179"/>
                        <a:pt x="89" y="179"/>
                        <a:pt x="89" y="179"/>
                      </a:cubicBezTo>
                      <a:cubicBezTo>
                        <a:pt x="100" y="179"/>
                        <a:pt x="108" y="171"/>
                        <a:pt x="108" y="161"/>
                      </a:cubicBezTo>
                      <a:cubicBezTo>
                        <a:pt x="108" y="151"/>
                        <a:pt x="100" y="143"/>
                        <a:pt x="89" y="143"/>
                      </a:cubicBezTo>
                      <a:cubicBezTo>
                        <a:pt x="89" y="143"/>
                        <a:pt x="89" y="143"/>
                        <a:pt x="89" y="143"/>
                      </a:cubicBezTo>
                      <a:cubicBezTo>
                        <a:pt x="37" y="143"/>
                        <a:pt x="37" y="143"/>
                        <a:pt x="37" y="143"/>
                      </a:cubicBezTo>
                      <a:cubicBezTo>
                        <a:pt x="37" y="109"/>
                        <a:pt x="37" y="109"/>
                        <a:pt x="37" y="109"/>
                      </a:cubicBezTo>
                      <a:lnTo>
                        <a:pt x="89"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61" name="Freeform 12">
                  <a:extLst>
                    <a:ext uri="{FF2B5EF4-FFF2-40B4-BE49-F238E27FC236}">
                      <a16:creationId xmlns:a16="http://schemas.microsoft.com/office/drawing/2014/main" id="{B011CCFD-44F2-4698-89DB-17D7B4B59CB2}"/>
                    </a:ext>
                  </a:extLst>
                </p:cNvPr>
                <p:cNvSpPr>
                  <a:spLocks noEditPoints="1"/>
                </p:cNvSpPr>
                <p:nvPr/>
              </p:nvSpPr>
              <p:spPr bwMode="auto">
                <a:xfrm>
                  <a:off x="2324510" y="2593299"/>
                  <a:ext cx="116904" cy="171854"/>
                </a:xfrm>
                <a:custGeom>
                  <a:avLst/>
                  <a:gdLst>
                    <a:gd name="T0" fmla="*/ 86 w 123"/>
                    <a:gd name="T1" fmla="*/ 110 h 180"/>
                    <a:gd name="T2" fmla="*/ 122 w 123"/>
                    <a:gd name="T3" fmla="*/ 56 h 180"/>
                    <a:gd name="T4" fmla="*/ 69 w 123"/>
                    <a:gd name="T5" fmla="*/ 0 h 180"/>
                    <a:gd name="T6" fmla="*/ 18 w 123"/>
                    <a:gd name="T7" fmla="*/ 0 h 180"/>
                    <a:gd name="T8" fmla="*/ 0 w 123"/>
                    <a:gd name="T9" fmla="*/ 18 h 180"/>
                    <a:gd name="T10" fmla="*/ 0 w 123"/>
                    <a:gd name="T11" fmla="*/ 162 h 180"/>
                    <a:gd name="T12" fmla="*/ 18 w 123"/>
                    <a:gd name="T13" fmla="*/ 180 h 180"/>
                    <a:gd name="T14" fmla="*/ 37 w 123"/>
                    <a:gd name="T15" fmla="*/ 162 h 180"/>
                    <a:gd name="T16" fmla="*/ 37 w 123"/>
                    <a:gd name="T17" fmla="*/ 113 h 180"/>
                    <a:gd name="T18" fmla="*/ 42 w 123"/>
                    <a:gd name="T19" fmla="*/ 113 h 180"/>
                    <a:gd name="T20" fmla="*/ 88 w 123"/>
                    <a:gd name="T21" fmla="*/ 173 h 180"/>
                    <a:gd name="T22" fmla="*/ 102 w 123"/>
                    <a:gd name="T23" fmla="*/ 180 h 180"/>
                    <a:gd name="T24" fmla="*/ 113 w 123"/>
                    <a:gd name="T25" fmla="*/ 177 h 180"/>
                    <a:gd name="T26" fmla="*/ 117 w 123"/>
                    <a:gd name="T27" fmla="*/ 151 h 180"/>
                    <a:gd name="T28" fmla="*/ 86 w 123"/>
                    <a:gd name="T29" fmla="*/ 110 h 180"/>
                    <a:gd name="T30" fmla="*/ 85 w 123"/>
                    <a:gd name="T31" fmla="*/ 56 h 180"/>
                    <a:gd name="T32" fmla="*/ 69 w 123"/>
                    <a:gd name="T33" fmla="*/ 76 h 180"/>
                    <a:gd name="T34" fmla="*/ 37 w 123"/>
                    <a:gd name="T35" fmla="*/ 76 h 180"/>
                    <a:gd name="T36" fmla="*/ 37 w 123"/>
                    <a:gd name="T37" fmla="*/ 36 h 180"/>
                    <a:gd name="T38" fmla="*/ 69 w 123"/>
                    <a:gd name="T39" fmla="*/ 36 h 180"/>
                    <a:gd name="T40" fmla="*/ 85 w 123"/>
                    <a:gd name="T41" fmla="*/ 5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180">
                      <a:moveTo>
                        <a:pt x="86" y="110"/>
                      </a:moveTo>
                      <a:cubicBezTo>
                        <a:pt x="105" y="102"/>
                        <a:pt x="122" y="84"/>
                        <a:pt x="122" y="56"/>
                      </a:cubicBezTo>
                      <a:cubicBezTo>
                        <a:pt x="122" y="21"/>
                        <a:pt x="95" y="0"/>
                        <a:pt x="69" y="0"/>
                      </a:cubicBez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42" y="113"/>
                        <a:pt x="42" y="113"/>
                        <a:pt x="42" y="113"/>
                      </a:cubicBezTo>
                      <a:cubicBezTo>
                        <a:pt x="88" y="173"/>
                        <a:pt x="88" y="173"/>
                        <a:pt x="88" y="173"/>
                      </a:cubicBezTo>
                      <a:cubicBezTo>
                        <a:pt x="91" y="178"/>
                        <a:pt x="97" y="180"/>
                        <a:pt x="102" y="180"/>
                      </a:cubicBezTo>
                      <a:cubicBezTo>
                        <a:pt x="106" y="180"/>
                        <a:pt x="110" y="179"/>
                        <a:pt x="113" y="177"/>
                      </a:cubicBezTo>
                      <a:cubicBezTo>
                        <a:pt x="121" y="171"/>
                        <a:pt x="123" y="159"/>
                        <a:pt x="117" y="151"/>
                      </a:cubicBezTo>
                      <a:lnTo>
                        <a:pt x="86" y="110"/>
                      </a:lnTo>
                      <a:close/>
                      <a:moveTo>
                        <a:pt x="85" y="56"/>
                      </a:moveTo>
                      <a:cubicBezTo>
                        <a:pt x="85" y="72"/>
                        <a:pt x="73" y="76"/>
                        <a:pt x="69" y="76"/>
                      </a:cubicBezTo>
                      <a:cubicBezTo>
                        <a:pt x="37" y="76"/>
                        <a:pt x="37" y="76"/>
                        <a:pt x="37" y="76"/>
                      </a:cubicBezTo>
                      <a:cubicBezTo>
                        <a:pt x="37" y="36"/>
                        <a:pt x="37" y="36"/>
                        <a:pt x="37" y="36"/>
                      </a:cubicBezTo>
                      <a:cubicBezTo>
                        <a:pt x="69" y="36"/>
                        <a:pt x="69" y="36"/>
                        <a:pt x="69" y="36"/>
                      </a:cubicBezTo>
                      <a:cubicBezTo>
                        <a:pt x="73" y="36"/>
                        <a:pt x="85" y="40"/>
                        <a:pt x="8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62" name="Freeform 13">
                  <a:extLst>
                    <a:ext uri="{FF2B5EF4-FFF2-40B4-BE49-F238E27FC236}">
                      <a16:creationId xmlns:a16="http://schemas.microsoft.com/office/drawing/2014/main" id="{B05B6ED7-F8EA-4E35-8370-A33C9F69E84B}"/>
                    </a:ext>
                  </a:extLst>
                </p:cNvPr>
                <p:cNvSpPr>
                  <a:spLocks/>
                </p:cNvSpPr>
                <p:nvPr/>
              </p:nvSpPr>
              <p:spPr bwMode="auto">
                <a:xfrm>
                  <a:off x="2071308" y="2663334"/>
                  <a:ext cx="116904" cy="33940"/>
                </a:xfrm>
                <a:custGeom>
                  <a:avLst/>
                  <a:gdLst>
                    <a:gd name="T0" fmla="*/ 0 w 123"/>
                    <a:gd name="T1" fmla="*/ 18 h 36"/>
                    <a:gd name="T2" fmla="*/ 18 w 123"/>
                    <a:gd name="T3" fmla="*/ 0 h 36"/>
                    <a:gd name="T4" fmla="*/ 104 w 123"/>
                    <a:gd name="T5" fmla="*/ 0 h 36"/>
                    <a:gd name="T6" fmla="*/ 123 w 123"/>
                    <a:gd name="T7" fmla="*/ 18 h 36"/>
                    <a:gd name="T8" fmla="*/ 104 w 123"/>
                    <a:gd name="T9" fmla="*/ 36 h 36"/>
                    <a:gd name="T10" fmla="*/ 18 w 123"/>
                    <a:gd name="T11" fmla="*/ 36 h 36"/>
                    <a:gd name="T12" fmla="*/ 0 w 123"/>
                    <a:gd name="T13" fmla="*/ 18 h 36"/>
                  </a:gdLst>
                  <a:ahLst/>
                  <a:cxnLst>
                    <a:cxn ang="0">
                      <a:pos x="T0" y="T1"/>
                    </a:cxn>
                    <a:cxn ang="0">
                      <a:pos x="T2" y="T3"/>
                    </a:cxn>
                    <a:cxn ang="0">
                      <a:pos x="T4" y="T5"/>
                    </a:cxn>
                    <a:cxn ang="0">
                      <a:pos x="T6" y="T7"/>
                    </a:cxn>
                    <a:cxn ang="0">
                      <a:pos x="T8" y="T9"/>
                    </a:cxn>
                    <a:cxn ang="0">
                      <a:pos x="T10" y="T11"/>
                    </a:cxn>
                    <a:cxn ang="0">
                      <a:pos x="T12" y="T13"/>
                    </a:cxn>
                  </a:cxnLst>
                  <a:rect l="0" t="0" r="r" b="b"/>
                  <a:pathLst>
                    <a:path w="123" h="36">
                      <a:moveTo>
                        <a:pt x="0" y="18"/>
                      </a:moveTo>
                      <a:cubicBezTo>
                        <a:pt x="0" y="8"/>
                        <a:pt x="8" y="0"/>
                        <a:pt x="18" y="0"/>
                      </a:cubicBezTo>
                      <a:cubicBezTo>
                        <a:pt x="104" y="0"/>
                        <a:pt x="104" y="0"/>
                        <a:pt x="104" y="0"/>
                      </a:cubicBezTo>
                      <a:cubicBezTo>
                        <a:pt x="115" y="0"/>
                        <a:pt x="123" y="8"/>
                        <a:pt x="123" y="18"/>
                      </a:cubicBezTo>
                      <a:cubicBezTo>
                        <a:pt x="123" y="28"/>
                        <a:pt x="115" y="36"/>
                        <a:pt x="104" y="36"/>
                      </a:cubicBezTo>
                      <a:cubicBezTo>
                        <a:pt x="18" y="36"/>
                        <a:pt x="18" y="36"/>
                        <a:pt x="18" y="36"/>
                      </a:cubicBezTo>
                      <a:cubicBezTo>
                        <a:pt x="8" y="36"/>
                        <a:pt x="0" y="28"/>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63" name="Freeform 14">
                  <a:extLst>
                    <a:ext uri="{FF2B5EF4-FFF2-40B4-BE49-F238E27FC236}">
                      <a16:creationId xmlns:a16="http://schemas.microsoft.com/office/drawing/2014/main" id="{B575F721-7990-4159-83AC-6BE8A67418E7}"/>
                    </a:ext>
                  </a:extLst>
                </p:cNvPr>
                <p:cNvSpPr>
                  <a:spLocks/>
                </p:cNvSpPr>
                <p:nvPr/>
              </p:nvSpPr>
              <p:spPr bwMode="auto">
                <a:xfrm>
                  <a:off x="2582022" y="2591683"/>
                  <a:ext cx="164851" cy="175086"/>
                </a:xfrm>
                <a:custGeom>
                  <a:avLst/>
                  <a:gdLst>
                    <a:gd name="T0" fmla="*/ 153 w 173"/>
                    <a:gd name="T1" fmla="*/ 182 h 184"/>
                    <a:gd name="T2" fmla="*/ 135 w 173"/>
                    <a:gd name="T3" fmla="*/ 167 h 184"/>
                    <a:gd name="T4" fmla="*/ 124 w 173"/>
                    <a:gd name="T5" fmla="*/ 101 h 184"/>
                    <a:gd name="T6" fmla="*/ 104 w 173"/>
                    <a:gd name="T7" fmla="*/ 169 h 184"/>
                    <a:gd name="T8" fmla="*/ 87 w 173"/>
                    <a:gd name="T9" fmla="*/ 182 h 184"/>
                    <a:gd name="T10" fmla="*/ 69 w 173"/>
                    <a:gd name="T11" fmla="*/ 169 h 184"/>
                    <a:gd name="T12" fmla="*/ 49 w 173"/>
                    <a:gd name="T13" fmla="*/ 101 h 184"/>
                    <a:gd name="T14" fmla="*/ 38 w 173"/>
                    <a:gd name="T15" fmla="*/ 167 h 184"/>
                    <a:gd name="T16" fmla="*/ 17 w 173"/>
                    <a:gd name="T17" fmla="*/ 182 h 184"/>
                    <a:gd name="T18" fmla="*/ 2 w 173"/>
                    <a:gd name="T19" fmla="*/ 161 h 184"/>
                    <a:gd name="T20" fmla="*/ 26 w 173"/>
                    <a:gd name="T21" fmla="*/ 16 h 184"/>
                    <a:gd name="T22" fmla="*/ 43 w 173"/>
                    <a:gd name="T23" fmla="*/ 0 h 184"/>
                    <a:gd name="T24" fmla="*/ 62 w 173"/>
                    <a:gd name="T25" fmla="*/ 14 h 184"/>
                    <a:gd name="T26" fmla="*/ 87 w 173"/>
                    <a:gd name="T27" fmla="*/ 98 h 184"/>
                    <a:gd name="T28" fmla="*/ 111 w 173"/>
                    <a:gd name="T29" fmla="*/ 14 h 184"/>
                    <a:gd name="T30" fmla="*/ 130 w 173"/>
                    <a:gd name="T31" fmla="*/ 0 h 184"/>
                    <a:gd name="T32" fmla="*/ 147 w 173"/>
                    <a:gd name="T33" fmla="*/ 16 h 184"/>
                    <a:gd name="T34" fmla="*/ 171 w 173"/>
                    <a:gd name="T35" fmla="*/ 161 h 184"/>
                    <a:gd name="T36" fmla="*/ 156 w 173"/>
                    <a:gd name="T37" fmla="*/ 182 h 184"/>
                    <a:gd name="T38" fmla="*/ 153 w 173"/>
                    <a:gd name="T39" fmla="*/ 1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3" h="184">
                      <a:moveTo>
                        <a:pt x="153" y="182"/>
                      </a:moveTo>
                      <a:cubicBezTo>
                        <a:pt x="144" y="182"/>
                        <a:pt x="137" y="176"/>
                        <a:pt x="135" y="167"/>
                      </a:cubicBezTo>
                      <a:cubicBezTo>
                        <a:pt x="124" y="101"/>
                        <a:pt x="124" y="101"/>
                        <a:pt x="124" y="101"/>
                      </a:cubicBezTo>
                      <a:cubicBezTo>
                        <a:pt x="104" y="169"/>
                        <a:pt x="104" y="169"/>
                        <a:pt x="104" y="169"/>
                      </a:cubicBezTo>
                      <a:cubicBezTo>
                        <a:pt x="102" y="177"/>
                        <a:pt x="95" y="182"/>
                        <a:pt x="87" y="182"/>
                      </a:cubicBezTo>
                      <a:cubicBezTo>
                        <a:pt x="78" y="182"/>
                        <a:pt x="71" y="177"/>
                        <a:pt x="69" y="169"/>
                      </a:cubicBezTo>
                      <a:cubicBezTo>
                        <a:pt x="49" y="101"/>
                        <a:pt x="49" y="101"/>
                        <a:pt x="49" y="101"/>
                      </a:cubicBezTo>
                      <a:cubicBezTo>
                        <a:pt x="38" y="167"/>
                        <a:pt x="38" y="167"/>
                        <a:pt x="38" y="167"/>
                      </a:cubicBezTo>
                      <a:cubicBezTo>
                        <a:pt x="36" y="177"/>
                        <a:pt x="27" y="184"/>
                        <a:pt x="17" y="182"/>
                      </a:cubicBezTo>
                      <a:cubicBezTo>
                        <a:pt x="7" y="181"/>
                        <a:pt x="0" y="171"/>
                        <a:pt x="2" y="161"/>
                      </a:cubicBezTo>
                      <a:cubicBezTo>
                        <a:pt x="26" y="16"/>
                        <a:pt x="26" y="16"/>
                        <a:pt x="26" y="16"/>
                      </a:cubicBezTo>
                      <a:cubicBezTo>
                        <a:pt x="28" y="7"/>
                        <a:pt x="35" y="1"/>
                        <a:pt x="43" y="0"/>
                      </a:cubicBezTo>
                      <a:cubicBezTo>
                        <a:pt x="52" y="0"/>
                        <a:pt x="60" y="5"/>
                        <a:pt x="62" y="14"/>
                      </a:cubicBezTo>
                      <a:cubicBezTo>
                        <a:pt x="87" y="98"/>
                        <a:pt x="87" y="98"/>
                        <a:pt x="87" y="98"/>
                      </a:cubicBezTo>
                      <a:cubicBezTo>
                        <a:pt x="111" y="14"/>
                        <a:pt x="111" y="14"/>
                        <a:pt x="111" y="14"/>
                      </a:cubicBezTo>
                      <a:cubicBezTo>
                        <a:pt x="114" y="5"/>
                        <a:pt x="121" y="0"/>
                        <a:pt x="130" y="0"/>
                      </a:cubicBezTo>
                      <a:cubicBezTo>
                        <a:pt x="139" y="1"/>
                        <a:pt x="146" y="7"/>
                        <a:pt x="147" y="16"/>
                      </a:cubicBezTo>
                      <a:cubicBezTo>
                        <a:pt x="171" y="161"/>
                        <a:pt x="171" y="161"/>
                        <a:pt x="171" y="161"/>
                      </a:cubicBezTo>
                      <a:cubicBezTo>
                        <a:pt x="173" y="171"/>
                        <a:pt x="166" y="181"/>
                        <a:pt x="156" y="182"/>
                      </a:cubicBezTo>
                      <a:cubicBezTo>
                        <a:pt x="155" y="182"/>
                        <a:pt x="154" y="182"/>
                        <a:pt x="153"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grpSp>
        </p:grpSp>
        <p:grpSp>
          <p:nvGrpSpPr>
            <p:cNvPr id="564" name="Group 563">
              <a:extLst>
                <a:ext uri="{FF2B5EF4-FFF2-40B4-BE49-F238E27FC236}">
                  <a16:creationId xmlns:a16="http://schemas.microsoft.com/office/drawing/2014/main" id="{0FE9EB84-7901-496E-92BF-AACCFD2D1389}"/>
                </a:ext>
              </a:extLst>
            </p:cNvPr>
            <p:cNvGrpSpPr/>
            <p:nvPr/>
          </p:nvGrpSpPr>
          <p:grpSpPr>
            <a:xfrm>
              <a:off x="4245138" y="1020736"/>
              <a:ext cx="254553" cy="254552"/>
              <a:chOff x="-1843206" y="2752009"/>
              <a:chExt cx="1371600" cy="1371600"/>
            </a:xfrm>
          </p:grpSpPr>
          <p:sp>
            <p:nvSpPr>
              <p:cNvPr id="565" name="Freeform: Shape 564">
                <a:extLst>
                  <a:ext uri="{FF2B5EF4-FFF2-40B4-BE49-F238E27FC236}">
                    <a16:creationId xmlns:a16="http://schemas.microsoft.com/office/drawing/2014/main" id="{C29F730D-97DA-4AAA-A62C-DE092C7F9D4D}"/>
                  </a:ext>
                </a:extLst>
              </p:cNvPr>
              <p:cNvSpPr/>
              <p:nvPr/>
            </p:nvSpPr>
            <p:spPr>
              <a:xfrm>
                <a:off x="-1843206" y="2752009"/>
                <a:ext cx="1371600" cy="1371600"/>
              </a:xfrm>
              <a:custGeom>
                <a:avLst/>
                <a:gdLst>
                  <a:gd name="connsiteX0" fmla="*/ 3436144 w 3438525"/>
                  <a:gd name="connsiteY0" fmla="*/ 1721644 h 3438525"/>
                  <a:gd name="connsiteX1" fmla="*/ 3362801 w 3438525"/>
                  <a:gd name="connsiteY1" fmla="*/ 2217896 h 3438525"/>
                  <a:gd name="connsiteX2" fmla="*/ 3007519 w 3438525"/>
                  <a:gd name="connsiteY2" fmla="*/ 2855119 h 3438525"/>
                  <a:gd name="connsiteX3" fmla="*/ 1930241 w 3438525"/>
                  <a:gd name="connsiteY3" fmla="*/ 3423761 h 3438525"/>
                  <a:gd name="connsiteX4" fmla="*/ 1721644 w 3438525"/>
                  <a:gd name="connsiteY4" fmla="*/ 3436144 h 3438525"/>
                  <a:gd name="connsiteX5" fmla="*/ 1466374 w 3438525"/>
                  <a:gd name="connsiteY5" fmla="*/ 3417094 h 3438525"/>
                  <a:gd name="connsiteX6" fmla="*/ 1312069 w 3438525"/>
                  <a:gd name="connsiteY6" fmla="*/ 3386614 h 3438525"/>
                  <a:gd name="connsiteX7" fmla="*/ 388144 w 3438525"/>
                  <a:gd name="connsiteY7" fmla="*/ 2799874 h 3438525"/>
                  <a:gd name="connsiteX8" fmla="*/ 7144 w 3438525"/>
                  <a:gd name="connsiteY8" fmla="*/ 1721644 h 3438525"/>
                  <a:gd name="connsiteX9" fmla="*/ 1721644 w 3438525"/>
                  <a:gd name="connsiteY9" fmla="*/ 7144 h 3438525"/>
                  <a:gd name="connsiteX10" fmla="*/ 3414236 w 3438525"/>
                  <a:gd name="connsiteY10" fmla="*/ 1449229 h 3438525"/>
                  <a:gd name="connsiteX11" fmla="*/ 3436144 w 3438525"/>
                  <a:gd name="connsiteY11" fmla="*/ 1721644 h 343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8525" h="3438525">
                    <a:moveTo>
                      <a:pt x="3436144" y="1721644"/>
                    </a:moveTo>
                    <a:cubicBezTo>
                      <a:pt x="3436144" y="1894046"/>
                      <a:pt x="3410426" y="2060734"/>
                      <a:pt x="3362801" y="2217896"/>
                    </a:cubicBezTo>
                    <a:cubicBezTo>
                      <a:pt x="3291364" y="2456021"/>
                      <a:pt x="3168491" y="2673191"/>
                      <a:pt x="3007519" y="2855119"/>
                    </a:cubicBezTo>
                    <a:cubicBezTo>
                      <a:pt x="2737009" y="3162776"/>
                      <a:pt x="2357914" y="3371374"/>
                      <a:pt x="1930241" y="3423761"/>
                    </a:cubicBezTo>
                    <a:cubicBezTo>
                      <a:pt x="1861661" y="3432334"/>
                      <a:pt x="1792129" y="3436144"/>
                      <a:pt x="1721644" y="3436144"/>
                    </a:cubicBezTo>
                    <a:cubicBezTo>
                      <a:pt x="1634966" y="3436144"/>
                      <a:pt x="1549241" y="3429476"/>
                      <a:pt x="1466374" y="3417094"/>
                    </a:cubicBezTo>
                    <a:cubicBezTo>
                      <a:pt x="1413986" y="3409474"/>
                      <a:pt x="1362551" y="3398996"/>
                      <a:pt x="1312069" y="3386614"/>
                    </a:cubicBezTo>
                    <a:cubicBezTo>
                      <a:pt x="942499" y="3296126"/>
                      <a:pt x="620554" y="3085624"/>
                      <a:pt x="388144" y="2799874"/>
                    </a:cubicBezTo>
                    <a:cubicBezTo>
                      <a:pt x="150019" y="2505551"/>
                      <a:pt x="7144" y="2130266"/>
                      <a:pt x="7144" y="1721644"/>
                    </a:cubicBezTo>
                    <a:cubicBezTo>
                      <a:pt x="7144" y="774859"/>
                      <a:pt x="774859" y="7144"/>
                      <a:pt x="1721644" y="7144"/>
                    </a:cubicBezTo>
                    <a:cubicBezTo>
                      <a:pt x="2576036" y="7144"/>
                      <a:pt x="3283744" y="631984"/>
                      <a:pt x="3414236" y="1449229"/>
                    </a:cubicBezTo>
                    <a:cubicBezTo>
                      <a:pt x="3428524" y="1537811"/>
                      <a:pt x="3436144" y="1629251"/>
                      <a:pt x="3436144" y="1721644"/>
                    </a:cubicBezTo>
                    <a:close/>
                  </a:path>
                </a:pathLst>
              </a:custGeom>
              <a:solidFill>
                <a:srgbClr val="00BCEB"/>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grpSp>
            <p:nvGrpSpPr>
              <p:cNvPr id="566" name="Group 565">
                <a:extLst>
                  <a:ext uri="{FF2B5EF4-FFF2-40B4-BE49-F238E27FC236}">
                    <a16:creationId xmlns:a16="http://schemas.microsoft.com/office/drawing/2014/main" id="{FD30C74F-A356-4FFE-B03D-E211606AFC28}"/>
                  </a:ext>
                </a:extLst>
              </p:cNvPr>
              <p:cNvGrpSpPr/>
              <p:nvPr/>
            </p:nvGrpSpPr>
            <p:grpSpPr>
              <a:xfrm>
                <a:off x="-1669193" y="3248977"/>
                <a:ext cx="1151849" cy="874632"/>
                <a:chOff x="-1691228" y="3143352"/>
                <a:chExt cx="1206038" cy="980257"/>
              </a:xfrm>
            </p:grpSpPr>
            <p:sp>
              <p:nvSpPr>
                <p:cNvPr id="573" name="Freeform: Shape 572">
                  <a:extLst>
                    <a:ext uri="{FF2B5EF4-FFF2-40B4-BE49-F238E27FC236}">
                      <a16:creationId xmlns:a16="http://schemas.microsoft.com/office/drawing/2014/main" id="{7115ECA0-8804-4F32-81D9-75661297CAEA}"/>
                    </a:ext>
                  </a:extLst>
                </p:cNvPr>
                <p:cNvSpPr/>
                <p:nvPr/>
              </p:nvSpPr>
              <p:spPr>
                <a:xfrm>
                  <a:off x="-1688378" y="3161400"/>
                  <a:ext cx="1203188" cy="961260"/>
                </a:xfrm>
                <a:custGeom>
                  <a:avLst/>
                  <a:gdLst>
                    <a:gd name="connsiteX0" fmla="*/ 2981801 w 2981325"/>
                    <a:gd name="connsiteY0" fmla="*/ 1198721 h 2419350"/>
                    <a:gd name="connsiteX1" fmla="*/ 2626519 w 2981325"/>
                    <a:gd name="connsiteY1" fmla="*/ 1835944 h 2419350"/>
                    <a:gd name="connsiteX2" fmla="*/ 1549241 w 2981325"/>
                    <a:gd name="connsiteY2" fmla="*/ 2404586 h 2419350"/>
                    <a:gd name="connsiteX3" fmla="*/ 1340644 w 2981325"/>
                    <a:gd name="connsiteY3" fmla="*/ 2416969 h 2419350"/>
                    <a:gd name="connsiteX4" fmla="*/ 1085374 w 2981325"/>
                    <a:gd name="connsiteY4" fmla="*/ 2397919 h 2419350"/>
                    <a:gd name="connsiteX5" fmla="*/ 931069 w 2981325"/>
                    <a:gd name="connsiteY5" fmla="*/ 2367439 h 2419350"/>
                    <a:gd name="connsiteX6" fmla="*/ 7144 w 2981325"/>
                    <a:gd name="connsiteY6" fmla="*/ 1780699 h 2419350"/>
                    <a:gd name="connsiteX7" fmla="*/ 7144 w 2981325"/>
                    <a:gd name="connsiteY7" fmla="*/ 1640681 h 2419350"/>
                    <a:gd name="connsiteX8" fmla="*/ 1512094 w 2981325"/>
                    <a:gd name="connsiteY8" fmla="*/ 7144 h 2419350"/>
                    <a:gd name="connsiteX9" fmla="*/ 2356961 w 2981325"/>
                    <a:gd name="connsiteY9" fmla="*/ 852011 h 2419350"/>
                    <a:gd name="connsiteX10" fmla="*/ 2574131 w 2981325"/>
                    <a:gd name="connsiteY10" fmla="*/ 791051 h 2419350"/>
                    <a:gd name="connsiteX11" fmla="*/ 2981801 w 2981325"/>
                    <a:gd name="connsiteY11" fmla="*/ 1198721 h 2419350"/>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6325" h="2409825">
                      <a:moveTo>
                        <a:pt x="3016325" y="1191575"/>
                      </a:moveTo>
                      <a:cubicBezTo>
                        <a:pt x="2907384" y="1416317"/>
                        <a:pt x="2823409" y="1605519"/>
                        <a:pt x="2619374" y="1828799"/>
                      </a:cubicBezTo>
                      <a:cubicBezTo>
                        <a:pt x="2405242" y="2063129"/>
                        <a:pt x="1969769" y="2345054"/>
                        <a:pt x="1542096" y="2397441"/>
                      </a:cubicBezTo>
                      <a:cubicBezTo>
                        <a:pt x="1473516" y="2406014"/>
                        <a:pt x="1403984" y="2409824"/>
                        <a:pt x="1333499" y="2409824"/>
                      </a:cubicBezTo>
                      <a:cubicBezTo>
                        <a:pt x="1246821" y="2409824"/>
                        <a:pt x="1161096" y="2403156"/>
                        <a:pt x="1078229" y="2390774"/>
                      </a:cubicBezTo>
                      <a:cubicBezTo>
                        <a:pt x="1025841" y="2383154"/>
                        <a:pt x="974406" y="2372676"/>
                        <a:pt x="923924" y="2360294"/>
                      </a:cubicBezTo>
                      <a:cubicBezTo>
                        <a:pt x="554354" y="2269806"/>
                        <a:pt x="232409" y="2059304"/>
                        <a:pt x="-1" y="1773554"/>
                      </a:cubicBezTo>
                      <a:lnTo>
                        <a:pt x="-1" y="1633536"/>
                      </a:lnTo>
                      <a:lnTo>
                        <a:pt x="1504949" y="-1"/>
                      </a:lnTo>
                      <a:lnTo>
                        <a:pt x="2349816" y="844866"/>
                      </a:lnTo>
                      <a:lnTo>
                        <a:pt x="2566986" y="783906"/>
                      </a:lnTo>
                      <a:cubicBezTo>
                        <a:pt x="2702876" y="919796"/>
                        <a:pt x="2880435" y="1055685"/>
                        <a:pt x="3016325" y="1191575"/>
                      </a:cubicBezTo>
                      <a:close/>
                    </a:path>
                  </a:pathLst>
                </a:custGeom>
                <a:solidFill>
                  <a:srgbClr val="00A3E0"/>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74" name="Freeform: Shape 573">
                  <a:extLst>
                    <a:ext uri="{FF2B5EF4-FFF2-40B4-BE49-F238E27FC236}">
                      <a16:creationId xmlns:a16="http://schemas.microsoft.com/office/drawing/2014/main" id="{ED1527AE-BB1E-47B9-9CA7-D86B9C4AAF08}"/>
                    </a:ext>
                  </a:extLst>
                </p:cNvPr>
                <p:cNvSpPr/>
                <p:nvPr/>
              </p:nvSpPr>
              <p:spPr>
                <a:xfrm>
                  <a:off x="-1691228" y="3143352"/>
                  <a:ext cx="619310" cy="980257"/>
                </a:xfrm>
                <a:custGeom>
                  <a:avLst/>
                  <a:gdLst>
                    <a:gd name="connsiteX0" fmla="*/ 1549241 w 1552575"/>
                    <a:gd name="connsiteY0" fmla="*/ 135731 h 2457450"/>
                    <a:gd name="connsiteX1" fmla="*/ 1549241 w 1552575"/>
                    <a:gd name="connsiteY1" fmla="*/ 2442686 h 2457450"/>
                    <a:gd name="connsiteX2" fmla="*/ 1340644 w 1552575"/>
                    <a:gd name="connsiteY2" fmla="*/ 2455069 h 2457450"/>
                    <a:gd name="connsiteX3" fmla="*/ 1085374 w 1552575"/>
                    <a:gd name="connsiteY3" fmla="*/ 2436019 h 2457450"/>
                    <a:gd name="connsiteX4" fmla="*/ 931069 w 1552575"/>
                    <a:gd name="connsiteY4" fmla="*/ 2405539 h 2457450"/>
                    <a:gd name="connsiteX5" fmla="*/ 7144 w 1552575"/>
                    <a:gd name="connsiteY5" fmla="*/ 1818799 h 2457450"/>
                    <a:gd name="connsiteX6" fmla="*/ 7144 w 1552575"/>
                    <a:gd name="connsiteY6" fmla="*/ 135731 h 2457450"/>
                    <a:gd name="connsiteX7" fmla="*/ 135731 w 1552575"/>
                    <a:gd name="connsiteY7" fmla="*/ 7144 h 2457450"/>
                    <a:gd name="connsiteX8" fmla="*/ 1420654 w 1552575"/>
                    <a:gd name="connsiteY8" fmla="*/ 7144 h 2457450"/>
                    <a:gd name="connsiteX9" fmla="*/ 1549241 w 1552575"/>
                    <a:gd name="connsiteY9" fmla="*/ 135731 h 24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2575" h="2457450">
                      <a:moveTo>
                        <a:pt x="1549241" y="135731"/>
                      </a:moveTo>
                      <a:lnTo>
                        <a:pt x="1549241" y="2442686"/>
                      </a:lnTo>
                      <a:cubicBezTo>
                        <a:pt x="1480661" y="2451259"/>
                        <a:pt x="1411129" y="2455069"/>
                        <a:pt x="1340644" y="2455069"/>
                      </a:cubicBezTo>
                      <a:cubicBezTo>
                        <a:pt x="1253966" y="2455069"/>
                        <a:pt x="1168241" y="2448401"/>
                        <a:pt x="1085374" y="2436019"/>
                      </a:cubicBezTo>
                      <a:cubicBezTo>
                        <a:pt x="1032986" y="2428399"/>
                        <a:pt x="981551" y="2417921"/>
                        <a:pt x="931069" y="2405539"/>
                      </a:cubicBezTo>
                      <a:cubicBezTo>
                        <a:pt x="561499" y="2315051"/>
                        <a:pt x="239554" y="2104549"/>
                        <a:pt x="7144" y="1818799"/>
                      </a:cubicBezTo>
                      <a:lnTo>
                        <a:pt x="7144" y="135731"/>
                      </a:lnTo>
                      <a:cubicBezTo>
                        <a:pt x="7144" y="64294"/>
                        <a:pt x="64294" y="7144"/>
                        <a:pt x="135731" y="7144"/>
                      </a:cubicBezTo>
                      <a:lnTo>
                        <a:pt x="1420654" y="7144"/>
                      </a:lnTo>
                      <a:cubicBezTo>
                        <a:pt x="1492091" y="7144"/>
                        <a:pt x="1549241" y="64294"/>
                        <a:pt x="1549241" y="135731"/>
                      </a:cubicBezTo>
                      <a:close/>
                    </a:path>
                  </a:pathLst>
                </a:custGeom>
                <a:solidFill>
                  <a:srgbClr val="FFFFFF"/>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75" name="Freeform: Shape 574">
                  <a:extLst>
                    <a:ext uri="{FF2B5EF4-FFF2-40B4-BE49-F238E27FC236}">
                      <a16:creationId xmlns:a16="http://schemas.microsoft.com/office/drawing/2014/main" id="{475CB3EA-4DDC-4068-BA8F-116AF3A80D01}"/>
                    </a:ext>
                  </a:extLst>
                </p:cNvPr>
                <p:cNvSpPr/>
                <p:nvPr/>
              </p:nvSpPr>
              <p:spPr>
                <a:xfrm>
                  <a:off x="-1260751" y="3457566"/>
                  <a:ext cx="619310" cy="664903"/>
                </a:xfrm>
                <a:custGeom>
                  <a:avLst/>
                  <a:gdLst>
                    <a:gd name="connsiteX0" fmla="*/ 1548289 w 1552575"/>
                    <a:gd name="connsiteY0" fmla="*/ 154781 h 1666875"/>
                    <a:gd name="connsiteX1" fmla="*/ 1548289 w 1552575"/>
                    <a:gd name="connsiteY1" fmla="*/ 1086326 h 1666875"/>
                    <a:gd name="connsiteX2" fmla="*/ 471011 w 1552575"/>
                    <a:gd name="connsiteY2" fmla="*/ 1654969 h 1666875"/>
                    <a:gd name="connsiteX3" fmla="*/ 262414 w 1552575"/>
                    <a:gd name="connsiteY3" fmla="*/ 1667351 h 1666875"/>
                    <a:gd name="connsiteX4" fmla="*/ 7144 w 1552575"/>
                    <a:gd name="connsiteY4" fmla="*/ 1648301 h 1666875"/>
                    <a:gd name="connsiteX5" fmla="*/ 7144 w 1552575"/>
                    <a:gd name="connsiteY5" fmla="*/ 154781 h 1666875"/>
                    <a:gd name="connsiteX6" fmla="*/ 154781 w 1552575"/>
                    <a:gd name="connsiteY6" fmla="*/ 7144 h 1666875"/>
                    <a:gd name="connsiteX7" fmla="*/ 1401604 w 1552575"/>
                    <a:gd name="connsiteY7" fmla="*/ 7144 h 1666875"/>
                    <a:gd name="connsiteX8" fmla="*/ 1548289 w 1552575"/>
                    <a:gd name="connsiteY8" fmla="*/ 154781 h 166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2575" h="1666875">
                      <a:moveTo>
                        <a:pt x="1548289" y="154781"/>
                      </a:moveTo>
                      <a:lnTo>
                        <a:pt x="1548289" y="1086326"/>
                      </a:lnTo>
                      <a:cubicBezTo>
                        <a:pt x="1277779" y="1393984"/>
                        <a:pt x="898684" y="1602581"/>
                        <a:pt x="471011" y="1654969"/>
                      </a:cubicBezTo>
                      <a:cubicBezTo>
                        <a:pt x="402431" y="1663541"/>
                        <a:pt x="332899" y="1667351"/>
                        <a:pt x="262414" y="1667351"/>
                      </a:cubicBezTo>
                      <a:cubicBezTo>
                        <a:pt x="175736" y="1667351"/>
                        <a:pt x="90011" y="1660684"/>
                        <a:pt x="7144" y="1648301"/>
                      </a:cubicBezTo>
                      <a:lnTo>
                        <a:pt x="7144" y="154781"/>
                      </a:lnTo>
                      <a:cubicBezTo>
                        <a:pt x="7144" y="72866"/>
                        <a:pt x="72866" y="7144"/>
                        <a:pt x="154781" y="7144"/>
                      </a:cubicBezTo>
                      <a:lnTo>
                        <a:pt x="1401604" y="7144"/>
                      </a:lnTo>
                      <a:cubicBezTo>
                        <a:pt x="1481614" y="7144"/>
                        <a:pt x="1548289" y="72866"/>
                        <a:pt x="1548289" y="154781"/>
                      </a:cubicBezTo>
                      <a:close/>
                    </a:path>
                  </a:pathLst>
                </a:custGeom>
                <a:solidFill>
                  <a:srgbClr val="FFFFFF"/>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76" name="Freeform: Shape 575">
                  <a:extLst>
                    <a:ext uri="{FF2B5EF4-FFF2-40B4-BE49-F238E27FC236}">
                      <a16:creationId xmlns:a16="http://schemas.microsoft.com/office/drawing/2014/main" id="{68709D81-2F25-4879-9C76-C71979F25B46}"/>
                    </a:ext>
                  </a:extLst>
                </p:cNvPr>
                <p:cNvSpPr/>
                <p:nvPr/>
              </p:nvSpPr>
              <p:spPr>
                <a:xfrm>
                  <a:off x="-1593582"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77" name="Freeform: Shape 576">
                  <a:extLst>
                    <a:ext uri="{FF2B5EF4-FFF2-40B4-BE49-F238E27FC236}">
                      <a16:creationId xmlns:a16="http://schemas.microsoft.com/office/drawing/2014/main" id="{203C5977-65D3-425F-9537-23D6174D96A6}"/>
                    </a:ext>
                  </a:extLst>
                </p:cNvPr>
                <p:cNvSpPr/>
                <p:nvPr/>
              </p:nvSpPr>
              <p:spPr>
                <a:xfrm>
                  <a:off x="-1593582"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78" name="Freeform: Shape 577">
                  <a:extLst>
                    <a:ext uri="{FF2B5EF4-FFF2-40B4-BE49-F238E27FC236}">
                      <a16:creationId xmlns:a16="http://schemas.microsoft.com/office/drawing/2014/main" id="{B1CA6EAB-CDB5-4896-A407-2754FCEDE439}"/>
                    </a:ext>
                  </a:extLst>
                </p:cNvPr>
                <p:cNvSpPr/>
                <p:nvPr/>
              </p:nvSpPr>
              <p:spPr>
                <a:xfrm>
                  <a:off x="-1593582"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79" name="Freeform: Shape 578">
                  <a:extLst>
                    <a:ext uri="{FF2B5EF4-FFF2-40B4-BE49-F238E27FC236}">
                      <a16:creationId xmlns:a16="http://schemas.microsoft.com/office/drawing/2014/main" id="{C1B72116-8541-415B-8F5F-E48B5276DFF8}"/>
                    </a:ext>
                  </a:extLst>
                </p:cNvPr>
                <p:cNvSpPr/>
                <p:nvPr/>
              </p:nvSpPr>
              <p:spPr>
                <a:xfrm>
                  <a:off x="-1593582"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0" name="Freeform: Shape 579">
                  <a:extLst>
                    <a:ext uri="{FF2B5EF4-FFF2-40B4-BE49-F238E27FC236}">
                      <a16:creationId xmlns:a16="http://schemas.microsoft.com/office/drawing/2014/main" id="{CDE2AF43-E139-46DF-87C1-B89F17955D98}"/>
                    </a:ext>
                  </a:extLst>
                </p:cNvPr>
                <p:cNvSpPr/>
                <p:nvPr/>
              </p:nvSpPr>
              <p:spPr>
                <a:xfrm>
                  <a:off x="-1438945"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1" name="Freeform: Shape 580">
                  <a:extLst>
                    <a:ext uri="{FF2B5EF4-FFF2-40B4-BE49-F238E27FC236}">
                      <a16:creationId xmlns:a16="http://schemas.microsoft.com/office/drawing/2014/main" id="{0849D8A6-4D06-4EBF-92B7-D0577D79E92E}"/>
                    </a:ext>
                  </a:extLst>
                </p:cNvPr>
                <p:cNvSpPr/>
                <p:nvPr/>
              </p:nvSpPr>
              <p:spPr>
                <a:xfrm>
                  <a:off x="-1438945"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2" name="Freeform: Shape 581">
                  <a:extLst>
                    <a:ext uri="{FF2B5EF4-FFF2-40B4-BE49-F238E27FC236}">
                      <a16:creationId xmlns:a16="http://schemas.microsoft.com/office/drawing/2014/main" id="{FE25208E-DE46-4246-A116-EEE612A355E8}"/>
                    </a:ext>
                  </a:extLst>
                </p:cNvPr>
                <p:cNvSpPr/>
                <p:nvPr/>
              </p:nvSpPr>
              <p:spPr>
                <a:xfrm>
                  <a:off x="-1438945"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3" name="Freeform: Shape 582">
                  <a:extLst>
                    <a:ext uri="{FF2B5EF4-FFF2-40B4-BE49-F238E27FC236}">
                      <a16:creationId xmlns:a16="http://schemas.microsoft.com/office/drawing/2014/main" id="{0A4F01FF-7136-44CD-83C7-BE7A95C86E20}"/>
                    </a:ext>
                  </a:extLst>
                </p:cNvPr>
                <p:cNvSpPr/>
                <p:nvPr/>
              </p:nvSpPr>
              <p:spPr>
                <a:xfrm>
                  <a:off x="-1438945"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4" name="Freeform: Shape 583">
                  <a:extLst>
                    <a:ext uri="{FF2B5EF4-FFF2-40B4-BE49-F238E27FC236}">
                      <a16:creationId xmlns:a16="http://schemas.microsoft.com/office/drawing/2014/main" id="{944083A2-8D27-4DFE-986B-1FDCF3CDA027}"/>
                    </a:ext>
                  </a:extLst>
                </p:cNvPr>
                <p:cNvSpPr/>
                <p:nvPr/>
              </p:nvSpPr>
              <p:spPr>
                <a:xfrm>
                  <a:off x="-1284687"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5" name="Freeform: Shape 584">
                  <a:extLst>
                    <a:ext uri="{FF2B5EF4-FFF2-40B4-BE49-F238E27FC236}">
                      <a16:creationId xmlns:a16="http://schemas.microsoft.com/office/drawing/2014/main" id="{40A7FA49-4A0F-4018-AF3E-048355BB5304}"/>
                    </a:ext>
                  </a:extLst>
                </p:cNvPr>
                <p:cNvSpPr/>
                <p:nvPr/>
              </p:nvSpPr>
              <p:spPr>
                <a:xfrm>
                  <a:off x="-1284687"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6" name="Freeform: Shape 585">
                  <a:extLst>
                    <a:ext uri="{FF2B5EF4-FFF2-40B4-BE49-F238E27FC236}">
                      <a16:creationId xmlns:a16="http://schemas.microsoft.com/office/drawing/2014/main" id="{2E986BD9-AC2C-4F7A-9841-790CAB35E36B}"/>
                    </a:ext>
                  </a:extLst>
                </p:cNvPr>
                <p:cNvSpPr/>
                <p:nvPr/>
              </p:nvSpPr>
              <p:spPr>
                <a:xfrm>
                  <a:off x="-1284687"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7" name="Freeform: Shape 586">
                  <a:extLst>
                    <a:ext uri="{FF2B5EF4-FFF2-40B4-BE49-F238E27FC236}">
                      <a16:creationId xmlns:a16="http://schemas.microsoft.com/office/drawing/2014/main" id="{6C47C6AA-2F3A-4BB7-8336-8DBA7E7E6A4F}"/>
                    </a:ext>
                  </a:extLst>
                </p:cNvPr>
                <p:cNvSpPr/>
                <p:nvPr/>
              </p:nvSpPr>
              <p:spPr>
                <a:xfrm>
                  <a:off x="-1284687"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8" name="Freeform: Shape 587">
                  <a:extLst>
                    <a:ext uri="{FF2B5EF4-FFF2-40B4-BE49-F238E27FC236}">
                      <a16:creationId xmlns:a16="http://schemas.microsoft.com/office/drawing/2014/main" id="{8D7E6226-A4F7-4D87-8BEA-00D428574C3C}"/>
                    </a:ext>
                  </a:extLst>
                </p:cNvPr>
                <p:cNvSpPr/>
                <p:nvPr/>
              </p:nvSpPr>
              <p:spPr>
                <a:xfrm>
                  <a:off x="-1043043"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89" name="Freeform: Shape 588">
                  <a:extLst>
                    <a:ext uri="{FF2B5EF4-FFF2-40B4-BE49-F238E27FC236}">
                      <a16:creationId xmlns:a16="http://schemas.microsoft.com/office/drawing/2014/main" id="{2232F2B4-BC6E-4957-9226-F2CD98588024}"/>
                    </a:ext>
                  </a:extLst>
                </p:cNvPr>
                <p:cNvSpPr/>
                <p:nvPr/>
              </p:nvSpPr>
              <p:spPr>
                <a:xfrm>
                  <a:off x="-1043043"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0" name="Freeform: Shape 589">
                  <a:extLst>
                    <a:ext uri="{FF2B5EF4-FFF2-40B4-BE49-F238E27FC236}">
                      <a16:creationId xmlns:a16="http://schemas.microsoft.com/office/drawing/2014/main" id="{AA4C0FA0-590F-4C81-A77B-D21F712971D9}"/>
                    </a:ext>
                  </a:extLst>
                </p:cNvPr>
                <p:cNvSpPr/>
                <p:nvPr/>
              </p:nvSpPr>
              <p:spPr>
                <a:xfrm>
                  <a:off x="-1043043"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1" name="Freeform: Shape 590">
                  <a:extLst>
                    <a:ext uri="{FF2B5EF4-FFF2-40B4-BE49-F238E27FC236}">
                      <a16:creationId xmlns:a16="http://schemas.microsoft.com/office/drawing/2014/main" id="{653CB3B1-CD7C-408E-BB94-AD2320145997}"/>
                    </a:ext>
                  </a:extLst>
                </p:cNvPr>
                <p:cNvSpPr/>
                <p:nvPr/>
              </p:nvSpPr>
              <p:spPr>
                <a:xfrm>
                  <a:off x="-1043043"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2" name="Freeform: Shape 591">
                  <a:extLst>
                    <a:ext uri="{FF2B5EF4-FFF2-40B4-BE49-F238E27FC236}">
                      <a16:creationId xmlns:a16="http://schemas.microsoft.com/office/drawing/2014/main" id="{C2CD1BAF-A95D-4CA2-8D85-3DF368C1E734}"/>
                    </a:ext>
                  </a:extLst>
                </p:cNvPr>
                <p:cNvSpPr/>
                <p:nvPr/>
              </p:nvSpPr>
              <p:spPr>
                <a:xfrm>
                  <a:off x="-924500"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3" name="Freeform: Shape 592">
                  <a:extLst>
                    <a:ext uri="{FF2B5EF4-FFF2-40B4-BE49-F238E27FC236}">
                      <a16:creationId xmlns:a16="http://schemas.microsoft.com/office/drawing/2014/main" id="{C93B4103-FB3F-4CD3-965C-C8BBDC1B74E7}"/>
                    </a:ext>
                  </a:extLst>
                </p:cNvPr>
                <p:cNvSpPr/>
                <p:nvPr/>
              </p:nvSpPr>
              <p:spPr>
                <a:xfrm>
                  <a:off x="-924500"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4" name="Freeform: Shape 593">
                  <a:extLst>
                    <a:ext uri="{FF2B5EF4-FFF2-40B4-BE49-F238E27FC236}">
                      <a16:creationId xmlns:a16="http://schemas.microsoft.com/office/drawing/2014/main" id="{260C1AA6-8865-4CD8-A128-A90877C4B05A}"/>
                    </a:ext>
                  </a:extLst>
                </p:cNvPr>
                <p:cNvSpPr/>
                <p:nvPr/>
              </p:nvSpPr>
              <p:spPr>
                <a:xfrm>
                  <a:off x="-924500"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5" name="Freeform: Shape 594">
                  <a:extLst>
                    <a:ext uri="{FF2B5EF4-FFF2-40B4-BE49-F238E27FC236}">
                      <a16:creationId xmlns:a16="http://schemas.microsoft.com/office/drawing/2014/main" id="{6221AA5B-A297-4EB8-9089-DA614C0B0202}"/>
                    </a:ext>
                  </a:extLst>
                </p:cNvPr>
                <p:cNvSpPr/>
                <p:nvPr/>
              </p:nvSpPr>
              <p:spPr>
                <a:xfrm>
                  <a:off x="-924500"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6" name="Freeform: Shape 595">
                  <a:extLst>
                    <a:ext uri="{FF2B5EF4-FFF2-40B4-BE49-F238E27FC236}">
                      <a16:creationId xmlns:a16="http://schemas.microsoft.com/office/drawing/2014/main" id="{28F85311-1C36-4A59-B05B-40A26E13BBF1}"/>
                    </a:ext>
                  </a:extLst>
                </p:cNvPr>
                <p:cNvSpPr/>
                <p:nvPr/>
              </p:nvSpPr>
              <p:spPr>
                <a:xfrm>
                  <a:off x="-805957"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7" name="Freeform: Shape 596">
                  <a:extLst>
                    <a:ext uri="{FF2B5EF4-FFF2-40B4-BE49-F238E27FC236}">
                      <a16:creationId xmlns:a16="http://schemas.microsoft.com/office/drawing/2014/main" id="{9D8816DC-8D82-469A-B501-8F4D0C87D5CB}"/>
                    </a:ext>
                  </a:extLst>
                </p:cNvPr>
                <p:cNvSpPr/>
                <p:nvPr/>
              </p:nvSpPr>
              <p:spPr>
                <a:xfrm>
                  <a:off x="-805957"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8" name="Freeform: Shape 597">
                  <a:extLst>
                    <a:ext uri="{FF2B5EF4-FFF2-40B4-BE49-F238E27FC236}">
                      <a16:creationId xmlns:a16="http://schemas.microsoft.com/office/drawing/2014/main" id="{741DBB56-68ED-48B8-A384-F96B8DF8527A}"/>
                    </a:ext>
                  </a:extLst>
                </p:cNvPr>
                <p:cNvSpPr/>
                <p:nvPr/>
              </p:nvSpPr>
              <p:spPr>
                <a:xfrm>
                  <a:off x="-805957"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99" name="Freeform: Shape 598">
                  <a:extLst>
                    <a:ext uri="{FF2B5EF4-FFF2-40B4-BE49-F238E27FC236}">
                      <a16:creationId xmlns:a16="http://schemas.microsoft.com/office/drawing/2014/main" id="{8775CBCB-B1D3-445D-A9D8-DF06A048D886}"/>
                    </a:ext>
                  </a:extLst>
                </p:cNvPr>
                <p:cNvSpPr/>
                <p:nvPr/>
              </p:nvSpPr>
              <p:spPr>
                <a:xfrm>
                  <a:off x="-805957"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685749" fontAlgn="auto">
                    <a:spcBef>
                      <a:spcPts val="0"/>
                    </a:spcBef>
                    <a:spcAft>
                      <a:spcPts val="0"/>
                    </a:spcAft>
                    <a:defRPr/>
                  </a:pPr>
                  <a:endParaRPr lang="en-US">
                    <a:solidFill>
                      <a:srgbClr val="282828"/>
                    </a:solidFill>
                    <a:latin typeface="CiscoSansTT ExtraLight"/>
                    <a:cs typeface="+mn-cs"/>
                  </a:endParaRPr>
                </a:p>
              </p:txBody>
            </p:sp>
          </p:grpSp>
          <p:sp>
            <p:nvSpPr>
              <p:cNvPr id="567" name="Freeform 6">
                <a:extLst>
                  <a:ext uri="{FF2B5EF4-FFF2-40B4-BE49-F238E27FC236}">
                    <a16:creationId xmlns:a16="http://schemas.microsoft.com/office/drawing/2014/main" id="{50993E0D-010F-4B91-9C3E-B6B45C9651E2}"/>
                  </a:ext>
                </a:extLst>
              </p:cNvPr>
              <p:cNvSpPr>
                <a:spLocks/>
              </p:cNvSpPr>
              <p:nvPr/>
            </p:nvSpPr>
            <p:spPr bwMode="auto">
              <a:xfrm>
                <a:off x="-1155949" y="2955266"/>
                <a:ext cx="681541" cy="737705"/>
              </a:xfrm>
              <a:custGeom>
                <a:avLst/>
                <a:gdLst>
                  <a:gd name="T0" fmla="*/ 1245 w 1245"/>
                  <a:gd name="T1" fmla="*/ 496 h 1192"/>
                  <a:gd name="T2" fmla="*/ 1020 w 1245"/>
                  <a:gd name="T3" fmla="*/ 272 h 1192"/>
                  <a:gd name="T4" fmla="*/ 1018 w 1245"/>
                  <a:gd name="T5" fmla="*/ 271 h 1192"/>
                  <a:gd name="T6" fmla="*/ 23 w 1245"/>
                  <a:gd name="T7" fmla="*/ 276 h 1192"/>
                  <a:gd name="T8" fmla="*/ 23 w 1245"/>
                  <a:gd name="T9" fmla="*/ 361 h 1192"/>
                  <a:gd name="T10" fmla="*/ 26 w 1245"/>
                  <a:gd name="T11" fmla="*/ 363 h 1192"/>
                  <a:gd name="T12" fmla="*/ 26 w 1245"/>
                  <a:gd name="T13" fmla="*/ 363 h 1192"/>
                  <a:gd name="T14" fmla="*/ 149 w 1245"/>
                  <a:gd name="T15" fmla="*/ 487 h 1192"/>
                  <a:gd name="T16" fmla="*/ 167 w 1245"/>
                  <a:gd name="T17" fmla="*/ 527 h 1192"/>
                  <a:gd name="T18" fmla="*/ 168 w 1245"/>
                  <a:gd name="T19" fmla="*/ 528 h 1192"/>
                  <a:gd name="T20" fmla="*/ 168 w 1245"/>
                  <a:gd name="T21" fmla="*/ 529 h 1192"/>
                  <a:gd name="T22" fmla="*/ 302 w 1245"/>
                  <a:gd name="T23" fmla="*/ 663 h 1192"/>
                  <a:gd name="T24" fmla="*/ 318 w 1245"/>
                  <a:gd name="T25" fmla="*/ 692 h 1192"/>
                  <a:gd name="T26" fmla="*/ 318 w 1245"/>
                  <a:gd name="T27" fmla="*/ 692 h 1192"/>
                  <a:gd name="T28" fmla="*/ 432 w 1245"/>
                  <a:gd name="T29" fmla="*/ 806 h 1192"/>
                  <a:gd name="T30" fmla="*/ 432 w 1245"/>
                  <a:gd name="T31" fmla="*/ 812 h 1192"/>
                  <a:gd name="T32" fmla="*/ 467 w 1245"/>
                  <a:gd name="T33" fmla="*/ 885 h 1192"/>
                  <a:gd name="T34" fmla="*/ 775 w 1245"/>
                  <a:gd name="T35" fmla="*/ 1192 h 1192"/>
                  <a:gd name="T36" fmla="*/ 1245 w 1245"/>
                  <a:gd name="T37" fmla="*/ 516 h 1192"/>
                  <a:gd name="T38" fmla="*/ 1245 w 1245"/>
                  <a:gd name="T39" fmla="*/ 496 h 1192"/>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9954 w 13217"/>
                  <a:gd name="connsiteY18" fmla="*/ 3750 h 14923"/>
                  <a:gd name="connsiteX19" fmla="*/ 9954 w 13217"/>
                  <a:gd name="connsiteY19" fmla="*/ 3582 h 14923"/>
                  <a:gd name="connsiteX0" fmla="*/ 9954 w 13757"/>
                  <a:gd name="connsiteY0" fmla="*/ 3582 h 14923"/>
                  <a:gd name="connsiteX1" fmla="*/ 8147 w 13757"/>
                  <a:gd name="connsiteY1" fmla="*/ 1703 h 14923"/>
                  <a:gd name="connsiteX2" fmla="*/ 8131 w 13757"/>
                  <a:gd name="connsiteY2" fmla="*/ 1694 h 14923"/>
                  <a:gd name="connsiteX3" fmla="*/ 139 w 13757"/>
                  <a:gd name="connsiteY3" fmla="*/ 1736 h 14923"/>
                  <a:gd name="connsiteX4" fmla="*/ 139 w 13757"/>
                  <a:gd name="connsiteY4" fmla="*/ 2450 h 14923"/>
                  <a:gd name="connsiteX5" fmla="*/ 163 w 13757"/>
                  <a:gd name="connsiteY5" fmla="*/ 2466 h 14923"/>
                  <a:gd name="connsiteX6" fmla="*/ 163 w 13757"/>
                  <a:gd name="connsiteY6" fmla="*/ 2466 h 14923"/>
                  <a:gd name="connsiteX7" fmla="*/ 1151 w 13757"/>
                  <a:gd name="connsiteY7" fmla="*/ 3507 h 14923"/>
                  <a:gd name="connsiteX8" fmla="*/ 1295 w 13757"/>
                  <a:gd name="connsiteY8" fmla="*/ 3842 h 14923"/>
                  <a:gd name="connsiteX9" fmla="*/ 1303 w 13757"/>
                  <a:gd name="connsiteY9" fmla="*/ 3851 h 14923"/>
                  <a:gd name="connsiteX10" fmla="*/ 1303 w 13757"/>
                  <a:gd name="connsiteY10" fmla="*/ 3859 h 14923"/>
                  <a:gd name="connsiteX11" fmla="*/ 2380 w 13757"/>
                  <a:gd name="connsiteY11" fmla="*/ 4983 h 14923"/>
                  <a:gd name="connsiteX12" fmla="*/ 2508 w 13757"/>
                  <a:gd name="connsiteY12" fmla="*/ 5226 h 14923"/>
                  <a:gd name="connsiteX13" fmla="*/ 2508 w 13757"/>
                  <a:gd name="connsiteY13" fmla="*/ 5226 h 14923"/>
                  <a:gd name="connsiteX14" fmla="*/ 3424 w 13757"/>
                  <a:gd name="connsiteY14" fmla="*/ 6183 h 14923"/>
                  <a:gd name="connsiteX15" fmla="*/ 3424 w 13757"/>
                  <a:gd name="connsiteY15" fmla="*/ 6233 h 14923"/>
                  <a:gd name="connsiteX16" fmla="*/ 3705 w 13757"/>
                  <a:gd name="connsiteY16" fmla="*/ 6845 h 14923"/>
                  <a:gd name="connsiteX17" fmla="*/ 12649 w 13757"/>
                  <a:gd name="connsiteY17" fmla="*/ 14923 h 14923"/>
                  <a:gd name="connsiteX18" fmla="*/ 13095 w 13757"/>
                  <a:gd name="connsiteY18" fmla="*/ 6304 h 14923"/>
                  <a:gd name="connsiteX19" fmla="*/ 9954 w 13757"/>
                  <a:gd name="connsiteY19" fmla="*/ 3582 h 14923"/>
                  <a:gd name="connsiteX0" fmla="*/ 9954 w 13829"/>
                  <a:gd name="connsiteY0" fmla="*/ 3582 h 14923"/>
                  <a:gd name="connsiteX1" fmla="*/ 8147 w 13829"/>
                  <a:gd name="connsiteY1" fmla="*/ 1703 h 14923"/>
                  <a:gd name="connsiteX2" fmla="*/ 8131 w 13829"/>
                  <a:gd name="connsiteY2" fmla="*/ 1694 h 14923"/>
                  <a:gd name="connsiteX3" fmla="*/ 139 w 13829"/>
                  <a:gd name="connsiteY3" fmla="*/ 1736 h 14923"/>
                  <a:gd name="connsiteX4" fmla="*/ 139 w 13829"/>
                  <a:gd name="connsiteY4" fmla="*/ 2450 h 14923"/>
                  <a:gd name="connsiteX5" fmla="*/ 163 w 13829"/>
                  <a:gd name="connsiteY5" fmla="*/ 2466 h 14923"/>
                  <a:gd name="connsiteX6" fmla="*/ 163 w 13829"/>
                  <a:gd name="connsiteY6" fmla="*/ 2466 h 14923"/>
                  <a:gd name="connsiteX7" fmla="*/ 1151 w 13829"/>
                  <a:gd name="connsiteY7" fmla="*/ 3507 h 14923"/>
                  <a:gd name="connsiteX8" fmla="*/ 1295 w 13829"/>
                  <a:gd name="connsiteY8" fmla="*/ 3842 h 14923"/>
                  <a:gd name="connsiteX9" fmla="*/ 1303 w 13829"/>
                  <a:gd name="connsiteY9" fmla="*/ 3851 h 14923"/>
                  <a:gd name="connsiteX10" fmla="*/ 1303 w 13829"/>
                  <a:gd name="connsiteY10" fmla="*/ 3859 h 14923"/>
                  <a:gd name="connsiteX11" fmla="*/ 2380 w 13829"/>
                  <a:gd name="connsiteY11" fmla="*/ 4983 h 14923"/>
                  <a:gd name="connsiteX12" fmla="*/ 2508 w 13829"/>
                  <a:gd name="connsiteY12" fmla="*/ 5226 h 14923"/>
                  <a:gd name="connsiteX13" fmla="*/ 2508 w 13829"/>
                  <a:gd name="connsiteY13" fmla="*/ 5226 h 14923"/>
                  <a:gd name="connsiteX14" fmla="*/ 3424 w 13829"/>
                  <a:gd name="connsiteY14" fmla="*/ 6183 h 14923"/>
                  <a:gd name="connsiteX15" fmla="*/ 3424 w 13829"/>
                  <a:gd name="connsiteY15" fmla="*/ 6233 h 14923"/>
                  <a:gd name="connsiteX16" fmla="*/ 3705 w 13829"/>
                  <a:gd name="connsiteY16" fmla="*/ 6845 h 14923"/>
                  <a:gd name="connsiteX17" fmla="*/ 12649 w 13829"/>
                  <a:gd name="connsiteY17" fmla="*/ 14923 h 14923"/>
                  <a:gd name="connsiteX18" fmla="*/ 13095 w 13829"/>
                  <a:gd name="connsiteY18" fmla="*/ 6304 h 14923"/>
                  <a:gd name="connsiteX19" fmla="*/ 9954 w 13829"/>
                  <a:gd name="connsiteY19" fmla="*/ 3582 h 14923"/>
                  <a:gd name="connsiteX0" fmla="*/ 9954 w 13403"/>
                  <a:gd name="connsiteY0" fmla="*/ 3582 h 14923"/>
                  <a:gd name="connsiteX1" fmla="*/ 8147 w 13403"/>
                  <a:gd name="connsiteY1" fmla="*/ 1703 h 14923"/>
                  <a:gd name="connsiteX2" fmla="*/ 8131 w 13403"/>
                  <a:gd name="connsiteY2" fmla="*/ 1694 h 14923"/>
                  <a:gd name="connsiteX3" fmla="*/ 139 w 13403"/>
                  <a:gd name="connsiteY3" fmla="*/ 1736 h 14923"/>
                  <a:gd name="connsiteX4" fmla="*/ 139 w 13403"/>
                  <a:gd name="connsiteY4" fmla="*/ 2450 h 14923"/>
                  <a:gd name="connsiteX5" fmla="*/ 163 w 13403"/>
                  <a:gd name="connsiteY5" fmla="*/ 2466 h 14923"/>
                  <a:gd name="connsiteX6" fmla="*/ 163 w 13403"/>
                  <a:gd name="connsiteY6" fmla="*/ 2466 h 14923"/>
                  <a:gd name="connsiteX7" fmla="*/ 1151 w 13403"/>
                  <a:gd name="connsiteY7" fmla="*/ 3507 h 14923"/>
                  <a:gd name="connsiteX8" fmla="*/ 1295 w 13403"/>
                  <a:gd name="connsiteY8" fmla="*/ 3842 h 14923"/>
                  <a:gd name="connsiteX9" fmla="*/ 1303 w 13403"/>
                  <a:gd name="connsiteY9" fmla="*/ 3851 h 14923"/>
                  <a:gd name="connsiteX10" fmla="*/ 1303 w 13403"/>
                  <a:gd name="connsiteY10" fmla="*/ 3859 h 14923"/>
                  <a:gd name="connsiteX11" fmla="*/ 2380 w 13403"/>
                  <a:gd name="connsiteY11" fmla="*/ 4983 h 14923"/>
                  <a:gd name="connsiteX12" fmla="*/ 2508 w 13403"/>
                  <a:gd name="connsiteY12" fmla="*/ 5226 h 14923"/>
                  <a:gd name="connsiteX13" fmla="*/ 2508 w 13403"/>
                  <a:gd name="connsiteY13" fmla="*/ 5226 h 14923"/>
                  <a:gd name="connsiteX14" fmla="*/ 3424 w 13403"/>
                  <a:gd name="connsiteY14" fmla="*/ 6183 h 14923"/>
                  <a:gd name="connsiteX15" fmla="*/ 3424 w 13403"/>
                  <a:gd name="connsiteY15" fmla="*/ 6233 h 14923"/>
                  <a:gd name="connsiteX16" fmla="*/ 3705 w 13403"/>
                  <a:gd name="connsiteY16" fmla="*/ 6845 h 14923"/>
                  <a:gd name="connsiteX17" fmla="*/ 12649 w 13403"/>
                  <a:gd name="connsiteY17" fmla="*/ 14923 h 14923"/>
                  <a:gd name="connsiteX18" fmla="*/ 13095 w 13403"/>
                  <a:gd name="connsiteY18" fmla="*/ 6304 h 14923"/>
                  <a:gd name="connsiteX19" fmla="*/ 9954 w 13403"/>
                  <a:gd name="connsiteY19" fmla="*/ 3582 h 14923"/>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13095 w 13217"/>
                  <a:gd name="connsiteY18" fmla="*/ 6304 h 14923"/>
                  <a:gd name="connsiteX19" fmla="*/ 9954 w 13217"/>
                  <a:gd name="connsiteY19" fmla="*/ 3582 h 14923"/>
                  <a:gd name="connsiteX0" fmla="*/ 9954 w 13379"/>
                  <a:gd name="connsiteY0" fmla="*/ 3582 h 14923"/>
                  <a:gd name="connsiteX1" fmla="*/ 8147 w 13379"/>
                  <a:gd name="connsiteY1" fmla="*/ 1703 h 14923"/>
                  <a:gd name="connsiteX2" fmla="*/ 8131 w 13379"/>
                  <a:gd name="connsiteY2" fmla="*/ 1694 h 14923"/>
                  <a:gd name="connsiteX3" fmla="*/ 139 w 13379"/>
                  <a:gd name="connsiteY3" fmla="*/ 1736 h 14923"/>
                  <a:gd name="connsiteX4" fmla="*/ 139 w 13379"/>
                  <a:gd name="connsiteY4" fmla="*/ 2450 h 14923"/>
                  <a:gd name="connsiteX5" fmla="*/ 163 w 13379"/>
                  <a:gd name="connsiteY5" fmla="*/ 2466 h 14923"/>
                  <a:gd name="connsiteX6" fmla="*/ 163 w 13379"/>
                  <a:gd name="connsiteY6" fmla="*/ 2466 h 14923"/>
                  <a:gd name="connsiteX7" fmla="*/ 1151 w 13379"/>
                  <a:gd name="connsiteY7" fmla="*/ 3507 h 14923"/>
                  <a:gd name="connsiteX8" fmla="*/ 1295 w 13379"/>
                  <a:gd name="connsiteY8" fmla="*/ 3842 h 14923"/>
                  <a:gd name="connsiteX9" fmla="*/ 1303 w 13379"/>
                  <a:gd name="connsiteY9" fmla="*/ 3851 h 14923"/>
                  <a:gd name="connsiteX10" fmla="*/ 1303 w 13379"/>
                  <a:gd name="connsiteY10" fmla="*/ 3859 h 14923"/>
                  <a:gd name="connsiteX11" fmla="*/ 2380 w 13379"/>
                  <a:gd name="connsiteY11" fmla="*/ 4983 h 14923"/>
                  <a:gd name="connsiteX12" fmla="*/ 2508 w 13379"/>
                  <a:gd name="connsiteY12" fmla="*/ 5226 h 14923"/>
                  <a:gd name="connsiteX13" fmla="*/ 2508 w 13379"/>
                  <a:gd name="connsiteY13" fmla="*/ 5226 h 14923"/>
                  <a:gd name="connsiteX14" fmla="*/ 3424 w 13379"/>
                  <a:gd name="connsiteY14" fmla="*/ 6183 h 14923"/>
                  <a:gd name="connsiteX15" fmla="*/ 3424 w 13379"/>
                  <a:gd name="connsiteY15" fmla="*/ 6233 h 14923"/>
                  <a:gd name="connsiteX16" fmla="*/ 3705 w 13379"/>
                  <a:gd name="connsiteY16" fmla="*/ 6845 h 14923"/>
                  <a:gd name="connsiteX17" fmla="*/ 12649 w 13379"/>
                  <a:gd name="connsiteY17" fmla="*/ 14923 h 14923"/>
                  <a:gd name="connsiteX18" fmla="*/ 13095 w 13379"/>
                  <a:gd name="connsiteY18" fmla="*/ 6304 h 14923"/>
                  <a:gd name="connsiteX19" fmla="*/ 9954 w 13379"/>
                  <a:gd name="connsiteY19" fmla="*/ 3582 h 14923"/>
                  <a:gd name="connsiteX0" fmla="*/ 9954 w 13467"/>
                  <a:gd name="connsiteY0" fmla="*/ 3582 h 14923"/>
                  <a:gd name="connsiteX1" fmla="*/ 8147 w 13467"/>
                  <a:gd name="connsiteY1" fmla="*/ 1703 h 14923"/>
                  <a:gd name="connsiteX2" fmla="*/ 8131 w 13467"/>
                  <a:gd name="connsiteY2" fmla="*/ 1694 h 14923"/>
                  <a:gd name="connsiteX3" fmla="*/ 139 w 13467"/>
                  <a:gd name="connsiteY3" fmla="*/ 1736 h 14923"/>
                  <a:gd name="connsiteX4" fmla="*/ 139 w 13467"/>
                  <a:gd name="connsiteY4" fmla="*/ 2450 h 14923"/>
                  <a:gd name="connsiteX5" fmla="*/ 163 w 13467"/>
                  <a:gd name="connsiteY5" fmla="*/ 2466 h 14923"/>
                  <a:gd name="connsiteX6" fmla="*/ 163 w 13467"/>
                  <a:gd name="connsiteY6" fmla="*/ 2466 h 14923"/>
                  <a:gd name="connsiteX7" fmla="*/ 1151 w 13467"/>
                  <a:gd name="connsiteY7" fmla="*/ 3507 h 14923"/>
                  <a:gd name="connsiteX8" fmla="*/ 1295 w 13467"/>
                  <a:gd name="connsiteY8" fmla="*/ 3842 h 14923"/>
                  <a:gd name="connsiteX9" fmla="*/ 1303 w 13467"/>
                  <a:gd name="connsiteY9" fmla="*/ 3851 h 14923"/>
                  <a:gd name="connsiteX10" fmla="*/ 1303 w 13467"/>
                  <a:gd name="connsiteY10" fmla="*/ 3859 h 14923"/>
                  <a:gd name="connsiteX11" fmla="*/ 2380 w 13467"/>
                  <a:gd name="connsiteY11" fmla="*/ 4983 h 14923"/>
                  <a:gd name="connsiteX12" fmla="*/ 2508 w 13467"/>
                  <a:gd name="connsiteY12" fmla="*/ 5226 h 14923"/>
                  <a:gd name="connsiteX13" fmla="*/ 2508 w 13467"/>
                  <a:gd name="connsiteY13" fmla="*/ 5226 h 14923"/>
                  <a:gd name="connsiteX14" fmla="*/ 3424 w 13467"/>
                  <a:gd name="connsiteY14" fmla="*/ 6183 h 14923"/>
                  <a:gd name="connsiteX15" fmla="*/ 3424 w 13467"/>
                  <a:gd name="connsiteY15" fmla="*/ 6233 h 14923"/>
                  <a:gd name="connsiteX16" fmla="*/ 3705 w 13467"/>
                  <a:gd name="connsiteY16" fmla="*/ 6845 h 14923"/>
                  <a:gd name="connsiteX17" fmla="*/ 12649 w 13467"/>
                  <a:gd name="connsiteY17" fmla="*/ 14923 h 14923"/>
                  <a:gd name="connsiteX18" fmla="*/ 13252 w 13467"/>
                  <a:gd name="connsiteY18" fmla="*/ 6828 h 14923"/>
                  <a:gd name="connsiteX19" fmla="*/ 9954 w 13467"/>
                  <a:gd name="connsiteY19" fmla="*/ 3582 h 14923"/>
                  <a:gd name="connsiteX0" fmla="*/ 9954 w 13520"/>
                  <a:gd name="connsiteY0" fmla="*/ 3582 h 14923"/>
                  <a:gd name="connsiteX1" fmla="*/ 8147 w 13520"/>
                  <a:gd name="connsiteY1" fmla="*/ 1703 h 14923"/>
                  <a:gd name="connsiteX2" fmla="*/ 8131 w 13520"/>
                  <a:gd name="connsiteY2" fmla="*/ 1694 h 14923"/>
                  <a:gd name="connsiteX3" fmla="*/ 139 w 13520"/>
                  <a:gd name="connsiteY3" fmla="*/ 1736 h 14923"/>
                  <a:gd name="connsiteX4" fmla="*/ 139 w 13520"/>
                  <a:gd name="connsiteY4" fmla="*/ 2450 h 14923"/>
                  <a:gd name="connsiteX5" fmla="*/ 163 w 13520"/>
                  <a:gd name="connsiteY5" fmla="*/ 2466 h 14923"/>
                  <a:gd name="connsiteX6" fmla="*/ 163 w 13520"/>
                  <a:gd name="connsiteY6" fmla="*/ 2466 h 14923"/>
                  <a:gd name="connsiteX7" fmla="*/ 1151 w 13520"/>
                  <a:gd name="connsiteY7" fmla="*/ 3507 h 14923"/>
                  <a:gd name="connsiteX8" fmla="*/ 1295 w 13520"/>
                  <a:gd name="connsiteY8" fmla="*/ 3842 h 14923"/>
                  <a:gd name="connsiteX9" fmla="*/ 1303 w 13520"/>
                  <a:gd name="connsiteY9" fmla="*/ 3851 h 14923"/>
                  <a:gd name="connsiteX10" fmla="*/ 1303 w 13520"/>
                  <a:gd name="connsiteY10" fmla="*/ 3859 h 14923"/>
                  <a:gd name="connsiteX11" fmla="*/ 2380 w 13520"/>
                  <a:gd name="connsiteY11" fmla="*/ 4983 h 14923"/>
                  <a:gd name="connsiteX12" fmla="*/ 2508 w 13520"/>
                  <a:gd name="connsiteY12" fmla="*/ 5226 h 14923"/>
                  <a:gd name="connsiteX13" fmla="*/ 2508 w 13520"/>
                  <a:gd name="connsiteY13" fmla="*/ 5226 h 14923"/>
                  <a:gd name="connsiteX14" fmla="*/ 3424 w 13520"/>
                  <a:gd name="connsiteY14" fmla="*/ 6183 h 14923"/>
                  <a:gd name="connsiteX15" fmla="*/ 3424 w 13520"/>
                  <a:gd name="connsiteY15" fmla="*/ 6233 h 14923"/>
                  <a:gd name="connsiteX16" fmla="*/ 3705 w 13520"/>
                  <a:gd name="connsiteY16" fmla="*/ 6845 h 14923"/>
                  <a:gd name="connsiteX17" fmla="*/ 12649 w 13520"/>
                  <a:gd name="connsiteY17" fmla="*/ 14923 h 14923"/>
                  <a:gd name="connsiteX18" fmla="*/ 13252 w 13520"/>
                  <a:gd name="connsiteY18" fmla="*/ 6828 h 14923"/>
                  <a:gd name="connsiteX19" fmla="*/ 9954 w 13520"/>
                  <a:gd name="connsiteY19" fmla="*/ 3582 h 14923"/>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6828 h 15218"/>
                  <a:gd name="connsiteX19" fmla="*/ 9954 w 13487"/>
                  <a:gd name="connsiteY19" fmla="*/ 3582 h 15218"/>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7155 h 15218"/>
                  <a:gd name="connsiteX19" fmla="*/ 9954 w 13487"/>
                  <a:gd name="connsiteY19" fmla="*/ 3582 h 15218"/>
                  <a:gd name="connsiteX0" fmla="*/ 9954 w 13419"/>
                  <a:gd name="connsiteY0" fmla="*/ 3582 h 15218"/>
                  <a:gd name="connsiteX1" fmla="*/ 8147 w 13419"/>
                  <a:gd name="connsiteY1" fmla="*/ 1703 h 15218"/>
                  <a:gd name="connsiteX2" fmla="*/ 8131 w 13419"/>
                  <a:gd name="connsiteY2" fmla="*/ 1694 h 15218"/>
                  <a:gd name="connsiteX3" fmla="*/ 139 w 13419"/>
                  <a:gd name="connsiteY3" fmla="*/ 1736 h 15218"/>
                  <a:gd name="connsiteX4" fmla="*/ 139 w 13419"/>
                  <a:gd name="connsiteY4" fmla="*/ 2450 h 15218"/>
                  <a:gd name="connsiteX5" fmla="*/ 163 w 13419"/>
                  <a:gd name="connsiteY5" fmla="*/ 2466 h 15218"/>
                  <a:gd name="connsiteX6" fmla="*/ 163 w 13419"/>
                  <a:gd name="connsiteY6" fmla="*/ 2466 h 15218"/>
                  <a:gd name="connsiteX7" fmla="*/ 1151 w 13419"/>
                  <a:gd name="connsiteY7" fmla="*/ 3507 h 15218"/>
                  <a:gd name="connsiteX8" fmla="*/ 1295 w 13419"/>
                  <a:gd name="connsiteY8" fmla="*/ 3842 h 15218"/>
                  <a:gd name="connsiteX9" fmla="*/ 1303 w 13419"/>
                  <a:gd name="connsiteY9" fmla="*/ 3851 h 15218"/>
                  <a:gd name="connsiteX10" fmla="*/ 1303 w 13419"/>
                  <a:gd name="connsiteY10" fmla="*/ 3859 h 15218"/>
                  <a:gd name="connsiteX11" fmla="*/ 2380 w 13419"/>
                  <a:gd name="connsiteY11" fmla="*/ 4983 h 15218"/>
                  <a:gd name="connsiteX12" fmla="*/ 2508 w 13419"/>
                  <a:gd name="connsiteY12" fmla="*/ 5226 h 15218"/>
                  <a:gd name="connsiteX13" fmla="*/ 2508 w 13419"/>
                  <a:gd name="connsiteY13" fmla="*/ 5226 h 15218"/>
                  <a:gd name="connsiteX14" fmla="*/ 3424 w 13419"/>
                  <a:gd name="connsiteY14" fmla="*/ 6183 h 15218"/>
                  <a:gd name="connsiteX15" fmla="*/ 3424 w 13419"/>
                  <a:gd name="connsiteY15" fmla="*/ 6233 h 15218"/>
                  <a:gd name="connsiteX16" fmla="*/ 3705 w 13419"/>
                  <a:gd name="connsiteY16" fmla="*/ 6845 h 15218"/>
                  <a:gd name="connsiteX17" fmla="*/ 12555 w 13419"/>
                  <a:gd name="connsiteY17" fmla="*/ 15218 h 15218"/>
                  <a:gd name="connsiteX18" fmla="*/ 13252 w 13419"/>
                  <a:gd name="connsiteY18" fmla="*/ 7155 h 15218"/>
                  <a:gd name="connsiteX19" fmla="*/ 9954 w 13419"/>
                  <a:gd name="connsiteY19" fmla="*/ 3582 h 15218"/>
                  <a:gd name="connsiteX0" fmla="*/ 9954 w 13372"/>
                  <a:gd name="connsiteY0" fmla="*/ 3582 h 15218"/>
                  <a:gd name="connsiteX1" fmla="*/ 8147 w 13372"/>
                  <a:gd name="connsiteY1" fmla="*/ 1703 h 15218"/>
                  <a:gd name="connsiteX2" fmla="*/ 8131 w 13372"/>
                  <a:gd name="connsiteY2" fmla="*/ 1694 h 15218"/>
                  <a:gd name="connsiteX3" fmla="*/ 139 w 13372"/>
                  <a:gd name="connsiteY3" fmla="*/ 1736 h 15218"/>
                  <a:gd name="connsiteX4" fmla="*/ 139 w 13372"/>
                  <a:gd name="connsiteY4" fmla="*/ 2450 h 15218"/>
                  <a:gd name="connsiteX5" fmla="*/ 163 w 13372"/>
                  <a:gd name="connsiteY5" fmla="*/ 2466 h 15218"/>
                  <a:gd name="connsiteX6" fmla="*/ 163 w 13372"/>
                  <a:gd name="connsiteY6" fmla="*/ 2466 h 15218"/>
                  <a:gd name="connsiteX7" fmla="*/ 1151 w 13372"/>
                  <a:gd name="connsiteY7" fmla="*/ 3507 h 15218"/>
                  <a:gd name="connsiteX8" fmla="*/ 1295 w 13372"/>
                  <a:gd name="connsiteY8" fmla="*/ 3842 h 15218"/>
                  <a:gd name="connsiteX9" fmla="*/ 1303 w 13372"/>
                  <a:gd name="connsiteY9" fmla="*/ 3851 h 15218"/>
                  <a:gd name="connsiteX10" fmla="*/ 1303 w 13372"/>
                  <a:gd name="connsiteY10" fmla="*/ 3859 h 15218"/>
                  <a:gd name="connsiteX11" fmla="*/ 2380 w 13372"/>
                  <a:gd name="connsiteY11" fmla="*/ 4983 h 15218"/>
                  <a:gd name="connsiteX12" fmla="*/ 2508 w 13372"/>
                  <a:gd name="connsiteY12" fmla="*/ 5226 h 15218"/>
                  <a:gd name="connsiteX13" fmla="*/ 2508 w 13372"/>
                  <a:gd name="connsiteY13" fmla="*/ 5226 h 15218"/>
                  <a:gd name="connsiteX14" fmla="*/ 3424 w 13372"/>
                  <a:gd name="connsiteY14" fmla="*/ 6183 h 15218"/>
                  <a:gd name="connsiteX15" fmla="*/ 3424 w 13372"/>
                  <a:gd name="connsiteY15" fmla="*/ 6233 h 15218"/>
                  <a:gd name="connsiteX16" fmla="*/ 3705 w 13372"/>
                  <a:gd name="connsiteY16" fmla="*/ 6845 h 15218"/>
                  <a:gd name="connsiteX17" fmla="*/ 12555 w 13372"/>
                  <a:gd name="connsiteY17" fmla="*/ 15218 h 15218"/>
                  <a:gd name="connsiteX18" fmla="*/ 13252 w 13372"/>
                  <a:gd name="connsiteY18" fmla="*/ 7155 h 15218"/>
                  <a:gd name="connsiteX19" fmla="*/ 9954 w 13372"/>
                  <a:gd name="connsiteY19" fmla="*/ 3582 h 15218"/>
                  <a:gd name="connsiteX0" fmla="*/ 9954 w 13483"/>
                  <a:gd name="connsiteY0" fmla="*/ 3582 h 15218"/>
                  <a:gd name="connsiteX1" fmla="*/ 8147 w 13483"/>
                  <a:gd name="connsiteY1" fmla="*/ 1703 h 15218"/>
                  <a:gd name="connsiteX2" fmla="*/ 8131 w 13483"/>
                  <a:gd name="connsiteY2" fmla="*/ 1694 h 15218"/>
                  <a:gd name="connsiteX3" fmla="*/ 139 w 13483"/>
                  <a:gd name="connsiteY3" fmla="*/ 1736 h 15218"/>
                  <a:gd name="connsiteX4" fmla="*/ 139 w 13483"/>
                  <a:gd name="connsiteY4" fmla="*/ 2450 h 15218"/>
                  <a:gd name="connsiteX5" fmla="*/ 163 w 13483"/>
                  <a:gd name="connsiteY5" fmla="*/ 2466 h 15218"/>
                  <a:gd name="connsiteX6" fmla="*/ 163 w 13483"/>
                  <a:gd name="connsiteY6" fmla="*/ 2466 h 15218"/>
                  <a:gd name="connsiteX7" fmla="*/ 1151 w 13483"/>
                  <a:gd name="connsiteY7" fmla="*/ 3507 h 15218"/>
                  <a:gd name="connsiteX8" fmla="*/ 1295 w 13483"/>
                  <a:gd name="connsiteY8" fmla="*/ 3842 h 15218"/>
                  <a:gd name="connsiteX9" fmla="*/ 1303 w 13483"/>
                  <a:gd name="connsiteY9" fmla="*/ 3851 h 15218"/>
                  <a:gd name="connsiteX10" fmla="*/ 1303 w 13483"/>
                  <a:gd name="connsiteY10" fmla="*/ 3859 h 15218"/>
                  <a:gd name="connsiteX11" fmla="*/ 2380 w 13483"/>
                  <a:gd name="connsiteY11" fmla="*/ 4983 h 15218"/>
                  <a:gd name="connsiteX12" fmla="*/ 2508 w 13483"/>
                  <a:gd name="connsiteY12" fmla="*/ 5226 h 15218"/>
                  <a:gd name="connsiteX13" fmla="*/ 2508 w 13483"/>
                  <a:gd name="connsiteY13" fmla="*/ 5226 h 15218"/>
                  <a:gd name="connsiteX14" fmla="*/ 3424 w 13483"/>
                  <a:gd name="connsiteY14" fmla="*/ 6183 h 15218"/>
                  <a:gd name="connsiteX15" fmla="*/ 3424 w 13483"/>
                  <a:gd name="connsiteY15" fmla="*/ 6233 h 15218"/>
                  <a:gd name="connsiteX16" fmla="*/ 3705 w 13483"/>
                  <a:gd name="connsiteY16" fmla="*/ 6845 h 15218"/>
                  <a:gd name="connsiteX17" fmla="*/ 12555 w 13483"/>
                  <a:gd name="connsiteY17" fmla="*/ 15218 h 15218"/>
                  <a:gd name="connsiteX18" fmla="*/ 13252 w 13483"/>
                  <a:gd name="connsiteY18" fmla="*/ 7155 h 15218"/>
                  <a:gd name="connsiteX19" fmla="*/ 9954 w 13483"/>
                  <a:gd name="connsiteY19" fmla="*/ 3582 h 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83" h="15218">
                    <a:moveTo>
                      <a:pt x="9954" y="3582"/>
                    </a:moveTo>
                    <a:lnTo>
                      <a:pt x="8147" y="1703"/>
                    </a:lnTo>
                    <a:cubicBezTo>
                      <a:pt x="8142" y="1700"/>
                      <a:pt x="8136" y="1697"/>
                      <a:pt x="8131" y="1694"/>
                    </a:cubicBezTo>
                    <a:cubicBezTo>
                      <a:pt x="5914" y="-579"/>
                      <a:pt x="2340" y="-562"/>
                      <a:pt x="139" y="1736"/>
                    </a:cubicBezTo>
                    <a:cubicBezTo>
                      <a:pt x="-46" y="1929"/>
                      <a:pt x="-46" y="2248"/>
                      <a:pt x="139" y="2450"/>
                    </a:cubicBezTo>
                    <a:cubicBezTo>
                      <a:pt x="147" y="2458"/>
                      <a:pt x="155" y="2458"/>
                      <a:pt x="163" y="2466"/>
                    </a:cubicBezTo>
                    <a:lnTo>
                      <a:pt x="163" y="2466"/>
                    </a:lnTo>
                    <a:lnTo>
                      <a:pt x="1151" y="3507"/>
                    </a:lnTo>
                    <a:cubicBezTo>
                      <a:pt x="1159" y="3632"/>
                      <a:pt x="1207" y="3750"/>
                      <a:pt x="1295" y="3842"/>
                    </a:cubicBezTo>
                    <a:cubicBezTo>
                      <a:pt x="1295" y="3851"/>
                      <a:pt x="1303" y="3851"/>
                      <a:pt x="1303" y="3851"/>
                    </a:cubicBezTo>
                    <a:lnTo>
                      <a:pt x="1303" y="3859"/>
                    </a:lnTo>
                    <a:lnTo>
                      <a:pt x="2380" y="4983"/>
                    </a:lnTo>
                    <a:cubicBezTo>
                      <a:pt x="2404" y="5075"/>
                      <a:pt x="2444" y="5159"/>
                      <a:pt x="2508" y="5226"/>
                    </a:cubicBezTo>
                    <a:lnTo>
                      <a:pt x="2508" y="5226"/>
                    </a:lnTo>
                    <a:lnTo>
                      <a:pt x="3424" y="6183"/>
                    </a:lnTo>
                    <a:lnTo>
                      <a:pt x="3424" y="6233"/>
                    </a:lnTo>
                    <a:cubicBezTo>
                      <a:pt x="3424" y="6485"/>
                      <a:pt x="3536" y="6703"/>
                      <a:pt x="3705" y="6845"/>
                    </a:cubicBezTo>
                    <a:cubicBezTo>
                      <a:pt x="6179" y="9421"/>
                      <a:pt x="12555" y="15218"/>
                      <a:pt x="12555" y="15218"/>
                    </a:cubicBezTo>
                    <a:cubicBezTo>
                      <a:pt x="13469" y="12725"/>
                      <a:pt x="13723" y="9985"/>
                      <a:pt x="13252" y="7155"/>
                    </a:cubicBezTo>
                    <a:lnTo>
                      <a:pt x="9954" y="3582"/>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grpSp>
            <p:nvGrpSpPr>
              <p:cNvPr id="568" name="Group 567">
                <a:extLst>
                  <a:ext uri="{FF2B5EF4-FFF2-40B4-BE49-F238E27FC236}">
                    <a16:creationId xmlns:a16="http://schemas.microsoft.com/office/drawing/2014/main" id="{71634676-08AB-4990-A205-82FD8C852AAD}"/>
                  </a:ext>
                </a:extLst>
              </p:cNvPr>
              <p:cNvGrpSpPr/>
              <p:nvPr/>
            </p:nvGrpSpPr>
            <p:grpSpPr>
              <a:xfrm>
                <a:off x="-1157406" y="2927198"/>
                <a:ext cx="433225" cy="374457"/>
                <a:chOff x="-1169834" y="4620577"/>
                <a:chExt cx="912813" cy="788988"/>
              </a:xfrm>
            </p:grpSpPr>
            <p:sp>
              <p:nvSpPr>
                <p:cNvPr id="569" name="Freeform 7">
                  <a:extLst>
                    <a:ext uri="{FF2B5EF4-FFF2-40B4-BE49-F238E27FC236}">
                      <a16:creationId xmlns:a16="http://schemas.microsoft.com/office/drawing/2014/main" id="{13E3CDF7-F020-4D2F-8CB9-4762A1AA8705}"/>
                    </a:ext>
                  </a:extLst>
                </p:cNvPr>
                <p:cNvSpPr>
                  <a:spLocks/>
                </p:cNvSpPr>
                <p:nvPr/>
              </p:nvSpPr>
              <p:spPr bwMode="auto">
                <a:xfrm>
                  <a:off x="-793596" y="5249227"/>
                  <a:ext cx="160338" cy="160338"/>
                </a:xfrm>
                <a:custGeom>
                  <a:avLst/>
                  <a:gdLst>
                    <a:gd name="T0" fmla="*/ 92 w 183"/>
                    <a:gd name="T1" fmla="*/ 0 h 183"/>
                    <a:gd name="T2" fmla="*/ 182 w 183"/>
                    <a:gd name="T3" fmla="*/ 93 h 183"/>
                    <a:gd name="T4" fmla="*/ 91 w 183"/>
                    <a:gd name="T5" fmla="*/ 183 h 183"/>
                    <a:gd name="T6" fmla="*/ 0 w 183"/>
                    <a:gd name="T7" fmla="*/ 91 h 183"/>
                    <a:gd name="T8" fmla="*/ 92 w 183"/>
                    <a:gd name="T9" fmla="*/ 0 h 183"/>
                  </a:gdLst>
                  <a:ahLst/>
                  <a:cxnLst>
                    <a:cxn ang="0">
                      <a:pos x="T0" y="T1"/>
                    </a:cxn>
                    <a:cxn ang="0">
                      <a:pos x="T2" y="T3"/>
                    </a:cxn>
                    <a:cxn ang="0">
                      <a:pos x="T4" y="T5"/>
                    </a:cxn>
                    <a:cxn ang="0">
                      <a:pos x="T6" y="T7"/>
                    </a:cxn>
                    <a:cxn ang="0">
                      <a:pos x="T8" y="T9"/>
                    </a:cxn>
                  </a:cxnLst>
                  <a:rect l="0" t="0" r="r" b="b"/>
                  <a:pathLst>
                    <a:path w="183" h="183">
                      <a:moveTo>
                        <a:pt x="92" y="0"/>
                      </a:moveTo>
                      <a:cubicBezTo>
                        <a:pt x="142" y="1"/>
                        <a:pt x="183" y="41"/>
                        <a:pt x="182" y="93"/>
                      </a:cubicBezTo>
                      <a:cubicBezTo>
                        <a:pt x="182" y="142"/>
                        <a:pt x="141" y="183"/>
                        <a:pt x="91" y="183"/>
                      </a:cubicBezTo>
                      <a:cubicBezTo>
                        <a:pt x="41" y="183"/>
                        <a:pt x="0" y="142"/>
                        <a:pt x="0" y="91"/>
                      </a:cubicBezTo>
                      <a:cubicBezTo>
                        <a:pt x="0" y="41"/>
                        <a:pt x="41" y="0"/>
                        <a:pt x="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70" name="Freeform 8">
                  <a:extLst>
                    <a:ext uri="{FF2B5EF4-FFF2-40B4-BE49-F238E27FC236}">
                      <a16:creationId xmlns:a16="http://schemas.microsoft.com/office/drawing/2014/main" id="{9AA45E11-26CB-4A5E-B267-4C20DF2CDFAC}"/>
                    </a:ext>
                  </a:extLst>
                </p:cNvPr>
                <p:cNvSpPr>
                  <a:spLocks/>
                </p:cNvSpPr>
                <p:nvPr/>
              </p:nvSpPr>
              <p:spPr bwMode="auto">
                <a:xfrm>
                  <a:off x="-912659" y="5052377"/>
                  <a:ext cx="396875" cy="192088"/>
                </a:xfrm>
                <a:custGeom>
                  <a:avLst/>
                  <a:gdLst>
                    <a:gd name="T0" fmla="*/ 391 w 456"/>
                    <a:gd name="T1" fmla="*/ 215 h 221"/>
                    <a:gd name="T2" fmla="*/ 348 w 456"/>
                    <a:gd name="T3" fmla="*/ 197 h 221"/>
                    <a:gd name="T4" fmla="*/ 108 w 456"/>
                    <a:gd name="T5" fmla="*/ 197 h 221"/>
                    <a:gd name="T6" fmla="*/ 23 w 456"/>
                    <a:gd name="T7" fmla="*/ 197 h 221"/>
                    <a:gd name="T8" fmla="*/ 23 w 456"/>
                    <a:gd name="T9" fmla="*/ 112 h 221"/>
                    <a:gd name="T10" fmla="*/ 433 w 456"/>
                    <a:gd name="T11" fmla="*/ 112 h 221"/>
                    <a:gd name="T12" fmla="*/ 433 w 456"/>
                    <a:gd name="T13" fmla="*/ 197 h 221"/>
                    <a:gd name="T14" fmla="*/ 391 w 456"/>
                    <a:gd name="T15" fmla="*/ 215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6" h="221">
                      <a:moveTo>
                        <a:pt x="391" y="215"/>
                      </a:moveTo>
                      <a:cubicBezTo>
                        <a:pt x="375" y="215"/>
                        <a:pt x="360" y="209"/>
                        <a:pt x="348" y="197"/>
                      </a:cubicBezTo>
                      <a:cubicBezTo>
                        <a:pt x="282" y="131"/>
                        <a:pt x="174" y="131"/>
                        <a:pt x="108" y="197"/>
                      </a:cubicBezTo>
                      <a:cubicBezTo>
                        <a:pt x="85" y="221"/>
                        <a:pt x="47" y="221"/>
                        <a:pt x="23" y="197"/>
                      </a:cubicBezTo>
                      <a:cubicBezTo>
                        <a:pt x="0" y="174"/>
                        <a:pt x="0" y="136"/>
                        <a:pt x="23" y="112"/>
                      </a:cubicBezTo>
                      <a:cubicBezTo>
                        <a:pt x="136" y="0"/>
                        <a:pt x="320" y="0"/>
                        <a:pt x="433" y="112"/>
                      </a:cubicBezTo>
                      <a:cubicBezTo>
                        <a:pt x="456" y="136"/>
                        <a:pt x="456" y="174"/>
                        <a:pt x="433" y="197"/>
                      </a:cubicBezTo>
                      <a:cubicBezTo>
                        <a:pt x="421" y="209"/>
                        <a:pt x="406" y="215"/>
                        <a:pt x="391" y="2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71" name="Freeform 9">
                  <a:extLst>
                    <a:ext uri="{FF2B5EF4-FFF2-40B4-BE49-F238E27FC236}">
                      <a16:creationId xmlns:a16="http://schemas.microsoft.com/office/drawing/2014/main" id="{13B23287-E854-4D85-AC9C-2FF5F2E966AD}"/>
                    </a:ext>
                  </a:extLst>
                </p:cNvPr>
                <p:cNvSpPr>
                  <a:spLocks/>
                </p:cNvSpPr>
                <p:nvPr/>
              </p:nvSpPr>
              <p:spPr bwMode="auto">
                <a:xfrm>
                  <a:off x="-1044421" y="4834890"/>
                  <a:ext cx="661988" cy="266700"/>
                </a:xfrm>
                <a:custGeom>
                  <a:avLst/>
                  <a:gdLst>
                    <a:gd name="T0" fmla="*/ 694 w 760"/>
                    <a:gd name="T1" fmla="*/ 299 h 305"/>
                    <a:gd name="T2" fmla="*/ 652 w 760"/>
                    <a:gd name="T3" fmla="*/ 281 h 305"/>
                    <a:gd name="T4" fmla="*/ 109 w 760"/>
                    <a:gd name="T5" fmla="*/ 281 h 305"/>
                    <a:gd name="T6" fmla="*/ 24 w 760"/>
                    <a:gd name="T7" fmla="*/ 281 h 305"/>
                    <a:gd name="T8" fmla="*/ 24 w 760"/>
                    <a:gd name="T9" fmla="*/ 197 h 305"/>
                    <a:gd name="T10" fmla="*/ 737 w 760"/>
                    <a:gd name="T11" fmla="*/ 197 h 305"/>
                    <a:gd name="T12" fmla="*/ 737 w 760"/>
                    <a:gd name="T13" fmla="*/ 281 h 305"/>
                    <a:gd name="T14" fmla="*/ 694 w 760"/>
                    <a:gd name="T15" fmla="*/ 299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0" h="305">
                      <a:moveTo>
                        <a:pt x="694" y="299"/>
                      </a:moveTo>
                      <a:cubicBezTo>
                        <a:pt x="679" y="299"/>
                        <a:pt x="663" y="293"/>
                        <a:pt x="652" y="281"/>
                      </a:cubicBezTo>
                      <a:cubicBezTo>
                        <a:pt x="502" y="132"/>
                        <a:pt x="258" y="132"/>
                        <a:pt x="109" y="281"/>
                      </a:cubicBezTo>
                      <a:cubicBezTo>
                        <a:pt x="85" y="305"/>
                        <a:pt x="47" y="305"/>
                        <a:pt x="24" y="281"/>
                      </a:cubicBezTo>
                      <a:cubicBezTo>
                        <a:pt x="0" y="258"/>
                        <a:pt x="0" y="220"/>
                        <a:pt x="24" y="197"/>
                      </a:cubicBezTo>
                      <a:cubicBezTo>
                        <a:pt x="220" y="0"/>
                        <a:pt x="540" y="0"/>
                        <a:pt x="737" y="197"/>
                      </a:cubicBezTo>
                      <a:cubicBezTo>
                        <a:pt x="760" y="220"/>
                        <a:pt x="760" y="258"/>
                        <a:pt x="737" y="281"/>
                      </a:cubicBezTo>
                      <a:cubicBezTo>
                        <a:pt x="725" y="293"/>
                        <a:pt x="709" y="299"/>
                        <a:pt x="694" y="29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sp>
              <p:nvSpPr>
                <p:cNvPr id="572" name="Freeform 10">
                  <a:extLst>
                    <a:ext uri="{FF2B5EF4-FFF2-40B4-BE49-F238E27FC236}">
                      <a16:creationId xmlns:a16="http://schemas.microsoft.com/office/drawing/2014/main" id="{BEA706C6-2E0D-49F2-BAC7-32DEAA2BB6C3}"/>
                    </a:ext>
                  </a:extLst>
                </p:cNvPr>
                <p:cNvSpPr>
                  <a:spLocks/>
                </p:cNvSpPr>
                <p:nvPr/>
              </p:nvSpPr>
              <p:spPr bwMode="auto">
                <a:xfrm>
                  <a:off x="-1169834" y="4620577"/>
                  <a:ext cx="912813" cy="334963"/>
                </a:xfrm>
                <a:custGeom>
                  <a:avLst/>
                  <a:gdLst>
                    <a:gd name="T0" fmla="*/ 981 w 1047"/>
                    <a:gd name="T1" fmla="*/ 378 h 384"/>
                    <a:gd name="T2" fmla="*/ 938 w 1047"/>
                    <a:gd name="T3" fmla="*/ 361 h 384"/>
                    <a:gd name="T4" fmla="*/ 108 w 1047"/>
                    <a:gd name="T5" fmla="*/ 361 h 384"/>
                    <a:gd name="T6" fmla="*/ 23 w 1047"/>
                    <a:gd name="T7" fmla="*/ 361 h 384"/>
                    <a:gd name="T8" fmla="*/ 23 w 1047"/>
                    <a:gd name="T9" fmla="*/ 276 h 384"/>
                    <a:gd name="T10" fmla="*/ 1023 w 1047"/>
                    <a:gd name="T11" fmla="*/ 276 h 384"/>
                    <a:gd name="T12" fmla="*/ 1023 w 1047"/>
                    <a:gd name="T13" fmla="*/ 361 h 384"/>
                    <a:gd name="T14" fmla="*/ 981 w 1047"/>
                    <a:gd name="T15" fmla="*/ 378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7" h="384">
                      <a:moveTo>
                        <a:pt x="981" y="378"/>
                      </a:moveTo>
                      <a:cubicBezTo>
                        <a:pt x="965" y="378"/>
                        <a:pt x="950" y="373"/>
                        <a:pt x="938" y="361"/>
                      </a:cubicBezTo>
                      <a:cubicBezTo>
                        <a:pt x="709" y="132"/>
                        <a:pt x="337" y="132"/>
                        <a:pt x="108" y="361"/>
                      </a:cubicBezTo>
                      <a:cubicBezTo>
                        <a:pt x="85" y="384"/>
                        <a:pt x="47" y="384"/>
                        <a:pt x="23" y="361"/>
                      </a:cubicBezTo>
                      <a:cubicBezTo>
                        <a:pt x="0" y="337"/>
                        <a:pt x="0" y="299"/>
                        <a:pt x="23" y="276"/>
                      </a:cubicBezTo>
                      <a:cubicBezTo>
                        <a:pt x="299" y="0"/>
                        <a:pt x="747" y="0"/>
                        <a:pt x="1023" y="276"/>
                      </a:cubicBezTo>
                      <a:cubicBezTo>
                        <a:pt x="1047" y="299"/>
                        <a:pt x="1047" y="337"/>
                        <a:pt x="1023" y="361"/>
                      </a:cubicBezTo>
                      <a:cubicBezTo>
                        <a:pt x="1011" y="373"/>
                        <a:pt x="996" y="378"/>
                        <a:pt x="981" y="3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fontAlgn="auto">
                    <a:spcBef>
                      <a:spcPts val="0"/>
                    </a:spcBef>
                    <a:spcAft>
                      <a:spcPts val="0"/>
                    </a:spcAft>
                    <a:defRPr/>
                  </a:pPr>
                  <a:endParaRPr lang="en-US">
                    <a:solidFill>
                      <a:srgbClr val="282828"/>
                    </a:solidFill>
                    <a:latin typeface="CiscoSansTT ExtraLight"/>
                    <a:cs typeface="+mn-cs"/>
                  </a:endParaRPr>
                </a:p>
              </p:txBody>
            </p:sp>
          </p:grpSp>
        </p:grpSp>
        <p:sp>
          <p:nvSpPr>
            <p:cNvPr id="600" name="TextBox 599">
              <a:extLst>
                <a:ext uri="{FF2B5EF4-FFF2-40B4-BE49-F238E27FC236}">
                  <a16:creationId xmlns:a16="http://schemas.microsoft.com/office/drawing/2014/main" id="{8E6EDDEE-7524-4264-9C24-92DB777CC6AE}"/>
                </a:ext>
              </a:extLst>
            </p:cNvPr>
            <p:cNvSpPr txBox="1"/>
            <p:nvPr/>
          </p:nvSpPr>
          <p:spPr>
            <a:xfrm>
              <a:off x="653183" y="1260360"/>
              <a:ext cx="2307201" cy="307777"/>
            </a:xfrm>
            <a:prstGeom prst="rect">
              <a:avLst/>
            </a:prstGeom>
            <a:noFill/>
          </p:spPr>
          <p:txBody>
            <a:bodyPr wrap="square" rtlCol="0">
              <a:spAutoFit/>
            </a:bodyPr>
            <a:lstStyle/>
            <a:p>
              <a:pPr algn="ctr" defTabSz="457166" fontAlgn="auto">
                <a:spcBef>
                  <a:spcPts val="0"/>
                </a:spcBef>
                <a:spcAft>
                  <a:spcPts val="0"/>
                </a:spcAft>
              </a:pPr>
              <a:r>
                <a:rPr lang="en-US" sz="1400" b="1" dirty="0">
                  <a:solidFill>
                    <a:srgbClr val="FFFFFF"/>
                  </a:solidFill>
                  <a:latin typeface="CiscoSansTT" panose="020B0503020201020303" pitchFamily="34" charset="0"/>
                  <a:cs typeface="CiscoSansTT" panose="020B0503020201020303" pitchFamily="34" charset="0"/>
                </a:rPr>
                <a:t>Edge / Remote</a:t>
              </a:r>
            </a:p>
          </p:txBody>
        </p:sp>
        <p:sp>
          <p:nvSpPr>
            <p:cNvPr id="601" name="Rectangle 600">
              <a:extLst>
                <a:ext uri="{FF2B5EF4-FFF2-40B4-BE49-F238E27FC236}">
                  <a16:creationId xmlns:a16="http://schemas.microsoft.com/office/drawing/2014/main" id="{05809E65-DB2D-45A2-9A26-27AED5FE9AB0}"/>
                </a:ext>
              </a:extLst>
            </p:cNvPr>
            <p:cNvSpPr/>
            <p:nvPr/>
          </p:nvSpPr>
          <p:spPr>
            <a:xfrm>
              <a:off x="1714418" y="1503666"/>
              <a:ext cx="184731" cy="230832"/>
            </a:xfrm>
            <a:prstGeom prst="rect">
              <a:avLst/>
            </a:prstGeom>
          </p:spPr>
          <p:txBody>
            <a:bodyPr wrap="none">
              <a:spAutoFit/>
            </a:bodyPr>
            <a:lstStyle/>
            <a:p>
              <a:pPr algn="ctr" defTabSz="457166" fontAlgn="auto">
                <a:spcBef>
                  <a:spcPts val="0"/>
                </a:spcBef>
                <a:spcAft>
                  <a:spcPts val="0"/>
                </a:spcAft>
              </a:pPr>
              <a:endParaRPr lang="en-US" sz="900" dirty="0">
                <a:solidFill>
                  <a:srgbClr val="005073"/>
                </a:solidFill>
                <a:latin typeface="CiscoSansTT" panose="020B0503020201020303" pitchFamily="34" charset="0"/>
                <a:cs typeface="CiscoSansTT" panose="020B0503020201020303" pitchFamily="34" charset="0"/>
              </a:endParaRPr>
            </a:p>
          </p:txBody>
        </p:sp>
        <p:sp>
          <p:nvSpPr>
            <p:cNvPr id="603" name="TextBox 602">
              <a:extLst>
                <a:ext uri="{FF2B5EF4-FFF2-40B4-BE49-F238E27FC236}">
                  <a16:creationId xmlns:a16="http://schemas.microsoft.com/office/drawing/2014/main" id="{4E930E43-D74F-413D-A7FB-6D3F76DFDA10}"/>
                </a:ext>
              </a:extLst>
            </p:cNvPr>
            <p:cNvSpPr txBox="1"/>
            <p:nvPr/>
          </p:nvSpPr>
          <p:spPr>
            <a:xfrm>
              <a:off x="6183620" y="1260361"/>
              <a:ext cx="2307201" cy="307777"/>
            </a:xfrm>
            <a:prstGeom prst="rect">
              <a:avLst/>
            </a:prstGeom>
            <a:noFill/>
          </p:spPr>
          <p:txBody>
            <a:bodyPr wrap="square" rtlCol="0">
              <a:spAutoFit/>
            </a:bodyPr>
            <a:lstStyle/>
            <a:p>
              <a:pPr algn="ctr" defTabSz="457166" fontAlgn="auto">
                <a:spcBef>
                  <a:spcPts val="0"/>
                </a:spcBef>
                <a:spcAft>
                  <a:spcPts val="0"/>
                </a:spcAft>
              </a:pPr>
              <a:r>
                <a:rPr lang="en-US" sz="1400" b="1" dirty="0">
                  <a:solidFill>
                    <a:srgbClr val="FFFFFF"/>
                  </a:solidFill>
                  <a:latin typeface="CiscoSansTT" panose="020B0503020201020303" pitchFamily="34" charset="0"/>
                  <a:cs typeface="CiscoSansTT" panose="020B0503020201020303" pitchFamily="34" charset="0"/>
                </a:rPr>
                <a:t>Multicloud</a:t>
              </a:r>
            </a:p>
          </p:txBody>
        </p:sp>
        <p:sp>
          <p:nvSpPr>
            <p:cNvPr id="605" name="TextBox 604">
              <a:extLst>
                <a:ext uri="{FF2B5EF4-FFF2-40B4-BE49-F238E27FC236}">
                  <a16:creationId xmlns:a16="http://schemas.microsoft.com/office/drawing/2014/main" id="{805D6DCF-E4C3-41AF-98D8-A8A5AEA00FE8}"/>
                </a:ext>
              </a:extLst>
            </p:cNvPr>
            <p:cNvSpPr txBox="1"/>
            <p:nvPr/>
          </p:nvSpPr>
          <p:spPr>
            <a:xfrm>
              <a:off x="3606669" y="1260361"/>
              <a:ext cx="1934758" cy="307777"/>
            </a:xfrm>
            <a:prstGeom prst="rect">
              <a:avLst/>
            </a:prstGeom>
            <a:noFill/>
          </p:spPr>
          <p:txBody>
            <a:bodyPr wrap="square" rtlCol="0">
              <a:spAutoFit/>
            </a:bodyPr>
            <a:lstStyle/>
            <a:p>
              <a:pPr algn="ctr" defTabSz="685783" fontAlgn="auto">
                <a:spcBef>
                  <a:spcPts val="0"/>
                </a:spcBef>
                <a:spcAft>
                  <a:spcPts val="0"/>
                </a:spcAft>
              </a:pPr>
              <a:r>
                <a:rPr lang="en-US" sz="1400" b="1" dirty="0">
                  <a:solidFill>
                    <a:srgbClr val="FFFFFF"/>
                  </a:solidFill>
                  <a:latin typeface="CiscoSansTT" panose="020B0503020201020303" pitchFamily="34" charset="0"/>
                  <a:cs typeface="CiscoSansTT" panose="020B0503020201020303" pitchFamily="34" charset="0"/>
                </a:rPr>
                <a:t>Core Data Centers</a:t>
              </a:r>
            </a:p>
          </p:txBody>
        </p:sp>
        <p:grpSp>
          <p:nvGrpSpPr>
            <p:cNvPr id="13" name="Group 12">
              <a:extLst>
                <a:ext uri="{FF2B5EF4-FFF2-40B4-BE49-F238E27FC236}">
                  <a16:creationId xmlns:a16="http://schemas.microsoft.com/office/drawing/2014/main" id="{DA1744D3-CB9D-4726-94A5-1A5E43966168}"/>
                </a:ext>
              </a:extLst>
            </p:cNvPr>
            <p:cNvGrpSpPr/>
            <p:nvPr/>
          </p:nvGrpSpPr>
          <p:grpSpPr>
            <a:xfrm>
              <a:off x="5273483" y="557571"/>
              <a:ext cx="3360420" cy="158087"/>
              <a:chOff x="2897580" y="437405"/>
              <a:chExt cx="8629487" cy="405965"/>
            </a:xfrm>
          </p:grpSpPr>
          <p:sp>
            <p:nvSpPr>
              <p:cNvPr id="12" name="Rectangle: Rounded Corners 11">
                <a:extLst>
                  <a:ext uri="{FF2B5EF4-FFF2-40B4-BE49-F238E27FC236}">
                    <a16:creationId xmlns:a16="http://schemas.microsoft.com/office/drawing/2014/main" id="{AB23F2DA-4842-4DD7-9821-E171E3E66B30}"/>
                  </a:ext>
                </a:extLst>
              </p:cNvPr>
              <p:cNvSpPr>
                <a:spLocks/>
              </p:cNvSpPr>
              <p:nvPr/>
            </p:nvSpPr>
            <p:spPr>
              <a:xfrm>
                <a:off x="2897580" y="578087"/>
                <a:ext cx="8629487" cy="113046"/>
              </a:xfrm>
              <a:prstGeom prst="roundRect">
                <a:avLst>
                  <a:gd name="adj" fmla="val 50000"/>
                </a:avLst>
              </a:pr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dirty="0">
                  <a:solidFill>
                    <a:srgbClr val="282828"/>
                  </a:solidFill>
                  <a:latin typeface="CiscoSansTT ExtraLight"/>
                  <a:cs typeface="+mn-cs"/>
                </a:endParaRPr>
              </a:p>
            </p:txBody>
          </p:sp>
          <p:sp>
            <p:nvSpPr>
              <p:cNvPr id="1278" name="Freeform 6">
                <a:extLst>
                  <a:ext uri="{FF2B5EF4-FFF2-40B4-BE49-F238E27FC236}">
                    <a16:creationId xmlns:a16="http://schemas.microsoft.com/office/drawing/2014/main" id="{9717139B-01FE-4DE1-B64D-EBD96A6DA286}"/>
                  </a:ext>
                </a:extLst>
              </p:cNvPr>
              <p:cNvSpPr>
                <a:spLocks/>
              </p:cNvSpPr>
              <p:nvPr/>
            </p:nvSpPr>
            <p:spPr bwMode="auto">
              <a:xfrm>
                <a:off x="11267484" y="437405"/>
                <a:ext cx="242017" cy="167851"/>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79" name="Freeform 7">
                <a:extLst>
                  <a:ext uri="{FF2B5EF4-FFF2-40B4-BE49-F238E27FC236}">
                    <a16:creationId xmlns:a16="http://schemas.microsoft.com/office/drawing/2014/main" id="{9E5E5035-A1FD-48F9-97AD-07A0072D8480}"/>
                  </a:ext>
                </a:extLst>
              </p:cNvPr>
              <p:cNvSpPr>
                <a:spLocks noEditPoints="1"/>
              </p:cNvSpPr>
              <p:nvPr/>
            </p:nvSpPr>
            <p:spPr bwMode="auto">
              <a:xfrm>
                <a:off x="11352060" y="589641"/>
                <a:ext cx="139225" cy="52047"/>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80" name="Freeform 8">
                <a:extLst>
                  <a:ext uri="{FF2B5EF4-FFF2-40B4-BE49-F238E27FC236}">
                    <a16:creationId xmlns:a16="http://schemas.microsoft.com/office/drawing/2014/main" id="{4A4896DC-9DA1-458E-B102-4CD069EC8C9C}"/>
                  </a:ext>
                </a:extLst>
              </p:cNvPr>
              <p:cNvSpPr>
                <a:spLocks/>
              </p:cNvSpPr>
              <p:nvPr/>
            </p:nvSpPr>
            <p:spPr bwMode="auto">
              <a:xfrm>
                <a:off x="11267484" y="676820"/>
                <a:ext cx="242017" cy="16655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81" name="Freeform 9">
                <a:extLst>
                  <a:ext uri="{FF2B5EF4-FFF2-40B4-BE49-F238E27FC236}">
                    <a16:creationId xmlns:a16="http://schemas.microsoft.com/office/drawing/2014/main" id="{83EEE1F1-90A2-438F-9766-CBBE8504E1FA}"/>
                  </a:ext>
                </a:extLst>
              </p:cNvPr>
              <p:cNvSpPr>
                <a:spLocks noEditPoints="1"/>
              </p:cNvSpPr>
              <p:nvPr/>
            </p:nvSpPr>
            <p:spPr bwMode="auto">
              <a:xfrm>
                <a:off x="11352060" y="641688"/>
                <a:ext cx="157442" cy="49444"/>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82" name="Freeform 10">
                <a:extLst>
                  <a:ext uri="{FF2B5EF4-FFF2-40B4-BE49-F238E27FC236}">
                    <a16:creationId xmlns:a16="http://schemas.microsoft.com/office/drawing/2014/main" id="{80A47070-D5C5-45D2-B2F8-F95D604AFD63}"/>
                  </a:ext>
                </a:extLst>
              </p:cNvPr>
              <p:cNvSpPr>
                <a:spLocks noEditPoints="1"/>
              </p:cNvSpPr>
              <p:nvPr/>
            </p:nvSpPr>
            <p:spPr bwMode="auto">
              <a:xfrm>
                <a:off x="11473069" y="589641"/>
                <a:ext cx="48144" cy="101491"/>
              </a:xfrm>
              <a:custGeom>
                <a:avLst/>
                <a:gdLst>
                  <a:gd name="T0" fmla="*/ 2 w 33"/>
                  <a:gd name="T1" fmla="*/ 71 h 71"/>
                  <a:gd name="T2" fmla="*/ 0 w 33"/>
                  <a:gd name="T3" fmla="*/ 71 h 71"/>
                  <a:gd name="T4" fmla="*/ 0 w 33"/>
                  <a:gd name="T5" fmla="*/ 71 h 71"/>
                  <a:gd name="T6" fmla="*/ 0 w 33"/>
                  <a:gd name="T7" fmla="*/ 71 h 71"/>
                  <a:gd name="T8" fmla="*/ 2 w 33"/>
                  <a:gd name="T9" fmla="*/ 71 h 71"/>
                  <a:gd name="T10" fmla="*/ 3 w 33"/>
                  <a:gd name="T11" fmla="*/ 71 h 71"/>
                  <a:gd name="T12" fmla="*/ 2 w 33"/>
                  <a:gd name="T13" fmla="*/ 71 h 71"/>
                  <a:gd name="T14" fmla="*/ 3 w 33"/>
                  <a:gd name="T15" fmla="*/ 71 h 71"/>
                  <a:gd name="T16" fmla="*/ 3 w 33"/>
                  <a:gd name="T17" fmla="*/ 71 h 71"/>
                  <a:gd name="T18" fmla="*/ 3 w 33"/>
                  <a:gd name="T19" fmla="*/ 71 h 71"/>
                  <a:gd name="T20" fmla="*/ 3 w 33"/>
                  <a:gd name="T21" fmla="*/ 71 h 71"/>
                  <a:gd name="T22" fmla="*/ 13 w 33"/>
                  <a:gd name="T23" fmla="*/ 69 h 71"/>
                  <a:gd name="T24" fmla="*/ 13 w 33"/>
                  <a:gd name="T25" fmla="*/ 69 h 71"/>
                  <a:gd name="T26" fmla="*/ 13 w 33"/>
                  <a:gd name="T27" fmla="*/ 69 h 71"/>
                  <a:gd name="T28" fmla="*/ 14 w 33"/>
                  <a:gd name="T29" fmla="*/ 68 h 71"/>
                  <a:gd name="T30" fmla="*/ 13 w 33"/>
                  <a:gd name="T31" fmla="*/ 69 h 71"/>
                  <a:gd name="T32" fmla="*/ 14 w 33"/>
                  <a:gd name="T33" fmla="*/ 68 h 71"/>
                  <a:gd name="T34" fmla="*/ 25 w 33"/>
                  <a:gd name="T35" fmla="*/ 61 h 71"/>
                  <a:gd name="T36" fmla="*/ 14 w 33"/>
                  <a:gd name="T37" fmla="*/ 68 h 71"/>
                  <a:gd name="T38" fmla="*/ 25 w 33"/>
                  <a:gd name="T39" fmla="*/ 61 h 71"/>
                  <a:gd name="T40" fmla="*/ 25 w 33"/>
                  <a:gd name="T41" fmla="*/ 61 h 71"/>
                  <a:gd name="T42" fmla="*/ 25 w 33"/>
                  <a:gd name="T43" fmla="*/ 61 h 71"/>
                  <a:gd name="T44" fmla="*/ 25 w 33"/>
                  <a:gd name="T45" fmla="*/ 61 h 71"/>
                  <a:gd name="T46" fmla="*/ 25 w 33"/>
                  <a:gd name="T47" fmla="*/ 61 h 71"/>
                  <a:gd name="T48" fmla="*/ 25 w 33"/>
                  <a:gd name="T49" fmla="*/ 61 h 71"/>
                  <a:gd name="T50" fmla="*/ 25 w 33"/>
                  <a:gd name="T51" fmla="*/ 61 h 71"/>
                  <a:gd name="T52" fmla="*/ 25 w 33"/>
                  <a:gd name="T53" fmla="*/ 61 h 71"/>
                  <a:gd name="T54" fmla="*/ 25 w 33"/>
                  <a:gd name="T55" fmla="*/ 61 h 71"/>
                  <a:gd name="T56" fmla="*/ 25 w 33"/>
                  <a:gd name="T57" fmla="*/ 61 h 71"/>
                  <a:gd name="T58" fmla="*/ 26 w 33"/>
                  <a:gd name="T59" fmla="*/ 60 h 71"/>
                  <a:gd name="T60" fmla="*/ 26 w 33"/>
                  <a:gd name="T61" fmla="*/ 60 h 71"/>
                  <a:gd name="T62" fmla="*/ 26 w 33"/>
                  <a:gd name="T63" fmla="*/ 60 h 71"/>
                  <a:gd name="T64" fmla="*/ 26 w 33"/>
                  <a:gd name="T65" fmla="*/ 60 h 71"/>
                  <a:gd name="T66" fmla="*/ 26 w 33"/>
                  <a:gd name="T67" fmla="*/ 60 h 71"/>
                  <a:gd name="T68" fmla="*/ 26 w 33"/>
                  <a:gd name="T69" fmla="*/ 60 h 71"/>
                  <a:gd name="T70" fmla="*/ 26 w 33"/>
                  <a:gd name="T71" fmla="*/ 60 h 71"/>
                  <a:gd name="T72" fmla="*/ 26 w 33"/>
                  <a:gd name="T73" fmla="*/ 60 h 71"/>
                  <a:gd name="T74" fmla="*/ 26 w 33"/>
                  <a:gd name="T75" fmla="*/ 60 h 71"/>
                  <a:gd name="T76" fmla="*/ 33 w 33"/>
                  <a:gd name="T77" fmla="*/ 50 h 71"/>
                  <a:gd name="T78" fmla="*/ 26 w 33"/>
                  <a:gd name="T79" fmla="*/ 60 h 71"/>
                  <a:gd name="T80" fmla="*/ 33 w 33"/>
                  <a:gd name="T81" fmla="*/ 50 h 71"/>
                  <a:gd name="T82" fmla="*/ 33 w 33"/>
                  <a:gd name="T83" fmla="*/ 50 h 71"/>
                  <a:gd name="T84" fmla="*/ 33 w 33"/>
                  <a:gd name="T85" fmla="*/ 50 h 71"/>
                  <a:gd name="T86" fmla="*/ 33 w 33"/>
                  <a:gd name="T87" fmla="*/ 50 h 71"/>
                  <a:gd name="T88" fmla="*/ 33 w 33"/>
                  <a:gd name="T89" fmla="*/ 50 h 71"/>
                  <a:gd name="T90" fmla="*/ 33 w 33"/>
                  <a:gd name="T91" fmla="*/ 50 h 71"/>
                  <a:gd name="T92" fmla="*/ 33 w 33"/>
                  <a:gd name="T93" fmla="*/ 50 h 71"/>
                  <a:gd name="T94" fmla="*/ 32 w 33"/>
                  <a:gd name="T95" fmla="*/ 21 h 71"/>
                  <a:gd name="T96" fmla="*/ 33 w 33"/>
                  <a:gd name="T97" fmla="*/ 21 h 71"/>
                  <a:gd name="T98" fmla="*/ 32 w 33"/>
                  <a:gd name="T99" fmla="*/ 21 h 71"/>
                  <a:gd name="T100" fmla="*/ 12 w 33"/>
                  <a:gd name="T101" fmla="*/ 2 h 71"/>
                  <a:gd name="T102" fmla="*/ 32 w 33"/>
                  <a:gd name="T103" fmla="*/ 21 h 71"/>
                  <a:gd name="T104" fmla="*/ 25 w 33"/>
                  <a:gd name="T105" fmla="*/ 11 h 71"/>
                  <a:gd name="T106" fmla="*/ 25 w 33"/>
                  <a:gd name="T107" fmla="*/ 11 h 71"/>
                  <a:gd name="T108" fmla="*/ 12 w 33"/>
                  <a:gd name="T109" fmla="*/ 2 h 71"/>
                  <a:gd name="T110" fmla="*/ 12 w 33"/>
                  <a:gd name="T111" fmla="*/ 2 h 71"/>
                  <a:gd name="T112" fmla="*/ 12 w 33"/>
                  <a:gd name="T113" fmla="*/ 2 h 71"/>
                  <a:gd name="T114" fmla="*/ 12 w 33"/>
                  <a:gd name="T115" fmla="*/ 2 h 71"/>
                  <a:gd name="T116" fmla="*/ 0 w 33"/>
                  <a:gd name="T117" fmla="*/ 0 h 71"/>
                  <a:gd name="T118" fmla="*/ 0 w 33"/>
                  <a:gd name="T119" fmla="*/ 0 h 71"/>
                  <a:gd name="T120" fmla="*/ 0 w 33"/>
                  <a:gd name="T121" fmla="*/ 0 h 71"/>
                  <a:gd name="T122" fmla="*/ 4 w 33"/>
                  <a:gd name="T123" fmla="*/ 0 h 71"/>
                  <a:gd name="T124" fmla="*/ 0 w 33"/>
                  <a:gd name="T1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6"/>
                      <a:pt x="29" y="12"/>
                      <a:pt x="32"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283" name="Freeform 11">
                <a:extLst>
                  <a:ext uri="{FF2B5EF4-FFF2-40B4-BE49-F238E27FC236}">
                    <a16:creationId xmlns:a16="http://schemas.microsoft.com/office/drawing/2014/main" id="{94C8CC36-E40B-49F2-9773-E26232B037E5}"/>
                  </a:ext>
                </a:extLst>
              </p:cNvPr>
              <p:cNvSpPr>
                <a:spLocks/>
              </p:cNvSpPr>
              <p:nvPr/>
            </p:nvSpPr>
            <p:spPr bwMode="auto">
              <a:xfrm>
                <a:off x="11403455" y="589641"/>
                <a:ext cx="123612" cy="101492"/>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sp>
          <p:nvSpPr>
            <p:cNvPr id="1284" name="Rectangle 1283">
              <a:extLst>
                <a:ext uri="{FF2B5EF4-FFF2-40B4-BE49-F238E27FC236}">
                  <a16:creationId xmlns:a16="http://schemas.microsoft.com/office/drawing/2014/main" id="{86163D15-F4DA-443E-BFD0-D5C4F732327F}"/>
                </a:ext>
              </a:extLst>
            </p:cNvPr>
            <p:cNvSpPr/>
            <p:nvPr/>
          </p:nvSpPr>
          <p:spPr>
            <a:xfrm>
              <a:off x="3879342" y="482668"/>
              <a:ext cx="1385316" cy="300082"/>
            </a:xfrm>
            <a:prstGeom prst="rect">
              <a:avLst/>
            </a:prstGeom>
          </p:spPr>
          <p:txBody>
            <a:bodyPr wrap="none">
              <a:spAutoFit/>
            </a:bodyPr>
            <a:lstStyle/>
            <a:p>
              <a:pPr algn="ctr" defTabSz="457106" eaLnBrk="0" fontAlgn="auto" hangingPunct="0">
                <a:spcBef>
                  <a:spcPts val="0"/>
                </a:spcBef>
                <a:spcAft>
                  <a:spcPts val="0"/>
                </a:spcAft>
                <a:defRPr/>
              </a:pPr>
              <a:r>
                <a:rPr lang="en-US" sz="1350" b="1" dirty="0">
                  <a:solidFill>
                    <a:srgbClr val="005073"/>
                  </a:solidFill>
                  <a:latin typeface="CiscoSansTT" panose="020B0503020201020303" pitchFamily="34" charset="0"/>
                  <a:cs typeface="CiscoSansTT" panose="020B0503020201020303" pitchFamily="34" charset="0"/>
                </a:rPr>
                <a:t>ACI Anywhere</a:t>
              </a:r>
            </a:p>
          </p:txBody>
        </p:sp>
        <p:grpSp>
          <p:nvGrpSpPr>
            <p:cNvPr id="1301" name="Group 1300">
              <a:extLst>
                <a:ext uri="{FF2B5EF4-FFF2-40B4-BE49-F238E27FC236}">
                  <a16:creationId xmlns:a16="http://schemas.microsoft.com/office/drawing/2014/main" id="{4D5ED77A-485D-444B-9D67-CCC9FF64DC14}"/>
                </a:ext>
              </a:extLst>
            </p:cNvPr>
            <p:cNvGrpSpPr/>
            <p:nvPr/>
          </p:nvGrpSpPr>
          <p:grpSpPr>
            <a:xfrm flipH="1">
              <a:off x="484167" y="557571"/>
              <a:ext cx="3360420" cy="158087"/>
              <a:chOff x="2897580" y="437405"/>
              <a:chExt cx="8629487" cy="405965"/>
            </a:xfrm>
          </p:grpSpPr>
          <p:sp>
            <p:nvSpPr>
              <p:cNvPr id="1302" name="Rectangle: Rounded Corners 1301">
                <a:extLst>
                  <a:ext uri="{FF2B5EF4-FFF2-40B4-BE49-F238E27FC236}">
                    <a16:creationId xmlns:a16="http://schemas.microsoft.com/office/drawing/2014/main" id="{CB24EFF1-63F3-4A31-8137-3913DBAB14A4}"/>
                  </a:ext>
                </a:extLst>
              </p:cNvPr>
              <p:cNvSpPr>
                <a:spLocks/>
              </p:cNvSpPr>
              <p:nvPr/>
            </p:nvSpPr>
            <p:spPr>
              <a:xfrm>
                <a:off x="2897580" y="578087"/>
                <a:ext cx="8629487" cy="113046"/>
              </a:xfrm>
              <a:prstGeom prst="roundRect">
                <a:avLst>
                  <a:gd name="adj" fmla="val 50000"/>
                </a:avLst>
              </a:pr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dirty="0">
                  <a:solidFill>
                    <a:srgbClr val="282828"/>
                  </a:solidFill>
                  <a:latin typeface="CiscoSansTT ExtraLight"/>
                  <a:cs typeface="+mn-cs"/>
                </a:endParaRPr>
              </a:p>
            </p:txBody>
          </p:sp>
          <p:sp>
            <p:nvSpPr>
              <p:cNvPr id="1303" name="Freeform 6">
                <a:extLst>
                  <a:ext uri="{FF2B5EF4-FFF2-40B4-BE49-F238E27FC236}">
                    <a16:creationId xmlns:a16="http://schemas.microsoft.com/office/drawing/2014/main" id="{EA1DBAE8-676D-4EB7-92A4-0E4EFD44CE12}"/>
                  </a:ext>
                </a:extLst>
              </p:cNvPr>
              <p:cNvSpPr>
                <a:spLocks/>
              </p:cNvSpPr>
              <p:nvPr/>
            </p:nvSpPr>
            <p:spPr bwMode="auto">
              <a:xfrm>
                <a:off x="11267484" y="437405"/>
                <a:ext cx="242017" cy="167851"/>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304" name="Freeform 7">
                <a:extLst>
                  <a:ext uri="{FF2B5EF4-FFF2-40B4-BE49-F238E27FC236}">
                    <a16:creationId xmlns:a16="http://schemas.microsoft.com/office/drawing/2014/main" id="{C8B5DAF9-9065-4340-833B-EA846D38B0C9}"/>
                  </a:ext>
                </a:extLst>
              </p:cNvPr>
              <p:cNvSpPr>
                <a:spLocks noEditPoints="1"/>
              </p:cNvSpPr>
              <p:nvPr/>
            </p:nvSpPr>
            <p:spPr bwMode="auto">
              <a:xfrm>
                <a:off x="11352060" y="589641"/>
                <a:ext cx="139225" cy="52047"/>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305" name="Freeform 8">
                <a:extLst>
                  <a:ext uri="{FF2B5EF4-FFF2-40B4-BE49-F238E27FC236}">
                    <a16:creationId xmlns:a16="http://schemas.microsoft.com/office/drawing/2014/main" id="{00CD9B39-FD6D-49D7-8251-806547EA027C}"/>
                  </a:ext>
                </a:extLst>
              </p:cNvPr>
              <p:cNvSpPr>
                <a:spLocks/>
              </p:cNvSpPr>
              <p:nvPr/>
            </p:nvSpPr>
            <p:spPr bwMode="auto">
              <a:xfrm>
                <a:off x="11267484" y="676820"/>
                <a:ext cx="242017" cy="16655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306" name="Freeform 9">
                <a:extLst>
                  <a:ext uri="{FF2B5EF4-FFF2-40B4-BE49-F238E27FC236}">
                    <a16:creationId xmlns:a16="http://schemas.microsoft.com/office/drawing/2014/main" id="{3CA7AEEE-2C7F-499D-A5F7-0B6C7574D681}"/>
                  </a:ext>
                </a:extLst>
              </p:cNvPr>
              <p:cNvSpPr>
                <a:spLocks noEditPoints="1"/>
              </p:cNvSpPr>
              <p:nvPr/>
            </p:nvSpPr>
            <p:spPr bwMode="auto">
              <a:xfrm>
                <a:off x="11352060" y="641688"/>
                <a:ext cx="157442" cy="49444"/>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307" name="Freeform 10">
                <a:extLst>
                  <a:ext uri="{FF2B5EF4-FFF2-40B4-BE49-F238E27FC236}">
                    <a16:creationId xmlns:a16="http://schemas.microsoft.com/office/drawing/2014/main" id="{9339CA55-EA91-4E43-8738-0109225D4757}"/>
                  </a:ext>
                </a:extLst>
              </p:cNvPr>
              <p:cNvSpPr>
                <a:spLocks noEditPoints="1"/>
              </p:cNvSpPr>
              <p:nvPr/>
            </p:nvSpPr>
            <p:spPr bwMode="auto">
              <a:xfrm>
                <a:off x="11473069" y="589641"/>
                <a:ext cx="48144" cy="101491"/>
              </a:xfrm>
              <a:custGeom>
                <a:avLst/>
                <a:gdLst>
                  <a:gd name="T0" fmla="*/ 2 w 33"/>
                  <a:gd name="T1" fmla="*/ 71 h 71"/>
                  <a:gd name="T2" fmla="*/ 0 w 33"/>
                  <a:gd name="T3" fmla="*/ 71 h 71"/>
                  <a:gd name="T4" fmla="*/ 0 w 33"/>
                  <a:gd name="T5" fmla="*/ 71 h 71"/>
                  <a:gd name="T6" fmla="*/ 0 w 33"/>
                  <a:gd name="T7" fmla="*/ 71 h 71"/>
                  <a:gd name="T8" fmla="*/ 2 w 33"/>
                  <a:gd name="T9" fmla="*/ 71 h 71"/>
                  <a:gd name="T10" fmla="*/ 3 w 33"/>
                  <a:gd name="T11" fmla="*/ 71 h 71"/>
                  <a:gd name="T12" fmla="*/ 2 w 33"/>
                  <a:gd name="T13" fmla="*/ 71 h 71"/>
                  <a:gd name="T14" fmla="*/ 3 w 33"/>
                  <a:gd name="T15" fmla="*/ 71 h 71"/>
                  <a:gd name="T16" fmla="*/ 3 w 33"/>
                  <a:gd name="T17" fmla="*/ 71 h 71"/>
                  <a:gd name="T18" fmla="*/ 3 w 33"/>
                  <a:gd name="T19" fmla="*/ 71 h 71"/>
                  <a:gd name="T20" fmla="*/ 3 w 33"/>
                  <a:gd name="T21" fmla="*/ 71 h 71"/>
                  <a:gd name="T22" fmla="*/ 13 w 33"/>
                  <a:gd name="T23" fmla="*/ 69 h 71"/>
                  <a:gd name="T24" fmla="*/ 13 w 33"/>
                  <a:gd name="T25" fmla="*/ 69 h 71"/>
                  <a:gd name="T26" fmla="*/ 13 w 33"/>
                  <a:gd name="T27" fmla="*/ 69 h 71"/>
                  <a:gd name="T28" fmla="*/ 14 w 33"/>
                  <a:gd name="T29" fmla="*/ 68 h 71"/>
                  <a:gd name="T30" fmla="*/ 13 w 33"/>
                  <a:gd name="T31" fmla="*/ 69 h 71"/>
                  <a:gd name="T32" fmla="*/ 14 w 33"/>
                  <a:gd name="T33" fmla="*/ 68 h 71"/>
                  <a:gd name="T34" fmla="*/ 25 w 33"/>
                  <a:gd name="T35" fmla="*/ 61 h 71"/>
                  <a:gd name="T36" fmla="*/ 14 w 33"/>
                  <a:gd name="T37" fmla="*/ 68 h 71"/>
                  <a:gd name="T38" fmla="*/ 25 w 33"/>
                  <a:gd name="T39" fmla="*/ 61 h 71"/>
                  <a:gd name="T40" fmla="*/ 25 w 33"/>
                  <a:gd name="T41" fmla="*/ 61 h 71"/>
                  <a:gd name="T42" fmla="*/ 25 w 33"/>
                  <a:gd name="T43" fmla="*/ 61 h 71"/>
                  <a:gd name="T44" fmla="*/ 25 w 33"/>
                  <a:gd name="T45" fmla="*/ 61 h 71"/>
                  <a:gd name="T46" fmla="*/ 25 w 33"/>
                  <a:gd name="T47" fmla="*/ 61 h 71"/>
                  <a:gd name="T48" fmla="*/ 25 w 33"/>
                  <a:gd name="T49" fmla="*/ 61 h 71"/>
                  <a:gd name="T50" fmla="*/ 25 w 33"/>
                  <a:gd name="T51" fmla="*/ 61 h 71"/>
                  <a:gd name="T52" fmla="*/ 25 w 33"/>
                  <a:gd name="T53" fmla="*/ 61 h 71"/>
                  <a:gd name="T54" fmla="*/ 25 w 33"/>
                  <a:gd name="T55" fmla="*/ 61 h 71"/>
                  <a:gd name="T56" fmla="*/ 25 w 33"/>
                  <a:gd name="T57" fmla="*/ 61 h 71"/>
                  <a:gd name="T58" fmla="*/ 26 w 33"/>
                  <a:gd name="T59" fmla="*/ 60 h 71"/>
                  <a:gd name="T60" fmla="*/ 26 w 33"/>
                  <a:gd name="T61" fmla="*/ 60 h 71"/>
                  <a:gd name="T62" fmla="*/ 26 w 33"/>
                  <a:gd name="T63" fmla="*/ 60 h 71"/>
                  <a:gd name="T64" fmla="*/ 26 w 33"/>
                  <a:gd name="T65" fmla="*/ 60 h 71"/>
                  <a:gd name="T66" fmla="*/ 26 w 33"/>
                  <a:gd name="T67" fmla="*/ 60 h 71"/>
                  <a:gd name="T68" fmla="*/ 26 w 33"/>
                  <a:gd name="T69" fmla="*/ 60 h 71"/>
                  <a:gd name="T70" fmla="*/ 26 w 33"/>
                  <a:gd name="T71" fmla="*/ 60 h 71"/>
                  <a:gd name="T72" fmla="*/ 26 w 33"/>
                  <a:gd name="T73" fmla="*/ 60 h 71"/>
                  <a:gd name="T74" fmla="*/ 26 w 33"/>
                  <a:gd name="T75" fmla="*/ 60 h 71"/>
                  <a:gd name="T76" fmla="*/ 33 w 33"/>
                  <a:gd name="T77" fmla="*/ 50 h 71"/>
                  <a:gd name="T78" fmla="*/ 26 w 33"/>
                  <a:gd name="T79" fmla="*/ 60 h 71"/>
                  <a:gd name="T80" fmla="*/ 33 w 33"/>
                  <a:gd name="T81" fmla="*/ 50 h 71"/>
                  <a:gd name="T82" fmla="*/ 33 w 33"/>
                  <a:gd name="T83" fmla="*/ 50 h 71"/>
                  <a:gd name="T84" fmla="*/ 33 w 33"/>
                  <a:gd name="T85" fmla="*/ 50 h 71"/>
                  <a:gd name="T86" fmla="*/ 33 w 33"/>
                  <a:gd name="T87" fmla="*/ 50 h 71"/>
                  <a:gd name="T88" fmla="*/ 33 w 33"/>
                  <a:gd name="T89" fmla="*/ 50 h 71"/>
                  <a:gd name="T90" fmla="*/ 33 w 33"/>
                  <a:gd name="T91" fmla="*/ 50 h 71"/>
                  <a:gd name="T92" fmla="*/ 33 w 33"/>
                  <a:gd name="T93" fmla="*/ 50 h 71"/>
                  <a:gd name="T94" fmla="*/ 32 w 33"/>
                  <a:gd name="T95" fmla="*/ 21 h 71"/>
                  <a:gd name="T96" fmla="*/ 33 w 33"/>
                  <a:gd name="T97" fmla="*/ 21 h 71"/>
                  <a:gd name="T98" fmla="*/ 32 w 33"/>
                  <a:gd name="T99" fmla="*/ 21 h 71"/>
                  <a:gd name="T100" fmla="*/ 12 w 33"/>
                  <a:gd name="T101" fmla="*/ 2 h 71"/>
                  <a:gd name="T102" fmla="*/ 32 w 33"/>
                  <a:gd name="T103" fmla="*/ 21 h 71"/>
                  <a:gd name="T104" fmla="*/ 25 w 33"/>
                  <a:gd name="T105" fmla="*/ 11 h 71"/>
                  <a:gd name="T106" fmla="*/ 25 w 33"/>
                  <a:gd name="T107" fmla="*/ 11 h 71"/>
                  <a:gd name="T108" fmla="*/ 12 w 33"/>
                  <a:gd name="T109" fmla="*/ 2 h 71"/>
                  <a:gd name="T110" fmla="*/ 12 w 33"/>
                  <a:gd name="T111" fmla="*/ 2 h 71"/>
                  <a:gd name="T112" fmla="*/ 12 w 33"/>
                  <a:gd name="T113" fmla="*/ 2 h 71"/>
                  <a:gd name="T114" fmla="*/ 12 w 33"/>
                  <a:gd name="T115" fmla="*/ 2 h 71"/>
                  <a:gd name="T116" fmla="*/ 0 w 33"/>
                  <a:gd name="T117" fmla="*/ 0 h 71"/>
                  <a:gd name="T118" fmla="*/ 0 w 33"/>
                  <a:gd name="T119" fmla="*/ 0 h 71"/>
                  <a:gd name="T120" fmla="*/ 0 w 33"/>
                  <a:gd name="T121" fmla="*/ 0 h 71"/>
                  <a:gd name="T122" fmla="*/ 4 w 33"/>
                  <a:gd name="T123" fmla="*/ 0 h 71"/>
                  <a:gd name="T124" fmla="*/ 0 w 33"/>
                  <a:gd name="T1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6"/>
                      <a:pt x="29" y="12"/>
                      <a:pt x="32"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sp>
            <p:nvSpPr>
              <p:cNvPr id="1308" name="Freeform 11">
                <a:extLst>
                  <a:ext uri="{FF2B5EF4-FFF2-40B4-BE49-F238E27FC236}">
                    <a16:creationId xmlns:a16="http://schemas.microsoft.com/office/drawing/2014/main" id="{FA432A70-0151-47ED-A9F6-BC9E0DE6535B}"/>
                  </a:ext>
                </a:extLst>
              </p:cNvPr>
              <p:cNvSpPr>
                <a:spLocks/>
              </p:cNvSpPr>
              <p:nvPr/>
            </p:nvSpPr>
            <p:spPr bwMode="auto">
              <a:xfrm>
                <a:off x="11403455" y="589641"/>
                <a:ext cx="123612" cy="101492"/>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457166" fontAlgn="auto">
                  <a:spcBef>
                    <a:spcPts val="0"/>
                  </a:spcBef>
                  <a:spcAft>
                    <a:spcPts val="0"/>
                  </a:spcAft>
                </a:pPr>
                <a:endParaRPr lang="en-US">
                  <a:solidFill>
                    <a:srgbClr val="282828"/>
                  </a:solidFill>
                  <a:latin typeface="CiscoSansTT ExtraLight"/>
                  <a:cs typeface="+mn-cs"/>
                </a:endParaRPr>
              </a:p>
            </p:txBody>
          </p:sp>
        </p:grpSp>
        <p:sp>
          <p:nvSpPr>
            <p:cNvPr id="1309" name="Freeform 6">
              <a:extLst>
                <a:ext uri="{FF2B5EF4-FFF2-40B4-BE49-F238E27FC236}">
                  <a16:creationId xmlns:a16="http://schemas.microsoft.com/office/drawing/2014/main" id="{3E9EBB76-7E29-4F4F-A43D-6974DA0291A7}"/>
                </a:ext>
              </a:extLst>
            </p:cNvPr>
            <p:cNvSpPr>
              <a:spLocks noChangeAspect="1" noEditPoints="1"/>
            </p:cNvSpPr>
            <p:nvPr/>
          </p:nvSpPr>
          <p:spPr bwMode="auto">
            <a:xfrm>
              <a:off x="4332470" y="195551"/>
              <a:ext cx="479061" cy="254502"/>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783" fontAlgn="auto">
                <a:spcBef>
                  <a:spcPts val="0"/>
                </a:spcBef>
                <a:spcAft>
                  <a:spcPts val="0"/>
                </a:spcAft>
              </a:pPr>
              <a:endParaRPr lang="en-US">
                <a:solidFill>
                  <a:srgbClr val="005073"/>
                </a:solidFill>
                <a:latin typeface="CiscoSansTT ExtraLight"/>
                <a:cs typeface="+mn-cs"/>
              </a:endParaRPr>
            </a:p>
          </p:txBody>
        </p:sp>
      </p:grpSp>
    </p:spTree>
    <p:extLst>
      <p:ext uri="{BB962C8B-B14F-4D97-AF65-F5344CB8AC3E}">
        <p14:creationId xmlns:p14="http://schemas.microsoft.com/office/powerpoint/2010/main" val="370668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4390" name="Title 7"/>
          <p:cNvSpPr>
            <a:spLocks noGrp="1"/>
          </p:cNvSpPr>
          <p:nvPr>
            <p:ph type="title"/>
          </p:nvPr>
        </p:nvSpPr>
        <p:spPr/>
        <p:txBody>
          <a:bodyPr/>
          <a:lstStyle/>
          <a:p>
            <a:r>
              <a:rPr lang="en-US" dirty="0">
                <a:latin typeface="CiscoSansTT ExtraLight" panose="020B0303020201020303" pitchFamily="34" charset="0"/>
                <a:cs typeface="CiscoSansTT ExtraLight" panose="020B0303020201020303" pitchFamily="34" charset="0"/>
              </a:rPr>
              <a:t>Nexus Platforms – Areas of Investment</a:t>
            </a:r>
          </a:p>
        </p:txBody>
      </p:sp>
      <p:sp>
        <p:nvSpPr>
          <p:cNvPr id="37" name="Freeform 36"/>
          <p:cNvSpPr>
            <a:spLocks/>
          </p:cNvSpPr>
          <p:nvPr/>
        </p:nvSpPr>
        <p:spPr bwMode="black">
          <a:xfrm>
            <a:off x="5030050" y="1905488"/>
            <a:ext cx="523480" cy="1807729"/>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accent5"/>
          </a:solidFill>
          <a:ln w="9525">
            <a:noFill/>
            <a:round/>
            <a:headEnd/>
            <a:tailEnd/>
          </a:ln>
        </p:spPr>
        <p:txBody>
          <a:bodyPr lIns="91436" tIns="45718" rIns="91436" bIns="45718"/>
          <a:lstStyle/>
          <a:p>
            <a:pPr defTabSz="685800" fontAlgn="auto">
              <a:spcBef>
                <a:spcPts val="0"/>
              </a:spcBef>
              <a:spcAft>
                <a:spcPts val="0"/>
              </a:spcAft>
            </a:pPr>
            <a:endParaRPr lang="en-US" sz="1350" dirty="0">
              <a:solidFill>
                <a:srgbClr val="282828"/>
              </a:solidFill>
              <a:latin typeface="CiscoSansTT ExtraLight"/>
              <a:ea typeface="+mn-ea"/>
              <a:cs typeface="+mn-cs"/>
            </a:endParaRPr>
          </a:p>
        </p:txBody>
      </p:sp>
      <p:sp>
        <p:nvSpPr>
          <p:cNvPr id="38" name="Freeform 37"/>
          <p:cNvSpPr>
            <a:spLocks/>
          </p:cNvSpPr>
          <p:nvPr/>
        </p:nvSpPr>
        <p:spPr bwMode="black">
          <a:xfrm>
            <a:off x="3590470" y="3090769"/>
            <a:ext cx="523480" cy="1082046"/>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accent1"/>
          </a:solidFill>
          <a:ln w="9525">
            <a:noFill/>
            <a:round/>
            <a:headEnd/>
            <a:tailEnd/>
          </a:ln>
        </p:spPr>
        <p:txBody>
          <a:bodyPr lIns="91436" tIns="45718" rIns="91436" bIns="45718"/>
          <a:lstStyle/>
          <a:p>
            <a:pPr defTabSz="685800" fontAlgn="auto">
              <a:spcBef>
                <a:spcPts val="0"/>
              </a:spcBef>
              <a:spcAft>
                <a:spcPts val="0"/>
              </a:spcAft>
            </a:pPr>
            <a:endParaRPr lang="en-US" sz="1350" dirty="0">
              <a:solidFill>
                <a:srgbClr val="282828"/>
              </a:solidFill>
              <a:latin typeface="CiscoSansTT ExtraLight"/>
              <a:ea typeface="+mn-ea"/>
              <a:cs typeface="+mn-cs"/>
            </a:endParaRPr>
          </a:p>
        </p:txBody>
      </p:sp>
      <p:sp>
        <p:nvSpPr>
          <p:cNvPr id="40" name="Freeform 39"/>
          <p:cNvSpPr>
            <a:spLocks/>
          </p:cNvSpPr>
          <p:nvPr/>
        </p:nvSpPr>
        <p:spPr bwMode="black">
          <a:xfrm>
            <a:off x="4310260" y="1200150"/>
            <a:ext cx="523480" cy="333036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accent3"/>
          </a:solidFill>
          <a:ln w="9525">
            <a:noFill/>
            <a:round/>
            <a:headEnd/>
            <a:tailEnd/>
          </a:ln>
        </p:spPr>
        <p:txBody>
          <a:bodyPr lIns="91436" tIns="45718" rIns="91436" bIns="45718"/>
          <a:lstStyle/>
          <a:p>
            <a:pPr defTabSz="685800" fontAlgn="auto">
              <a:spcBef>
                <a:spcPts val="0"/>
              </a:spcBef>
              <a:spcAft>
                <a:spcPts val="0"/>
              </a:spcAft>
            </a:pPr>
            <a:endParaRPr lang="en-US" sz="1350" dirty="0">
              <a:solidFill>
                <a:srgbClr val="282828"/>
              </a:solidFill>
              <a:latin typeface="CiscoSansTT ExtraLight"/>
              <a:ea typeface="+mn-ea"/>
              <a:cs typeface="+mn-cs"/>
            </a:endParaRPr>
          </a:p>
        </p:txBody>
      </p:sp>
      <p:grpSp>
        <p:nvGrpSpPr>
          <p:cNvPr id="41" name="Group 40"/>
          <p:cNvGrpSpPr/>
          <p:nvPr/>
        </p:nvGrpSpPr>
        <p:grpSpPr>
          <a:xfrm>
            <a:off x="819476" y="1340765"/>
            <a:ext cx="3828724" cy="103909"/>
            <a:chOff x="228251" y="2057400"/>
            <a:chExt cx="3828724" cy="103909"/>
          </a:xfrm>
        </p:grpSpPr>
        <p:cxnSp>
          <p:nvCxnSpPr>
            <p:cNvPr id="42" name="Straight Connector 41"/>
            <p:cNvCxnSpPr/>
            <p:nvPr/>
          </p:nvCxnSpPr>
          <p:spPr>
            <a:xfrm>
              <a:off x="228251" y="2109354"/>
              <a:ext cx="37314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3953066" y="2057400"/>
              <a:ext cx="103909" cy="103909"/>
            </a:xfrm>
            <a:prstGeom prst="ellipse">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005073"/>
                </a:solidFill>
              </a:endParaRPr>
            </a:p>
          </p:txBody>
        </p:sp>
      </p:grpSp>
      <p:sp>
        <p:nvSpPr>
          <p:cNvPr id="44" name="TextBox 43"/>
          <p:cNvSpPr txBox="1">
            <a:spLocks noChangeArrowheads="1"/>
          </p:cNvSpPr>
          <p:nvPr/>
        </p:nvSpPr>
        <p:spPr bwMode="auto">
          <a:xfrm>
            <a:off x="823018" y="1513713"/>
            <a:ext cx="2743200" cy="1645920"/>
          </a:xfrm>
          <a:prstGeom prst="rect">
            <a:avLst/>
          </a:prstGeom>
          <a:noFill/>
          <a:ln w="9525">
            <a:noFill/>
            <a:miter lim="800000"/>
            <a:headEnd/>
            <a:tailEnd/>
          </a:ln>
        </p:spPr>
        <p:txBody>
          <a:bodyPr lIns="0" tIns="0" rIns="0" bIns="0">
            <a:noAutofit/>
          </a:bodyPr>
          <a:lstStyle/>
          <a:p>
            <a:pPr defTabSz="685800" fontAlgn="auto">
              <a:lnSpc>
                <a:spcPts val="2000"/>
              </a:lnSpc>
              <a:spcBef>
                <a:spcPts val="0"/>
              </a:spcBef>
              <a:spcAft>
                <a:spcPts val="0"/>
              </a:spcAft>
            </a:pPr>
            <a:r>
              <a:rPr lang="en-US" sz="1600" b="1" dirty="0">
                <a:solidFill>
                  <a:srgbClr val="005073"/>
                </a:solidFill>
                <a:latin typeface="CiscoSansTT ExtraLight"/>
                <a:ea typeface="+mn-ea"/>
                <a:cs typeface="+mn-cs"/>
              </a:rPr>
              <a:t>Cisco Nexus Cloud Scale</a:t>
            </a:r>
          </a:p>
          <a:p>
            <a:pPr defTabSz="685800" fontAlgn="auto">
              <a:lnSpc>
                <a:spcPts val="2000"/>
              </a:lnSpc>
              <a:spcBef>
                <a:spcPts val="0"/>
              </a:spcBef>
              <a:spcAft>
                <a:spcPts val="0"/>
              </a:spcAft>
            </a:pPr>
            <a:r>
              <a:rPr lang="en-US" sz="1200" dirty="0">
                <a:solidFill>
                  <a:srgbClr val="005073"/>
                </a:solidFill>
                <a:latin typeface="CiscoSansTT ExtraLight"/>
                <a:ea typeface="+mn-ea"/>
                <a:cs typeface="+mn-cs"/>
              </a:rPr>
              <a:t>Nexus 9000 Series</a:t>
            </a:r>
          </a:p>
          <a:p>
            <a:pPr defTabSz="685800" fontAlgn="auto">
              <a:spcBef>
                <a:spcPts val="600"/>
              </a:spcBef>
              <a:spcAft>
                <a:spcPts val="0"/>
              </a:spcAft>
            </a:pPr>
            <a:r>
              <a:rPr lang="en-US" sz="1200" dirty="0">
                <a:solidFill>
                  <a:srgbClr val="282828"/>
                </a:solidFill>
                <a:latin typeface="CiscoSansTT ExtraLight"/>
                <a:ea typeface="+mn-ea"/>
                <a:cs typeface="+mn-cs"/>
              </a:rPr>
              <a:t>Differentiated Features</a:t>
            </a:r>
          </a:p>
          <a:p>
            <a:pPr marL="171450" indent="-171450">
              <a:spcBef>
                <a:spcPts val="600"/>
              </a:spcBef>
              <a:buFont typeface="Arial" charset="0"/>
              <a:buChar char="•"/>
            </a:pPr>
            <a:r>
              <a:rPr lang="en-US" sz="1200" dirty="0">
                <a:solidFill>
                  <a:srgbClr val="282828"/>
                </a:solidFill>
                <a:latin typeface="CiscoSansTT ExtraLight"/>
              </a:rPr>
              <a:t>Architectural Flexibility</a:t>
            </a:r>
          </a:p>
          <a:p>
            <a:pPr marL="171450" indent="-171450" defTabSz="685800" fontAlgn="auto">
              <a:spcBef>
                <a:spcPts val="600"/>
              </a:spcBef>
              <a:spcAft>
                <a:spcPts val="0"/>
              </a:spcAft>
              <a:buFont typeface="Arial" charset="0"/>
              <a:buChar char="•"/>
            </a:pPr>
            <a:r>
              <a:rPr lang="en-US" sz="1200" dirty="0">
                <a:solidFill>
                  <a:srgbClr val="282828"/>
                </a:solidFill>
                <a:latin typeface="CiscoSansTT ExtraLight"/>
                <a:ea typeface="+mn-ea"/>
                <a:cs typeface="+mn-cs"/>
              </a:rPr>
              <a:t>Enhanced Telemetry</a:t>
            </a:r>
          </a:p>
          <a:p>
            <a:pPr marL="171450" indent="-171450" defTabSz="685800" fontAlgn="auto">
              <a:spcBef>
                <a:spcPts val="600"/>
              </a:spcBef>
              <a:spcAft>
                <a:spcPts val="0"/>
              </a:spcAft>
              <a:buFont typeface="Arial" charset="0"/>
              <a:buChar char="•"/>
            </a:pPr>
            <a:r>
              <a:rPr lang="en-US" sz="1200" dirty="0">
                <a:solidFill>
                  <a:srgbClr val="282828"/>
                </a:solidFill>
                <a:latin typeface="CiscoSansTT ExtraLight"/>
                <a:ea typeface="+mn-ea"/>
                <a:cs typeface="+mn-cs"/>
              </a:rPr>
              <a:t>Smart Buffering</a:t>
            </a:r>
          </a:p>
          <a:p>
            <a:pPr marL="171450" indent="-171450">
              <a:spcBef>
                <a:spcPts val="600"/>
              </a:spcBef>
              <a:buFont typeface="Arial" charset="0"/>
              <a:buChar char="•"/>
            </a:pPr>
            <a:r>
              <a:rPr lang="en-US" sz="1200" dirty="0">
                <a:solidFill>
                  <a:srgbClr val="282828"/>
                </a:solidFill>
                <a:latin typeface="CiscoSansTT ExtraLight"/>
              </a:rPr>
              <a:t>Security with </a:t>
            </a:r>
            <a:r>
              <a:rPr lang="en-US" sz="1200" dirty="0" err="1">
                <a:solidFill>
                  <a:srgbClr val="282828"/>
                </a:solidFill>
                <a:latin typeface="CiscoSansTT ExtraLight"/>
              </a:rPr>
              <a:t>CloudSec</a:t>
            </a:r>
            <a:r>
              <a:rPr lang="en-US" sz="1200" dirty="0">
                <a:solidFill>
                  <a:srgbClr val="282828"/>
                </a:solidFill>
                <a:latin typeface="CiscoSansTT ExtraLight"/>
              </a:rPr>
              <a:t> and </a:t>
            </a:r>
            <a:r>
              <a:rPr lang="en-US" sz="1200" dirty="0" err="1">
                <a:solidFill>
                  <a:srgbClr val="282828"/>
                </a:solidFill>
                <a:latin typeface="CiscoSansTT ExtraLight"/>
              </a:rPr>
              <a:t>MacSec</a:t>
            </a:r>
            <a:endParaRPr lang="en-US" sz="1200" dirty="0">
              <a:solidFill>
                <a:srgbClr val="282828"/>
              </a:solidFill>
              <a:latin typeface="CiscoSansTT ExtraLight"/>
            </a:endParaRPr>
          </a:p>
          <a:p>
            <a:pPr defTabSz="685800" fontAlgn="auto">
              <a:spcBef>
                <a:spcPts val="600"/>
              </a:spcBef>
              <a:spcAft>
                <a:spcPts val="0"/>
              </a:spcAft>
            </a:pPr>
            <a:endParaRPr lang="en-US" sz="1200" dirty="0">
              <a:solidFill>
                <a:srgbClr val="282828"/>
              </a:solidFill>
              <a:latin typeface="CiscoSansTT ExtraLight"/>
              <a:ea typeface="+mn-ea"/>
              <a:cs typeface="+mn-cs"/>
            </a:endParaRPr>
          </a:p>
        </p:txBody>
      </p:sp>
      <p:grpSp>
        <p:nvGrpSpPr>
          <p:cNvPr id="45" name="Group 44"/>
          <p:cNvGrpSpPr/>
          <p:nvPr/>
        </p:nvGrpSpPr>
        <p:grpSpPr>
          <a:xfrm>
            <a:off x="5223745" y="2031572"/>
            <a:ext cx="3279964" cy="100584"/>
            <a:chOff x="5432145" y="2680651"/>
            <a:chExt cx="3279964" cy="100584"/>
          </a:xfrm>
        </p:grpSpPr>
        <p:cxnSp>
          <p:nvCxnSpPr>
            <p:cNvPr id="46" name="Straight Connector 45"/>
            <p:cNvCxnSpPr/>
            <p:nvPr/>
          </p:nvCxnSpPr>
          <p:spPr>
            <a:xfrm flipH="1">
              <a:off x="5529421" y="2730943"/>
              <a:ext cx="31826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flipH="1">
              <a:off x="5432145" y="2680651"/>
              <a:ext cx="103909" cy="100584"/>
            </a:xfrm>
            <a:prstGeom prst="ellipse">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282828">
                    <a:lumMod val="50000"/>
                  </a:srgbClr>
                </a:solidFill>
              </a:endParaRPr>
            </a:p>
          </p:txBody>
        </p:sp>
      </p:grpSp>
      <p:grpSp>
        <p:nvGrpSpPr>
          <p:cNvPr id="48" name="Group 47"/>
          <p:cNvGrpSpPr/>
          <p:nvPr/>
        </p:nvGrpSpPr>
        <p:grpSpPr>
          <a:xfrm>
            <a:off x="865142" y="3832490"/>
            <a:ext cx="2996798" cy="103909"/>
            <a:chOff x="385714" y="4108315"/>
            <a:chExt cx="2996798" cy="103909"/>
          </a:xfrm>
        </p:grpSpPr>
        <p:cxnSp>
          <p:nvCxnSpPr>
            <p:cNvPr id="49" name="Straight Connector 48"/>
            <p:cNvCxnSpPr/>
            <p:nvPr/>
          </p:nvCxnSpPr>
          <p:spPr>
            <a:xfrm>
              <a:off x="385714" y="4160269"/>
              <a:ext cx="29796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Oval 49"/>
            <p:cNvSpPr/>
            <p:nvPr/>
          </p:nvSpPr>
          <p:spPr>
            <a:xfrm>
              <a:off x="3278603" y="4108315"/>
              <a:ext cx="103909" cy="103909"/>
            </a:xfrm>
            <a:prstGeom prst="ellipse">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005073"/>
                </a:solidFill>
              </a:endParaRPr>
            </a:p>
          </p:txBody>
        </p:sp>
      </p:grpSp>
      <p:sp>
        <p:nvSpPr>
          <p:cNvPr id="54" name="TextBox 53"/>
          <p:cNvSpPr txBox="1">
            <a:spLocks noChangeArrowheads="1"/>
          </p:cNvSpPr>
          <p:nvPr/>
        </p:nvSpPr>
        <p:spPr bwMode="auto">
          <a:xfrm>
            <a:off x="867028" y="4012807"/>
            <a:ext cx="2286000" cy="1371600"/>
          </a:xfrm>
          <a:prstGeom prst="rect">
            <a:avLst/>
          </a:prstGeom>
          <a:noFill/>
          <a:ln w="9525">
            <a:noFill/>
            <a:miter lim="800000"/>
            <a:headEnd/>
            <a:tailEnd/>
          </a:ln>
        </p:spPr>
        <p:txBody>
          <a:bodyPr lIns="0" tIns="0" rIns="0" bIns="0">
            <a:noAutofit/>
          </a:bodyPr>
          <a:lstStyle/>
          <a:p>
            <a:pPr defTabSz="685800" fontAlgn="auto">
              <a:lnSpc>
                <a:spcPts val="2000"/>
              </a:lnSpc>
              <a:spcBef>
                <a:spcPts val="0"/>
              </a:spcBef>
              <a:spcAft>
                <a:spcPts val="0"/>
              </a:spcAft>
            </a:pPr>
            <a:r>
              <a:rPr lang="en-US" sz="1350" b="1" dirty="0">
                <a:solidFill>
                  <a:srgbClr val="00BCEB"/>
                </a:solidFill>
                <a:latin typeface="CiscoSansTT ExtraLight"/>
                <a:ea typeface="+mn-ea"/>
                <a:cs typeface="+mn-cs"/>
              </a:rPr>
              <a:t>Cisco Custom Silicon</a:t>
            </a:r>
          </a:p>
          <a:p>
            <a:pPr defTabSz="685800" fontAlgn="auto">
              <a:lnSpc>
                <a:spcPts val="2000"/>
              </a:lnSpc>
              <a:spcBef>
                <a:spcPts val="0"/>
              </a:spcBef>
              <a:spcAft>
                <a:spcPts val="0"/>
              </a:spcAft>
            </a:pPr>
            <a:r>
              <a:rPr lang="en-US" sz="1200" dirty="0">
                <a:solidFill>
                  <a:srgbClr val="00BCEB"/>
                </a:solidFill>
                <a:latin typeface="CiscoSansTT ExtraLight"/>
                <a:ea typeface="+mn-ea"/>
                <a:cs typeface="+mn-cs"/>
              </a:rPr>
              <a:t>Nexus 7000</a:t>
            </a:r>
          </a:p>
          <a:p>
            <a:pPr defTabSz="685800" fontAlgn="auto">
              <a:lnSpc>
                <a:spcPts val="2000"/>
              </a:lnSpc>
              <a:spcBef>
                <a:spcPts val="0"/>
              </a:spcBef>
              <a:spcAft>
                <a:spcPts val="0"/>
              </a:spcAft>
            </a:pPr>
            <a:r>
              <a:rPr lang="en-US" sz="1200" dirty="0">
                <a:latin typeface="CiscoSansTT ExtraLight"/>
                <a:ea typeface="+mn-ea"/>
                <a:cs typeface="+mn-cs"/>
              </a:rPr>
              <a:t>Investment Protection</a:t>
            </a:r>
          </a:p>
        </p:txBody>
      </p:sp>
      <p:sp>
        <p:nvSpPr>
          <p:cNvPr id="55" name="TextBox 54"/>
          <p:cNvSpPr txBox="1">
            <a:spLocks noChangeArrowheads="1"/>
          </p:cNvSpPr>
          <p:nvPr/>
        </p:nvSpPr>
        <p:spPr bwMode="auto">
          <a:xfrm>
            <a:off x="5760509" y="2211541"/>
            <a:ext cx="2743200" cy="1419404"/>
          </a:xfrm>
          <a:prstGeom prst="rect">
            <a:avLst/>
          </a:prstGeom>
          <a:noFill/>
          <a:ln w="9525">
            <a:noFill/>
            <a:miter lim="800000"/>
            <a:headEnd/>
            <a:tailEnd/>
          </a:ln>
        </p:spPr>
        <p:txBody>
          <a:bodyPr lIns="0" tIns="0" rIns="0" bIns="0">
            <a:noAutofit/>
          </a:bodyPr>
          <a:lstStyle/>
          <a:p>
            <a:pPr algn="r" defTabSz="685800" fontAlgn="auto">
              <a:lnSpc>
                <a:spcPts val="2000"/>
              </a:lnSpc>
              <a:spcBef>
                <a:spcPts val="0"/>
              </a:spcBef>
              <a:spcAft>
                <a:spcPts val="0"/>
              </a:spcAft>
            </a:pPr>
            <a:r>
              <a:rPr lang="en-US" sz="1600" b="1" dirty="0">
                <a:solidFill>
                  <a:srgbClr val="FBAB18"/>
                </a:solidFill>
                <a:latin typeface="CiscoSansTT ExtraLight"/>
                <a:ea typeface="+mn-ea"/>
                <a:cs typeface="+mn-cs"/>
              </a:rPr>
              <a:t>Merchant Silicon</a:t>
            </a:r>
          </a:p>
          <a:p>
            <a:pPr algn="r" defTabSz="685800" fontAlgn="auto">
              <a:lnSpc>
                <a:spcPts val="2000"/>
              </a:lnSpc>
              <a:spcBef>
                <a:spcPts val="0"/>
              </a:spcBef>
              <a:spcAft>
                <a:spcPts val="0"/>
              </a:spcAft>
            </a:pPr>
            <a:r>
              <a:rPr lang="en-US" sz="1100" dirty="0">
                <a:solidFill>
                  <a:srgbClr val="FBAB18"/>
                </a:solidFill>
                <a:latin typeface="CiscoSansTT ExtraLight"/>
                <a:ea typeface="+mn-ea"/>
                <a:cs typeface="+mn-cs"/>
              </a:rPr>
              <a:t>Nexus 9500R Series &amp; Nexus 3000 Series</a:t>
            </a:r>
          </a:p>
          <a:p>
            <a:pPr algn="r" defTabSz="685800" fontAlgn="auto">
              <a:spcBef>
                <a:spcPts val="600"/>
              </a:spcBef>
              <a:spcAft>
                <a:spcPts val="0"/>
              </a:spcAft>
            </a:pPr>
            <a:r>
              <a:rPr lang="en-US" sz="1200" dirty="0">
                <a:solidFill>
                  <a:srgbClr val="282828"/>
                </a:solidFill>
                <a:latin typeface="CiscoSansTT ExtraLight"/>
                <a:ea typeface="+mn-ea"/>
                <a:cs typeface="+mn-cs"/>
              </a:rPr>
              <a:t>Select Market Needs</a:t>
            </a:r>
          </a:p>
        </p:txBody>
      </p:sp>
    </p:spTree>
    <p:custDataLst>
      <p:tags r:id="rId1"/>
    </p:custDataLst>
    <p:extLst>
      <p:ext uri="{BB962C8B-B14F-4D97-AF65-F5344CB8AC3E}">
        <p14:creationId xmlns:p14="http://schemas.microsoft.com/office/powerpoint/2010/main" val="776488076"/>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 name="Picture 193">
            <a:extLst>
              <a:ext uri="{FF2B5EF4-FFF2-40B4-BE49-F238E27FC236}">
                <a16:creationId xmlns:a16="http://schemas.microsoft.com/office/drawing/2014/main" id="{BFD6427A-7117-AF4C-B0A5-1C13BB26F52A}"/>
              </a:ext>
            </a:extLst>
          </p:cNvPr>
          <p:cNvPicPr>
            <a:picLocks noChangeAspect="1"/>
          </p:cNvPicPr>
          <p:nvPr/>
        </p:nvPicPr>
        <p:blipFill>
          <a:blip r:embed="rId3" cstate="screen">
            <a:extLst>
              <a:ext uri="{28A0092B-C50C-407E-A947-70E740481C1C}">
                <a14:useLocalDpi xmlns:a14="http://schemas.microsoft.com/office/drawing/2010/main"/>
              </a:ext>
            </a:extLst>
          </a:blip>
          <a:srcRect l="2139" t="14600" r="6887" b="17219"/>
          <a:stretch>
            <a:fillRect/>
          </a:stretch>
        </p:blipFill>
        <p:spPr>
          <a:xfrm>
            <a:off x="3917821" y="2010333"/>
            <a:ext cx="1280411" cy="1692240"/>
          </a:xfrm>
          <a:custGeom>
            <a:avLst/>
            <a:gdLst>
              <a:gd name="connsiteX0" fmla="*/ 0 w 1280411"/>
              <a:gd name="connsiteY0" fmla="*/ 0 h 1692240"/>
              <a:gd name="connsiteX1" fmla="*/ 1280411 w 1280411"/>
              <a:gd name="connsiteY1" fmla="*/ 320102 h 1692240"/>
              <a:gd name="connsiteX2" fmla="*/ 1270931 w 1280411"/>
              <a:gd name="connsiteY2" fmla="*/ 331591 h 1692240"/>
              <a:gd name="connsiteX3" fmla="*/ 1112014 w 1280411"/>
              <a:gd name="connsiteY3" fmla="*/ 851850 h 1692240"/>
              <a:gd name="connsiteX4" fmla="*/ 1270931 w 1280411"/>
              <a:gd name="connsiteY4" fmla="*/ 1372109 h 1692240"/>
              <a:gd name="connsiteX5" fmla="*/ 1276640 w 1280411"/>
              <a:gd name="connsiteY5" fmla="*/ 1379028 h 1692240"/>
              <a:gd name="connsiteX6" fmla="*/ 23791 w 1280411"/>
              <a:gd name="connsiteY6" fmla="*/ 1692240 h 1692240"/>
              <a:gd name="connsiteX7" fmla="*/ 69843 w 1280411"/>
              <a:gd name="connsiteY7" fmla="*/ 1670055 h 1692240"/>
              <a:gd name="connsiteX8" fmla="*/ 556818 w 1280411"/>
              <a:gd name="connsiteY8" fmla="*/ 851850 h 1692240"/>
              <a:gd name="connsiteX9" fmla="*/ 69843 w 1280411"/>
              <a:gd name="connsiteY9" fmla="*/ 33645 h 169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0411" h="1692240">
                <a:moveTo>
                  <a:pt x="0" y="0"/>
                </a:moveTo>
                <a:lnTo>
                  <a:pt x="1280411" y="320102"/>
                </a:lnTo>
                <a:lnTo>
                  <a:pt x="1270931" y="331591"/>
                </a:lnTo>
                <a:cubicBezTo>
                  <a:pt x="1170599" y="480102"/>
                  <a:pt x="1112014" y="659135"/>
                  <a:pt x="1112014" y="851850"/>
                </a:cubicBezTo>
                <a:cubicBezTo>
                  <a:pt x="1112014" y="1044566"/>
                  <a:pt x="1170599" y="1223598"/>
                  <a:pt x="1270931" y="1372109"/>
                </a:cubicBezTo>
                <a:lnTo>
                  <a:pt x="1276640" y="1379028"/>
                </a:lnTo>
                <a:lnTo>
                  <a:pt x="23791" y="1692240"/>
                </a:lnTo>
                <a:lnTo>
                  <a:pt x="69843" y="1670055"/>
                </a:lnTo>
                <a:cubicBezTo>
                  <a:pt x="359907" y="1512483"/>
                  <a:pt x="556818" y="1205162"/>
                  <a:pt x="556818" y="851850"/>
                </a:cubicBezTo>
                <a:cubicBezTo>
                  <a:pt x="556818" y="498538"/>
                  <a:pt x="359907" y="191217"/>
                  <a:pt x="69843" y="33645"/>
                </a:cubicBezTo>
                <a:close/>
              </a:path>
            </a:pathLst>
          </a:custGeom>
        </p:spPr>
      </p:pic>
      <p:sp>
        <p:nvSpPr>
          <p:cNvPr id="192" name="Oval 191">
            <a:extLst>
              <a:ext uri="{FF2B5EF4-FFF2-40B4-BE49-F238E27FC236}">
                <a16:creationId xmlns:a16="http://schemas.microsoft.com/office/drawing/2014/main" id="{30E16484-605C-B048-B6EC-1D76C7DB9D9E}"/>
              </a:ext>
            </a:extLst>
          </p:cNvPr>
          <p:cNvSpPr/>
          <p:nvPr/>
        </p:nvSpPr>
        <p:spPr>
          <a:xfrm>
            <a:off x="4804352" y="1904721"/>
            <a:ext cx="1861026" cy="1861026"/>
          </a:xfrm>
          <a:prstGeom prst="ellipse">
            <a:avLst/>
          </a:prstGeom>
          <a:solidFill>
            <a:schemeClr val="bg2">
              <a:lumMod val="75000"/>
            </a:schemeClr>
          </a:solidFill>
          <a:ln w="25400" cap="flat" cmpd="sng" algn="ctr">
            <a:noFill/>
            <a:prstDash val="solid"/>
          </a:ln>
          <a:effectLst/>
        </p:spPr>
        <p:txBody>
          <a:bodyPr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5073"/>
              </a:solidFill>
              <a:effectLst/>
              <a:uLnTx/>
              <a:uFillTx/>
              <a:latin typeface="Arial"/>
              <a:ea typeface="ＭＳ Ｐゴシック" charset="-128"/>
            </a:endParaRPr>
          </a:p>
        </p:txBody>
      </p:sp>
      <p:sp>
        <p:nvSpPr>
          <p:cNvPr id="34" name="Round Same Side Corner Rectangle 33"/>
          <p:cNvSpPr/>
          <p:nvPr/>
        </p:nvSpPr>
        <p:spPr>
          <a:xfrm rot="5400000">
            <a:off x="7300802" y="38477"/>
            <a:ext cx="708019" cy="2642616"/>
          </a:xfrm>
          <a:prstGeom prst="round2SameRect">
            <a:avLst>
              <a:gd name="adj1" fmla="val 50000"/>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a:ea typeface="+mn-ea"/>
              <a:cs typeface="+mn-cs"/>
            </a:endParaRPr>
          </a:p>
        </p:txBody>
      </p:sp>
      <p:sp>
        <p:nvSpPr>
          <p:cNvPr id="215" name="Rounded Rectangle 214"/>
          <p:cNvSpPr/>
          <p:nvPr/>
        </p:nvSpPr>
        <p:spPr bwMode="auto">
          <a:xfrm>
            <a:off x="3251735" y="1559243"/>
            <a:ext cx="1878009" cy="1354326"/>
          </a:xfrm>
          <a:prstGeom prst="roundRect">
            <a:avLst/>
          </a:prstGeom>
          <a:noFill/>
          <a:ln w="12700" cap="flat">
            <a:noFill/>
            <a:miter lim="800000"/>
            <a:headEnd type="none" w="med" len="med"/>
            <a:tailEnd type="none" w="med" len="med"/>
          </a:ln>
        </p:spPr>
        <p:txBody>
          <a:bodyPr lIns="91440" tIns="45720" rIns="91440" bIns="45720" rtlCol="0" anchor="ctr"/>
          <a:lstStyle/>
          <a:p>
            <a:pPr marL="0" marR="0" lvl="0" indent="0" algn="ctr" defTabSz="514325"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err="1">
              <a:ln>
                <a:noFill/>
              </a:ln>
              <a:solidFill>
                <a:srgbClr val="005073"/>
              </a:solidFill>
              <a:effectLst/>
              <a:uLnTx/>
              <a:uFillTx/>
              <a:latin typeface="Arial" charset="0"/>
              <a:ea typeface="Arial" pitchFamily="-107" charset="0"/>
              <a:cs typeface="Arial" pitchFamily="-107" charset="0"/>
              <a:sym typeface="Arial" pitchFamily="-107" charset="0"/>
            </a:endParaRPr>
          </a:p>
        </p:txBody>
      </p:sp>
      <p:sp>
        <p:nvSpPr>
          <p:cNvPr id="7" name="Title 6">
            <a:extLst>
              <a:ext uri="{FF2B5EF4-FFF2-40B4-BE49-F238E27FC236}">
                <a16:creationId xmlns:a16="http://schemas.microsoft.com/office/drawing/2014/main" id="{CF583D44-F6C1-4D7F-89D5-E47602421AD6}"/>
              </a:ext>
            </a:extLst>
          </p:cNvPr>
          <p:cNvSpPr>
            <a:spLocks noGrp="1"/>
          </p:cNvSpPr>
          <p:nvPr>
            <p:ph type="title"/>
          </p:nvPr>
        </p:nvSpPr>
        <p:spPr/>
        <p:txBody>
          <a:bodyPr>
            <a:noAutofit/>
          </a:bodyPr>
          <a:lstStyle/>
          <a:p>
            <a:r>
              <a:rPr lang="en-US" dirty="0"/>
              <a:t>Network Insights - Enabling Proactive Action</a:t>
            </a:r>
          </a:p>
        </p:txBody>
      </p:sp>
      <p:sp>
        <p:nvSpPr>
          <p:cNvPr id="31" name="Round Same Side Corner Rectangle 30"/>
          <p:cNvSpPr/>
          <p:nvPr/>
        </p:nvSpPr>
        <p:spPr>
          <a:xfrm rot="5400000">
            <a:off x="5309454" y="38477"/>
            <a:ext cx="708018" cy="2642616"/>
          </a:xfrm>
          <a:prstGeom prst="round2SameRect">
            <a:avLst>
              <a:gd name="adj1" fmla="val 50000"/>
              <a:gd name="adj2" fmla="val 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a:ea typeface="+mn-ea"/>
              <a:cs typeface="+mn-cs"/>
            </a:endParaRPr>
          </a:p>
        </p:txBody>
      </p:sp>
      <p:sp>
        <p:nvSpPr>
          <p:cNvPr id="29" name="Round Same Side Corner Rectangle 28"/>
          <p:cNvSpPr/>
          <p:nvPr/>
        </p:nvSpPr>
        <p:spPr>
          <a:xfrm rot="5400000">
            <a:off x="3318108" y="38477"/>
            <a:ext cx="708019" cy="2642616"/>
          </a:xfrm>
          <a:prstGeom prst="round2SameRect">
            <a:avLst>
              <a:gd name="adj1" fmla="val 5000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a:ea typeface="+mn-ea"/>
              <a:cs typeface="+mn-cs"/>
            </a:endParaRPr>
          </a:p>
        </p:txBody>
      </p:sp>
      <p:sp>
        <p:nvSpPr>
          <p:cNvPr id="25" name="Rounded Rectangle 24"/>
          <p:cNvSpPr/>
          <p:nvPr/>
        </p:nvSpPr>
        <p:spPr>
          <a:xfrm rot="5400000">
            <a:off x="1145104" y="38477"/>
            <a:ext cx="708019" cy="2642616"/>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a:ea typeface="+mn-ea"/>
              <a:cs typeface="+mn-cs"/>
            </a:endParaRPr>
          </a:p>
        </p:txBody>
      </p:sp>
      <p:sp>
        <p:nvSpPr>
          <p:cNvPr id="6" name="Rectangle 5"/>
          <p:cNvSpPr/>
          <p:nvPr/>
        </p:nvSpPr>
        <p:spPr>
          <a:xfrm>
            <a:off x="188037" y="1098176"/>
            <a:ext cx="2624668" cy="523220"/>
          </a:xfrm>
          <a:prstGeom prst="rect">
            <a:avLst/>
          </a:prstGeom>
        </p:spPr>
        <p:txBody>
          <a:bodyPr wrap="square">
            <a:spAutoFit/>
          </a:bodyPr>
          <a:lstStyle/>
          <a:p>
            <a:pPr marL="0" marR="0" lvl="0" indent="0" algn="ctr" defTabSz="457166" rtl="0"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a:ea typeface="ＭＳ Ｐゴシック" charset="-128"/>
              </a:rPr>
              <a:t>Sources of </a:t>
            </a:r>
          </a:p>
          <a:p>
            <a:pPr marL="0" marR="0" lvl="0" indent="0" algn="ctr" defTabSz="457166" rtl="0"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a:ea typeface="ＭＳ Ｐゴシック" charset="-128"/>
              </a:rPr>
              <a:t>Telemetry Data</a:t>
            </a:r>
          </a:p>
        </p:txBody>
      </p:sp>
      <p:sp>
        <p:nvSpPr>
          <p:cNvPr id="8" name="Rectangle 7"/>
          <p:cNvSpPr/>
          <p:nvPr/>
        </p:nvSpPr>
        <p:spPr>
          <a:xfrm>
            <a:off x="2867296" y="1208243"/>
            <a:ext cx="1752948" cy="307777"/>
          </a:xfrm>
          <a:prstGeom prst="rect">
            <a:avLst/>
          </a:prstGeom>
        </p:spPr>
        <p:txBody>
          <a:bodyPr wrap="square">
            <a:spAutoFit/>
          </a:bodyPr>
          <a:lstStyle/>
          <a:p>
            <a:pPr marL="0" marR="0" lvl="0" indent="0" algn="ctr" defTabSz="457166" rtl="0"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a:ea typeface="ＭＳ Ｐゴシック" charset="-128"/>
              </a:rPr>
              <a:t> Ingest and Process</a:t>
            </a:r>
          </a:p>
        </p:txBody>
      </p:sp>
      <p:sp>
        <p:nvSpPr>
          <p:cNvPr id="35" name="Rectangle 34"/>
          <p:cNvSpPr/>
          <p:nvPr/>
        </p:nvSpPr>
        <p:spPr>
          <a:xfrm>
            <a:off x="4975475" y="1205899"/>
            <a:ext cx="1752948" cy="307777"/>
          </a:xfrm>
          <a:prstGeom prst="rect">
            <a:avLst/>
          </a:prstGeom>
        </p:spPr>
        <p:txBody>
          <a:bodyPr wrap="square">
            <a:spAutoFit/>
          </a:bodyPr>
          <a:lstStyle/>
          <a:p>
            <a:pPr marL="0" marR="0" lvl="0" indent="0" algn="ctr" defTabSz="457166" rtl="0"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a:ea typeface="ＭＳ Ｐゴシック" charset="-128"/>
              </a:rPr>
              <a:t>Derive Insights</a:t>
            </a:r>
          </a:p>
        </p:txBody>
      </p:sp>
      <p:sp>
        <p:nvSpPr>
          <p:cNvPr id="36" name="Rectangle 35"/>
          <p:cNvSpPr/>
          <p:nvPr/>
        </p:nvSpPr>
        <p:spPr>
          <a:xfrm>
            <a:off x="6980432" y="1207360"/>
            <a:ext cx="1752948" cy="307777"/>
          </a:xfrm>
          <a:prstGeom prst="rect">
            <a:avLst/>
          </a:prstGeom>
        </p:spPr>
        <p:txBody>
          <a:bodyPr wrap="square">
            <a:spAutoFit/>
          </a:bodyPr>
          <a:lstStyle/>
          <a:p>
            <a:pPr marL="0" marR="0" lvl="0" indent="0" algn="ctr" defTabSz="457166" rtl="0"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a:ea typeface="ＭＳ Ｐゴシック" charset="-128"/>
              </a:rPr>
              <a:t>Suggest Action</a:t>
            </a:r>
          </a:p>
        </p:txBody>
      </p:sp>
      <p:sp>
        <p:nvSpPr>
          <p:cNvPr id="14" name="Oval 13"/>
          <p:cNvSpPr/>
          <p:nvPr/>
        </p:nvSpPr>
        <p:spPr>
          <a:xfrm>
            <a:off x="270253" y="1904721"/>
            <a:ext cx="1861026" cy="1861026"/>
          </a:xfrm>
          <a:prstGeom prst="ellipse">
            <a:avLst/>
          </a:prstGeom>
          <a:solidFill>
            <a:schemeClr val="bg2">
              <a:lumMod val="75000"/>
            </a:schemeClr>
          </a:solidFill>
          <a:ln w="25400" cap="flat" cmpd="sng" algn="ctr">
            <a:noFill/>
            <a:prstDash val="solid"/>
          </a:ln>
          <a:effectLst/>
        </p:spPr>
        <p:txBody>
          <a:bodyPr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5073"/>
              </a:solidFill>
              <a:effectLst/>
              <a:uLnTx/>
              <a:uFillTx/>
              <a:latin typeface="Arial"/>
              <a:ea typeface="ＭＳ Ｐゴシック" charset="-128"/>
            </a:endParaRPr>
          </a:p>
        </p:txBody>
      </p:sp>
      <p:sp>
        <p:nvSpPr>
          <p:cNvPr id="40" name="Oval 39"/>
          <p:cNvSpPr/>
          <p:nvPr/>
        </p:nvSpPr>
        <p:spPr>
          <a:xfrm>
            <a:off x="2686475" y="1904721"/>
            <a:ext cx="1861026" cy="1861026"/>
          </a:xfrm>
          <a:prstGeom prst="ellipse">
            <a:avLst/>
          </a:prstGeom>
          <a:solidFill>
            <a:schemeClr val="bg2">
              <a:lumMod val="75000"/>
            </a:schemeClr>
          </a:solidFill>
          <a:ln w="25400" cap="flat" cmpd="sng" algn="ctr">
            <a:noFill/>
            <a:prstDash val="solid"/>
          </a:ln>
          <a:effectLst/>
        </p:spPr>
        <p:txBody>
          <a:bodyPr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5073"/>
              </a:solidFill>
              <a:effectLst/>
              <a:uLnTx/>
              <a:uFillTx/>
              <a:latin typeface="Arial"/>
              <a:ea typeface="ＭＳ Ｐゴシック" charset="-128"/>
            </a:endParaRPr>
          </a:p>
        </p:txBody>
      </p:sp>
      <p:sp>
        <p:nvSpPr>
          <p:cNvPr id="42" name="Oval 41"/>
          <p:cNvSpPr/>
          <p:nvPr/>
        </p:nvSpPr>
        <p:spPr>
          <a:xfrm>
            <a:off x="6922228" y="1904721"/>
            <a:ext cx="1861026" cy="1861026"/>
          </a:xfrm>
          <a:prstGeom prst="ellipse">
            <a:avLst/>
          </a:prstGeom>
          <a:solidFill>
            <a:schemeClr val="bg2">
              <a:lumMod val="75000"/>
            </a:schemeClr>
          </a:solidFill>
          <a:ln w="25400" cap="flat" cmpd="sng" algn="ctr">
            <a:noFill/>
            <a:prstDash val="solid"/>
          </a:ln>
          <a:effectLst/>
        </p:spPr>
        <p:txBody>
          <a:bodyPr rtlCol="0" anchor="ctr"/>
          <a:lstStyle/>
          <a:p>
            <a:pPr marL="0" marR="0" lvl="0" indent="0" algn="ctr" defTabSz="457178" rtl="0"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5073"/>
              </a:solidFill>
              <a:effectLst/>
              <a:uLnTx/>
              <a:uFillTx/>
              <a:latin typeface="Arial"/>
              <a:ea typeface="ＭＳ Ｐゴシック" charset="-128"/>
            </a:endParaRPr>
          </a:p>
        </p:txBody>
      </p:sp>
      <p:grpSp>
        <p:nvGrpSpPr>
          <p:cNvPr id="4" name="Group 3"/>
          <p:cNvGrpSpPr/>
          <p:nvPr/>
        </p:nvGrpSpPr>
        <p:grpSpPr>
          <a:xfrm>
            <a:off x="229467" y="1981643"/>
            <a:ext cx="1999452" cy="1700796"/>
            <a:chOff x="421764" y="1884734"/>
            <a:chExt cx="2180589" cy="1854877"/>
          </a:xfrm>
        </p:grpSpPr>
        <p:sp>
          <p:nvSpPr>
            <p:cNvPr id="54" name="TextBox 53"/>
            <p:cNvSpPr txBox="1"/>
            <p:nvPr/>
          </p:nvSpPr>
          <p:spPr>
            <a:xfrm>
              <a:off x="1008502" y="3199130"/>
              <a:ext cx="872532" cy="37761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005073"/>
                  </a:solidFill>
                  <a:effectLst/>
                  <a:uLnTx/>
                  <a:uFillTx/>
                  <a:latin typeface="Arial"/>
                  <a:ea typeface="CiscoSans ExtraLight" charset="0"/>
                  <a:cs typeface="CiscoSans ExtraLight" charset="0"/>
                </a:rPr>
                <a:t>Consistency Checkers</a:t>
              </a:r>
            </a:p>
          </p:txBody>
        </p:sp>
        <p:sp>
          <p:nvSpPr>
            <p:cNvPr id="55" name="TextBox 54"/>
            <p:cNvSpPr txBox="1"/>
            <p:nvPr/>
          </p:nvSpPr>
          <p:spPr>
            <a:xfrm>
              <a:off x="962890" y="3500454"/>
              <a:ext cx="872532" cy="23915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6EBE4A"/>
                  </a:solidFill>
                  <a:effectLst/>
                  <a:uLnTx/>
                  <a:uFillTx/>
                  <a:latin typeface="Arial"/>
                  <a:ea typeface="CiscoSans ExtraLight" charset="0"/>
                  <a:cs typeface="CiscoSans ExtraLight" charset="0"/>
                </a:rPr>
                <a:t>Mac Table</a:t>
              </a:r>
            </a:p>
          </p:txBody>
        </p:sp>
        <p:sp>
          <p:nvSpPr>
            <p:cNvPr id="71" name="TextBox 70"/>
            <p:cNvSpPr txBox="1"/>
            <p:nvPr/>
          </p:nvSpPr>
          <p:spPr>
            <a:xfrm>
              <a:off x="558412" y="3026224"/>
              <a:ext cx="575918" cy="37761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005073"/>
                  </a:solidFill>
                  <a:effectLst/>
                  <a:uLnTx/>
                  <a:uFillTx/>
                  <a:latin typeface="Arial"/>
                  <a:ea typeface="CiscoSans ExtraLight" charset="0"/>
                  <a:cs typeface="CiscoSans ExtraLight" charset="0"/>
                </a:rPr>
                <a:t>Event History</a:t>
              </a:r>
            </a:p>
          </p:txBody>
        </p:sp>
        <p:sp>
          <p:nvSpPr>
            <p:cNvPr id="72" name="TextBox 71"/>
            <p:cNvSpPr txBox="1"/>
            <p:nvPr/>
          </p:nvSpPr>
          <p:spPr>
            <a:xfrm>
              <a:off x="549676" y="2702617"/>
              <a:ext cx="763925" cy="37761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676767"/>
                  </a:solidFill>
                  <a:effectLst/>
                  <a:uLnTx/>
                  <a:uFillTx/>
                  <a:latin typeface="Arial"/>
                  <a:ea typeface="CiscoSans ExtraLight" charset="0"/>
                  <a:cs typeface="CiscoSans ExtraLight" charset="0"/>
                </a:rPr>
                <a:t>Streaming Telemetry</a:t>
              </a:r>
            </a:p>
          </p:txBody>
        </p:sp>
        <p:sp>
          <p:nvSpPr>
            <p:cNvPr id="73" name="TextBox 72"/>
            <p:cNvSpPr txBox="1"/>
            <p:nvPr/>
          </p:nvSpPr>
          <p:spPr>
            <a:xfrm>
              <a:off x="1264995" y="2828524"/>
              <a:ext cx="995996" cy="23915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err="1">
                  <a:ln>
                    <a:noFill/>
                  </a:ln>
                  <a:solidFill>
                    <a:srgbClr val="005073"/>
                  </a:solidFill>
                  <a:effectLst/>
                  <a:uLnTx/>
                  <a:uFillTx/>
                  <a:latin typeface="Arial"/>
                  <a:ea typeface="CiscoSans ExtraLight" charset="0"/>
                  <a:cs typeface="CiscoSans ExtraLight" charset="0"/>
                </a:rPr>
                <a:t>Environmentals</a:t>
              </a:r>
              <a:endParaRPr kumimoji="0" lang="en-US" sz="825" b="0" i="0" u="none" strike="noStrike" kern="1200" cap="none" spc="0" normalizeH="0" baseline="0" noProof="0" dirty="0">
                <a:ln>
                  <a:noFill/>
                </a:ln>
                <a:solidFill>
                  <a:srgbClr val="005073"/>
                </a:solidFill>
                <a:effectLst/>
                <a:uLnTx/>
                <a:uFillTx/>
                <a:latin typeface="Arial"/>
                <a:ea typeface="CiscoSans ExtraLight" charset="0"/>
                <a:cs typeface="CiscoSans ExtraLight" charset="0"/>
              </a:endParaRPr>
            </a:p>
          </p:txBody>
        </p:sp>
        <p:sp>
          <p:nvSpPr>
            <p:cNvPr id="75" name="TextBox 74"/>
            <p:cNvSpPr txBox="1"/>
            <p:nvPr/>
          </p:nvSpPr>
          <p:spPr>
            <a:xfrm>
              <a:off x="1788377" y="3040737"/>
              <a:ext cx="642809" cy="23915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FFFFFF"/>
                  </a:solidFill>
                  <a:effectLst/>
                  <a:uLnTx/>
                  <a:uFillTx/>
                  <a:latin typeface="Arial"/>
                  <a:ea typeface="CiscoSans ExtraLight" charset="0"/>
                  <a:cs typeface="CiscoSans ExtraLight" charset="0"/>
                </a:rPr>
                <a:t>Cores</a:t>
              </a:r>
            </a:p>
          </p:txBody>
        </p:sp>
        <p:sp>
          <p:nvSpPr>
            <p:cNvPr id="76" name="TextBox 75"/>
            <p:cNvSpPr txBox="1"/>
            <p:nvPr/>
          </p:nvSpPr>
          <p:spPr>
            <a:xfrm>
              <a:off x="1729822" y="2646220"/>
              <a:ext cx="872531" cy="23915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6EBE4A">
                      <a:lumMod val="75000"/>
                    </a:srgbClr>
                  </a:solidFill>
                  <a:effectLst/>
                  <a:uLnTx/>
                  <a:uFillTx/>
                  <a:latin typeface="Arial"/>
                  <a:ea typeface="CiscoSans ExtraLight" charset="0"/>
                  <a:cs typeface="CiscoSans ExtraLight" charset="0"/>
                </a:rPr>
                <a:t>CLI</a:t>
              </a:r>
            </a:p>
          </p:txBody>
        </p:sp>
        <p:sp>
          <p:nvSpPr>
            <p:cNvPr id="77" name="TextBox 76"/>
            <p:cNvSpPr txBox="1"/>
            <p:nvPr/>
          </p:nvSpPr>
          <p:spPr>
            <a:xfrm>
              <a:off x="1697921" y="2373884"/>
              <a:ext cx="872532" cy="23915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6EBE4A">
                      <a:lumMod val="75000"/>
                    </a:srgbClr>
                  </a:solidFill>
                  <a:effectLst/>
                  <a:uLnTx/>
                  <a:uFillTx/>
                  <a:latin typeface="Arial"/>
                  <a:ea typeface="CiscoSans ExtraLight" charset="0"/>
                  <a:cs typeface="CiscoSans ExtraLight" charset="0"/>
                </a:rPr>
                <a:t>FIB</a:t>
              </a:r>
            </a:p>
          </p:txBody>
        </p:sp>
        <p:sp>
          <p:nvSpPr>
            <p:cNvPr id="78" name="TextBox 77"/>
            <p:cNvSpPr txBox="1"/>
            <p:nvPr/>
          </p:nvSpPr>
          <p:spPr>
            <a:xfrm>
              <a:off x="1004694" y="2572641"/>
              <a:ext cx="1001793" cy="23915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FFFFFF"/>
                  </a:solidFill>
                  <a:effectLst/>
                  <a:uLnTx/>
                  <a:uFillTx/>
                  <a:latin typeface="Arial"/>
                  <a:ea typeface="CiscoSans ExtraLight" charset="0"/>
                  <a:cs typeface="CiscoSans ExtraLight" charset="0"/>
                </a:rPr>
                <a:t>Debug Logs</a:t>
              </a:r>
            </a:p>
          </p:txBody>
        </p:sp>
        <p:sp>
          <p:nvSpPr>
            <p:cNvPr id="79" name="TextBox 78"/>
            <p:cNvSpPr txBox="1"/>
            <p:nvPr/>
          </p:nvSpPr>
          <p:spPr>
            <a:xfrm>
              <a:off x="421764" y="2408706"/>
              <a:ext cx="872532" cy="37761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282828"/>
                  </a:solidFill>
                  <a:effectLst/>
                  <a:uLnTx/>
                  <a:uFillTx/>
                  <a:latin typeface="Arial"/>
                  <a:ea typeface="CiscoSans ExtraLight" charset="0"/>
                  <a:cs typeface="CiscoSans ExtraLight" charset="0"/>
                </a:rPr>
                <a:t>Accounting Logs</a:t>
              </a:r>
            </a:p>
          </p:txBody>
        </p:sp>
        <p:sp>
          <p:nvSpPr>
            <p:cNvPr id="80" name="TextBox 79"/>
            <p:cNvSpPr txBox="1"/>
            <p:nvPr/>
          </p:nvSpPr>
          <p:spPr>
            <a:xfrm>
              <a:off x="634303" y="2117599"/>
              <a:ext cx="872532" cy="23915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005073"/>
                  </a:solidFill>
                  <a:effectLst/>
                  <a:uLnTx/>
                  <a:uFillTx/>
                  <a:latin typeface="Arial"/>
                  <a:ea typeface="CiscoSans ExtraLight" charset="0"/>
                  <a:cs typeface="CiscoSans ExtraLight" charset="0"/>
                </a:rPr>
                <a:t>Syslog</a:t>
              </a:r>
            </a:p>
          </p:txBody>
        </p:sp>
        <p:sp>
          <p:nvSpPr>
            <p:cNvPr id="81" name="TextBox 80"/>
            <p:cNvSpPr txBox="1"/>
            <p:nvPr/>
          </p:nvSpPr>
          <p:spPr>
            <a:xfrm>
              <a:off x="980117" y="2373371"/>
              <a:ext cx="872532" cy="23915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6EBE4A">
                      <a:lumMod val="75000"/>
                    </a:srgbClr>
                  </a:solidFill>
                  <a:effectLst/>
                  <a:uLnTx/>
                  <a:uFillTx/>
                  <a:latin typeface="Arial"/>
                  <a:ea typeface="CiscoSans ExtraLight" charset="0"/>
                  <a:cs typeface="CiscoSans ExtraLight" charset="0"/>
                </a:rPr>
                <a:t>RIB</a:t>
              </a:r>
            </a:p>
          </p:txBody>
        </p:sp>
        <p:sp>
          <p:nvSpPr>
            <p:cNvPr id="82" name="TextBox 81"/>
            <p:cNvSpPr txBox="1"/>
            <p:nvPr/>
          </p:nvSpPr>
          <p:spPr>
            <a:xfrm>
              <a:off x="1322229" y="2140478"/>
              <a:ext cx="872532" cy="37761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FFFFFF"/>
                  </a:solidFill>
                  <a:effectLst/>
                  <a:uLnTx/>
                  <a:uFillTx/>
                  <a:latin typeface="Arial"/>
                  <a:ea typeface="CiscoSans ExtraLight" charset="0"/>
                  <a:cs typeface="CiscoSans ExtraLight" charset="0"/>
                </a:rPr>
                <a:t>Tech-Support</a:t>
              </a:r>
            </a:p>
          </p:txBody>
        </p:sp>
        <p:sp>
          <p:nvSpPr>
            <p:cNvPr id="87" name="TextBox 86"/>
            <p:cNvSpPr txBox="1"/>
            <p:nvPr/>
          </p:nvSpPr>
          <p:spPr>
            <a:xfrm>
              <a:off x="903780" y="1884734"/>
              <a:ext cx="1152757" cy="239157"/>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err="1">
                  <a:ln>
                    <a:noFill/>
                  </a:ln>
                  <a:solidFill>
                    <a:srgbClr val="FBAB18"/>
                  </a:solidFill>
                  <a:effectLst/>
                  <a:uLnTx/>
                  <a:uFillTx/>
                  <a:latin typeface="Arial"/>
                  <a:ea typeface="CiscoSans ExtraLight" charset="0"/>
                  <a:cs typeface="CiscoSans ExtraLight" charset="0"/>
                </a:rPr>
                <a:t>Config</a:t>
              </a:r>
              <a:r>
                <a:rPr kumimoji="0" lang="en-US" sz="825" b="0" i="0" u="none" strike="noStrike" kern="1200" cap="none" spc="0" normalizeH="0" baseline="0" noProof="0" dirty="0">
                  <a:ln>
                    <a:noFill/>
                  </a:ln>
                  <a:solidFill>
                    <a:srgbClr val="FBAB18"/>
                  </a:solidFill>
                  <a:effectLst/>
                  <a:uLnTx/>
                  <a:uFillTx/>
                  <a:latin typeface="Arial"/>
                  <a:ea typeface="CiscoSans ExtraLight" charset="0"/>
                  <a:cs typeface="CiscoSans ExtraLight" charset="0"/>
                </a:rPr>
                <a:t> File</a:t>
              </a:r>
            </a:p>
          </p:txBody>
        </p:sp>
      </p:grpSp>
      <p:sp>
        <p:nvSpPr>
          <p:cNvPr id="100" name="TextBox 99"/>
          <p:cNvSpPr txBox="1"/>
          <p:nvPr/>
        </p:nvSpPr>
        <p:spPr>
          <a:xfrm>
            <a:off x="3717623" y="2529118"/>
            <a:ext cx="1090869" cy="338554"/>
          </a:xfrm>
          <a:prstGeom prst="rect">
            <a:avLst/>
          </a:prstGeom>
          <a:noFill/>
        </p:spPr>
        <p:txBody>
          <a:bodyPr wrap="square" rtlCol="0">
            <a:spAutoFit/>
          </a:bodyPr>
          <a:lstStyle/>
          <a:p>
            <a:pPr marL="0" marR="0" lvl="0" indent="0" algn="l" defTabSz="457178"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ＭＳ Ｐゴシック" charset="-128"/>
              </a:rPr>
              <a:t>Metadata </a:t>
            </a:r>
            <a:br>
              <a:rPr kumimoji="0" lang="en-US" sz="800" b="0" i="0" u="none" strike="noStrike" kern="1200" cap="none" spc="0" normalizeH="0" baseline="0" noProof="0" dirty="0">
                <a:ln>
                  <a:noFill/>
                </a:ln>
                <a:solidFill>
                  <a:srgbClr val="FFFFFF"/>
                </a:solidFill>
                <a:effectLst/>
                <a:uLnTx/>
                <a:uFillTx/>
                <a:latin typeface="Arial"/>
                <a:ea typeface="ＭＳ Ｐゴシック" charset="-128"/>
              </a:rPr>
            </a:br>
            <a:r>
              <a:rPr kumimoji="0" lang="en-US" sz="800" b="0" i="0" u="none" strike="noStrike" kern="1200" cap="none" spc="0" normalizeH="0" baseline="0" noProof="0" dirty="0">
                <a:ln>
                  <a:noFill/>
                </a:ln>
                <a:solidFill>
                  <a:srgbClr val="FFFFFF"/>
                </a:solidFill>
                <a:effectLst/>
                <a:uLnTx/>
                <a:uFillTx/>
                <a:latin typeface="Arial"/>
                <a:ea typeface="ＭＳ Ｐゴシック" charset="-128"/>
              </a:rPr>
              <a:t>extraction</a:t>
            </a:r>
          </a:p>
        </p:txBody>
      </p:sp>
      <p:grpSp>
        <p:nvGrpSpPr>
          <p:cNvPr id="110" name="Group 109"/>
          <p:cNvGrpSpPr/>
          <p:nvPr/>
        </p:nvGrpSpPr>
        <p:grpSpPr>
          <a:xfrm>
            <a:off x="2812010" y="2103124"/>
            <a:ext cx="1092167" cy="1147808"/>
            <a:chOff x="2746637" y="2043117"/>
            <a:chExt cx="1191109" cy="1251793"/>
          </a:xfrm>
        </p:grpSpPr>
        <p:cxnSp>
          <p:nvCxnSpPr>
            <p:cNvPr id="9" name="Straight Connector 8"/>
            <p:cNvCxnSpPr/>
            <p:nvPr/>
          </p:nvCxnSpPr>
          <p:spPr>
            <a:xfrm flipH="1" flipV="1">
              <a:off x="3467031" y="2210617"/>
              <a:ext cx="221956" cy="1"/>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746637" y="2053975"/>
              <a:ext cx="735603" cy="369225"/>
            </a:xfrm>
            <a:prstGeom prst="rect">
              <a:avLst/>
            </a:prstGeom>
            <a:noFill/>
          </p:spPr>
          <p:txBody>
            <a:bodyPr wrap="square" rtlCol="0">
              <a:spAutoFit/>
            </a:bodyPr>
            <a:lstStyle/>
            <a:p>
              <a:pPr marL="0" marR="0" lvl="0" indent="0" algn="r" defTabSz="457178"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ＭＳ Ｐゴシック" charset="-128"/>
                </a:rPr>
                <a:t>Complex correlation</a:t>
              </a:r>
            </a:p>
          </p:txBody>
        </p:sp>
        <p:grpSp>
          <p:nvGrpSpPr>
            <p:cNvPr id="88" name="Group 87"/>
            <p:cNvGrpSpPr/>
            <p:nvPr/>
          </p:nvGrpSpPr>
          <p:grpSpPr>
            <a:xfrm>
              <a:off x="3548074" y="2043117"/>
              <a:ext cx="389672" cy="389196"/>
              <a:chOff x="3087688" y="-1"/>
              <a:chExt cx="2606675" cy="2603501"/>
            </a:xfrm>
          </p:grpSpPr>
          <p:sp>
            <p:nvSpPr>
              <p:cNvPr id="89" name="Freeform 31"/>
              <p:cNvSpPr>
                <a:spLocks/>
              </p:cNvSpPr>
              <p:nvPr/>
            </p:nvSpPr>
            <p:spPr bwMode="auto">
              <a:xfrm>
                <a:off x="3087688" y="-1"/>
                <a:ext cx="2606675" cy="2603501"/>
              </a:xfrm>
              <a:custGeom>
                <a:avLst/>
                <a:gdLst>
                  <a:gd name="T0" fmla="*/ 4866 w 5381"/>
                  <a:gd name="T1" fmla="*/ 2171 h 5384"/>
                  <a:gd name="T2" fmla="*/ 3916 w 5381"/>
                  <a:gd name="T3" fmla="*/ 2171 h 5384"/>
                  <a:gd name="T4" fmla="*/ 4576 w 5381"/>
                  <a:gd name="T5" fmla="*/ 1511 h 5384"/>
                  <a:gd name="T6" fmla="*/ 4576 w 5381"/>
                  <a:gd name="T7" fmla="*/ 794 h 5384"/>
                  <a:gd name="T8" fmla="*/ 3881 w 5381"/>
                  <a:gd name="T9" fmla="*/ 794 h 5384"/>
                  <a:gd name="T10" fmla="*/ 3189 w 5381"/>
                  <a:gd name="T11" fmla="*/ 1486 h 5384"/>
                  <a:gd name="T12" fmla="*/ 3189 w 5381"/>
                  <a:gd name="T13" fmla="*/ 493 h 5384"/>
                  <a:gd name="T14" fmla="*/ 2693 w 5381"/>
                  <a:gd name="T15" fmla="*/ 0 h 5384"/>
                  <a:gd name="T16" fmla="*/ 2174 w 5381"/>
                  <a:gd name="T17" fmla="*/ 493 h 5384"/>
                  <a:gd name="T18" fmla="*/ 2174 w 5381"/>
                  <a:gd name="T19" fmla="*/ 1468 h 5384"/>
                  <a:gd name="T20" fmla="*/ 1504 w 5381"/>
                  <a:gd name="T21" fmla="*/ 794 h 5384"/>
                  <a:gd name="T22" fmla="*/ 786 w 5381"/>
                  <a:gd name="T23" fmla="*/ 794 h 5384"/>
                  <a:gd name="T24" fmla="*/ 786 w 5381"/>
                  <a:gd name="T25" fmla="*/ 1511 h 5384"/>
                  <a:gd name="T26" fmla="*/ 1451 w 5381"/>
                  <a:gd name="T27" fmla="*/ 2171 h 5384"/>
                  <a:gd name="T28" fmla="*/ 494 w 5381"/>
                  <a:gd name="T29" fmla="*/ 2171 h 5384"/>
                  <a:gd name="T30" fmla="*/ 0 w 5381"/>
                  <a:gd name="T31" fmla="*/ 2689 h 5384"/>
                  <a:gd name="T32" fmla="*/ 494 w 5381"/>
                  <a:gd name="T33" fmla="*/ 3184 h 5384"/>
                  <a:gd name="T34" fmla="*/ 1488 w 5381"/>
                  <a:gd name="T35" fmla="*/ 3184 h 5384"/>
                  <a:gd name="T36" fmla="*/ 786 w 5381"/>
                  <a:gd name="T37" fmla="*/ 3886 h 5384"/>
                  <a:gd name="T38" fmla="*/ 786 w 5381"/>
                  <a:gd name="T39" fmla="*/ 4580 h 5384"/>
                  <a:gd name="T40" fmla="*/ 1504 w 5381"/>
                  <a:gd name="T41" fmla="*/ 4580 h 5384"/>
                  <a:gd name="T42" fmla="*/ 2174 w 5381"/>
                  <a:gd name="T43" fmla="*/ 3911 h 5384"/>
                  <a:gd name="T44" fmla="*/ 2174 w 5381"/>
                  <a:gd name="T45" fmla="*/ 4868 h 5384"/>
                  <a:gd name="T46" fmla="*/ 2693 w 5381"/>
                  <a:gd name="T47" fmla="*/ 5384 h 5384"/>
                  <a:gd name="T48" fmla="*/ 3189 w 5381"/>
                  <a:gd name="T49" fmla="*/ 4868 h 5384"/>
                  <a:gd name="T50" fmla="*/ 3189 w 5381"/>
                  <a:gd name="T51" fmla="*/ 3893 h 5384"/>
                  <a:gd name="T52" fmla="*/ 3881 w 5381"/>
                  <a:gd name="T53" fmla="*/ 4580 h 5384"/>
                  <a:gd name="T54" fmla="*/ 4576 w 5381"/>
                  <a:gd name="T55" fmla="*/ 4580 h 5384"/>
                  <a:gd name="T56" fmla="*/ 4576 w 5381"/>
                  <a:gd name="T57" fmla="*/ 3886 h 5384"/>
                  <a:gd name="T58" fmla="*/ 3879 w 5381"/>
                  <a:gd name="T59" fmla="*/ 3184 h 5384"/>
                  <a:gd name="T60" fmla="*/ 4866 w 5381"/>
                  <a:gd name="T61" fmla="*/ 3184 h 5384"/>
                  <a:gd name="T62" fmla="*/ 5381 w 5381"/>
                  <a:gd name="T63" fmla="*/ 2689 h 5384"/>
                  <a:gd name="T64" fmla="*/ 4866 w 5381"/>
                  <a:gd name="T65" fmla="*/ 2171 h 5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81" h="5384">
                    <a:moveTo>
                      <a:pt x="4866" y="2171"/>
                    </a:moveTo>
                    <a:cubicBezTo>
                      <a:pt x="4866" y="2171"/>
                      <a:pt x="4866" y="2171"/>
                      <a:pt x="3916" y="2171"/>
                    </a:cubicBezTo>
                    <a:cubicBezTo>
                      <a:pt x="4119" y="1968"/>
                      <a:pt x="4338" y="1749"/>
                      <a:pt x="4576" y="1511"/>
                    </a:cubicBezTo>
                    <a:cubicBezTo>
                      <a:pt x="4778" y="1310"/>
                      <a:pt x="4778" y="996"/>
                      <a:pt x="4576" y="794"/>
                    </a:cubicBezTo>
                    <a:cubicBezTo>
                      <a:pt x="4397" y="593"/>
                      <a:pt x="4060" y="593"/>
                      <a:pt x="3881" y="794"/>
                    </a:cubicBezTo>
                    <a:cubicBezTo>
                      <a:pt x="3881" y="794"/>
                      <a:pt x="3881" y="794"/>
                      <a:pt x="3189" y="1486"/>
                    </a:cubicBezTo>
                    <a:cubicBezTo>
                      <a:pt x="3189" y="1183"/>
                      <a:pt x="3189" y="853"/>
                      <a:pt x="3189" y="493"/>
                    </a:cubicBezTo>
                    <a:cubicBezTo>
                      <a:pt x="3189" y="224"/>
                      <a:pt x="2963" y="0"/>
                      <a:pt x="2693" y="0"/>
                    </a:cubicBezTo>
                    <a:cubicBezTo>
                      <a:pt x="2399" y="0"/>
                      <a:pt x="2174" y="224"/>
                      <a:pt x="2174" y="493"/>
                    </a:cubicBezTo>
                    <a:cubicBezTo>
                      <a:pt x="2174" y="493"/>
                      <a:pt x="2174" y="494"/>
                      <a:pt x="2174" y="1468"/>
                    </a:cubicBezTo>
                    <a:cubicBezTo>
                      <a:pt x="1969" y="1262"/>
                      <a:pt x="1746" y="1038"/>
                      <a:pt x="1504" y="794"/>
                    </a:cubicBezTo>
                    <a:cubicBezTo>
                      <a:pt x="1302" y="593"/>
                      <a:pt x="988" y="593"/>
                      <a:pt x="786" y="794"/>
                    </a:cubicBezTo>
                    <a:cubicBezTo>
                      <a:pt x="585" y="996"/>
                      <a:pt x="585" y="1310"/>
                      <a:pt x="786" y="1511"/>
                    </a:cubicBezTo>
                    <a:cubicBezTo>
                      <a:pt x="786" y="1511"/>
                      <a:pt x="786" y="1511"/>
                      <a:pt x="1451" y="2171"/>
                    </a:cubicBezTo>
                    <a:cubicBezTo>
                      <a:pt x="1158" y="2171"/>
                      <a:pt x="840" y="2171"/>
                      <a:pt x="494" y="2171"/>
                    </a:cubicBezTo>
                    <a:cubicBezTo>
                      <a:pt x="225" y="2171"/>
                      <a:pt x="0" y="2396"/>
                      <a:pt x="0" y="2689"/>
                    </a:cubicBezTo>
                    <a:cubicBezTo>
                      <a:pt x="0" y="2959"/>
                      <a:pt x="225" y="3184"/>
                      <a:pt x="494" y="3184"/>
                    </a:cubicBezTo>
                    <a:cubicBezTo>
                      <a:pt x="494" y="3184"/>
                      <a:pt x="494" y="3184"/>
                      <a:pt x="1488" y="3184"/>
                    </a:cubicBezTo>
                    <a:cubicBezTo>
                      <a:pt x="1274" y="3398"/>
                      <a:pt x="1041" y="3631"/>
                      <a:pt x="786" y="3886"/>
                    </a:cubicBezTo>
                    <a:cubicBezTo>
                      <a:pt x="585" y="4065"/>
                      <a:pt x="585" y="4401"/>
                      <a:pt x="786" y="4580"/>
                    </a:cubicBezTo>
                    <a:cubicBezTo>
                      <a:pt x="988" y="4781"/>
                      <a:pt x="1302" y="4781"/>
                      <a:pt x="1504" y="4580"/>
                    </a:cubicBezTo>
                    <a:cubicBezTo>
                      <a:pt x="1504" y="4580"/>
                      <a:pt x="1504" y="4580"/>
                      <a:pt x="2174" y="3911"/>
                    </a:cubicBezTo>
                    <a:cubicBezTo>
                      <a:pt x="2174" y="4204"/>
                      <a:pt x="2174" y="4522"/>
                      <a:pt x="2174" y="4868"/>
                    </a:cubicBezTo>
                    <a:cubicBezTo>
                      <a:pt x="2174" y="5160"/>
                      <a:pt x="2399" y="5384"/>
                      <a:pt x="2693" y="5384"/>
                    </a:cubicBezTo>
                    <a:cubicBezTo>
                      <a:pt x="2963" y="5384"/>
                      <a:pt x="3189" y="5160"/>
                      <a:pt x="3189" y="4868"/>
                    </a:cubicBezTo>
                    <a:cubicBezTo>
                      <a:pt x="3189" y="4868"/>
                      <a:pt x="3189" y="4868"/>
                      <a:pt x="3189" y="3893"/>
                    </a:cubicBezTo>
                    <a:cubicBezTo>
                      <a:pt x="3400" y="4103"/>
                      <a:pt x="3631" y="4331"/>
                      <a:pt x="3881" y="4580"/>
                    </a:cubicBezTo>
                    <a:cubicBezTo>
                      <a:pt x="4060" y="4781"/>
                      <a:pt x="4397" y="4781"/>
                      <a:pt x="4576" y="4580"/>
                    </a:cubicBezTo>
                    <a:cubicBezTo>
                      <a:pt x="4778" y="4401"/>
                      <a:pt x="4778" y="4065"/>
                      <a:pt x="4576" y="3886"/>
                    </a:cubicBezTo>
                    <a:cubicBezTo>
                      <a:pt x="4576" y="3886"/>
                      <a:pt x="4576" y="3885"/>
                      <a:pt x="3879" y="3184"/>
                    </a:cubicBezTo>
                    <a:cubicBezTo>
                      <a:pt x="4181" y="3184"/>
                      <a:pt x="4508" y="3184"/>
                      <a:pt x="4866" y="3184"/>
                    </a:cubicBezTo>
                    <a:cubicBezTo>
                      <a:pt x="5135" y="3184"/>
                      <a:pt x="5381" y="2959"/>
                      <a:pt x="5381" y="2689"/>
                    </a:cubicBezTo>
                    <a:cubicBezTo>
                      <a:pt x="5381" y="2396"/>
                      <a:pt x="5135" y="2171"/>
                      <a:pt x="4866" y="217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128"/>
                </a:endParaRPr>
              </a:p>
            </p:txBody>
          </p:sp>
          <p:sp>
            <p:nvSpPr>
              <p:cNvPr id="90" name="Freeform 32"/>
              <p:cNvSpPr>
                <a:spLocks noEditPoints="1"/>
              </p:cNvSpPr>
              <p:nvPr/>
            </p:nvSpPr>
            <p:spPr bwMode="auto">
              <a:xfrm>
                <a:off x="3589338" y="500063"/>
                <a:ext cx="1595438" cy="1590675"/>
              </a:xfrm>
              <a:custGeom>
                <a:avLst/>
                <a:gdLst>
                  <a:gd name="T0" fmla="*/ 1658 w 3293"/>
                  <a:gd name="T1" fmla="*/ 805 h 3289"/>
                  <a:gd name="T2" fmla="*/ 2509 w 3293"/>
                  <a:gd name="T3" fmla="*/ 1656 h 3289"/>
                  <a:gd name="T4" fmla="*/ 1658 w 3293"/>
                  <a:gd name="T5" fmla="*/ 2506 h 3289"/>
                  <a:gd name="T6" fmla="*/ 784 w 3293"/>
                  <a:gd name="T7" fmla="*/ 1656 h 3289"/>
                  <a:gd name="T8" fmla="*/ 1658 w 3293"/>
                  <a:gd name="T9" fmla="*/ 805 h 3289"/>
                  <a:gd name="T10" fmla="*/ 1658 w 3293"/>
                  <a:gd name="T11" fmla="*/ 0 h 3289"/>
                  <a:gd name="T12" fmla="*/ 0 w 3293"/>
                  <a:gd name="T13" fmla="*/ 1656 h 3289"/>
                  <a:gd name="T14" fmla="*/ 1658 w 3293"/>
                  <a:gd name="T15" fmla="*/ 3289 h 3289"/>
                  <a:gd name="T16" fmla="*/ 3293 w 3293"/>
                  <a:gd name="T17" fmla="*/ 1656 h 3289"/>
                  <a:gd name="T18" fmla="*/ 1658 w 3293"/>
                  <a:gd name="T19"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3" h="3289">
                    <a:moveTo>
                      <a:pt x="1658" y="805"/>
                    </a:moveTo>
                    <a:cubicBezTo>
                      <a:pt x="2128" y="805"/>
                      <a:pt x="2509" y="1186"/>
                      <a:pt x="2509" y="1656"/>
                    </a:cubicBezTo>
                    <a:cubicBezTo>
                      <a:pt x="2509" y="2126"/>
                      <a:pt x="2128" y="2506"/>
                      <a:pt x="1658" y="2506"/>
                    </a:cubicBezTo>
                    <a:cubicBezTo>
                      <a:pt x="1187" y="2506"/>
                      <a:pt x="784" y="2126"/>
                      <a:pt x="784" y="1656"/>
                    </a:cubicBezTo>
                    <a:cubicBezTo>
                      <a:pt x="784" y="1186"/>
                      <a:pt x="1187" y="805"/>
                      <a:pt x="1658" y="805"/>
                    </a:cubicBezTo>
                    <a:moveTo>
                      <a:pt x="1658" y="0"/>
                    </a:moveTo>
                    <a:cubicBezTo>
                      <a:pt x="739" y="0"/>
                      <a:pt x="0" y="738"/>
                      <a:pt x="0" y="1656"/>
                    </a:cubicBezTo>
                    <a:cubicBezTo>
                      <a:pt x="0" y="2551"/>
                      <a:pt x="739" y="3289"/>
                      <a:pt x="1658" y="3289"/>
                    </a:cubicBezTo>
                    <a:cubicBezTo>
                      <a:pt x="2554" y="3289"/>
                      <a:pt x="3293" y="2551"/>
                      <a:pt x="3293" y="1656"/>
                    </a:cubicBezTo>
                    <a:cubicBezTo>
                      <a:pt x="3293" y="738"/>
                      <a:pt x="2554" y="0"/>
                      <a:pt x="1658" y="0"/>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grpSp>
        <p:cxnSp>
          <p:nvCxnSpPr>
            <p:cNvPr id="97" name="Straight Connector 96"/>
            <p:cNvCxnSpPr/>
            <p:nvPr/>
          </p:nvCxnSpPr>
          <p:spPr>
            <a:xfrm flipV="1">
              <a:off x="3506376" y="2699944"/>
              <a:ext cx="218756" cy="1"/>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rot="929863">
              <a:off x="3047405" y="2387467"/>
              <a:ext cx="625714" cy="624954"/>
              <a:chOff x="3087688" y="-1"/>
              <a:chExt cx="2606675" cy="2603501"/>
            </a:xfrm>
          </p:grpSpPr>
          <p:sp>
            <p:nvSpPr>
              <p:cNvPr id="92" name="Freeform 31"/>
              <p:cNvSpPr>
                <a:spLocks/>
              </p:cNvSpPr>
              <p:nvPr/>
            </p:nvSpPr>
            <p:spPr bwMode="auto">
              <a:xfrm>
                <a:off x="3087688" y="-1"/>
                <a:ext cx="2606675" cy="2603501"/>
              </a:xfrm>
              <a:custGeom>
                <a:avLst/>
                <a:gdLst>
                  <a:gd name="T0" fmla="*/ 4866 w 5381"/>
                  <a:gd name="T1" fmla="*/ 2171 h 5384"/>
                  <a:gd name="T2" fmla="*/ 3916 w 5381"/>
                  <a:gd name="T3" fmla="*/ 2171 h 5384"/>
                  <a:gd name="T4" fmla="*/ 4576 w 5381"/>
                  <a:gd name="T5" fmla="*/ 1511 h 5384"/>
                  <a:gd name="T6" fmla="*/ 4576 w 5381"/>
                  <a:gd name="T7" fmla="*/ 794 h 5384"/>
                  <a:gd name="T8" fmla="*/ 3881 w 5381"/>
                  <a:gd name="T9" fmla="*/ 794 h 5384"/>
                  <a:gd name="T10" fmla="*/ 3189 w 5381"/>
                  <a:gd name="T11" fmla="*/ 1486 h 5384"/>
                  <a:gd name="T12" fmla="*/ 3189 w 5381"/>
                  <a:gd name="T13" fmla="*/ 493 h 5384"/>
                  <a:gd name="T14" fmla="*/ 2693 w 5381"/>
                  <a:gd name="T15" fmla="*/ 0 h 5384"/>
                  <a:gd name="T16" fmla="*/ 2174 w 5381"/>
                  <a:gd name="T17" fmla="*/ 493 h 5384"/>
                  <a:gd name="T18" fmla="*/ 2174 w 5381"/>
                  <a:gd name="T19" fmla="*/ 1468 h 5384"/>
                  <a:gd name="T20" fmla="*/ 1504 w 5381"/>
                  <a:gd name="T21" fmla="*/ 794 h 5384"/>
                  <a:gd name="T22" fmla="*/ 786 w 5381"/>
                  <a:gd name="T23" fmla="*/ 794 h 5384"/>
                  <a:gd name="T24" fmla="*/ 786 w 5381"/>
                  <a:gd name="T25" fmla="*/ 1511 h 5384"/>
                  <a:gd name="T26" fmla="*/ 1451 w 5381"/>
                  <a:gd name="T27" fmla="*/ 2171 h 5384"/>
                  <a:gd name="T28" fmla="*/ 494 w 5381"/>
                  <a:gd name="T29" fmla="*/ 2171 h 5384"/>
                  <a:gd name="T30" fmla="*/ 0 w 5381"/>
                  <a:gd name="T31" fmla="*/ 2689 h 5384"/>
                  <a:gd name="T32" fmla="*/ 494 w 5381"/>
                  <a:gd name="T33" fmla="*/ 3184 h 5384"/>
                  <a:gd name="T34" fmla="*/ 1488 w 5381"/>
                  <a:gd name="T35" fmla="*/ 3184 h 5384"/>
                  <a:gd name="T36" fmla="*/ 786 w 5381"/>
                  <a:gd name="T37" fmla="*/ 3886 h 5384"/>
                  <a:gd name="T38" fmla="*/ 786 w 5381"/>
                  <a:gd name="T39" fmla="*/ 4580 h 5384"/>
                  <a:gd name="T40" fmla="*/ 1504 w 5381"/>
                  <a:gd name="T41" fmla="*/ 4580 h 5384"/>
                  <a:gd name="T42" fmla="*/ 2174 w 5381"/>
                  <a:gd name="T43" fmla="*/ 3911 h 5384"/>
                  <a:gd name="T44" fmla="*/ 2174 w 5381"/>
                  <a:gd name="T45" fmla="*/ 4868 h 5384"/>
                  <a:gd name="T46" fmla="*/ 2693 w 5381"/>
                  <a:gd name="T47" fmla="*/ 5384 h 5384"/>
                  <a:gd name="T48" fmla="*/ 3189 w 5381"/>
                  <a:gd name="T49" fmla="*/ 4868 h 5384"/>
                  <a:gd name="T50" fmla="*/ 3189 w 5381"/>
                  <a:gd name="T51" fmla="*/ 3893 h 5384"/>
                  <a:gd name="T52" fmla="*/ 3881 w 5381"/>
                  <a:gd name="T53" fmla="*/ 4580 h 5384"/>
                  <a:gd name="T54" fmla="*/ 4576 w 5381"/>
                  <a:gd name="T55" fmla="*/ 4580 h 5384"/>
                  <a:gd name="T56" fmla="*/ 4576 w 5381"/>
                  <a:gd name="T57" fmla="*/ 3886 h 5384"/>
                  <a:gd name="T58" fmla="*/ 3879 w 5381"/>
                  <a:gd name="T59" fmla="*/ 3184 h 5384"/>
                  <a:gd name="T60" fmla="*/ 4866 w 5381"/>
                  <a:gd name="T61" fmla="*/ 3184 h 5384"/>
                  <a:gd name="T62" fmla="*/ 5381 w 5381"/>
                  <a:gd name="T63" fmla="*/ 2689 h 5384"/>
                  <a:gd name="T64" fmla="*/ 4866 w 5381"/>
                  <a:gd name="T65" fmla="*/ 2171 h 5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81" h="5384">
                    <a:moveTo>
                      <a:pt x="4866" y="2171"/>
                    </a:moveTo>
                    <a:cubicBezTo>
                      <a:pt x="4866" y="2171"/>
                      <a:pt x="4866" y="2171"/>
                      <a:pt x="3916" y="2171"/>
                    </a:cubicBezTo>
                    <a:cubicBezTo>
                      <a:pt x="4119" y="1968"/>
                      <a:pt x="4338" y="1749"/>
                      <a:pt x="4576" y="1511"/>
                    </a:cubicBezTo>
                    <a:cubicBezTo>
                      <a:pt x="4778" y="1310"/>
                      <a:pt x="4778" y="996"/>
                      <a:pt x="4576" y="794"/>
                    </a:cubicBezTo>
                    <a:cubicBezTo>
                      <a:pt x="4397" y="593"/>
                      <a:pt x="4060" y="593"/>
                      <a:pt x="3881" y="794"/>
                    </a:cubicBezTo>
                    <a:cubicBezTo>
                      <a:pt x="3881" y="794"/>
                      <a:pt x="3881" y="794"/>
                      <a:pt x="3189" y="1486"/>
                    </a:cubicBezTo>
                    <a:cubicBezTo>
                      <a:pt x="3189" y="1183"/>
                      <a:pt x="3189" y="853"/>
                      <a:pt x="3189" y="493"/>
                    </a:cubicBezTo>
                    <a:cubicBezTo>
                      <a:pt x="3189" y="224"/>
                      <a:pt x="2963" y="0"/>
                      <a:pt x="2693" y="0"/>
                    </a:cubicBezTo>
                    <a:cubicBezTo>
                      <a:pt x="2399" y="0"/>
                      <a:pt x="2174" y="224"/>
                      <a:pt x="2174" y="493"/>
                    </a:cubicBezTo>
                    <a:cubicBezTo>
                      <a:pt x="2174" y="493"/>
                      <a:pt x="2174" y="494"/>
                      <a:pt x="2174" y="1468"/>
                    </a:cubicBezTo>
                    <a:cubicBezTo>
                      <a:pt x="1969" y="1262"/>
                      <a:pt x="1746" y="1038"/>
                      <a:pt x="1504" y="794"/>
                    </a:cubicBezTo>
                    <a:cubicBezTo>
                      <a:pt x="1302" y="593"/>
                      <a:pt x="988" y="593"/>
                      <a:pt x="786" y="794"/>
                    </a:cubicBezTo>
                    <a:cubicBezTo>
                      <a:pt x="585" y="996"/>
                      <a:pt x="585" y="1310"/>
                      <a:pt x="786" y="1511"/>
                    </a:cubicBezTo>
                    <a:cubicBezTo>
                      <a:pt x="786" y="1511"/>
                      <a:pt x="786" y="1511"/>
                      <a:pt x="1451" y="2171"/>
                    </a:cubicBezTo>
                    <a:cubicBezTo>
                      <a:pt x="1158" y="2171"/>
                      <a:pt x="840" y="2171"/>
                      <a:pt x="494" y="2171"/>
                    </a:cubicBezTo>
                    <a:cubicBezTo>
                      <a:pt x="225" y="2171"/>
                      <a:pt x="0" y="2396"/>
                      <a:pt x="0" y="2689"/>
                    </a:cubicBezTo>
                    <a:cubicBezTo>
                      <a:pt x="0" y="2959"/>
                      <a:pt x="225" y="3184"/>
                      <a:pt x="494" y="3184"/>
                    </a:cubicBezTo>
                    <a:cubicBezTo>
                      <a:pt x="494" y="3184"/>
                      <a:pt x="494" y="3184"/>
                      <a:pt x="1488" y="3184"/>
                    </a:cubicBezTo>
                    <a:cubicBezTo>
                      <a:pt x="1274" y="3398"/>
                      <a:pt x="1041" y="3631"/>
                      <a:pt x="786" y="3886"/>
                    </a:cubicBezTo>
                    <a:cubicBezTo>
                      <a:pt x="585" y="4065"/>
                      <a:pt x="585" y="4401"/>
                      <a:pt x="786" y="4580"/>
                    </a:cubicBezTo>
                    <a:cubicBezTo>
                      <a:pt x="988" y="4781"/>
                      <a:pt x="1302" y="4781"/>
                      <a:pt x="1504" y="4580"/>
                    </a:cubicBezTo>
                    <a:cubicBezTo>
                      <a:pt x="1504" y="4580"/>
                      <a:pt x="1504" y="4580"/>
                      <a:pt x="2174" y="3911"/>
                    </a:cubicBezTo>
                    <a:cubicBezTo>
                      <a:pt x="2174" y="4204"/>
                      <a:pt x="2174" y="4522"/>
                      <a:pt x="2174" y="4868"/>
                    </a:cubicBezTo>
                    <a:cubicBezTo>
                      <a:pt x="2174" y="5160"/>
                      <a:pt x="2399" y="5384"/>
                      <a:pt x="2693" y="5384"/>
                    </a:cubicBezTo>
                    <a:cubicBezTo>
                      <a:pt x="2963" y="5384"/>
                      <a:pt x="3189" y="5160"/>
                      <a:pt x="3189" y="4868"/>
                    </a:cubicBezTo>
                    <a:cubicBezTo>
                      <a:pt x="3189" y="4868"/>
                      <a:pt x="3189" y="4868"/>
                      <a:pt x="3189" y="3893"/>
                    </a:cubicBezTo>
                    <a:cubicBezTo>
                      <a:pt x="3400" y="4103"/>
                      <a:pt x="3631" y="4331"/>
                      <a:pt x="3881" y="4580"/>
                    </a:cubicBezTo>
                    <a:cubicBezTo>
                      <a:pt x="4060" y="4781"/>
                      <a:pt x="4397" y="4781"/>
                      <a:pt x="4576" y="4580"/>
                    </a:cubicBezTo>
                    <a:cubicBezTo>
                      <a:pt x="4778" y="4401"/>
                      <a:pt x="4778" y="4065"/>
                      <a:pt x="4576" y="3886"/>
                    </a:cubicBezTo>
                    <a:cubicBezTo>
                      <a:pt x="4576" y="3886"/>
                      <a:pt x="4576" y="3885"/>
                      <a:pt x="3879" y="3184"/>
                    </a:cubicBezTo>
                    <a:cubicBezTo>
                      <a:pt x="4181" y="3184"/>
                      <a:pt x="4508" y="3184"/>
                      <a:pt x="4866" y="3184"/>
                    </a:cubicBezTo>
                    <a:cubicBezTo>
                      <a:pt x="5135" y="3184"/>
                      <a:pt x="5381" y="2959"/>
                      <a:pt x="5381" y="2689"/>
                    </a:cubicBezTo>
                    <a:cubicBezTo>
                      <a:pt x="5381" y="2396"/>
                      <a:pt x="5135" y="2171"/>
                      <a:pt x="4866" y="217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128"/>
                </a:endParaRPr>
              </a:p>
            </p:txBody>
          </p:sp>
          <p:sp>
            <p:nvSpPr>
              <p:cNvPr id="93" name="Freeform 32"/>
              <p:cNvSpPr>
                <a:spLocks noEditPoints="1"/>
              </p:cNvSpPr>
              <p:nvPr/>
            </p:nvSpPr>
            <p:spPr bwMode="auto">
              <a:xfrm>
                <a:off x="3589338" y="500063"/>
                <a:ext cx="1595438" cy="1590675"/>
              </a:xfrm>
              <a:custGeom>
                <a:avLst/>
                <a:gdLst>
                  <a:gd name="T0" fmla="*/ 1658 w 3293"/>
                  <a:gd name="T1" fmla="*/ 805 h 3289"/>
                  <a:gd name="T2" fmla="*/ 2509 w 3293"/>
                  <a:gd name="T3" fmla="*/ 1656 h 3289"/>
                  <a:gd name="T4" fmla="*/ 1658 w 3293"/>
                  <a:gd name="T5" fmla="*/ 2506 h 3289"/>
                  <a:gd name="T6" fmla="*/ 784 w 3293"/>
                  <a:gd name="T7" fmla="*/ 1656 h 3289"/>
                  <a:gd name="T8" fmla="*/ 1658 w 3293"/>
                  <a:gd name="T9" fmla="*/ 805 h 3289"/>
                  <a:gd name="T10" fmla="*/ 1658 w 3293"/>
                  <a:gd name="T11" fmla="*/ 0 h 3289"/>
                  <a:gd name="T12" fmla="*/ 0 w 3293"/>
                  <a:gd name="T13" fmla="*/ 1656 h 3289"/>
                  <a:gd name="T14" fmla="*/ 1658 w 3293"/>
                  <a:gd name="T15" fmla="*/ 3289 h 3289"/>
                  <a:gd name="T16" fmla="*/ 3293 w 3293"/>
                  <a:gd name="T17" fmla="*/ 1656 h 3289"/>
                  <a:gd name="T18" fmla="*/ 1658 w 3293"/>
                  <a:gd name="T19"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3" h="3289">
                    <a:moveTo>
                      <a:pt x="1658" y="805"/>
                    </a:moveTo>
                    <a:cubicBezTo>
                      <a:pt x="2128" y="805"/>
                      <a:pt x="2509" y="1186"/>
                      <a:pt x="2509" y="1656"/>
                    </a:cubicBezTo>
                    <a:cubicBezTo>
                      <a:pt x="2509" y="2126"/>
                      <a:pt x="2128" y="2506"/>
                      <a:pt x="1658" y="2506"/>
                    </a:cubicBezTo>
                    <a:cubicBezTo>
                      <a:pt x="1187" y="2506"/>
                      <a:pt x="784" y="2126"/>
                      <a:pt x="784" y="1656"/>
                    </a:cubicBezTo>
                    <a:cubicBezTo>
                      <a:pt x="784" y="1186"/>
                      <a:pt x="1187" y="805"/>
                      <a:pt x="1658" y="805"/>
                    </a:cubicBezTo>
                    <a:moveTo>
                      <a:pt x="1658" y="0"/>
                    </a:moveTo>
                    <a:cubicBezTo>
                      <a:pt x="739" y="0"/>
                      <a:pt x="0" y="738"/>
                      <a:pt x="0" y="1656"/>
                    </a:cubicBezTo>
                    <a:cubicBezTo>
                      <a:pt x="0" y="2551"/>
                      <a:pt x="739" y="3289"/>
                      <a:pt x="1658" y="3289"/>
                    </a:cubicBezTo>
                    <a:cubicBezTo>
                      <a:pt x="2554" y="3289"/>
                      <a:pt x="3293" y="2551"/>
                      <a:pt x="3293" y="1656"/>
                    </a:cubicBezTo>
                    <a:cubicBezTo>
                      <a:pt x="3293" y="738"/>
                      <a:pt x="2554" y="0"/>
                      <a:pt x="1658" y="0"/>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grpSp>
        <p:cxnSp>
          <p:nvCxnSpPr>
            <p:cNvPr id="101" name="Straight Connector 100"/>
            <p:cNvCxnSpPr/>
            <p:nvPr/>
          </p:nvCxnSpPr>
          <p:spPr>
            <a:xfrm flipH="1">
              <a:off x="3449778" y="3294910"/>
              <a:ext cx="320111" cy="0"/>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169" name="Group 4"/>
          <p:cNvGrpSpPr>
            <a:grpSpLocks noChangeAspect="1"/>
          </p:cNvGrpSpPr>
          <p:nvPr/>
        </p:nvGrpSpPr>
        <p:grpSpPr bwMode="auto">
          <a:xfrm>
            <a:off x="7318668" y="2332659"/>
            <a:ext cx="1068151" cy="1005155"/>
            <a:chOff x="1158" y="1"/>
            <a:chExt cx="3442" cy="3239"/>
          </a:xfrm>
        </p:grpSpPr>
        <p:sp>
          <p:nvSpPr>
            <p:cNvPr id="170" name="Freeform 5"/>
            <p:cNvSpPr>
              <a:spLocks/>
            </p:cNvSpPr>
            <p:nvPr/>
          </p:nvSpPr>
          <p:spPr bwMode="auto">
            <a:xfrm>
              <a:off x="1272" y="225"/>
              <a:ext cx="3214" cy="2460"/>
            </a:xfrm>
            <a:custGeom>
              <a:avLst/>
              <a:gdLst>
                <a:gd name="T0" fmla="*/ 0 w 3214"/>
                <a:gd name="T1" fmla="*/ 0 h 2460"/>
                <a:gd name="T2" fmla="*/ 3214 w 3214"/>
                <a:gd name="T3" fmla="*/ 0 h 2460"/>
                <a:gd name="T4" fmla="*/ 3214 w 3214"/>
                <a:gd name="T5" fmla="*/ 2460 h 2460"/>
                <a:gd name="T6" fmla="*/ 0 w 3214"/>
                <a:gd name="T7" fmla="*/ 2460 h 2460"/>
                <a:gd name="T8" fmla="*/ 0 w 3214"/>
                <a:gd name="T9" fmla="*/ 0 h 2460"/>
                <a:gd name="T10" fmla="*/ 0 w 3214"/>
                <a:gd name="T11" fmla="*/ 0 h 2460"/>
              </a:gdLst>
              <a:ahLst/>
              <a:cxnLst>
                <a:cxn ang="0">
                  <a:pos x="T0" y="T1"/>
                </a:cxn>
                <a:cxn ang="0">
                  <a:pos x="T2" y="T3"/>
                </a:cxn>
                <a:cxn ang="0">
                  <a:pos x="T4" y="T5"/>
                </a:cxn>
                <a:cxn ang="0">
                  <a:pos x="T6" y="T7"/>
                </a:cxn>
                <a:cxn ang="0">
                  <a:pos x="T8" y="T9"/>
                </a:cxn>
                <a:cxn ang="0">
                  <a:pos x="T10" y="T11"/>
                </a:cxn>
              </a:cxnLst>
              <a:rect l="0" t="0" r="r" b="b"/>
              <a:pathLst>
                <a:path w="3214" h="2460">
                  <a:moveTo>
                    <a:pt x="0" y="0"/>
                  </a:moveTo>
                  <a:lnTo>
                    <a:pt x="3214" y="0"/>
                  </a:lnTo>
                  <a:lnTo>
                    <a:pt x="3214" y="2460"/>
                  </a:lnTo>
                  <a:lnTo>
                    <a:pt x="0" y="2460"/>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71" name="Freeform 6"/>
            <p:cNvSpPr>
              <a:spLocks noEditPoints="1"/>
            </p:cNvSpPr>
            <p:nvPr/>
          </p:nvSpPr>
          <p:spPr bwMode="auto">
            <a:xfrm>
              <a:off x="2355" y="1228"/>
              <a:ext cx="1736" cy="1092"/>
            </a:xfrm>
            <a:custGeom>
              <a:avLst/>
              <a:gdLst>
                <a:gd name="T0" fmla="*/ 2750 w 2792"/>
                <a:gd name="T1" fmla="*/ 1758 h 1758"/>
                <a:gd name="T2" fmla="*/ 2222 w 2792"/>
                <a:gd name="T3" fmla="*/ 1758 h 1758"/>
                <a:gd name="T4" fmla="*/ 2180 w 2792"/>
                <a:gd name="T5" fmla="*/ 1716 h 1758"/>
                <a:gd name="T6" fmla="*/ 2180 w 2792"/>
                <a:gd name="T7" fmla="*/ 306 h 1758"/>
                <a:gd name="T8" fmla="*/ 2486 w 2792"/>
                <a:gd name="T9" fmla="*/ 0 h 1758"/>
                <a:gd name="T10" fmla="*/ 2486 w 2792"/>
                <a:gd name="T11" fmla="*/ 0 h 1758"/>
                <a:gd name="T12" fmla="*/ 2792 w 2792"/>
                <a:gd name="T13" fmla="*/ 306 h 1758"/>
                <a:gd name="T14" fmla="*/ 2792 w 2792"/>
                <a:gd name="T15" fmla="*/ 1716 h 1758"/>
                <a:gd name="T16" fmla="*/ 2750 w 2792"/>
                <a:gd name="T17" fmla="*/ 1758 h 1758"/>
                <a:gd name="T18" fmla="*/ 612 w 2792"/>
                <a:gd name="T19" fmla="*/ 1724 h 1758"/>
                <a:gd name="T20" fmla="*/ 612 w 2792"/>
                <a:gd name="T21" fmla="*/ 906 h 1758"/>
                <a:gd name="T22" fmla="*/ 306 w 2792"/>
                <a:gd name="T23" fmla="*/ 600 h 1758"/>
                <a:gd name="T24" fmla="*/ 306 w 2792"/>
                <a:gd name="T25" fmla="*/ 600 h 1758"/>
                <a:gd name="T26" fmla="*/ 0 w 2792"/>
                <a:gd name="T27" fmla="*/ 906 h 1758"/>
                <a:gd name="T28" fmla="*/ 0 w 2792"/>
                <a:gd name="T29" fmla="*/ 1724 h 1758"/>
                <a:gd name="T30" fmla="*/ 34 w 2792"/>
                <a:gd name="T31" fmla="*/ 1758 h 1758"/>
                <a:gd name="T32" fmla="*/ 578 w 2792"/>
                <a:gd name="T33" fmla="*/ 1758 h 1758"/>
                <a:gd name="T34" fmla="*/ 612 w 2792"/>
                <a:gd name="T35" fmla="*/ 1724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92" h="1758">
                  <a:moveTo>
                    <a:pt x="2750" y="1758"/>
                  </a:moveTo>
                  <a:cubicBezTo>
                    <a:pt x="2222" y="1758"/>
                    <a:pt x="2222" y="1758"/>
                    <a:pt x="2222" y="1758"/>
                  </a:cubicBezTo>
                  <a:cubicBezTo>
                    <a:pt x="2199" y="1758"/>
                    <a:pt x="2180" y="1739"/>
                    <a:pt x="2180" y="1716"/>
                  </a:cubicBezTo>
                  <a:cubicBezTo>
                    <a:pt x="2180" y="306"/>
                    <a:pt x="2180" y="306"/>
                    <a:pt x="2180" y="306"/>
                  </a:cubicBezTo>
                  <a:cubicBezTo>
                    <a:pt x="2180" y="138"/>
                    <a:pt x="2318" y="0"/>
                    <a:pt x="2486" y="0"/>
                  </a:cubicBezTo>
                  <a:cubicBezTo>
                    <a:pt x="2486" y="0"/>
                    <a:pt x="2486" y="0"/>
                    <a:pt x="2486" y="0"/>
                  </a:cubicBezTo>
                  <a:cubicBezTo>
                    <a:pt x="2654" y="0"/>
                    <a:pt x="2792" y="138"/>
                    <a:pt x="2792" y="306"/>
                  </a:cubicBezTo>
                  <a:cubicBezTo>
                    <a:pt x="2792" y="1716"/>
                    <a:pt x="2792" y="1716"/>
                    <a:pt x="2792" y="1716"/>
                  </a:cubicBezTo>
                  <a:cubicBezTo>
                    <a:pt x="2792" y="1739"/>
                    <a:pt x="2773" y="1758"/>
                    <a:pt x="2750" y="1758"/>
                  </a:cubicBezTo>
                  <a:close/>
                  <a:moveTo>
                    <a:pt x="612" y="1724"/>
                  </a:moveTo>
                  <a:cubicBezTo>
                    <a:pt x="612" y="906"/>
                    <a:pt x="612" y="906"/>
                    <a:pt x="612" y="906"/>
                  </a:cubicBezTo>
                  <a:cubicBezTo>
                    <a:pt x="612" y="738"/>
                    <a:pt x="474" y="600"/>
                    <a:pt x="306" y="600"/>
                  </a:cubicBezTo>
                  <a:cubicBezTo>
                    <a:pt x="306" y="600"/>
                    <a:pt x="306" y="600"/>
                    <a:pt x="306" y="600"/>
                  </a:cubicBezTo>
                  <a:cubicBezTo>
                    <a:pt x="138" y="600"/>
                    <a:pt x="0" y="738"/>
                    <a:pt x="0" y="906"/>
                  </a:cubicBezTo>
                  <a:cubicBezTo>
                    <a:pt x="0" y="1724"/>
                    <a:pt x="0" y="1724"/>
                    <a:pt x="0" y="1724"/>
                  </a:cubicBezTo>
                  <a:cubicBezTo>
                    <a:pt x="0" y="1743"/>
                    <a:pt x="15" y="1758"/>
                    <a:pt x="34" y="1758"/>
                  </a:cubicBezTo>
                  <a:cubicBezTo>
                    <a:pt x="578" y="1758"/>
                    <a:pt x="578" y="1758"/>
                    <a:pt x="578" y="1758"/>
                  </a:cubicBezTo>
                  <a:cubicBezTo>
                    <a:pt x="597" y="1758"/>
                    <a:pt x="612" y="1743"/>
                    <a:pt x="612" y="1724"/>
                  </a:cubicBezTo>
                  <a:close/>
                </a:path>
              </a:pathLst>
            </a:custGeom>
            <a:solidFill>
              <a:srgbClr val="FBAB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72" name="Freeform 7"/>
            <p:cNvSpPr>
              <a:spLocks noEditPoints="1"/>
            </p:cNvSpPr>
            <p:nvPr/>
          </p:nvSpPr>
          <p:spPr bwMode="auto">
            <a:xfrm>
              <a:off x="1678" y="517"/>
              <a:ext cx="1735" cy="1803"/>
            </a:xfrm>
            <a:custGeom>
              <a:avLst/>
              <a:gdLst>
                <a:gd name="T0" fmla="*/ 564 w 2792"/>
                <a:gd name="T1" fmla="*/ 2904 h 2904"/>
                <a:gd name="T2" fmla="*/ 48 w 2792"/>
                <a:gd name="T3" fmla="*/ 2904 h 2904"/>
                <a:gd name="T4" fmla="*/ 0 w 2792"/>
                <a:gd name="T5" fmla="*/ 2856 h 2904"/>
                <a:gd name="T6" fmla="*/ 0 w 2792"/>
                <a:gd name="T7" fmla="*/ 948 h 2904"/>
                <a:gd name="T8" fmla="*/ 306 w 2792"/>
                <a:gd name="T9" fmla="*/ 642 h 2904"/>
                <a:gd name="T10" fmla="*/ 306 w 2792"/>
                <a:gd name="T11" fmla="*/ 642 h 2904"/>
                <a:gd name="T12" fmla="*/ 612 w 2792"/>
                <a:gd name="T13" fmla="*/ 948 h 2904"/>
                <a:gd name="T14" fmla="*/ 612 w 2792"/>
                <a:gd name="T15" fmla="*/ 2856 h 2904"/>
                <a:gd name="T16" fmla="*/ 564 w 2792"/>
                <a:gd name="T17" fmla="*/ 2904 h 2904"/>
                <a:gd name="T18" fmla="*/ 2792 w 2792"/>
                <a:gd name="T19" fmla="*/ 2856 h 2904"/>
                <a:gd name="T20" fmla="*/ 2792 w 2792"/>
                <a:gd name="T21" fmla="*/ 306 h 2904"/>
                <a:gd name="T22" fmla="*/ 2486 w 2792"/>
                <a:gd name="T23" fmla="*/ 0 h 2904"/>
                <a:gd name="T24" fmla="*/ 2486 w 2792"/>
                <a:gd name="T25" fmla="*/ 0 h 2904"/>
                <a:gd name="T26" fmla="*/ 2180 w 2792"/>
                <a:gd name="T27" fmla="*/ 306 h 2904"/>
                <a:gd name="T28" fmla="*/ 2180 w 2792"/>
                <a:gd name="T29" fmla="*/ 2856 h 2904"/>
                <a:gd name="T30" fmla="*/ 2228 w 2792"/>
                <a:gd name="T31" fmla="*/ 2904 h 2904"/>
                <a:gd name="T32" fmla="*/ 2744 w 2792"/>
                <a:gd name="T33" fmla="*/ 2904 h 2904"/>
                <a:gd name="T34" fmla="*/ 2792 w 2792"/>
                <a:gd name="T35" fmla="*/ 2856 h 2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92" h="2904">
                  <a:moveTo>
                    <a:pt x="564" y="2904"/>
                  </a:moveTo>
                  <a:cubicBezTo>
                    <a:pt x="48" y="2904"/>
                    <a:pt x="48" y="2904"/>
                    <a:pt x="48" y="2904"/>
                  </a:cubicBezTo>
                  <a:cubicBezTo>
                    <a:pt x="22" y="2904"/>
                    <a:pt x="0" y="2882"/>
                    <a:pt x="0" y="2856"/>
                  </a:cubicBezTo>
                  <a:cubicBezTo>
                    <a:pt x="0" y="948"/>
                    <a:pt x="0" y="948"/>
                    <a:pt x="0" y="948"/>
                  </a:cubicBezTo>
                  <a:cubicBezTo>
                    <a:pt x="0" y="780"/>
                    <a:pt x="138" y="642"/>
                    <a:pt x="306" y="642"/>
                  </a:cubicBezTo>
                  <a:cubicBezTo>
                    <a:pt x="306" y="642"/>
                    <a:pt x="306" y="642"/>
                    <a:pt x="306" y="642"/>
                  </a:cubicBezTo>
                  <a:cubicBezTo>
                    <a:pt x="474" y="642"/>
                    <a:pt x="612" y="780"/>
                    <a:pt x="612" y="948"/>
                  </a:cubicBezTo>
                  <a:cubicBezTo>
                    <a:pt x="612" y="2856"/>
                    <a:pt x="612" y="2856"/>
                    <a:pt x="612" y="2856"/>
                  </a:cubicBezTo>
                  <a:cubicBezTo>
                    <a:pt x="612" y="2882"/>
                    <a:pt x="590" y="2904"/>
                    <a:pt x="564" y="2904"/>
                  </a:cubicBezTo>
                  <a:close/>
                  <a:moveTo>
                    <a:pt x="2792" y="2856"/>
                  </a:moveTo>
                  <a:cubicBezTo>
                    <a:pt x="2792" y="306"/>
                    <a:pt x="2792" y="306"/>
                    <a:pt x="2792" y="306"/>
                  </a:cubicBezTo>
                  <a:cubicBezTo>
                    <a:pt x="2792" y="138"/>
                    <a:pt x="2654" y="0"/>
                    <a:pt x="2486" y="0"/>
                  </a:cubicBezTo>
                  <a:cubicBezTo>
                    <a:pt x="2486" y="0"/>
                    <a:pt x="2486" y="0"/>
                    <a:pt x="2486" y="0"/>
                  </a:cubicBezTo>
                  <a:cubicBezTo>
                    <a:pt x="2318" y="0"/>
                    <a:pt x="2180" y="138"/>
                    <a:pt x="2180" y="306"/>
                  </a:cubicBezTo>
                  <a:cubicBezTo>
                    <a:pt x="2180" y="2856"/>
                    <a:pt x="2180" y="2856"/>
                    <a:pt x="2180" y="2856"/>
                  </a:cubicBezTo>
                  <a:cubicBezTo>
                    <a:pt x="2180" y="2882"/>
                    <a:pt x="2202" y="2904"/>
                    <a:pt x="2228" y="2904"/>
                  </a:cubicBezTo>
                  <a:cubicBezTo>
                    <a:pt x="2744" y="2904"/>
                    <a:pt x="2744" y="2904"/>
                    <a:pt x="2744" y="2904"/>
                  </a:cubicBezTo>
                  <a:cubicBezTo>
                    <a:pt x="2770" y="2904"/>
                    <a:pt x="2792" y="2882"/>
                    <a:pt x="2792" y="2856"/>
                  </a:cubicBezTo>
                  <a:close/>
                </a:path>
              </a:pathLst>
            </a:custGeom>
            <a:solidFill>
              <a:srgbClr val="6F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73" name="Freeform 8"/>
            <p:cNvSpPr>
              <a:spLocks noEditPoints="1"/>
            </p:cNvSpPr>
            <p:nvPr/>
          </p:nvSpPr>
          <p:spPr bwMode="auto">
            <a:xfrm>
              <a:off x="1158" y="1"/>
              <a:ext cx="3442" cy="2911"/>
            </a:xfrm>
            <a:custGeom>
              <a:avLst/>
              <a:gdLst>
                <a:gd name="T0" fmla="*/ 0 w 5538"/>
                <a:gd name="T1" fmla="*/ 240 h 4691"/>
                <a:gd name="T2" fmla="*/ 240 w 5538"/>
                <a:gd name="T3" fmla="*/ 0 h 4691"/>
                <a:gd name="T4" fmla="*/ 5298 w 5538"/>
                <a:gd name="T5" fmla="*/ 0 h 4691"/>
                <a:gd name="T6" fmla="*/ 5538 w 5538"/>
                <a:gd name="T7" fmla="*/ 240 h 4691"/>
                <a:gd name="T8" fmla="*/ 5298 w 5538"/>
                <a:gd name="T9" fmla="*/ 479 h 4691"/>
                <a:gd name="T10" fmla="*/ 240 w 5538"/>
                <a:gd name="T11" fmla="*/ 479 h 4691"/>
                <a:gd name="T12" fmla="*/ 0 w 5538"/>
                <a:gd name="T13" fmla="*/ 240 h 4691"/>
                <a:gd name="T14" fmla="*/ 5450 w 5538"/>
                <a:gd name="T15" fmla="*/ 4207 h 4691"/>
                <a:gd name="T16" fmla="*/ 88 w 5538"/>
                <a:gd name="T17" fmla="*/ 4207 h 4691"/>
                <a:gd name="T18" fmla="*/ 0 w 5538"/>
                <a:gd name="T19" fmla="*/ 4295 h 4691"/>
                <a:gd name="T20" fmla="*/ 0 w 5538"/>
                <a:gd name="T21" fmla="*/ 4332 h 4691"/>
                <a:gd name="T22" fmla="*/ 88 w 5538"/>
                <a:gd name="T23" fmla="*/ 4420 h 4691"/>
                <a:gd name="T24" fmla="*/ 2689 w 5538"/>
                <a:gd name="T25" fmla="*/ 4420 h 4691"/>
                <a:gd name="T26" fmla="*/ 2689 w 5538"/>
                <a:gd name="T27" fmla="*/ 4691 h 4691"/>
                <a:gd name="T28" fmla="*/ 2849 w 5538"/>
                <a:gd name="T29" fmla="*/ 4691 h 4691"/>
                <a:gd name="T30" fmla="*/ 2849 w 5538"/>
                <a:gd name="T31" fmla="*/ 4420 h 4691"/>
                <a:gd name="T32" fmla="*/ 5450 w 5538"/>
                <a:gd name="T33" fmla="*/ 4420 h 4691"/>
                <a:gd name="T34" fmla="*/ 5538 w 5538"/>
                <a:gd name="T35" fmla="*/ 4332 h 4691"/>
                <a:gd name="T36" fmla="*/ 5538 w 5538"/>
                <a:gd name="T37" fmla="*/ 4295 h 4691"/>
                <a:gd name="T38" fmla="*/ 5450 w 5538"/>
                <a:gd name="T39" fmla="*/ 4207 h 4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38" h="4691">
                  <a:moveTo>
                    <a:pt x="0" y="240"/>
                  </a:moveTo>
                  <a:cubicBezTo>
                    <a:pt x="0" y="108"/>
                    <a:pt x="108" y="0"/>
                    <a:pt x="240" y="0"/>
                  </a:cubicBezTo>
                  <a:cubicBezTo>
                    <a:pt x="5298" y="0"/>
                    <a:pt x="5298" y="0"/>
                    <a:pt x="5298" y="0"/>
                  </a:cubicBezTo>
                  <a:cubicBezTo>
                    <a:pt x="5430" y="0"/>
                    <a:pt x="5538" y="108"/>
                    <a:pt x="5538" y="240"/>
                  </a:cubicBezTo>
                  <a:cubicBezTo>
                    <a:pt x="5538" y="372"/>
                    <a:pt x="5430" y="479"/>
                    <a:pt x="5298" y="479"/>
                  </a:cubicBezTo>
                  <a:cubicBezTo>
                    <a:pt x="240" y="479"/>
                    <a:pt x="240" y="479"/>
                    <a:pt x="240" y="479"/>
                  </a:cubicBezTo>
                  <a:cubicBezTo>
                    <a:pt x="108" y="479"/>
                    <a:pt x="0" y="372"/>
                    <a:pt x="0" y="240"/>
                  </a:cubicBezTo>
                  <a:close/>
                  <a:moveTo>
                    <a:pt x="5450" y="4207"/>
                  </a:moveTo>
                  <a:cubicBezTo>
                    <a:pt x="88" y="4207"/>
                    <a:pt x="88" y="4207"/>
                    <a:pt x="88" y="4207"/>
                  </a:cubicBezTo>
                  <a:cubicBezTo>
                    <a:pt x="40" y="4207"/>
                    <a:pt x="0" y="4246"/>
                    <a:pt x="0" y="4295"/>
                  </a:cubicBezTo>
                  <a:cubicBezTo>
                    <a:pt x="0" y="4332"/>
                    <a:pt x="0" y="4332"/>
                    <a:pt x="0" y="4332"/>
                  </a:cubicBezTo>
                  <a:cubicBezTo>
                    <a:pt x="0" y="4380"/>
                    <a:pt x="40" y="4420"/>
                    <a:pt x="88" y="4420"/>
                  </a:cubicBezTo>
                  <a:cubicBezTo>
                    <a:pt x="2689" y="4420"/>
                    <a:pt x="2689" y="4420"/>
                    <a:pt x="2689" y="4420"/>
                  </a:cubicBezTo>
                  <a:cubicBezTo>
                    <a:pt x="2689" y="4691"/>
                    <a:pt x="2689" y="4691"/>
                    <a:pt x="2689" y="4691"/>
                  </a:cubicBezTo>
                  <a:cubicBezTo>
                    <a:pt x="2849" y="4691"/>
                    <a:pt x="2849" y="4691"/>
                    <a:pt x="2849" y="4691"/>
                  </a:cubicBezTo>
                  <a:cubicBezTo>
                    <a:pt x="2849" y="4420"/>
                    <a:pt x="2849" y="4420"/>
                    <a:pt x="2849" y="4420"/>
                  </a:cubicBezTo>
                  <a:cubicBezTo>
                    <a:pt x="5450" y="4420"/>
                    <a:pt x="5450" y="4420"/>
                    <a:pt x="5450" y="4420"/>
                  </a:cubicBezTo>
                  <a:cubicBezTo>
                    <a:pt x="5498" y="4420"/>
                    <a:pt x="5538" y="4380"/>
                    <a:pt x="5538" y="4332"/>
                  </a:cubicBezTo>
                  <a:cubicBezTo>
                    <a:pt x="5538" y="4295"/>
                    <a:pt x="5538" y="4295"/>
                    <a:pt x="5538" y="4295"/>
                  </a:cubicBezTo>
                  <a:cubicBezTo>
                    <a:pt x="5538" y="4246"/>
                    <a:pt x="5498" y="4207"/>
                    <a:pt x="5450" y="42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74" name="Freeform 9"/>
            <p:cNvSpPr>
              <a:spLocks noEditPoints="1"/>
            </p:cNvSpPr>
            <p:nvPr/>
          </p:nvSpPr>
          <p:spPr bwMode="auto">
            <a:xfrm>
              <a:off x="1497" y="2248"/>
              <a:ext cx="2765" cy="992"/>
            </a:xfrm>
            <a:custGeom>
              <a:avLst/>
              <a:gdLst>
                <a:gd name="T0" fmla="*/ 2223 w 4448"/>
                <a:gd name="T1" fmla="*/ 1012 h 1598"/>
                <a:gd name="T2" fmla="*/ 1931 w 4448"/>
                <a:gd name="T3" fmla="*/ 1305 h 1598"/>
                <a:gd name="T4" fmla="*/ 2223 w 4448"/>
                <a:gd name="T5" fmla="*/ 1598 h 1598"/>
                <a:gd name="T6" fmla="*/ 2517 w 4448"/>
                <a:gd name="T7" fmla="*/ 1305 h 1598"/>
                <a:gd name="T8" fmla="*/ 2223 w 4448"/>
                <a:gd name="T9" fmla="*/ 1012 h 1598"/>
                <a:gd name="T10" fmla="*/ 2223 w 4448"/>
                <a:gd name="T11" fmla="*/ 1472 h 1598"/>
                <a:gd name="T12" fmla="*/ 2056 w 4448"/>
                <a:gd name="T13" fmla="*/ 1305 h 1598"/>
                <a:gd name="T14" fmla="*/ 2223 w 4448"/>
                <a:gd name="T15" fmla="*/ 1137 h 1598"/>
                <a:gd name="T16" fmla="*/ 2391 w 4448"/>
                <a:gd name="T17" fmla="*/ 1305 h 1598"/>
                <a:gd name="T18" fmla="*/ 2223 w 4448"/>
                <a:gd name="T19" fmla="*/ 1472 h 1598"/>
                <a:gd name="T20" fmla="*/ 4448 w 4448"/>
                <a:gd name="T21" fmla="*/ 116 h 1598"/>
                <a:gd name="T22" fmla="*/ 4332 w 4448"/>
                <a:gd name="T23" fmla="*/ 232 h 1598"/>
                <a:gd name="T24" fmla="*/ 116 w 4448"/>
                <a:gd name="T25" fmla="*/ 232 h 1598"/>
                <a:gd name="T26" fmla="*/ 0 w 4448"/>
                <a:gd name="T27" fmla="*/ 116 h 1598"/>
                <a:gd name="T28" fmla="*/ 116 w 4448"/>
                <a:gd name="T29" fmla="*/ 0 h 1598"/>
                <a:gd name="T30" fmla="*/ 4332 w 4448"/>
                <a:gd name="T31" fmla="*/ 0 h 1598"/>
                <a:gd name="T32" fmla="*/ 4448 w 4448"/>
                <a:gd name="T33" fmla="*/ 116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48" h="1598">
                  <a:moveTo>
                    <a:pt x="2223" y="1012"/>
                  </a:moveTo>
                  <a:cubicBezTo>
                    <a:pt x="2062" y="1012"/>
                    <a:pt x="1931" y="1143"/>
                    <a:pt x="1931" y="1305"/>
                  </a:cubicBezTo>
                  <a:cubicBezTo>
                    <a:pt x="1931" y="1468"/>
                    <a:pt x="2062" y="1598"/>
                    <a:pt x="2223" y="1598"/>
                  </a:cubicBezTo>
                  <a:cubicBezTo>
                    <a:pt x="2386" y="1598"/>
                    <a:pt x="2517" y="1468"/>
                    <a:pt x="2517" y="1305"/>
                  </a:cubicBezTo>
                  <a:cubicBezTo>
                    <a:pt x="2517" y="1143"/>
                    <a:pt x="2386" y="1012"/>
                    <a:pt x="2223" y="1012"/>
                  </a:cubicBezTo>
                  <a:close/>
                  <a:moveTo>
                    <a:pt x="2223" y="1472"/>
                  </a:moveTo>
                  <a:cubicBezTo>
                    <a:pt x="2131" y="1472"/>
                    <a:pt x="2056" y="1397"/>
                    <a:pt x="2056" y="1305"/>
                  </a:cubicBezTo>
                  <a:cubicBezTo>
                    <a:pt x="2056" y="1212"/>
                    <a:pt x="2131" y="1137"/>
                    <a:pt x="2223" y="1137"/>
                  </a:cubicBezTo>
                  <a:cubicBezTo>
                    <a:pt x="2317" y="1137"/>
                    <a:pt x="2391" y="1212"/>
                    <a:pt x="2391" y="1305"/>
                  </a:cubicBezTo>
                  <a:cubicBezTo>
                    <a:pt x="2391" y="1397"/>
                    <a:pt x="2317" y="1472"/>
                    <a:pt x="2223" y="1472"/>
                  </a:cubicBezTo>
                  <a:close/>
                  <a:moveTo>
                    <a:pt x="4448" y="116"/>
                  </a:moveTo>
                  <a:cubicBezTo>
                    <a:pt x="4448" y="180"/>
                    <a:pt x="4396" y="232"/>
                    <a:pt x="4332" y="232"/>
                  </a:cubicBezTo>
                  <a:cubicBezTo>
                    <a:pt x="116" y="232"/>
                    <a:pt x="116" y="232"/>
                    <a:pt x="116" y="232"/>
                  </a:cubicBezTo>
                  <a:cubicBezTo>
                    <a:pt x="52" y="232"/>
                    <a:pt x="0" y="180"/>
                    <a:pt x="0" y="116"/>
                  </a:cubicBezTo>
                  <a:cubicBezTo>
                    <a:pt x="0" y="52"/>
                    <a:pt x="52" y="0"/>
                    <a:pt x="116" y="0"/>
                  </a:cubicBezTo>
                  <a:cubicBezTo>
                    <a:pt x="4332" y="0"/>
                    <a:pt x="4332" y="0"/>
                    <a:pt x="4332" y="0"/>
                  </a:cubicBezTo>
                  <a:cubicBezTo>
                    <a:pt x="4396" y="0"/>
                    <a:pt x="4448" y="52"/>
                    <a:pt x="4448" y="116"/>
                  </a:cubicBezTo>
                  <a:close/>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grpSp>
      <p:pic>
        <p:nvPicPr>
          <p:cNvPr id="161" name="Picture 160">
            <a:extLst>
              <a:ext uri="{FF2B5EF4-FFF2-40B4-BE49-F238E27FC236}">
                <a16:creationId xmlns:a16="http://schemas.microsoft.com/office/drawing/2014/main" id="{1A7B0BF4-E933-4878-A562-0E6633C3058A}"/>
              </a:ext>
            </a:extLst>
          </p:cNvPr>
          <p:cNvPicPr>
            <a:picLocks noChangeAspect="1"/>
          </p:cNvPicPr>
          <p:nvPr/>
        </p:nvPicPr>
        <p:blipFill>
          <a:blip r:embed="rId3" cstate="screen">
            <a:extLst>
              <a:ext uri="{28A0092B-C50C-407E-A947-70E740481C1C}">
                <a14:useLocalDpi xmlns:a14="http://schemas.microsoft.com/office/drawing/2010/main"/>
              </a:ext>
            </a:extLst>
          </a:blip>
          <a:srcRect l="2139" t="14600" r="6887" b="17219"/>
          <a:stretch>
            <a:fillRect/>
          </a:stretch>
        </p:blipFill>
        <p:spPr>
          <a:xfrm>
            <a:off x="1574465" y="1981643"/>
            <a:ext cx="1280411" cy="1692240"/>
          </a:xfrm>
          <a:custGeom>
            <a:avLst/>
            <a:gdLst>
              <a:gd name="connsiteX0" fmla="*/ 0 w 1280411"/>
              <a:gd name="connsiteY0" fmla="*/ 0 h 1692240"/>
              <a:gd name="connsiteX1" fmla="*/ 1280411 w 1280411"/>
              <a:gd name="connsiteY1" fmla="*/ 320102 h 1692240"/>
              <a:gd name="connsiteX2" fmla="*/ 1270931 w 1280411"/>
              <a:gd name="connsiteY2" fmla="*/ 331591 h 1692240"/>
              <a:gd name="connsiteX3" fmla="*/ 1112014 w 1280411"/>
              <a:gd name="connsiteY3" fmla="*/ 851850 h 1692240"/>
              <a:gd name="connsiteX4" fmla="*/ 1270931 w 1280411"/>
              <a:gd name="connsiteY4" fmla="*/ 1372109 h 1692240"/>
              <a:gd name="connsiteX5" fmla="*/ 1276640 w 1280411"/>
              <a:gd name="connsiteY5" fmla="*/ 1379028 h 1692240"/>
              <a:gd name="connsiteX6" fmla="*/ 23791 w 1280411"/>
              <a:gd name="connsiteY6" fmla="*/ 1692240 h 1692240"/>
              <a:gd name="connsiteX7" fmla="*/ 69843 w 1280411"/>
              <a:gd name="connsiteY7" fmla="*/ 1670055 h 1692240"/>
              <a:gd name="connsiteX8" fmla="*/ 556818 w 1280411"/>
              <a:gd name="connsiteY8" fmla="*/ 851850 h 1692240"/>
              <a:gd name="connsiteX9" fmla="*/ 69843 w 1280411"/>
              <a:gd name="connsiteY9" fmla="*/ 33645 h 169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0411" h="1692240">
                <a:moveTo>
                  <a:pt x="0" y="0"/>
                </a:moveTo>
                <a:lnTo>
                  <a:pt x="1280411" y="320102"/>
                </a:lnTo>
                <a:lnTo>
                  <a:pt x="1270931" y="331591"/>
                </a:lnTo>
                <a:cubicBezTo>
                  <a:pt x="1170599" y="480102"/>
                  <a:pt x="1112014" y="659135"/>
                  <a:pt x="1112014" y="851850"/>
                </a:cubicBezTo>
                <a:cubicBezTo>
                  <a:pt x="1112014" y="1044566"/>
                  <a:pt x="1170599" y="1223598"/>
                  <a:pt x="1270931" y="1372109"/>
                </a:cubicBezTo>
                <a:lnTo>
                  <a:pt x="1276640" y="1379028"/>
                </a:lnTo>
                <a:lnTo>
                  <a:pt x="23791" y="1692240"/>
                </a:lnTo>
                <a:lnTo>
                  <a:pt x="69843" y="1670055"/>
                </a:lnTo>
                <a:cubicBezTo>
                  <a:pt x="359907" y="1512483"/>
                  <a:pt x="556818" y="1205162"/>
                  <a:pt x="556818" y="851850"/>
                </a:cubicBezTo>
                <a:cubicBezTo>
                  <a:pt x="556818" y="498538"/>
                  <a:pt x="359907" y="191217"/>
                  <a:pt x="69843" y="33645"/>
                </a:cubicBezTo>
                <a:close/>
              </a:path>
            </a:pathLst>
          </a:custGeom>
        </p:spPr>
      </p:pic>
      <p:pic>
        <p:nvPicPr>
          <p:cNvPr id="104" name="Picture 103">
            <a:extLst>
              <a:ext uri="{FF2B5EF4-FFF2-40B4-BE49-F238E27FC236}">
                <a16:creationId xmlns:a16="http://schemas.microsoft.com/office/drawing/2014/main" id="{7C8BAB01-8B99-8C4D-8E4E-A637BCF1544B}"/>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3822051" y="3162671"/>
            <a:ext cx="342900" cy="342900"/>
          </a:xfrm>
          <a:prstGeom prst="rect">
            <a:avLst/>
          </a:prstGeom>
        </p:spPr>
      </p:pic>
      <p:grpSp>
        <p:nvGrpSpPr>
          <p:cNvPr id="120" name="Group 119">
            <a:extLst>
              <a:ext uri="{FF2B5EF4-FFF2-40B4-BE49-F238E27FC236}">
                <a16:creationId xmlns:a16="http://schemas.microsoft.com/office/drawing/2014/main" id="{5036E6FC-DC8E-8646-BA2D-4DA6D04BF362}"/>
              </a:ext>
            </a:extLst>
          </p:cNvPr>
          <p:cNvGrpSpPr/>
          <p:nvPr/>
        </p:nvGrpSpPr>
        <p:grpSpPr>
          <a:xfrm>
            <a:off x="5054419" y="2155359"/>
            <a:ext cx="1348196" cy="1359750"/>
            <a:chOff x="3059802" y="362005"/>
            <a:chExt cx="6075572" cy="6127642"/>
          </a:xfrm>
          <a:solidFill>
            <a:schemeClr val="bg2"/>
          </a:solidFill>
        </p:grpSpPr>
        <p:sp>
          <p:nvSpPr>
            <p:cNvPr id="121" name="Freeform 5">
              <a:extLst>
                <a:ext uri="{FF2B5EF4-FFF2-40B4-BE49-F238E27FC236}">
                  <a16:creationId xmlns:a16="http://schemas.microsoft.com/office/drawing/2014/main" id="{14CF77A0-76DB-F740-B21D-23D6BA549C16}"/>
                </a:ext>
              </a:extLst>
            </p:cNvPr>
            <p:cNvSpPr>
              <a:spLocks/>
            </p:cNvSpPr>
            <p:nvPr/>
          </p:nvSpPr>
          <p:spPr bwMode="auto">
            <a:xfrm>
              <a:off x="6219099" y="362005"/>
              <a:ext cx="2916275" cy="2950989"/>
            </a:xfrm>
            <a:custGeom>
              <a:avLst/>
              <a:gdLst>
                <a:gd name="T0" fmla="*/ 83 w 166"/>
                <a:gd name="T1" fmla="*/ 0 h 166"/>
                <a:gd name="T2" fmla="*/ 0 w 166"/>
                <a:gd name="T3" fmla="*/ 83 h 166"/>
                <a:gd name="T4" fmla="*/ 0 w 166"/>
                <a:gd name="T5" fmla="*/ 166 h 166"/>
                <a:gd name="T6" fmla="*/ 83 w 166"/>
                <a:gd name="T7" fmla="*/ 166 h 166"/>
                <a:gd name="T8" fmla="*/ 166 w 166"/>
                <a:gd name="T9" fmla="*/ 83 h 166"/>
                <a:gd name="T10" fmla="*/ 83 w 166"/>
                <a:gd name="T11" fmla="*/ 0 h 166"/>
              </a:gdLst>
              <a:ahLst/>
              <a:cxnLst>
                <a:cxn ang="0">
                  <a:pos x="T0" y="T1"/>
                </a:cxn>
                <a:cxn ang="0">
                  <a:pos x="T2" y="T3"/>
                </a:cxn>
                <a:cxn ang="0">
                  <a:pos x="T4" y="T5"/>
                </a:cxn>
                <a:cxn ang="0">
                  <a:pos x="T6" y="T7"/>
                </a:cxn>
                <a:cxn ang="0">
                  <a:pos x="T8" y="T9"/>
                </a:cxn>
                <a:cxn ang="0">
                  <a:pos x="T10" y="T11"/>
                </a:cxn>
              </a:cxnLst>
              <a:rect l="0" t="0" r="r" b="b"/>
              <a:pathLst>
                <a:path w="166" h="166">
                  <a:moveTo>
                    <a:pt x="83" y="0"/>
                  </a:moveTo>
                  <a:cubicBezTo>
                    <a:pt x="37" y="0"/>
                    <a:pt x="0" y="38"/>
                    <a:pt x="0" y="83"/>
                  </a:cubicBezTo>
                  <a:cubicBezTo>
                    <a:pt x="0" y="166"/>
                    <a:pt x="0" y="166"/>
                    <a:pt x="0" y="166"/>
                  </a:cubicBezTo>
                  <a:cubicBezTo>
                    <a:pt x="83" y="166"/>
                    <a:pt x="83" y="166"/>
                    <a:pt x="83" y="166"/>
                  </a:cubicBezTo>
                  <a:cubicBezTo>
                    <a:pt x="128" y="166"/>
                    <a:pt x="166" y="129"/>
                    <a:pt x="166" y="83"/>
                  </a:cubicBezTo>
                  <a:cubicBezTo>
                    <a:pt x="166" y="38"/>
                    <a:pt x="128" y="0"/>
                    <a:pt x="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22" name="Freeform 6">
              <a:extLst>
                <a:ext uri="{FF2B5EF4-FFF2-40B4-BE49-F238E27FC236}">
                  <a16:creationId xmlns:a16="http://schemas.microsoft.com/office/drawing/2014/main" id="{88DE6284-802D-004A-88DD-936CF3ED9EE5}"/>
                </a:ext>
              </a:extLst>
            </p:cNvPr>
            <p:cNvSpPr>
              <a:spLocks/>
            </p:cNvSpPr>
            <p:nvPr/>
          </p:nvSpPr>
          <p:spPr bwMode="auto">
            <a:xfrm>
              <a:off x="3059802" y="3538658"/>
              <a:ext cx="2916275" cy="2950989"/>
            </a:xfrm>
            <a:custGeom>
              <a:avLst/>
              <a:gdLst>
                <a:gd name="T0" fmla="*/ 166 w 166"/>
                <a:gd name="T1" fmla="*/ 0 h 166"/>
                <a:gd name="T2" fmla="*/ 83 w 166"/>
                <a:gd name="T3" fmla="*/ 0 h 166"/>
                <a:gd name="T4" fmla="*/ 0 w 166"/>
                <a:gd name="T5" fmla="*/ 83 h 166"/>
                <a:gd name="T6" fmla="*/ 83 w 166"/>
                <a:gd name="T7" fmla="*/ 166 h 166"/>
                <a:gd name="T8" fmla="*/ 166 w 166"/>
                <a:gd name="T9" fmla="*/ 83 h 166"/>
                <a:gd name="T10" fmla="*/ 166 w 166"/>
                <a:gd name="T11" fmla="*/ 0 h 166"/>
              </a:gdLst>
              <a:ahLst/>
              <a:cxnLst>
                <a:cxn ang="0">
                  <a:pos x="T0" y="T1"/>
                </a:cxn>
                <a:cxn ang="0">
                  <a:pos x="T2" y="T3"/>
                </a:cxn>
                <a:cxn ang="0">
                  <a:pos x="T4" y="T5"/>
                </a:cxn>
                <a:cxn ang="0">
                  <a:pos x="T6" y="T7"/>
                </a:cxn>
                <a:cxn ang="0">
                  <a:pos x="T8" y="T9"/>
                </a:cxn>
                <a:cxn ang="0">
                  <a:pos x="T10" y="T11"/>
                </a:cxn>
              </a:cxnLst>
              <a:rect l="0" t="0" r="r" b="b"/>
              <a:pathLst>
                <a:path w="166" h="166">
                  <a:moveTo>
                    <a:pt x="166" y="0"/>
                  </a:moveTo>
                  <a:cubicBezTo>
                    <a:pt x="83" y="0"/>
                    <a:pt x="83" y="0"/>
                    <a:pt x="83" y="0"/>
                  </a:cubicBezTo>
                  <a:cubicBezTo>
                    <a:pt x="37" y="0"/>
                    <a:pt x="0" y="37"/>
                    <a:pt x="0" y="83"/>
                  </a:cubicBezTo>
                  <a:cubicBezTo>
                    <a:pt x="0" y="129"/>
                    <a:pt x="37" y="166"/>
                    <a:pt x="83" y="166"/>
                  </a:cubicBezTo>
                  <a:cubicBezTo>
                    <a:pt x="129" y="166"/>
                    <a:pt x="166" y="129"/>
                    <a:pt x="166" y="83"/>
                  </a:cubicBezTo>
                  <a:cubicBezTo>
                    <a:pt x="166" y="0"/>
                    <a:pt x="166" y="0"/>
                    <a:pt x="1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23" name="Freeform 7">
              <a:extLst>
                <a:ext uri="{FF2B5EF4-FFF2-40B4-BE49-F238E27FC236}">
                  <a16:creationId xmlns:a16="http://schemas.microsoft.com/office/drawing/2014/main" id="{A59D7749-37BB-AD44-B17C-8435503EF8B9}"/>
                </a:ext>
              </a:extLst>
            </p:cNvPr>
            <p:cNvSpPr>
              <a:spLocks/>
            </p:cNvSpPr>
            <p:nvPr/>
          </p:nvSpPr>
          <p:spPr bwMode="auto">
            <a:xfrm>
              <a:off x="6219099" y="3538658"/>
              <a:ext cx="2916275" cy="2950989"/>
            </a:xfrm>
            <a:custGeom>
              <a:avLst/>
              <a:gdLst>
                <a:gd name="T0" fmla="*/ 83 w 166"/>
                <a:gd name="T1" fmla="*/ 0 h 166"/>
                <a:gd name="T2" fmla="*/ 0 w 166"/>
                <a:gd name="T3" fmla="*/ 0 h 166"/>
                <a:gd name="T4" fmla="*/ 0 w 166"/>
                <a:gd name="T5" fmla="*/ 83 h 166"/>
                <a:gd name="T6" fmla="*/ 83 w 166"/>
                <a:gd name="T7" fmla="*/ 166 h 166"/>
                <a:gd name="T8" fmla="*/ 166 w 166"/>
                <a:gd name="T9" fmla="*/ 83 h 166"/>
                <a:gd name="T10" fmla="*/ 83 w 166"/>
                <a:gd name="T11" fmla="*/ 0 h 166"/>
              </a:gdLst>
              <a:ahLst/>
              <a:cxnLst>
                <a:cxn ang="0">
                  <a:pos x="T0" y="T1"/>
                </a:cxn>
                <a:cxn ang="0">
                  <a:pos x="T2" y="T3"/>
                </a:cxn>
                <a:cxn ang="0">
                  <a:pos x="T4" y="T5"/>
                </a:cxn>
                <a:cxn ang="0">
                  <a:pos x="T6" y="T7"/>
                </a:cxn>
                <a:cxn ang="0">
                  <a:pos x="T8" y="T9"/>
                </a:cxn>
                <a:cxn ang="0">
                  <a:pos x="T10" y="T11"/>
                </a:cxn>
              </a:cxnLst>
              <a:rect l="0" t="0" r="r" b="b"/>
              <a:pathLst>
                <a:path w="166" h="166">
                  <a:moveTo>
                    <a:pt x="83" y="0"/>
                  </a:moveTo>
                  <a:cubicBezTo>
                    <a:pt x="0" y="0"/>
                    <a:pt x="0" y="0"/>
                    <a:pt x="0" y="0"/>
                  </a:cubicBezTo>
                  <a:cubicBezTo>
                    <a:pt x="0" y="83"/>
                    <a:pt x="0" y="83"/>
                    <a:pt x="0" y="83"/>
                  </a:cubicBezTo>
                  <a:cubicBezTo>
                    <a:pt x="0" y="129"/>
                    <a:pt x="37" y="166"/>
                    <a:pt x="83" y="166"/>
                  </a:cubicBezTo>
                  <a:cubicBezTo>
                    <a:pt x="128" y="166"/>
                    <a:pt x="166" y="129"/>
                    <a:pt x="166" y="83"/>
                  </a:cubicBezTo>
                  <a:cubicBezTo>
                    <a:pt x="166" y="37"/>
                    <a:pt x="128" y="0"/>
                    <a:pt x="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24" name="Freeform 8">
              <a:extLst>
                <a:ext uri="{FF2B5EF4-FFF2-40B4-BE49-F238E27FC236}">
                  <a16:creationId xmlns:a16="http://schemas.microsoft.com/office/drawing/2014/main" id="{CD646F4B-37AE-C14B-8DBA-FF414C6B4C46}"/>
                </a:ext>
              </a:extLst>
            </p:cNvPr>
            <p:cNvSpPr>
              <a:spLocks/>
            </p:cNvSpPr>
            <p:nvPr/>
          </p:nvSpPr>
          <p:spPr bwMode="auto">
            <a:xfrm>
              <a:off x="3059802" y="362005"/>
              <a:ext cx="2916275" cy="2950989"/>
            </a:xfrm>
            <a:custGeom>
              <a:avLst/>
              <a:gdLst>
                <a:gd name="T0" fmla="*/ 83 w 166"/>
                <a:gd name="T1" fmla="*/ 0 h 166"/>
                <a:gd name="T2" fmla="*/ 0 w 166"/>
                <a:gd name="T3" fmla="*/ 83 h 166"/>
                <a:gd name="T4" fmla="*/ 83 w 166"/>
                <a:gd name="T5" fmla="*/ 166 h 166"/>
                <a:gd name="T6" fmla="*/ 166 w 166"/>
                <a:gd name="T7" fmla="*/ 166 h 166"/>
                <a:gd name="T8" fmla="*/ 166 w 166"/>
                <a:gd name="T9" fmla="*/ 83 h 166"/>
                <a:gd name="T10" fmla="*/ 83 w 166"/>
                <a:gd name="T11" fmla="*/ 0 h 166"/>
              </a:gdLst>
              <a:ahLst/>
              <a:cxnLst>
                <a:cxn ang="0">
                  <a:pos x="T0" y="T1"/>
                </a:cxn>
                <a:cxn ang="0">
                  <a:pos x="T2" y="T3"/>
                </a:cxn>
                <a:cxn ang="0">
                  <a:pos x="T4" y="T5"/>
                </a:cxn>
                <a:cxn ang="0">
                  <a:pos x="T6" y="T7"/>
                </a:cxn>
                <a:cxn ang="0">
                  <a:pos x="T8" y="T9"/>
                </a:cxn>
                <a:cxn ang="0">
                  <a:pos x="T10" y="T11"/>
                </a:cxn>
              </a:cxnLst>
              <a:rect l="0" t="0" r="r" b="b"/>
              <a:pathLst>
                <a:path w="166" h="166">
                  <a:moveTo>
                    <a:pt x="83" y="0"/>
                  </a:moveTo>
                  <a:cubicBezTo>
                    <a:pt x="37" y="0"/>
                    <a:pt x="0" y="38"/>
                    <a:pt x="0" y="83"/>
                  </a:cubicBezTo>
                  <a:cubicBezTo>
                    <a:pt x="0" y="129"/>
                    <a:pt x="37" y="166"/>
                    <a:pt x="83" y="166"/>
                  </a:cubicBezTo>
                  <a:cubicBezTo>
                    <a:pt x="166" y="166"/>
                    <a:pt x="166" y="166"/>
                    <a:pt x="166" y="166"/>
                  </a:cubicBezTo>
                  <a:cubicBezTo>
                    <a:pt x="166" y="83"/>
                    <a:pt x="166" y="83"/>
                    <a:pt x="166" y="83"/>
                  </a:cubicBezTo>
                  <a:cubicBezTo>
                    <a:pt x="166" y="38"/>
                    <a:pt x="129" y="0"/>
                    <a:pt x="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grpSp>
      <p:sp>
        <p:nvSpPr>
          <p:cNvPr id="137" name="Rectangle 136">
            <a:extLst>
              <a:ext uri="{FF2B5EF4-FFF2-40B4-BE49-F238E27FC236}">
                <a16:creationId xmlns:a16="http://schemas.microsoft.com/office/drawing/2014/main" id="{932CBC91-064A-B949-AD9D-E0F5557943C2}"/>
              </a:ext>
            </a:extLst>
          </p:cNvPr>
          <p:cNvSpPr/>
          <p:nvPr/>
        </p:nvSpPr>
        <p:spPr>
          <a:xfrm>
            <a:off x="5075057" y="2181880"/>
            <a:ext cx="610855" cy="338554"/>
          </a:xfrm>
          <a:prstGeom prst="rect">
            <a:avLst/>
          </a:prstGeom>
        </p:spPr>
        <p:txBody>
          <a:bodyPr wrap="square">
            <a:spAutoFit/>
          </a:bodyPr>
          <a:lstStyle/>
          <a:p>
            <a:pPr marL="0" marR="0" lvl="0" indent="0" algn="ctr" defTabSz="457166" rtl="0" eaLnBrk="0" fontAlgn="base" latinLnBrk="0" hangingPunct="0">
              <a:lnSpc>
                <a:spcPct val="100000"/>
              </a:lnSpc>
              <a:spcBef>
                <a:spcPct val="0"/>
              </a:spcBef>
              <a:spcAft>
                <a:spcPct val="0"/>
              </a:spcAft>
              <a:buClrTx/>
              <a:buSzTx/>
              <a:buFontTx/>
              <a:buNone/>
              <a:tabLst/>
              <a:defRPr/>
            </a:pPr>
            <a:r>
              <a:rPr kumimoji="0" lang="en-US" sz="800" b="0" i="0" u="none" strike="noStrike" kern="0" cap="none" spc="0" normalizeH="0" baseline="0" noProof="0" dirty="0" err="1">
                <a:ln>
                  <a:noFill/>
                </a:ln>
                <a:solidFill>
                  <a:srgbClr val="005073"/>
                </a:solidFill>
                <a:effectLst/>
                <a:uLnTx/>
                <a:uFillTx/>
                <a:latin typeface="Arial"/>
                <a:ea typeface="ＭＳ Ｐゴシック" charset="-128"/>
              </a:rPr>
              <a:t>Config</a:t>
            </a:r>
            <a:r>
              <a:rPr kumimoji="0" lang="en-US" sz="800" b="0" i="0" u="none" strike="noStrike" kern="0" cap="none" spc="0" normalizeH="0" baseline="0" noProof="0" dirty="0">
                <a:ln>
                  <a:noFill/>
                </a:ln>
                <a:solidFill>
                  <a:srgbClr val="005073"/>
                </a:solidFill>
                <a:effectLst/>
                <a:uLnTx/>
                <a:uFillTx/>
                <a:latin typeface="Arial"/>
                <a:ea typeface="ＭＳ Ｐゴシック" charset="-128"/>
              </a:rPr>
              <a:t> / Scale</a:t>
            </a:r>
          </a:p>
        </p:txBody>
      </p:sp>
      <p:sp>
        <p:nvSpPr>
          <p:cNvPr id="155" name="Rectangle 154">
            <a:extLst>
              <a:ext uri="{FF2B5EF4-FFF2-40B4-BE49-F238E27FC236}">
                <a16:creationId xmlns:a16="http://schemas.microsoft.com/office/drawing/2014/main" id="{6E92007E-ABDC-7E40-B290-854604BF087F}"/>
              </a:ext>
            </a:extLst>
          </p:cNvPr>
          <p:cNvSpPr/>
          <p:nvPr/>
        </p:nvSpPr>
        <p:spPr>
          <a:xfrm>
            <a:off x="5728769" y="2193122"/>
            <a:ext cx="710187" cy="215444"/>
          </a:xfrm>
          <a:prstGeom prst="rect">
            <a:avLst/>
          </a:prstGeom>
        </p:spPr>
        <p:txBody>
          <a:bodyPr wrap="square">
            <a:spAutoFit/>
          </a:bodyPr>
          <a:lstStyle/>
          <a:p>
            <a:pPr marL="0" marR="0" lvl="0" indent="0" algn="ctr" defTabSz="457166" rtl="0" eaLnBrk="0" fontAlgn="base" latinLnBrk="0" hangingPunct="0">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005073"/>
                </a:solidFill>
                <a:effectLst/>
                <a:uLnTx/>
                <a:uFillTx/>
                <a:latin typeface="Arial"/>
                <a:ea typeface="ＭＳ Ｐゴシック" charset="-128"/>
              </a:rPr>
              <a:t>Process</a:t>
            </a:r>
          </a:p>
        </p:txBody>
      </p:sp>
      <p:sp>
        <p:nvSpPr>
          <p:cNvPr id="157" name="Rectangle 156">
            <a:extLst>
              <a:ext uri="{FF2B5EF4-FFF2-40B4-BE49-F238E27FC236}">
                <a16:creationId xmlns:a16="http://schemas.microsoft.com/office/drawing/2014/main" id="{E504D14B-EC9A-CB4E-9FA7-6DD567DA2039}"/>
              </a:ext>
            </a:extLst>
          </p:cNvPr>
          <p:cNvSpPr/>
          <p:nvPr/>
        </p:nvSpPr>
        <p:spPr>
          <a:xfrm>
            <a:off x="5728769" y="3191243"/>
            <a:ext cx="710187" cy="338554"/>
          </a:xfrm>
          <a:prstGeom prst="rect">
            <a:avLst/>
          </a:prstGeom>
        </p:spPr>
        <p:txBody>
          <a:bodyPr wrap="square">
            <a:spAutoFit/>
          </a:bodyPr>
          <a:lstStyle/>
          <a:p>
            <a:pPr marL="0" marR="0" lvl="0" indent="0" algn="ctr" defTabSz="457166" rtl="0" eaLnBrk="0" fontAlgn="base" latinLnBrk="0" hangingPunct="0">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005073"/>
                </a:solidFill>
                <a:effectLst/>
                <a:uLnTx/>
                <a:uFillTx/>
                <a:latin typeface="Arial"/>
                <a:ea typeface="ＭＳ Ｐゴシック" charset="-128"/>
              </a:rPr>
              <a:t>Version / </a:t>
            </a:r>
            <a:r>
              <a:rPr kumimoji="0" lang="en-US" sz="800" b="0" i="0" u="none" strike="noStrike" kern="0" cap="none" spc="0" normalizeH="0" baseline="0" noProof="0" dirty="0" err="1">
                <a:ln>
                  <a:noFill/>
                </a:ln>
                <a:solidFill>
                  <a:srgbClr val="005073"/>
                </a:solidFill>
                <a:effectLst/>
                <a:uLnTx/>
                <a:uFillTx/>
                <a:latin typeface="Arial"/>
                <a:ea typeface="ＭＳ Ｐゴシック" charset="-128"/>
              </a:rPr>
              <a:t>PSirts</a:t>
            </a:r>
            <a:endParaRPr kumimoji="0" lang="en-US" sz="800" b="0" i="0" u="none" strike="noStrike" kern="0" cap="none" spc="0" normalizeH="0" baseline="0" noProof="0" dirty="0">
              <a:ln>
                <a:noFill/>
              </a:ln>
              <a:solidFill>
                <a:srgbClr val="005073"/>
              </a:solidFill>
              <a:effectLst/>
              <a:uLnTx/>
              <a:uFillTx/>
              <a:latin typeface="Arial"/>
              <a:ea typeface="ＭＳ Ｐゴシック" charset="-128"/>
            </a:endParaRPr>
          </a:p>
        </p:txBody>
      </p:sp>
      <p:grpSp>
        <p:nvGrpSpPr>
          <p:cNvPr id="158" name="Group 157">
            <a:extLst>
              <a:ext uri="{FF2B5EF4-FFF2-40B4-BE49-F238E27FC236}">
                <a16:creationId xmlns:a16="http://schemas.microsoft.com/office/drawing/2014/main" id="{E789554C-603F-1E4D-BFE2-CBD2C354AA32}"/>
              </a:ext>
            </a:extLst>
          </p:cNvPr>
          <p:cNvGrpSpPr/>
          <p:nvPr/>
        </p:nvGrpSpPr>
        <p:grpSpPr>
          <a:xfrm>
            <a:off x="5250648" y="2458208"/>
            <a:ext cx="259672" cy="339838"/>
            <a:chOff x="-4283315" y="2691094"/>
            <a:chExt cx="4943972" cy="6470297"/>
          </a:xfrm>
        </p:grpSpPr>
        <p:sp>
          <p:nvSpPr>
            <p:cNvPr id="159" name="Freeform: Shape 21">
              <a:extLst>
                <a:ext uri="{FF2B5EF4-FFF2-40B4-BE49-F238E27FC236}">
                  <a16:creationId xmlns:a16="http://schemas.microsoft.com/office/drawing/2014/main" id="{4C0CB57C-4CA1-AD4A-88FE-FDAC947BD968}"/>
                </a:ext>
              </a:extLst>
            </p:cNvPr>
            <p:cNvSpPr>
              <a:spLocks noChangeAspect="1" noChangeArrowheads="1"/>
            </p:cNvSpPr>
            <p:nvPr/>
          </p:nvSpPr>
          <p:spPr bwMode="auto">
            <a:xfrm>
              <a:off x="-990099" y="3570393"/>
              <a:ext cx="1650756" cy="4355009"/>
            </a:xfrm>
            <a:custGeom>
              <a:avLst/>
              <a:gdLst>
                <a:gd name="connsiteX0" fmla="*/ 825378 w 1650756"/>
                <a:gd name="connsiteY0" fmla="*/ 1045201 h 4355009"/>
                <a:gd name="connsiteX1" fmla="*/ 1650756 w 1650756"/>
                <a:gd name="connsiteY1" fmla="*/ 1867757 h 4355009"/>
                <a:gd name="connsiteX2" fmla="*/ 1650756 w 1650756"/>
                <a:gd name="connsiteY2" fmla="*/ 3532453 h 4355009"/>
                <a:gd name="connsiteX3" fmla="*/ 825378 w 1650756"/>
                <a:gd name="connsiteY3" fmla="*/ 4355009 h 4355009"/>
                <a:gd name="connsiteX4" fmla="*/ 0 w 1650756"/>
                <a:gd name="connsiteY4" fmla="*/ 3532453 h 4355009"/>
                <a:gd name="connsiteX5" fmla="*/ 0 w 1650756"/>
                <a:gd name="connsiteY5" fmla="*/ 1867757 h 4355009"/>
                <a:gd name="connsiteX6" fmla="*/ 825378 w 1650756"/>
                <a:gd name="connsiteY6" fmla="*/ 1045201 h 4355009"/>
                <a:gd name="connsiteX7" fmla="*/ 825382 w 1650756"/>
                <a:gd name="connsiteY7" fmla="*/ 0 h 4355009"/>
                <a:gd name="connsiteX8" fmla="*/ 1277475 w 1650756"/>
                <a:gd name="connsiteY8" fmla="*/ 443797 h 4355009"/>
                <a:gd name="connsiteX9" fmla="*/ 825382 w 1650756"/>
                <a:gd name="connsiteY9" fmla="*/ 887594 h 4355009"/>
                <a:gd name="connsiteX10" fmla="*/ 373289 w 1650756"/>
                <a:gd name="connsiteY10" fmla="*/ 443797 h 4355009"/>
                <a:gd name="connsiteX11" fmla="*/ 825382 w 1650756"/>
                <a:gd name="connsiteY11" fmla="*/ 0 h 435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0756" h="4355009">
                  <a:moveTo>
                    <a:pt x="825378" y="1045201"/>
                  </a:moveTo>
                  <a:cubicBezTo>
                    <a:pt x="1277371" y="1045201"/>
                    <a:pt x="1650756" y="1417310"/>
                    <a:pt x="1650756" y="1867757"/>
                  </a:cubicBezTo>
                  <a:cubicBezTo>
                    <a:pt x="1650756" y="3532453"/>
                    <a:pt x="1650756" y="3532453"/>
                    <a:pt x="1650756" y="3532453"/>
                  </a:cubicBezTo>
                  <a:cubicBezTo>
                    <a:pt x="1650756" y="3982901"/>
                    <a:pt x="1277371" y="4355009"/>
                    <a:pt x="825378" y="4355009"/>
                  </a:cubicBezTo>
                  <a:cubicBezTo>
                    <a:pt x="373385" y="4355009"/>
                    <a:pt x="0" y="3982901"/>
                    <a:pt x="0" y="3532453"/>
                  </a:cubicBezTo>
                  <a:cubicBezTo>
                    <a:pt x="0" y="1867757"/>
                    <a:pt x="0" y="1867757"/>
                    <a:pt x="0" y="1867757"/>
                  </a:cubicBezTo>
                  <a:cubicBezTo>
                    <a:pt x="0" y="1417310"/>
                    <a:pt x="373385" y="1045201"/>
                    <a:pt x="825378" y="1045201"/>
                  </a:cubicBezTo>
                  <a:close/>
                  <a:moveTo>
                    <a:pt x="825382" y="0"/>
                  </a:moveTo>
                  <a:cubicBezTo>
                    <a:pt x="1075066" y="0"/>
                    <a:pt x="1277475" y="198695"/>
                    <a:pt x="1277475" y="443797"/>
                  </a:cubicBezTo>
                  <a:cubicBezTo>
                    <a:pt x="1277475" y="688899"/>
                    <a:pt x="1075066" y="887594"/>
                    <a:pt x="825382" y="887594"/>
                  </a:cubicBezTo>
                  <a:cubicBezTo>
                    <a:pt x="575698" y="887594"/>
                    <a:pt x="373289" y="688899"/>
                    <a:pt x="373289" y="443797"/>
                  </a:cubicBezTo>
                  <a:cubicBezTo>
                    <a:pt x="373289" y="198695"/>
                    <a:pt x="575698" y="0"/>
                    <a:pt x="825382" y="0"/>
                  </a:cubicBezTo>
                  <a:close/>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60" name="Freeform: Shape 22">
              <a:extLst>
                <a:ext uri="{FF2B5EF4-FFF2-40B4-BE49-F238E27FC236}">
                  <a16:creationId xmlns:a16="http://schemas.microsoft.com/office/drawing/2014/main" id="{F0ED7A25-400E-2446-91C5-2A36601615A9}"/>
                </a:ext>
              </a:extLst>
            </p:cNvPr>
            <p:cNvSpPr>
              <a:spLocks noChangeAspect="1" noChangeArrowheads="1"/>
            </p:cNvSpPr>
            <p:nvPr/>
          </p:nvSpPr>
          <p:spPr bwMode="auto">
            <a:xfrm>
              <a:off x="-4283315" y="3570393"/>
              <a:ext cx="1667347" cy="4355009"/>
            </a:xfrm>
            <a:custGeom>
              <a:avLst/>
              <a:gdLst>
                <a:gd name="connsiteX0" fmla="*/ 843482 w 1667347"/>
                <a:gd name="connsiteY0" fmla="*/ 1045201 h 4355009"/>
                <a:gd name="connsiteX1" fmla="*/ 1667347 w 1667347"/>
                <a:gd name="connsiteY1" fmla="*/ 1867757 h 4355009"/>
                <a:gd name="connsiteX2" fmla="*/ 1667347 w 1667347"/>
                <a:gd name="connsiteY2" fmla="*/ 3532453 h 4355009"/>
                <a:gd name="connsiteX3" fmla="*/ 843482 w 1667347"/>
                <a:gd name="connsiteY3" fmla="*/ 4355009 h 4355009"/>
                <a:gd name="connsiteX4" fmla="*/ 0 w 1667347"/>
                <a:gd name="connsiteY4" fmla="*/ 3532453 h 4355009"/>
                <a:gd name="connsiteX5" fmla="*/ 0 w 1667347"/>
                <a:gd name="connsiteY5" fmla="*/ 1867757 h 4355009"/>
                <a:gd name="connsiteX6" fmla="*/ 843482 w 1667347"/>
                <a:gd name="connsiteY6" fmla="*/ 1045201 h 4355009"/>
                <a:gd name="connsiteX7" fmla="*/ 837826 w 1667347"/>
                <a:gd name="connsiteY7" fmla="*/ 0 h 4355009"/>
                <a:gd name="connsiteX8" fmla="*/ 1277476 w 1667347"/>
                <a:gd name="connsiteY8" fmla="*/ 443797 h 4355009"/>
                <a:gd name="connsiteX9" fmla="*/ 837826 w 1667347"/>
                <a:gd name="connsiteY9" fmla="*/ 887594 h 4355009"/>
                <a:gd name="connsiteX10" fmla="*/ 398176 w 1667347"/>
                <a:gd name="connsiteY10" fmla="*/ 443797 h 4355009"/>
                <a:gd name="connsiteX11" fmla="*/ 837826 w 1667347"/>
                <a:gd name="connsiteY11" fmla="*/ 0 h 435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7347" h="4355009">
                  <a:moveTo>
                    <a:pt x="843482" y="1045201"/>
                  </a:moveTo>
                  <a:cubicBezTo>
                    <a:pt x="1294646" y="1045201"/>
                    <a:pt x="1667347" y="1417310"/>
                    <a:pt x="1667347" y="1867757"/>
                  </a:cubicBezTo>
                  <a:cubicBezTo>
                    <a:pt x="1667347" y="3532453"/>
                    <a:pt x="1667347" y="3532453"/>
                    <a:pt x="1667347" y="3532453"/>
                  </a:cubicBezTo>
                  <a:cubicBezTo>
                    <a:pt x="1667347" y="3982901"/>
                    <a:pt x="1294646" y="4355009"/>
                    <a:pt x="843482" y="4355009"/>
                  </a:cubicBezTo>
                  <a:cubicBezTo>
                    <a:pt x="372701" y="4355009"/>
                    <a:pt x="0" y="3982901"/>
                    <a:pt x="0" y="3532453"/>
                  </a:cubicBezTo>
                  <a:cubicBezTo>
                    <a:pt x="0" y="1867757"/>
                    <a:pt x="0" y="1867757"/>
                    <a:pt x="0" y="1867757"/>
                  </a:cubicBezTo>
                  <a:cubicBezTo>
                    <a:pt x="0" y="1417310"/>
                    <a:pt x="372701" y="1045201"/>
                    <a:pt x="843482" y="1045201"/>
                  </a:cubicBezTo>
                  <a:close/>
                  <a:moveTo>
                    <a:pt x="837826" y="0"/>
                  </a:moveTo>
                  <a:cubicBezTo>
                    <a:pt x="1080638" y="0"/>
                    <a:pt x="1277476" y="198695"/>
                    <a:pt x="1277476" y="443797"/>
                  </a:cubicBezTo>
                  <a:cubicBezTo>
                    <a:pt x="1277476" y="688899"/>
                    <a:pt x="1080638" y="887594"/>
                    <a:pt x="837826" y="887594"/>
                  </a:cubicBezTo>
                  <a:cubicBezTo>
                    <a:pt x="595014" y="887594"/>
                    <a:pt x="398176" y="688899"/>
                    <a:pt x="398176" y="443797"/>
                  </a:cubicBezTo>
                  <a:cubicBezTo>
                    <a:pt x="398176" y="198695"/>
                    <a:pt x="595014" y="0"/>
                    <a:pt x="837826" y="0"/>
                  </a:cubicBezTo>
                  <a:close/>
                </a:path>
              </a:pathLst>
            </a:custGeom>
            <a:solidFill>
              <a:srgbClr val="6EB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62" name="Freeform: Shape 23">
              <a:extLst>
                <a:ext uri="{FF2B5EF4-FFF2-40B4-BE49-F238E27FC236}">
                  <a16:creationId xmlns:a16="http://schemas.microsoft.com/office/drawing/2014/main" id="{6D8B626C-F35E-1545-A346-F26987865AE4}"/>
                </a:ext>
              </a:extLst>
            </p:cNvPr>
            <p:cNvSpPr>
              <a:spLocks noChangeAspect="1" noChangeArrowheads="1"/>
            </p:cNvSpPr>
            <p:nvPr/>
          </p:nvSpPr>
          <p:spPr bwMode="auto">
            <a:xfrm>
              <a:off x="-3022431" y="2691094"/>
              <a:ext cx="2447100" cy="6470297"/>
            </a:xfrm>
            <a:custGeom>
              <a:avLst/>
              <a:gdLst>
                <a:gd name="connsiteX0" fmla="*/ 1213762 w 2447100"/>
                <a:gd name="connsiteY0" fmla="*/ 1551210 h 6470297"/>
                <a:gd name="connsiteX1" fmla="*/ 2447100 w 2447100"/>
                <a:gd name="connsiteY1" fmla="*/ 2766283 h 6470297"/>
                <a:gd name="connsiteX2" fmla="*/ 2447100 w 2447100"/>
                <a:gd name="connsiteY2" fmla="*/ 5235626 h 6470297"/>
                <a:gd name="connsiteX3" fmla="*/ 1213762 w 2447100"/>
                <a:gd name="connsiteY3" fmla="*/ 6470297 h 6470297"/>
                <a:gd name="connsiteX4" fmla="*/ 0 w 2447100"/>
                <a:gd name="connsiteY4" fmla="*/ 5235626 h 6470297"/>
                <a:gd name="connsiteX5" fmla="*/ 0 w 2447100"/>
                <a:gd name="connsiteY5" fmla="*/ 2766283 h 6470297"/>
                <a:gd name="connsiteX6" fmla="*/ 1213762 w 2447100"/>
                <a:gd name="connsiteY6" fmla="*/ 1551210 h 6470297"/>
                <a:gd name="connsiteX7" fmla="*/ 1223550 w 2447100"/>
                <a:gd name="connsiteY7" fmla="*/ 0 h 6470297"/>
                <a:gd name="connsiteX8" fmla="*/ 1883022 w 2447100"/>
                <a:gd name="connsiteY8" fmla="*/ 667768 h 6470297"/>
                <a:gd name="connsiteX9" fmla="*/ 1223550 w 2447100"/>
                <a:gd name="connsiteY9" fmla="*/ 1335536 h 6470297"/>
                <a:gd name="connsiteX10" fmla="*/ 564078 w 2447100"/>
                <a:gd name="connsiteY10" fmla="*/ 667768 h 6470297"/>
                <a:gd name="connsiteX11" fmla="*/ 1223550 w 2447100"/>
                <a:gd name="connsiteY11" fmla="*/ 0 h 647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7100" h="6470297">
                  <a:moveTo>
                    <a:pt x="1213762" y="1551210"/>
                  </a:moveTo>
                  <a:cubicBezTo>
                    <a:pt x="1898950" y="1551210"/>
                    <a:pt x="2447100" y="2099953"/>
                    <a:pt x="2447100" y="2766283"/>
                  </a:cubicBezTo>
                  <a:cubicBezTo>
                    <a:pt x="2447100" y="5235626"/>
                    <a:pt x="2447100" y="5235626"/>
                    <a:pt x="2447100" y="5235626"/>
                  </a:cubicBezTo>
                  <a:cubicBezTo>
                    <a:pt x="2447100" y="5921554"/>
                    <a:pt x="1898950" y="6470297"/>
                    <a:pt x="1213762" y="6470297"/>
                  </a:cubicBezTo>
                  <a:cubicBezTo>
                    <a:pt x="548150" y="6470297"/>
                    <a:pt x="0" y="5921554"/>
                    <a:pt x="0" y="5235626"/>
                  </a:cubicBezTo>
                  <a:cubicBezTo>
                    <a:pt x="0" y="2766283"/>
                    <a:pt x="0" y="2766283"/>
                    <a:pt x="0" y="2766283"/>
                  </a:cubicBezTo>
                  <a:cubicBezTo>
                    <a:pt x="0" y="2099953"/>
                    <a:pt x="548150" y="1551210"/>
                    <a:pt x="1213762" y="1551210"/>
                  </a:cubicBezTo>
                  <a:close/>
                  <a:moveTo>
                    <a:pt x="1223550" y="0"/>
                  </a:moveTo>
                  <a:cubicBezTo>
                    <a:pt x="1587766" y="0"/>
                    <a:pt x="1883022" y="298970"/>
                    <a:pt x="1883022" y="667768"/>
                  </a:cubicBezTo>
                  <a:cubicBezTo>
                    <a:pt x="1883022" y="1036566"/>
                    <a:pt x="1587766" y="1335536"/>
                    <a:pt x="1223550" y="1335536"/>
                  </a:cubicBezTo>
                  <a:cubicBezTo>
                    <a:pt x="859334" y="1335536"/>
                    <a:pt x="564078" y="1036566"/>
                    <a:pt x="564078" y="667768"/>
                  </a:cubicBezTo>
                  <a:cubicBezTo>
                    <a:pt x="564078" y="298970"/>
                    <a:pt x="859334" y="0"/>
                    <a:pt x="1223550" y="0"/>
                  </a:cubicBezTo>
                  <a:close/>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grpSp>
      <p:grpSp>
        <p:nvGrpSpPr>
          <p:cNvPr id="163" name="Group 162">
            <a:extLst>
              <a:ext uri="{FF2B5EF4-FFF2-40B4-BE49-F238E27FC236}">
                <a16:creationId xmlns:a16="http://schemas.microsoft.com/office/drawing/2014/main" id="{15B73A5B-797A-8D41-9C69-D9F47C67E3AC}"/>
              </a:ext>
            </a:extLst>
          </p:cNvPr>
          <p:cNvGrpSpPr/>
          <p:nvPr/>
        </p:nvGrpSpPr>
        <p:grpSpPr>
          <a:xfrm>
            <a:off x="5899260" y="2412303"/>
            <a:ext cx="369204" cy="303112"/>
            <a:chOff x="2618294" y="2949083"/>
            <a:chExt cx="1598325" cy="1312208"/>
          </a:xfrm>
        </p:grpSpPr>
        <p:sp>
          <p:nvSpPr>
            <p:cNvPr id="175" name="Freeform: Shape 29">
              <a:extLst>
                <a:ext uri="{FF2B5EF4-FFF2-40B4-BE49-F238E27FC236}">
                  <a16:creationId xmlns:a16="http://schemas.microsoft.com/office/drawing/2014/main" id="{B10438D6-A710-5F4D-9013-29282932E5EB}"/>
                </a:ext>
              </a:extLst>
            </p:cNvPr>
            <p:cNvSpPr/>
            <p:nvPr/>
          </p:nvSpPr>
          <p:spPr>
            <a:xfrm>
              <a:off x="2653779" y="3140877"/>
              <a:ext cx="1539246" cy="1120414"/>
            </a:xfrm>
            <a:custGeom>
              <a:avLst/>
              <a:gdLst/>
              <a:ahLst/>
              <a:cxnLst>
                <a:cxn ang="3cd4">
                  <a:pos x="hc" y="t"/>
                </a:cxn>
                <a:cxn ang="cd2">
                  <a:pos x="l" y="vc"/>
                </a:cxn>
                <a:cxn ang="cd4">
                  <a:pos x="hc" y="b"/>
                </a:cxn>
                <a:cxn ang="0">
                  <a:pos x="r" y="vc"/>
                </a:cxn>
              </a:cxnLst>
              <a:rect l="l" t="t" r="r" b="b"/>
              <a:pathLst>
                <a:path w="8156" h="5937">
                  <a:moveTo>
                    <a:pt x="1031" y="5062"/>
                  </a:moveTo>
                  <a:cubicBezTo>
                    <a:pt x="1625" y="5062"/>
                    <a:pt x="2093" y="4593"/>
                    <a:pt x="2093" y="4031"/>
                  </a:cubicBezTo>
                  <a:cubicBezTo>
                    <a:pt x="2093" y="3875"/>
                    <a:pt x="2062" y="3750"/>
                    <a:pt x="2000" y="3625"/>
                  </a:cubicBezTo>
                  <a:cubicBezTo>
                    <a:pt x="2687" y="2937"/>
                    <a:pt x="2687" y="2937"/>
                    <a:pt x="2687" y="2937"/>
                  </a:cubicBezTo>
                  <a:cubicBezTo>
                    <a:pt x="2812" y="3000"/>
                    <a:pt x="2968" y="3031"/>
                    <a:pt x="3156" y="3031"/>
                  </a:cubicBezTo>
                  <a:cubicBezTo>
                    <a:pt x="3218" y="3031"/>
                    <a:pt x="3281" y="3031"/>
                    <a:pt x="3343" y="3031"/>
                  </a:cubicBezTo>
                  <a:cubicBezTo>
                    <a:pt x="4187" y="4312"/>
                    <a:pt x="4187" y="4312"/>
                    <a:pt x="4187" y="4312"/>
                  </a:cubicBezTo>
                  <a:cubicBezTo>
                    <a:pt x="4093" y="4468"/>
                    <a:pt x="4031" y="4687"/>
                    <a:pt x="4031" y="4906"/>
                  </a:cubicBezTo>
                  <a:cubicBezTo>
                    <a:pt x="4031" y="5468"/>
                    <a:pt x="4500" y="5937"/>
                    <a:pt x="5062" y="5937"/>
                  </a:cubicBezTo>
                  <a:cubicBezTo>
                    <a:pt x="5656" y="5937"/>
                    <a:pt x="6125" y="5468"/>
                    <a:pt x="6125" y="4906"/>
                  </a:cubicBezTo>
                  <a:cubicBezTo>
                    <a:pt x="6125" y="4656"/>
                    <a:pt x="6031" y="4406"/>
                    <a:pt x="5875" y="4218"/>
                  </a:cubicBezTo>
                  <a:cubicBezTo>
                    <a:pt x="7000" y="2093"/>
                    <a:pt x="7000" y="2093"/>
                    <a:pt x="7000" y="2093"/>
                  </a:cubicBezTo>
                  <a:cubicBezTo>
                    <a:pt x="7031" y="2093"/>
                    <a:pt x="7062" y="2093"/>
                    <a:pt x="7093" y="2093"/>
                  </a:cubicBezTo>
                  <a:cubicBezTo>
                    <a:pt x="7687" y="2093"/>
                    <a:pt x="8156" y="1625"/>
                    <a:pt x="8156" y="1062"/>
                  </a:cubicBezTo>
                  <a:cubicBezTo>
                    <a:pt x="8156" y="468"/>
                    <a:pt x="7687" y="0"/>
                    <a:pt x="7093" y="0"/>
                  </a:cubicBezTo>
                  <a:cubicBezTo>
                    <a:pt x="6531" y="0"/>
                    <a:pt x="6062" y="468"/>
                    <a:pt x="6062" y="1062"/>
                  </a:cubicBezTo>
                  <a:cubicBezTo>
                    <a:pt x="6062" y="1312"/>
                    <a:pt x="6156" y="1531"/>
                    <a:pt x="6281" y="1718"/>
                  </a:cubicBezTo>
                  <a:cubicBezTo>
                    <a:pt x="5156" y="3843"/>
                    <a:pt x="5156" y="3843"/>
                    <a:pt x="5156" y="3843"/>
                  </a:cubicBezTo>
                  <a:cubicBezTo>
                    <a:pt x="5125" y="3843"/>
                    <a:pt x="5093" y="3843"/>
                    <a:pt x="5062" y="3843"/>
                  </a:cubicBezTo>
                  <a:cubicBezTo>
                    <a:pt x="5000" y="3843"/>
                    <a:pt x="4937" y="3843"/>
                    <a:pt x="4875" y="3875"/>
                  </a:cubicBezTo>
                  <a:cubicBezTo>
                    <a:pt x="4031" y="2562"/>
                    <a:pt x="4031" y="2562"/>
                    <a:pt x="4031" y="2562"/>
                  </a:cubicBezTo>
                  <a:cubicBezTo>
                    <a:pt x="4125" y="2406"/>
                    <a:pt x="4187" y="2218"/>
                    <a:pt x="4187" y="2000"/>
                  </a:cubicBezTo>
                  <a:cubicBezTo>
                    <a:pt x="4187" y="1406"/>
                    <a:pt x="3718" y="937"/>
                    <a:pt x="3156" y="937"/>
                  </a:cubicBezTo>
                  <a:cubicBezTo>
                    <a:pt x="2562" y="937"/>
                    <a:pt x="2093" y="1406"/>
                    <a:pt x="2093" y="2000"/>
                  </a:cubicBezTo>
                  <a:cubicBezTo>
                    <a:pt x="2093" y="2125"/>
                    <a:pt x="2125" y="2218"/>
                    <a:pt x="2156" y="2343"/>
                  </a:cubicBezTo>
                  <a:cubicBezTo>
                    <a:pt x="1437" y="3062"/>
                    <a:pt x="1437" y="3062"/>
                    <a:pt x="1437" y="3062"/>
                  </a:cubicBezTo>
                  <a:cubicBezTo>
                    <a:pt x="1312" y="3000"/>
                    <a:pt x="1187" y="2968"/>
                    <a:pt x="1031" y="2968"/>
                  </a:cubicBezTo>
                  <a:cubicBezTo>
                    <a:pt x="468" y="2968"/>
                    <a:pt x="0" y="3437"/>
                    <a:pt x="0" y="4031"/>
                  </a:cubicBezTo>
                  <a:cubicBezTo>
                    <a:pt x="0" y="4593"/>
                    <a:pt x="468" y="5062"/>
                    <a:pt x="1031" y="5062"/>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18"/>
                <a:ea typeface="Arial Unicode MS" pitchFamily="2"/>
                <a:cs typeface="Arial Unicode MS" pitchFamily="2"/>
              </a:endParaRPr>
            </a:p>
          </p:txBody>
        </p:sp>
        <p:sp>
          <p:nvSpPr>
            <p:cNvPr id="176" name="Freeform: Shape 30">
              <a:extLst>
                <a:ext uri="{FF2B5EF4-FFF2-40B4-BE49-F238E27FC236}">
                  <a16:creationId xmlns:a16="http://schemas.microsoft.com/office/drawing/2014/main" id="{79DF9698-3793-DD46-8687-10516B9E87A7}"/>
                </a:ext>
              </a:extLst>
            </p:cNvPr>
            <p:cNvSpPr/>
            <p:nvPr/>
          </p:nvSpPr>
          <p:spPr>
            <a:xfrm>
              <a:off x="3892349" y="2949083"/>
              <a:ext cx="200451" cy="200263"/>
            </a:xfrm>
            <a:custGeom>
              <a:avLst/>
              <a:gdLst/>
              <a:ahLst/>
              <a:cxnLst>
                <a:cxn ang="3cd4">
                  <a:pos x="hc" y="t"/>
                </a:cxn>
                <a:cxn ang="cd2">
                  <a:pos x="l" y="vc"/>
                </a:cxn>
                <a:cxn ang="cd4">
                  <a:pos x="hc" y="b"/>
                </a:cxn>
                <a:cxn ang="0">
                  <a:pos x="r" y="vc"/>
                </a:cxn>
              </a:cxnLst>
              <a:rect l="l" t="t" r="r" b="b"/>
              <a:pathLst>
                <a:path w="1063" h="1062">
                  <a:moveTo>
                    <a:pt x="531" y="0"/>
                  </a:moveTo>
                  <a:cubicBezTo>
                    <a:pt x="844" y="0"/>
                    <a:pt x="1063" y="219"/>
                    <a:pt x="1063" y="531"/>
                  </a:cubicBezTo>
                  <a:cubicBezTo>
                    <a:pt x="1063" y="812"/>
                    <a:pt x="844" y="1062"/>
                    <a:pt x="531" y="1062"/>
                  </a:cubicBezTo>
                  <a:cubicBezTo>
                    <a:pt x="250" y="1062"/>
                    <a:pt x="0" y="812"/>
                    <a:pt x="0" y="531"/>
                  </a:cubicBezTo>
                  <a:cubicBezTo>
                    <a:pt x="0" y="219"/>
                    <a:pt x="250" y="0"/>
                    <a:pt x="531" y="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18"/>
                <a:ea typeface="Arial Unicode MS" pitchFamily="2"/>
                <a:cs typeface="Arial Unicode MS" pitchFamily="2"/>
              </a:endParaRPr>
            </a:p>
          </p:txBody>
        </p:sp>
        <p:sp>
          <p:nvSpPr>
            <p:cNvPr id="177" name="Freeform: Shape 31">
              <a:extLst>
                <a:ext uri="{FF2B5EF4-FFF2-40B4-BE49-F238E27FC236}">
                  <a16:creationId xmlns:a16="http://schemas.microsoft.com/office/drawing/2014/main" id="{5F8FDF92-1164-644F-8C5A-48A0B09F07D5}"/>
                </a:ext>
              </a:extLst>
            </p:cNvPr>
            <p:cNvSpPr/>
            <p:nvPr/>
          </p:nvSpPr>
          <p:spPr>
            <a:xfrm>
              <a:off x="3509000" y="3668593"/>
              <a:ext cx="210312" cy="206302"/>
            </a:xfrm>
            <a:custGeom>
              <a:avLst/>
              <a:gdLst/>
              <a:ahLst/>
              <a:cxnLst>
                <a:cxn ang="3cd4">
                  <a:pos x="hc" y="t"/>
                </a:cxn>
                <a:cxn ang="cd2">
                  <a:pos x="l" y="vc"/>
                </a:cxn>
                <a:cxn ang="cd4">
                  <a:pos x="hc" y="b"/>
                </a:cxn>
                <a:cxn ang="0">
                  <a:pos x="r" y="vc"/>
                </a:cxn>
              </a:cxnLst>
              <a:rect l="l" t="t" r="r" b="b"/>
              <a:pathLst>
                <a:path w="1062" h="1094">
                  <a:moveTo>
                    <a:pt x="531" y="0"/>
                  </a:moveTo>
                  <a:cubicBezTo>
                    <a:pt x="844" y="0"/>
                    <a:pt x="1062" y="250"/>
                    <a:pt x="1062" y="563"/>
                  </a:cubicBezTo>
                  <a:cubicBezTo>
                    <a:pt x="1062" y="844"/>
                    <a:pt x="844" y="1094"/>
                    <a:pt x="531" y="1094"/>
                  </a:cubicBezTo>
                  <a:cubicBezTo>
                    <a:pt x="250" y="1094"/>
                    <a:pt x="0" y="844"/>
                    <a:pt x="0" y="563"/>
                  </a:cubicBezTo>
                  <a:cubicBezTo>
                    <a:pt x="0" y="250"/>
                    <a:pt x="250" y="0"/>
                    <a:pt x="531" y="0"/>
                  </a:cubicBezTo>
                  <a:close/>
                </a:path>
              </a:pathLst>
            </a:custGeom>
            <a:solidFill>
              <a:schemeClr val="accent6"/>
            </a:solidFill>
            <a:ln cap="flat">
              <a:noFill/>
              <a:prstDash val="solid"/>
            </a:ln>
          </p:spPr>
          <p:txBody>
            <a:bodyPr vert="horz" wrap="none" lIns="90000" tIns="45000" rIns="90000" bIns="45000" anchor="ctr" anchorCtr="1" compatLnSpc="0"/>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18"/>
                <a:ea typeface="Arial Unicode MS" pitchFamily="2"/>
                <a:cs typeface="Arial Unicode MS" pitchFamily="2"/>
              </a:endParaRPr>
            </a:p>
          </p:txBody>
        </p:sp>
        <p:sp>
          <p:nvSpPr>
            <p:cNvPr id="178" name="Freeform: Shape 37">
              <a:extLst>
                <a:ext uri="{FF2B5EF4-FFF2-40B4-BE49-F238E27FC236}">
                  <a16:creationId xmlns:a16="http://schemas.microsoft.com/office/drawing/2014/main" id="{847FB913-C662-A44C-8D78-AAA4621A4BC2}"/>
                </a:ext>
              </a:extLst>
            </p:cNvPr>
            <p:cNvSpPr/>
            <p:nvPr/>
          </p:nvSpPr>
          <p:spPr>
            <a:xfrm>
              <a:off x="2618294" y="3125940"/>
              <a:ext cx="1598325" cy="993669"/>
            </a:xfrm>
            <a:custGeom>
              <a:avLst/>
              <a:gdLst>
                <a:gd name="connsiteX0" fmla="*/ 47182 w 1598325"/>
                <a:gd name="connsiteY0" fmla="*/ 893443 h 993669"/>
                <a:gd name="connsiteX1" fmla="*/ 1545293 w 1598325"/>
                <a:gd name="connsiteY1" fmla="*/ 893443 h 993669"/>
                <a:gd name="connsiteX2" fmla="*/ 1598325 w 1598325"/>
                <a:gd name="connsiteY2" fmla="*/ 940542 h 993669"/>
                <a:gd name="connsiteX3" fmla="*/ 1545293 w 1598325"/>
                <a:gd name="connsiteY3" fmla="*/ 993669 h 993669"/>
                <a:gd name="connsiteX4" fmla="*/ 47182 w 1598325"/>
                <a:gd name="connsiteY4" fmla="*/ 993669 h 993669"/>
                <a:gd name="connsiteX5" fmla="*/ 0 w 1598325"/>
                <a:gd name="connsiteY5" fmla="*/ 940542 h 993669"/>
                <a:gd name="connsiteX6" fmla="*/ 47182 w 1598325"/>
                <a:gd name="connsiteY6" fmla="*/ 893443 h 993669"/>
                <a:gd name="connsiteX7" fmla="*/ 631079 w 1598325"/>
                <a:gd name="connsiteY7" fmla="*/ 0 h 993669"/>
                <a:gd name="connsiteX8" fmla="*/ 731213 w 1598325"/>
                <a:gd name="connsiteY8" fmla="*/ 100320 h 993669"/>
                <a:gd name="connsiteX9" fmla="*/ 631079 w 1598325"/>
                <a:gd name="connsiteY9" fmla="*/ 200451 h 993669"/>
                <a:gd name="connsiteX10" fmla="*/ 524911 w 1598325"/>
                <a:gd name="connsiteY10" fmla="*/ 100320 h 993669"/>
                <a:gd name="connsiteX11" fmla="*/ 631079 w 1598325"/>
                <a:gd name="connsiteY11" fmla="*/ 0 h 993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8325" h="993669">
                  <a:moveTo>
                    <a:pt x="47182" y="893443"/>
                  </a:moveTo>
                  <a:cubicBezTo>
                    <a:pt x="47182" y="893443"/>
                    <a:pt x="47182" y="893443"/>
                    <a:pt x="1545293" y="893443"/>
                  </a:cubicBezTo>
                  <a:cubicBezTo>
                    <a:pt x="1574734" y="893443"/>
                    <a:pt x="1598325" y="911152"/>
                    <a:pt x="1598325" y="940542"/>
                  </a:cubicBezTo>
                  <a:cubicBezTo>
                    <a:pt x="1598325" y="970120"/>
                    <a:pt x="1574734" y="993669"/>
                    <a:pt x="1545293" y="993669"/>
                  </a:cubicBezTo>
                  <a:cubicBezTo>
                    <a:pt x="1545293" y="993669"/>
                    <a:pt x="1545293" y="993669"/>
                    <a:pt x="47182" y="993669"/>
                  </a:cubicBezTo>
                  <a:cubicBezTo>
                    <a:pt x="23591" y="993669"/>
                    <a:pt x="0" y="970120"/>
                    <a:pt x="0" y="940542"/>
                  </a:cubicBezTo>
                  <a:cubicBezTo>
                    <a:pt x="0" y="911152"/>
                    <a:pt x="23591" y="893443"/>
                    <a:pt x="47182" y="893443"/>
                  </a:cubicBezTo>
                  <a:close/>
                  <a:moveTo>
                    <a:pt x="631079" y="0"/>
                  </a:moveTo>
                  <a:cubicBezTo>
                    <a:pt x="684069" y="0"/>
                    <a:pt x="731213" y="47143"/>
                    <a:pt x="731213" y="100320"/>
                  </a:cubicBezTo>
                  <a:cubicBezTo>
                    <a:pt x="731213" y="153308"/>
                    <a:pt x="684069" y="200451"/>
                    <a:pt x="631079" y="200451"/>
                  </a:cubicBezTo>
                  <a:cubicBezTo>
                    <a:pt x="572055" y="200451"/>
                    <a:pt x="524911" y="153308"/>
                    <a:pt x="524911" y="100320"/>
                  </a:cubicBezTo>
                  <a:cubicBezTo>
                    <a:pt x="524911" y="47143"/>
                    <a:pt x="572055" y="0"/>
                    <a:pt x="631079" y="0"/>
                  </a:cubicBezTo>
                  <a:close/>
                </a:path>
              </a:pathLst>
            </a:custGeom>
            <a:solidFill>
              <a:schemeClr val="accent1"/>
            </a:solidFill>
            <a:ln cap="flat">
              <a:noFill/>
              <a:prstDash val="solid"/>
            </a:ln>
          </p:spPr>
          <p:txBody>
            <a:bodyPr vert="horz" wrap="square" lIns="90000" tIns="45000" rIns="90000" bIns="45000" anchor="ctr" anchorCtr="1" compatLnSpc="0">
              <a:noAutofit/>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18"/>
                <a:ea typeface="Arial Unicode MS" pitchFamily="2"/>
                <a:cs typeface="Arial Unicode MS" pitchFamily="2"/>
              </a:endParaRPr>
            </a:p>
          </p:txBody>
        </p:sp>
        <p:sp>
          <p:nvSpPr>
            <p:cNvPr id="179" name="Freeform: Shape 33">
              <a:extLst>
                <a:ext uri="{FF2B5EF4-FFF2-40B4-BE49-F238E27FC236}">
                  <a16:creationId xmlns:a16="http://schemas.microsoft.com/office/drawing/2014/main" id="{B7E77DBB-B2EC-E249-8645-05B174F4B9B5}"/>
                </a:ext>
              </a:extLst>
            </p:cNvPr>
            <p:cNvSpPr/>
            <p:nvPr/>
          </p:nvSpPr>
          <p:spPr>
            <a:xfrm>
              <a:off x="2747965" y="3509478"/>
              <a:ext cx="200451" cy="200263"/>
            </a:xfrm>
            <a:custGeom>
              <a:avLst/>
              <a:gdLst/>
              <a:ahLst/>
              <a:cxnLst>
                <a:cxn ang="3cd4">
                  <a:pos x="hc" y="t"/>
                </a:cxn>
                <a:cxn ang="cd2">
                  <a:pos x="l" y="vc"/>
                </a:cxn>
                <a:cxn ang="cd4">
                  <a:pos x="hc" y="b"/>
                </a:cxn>
                <a:cxn ang="0">
                  <a:pos x="r" y="vc"/>
                </a:cxn>
              </a:cxnLst>
              <a:rect l="l" t="t" r="r" b="b"/>
              <a:pathLst>
                <a:path w="1063" h="1062">
                  <a:moveTo>
                    <a:pt x="532" y="0"/>
                  </a:moveTo>
                  <a:cubicBezTo>
                    <a:pt x="844" y="0"/>
                    <a:pt x="1063" y="218"/>
                    <a:pt x="1063" y="531"/>
                  </a:cubicBezTo>
                  <a:cubicBezTo>
                    <a:pt x="1063" y="812"/>
                    <a:pt x="844" y="1062"/>
                    <a:pt x="532" y="1062"/>
                  </a:cubicBezTo>
                  <a:cubicBezTo>
                    <a:pt x="251" y="1062"/>
                    <a:pt x="0" y="812"/>
                    <a:pt x="0" y="531"/>
                  </a:cubicBezTo>
                  <a:cubicBezTo>
                    <a:pt x="0" y="218"/>
                    <a:pt x="251" y="0"/>
                    <a:pt x="532" y="0"/>
                  </a:cubicBezTo>
                  <a:close/>
                </a:path>
              </a:pathLst>
            </a:custGeom>
            <a:solidFill>
              <a:schemeClr val="accent5"/>
            </a:solidFill>
            <a:ln cap="flat">
              <a:noFill/>
              <a:prstDash val="solid"/>
            </a:ln>
          </p:spPr>
          <p:txBody>
            <a:bodyPr vert="horz" wrap="none" lIns="90000" tIns="45000" rIns="90000" bIns="45000" anchor="ctr" anchorCtr="1" compatLnSpc="0"/>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18"/>
                <a:ea typeface="Arial Unicode MS" pitchFamily="2"/>
                <a:cs typeface="Arial Unicode MS" pitchFamily="2"/>
              </a:endParaRPr>
            </a:p>
          </p:txBody>
        </p:sp>
      </p:grpSp>
      <p:grpSp>
        <p:nvGrpSpPr>
          <p:cNvPr id="180" name="Group 67">
            <a:extLst>
              <a:ext uri="{FF2B5EF4-FFF2-40B4-BE49-F238E27FC236}">
                <a16:creationId xmlns:a16="http://schemas.microsoft.com/office/drawing/2014/main" id="{1D3C36F6-5CBC-A94F-B5E1-D6C7E114E7AA}"/>
              </a:ext>
            </a:extLst>
          </p:cNvPr>
          <p:cNvGrpSpPr>
            <a:grpSpLocks noChangeAspect="1"/>
          </p:cNvGrpSpPr>
          <p:nvPr/>
        </p:nvGrpSpPr>
        <p:grpSpPr bwMode="auto">
          <a:xfrm>
            <a:off x="5251570" y="2921636"/>
            <a:ext cx="257828" cy="290644"/>
            <a:chOff x="1399" y="-50"/>
            <a:chExt cx="2962" cy="3339"/>
          </a:xfrm>
        </p:grpSpPr>
        <p:sp>
          <p:nvSpPr>
            <p:cNvPr id="181" name="Freeform 68">
              <a:extLst>
                <a:ext uri="{FF2B5EF4-FFF2-40B4-BE49-F238E27FC236}">
                  <a16:creationId xmlns:a16="http://schemas.microsoft.com/office/drawing/2014/main" id="{F76D4AA2-F6D3-0346-9775-5D6FD3B179A4}"/>
                </a:ext>
              </a:extLst>
            </p:cNvPr>
            <p:cNvSpPr>
              <a:spLocks/>
            </p:cNvSpPr>
            <p:nvPr/>
          </p:nvSpPr>
          <p:spPr bwMode="auto">
            <a:xfrm>
              <a:off x="2933" y="-50"/>
              <a:ext cx="1428" cy="2268"/>
            </a:xfrm>
            <a:custGeom>
              <a:avLst/>
              <a:gdLst>
                <a:gd name="T0" fmla="*/ 562 w 10216"/>
                <a:gd name="T1" fmla="*/ 10474 h 16246"/>
                <a:gd name="T2" fmla="*/ 8216 w 10216"/>
                <a:gd name="T3" fmla="*/ 15668 h 16246"/>
                <a:gd name="T4" fmla="*/ 10216 w 10216"/>
                <a:gd name="T5" fmla="*/ 14608 h 16246"/>
                <a:gd name="T6" fmla="*/ 10215 w 10216"/>
                <a:gd name="T7" fmla="*/ 6832 h 16246"/>
                <a:gd name="T8" fmla="*/ 9654 w 10216"/>
                <a:gd name="T9" fmla="*/ 5772 h 16246"/>
                <a:gd name="T10" fmla="*/ 2000 w 10216"/>
                <a:gd name="T11" fmla="*/ 577 h 16246"/>
                <a:gd name="T12" fmla="*/ 0 w 10216"/>
                <a:gd name="T13" fmla="*/ 1637 h 16246"/>
                <a:gd name="T14" fmla="*/ 0 w 10216"/>
                <a:gd name="T15" fmla="*/ 9414 h 16246"/>
                <a:gd name="T16" fmla="*/ 562 w 10216"/>
                <a:gd name="T17" fmla="*/ 10474 h 16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16" h="16246">
                  <a:moveTo>
                    <a:pt x="562" y="10474"/>
                  </a:moveTo>
                  <a:cubicBezTo>
                    <a:pt x="8216" y="15668"/>
                    <a:pt x="8216" y="15668"/>
                    <a:pt x="8216" y="15668"/>
                  </a:cubicBezTo>
                  <a:cubicBezTo>
                    <a:pt x="9066" y="16246"/>
                    <a:pt x="10216" y="15636"/>
                    <a:pt x="10216" y="14608"/>
                  </a:cubicBezTo>
                  <a:cubicBezTo>
                    <a:pt x="10215" y="6832"/>
                    <a:pt x="10215" y="6832"/>
                    <a:pt x="10215" y="6832"/>
                  </a:cubicBezTo>
                  <a:cubicBezTo>
                    <a:pt x="10215" y="6407"/>
                    <a:pt x="10005" y="6010"/>
                    <a:pt x="9654" y="5772"/>
                  </a:cubicBezTo>
                  <a:cubicBezTo>
                    <a:pt x="2000" y="577"/>
                    <a:pt x="2000" y="577"/>
                    <a:pt x="2000" y="577"/>
                  </a:cubicBezTo>
                  <a:cubicBezTo>
                    <a:pt x="1150" y="0"/>
                    <a:pt x="0" y="609"/>
                    <a:pt x="0" y="1637"/>
                  </a:cubicBezTo>
                  <a:cubicBezTo>
                    <a:pt x="0" y="9414"/>
                    <a:pt x="0" y="9414"/>
                    <a:pt x="0" y="9414"/>
                  </a:cubicBezTo>
                  <a:cubicBezTo>
                    <a:pt x="0" y="9839"/>
                    <a:pt x="210" y="10236"/>
                    <a:pt x="562" y="1047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82" name="Freeform 69">
              <a:extLst>
                <a:ext uri="{FF2B5EF4-FFF2-40B4-BE49-F238E27FC236}">
                  <a16:creationId xmlns:a16="http://schemas.microsoft.com/office/drawing/2014/main" id="{B31C34D6-F4AD-8244-AD52-886EB03FA415}"/>
                </a:ext>
              </a:extLst>
            </p:cNvPr>
            <p:cNvSpPr>
              <a:spLocks/>
            </p:cNvSpPr>
            <p:nvPr/>
          </p:nvSpPr>
          <p:spPr bwMode="auto">
            <a:xfrm>
              <a:off x="1399" y="-50"/>
              <a:ext cx="1428" cy="2268"/>
            </a:xfrm>
            <a:custGeom>
              <a:avLst/>
              <a:gdLst>
                <a:gd name="T0" fmla="*/ 2001 w 10216"/>
                <a:gd name="T1" fmla="*/ 15668 h 16246"/>
                <a:gd name="T2" fmla="*/ 9654 w 10216"/>
                <a:gd name="T3" fmla="*/ 10474 h 16246"/>
                <a:gd name="T4" fmla="*/ 10216 w 10216"/>
                <a:gd name="T5" fmla="*/ 9414 h 16246"/>
                <a:gd name="T6" fmla="*/ 10216 w 10216"/>
                <a:gd name="T7" fmla="*/ 1637 h 16246"/>
                <a:gd name="T8" fmla="*/ 8215 w 10216"/>
                <a:gd name="T9" fmla="*/ 577 h 16246"/>
                <a:gd name="T10" fmla="*/ 562 w 10216"/>
                <a:gd name="T11" fmla="*/ 5772 h 16246"/>
                <a:gd name="T12" fmla="*/ 0 w 10216"/>
                <a:gd name="T13" fmla="*/ 6832 h 16246"/>
                <a:gd name="T14" fmla="*/ 0 w 10216"/>
                <a:gd name="T15" fmla="*/ 14609 h 16246"/>
                <a:gd name="T16" fmla="*/ 2001 w 10216"/>
                <a:gd name="T17" fmla="*/ 15668 h 16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16" h="16246">
                  <a:moveTo>
                    <a:pt x="2001" y="15668"/>
                  </a:moveTo>
                  <a:cubicBezTo>
                    <a:pt x="9654" y="10474"/>
                    <a:pt x="9654" y="10474"/>
                    <a:pt x="9654" y="10474"/>
                  </a:cubicBezTo>
                  <a:cubicBezTo>
                    <a:pt x="10005" y="10236"/>
                    <a:pt x="10216" y="9839"/>
                    <a:pt x="10216" y="9414"/>
                  </a:cubicBezTo>
                  <a:cubicBezTo>
                    <a:pt x="10216" y="1637"/>
                    <a:pt x="10216" y="1637"/>
                    <a:pt x="10216" y="1637"/>
                  </a:cubicBezTo>
                  <a:cubicBezTo>
                    <a:pt x="10216" y="609"/>
                    <a:pt x="9066" y="0"/>
                    <a:pt x="8215" y="577"/>
                  </a:cubicBezTo>
                  <a:cubicBezTo>
                    <a:pt x="562" y="5772"/>
                    <a:pt x="562" y="5772"/>
                    <a:pt x="562" y="5772"/>
                  </a:cubicBezTo>
                  <a:cubicBezTo>
                    <a:pt x="211" y="6010"/>
                    <a:pt x="0" y="6407"/>
                    <a:pt x="0" y="6832"/>
                  </a:cubicBezTo>
                  <a:cubicBezTo>
                    <a:pt x="0" y="14609"/>
                    <a:pt x="0" y="14609"/>
                    <a:pt x="0" y="14609"/>
                  </a:cubicBezTo>
                  <a:cubicBezTo>
                    <a:pt x="0" y="15636"/>
                    <a:pt x="1150" y="16246"/>
                    <a:pt x="2001" y="1566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83" name="Freeform 70">
              <a:extLst>
                <a:ext uri="{FF2B5EF4-FFF2-40B4-BE49-F238E27FC236}">
                  <a16:creationId xmlns:a16="http://schemas.microsoft.com/office/drawing/2014/main" id="{FCCAF4FB-6FC3-F348-99CE-5515577C8D20}"/>
                </a:ext>
              </a:extLst>
            </p:cNvPr>
            <p:cNvSpPr>
              <a:spLocks/>
            </p:cNvSpPr>
            <p:nvPr/>
          </p:nvSpPr>
          <p:spPr bwMode="auto">
            <a:xfrm>
              <a:off x="2933" y="994"/>
              <a:ext cx="1428" cy="2295"/>
            </a:xfrm>
            <a:custGeom>
              <a:avLst/>
              <a:gdLst>
                <a:gd name="T0" fmla="*/ 2000 w 10215"/>
                <a:gd name="T1" fmla="*/ 15873 h 16451"/>
                <a:gd name="T2" fmla="*/ 9654 w 10215"/>
                <a:gd name="T3" fmla="*/ 10680 h 16451"/>
                <a:gd name="T4" fmla="*/ 10215 w 10215"/>
                <a:gd name="T5" fmla="*/ 9620 h 16451"/>
                <a:gd name="T6" fmla="*/ 10215 w 10215"/>
                <a:gd name="T7" fmla="*/ 1637 h 16451"/>
                <a:gd name="T8" fmla="*/ 8215 w 10215"/>
                <a:gd name="T9" fmla="*/ 577 h 16451"/>
                <a:gd name="T10" fmla="*/ 562 w 10215"/>
                <a:gd name="T11" fmla="*/ 5771 h 16451"/>
                <a:gd name="T12" fmla="*/ 0 w 10215"/>
                <a:gd name="T13" fmla="*/ 6831 h 16451"/>
                <a:gd name="T14" fmla="*/ 0 w 10215"/>
                <a:gd name="T15" fmla="*/ 14813 h 16451"/>
                <a:gd name="T16" fmla="*/ 2000 w 10215"/>
                <a:gd name="T17" fmla="*/ 15873 h 16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15" h="16451">
                  <a:moveTo>
                    <a:pt x="2000" y="15873"/>
                  </a:moveTo>
                  <a:cubicBezTo>
                    <a:pt x="9654" y="10680"/>
                    <a:pt x="9654" y="10680"/>
                    <a:pt x="9654" y="10680"/>
                  </a:cubicBezTo>
                  <a:cubicBezTo>
                    <a:pt x="10005" y="10441"/>
                    <a:pt x="10215" y="10044"/>
                    <a:pt x="10215" y="9620"/>
                  </a:cubicBezTo>
                  <a:cubicBezTo>
                    <a:pt x="10215" y="1637"/>
                    <a:pt x="10215" y="1637"/>
                    <a:pt x="10215" y="1637"/>
                  </a:cubicBezTo>
                  <a:cubicBezTo>
                    <a:pt x="10215" y="609"/>
                    <a:pt x="9066" y="0"/>
                    <a:pt x="8215" y="577"/>
                  </a:cubicBezTo>
                  <a:cubicBezTo>
                    <a:pt x="562" y="5771"/>
                    <a:pt x="562" y="5771"/>
                    <a:pt x="562" y="5771"/>
                  </a:cubicBezTo>
                  <a:cubicBezTo>
                    <a:pt x="210" y="6010"/>
                    <a:pt x="0" y="6406"/>
                    <a:pt x="0" y="6831"/>
                  </a:cubicBezTo>
                  <a:cubicBezTo>
                    <a:pt x="0" y="14813"/>
                    <a:pt x="0" y="14813"/>
                    <a:pt x="0" y="14813"/>
                  </a:cubicBezTo>
                  <a:cubicBezTo>
                    <a:pt x="0" y="15841"/>
                    <a:pt x="1150" y="16451"/>
                    <a:pt x="2000" y="158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84" name="Freeform 71">
              <a:extLst>
                <a:ext uri="{FF2B5EF4-FFF2-40B4-BE49-F238E27FC236}">
                  <a16:creationId xmlns:a16="http://schemas.microsoft.com/office/drawing/2014/main" id="{AC7CDBEC-7EA3-984D-9034-53D7CF0026B4}"/>
                </a:ext>
              </a:extLst>
            </p:cNvPr>
            <p:cNvSpPr>
              <a:spLocks/>
            </p:cNvSpPr>
            <p:nvPr/>
          </p:nvSpPr>
          <p:spPr bwMode="auto">
            <a:xfrm>
              <a:off x="1399" y="993"/>
              <a:ext cx="1428" cy="2296"/>
            </a:xfrm>
            <a:custGeom>
              <a:avLst/>
              <a:gdLst>
                <a:gd name="T0" fmla="*/ 9654 w 10216"/>
                <a:gd name="T1" fmla="*/ 5771 h 16451"/>
                <a:gd name="T2" fmla="*/ 2000 w 10216"/>
                <a:gd name="T3" fmla="*/ 578 h 16451"/>
                <a:gd name="T4" fmla="*/ 0 w 10216"/>
                <a:gd name="T5" fmla="*/ 1637 h 16451"/>
                <a:gd name="T6" fmla="*/ 0 w 10216"/>
                <a:gd name="T7" fmla="*/ 9620 h 16451"/>
                <a:gd name="T8" fmla="*/ 562 w 10216"/>
                <a:gd name="T9" fmla="*/ 10680 h 16451"/>
                <a:gd name="T10" fmla="*/ 8215 w 10216"/>
                <a:gd name="T11" fmla="*/ 15874 h 16451"/>
                <a:gd name="T12" fmla="*/ 10216 w 10216"/>
                <a:gd name="T13" fmla="*/ 14814 h 16451"/>
                <a:gd name="T14" fmla="*/ 10216 w 10216"/>
                <a:gd name="T15" fmla="*/ 6831 h 16451"/>
                <a:gd name="T16" fmla="*/ 9654 w 10216"/>
                <a:gd name="T17" fmla="*/ 5771 h 16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16" h="16451">
                  <a:moveTo>
                    <a:pt x="9654" y="5771"/>
                  </a:moveTo>
                  <a:cubicBezTo>
                    <a:pt x="2000" y="578"/>
                    <a:pt x="2000" y="578"/>
                    <a:pt x="2000" y="578"/>
                  </a:cubicBezTo>
                  <a:cubicBezTo>
                    <a:pt x="1150" y="0"/>
                    <a:pt x="0" y="610"/>
                    <a:pt x="0" y="1637"/>
                  </a:cubicBezTo>
                  <a:cubicBezTo>
                    <a:pt x="0" y="9620"/>
                    <a:pt x="0" y="9620"/>
                    <a:pt x="0" y="9620"/>
                  </a:cubicBezTo>
                  <a:cubicBezTo>
                    <a:pt x="0" y="10044"/>
                    <a:pt x="211" y="10441"/>
                    <a:pt x="562" y="10680"/>
                  </a:cubicBezTo>
                  <a:cubicBezTo>
                    <a:pt x="8215" y="15874"/>
                    <a:pt x="8215" y="15874"/>
                    <a:pt x="8215" y="15874"/>
                  </a:cubicBezTo>
                  <a:cubicBezTo>
                    <a:pt x="9066" y="16451"/>
                    <a:pt x="10216" y="15842"/>
                    <a:pt x="10216" y="14814"/>
                  </a:cubicBezTo>
                  <a:cubicBezTo>
                    <a:pt x="10216" y="6831"/>
                    <a:pt x="10216" y="6831"/>
                    <a:pt x="10216" y="6831"/>
                  </a:cubicBezTo>
                  <a:cubicBezTo>
                    <a:pt x="10216" y="6407"/>
                    <a:pt x="10005" y="6010"/>
                    <a:pt x="9654" y="57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85" name="Freeform 72">
              <a:extLst>
                <a:ext uri="{FF2B5EF4-FFF2-40B4-BE49-F238E27FC236}">
                  <a16:creationId xmlns:a16="http://schemas.microsoft.com/office/drawing/2014/main" id="{92D409C9-099A-544F-BA8D-C2E6E2C2ABB4}"/>
                </a:ext>
              </a:extLst>
            </p:cNvPr>
            <p:cNvSpPr>
              <a:spLocks/>
            </p:cNvSpPr>
            <p:nvPr/>
          </p:nvSpPr>
          <p:spPr bwMode="auto">
            <a:xfrm>
              <a:off x="3297" y="994"/>
              <a:ext cx="1064" cy="1223"/>
            </a:xfrm>
            <a:custGeom>
              <a:avLst/>
              <a:gdLst>
                <a:gd name="T0" fmla="*/ 7611 w 7611"/>
                <a:gd name="T1" fmla="*/ 7173 h 8763"/>
                <a:gd name="T2" fmla="*/ 7611 w 7611"/>
                <a:gd name="T3" fmla="*/ 1637 h 8763"/>
                <a:gd name="T4" fmla="*/ 5611 w 7611"/>
                <a:gd name="T5" fmla="*/ 577 h 8763"/>
                <a:gd name="T6" fmla="*/ 0 w 7611"/>
                <a:gd name="T7" fmla="*/ 4385 h 8763"/>
                <a:gd name="T8" fmla="*/ 5612 w 7611"/>
                <a:gd name="T9" fmla="*/ 8193 h 8763"/>
                <a:gd name="T10" fmla="*/ 7611 w 7611"/>
                <a:gd name="T11" fmla="*/ 7173 h 8763"/>
              </a:gdLst>
              <a:ahLst/>
              <a:cxnLst>
                <a:cxn ang="0">
                  <a:pos x="T0" y="T1"/>
                </a:cxn>
                <a:cxn ang="0">
                  <a:pos x="T2" y="T3"/>
                </a:cxn>
                <a:cxn ang="0">
                  <a:pos x="T4" y="T5"/>
                </a:cxn>
                <a:cxn ang="0">
                  <a:pos x="T6" y="T7"/>
                </a:cxn>
                <a:cxn ang="0">
                  <a:pos x="T8" y="T9"/>
                </a:cxn>
                <a:cxn ang="0">
                  <a:pos x="T10" y="T11"/>
                </a:cxn>
              </a:cxnLst>
              <a:rect l="0" t="0" r="r" b="b"/>
              <a:pathLst>
                <a:path w="7611" h="8763">
                  <a:moveTo>
                    <a:pt x="7611" y="7173"/>
                  </a:moveTo>
                  <a:cubicBezTo>
                    <a:pt x="7611" y="1637"/>
                    <a:pt x="7611" y="1637"/>
                    <a:pt x="7611" y="1637"/>
                  </a:cubicBezTo>
                  <a:cubicBezTo>
                    <a:pt x="7611" y="609"/>
                    <a:pt x="6462" y="0"/>
                    <a:pt x="5611" y="577"/>
                  </a:cubicBezTo>
                  <a:cubicBezTo>
                    <a:pt x="0" y="4385"/>
                    <a:pt x="0" y="4385"/>
                    <a:pt x="0" y="4385"/>
                  </a:cubicBezTo>
                  <a:cubicBezTo>
                    <a:pt x="5612" y="8193"/>
                    <a:pt x="5612" y="8193"/>
                    <a:pt x="5612" y="8193"/>
                  </a:cubicBezTo>
                  <a:cubicBezTo>
                    <a:pt x="6451" y="8763"/>
                    <a:pt x="7582" y="8177"/>
                    <a:pt x="7611" y="7173"/>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86" name="Freeform 73">
              <a:extLst>
                <a:ext uri="{FF2B5EF4-FFF2-40B4-BE49-F238E27FC236}">
                  <a16:creationId xmlns:a16="http://schemas.microsoft.com/office/drawing/2014/main" id="{07B0D6F9-8C8D-EB4D-AA78-2FDDAD83DF01}"/>
                </a:ext>
              </a:extLst>
            </p:cNvPr>
            <p:cNvSpPr>
              <a:spLocks/>
            </p:cNvSpPr>
            <p:nvPr/>
          </p:nvSpPr>
          <p:spPr bwMode="auto">
            <a:xfrm>
              <a:off x="1399" y="993"/>
              <a:ext cx="1064" cy="1225"/>
            </a:xfrm>
            <a:custGeom>
              <a:avLst/>
              <a:gdLst>
                <a:gd name="T0" fmla="*/ 0 w 7612"/>
                <a:gd name="T1" fmla="*/ 1637 h 8772"/>
                <a:gd name="T2" fmla="*/ 0 w 7612"/>
                <a:gd name="T3" fmla="*/ 7135 h 8772"/>
                <a:gd name="T4" fmla="*/ 2001 w 7612"/>
                <a:gd name="T5" fmla="*/ 8194 h 8772"/>
                <a:gd name="T6" fmla="*/ 7612 w 7612"/>
                <a:gd name="T7" fmla="*/ 4386 h 8772"/>
                <a:gd name="T8" fmla="*/ 2000 w 7612"/>
                <a:gd name="T9" fmla="*/ 578 h 8772"/>
                <a:gd name="T10" fmla="*/ 0 w 7612"/>
                <a:gd name="T11" fmla="*/ 1637 h 8772"/>
              </a:gdLst>
              <a:ahLst/>
              <a:cxnLst>
                <a:cxn ang="0">
                  <a:pos x="T0" y="T1"/>
                </a:cxn>
                <a:cxn ang="0">
                  <a:pos x="T2" y="T3"/>
                </a:cxn>
                <a:cxn ang="0">
                  <a:pos x="T4" y="T5"/>
                </a:cxn>
                <a:cxn ang="0">
                  <a:pos x="T6" y="T7"/>
                </a:cxn>
                <a:cxn ang="0">
                  <a:pos x="T8" y="T9"/>
                </a:cxn>
                <a:cxn ang="0">
                  <a:pos x="T10" y="T11"/>
                </a:cxn>
              </a:cxnLst>
              <a:rect l="0" t="0" r="r" b="b"/>
              <a:pathLst>
                <a:path w="7612" h="8772">
                  <a:moveTo>
                    <a:pt x="0" y="1637"/>
                  </a:moveTo>
                  <a:cubicBezTo>
                    <a:pt x="0" y="7135"/>
                    <a:pt x="0" y="7135"/>
                    <a:pt x="0" y="7135"/>
                  </a:cubicBezTo>
                  <a:cubicBezTo>
                    <a:pt x="0" y="8162"/>
                    <a:pt x="1150" y="8772"/>
                    <a:pt x="2001" y="8194"/>
                  </a:cubicBezTo>
                  <a:cubicBezTo>
                    <a:pt x="7612" y="4386"/>
                    <a:pt x="7612" y="4386"/>
                    <a:pt x="7612" y="4386"/>
                  </a:cubicBezTo>
                  <a:cubicBezTo>
                    <a:pt x="2000" y="578"/>
                    <a:pt x="2000" y="578"/>
                    <a:pt x="2000" y="578"/>
                  </a:cubicBezTo>
                  <a:cubicBezTo>
                    <a:pt x="1150" y="0"/>
                    <a:pt x="0" y="610"/>
                    <a:pt x="0" y="1637"/>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grpSp>
      <p:grpSp>
        <p:nvGrpSpPr>
          <p:cNvPr id="187" name="Group 10">
            <a:extLst>
              <a:ext uri="{FF2B5EF4-FFF2-40B4-BE49-F238E27FC236}">
                <a16:creationId xmlns:a16="http://schemas.microsoft.com/office/drawing/2014/main" id="{3A2C21E4-0005-EA49-8364-A7B43DF184F5}"/>
              </a:ext>
            </a:extLst>
          </p:cNvPr>
          <p:cNvGrpSpPr>
            <a:grpSpLocks noChangeAspect="1"/>
          </p:cNvGrpSpPr>
          <p:nvPr/>
        </p:nvGrpSpPr>
        <p:grpSpPr bwMode="auto">
          <a:xfrm>
            <a:off x="5924724" y="2918504"/>
            <a:ext cx="318276" cy="296904"/>
            <a:chOff x="1078" y="-61"/>
            <a:chExt cx="3604" cy="3362"/>
          </a:xfrm>
        </p:grpSpPr>
        <p:sp>
          <p:nvSpPr>
            <p:cNvPr id="188" name="Freeform 11">
              <a:extLst>
                <a:ext uri="{FF2B5EF4-FFF2-40B4-BE49-F238E27FC236}">
                  <a16:creationId xmlns:a16="http://schemas.microsoft.com/office/drawing/2014/main" id="{AA2980FD-5E03-D940-B709-917806FE8530}"/>
                </a:ext>
              </a:extLst>
            </p:cNvPr>
            <p:cNvSpPr>
              <a:spLocks noEditPoints="1"/>
            </p:cNvSpPr>
            <p:nvPr/>
          </p:nvSpPr>
          <p:spPr bwMode="auto">
            <a:xfrm>
              <a:off x="1420" y="357"/>
              <a:ext cx="2915" cy="2531"/>
            </a:xfrm>
            <a:custGeom>
              <a:avLst/>
              <a:gdLst>
                <a:gd name="T0" fmla="*/ 3519 w 3525"/>
                <a:gd name="T1" fmla="*/ 1562 h 3066"/>
                <a:gd name="T2" fmla="*/ 3523 w 3525"/>
                <a:gd name="T3" fmla="*/ 1551 h 3066"/>
                <a:gd name="T4" fmla="*/ 3524 w 3525"/>
                <a:gd name="T5" fmla="*/ 1541 h 3066"/>
                <a:gd name="T6" fmla="*/ 3525 w 3525"/>
                <a:gd name="T7" fmla="*/ 1532 h 3066"/>
                <a:gd name="T8" fmla="*/ 3524 w 3525"/>
                <a:gd name="T9" fmla="*/ 1520 h 3066"/>
                <a:gd name="T10" fmla="*/ 3521 w 3525"/>
                <a:gd name="T11" fmla="*/ 1509 h 3066"/>
                <a:gd name="T12" fmla="*/ 3517 w 3525"/>
                <a:gd name="T13" fmla="*/ 1498 h 3066"/>
                <a:gd name="T14" fmla="*/ 3513 w 3525"/>
                <a:gd name="T15" fmla="*/ 1489 h 3066"/>
                <a:gd name="T16" fmla="*/ 2678 w 3525"/>
                <a:gd name="T17" fmla="*/ 38 h 3066"/>
                <a:gd name="T18" fmla="*/ 2671 w 3525"/>
                <a:gd name="T19" fmla="*/ 29 h 3066"/>
                <a:gd name="T20" fmla="*/ 2663 w 3525"/>
                <a:gd name="T21" fmla="*/ 21 h 3066"/>
                <a:gd name="T22" fmla="*/ 2653 w 3525"/>
                <a:gd name="T23" fmla="*/ 14 h 3066"/>
                <a:gd name="T24" fmla="*/ 2646 w 3525"/>
                <a:gd name="T25" fmla="*/ 10 h 3066"/>
                <a:gd name="T26" fmla="*/ 2635 w 3525"/>
                <a:gd name="T27" fmla="*/ 5 h 3066"/>
                <a:gd name="T28" fmla="*/ 2624 w 3525"/>
                <a:gd name="T29" fmla="*/ 2 h 3066"/>
                <a:gd name="T30" fmla="*/ 2614 w 3525"/>
                <a:gd name="T31" fmla="*/ 1 h 3066"/>
                <a:gd name="T32" fmla="*/ 931 w 3525"/>
                <a:gd name="T33" fmla="*/ 0 h 3066"/>
                <a:gd name="T34" fmla="*/ 921 w 3525"/>
                <a:gd name="T35" fmla="*/ 1 h 3066"/>
                <a:gd name="T36" fmla="*/ 910 w 3525"/>
                <a:gd name="T37" fmla="*/ 3 h 3066"/>
                <a:gd name="T38" fmla="*/ 899 w 3525"/>
                <a:gd name="T39" fmla="*/ 6 h 3066"/>
                <a:gd name="T40" fmla="*/ 888 w 3525"/>
                <a:gd name="T41" fmla="*/ 12 h 3066"/>
                <a:gd name="T42" fmla="*/ 881 w 3525"/>
                <a:gd name="T43" fmla="*/ 16 h 3066"/>
                <a:gd name="T44" fmla="*/ 873 w 3525"/>
                <a:gd name="T45" fmla="*/ 23 h 3066"/>
                <a:gd name="T46" fmla="*/ 865 w 3525"/>
                <a:gd name="T47" fmla="*/ 31 h 3066"/>
                <a:gd name="T48" fmla="*/ 858 w 3525"/>
                <a:gd name="T49" fmla="*/ 40 h 3066"/>
                <a:gd name="T50" fmla="*/ 13 w 3525"/>
                <a:gd name="T51" fmla="*/ 1488 h 3066"/>
                <a:gd name="T52" fmla="*/ 8 w 3525"/>
                <a:gd name="T53" fmla="*/ 1496 h 3066"/>
                <a:gd name="T54" fmla="*/ 4 w 3525"/>
                <a:gd name="T55" fmla="*/ 1506 h 3066"/>
                <a:gd name="T56" fmla="*/ 2 w 3525"/>
                <a:gd name="T57" fmla="*/ 1517 h 3066"/>
                <a:gd name="T58" fmla="*/ 0 w 3525"/>
                <a:gd name="T59" fmla="*/ 1529 h 3066"/>
                <a:gd name="T60" fmla="*/ 0 w 3525"/>
                <a:gd name="T61" fmla="*/ 1537 h 3066"/>
                <a:gd name="T62" fmla="*/ 2 w 3525"/>
                <a:gd name="T63" fmla="*/ 1549 h 3066"/>
                <a:gd name="T64" fmla="*/ 4 w 3525"/>
                <a:gd name="T65" fmla="*/ 1560 h 3066"/>
                <a:gd name="T66" fmla="*/ 8 w 3525"/>
                <a:gd name="T67" fmla="*/ 1570 h 3066"/>
                <a:gd name="T68" fmla="*/ 13 w 3525"/>
                <a:gd name="T69" fmla="*/ 1578 h 3066"/>
                <a:gd name="T70" fmla="*/ 858 w 3525"/>
                <a:gd name="T71" fmla="*/ 3026 h 3066"/>
                <a:gd name="T72" fmla="*/ 865 w 3525"/>
                <a:gd name="T73" fmla="*/ 3035 h 3066"/>
                <a:gd name="T74" fmla="*/ 874 w 3525"/>
                <a:gd name="T75" fmla="*/ 3045 h 3066"/>
                <a:gd name="T76" fmla="*/ 885 w 3525"/>
                <a:gd name="T77" fmla="*/ 3053 h 3066"/>
                <a:gd name="T78" fmla="*/ 898 w 3525"/>
                <a:gd name="T79" fmla="*/ 3059 h 3066"/>
                <a:gd name="T80" fmla="*/ 911 w 3525"/>
                <a:gd name="T81" fmla="*/ 3063 h 3066"/>
                <a:gd name="T82" fmla="*/ 931 w 3525"/>
                <a:gd name="T83" fmla="*/ 3066 h 3066"/>
                <a:gd name="T84" fmla="*/ 2606 w 3525"/>
                <a:gd name="T85" fmla="*/ 3066 h 3066"/>
                <a:gd name="T86" fmla="*/ 2607 w 3525"/>
                <a:gd name="T87" fmla="*/ 3066 h 3066"/>
                <a:gd name="T88" fmla="*/ 2630 w 3525"/>
                <a:gd name="T89" fmla="*/ 3062 h 3066"/>
                <a:gd name="T90" fmla="*/ 2648 w 3525"/>
                <a:gd name="T91" fmla="*/ 3055 h 3066"/>
                <a:gd name="T92" fmla="*/ 2656 w 3525"/>
                <a:gd name="T93" fmla="*/ 3050 h 3066"/>
                <a:gd name="T94" fmla="*/ 2666 w 3525"/>
                <a:gd name="T95" fmla="*/ 3042 h 3066"/>
                <a:gd name="T96" fmla="*/ 2674 w 3525"/>
                <a:gd name="T97" fmla="*/ 3033 h 3066"/>
                <a:gd name="T98" fmla="*/ 2681 w 3525"/>
                <a:gd name="T99" fmla="*/ 3022 h 3066"/>
                <a:gd name="T100" fmla="*/ 3515 w 3525"/>
                <a:gd name="T101" fmla="*/ 1573 h 3066"/>
                <a:gd name="T102" fmla="*/ 2606 w 3525"/>
                <a:gd name="T103" fmla="*/ 263 h 3066"/>
                <a:gd name="T104" fmla="*/ 2454 w 3525"/>
                <a:gd name="T105" fmla="*/ 175 h 3066"/>
                <a:gd name="T106" fmla="*/ 240 w 3525"/>
                <a:gd name="T107" fmla="*/ 1446 h 3066"/>
                <a:gd name="T108" fmla="*/ 240 w 3525"/>
                <a:gd name="T109" fmla="*/ 1620 h 3066"/>
                <a:gd name="T110" fmla="*/ 1083 w 3525"/>
                <a:gd name="T111" fmla="*/ 2891 h 3066"/>
                <a:gd name="T112" fmla="*/ 3286 w 3525"/>
                <a:gd name="T113" fmla="*/ 1620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25" h="3066">
                  <a:moveTo>
                    <a:pt x="3516" y="1570"/>
                  </a:moveTo>
                  <a:cubicBezTo>
                    <a:pt x="3517" y="1569"/>
                    <a:pt x="3517" y="1569"/>
                    <a:pt x="3517" y="1568"/>
                  </a:cubicBezTo>
                  <a:cubicBezTo>
                    <a:pt x="3518" y="1567"/>
                    <a:pt x="3518" y="1566"/>
                    <a:pt x="3518" y="1565"/>
                  </a:cubicBezTo>
                  <a:cubicBezTo>
                    <a:pt x="3519" y="1564"/>
                    <a:pt x="3519" y="1563"/>
                    <a:pt x="3519" y="1562"/>
                  </a:cubicBezTo>
                  <a:cubicBezTo>
                    <a:pt x="3520" y="1561"/>
                    <a:pt x="3520" y="1561"/>
                    <a:pt x="3520" y="1560"/>
                  </a:cubicBezTo>
                  <a:cubicBezTo>
                    <a:pt x="3521" y="1559"/>
                    <a:pt x="3521" y="1558"/>
                    <a:pt x="3521" y="1557"/>
                  </a:cubicBezTo>
                  <a:cubicBezTo>
                    <a:pt x="3521" y="1556"/>
                    <a:pt x="3522" y="1555"/>
                    <a:pt x="3522" y="1554"/>
                  </a:cubicBezTo>
                  <a:cubicBezTo>
                    <a:pt x="3522" y="1553"/>
                    <a:pt x="3522" y="1552"/>
                    <a:pt x="3523" y="1551"/>
                  </a:cubicBezTo>
                  <a:cubicBezTo>
                    <a:pt x="3523" y="1550"/>
                    <a:pt x="3523" y="1550"/>
                    <a:pt x="3523" y="1549"/>
                  </a:cubicBezTo>
                  <a:cubicBezTo>
                    <a:pt x="3523" y="1548"/>
                    <a:pt x="3523" y="1547"/>
                    <a:pt x="3524" y="1546"/>
                  </a:cubicBezTo>
                  <a:cubicBezTo>
                    <a:pt x="3524" y="1545"/>
                    <a:pt x="3524" y="1544"/>
                    <a:pt x="3524" y="1543"/>
                  </a:cubicBezTo>
                  <a:cubicBezTo>
                    <a:pt x="3524" y="1542"/>
                    <a:pt x="3524" y="1541"/>
                    <a:pt x="3524" y="1541"/>
                  </a:cubicBezTo>
                  <a:cubicBezTo>
                    <a:pt x="3524" y="1540"/>
                    <a:pt x="3524" y="1538"/>
                    <a:pt x="3524" y="1537"/>
                  </a:cubicBezTo>
                  <a:cubicBezTo>
                    <a:pt x="3524" y="1536"/>
                    <a:pt x="3525" y="1535"/>
                    <a:pt x="3525" y="1534"/>
                  </a:cubicBezTo>
                  <a:cubicBezTo>
                    <a:pt x="3525" y="1534"/>
                    <a:pt x="3525" y="1533"/>
                    <a:pt x="3525" y="1533"/>
                  </a:cubicBezTo>
                  <a:cubicBezTo>
                    <a:pt x="3525" y="1533"/>
                    <a:pt x="3525" y="1532"/>
                    <a:pt x="3525" y="1532"/>
                  </a:cubicBezTo>
                  <a:cubicBezTo>
                    <a:pt x="3525" y="1531"/>
                    <a:pt x="3524" y="1530"/>
                    <a:pt x="3524" y="1529"/>
                  </a:cubicBezTo>
                  <a:cubicBezTo>
                    <a:pt x="3524" y="1528"/>
                    <a:pt x="3524" y="1526"/>
                    <a:pt x="3524" y="1525"/>
                  </a:cubicBezTo>
                  <a:cubicBezTo>
                    <a:pt x="3524" y="1525"/>
                    <a:pt x="3524" y="1524"/>
                    <a:pt x="3524" y="1523"/>
                  </a:cubicBezTo>
                  <a:cubicBezTo>
                    <a:pt x="3524" y="1522"/>
                    <a:pt x="3524" y="1521"/>
                    <a:pt x="3524" y="1520"/>
                  </a:cubicBezTo>
                  <a:cubicBezTo>
                    <a:pt x="3523" y="1519"/>
                    <a:pt x="3523" y="1518"/>
                    <a:pt x="3523" y="1517"/>
                  </a:cubicBezTo>
                  <a:cubicBezTo>
                    <a:pt x="3523" y="1516"/>
                    <a:pt x="3523" y="1515"/>
                    <a:pt x="3523" y="1515"/>
                  </a:cubicBezTo>
                  <a:cubicBezTo>
                    <a:pt x="3522" y="1514"/>
                    <a:pt x="3522" y="1513"/>
                    <a:pt x="3522" y="1512"/>
                  </a:cubicBezTo>
                  <a:cubicBezTo>
                    <a:pt x="3522" y="1511"/>
                    <a:pt x="3521" y="1510"/>
                    <a:pt x="3521" y="1509"/>
                  </a:cubicBezTo>
                  <a:cubicBezTo>
                    <a:pt x="3521" y="1508"/>
                    <a:pt x="3521" y="1507"/>
                    <a:pt x="3520" y="1506"/>
                  </a:cubicBezTo>
                  <a:cubicBezTo>
                    <a:pt x="3520" y="1505"/>
                    <a:pt x="3520" y="1505"/>
                    <a:pt x="3519" y="1504"/>
                  </a:cubicBezTo>
                  <a:cubicBezTo>
                    <a:pt x="3519" y="1503"/>
                    <a:pt x="3519" y="1502"/>
                    <a:pt x="3518" y="1501"/>
                  </a:cubicBezTo>
                  <a:cubicBezTo>
                    <a:pt x="3518" y="1500"/>
                    <a:pt x="3518" y="1499"/>
                    <a:pt x="3517" y="1498"/>
                  </a:cubicBezTo>
                  <a:cubicBezTo>
                    <a:pt x="3517" y="1497"/>
                    <a:pt x="3517" y="1497"/>
                    <a:pt x="3516" y="1496"/>
                  </a:cubicBezTo>
                  <a:cubicBezTo>
                    <a:pt x="3516" y="1495"/>
                    <a:pt x="3515" y="1494"/>
                    <a:pt x="3515" y="1493"/>
                  </a:cubicBezTo>
                  <a:cubicBezTo>
                    <a:pt x="3514" y="1492"/>
                    <a:pt x="3514" y="1491"/>
                    <a:pt x="3513" y="1490"/>
                  </a:cubicBezTo>
                  <a:cubicBezTo>
                    <a:pt x="3513" y="1490"/>
                    <a:pt x="3513" y="1490"/>
                    <a:pt x="3513" y="1489"/>
                  </a:cubicBezTo>
                  <a:cubicBezTo>
                    <a:pt x="2682" y="44"/>
                    <a:pt x="2682" y="44"/>
                    <a:pt x="2682" y="44"/>
                  </a:cubicBezTo>
                  <a:cubicBezTo>
                    <a:pt x="2682" y="44"/>
                    <a:pt x="2681" y="44"/>
                    <a:pt x="2681" y="43"/>
                  </a:cubicBezTo>
                  <a:cubicBezTo>
                    <a:pt x="2681" y="42"/>
                    <a:pt x="2680" y="41"/>
                    <a:pt x="2679" y="40"/>
                  </a:cubicBezTo>
                  <a:cubicBezTo>
                    <a:pt x="2679" y="39"/>
                    <a:pt x="2678" y="38"/>
                    <a:pt x="2678" y="38"/>
                  </a:cubicBezTo>
                  <a:cubicBezTo>
                    <a:pt x="2677" y="37"/>
                    <a:pt x="2677" y="36"/>
                    <a:pt x="2676" y="36"/>
                  </a:cubicBezTo>
                  <a:cubicBezTo>
                    <a:pt x="2676" y="35"/>
                    <a:pt x="2675" y="34"/>
                    <a:pt x="2674" y="33"/>
                  </a:cubicBezTo>
                  <a:cubicBezTo>
                    <a:pt x="2674" y="33"/>
                    <a:pt x="2673" y="32"/>
                    <a:pt x="2672" y="31"/>
                  </a:cubicBezTo>
                  <a:cubicBezTo>
                    <a:pt x="2672" y="30"/>
                    <a:pt x="2671" y="30"/>
                    <a:pt x="2671" y="29"/>
                  </a:cubicBezTo>
                  <a:cubicBezTo>
                    <a:pt x="2670" y="28"/>
                    <a:pt x="2669" y="28"/>
                    <a:pt x="2669" y="27"/>
                  </a:cubicBezTo>
                  <a:cubicBezTo>
                    <a:pt x="2668" y="26"/>
                    <a:pt x="2667" y="26"/>
                    <a:pt x="2667" y="25"/>
                  </a:cubicBezTo>
                  <a:cubicBezTo>
                    <a:pt x="2666" y="24"/>
                    <a:pt x="2665" y="24"/>
                    <a:pt x="2665" y="23"/>
                  </a:cubicBezTo>
                  <a:cubicBezTo>
                    <a:pt x="2664" y="22"/>
                    <a:pt x="2663" y="22"/>
                    <a:pt x="2663" y="21"/>
                  </a:cubicBezTo>
                  <a:cubicBezTo>
                    <a:pt x="2662" y="21"/>
                    <a:pt x="2661" y="20"/>
                    <a:pt x="2660" y="19"/>
                  </a:cubicBezTo>
                  <a:cubicBezTo>
                    <a:pt x="2659" y="19"/>
                    <a:pt x="2659" y="18"/>
                    <a:pt x="2658" y="17"/>
                  </a:cubicBezTo>
                  <a:cubicBezTo>
                    <a:pt x="2657" y="17"/>
                    <a:pt x="2657" y="17"/>
                    <a:pt x="2656" y="16"/>
                  </a:cubicBezTo>
                  <a:cubicBezTo>
                    <a:pt x="2655" y="15"/>
                    <a:pt x="2654" y="15"/>
                    <a:pt x="2653" y="14"/>
                  </a:cubicBezTo>
                  <a:cubicBezTo>
                    <a:pt x="2652" y="14"/>
                    <a:pt x="2651" y="13"/>
                    <a:pt x="2650" y="12"/>
                  </a:cubicBezTo>
                  <a:cubicBezTo>
                    <a:pt x="2650" y="12"/>
                    <a:pt x="2650" y="12"/>
                    <a:pt x="2650" y="12"/>
                  </a:cubicBezTo>
                  <a:cubicBezTo>
                    <a:pt x="2649" y="12"/>
                    <a:pt x="2649" y="12"/>
                    <a:pt x="2649" y="12"/>
                  </a:cubicBezTo>
                  <a:cubicBezTo>
                    <a:pt x="2648" y="11"/>
                    <a:pt x="2647" y="10"/>
                    <a:pt x="2646" y="10"/>
                  </a:cubicBezTo>
                  <a:cubicBezTo>
                    <a:pt x="2645" y="9"/>
                    <a:pt x="2644" y="9"/>
                    <a:pt x="2643" y="9"/>
                  </a:cubicBezTo>
                  <a:cubicBezTo>
                    <a:pt x="2642" y="8"/>
                    <a:pt x="2642" y="8"/>
                    <a:pt x="2641" y="8"/>
                  </a:cubicBezTo>
                  <a:cubicBezTo>
                    <a:pt x="2640" y="7"/>
                    <a:pt x="2639" y="7"/>
                    <a:pt x="2638" y="6"/>
                  </a:cubicBezTo>
                  <a:cubicBezTo>
                    <a:pt x="2637" y="6"/>
                    <a:pt x="2636" y="6"/>
                    <a:pt x="2635" y="5"/>
                  </a:cubicBezTo>
                  <a:cubicBezTo>
                    <a:pt x="2634" y="5"/>
                    <a:pt x="2634" y="5"/>
                    <a:pt x="2633" y="4"/>
                  </a:cubicBezTo>
                  <a:cubicBezTo>
                    <a:pt x="2632" y="4"/>
                    <a:pt x="2631" y="4"/>
                    <a:pt x="2630" y="4"/>
                  </a:cubicBezTo>
                  <a:cubicBezTo>
                    <a:pt x="2629" y="3"/>
                    <a:pt x="2628" y="3"/>
                    <a:pt x="2627" y="3"/>
                  </a:cubicBezTo>
                  <a:cubicBezTo>
                    <a:pt x="2626" y="3"/>
                    <a:pt x="2625" y="2"/>
                    <a:pt x="2624" y="2"/>
                  </a:cubicBezTo>
                  <a:cubicBezTo>
                    <a:pt x="2623" y="2"/>
                    <a:pt x="2623" y="2"/>
                    <a:pt x="2622" y="2"/>
                  </a:cubicBezTo>
                  <a:cubicBezTo>
                    <a:pt x="2621" y="2"/>
                    <a:pt x="2620" y="1"/>
                    <a:pt x="2619" y="1"/>
                  </a:cubicBezTo>
                  <a:cubicBezTo>
                    <a:pt x="2618" y="1"/>
                    <a:pt x="2617" y="1"/>
                    <a:pt x="2616" y="1"/>
                  </a:cubicBezTo>
                  <a:cubicBezTo>
                    <a:pt x="2615" y="1"/>
                    <a:pt x="2614" y="1"/>
                    <a:pt x="2614" y="1"/>
                  </a:cubicBezTo>
                  <a:cubicBezTo>
                    <a:pt x="2613" y="0"/>
                    <a:pt x="2611" y="0"/>
                    <a:pt x="2610" y="0"/>
                  </a:cubicBezTo>
                  <a:cubicBezTo>
                    <a:pt x="2609" y="0"/>
                    <a:pt x="2608" y="0"/>
                    <a:pt x="2607" y="0"/>
                  </a:cubicBezTo>
                  <a:cubicBezTo>
                    <a:pt x="2606" y="0"/>
                    <a:pt x="2606" y="0"/>
                    <a:pt x="2606" y="0"/>
                  </a:cubicBezTo>
                  <a:cubicBezTo>
                    <a:pt x="931" y="0"/>
                    <a:pt x="931" y="0"/>
                    <a:pt x="931" y="0"/>
                  </a:cubicBezTo>
                  <a:cubicBezTo>
                    <a:pt x="931" y="0"/>
                    <a:pt x="930" y="0"/>
                    <a:pt x="930" y="0"/>
                  </a:cubicBezTo>
                  <a:cubicBezTo>
                    <a:pt x="929" y="0"/>
                    <a:pt x="928" y="0"/>
                    <a:pt x="927" y="0"/>
                  </a:cubicBezTo>
                  <a:cubicBezTo>
                    <a:pt x="926" y="0"/>
                    <a:pt x="925" y="0"/>
                    <a:pt x="924" y="1"/>
                  </a:cubicBezTo>
                  <a:cubicBezTo>
                    <a:pt x="923" y="1"/>
                    <a:pt x="922" y="1"/>
                    <a:pt x="921" y="1"/>
                  </a:cubicBezTo>
                  <a:cubicBezTo>
                    <a:pt x="920" y="1"/>
                    <a:pt x="919" y="1"/>
                    <a:pt x="918" y="1"/>
                  </a:cubicBezTo>
                  <a:cubicBezTo>
                    <a:pt x="917" y="1"/>
                    <a:pt x="916" y="1"/>
                    <a:pt x="915" y="2"/>
                  </a:cubicBezTo>
                  <a:cubicBezTo>
                    <a:pt x="914" y="2"/>
                    <a:pt x="913" y="2"/>
                    <a:pt x="913" y="2"/>
                  </a:cubicBezTo>
                  <a:cubicBezTo>
                    <a:pt x="912" y="2"/>
                    <a:pt x="911" y="3"/>
                    <a:pt x="910" y="3"/>
                  </a:cubicBezTo>
                  <a:cubicBezTo>
                    <a:pt x="909" y="3"/>
                    <a:pt x="908" y="3"/>
                    <a:pt x="907" y="4"/>
                  </a:cubicBezTo>
                  <a:cubicBezTo>
                    <a:pt x="906" y="4"/>
                    <a:pt x="905" y="4"/>
                    <a:pt x="904" y="4"/>
                  </a:cubicBezTo>
                  <a:cubicBezTo>
                    <a:pt x="903" y="5"/>
                    <a:pt x="903" y="5"/>
                    <a:pt x="902" y="5"/>
                  </a:cubicBezTo>
                  <a:cubicBezTo>
                    <a:pt x="901" y="6"/>
                    <a:pt x="900" y="6"/>
                    <a:pt x="899" y="6"/>
                  </a:cubicBezTo>
                  <a:cubicBezTo>
                    <a:pt x="898" y="7"/>
                    <a:pt x="897" y="7"/>
                    <a:pt x="896" y="8"/>
                  </a:cubicBezTo>
                  <a:cubicBezTo>
                    <a:pt x="895" y="8"/>
                    <a:pt x="895" y="8"/>
                    <a:pt x="894" y="8"/>
                  </a:cubicBezTo>
                  <a:cubicBezTo>
                    <a:pt x="893" y="9"/>
                    <a:pt x="892" y="9"/>
                    <a:pt x="891" y="10"/>
                  </a:cubicBezTo>
                  <a:cubicBezTo>
                    <a:pt x="890" y="10"/>
                    <a:pt x="889" y="11"/>
                    <a:pt x="888" y="12"/>
                  </a:cubicBezTo>
                  <a:cubicBezTo>
                    <a:pt x="888" y="12"/>
                    <a:pt x="887" y="12"/>
                    <a:pt x="887" y="12"/>
                  </a:cubicBezTo>
                  <a:cubicBezTo>
                    <a:pt x="887" y="12"/>
                    <a:pt x="887" y="12"/>
                    <a:pt x="887" y="12"/>
                  </a:cubicBezTo>
                  <a:cubicBezTo>
                    <a:pt x="886" y="13"/>
                    <a:pt x="885" y="14"/>
                    <a:pt x="884" y="14"/>
                  </a:cubicBezTo>
                  <a:cubicBezTo>
                    <a:pt x="883" y="15"/>
                    <a:pt x="882" y="15"/>
                    <a:pt x="881" y="16"/>
                  </a:cubicBezTo>
                  <a:cubicBezTo>
                    <a:pt x="880" y="16"/>
                    <a:pt x="880" y="17"/>
                    <a:pt x="879" y="17"/>
                  </a:cubicBezTo>
                  <a:cubicBezTo>
                    <a:pt x="878" y="18"/>
                    <a:pt x="878" y="19"/>
                    <a:pt x="877" y="19"/>
                  </a:cubicBezTo>
                  <a:cubicBezTo>
                    <a:pt x="876" y="20"/>
                    <a:pt x="875" y="21"/>
                    <a:pt x="874" y="21"/>
                  </a:cubicBezTo>
                  <a:cubicBezTo>
                    <a:pt x="874" y="22"/>
                    <a:pt x="873" y="22"/>
                    <a:pt x="873" y="23"/>
                  </a:cubicBezTo>
                  <a:cubicBezTo>
                    <a:pt x="872" y="23"/>
                    <a:pt x="871" y="24"/>
                    <a:pt x="870" y="25"/>
                  </a:cubicBezTo>
                  <a:cubicBezTo>
                    <a:pt x="870" y="25"/>
                    <a:pt x="869" y="26"/>
                    <a:pt x="868" y="27"/>
                  </a:cubicBezTo>
                  <a:cubicBezTo>
                    <a:pt x="868" y="28"/>
                    <a:pt x="867" y="28"/>
                    <a:pt x="866" y="29"/>
                  </a:cubicBezTo>
                  <a:cubicBezTo>
                    <a:pt x="866" y="29"/>
                    <a:pt x="865" y="30"/>
                    <a:pt x="865" y="31"/>
                  </a:cubicBezTo>
                  <a:cubicBezTo>
                    <a:pt x="864" y="32"/>
                    <a:pt x="863" y="32"/>
                    <a:pt x="863" y="33"/>
                  </a:cubicBezTo>
                  <a:cubicBezTo>
                    <a:pt x="862" y="34"/>
                    <a:pt x="861" y="35"/>
                    <a:pt x="861" y="36"/>
                  </a:cubicBezTo>
                  <a:cubicBezTo>
                    <a:pt x="860" y="36"/>
                    <a:pt x="860" y="37"/>
                    <a:pt x="860" y="37"/>
                  </a:cubicBezTo>
                  <a:cubicBezTo>
                    <a:pt x="859" y="38"/>
                    <a:pt x="858" y="39"/>
                    <a:pt x="858" y="40"/>
                  </a:cubicBezTo>
                  <a:cubicBezTo>
                    <a:pt x="857" y="41"/>
                    <a:pt x="856" y="42"/>
                    <a:pt x="856" y="43"/>
                  </a:cubicBezTo>
                  <a:cubicBezTo>
                    <a:pt x="856" y="43"/>
                    <a:pt x="856" y="43"/>
                    <a:pt x="856" y="44"/>
                  </a:cubicBezTo>
                  <a:cubicBezTo>
                    <a:pt x="13" y="1488"/>
                    <a:pt x="13" y="1488"/>
                    <a:pt x="13" y="1488"/>
                  </a:cubicBezTo>
                  <a:cubicBezTo>
                    <a:pt x="13" y="1488"/>
                    <a:pt x="13" y="1488"/>
                    <a:pt x="13" y="1488"/>
                  </a:cubicBezTo>
                  <a:cubicBezTo>
                    <a:pt x="12" y="1489"/>
                    <a:pt x="12" y="1489"/>
                    <a:pt x="12" y="1489"/>
                  </a:cubicBezTo>
                  <a:cubicBezTo>
                    <a:pt x="12" y="1489"/>
                    <a:pt x="12" y="1490"/>
                    <a:pt x="11" y="1490"/>
                  </a:cubicBezTo>
                  <a:cubicBezTo>
                    <a:pt x="11" y="1491"/>
                    <a:pt x="10" y="1492"/>
                    <a:pt x="10" y="1493"/>
                  </a:cubicBezTo>
                  <a:cubicBezTo>
                    <a:pt x="9" y="1494"/>
                    <a:pt x="9" y="1495"/>
                    <a:pt x="8" y="1496"/>
                  </a:cubicBezTo>
                  <a:cubicBezTo>
                    <a:pt x="8" y="1497"/>
                    <a:pt x="8" y="1497"/>
                    <a:pt x="7" y="1498"/>
                  </a:cubicBezTo>
                  <a:cubicBezTo>
                    <a:pt x="7" y="1499"/>
                    <a:pt x="7" y="1500"/>
                    <a:pt x="6" y="1501"/>
                  </a:cubicBezTo>
                  <a:cubicBezTo>
                    <a:pt x="6" y="1502"/>
                    <a:pt x="5" y="1503"/>
                    <a:pt x="5" y="1504"/>
                  </a:cubicBezTo>
                  <a:cubicBezTo>
                    <a:pt x="5" y="1504"/>
                    <a:pt x="5" y="1505"/>
                    <a:pt x="4" y="1506"/>
                  </a:cubicBezTo>
                  <a:cubicBezTo>
                    <a:pt x="4" y="1507"/>
                    <a:pt x="4" y="1508"/>
                    <a:pt x="3" y="1509"/>
                  </a:cubicBezTo>
                  <a:cubicBezTo>
                    <a:pt x="3" y="1510"/>
                    <a:pt x="3" y="1511"/>
                    <a:pt x="3" y="1512"/>
                  </a:cubicBezTo>
                  <a:cubicBezTo>
                    <a:pt x="2" y="1513"/>
                    <a:pt x="2" y="1514"/>
                    <a:pt x="2" y="1514"/>
                  </a:cubicBezTo>
                  <a:cubicBezTo>
                    <a:pt x="2" y="1515"/>
                    <a:pt x="2" y="1516"/>
                    <a:pt x="2" y="1517"/>
                  </a:cubicBezTo>
                  <a:cubicBezTo>
                    <a:pt x="1" y="1518"/>
                    <a:pt x="1" y="1519"/>
                    <a:pt x="1" y="1520"/>
                  </a:cubicBezTo>
                  <a:cubicBezTo>
                    <a:pt x="1" y="1521"/>
                    <a:pt x="1" y="1522"/>
                    <a:pt x="1" y="1523"/>
                  </a:cubicBezTo>
                  <a:cubicBezTo>
                    <a:pt x="1" y="1524"/>
                    <a:pt x="0" y="1525"/>
                    <a:pt x="0" y="1526"/>
                  </a:cubicBezTo>
                  <a:cubicBezTo>
                    <a:pt x="0" y="1527"/>
                    <a:pt x="0" y="1528"/>
                    <a:pt x="0" y="1529"/>
                  </a:cubicBezTo>
                  <a:cubicBezTo>
                    <a:pt x="0" y="1530"/>
                    <a:pt x="0" y="1531"/>
                    <a:pt x="0" y="1532"/>
                  </a:cubicBezTo>
                  <a:cubicBezTo>
                    <a:pt x="0" y="1532"/>
                    <a:pt x="0" y="1533"/>
                    <a:pt x="0" y="1533"/>
                  </a:cubicBezTo>
                  <a:cubicBezTo>
                    <a:pt x="0" y="1533"/>
                    <a:pt x="0" y="1534"/>
                    <a:pt x="0" y="1534"/>
                  </a:cubicBezTo>
                  <a:cubicBezTo>
                    <a:pt x="0" y="1535"/>
                    <a:pt x="0" y="1536"/>
                    <a:pt x="0" y="1537"/>
                  </a:cubicBezTo>
                  <a:cubicBezTo>
                    <a:pt x="0" y="1538"/>
                    <a:pt x="0" y="1539"/>
                    <a:pt x="0" y="1540"/>
                  </a:cubicBezTo>
                  <a:cubicBezTo>
                    <a:pt x="0" y="1541"/>
                    <a:pt x="1" y="1542"/>
                    <a:pt x="1" y="1543"/>
                  </a:cubicBezTo>
                  <a:cubicBezTo>
                    <a:pt x="1" y="1544"/>
                    <a:pt x="1" y="1545"/>
                    <a:pt x="1" y="1546"/>
                  </a:cubicBezTo>
                  <a:cubicBezTo>
                    <a:pt x="1" y="1547"/>
                    <a:pt x="1" y="1548"/>
                    <a:pt x="2" y="1549"/>
                  </a:cubicBezTo>
                  <a:cubicBezTo>
                    <a:pt x="2" y="1550"/>
                    <a:pt x="2" y="1551"/>
                    <a:pt x="2" y="1551"/>
                  </a:cubicBezTo>
                  <a:cubicBezTo>
                    <a:pt x="2" y="1552"/>
                    <a:pt x="2" y="1553"/>
                    <a:pt x="3" y="1554"/>
                  </a:cubicBezTo>
                  <a:cubicBezTo>
                    <a:pt x="3" y="1555"/>
                    <a:pt x="3" y="1556"/>
                    <a:pt x="3" y="1557"/>
                  </a:cubicBezTo>
                  <a:cubicBezTo>
                    <a:pt x="4" y="1558"/>
                    <a:pt x="4" y="1559"/>
                    <a:pt x="4" y="1560"/>
                  </a:cubicBezTo>
                  <a:cubicBezTo>
                    <a:pt x="5" y="1561"/>
                    <a:pt x="5" y="1561"/>
                    <a:pt x="5" y="1562"/>
                  </a:cubicBezTo>
                  <a:cubicBezTo>
                    <a:pt x="5" y="1563"/>
                    <a:pt x="6" y="1564"/>
                    <a:pt x="6" y="1565"/>
                  </a:cubicBezTo>
                  <a:cubicBezTo>
                    <a:pt x="7" y="1566"/>
                    <a:pt x="7" y="1567"/>
                    <a:pt x="7" y="1568"/>
                  </a:cubicBezTo>
                  <a:cubicBezTo>
                    <a:pt x="8" y="1569"/>
                    <a:pt x="8" y="1569"/>
                    <a:pt x="8" y="1570"/>
                  </a:cubicBezTo>
                  <a:cubicBezTo>
                    <a:pt x="9" y="1571"/>
                    <a:pt x="9" y="1572"/>
                    <a:pt x="10" y="1573"/>
                  </a:cubicBezTo>
                  <a:cubicBezTo>
                    <a:pt x="10" y="1574"/>
                    <a:pt x="11" y="1575"/>
                    <a:pt x="11" y="1576"/>
                  </a:cubicBezTo>
                  <a:cubicBezTo>
                    <a:pt x="12" y="1576"/>
                    <a:pt x="12" y="1577"/>
                    <a:pt x="12" y="1577"/>
                  </a:cubicBezTo>
                  <a:cubicBezTo>
                    <a:pt x="13" y="1578"/>
                    <a:pt x="13" y="1578"/>
                    <a:pt x="13" y="1578"/>
                  </a:cubicBezTo>
                  <a:cubicBezTo>
                    <a:pt x="13" y="1578"/>
                    <a:pt x="13" y="1578"/>
                    <a:pt x="13" y="1578"/>
                  </a:cubicBezTo>
                  <a:cubicBezTo>
                    <a:pt x="856" y="3022"/>
                    <a:pt x="856" y="3022"/>
                    <a:pt x="856" y="3022"/>
                  </a:cubicBezTo>
                  <a:cubicBezTo>
                    <a:pt x="856" y="3023"/>
                    <a:pt x="856" y="3023"/>
                    <a:pt x="856" y="3023"/>
                  </a:cubicBezTo>
                  <a:cubicBezTo>
                    <a:pt x="856" y="3024"/>
                    <a:pt x="857" y="3025"/>
                    <a:pt x="858" y="3026"/>
                  </a:cubicBezTo>
                  <a:cubicBezTo>
                    <a:pt x="858" y="3027"/>
                    <a:pt x="859" y="3028"/>
                    <a:pt x="860" y="3029"/>
                  </a:cubicBezTo>
                  <a:cubicBezTo>
                    <a:pt x="860" y="3030"/>
                    <a:pt x="861" y="3031"/>
                    <a:pt x="862" y="3032"/>
                  </a:cubicBezTo>
                  <a:cubicBezTo>
                    <a:pt x="862" y="3032"/>
                    <a:pt x="863" y="3033"/>
                    <a:pt x="863" y="3033"/>
                  </a:cubicBezTo>
                  <a:cubicBezTo>
                    <a:pt x="864" y="3034"/>
                    <a:pt x="864" y="3035"/>
                    <a:pt x="865" y="3035"/>
                  </a:cubicBezTo>
                  <a:cubicBezTo>
                    <a:pt x="866" y="3037"/>
                    <a:pt x="867" y="3038"/>
                    <a:pt x="868" y="3039"/>
                  </a:cubicBezTo>
                  <a:cubicBezTo>
                    <a:pt x="869" y="3039"/>
                    <a:pt x="869" y="3040"/>
                    <a:pt x="870" y="3040"/>
                  </a:cubicBezTo>
                  <a:cubicBezTo>
                    <a:pt x="870" y="3041"/>
                    <a:pt x="871" y="3041"/>
                    <a:pt x="871" y="3042"/>
                  </a:cubicBezTo>
                  <a:cubicBezTo>
                    <a:pt x="872" y="3043"/>
                    <a:pt x="873" y="3044"/>
                    <a:pt x="874" y="3045"/>
                  </a:cubicBezTo>
                  <a:cubicBezTo>
                    <a:pt x="875" y="3046"/>
                    <a:pt x="876" y="3046"/>
                    <a:pt x="877" y="3047"/>
                  </a:cubicBezTo>
                  <a:cubicBezTo>
                    <a:pt x="878" y="3048"/>
                    <a:pt x="879" y="3048"/>
                    <a:pt x="879" y="3049"/>
                  </a:cubicBezTo>
                  <a:cubicBezTo>
                    <a:pt x="880" y="3049"/>
                    <a:pt x="880" y="3049"/>
                    <a:pt x="881" y="3050"/>
                  </a:cubicBezTo>
                  <a:cubicBezTo>
                    <a:pt x="882" y="3051"/>
                    <a:pt x="884" y="3052"/>
                    <a:pt x="885" y="3053"/>
                  </a:cubicBezTo>
                  <a:cubicBezTo>
                    <a:pt x="886" y="3053"/>
                    <a:pt x="887" y="3054"/>
                    <a:pt x="887" y="3054"/>
                  </a:cubicBezTo>
                  <a:cubicBezTo>
                    <a:pt x="887" y="3054"/>
                    <a:pt x="887" y="3054"/>
                    <a:pt x="888" y="3054"/>
                  </a:cubicBezTo>
                  <a:cubicBezTo>
                    <a:pt x="888" y="3054"/>
                    <a:pt x="888" y="3055"/>
                    <a:pt x="889" y="3055"/>
                  </a:cubicBezTo>
                  <a:cubicBezTo>
                    <a:pt x="892" y="3056"/>
                    <a:pt x="895" y="3058"/>
                    <a:pt x="898" y="3059"/>
                  </a:cubicBezTo>
                  <a:cubicBezTo>
                    <a:pt x="898" y="3059"/>
                    <a:pt x="898" y="3059"/>
                    <a:pt x="898" y="3059"/>
                  </a:cubicBezTo>
                  <a:cubicBezTo>
                    <a:pt x="899" y="3059"/>
                    <a:pt x="899" y="3060"/>
                    <a:pt x="899" y="3060"/>
                  </a:cubicBezTo>
                  <a:cubicBezTo>
                    <a:pt x="902" y="3061"/>
                    <a:pt x="905" y="3062"/>
                    <a:pt x="907" y="3062"/>
                  </a:cubicBezTo>
                  <a:cubicBezTo>
                    <a:pt x="908" y="3063"/>
                    <a:pt x="909" y="3063"/>
                    <a:pt x="911" y="3063"/>
                  </a:cubicBezTo>
                  <a:cubicBezTo>
                    <a:pt x="913" y="3064"/>
                    <a:pt x="915" y="3064"/>
                    <a:pt x="917" y="3065"/>
                  </a:cubicBezTo>
                  <a:cubicBezTo>
                    <a:pt x="919" y="3065"/>
                    <a:pt x="920" y="3065"/>
                    <a:pt x="921" y="3065"/>
                  </a:cubicBezTo>
                  <a:cubicBezTo>
                    <a:pt x="924" y="3065"/>
                    <a:pt x="927" y="3066"/>
                    <a:pt x="929" y="3066"/>
                  </a:cubicBezTo>
                  <a:cubicBezTo>
                    <a:pt x="930" y="3066"/>
                    <a:pt x="930" y="3066"/>
                    <a:pt x="931" y="3066"/>
                  </a:cubicBezTo>
                  <a:cubicBezTo>
                    <a:pt x="931" y="3066"/>
                    <a:pt x="931" y="3066"/>
                    <a:pt x="931" y="3066"/>
                  </a:cubicBezTo>
                  <a:cubicBezTo>
                    <a:pt x="931" y="3066"/>
                    <a:pt x="931" y="3066"/>
                    <a:pt x="931" y="3066"/>
                  </a:cubicBezTo>
                  <a:cubicBezTo>
                    <a:pt x="931" y="3066"/>
                    <a:pt x="931" y="3066"/>
                    <a:pt x="931" y="3066"/>
                  </a:cubicBezTo>
                  <a:cubicBezTo>
                    <a:pt x="2606" y="3066"/>
                    <a:pt x="2606" y="3066"/>
                    <a:pt x="2606" y="3066"/>
                  </a:cubicBezTo>
                  <a:cubicBezTo>
                    <a:pt x="2606" y="3066"/>
                    <a:pt x="2606" y="3066"/>
                    <a:pt x="2606" y="3066"/>
                  </a:cubicBezTo>
                  <a:cubicBezTo>
                    <a:pt x="2606" y="3066"/>
                    <a:pt x="2606" y="3066"/>
                    <a:pt x="2606" y="3066"/>
                  </a:cubicBezTo>
                  <a:cubicBezTo>
                    <a:pt x="2606" y="3066"/>
                    <a:pt x="2606" y="3066"/>
                    <a:pt x="2606" y="3066"/>
                  </a:cubicBezTo>
                  <a:cubicBezTo>
                    <a:pt x="2606" y="3066"/>
                    <a:pt x="2607" y="3066"/>
                    <a:pt x="2607" y="3066"/>
                  </a:cubicBezTo>
                  <a:cubicBezTo>
                    <a:pt x="2610" y="3066"/>
                    <a:pt x="2613" y="3065"/>
                    <a:pt x="2616" y="3065"/>
                  </a:cubicBezTo>
                  <a:cubicBezTo>
                    <a:pt x="2617" y="3065"/>
                    <a:pt x="2618" y="3065"/>
                    <a:pt x="2619" y="3065"/>
                  </a:cubicBezTo>
                  <a:cubicBezTo>
                    <a:pt x="2622" y="3064"/>
                    <a:pt x="2624" y="3064"/>
                    <a:pt x="2626" y="3063"/>
                  </a:cubicBezTo>
                  <a:cubicBezTo>
                    <a:pt x="2627" y="3063"/>
                    <a:pt x="2629" y="3063"/>
                    <a:pt x="2630" y="3062"/>
                  </a:cubicBezTo>
                  <a:cubicBezTo>
                    <a:pt x="2632" y="3062"/>
                    <a:pt x="2635" y="3061"/>
                    <a:pt x="2638" y="3060"/>
                  </a:cubicBezTo>
                  <a:cubicBezTo>
                    <a:pt x="2638" y="3059"/>
                    <a:pt x="2639" y="3059"/>
                    <a:pt x="2639" y="3059"/>
                  </a:cubicBezTo>
                  <a:cubicBezTo>
                    <a:pt x="2639" y="3059"/>
                    <a:pt x="2639" y="3059"/>
                    <a:pt x="2639" y="3059"/>
                  </a:cubicBezTo>
                  <a:cubicBezTo>
                    <a:pt x="2642" y="3058"/>
                    <a:pt x="2645" y="3056"/>
                    <a:pt x="2648" y="3055"/>
                  </a:cubicBezTo>
                  <a:cubicBezTo>
                    <a:pt x="2649" y="3054"/>
                    <a:pt x="2649" y="3054"/>
                    <a:pt x="2649" y="3054"/>
                  </a:cubicBezTo>
                  <a:cubicBezTo>
                    <a:pt x="2650" y="3054"/>
                    <a:pt x="2650" y="3054"/>
                    <a:pt x="2650" y="3054"/>
                  </a:cubicBezTo>
                  <a:cubicBezTo>
                    <a:pt x="2650" y="3054"/>
                    <a:pt x="2651" y="3053"/>
                    <a:pt x="2652" y="3053"/>
                  </a:cubicBezTo>
                  <a:cubicBezTo>
                    <a:pt x="2653" y="3052"/>
                    <a:pt x="2655" y="3051"/>
                    <a:pt x="2656" y="3050"/>
                  </a:cubicBezTo>
                  <a:cubicBezTo>
                    <a:pt x="2657" y="3049"/>
                    <a:pt x="2657" y="3049"/>
                    <a:pt x="2658" y="3049"/>
                  </a:cubicBezTo>
                  <a:cubicBezTo>
                    <a:pt x="2659" y="3048"/>
                    <a:pt x="2659" y="3048"/>
                    <a:pt x="2660" y="3047"/>
                  </a:cubicBezTo>
                  <a:cubicBezTo>
                    <a:pt x="2661" y="3046"/>
                    <a:pt x="2662" y="3046"/>
                    <a:pt x="2663" y="3045"/>
                  </a:cubicBezTo>
                  <a:cubicBezTo>
                    <a:pt x="2664" y="3044"/>
                    <a:pt x="2665" y="3043"/>
                    <a:pt x="2666" y="3042"/>
                  </a:cubicBezTo>
                  <a:cubicBezTo>
                    <a:pt x="2666" y="3041"/>
                    <a:pt x="2667" y="3041"/>
                    <a:pt x="2668" y="3040"/>
                  </a:cubicBezTo>
                  <a:cubicBezTo>
                    <a:pt x="2668" y="3040"/>
                    <a:pt x="2668" y="3039"/>
                    <a:pt x="2669" y="3039"/>
                  </a:cubicBezTo>
                  <a:cubicBezTo>
                    <a:pt x="2670" y="3038"/>
                    <a:pt x="2671" y="3037"/>
                    <a:pt x="2672" y="3035"/>
                  </a:cubicBezTo>
                  <a:cubicBezTo>
                    <a:pt x="2673" y="3034"/>
                    <a:pt x="2674" y="3034"/>
                    <a:pt x="2674" y="3033"/>
                  </a:cubicBezTo>
                  <a:cubicBezTo>
                    <a:pt x="2675" y="3032"/>
                    <a:pt x="2675" y="3032"/>
                    <a:pt x="2675" y="3032"/>
                  </a:cubicBezTo>
                  <a:cubicBezTo>
                    <a:pt x="2676" y="3031"/>
                    <a:pt x="2677" y="3030"/>
                    <a:pt x="2677" y="3029"/>
                  </a:cubicBezTo>
                  <a:cubicBezTo>
                    <a:pt x="2678" y="3028"/>
                    <a:pt x="2679" y="3027"/>
                    <a:pt x="2679" y="3026"/>
                  </a:cubicBezTo>
                  <a:cubicBezTo>
                    <a:pt x="2680" y="3025"/>
                    <a:pt x="2681" y="3024"/>
                    <a:pt x="2681" y="3022"/>
                  </a:cubicBezTo>
                  <a:cubicBezTo>
                    <a:pt x="2681" y="3022"/>
                    <a:pt x="2682" y="3022"/>
                    <a:pt x="2682" y="3022"/>
                  </a:cubicBezTo>
                  <a:cubicBezTo>
                    <a:pt x="3513" y="1577"/>
                    <a:pt x="3513" y="1577"/>
                    <a:pt x="3513" y="1577"/>
                  </a:cubicBezTo>
                  <a:cubicBezTo>
                    <a:pt x="3513" y="1576"/>
                    <a:pt x="3513" y="1576"/>
                    <a:pt x="3513" y="1576"/>
                  </a:cubicBezTo>
                  <a:cubicBezTo>
                    <a:pt x="3514" y="1575"/>
                    <a:pt x="3514" y="1574"/>
                    <a:pt x="3515" y="1573"/>
                  </a:cubicBezTo>
                  <a:cubicBezTo>
                    <a:pt x="3515" y="1572"/>
                    <a:pt x="3516" y="1571"/>
                    <a:pt x="3516" y="1570"/>
                  </a:cubicBezTo>
                  <a:close/>
                  <a:moveTo>
                    <a:pt x="3286" y="1446"/>
                  </a:moveTo>
                  <a:cubicBezTo>
                    <a:pt x="1920" y="1446"/>
                    <a:pt x="1920" y="1446"/>
                    <a:pt x="1920" y="1446"/>
                  </a:cubicBezTo>
                  <a:cubicBezTo>
                    <a:pt x="2606" y="263"/>
                    <a:pt x="2606" y="263"/>
                    <a:pt x="2606" y="263"/>
                  </a:cubicBezTo>
                  <a:lnTo>
                    <a:pt x="3286" y="1446"/>
                  </a:lnTo>
                  <a:close/>
                  <a:moveTo>
                    <a:pt x="1768" y="1359"/>
                  </a:moveTo>
                  <a:cubicBezTo>
                    <a:pt x="1083" y="175"/>
                    <a:pt x="1083" y="175"/>
                    <a:pt x="1083" y="175"/>
                  </a:cubicBezTo>
                  <a:cubicBezTo>
                    <a:pt x="2454" y="175"/>
                    <a:pt x="2454" y="175"/>
                    <a:pt x="2454" y="175"/>
                  </a:cubicBezTo>
                  <a:lnTo>
                    <a:pt x="1768" y="1359"/>
                  </a:lnTo>
                  <a:close/>
                  <a:moveTo>
                    <a:pt x="931" y="262"/>
                  </a:moveTo>
                  <a:cubicBezTo>
                    <a:pt x="1617" y="1446"/>
                    <a:pt x="1617" y="1446"/>
                    <a:pt x="1617" y="1446"/>
                  </a:cubicBezTo>
                  <a:cubicBezTo>
                    <a:pt x="240" y="1446"/>
                    <a:pt x="240" y="1446"/>
                    <a:pt x="240" y="1446"/>
                  </a:cubicBezTo>
                  <a:lnTo>
                    <a:pt x="931" y="262"/>
                  </a:lnTo>
                  <a:close/>
                  <a:moveTo>
                    <a:pt x="1617" y="1620"/>
                  </a:moveTo>
                  <a:cubicBezTo>
                    <a:pt x="931" y="2804"/>
                    <a:pt x="931" y="2804"/>
                    <a:pt x="931" y="2804"/>
                  </a:cubicBezTo>
                  <a:cubicBezTo>
                    <a:pt x="240" y="1620"/>
                    <a:pt x="240" y="1620"/>
                    <a:pt x="240" y="1620"/>
                  </a:cubicBezTo>
                  <a:lnTo>
                    <a:pt x="1617" y="1620"/>
                  </a:lnTo>
                  <a:close/>
                  <a:moveTo>
                    <a:pt x="1768" y="1707"/>
                  </a:moveTo>
                  <a:cubicBezTo>
                    <a:pt x="2454" y="2891"/>
                    <a:pt x="2454" y="2891"/>
                    <a:pt x="2454" y="2891"/>
                  </a:cubicBezTo>
                  <a:cubicBezTo>
                    <a:pt x="1083" y="2891"/>
                    <a:pt x="1083" y="2891"/>
                    <a:pt x="1083" y="2891"/>
                  </a:cubicBezTo>
                  <a:lnTo>
                    <a:pt x="1768" y="1707"/>
                  </a:lnTo>
                  <a:close/>
                  <a:moveTo>
                    <a:pt x="2606" y="2803"/>
                  </a:moveTo>
                  <a:cubicBezTo>
                    <a:pt x="1920" y="1620"/>
                    <a:pt x="1920" y="1620"/>
                    <a:pt x="1920" y="1620"/>
                  </a:cubicBezTo>
                  <a:cubicBezTo>
                    <a:pt x="3286" y="1620"/>
                    <a:pt x="3286" y="1620"/>
                    <a:pt x="3286" y="1620"/>
                  </a:cubicBezTo>
                  <a:lnTo>
                    <a:pt x="2606" y="280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89" name="Freeform 12">
              <a:extLst>
                <a:ext uri="{FF2B5EF4-FFF2-40B4-BE49-F238E27FC236}">
                  <a16:creationId xmlns:a16="http://schemas.microsoft.com/office/drawing/2014/main" id="{29E436C8-DDAF-9743-9BC0-FF19EAFDAA94}"/>
                </a:ext>
              </a:extLst>
            </p:cNvPr>
            <p:cNvSpPr>
              <a:spLocks/>
            </p:cNvSpPr>
            <p:nvPr/>
          </p:nvSpPr>
          <p:spPr bwMode="auto">
            <a:xfrm>
              <a:off x="2402" y="1143"/>
              <a:ext cx="946" cy="954"/>
            </a:xfrm>
            <a:custGeom>
              <a:avLst/>
              <a:gdLst>
                <a:gd name="T0" fmla="*/ 1005 w 1145"/>
                <a:gd name="T1" fmla="*/ 321 h 1156"/>
                <a:gd name="T2" fmla="*/ 827 w 1145"/>
                <a:gd name="T3" fmla="*/ 1015 h 1156"/>
                <a:gd name="T4" fmla="*/ 140 w 1145"/>
                <a:gd name="T5" fmla="*/ 835 h 1156"/>
                <a:gd name="T6" fmla="*/ 318 w 1145"/>
                <a:gd name="T7" fmla="*/ 141 h 1156"/>
                <a:gd name="T8" fmla="*/ 1005 w 1145"/>
                <a:gd name="T9" fmla="*/ 321 h 1156"/>
              </a:gdLst>
              <a:ahLst/>
              <a:cxnLst>
                <a:cxn ang="0">
                  <a:pos x="T0" y="T1"/>
                </a:cxn>
                <a:cxn ang="0">
                  <a:pos x="T2" y="T3"/>
                </a:cxn>
                <a:cxn ang="0">
                  <a:pos x="T4" y="T5"/>
                </a:cxn>
                <a:cxn ang="0">
                  <a:pos x="T6" y="T7"/>
                </a:cxn>
                <a:cxn ang="0">
                  <a:pos x="T8" y="T9"/>
                </a:cxn>
              </a:cxnLst>
              <a:rect l="0" t="0" r="r" b="b"/>
              <a:pathLst>
                <a:path w="1145" h="1156">
                  <a:moveTo>
                    <a:pt x="1005" y="321"/>
                  </a:moveTo>
                  <a:cubicBezTo>
                    <a:pt x="1145" y="565"/>
                    <a:pt x="1069" y="873"/>
                    <a:pt x="827" y="1015"/>
                  </a:cubicBezTo>
                  <a:cubicBezTo>
                    <a:pt x="585" y="1156"/>
                    <a:pt x="280" y="1079"/>
                    <a:pt x="140" y="835"/>
                  </a:cubicBezTo>
                  <a:cubicBezTo>
                    <a:pt x="0" y="591"/>
                    <a:pt x="76" y="282"/>
                    <a:pt x="318" y="141"/>
                  </a:cubicBezTo>
                  <a:cubicBezTo>
                    <a:pt x="559" y="0"/>
                    <a:pt x="865" y="77"/>
                    <a:pt x="1005" y="321"/>
                  </a:cubicBezTo>
                </a:path>
              </a:pathLst>
            </a:custGeom>
            <a:solidFill>
              <a:srgbClr val="FBAB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90" name="Freeform 13">
              <a:extLst>
                <a:ext uri="{FF2B5EF4-FFF2-40B4-BE49-F238E27FC236}">
                  <a16:creationId xmlns:a16="http://schemas.microsoft.com/office/drawing/2014/main" id="{FF351953-20C9-6D44-84A6-3DAD6FE584EA}"/>
                </a:ext>
              </a:extLst>
            </p:cNvPr>
            <p:cNvSpPr>
              <a:spLocks noEditPoints="1"/>
            </p:cNvSpPr>
            <p:nvPr/>
          </p:nvSpPr>
          <p:spPr bwMode="auto">
            <a:xfrm>
              <a:off x="1078" y="-61"/>
              <a:ext cx="2973" cy="3362"/>
            </a:xfrm>
            <a:custGeom>
              <a:avLst/>
              <a:gdLst>
                <a:gd name="T0" fmla="*/ 3455 w 3596"/>
                <a:gd name="T1" fmla="*/ 3241 h 4072"/>
                <a:gd name="T2" fmla="*/ 3263 w 3596"/>
                <a:gd name="T3" fmla="*/ 3931 h 4072"/>
                <a:gd name="T4" fmla="*/ 2573 w 3596"/>
                <a:gd name="T5" fmla="*/ 3740 h 4072"/>
                <a:gd name="T6" fmla="*/ 2764 w 3596"/>
                <a:gd name="T7" fmla="*/ 3050 h 4072"/>
                <a:gd name="T8" fmla="*/ 3455 w 3596"/>
                <a:gd name="T9" fmla="*/ 3241 h 4072"/>
                <a:gd name="T10" fmla="*/ 505 w 3596"/>
                <a:gd name="T11" fmla="*/ 1525 h 4072"/>
                <a:gd name="T12" fmla="*/ 0 w 3596"/>
                <a:gd name="T13" fmla="*/ 2036 h 4072"/>
                <a:gd name="T14" fmla="*/ 505 w 3596"/>
                <a:gd name="T15" fmla="*/ 2546 h 4072"/>
                <a:gd name="T16" fmla="*/ 1009 w 3596"/>
                <a:gd name="T17" fmla="*/ 2036 h 4072"/>
                <a:gd name="T18" fmla="*/ 505 w 3596"/>
                <a:gd name="T19" fmla="*/ 1525 h 4072"/>
                <a:gd name="T20" fmla="*/ 2764 w 3596"/>
                <a:gd name="T21" fmla="*/ 1027 h 4072"/>
                <a:gd name="T22" fmla="*/ 3455 w 3596"/>
                <a:gd name="T23" fmla="*/ 835 h 4072"/>
                <a:gd name="T24" fmla="*/ 3263 w 3596"/>
                <a:gd name="T25" fmla="*/ 141 h 4072"/>
                <a:gd name="T26" fmla="*/ 2573 w 3596"/>
                <a:gd name="T27" fmla="*/ 334 h 4072"/>
                <a:gd name="T28" fmla="*/ 2764 w 3596"/>
                <a:gd name="T29" fmla="*/ 1027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96" h="4072">
                  <a:moveTo>
                    <a:pt x="3455" y="3241"/>
                  </a:moveTo>
                  <a:cubicBezTo>
                    <a:pt x="3596" y="3484"/>
                    <a:pt x="3506" y="3791"/>
                    <a:pt x="3263" y="3931"/>
                  </a:cubicBezTo>
                  <a:cubicBezTo>
                    <a:pt x="3020" y="4072"/>
                    <a:pt x="2713" y="3982"/>
                    <a:pt x="2573" y="3740"/>
                  </a:cubicBezTo>
                  <a:cubicBezTo>
                    <a:pt x="2432" y="3497"/>
                    <a:pt x="2521" y="3190"/>
                    <a:pt x="2764" y="3050"/>
                  </a:cubicBezTo>
                  <a:cubicBezTo>
                    <a:pt x="3007" y="2909"/>
                    <a:pt x="3314" y="2999"/>
                    <a:pt x="3455" y="3241"/>
                  </a:cubicBezTo>
                  <a:close/>
                  <a:moveTo>
                    <a:pt x="505" y="1525"/>
                  </a:moveTo>
                  <a:cubicBezTo>
                    <a:pt x="226" y="1525"/>
                    <a:pt x="0" y="1754"/>
                    <a:pt x="0" y="2036"/>
                  </a:cubicBezTo>
                  <a:cubicBezTo>
                    <a:pt x="0" y="2318"/>
                    <a:pt x="226" y="2546"/>
                    <a:pt x="505" y="2546"/>
                  </a:cubicBezTo>
                  <a:cubicBezTo>
                    <a:pt x="783" y="2546"/>
                    <a:pt x="1009" y="2318"/>
                    <a:pt x="1009" y="2036"/>
                  </a:cubicBezTo>
                  <a:cubicBezTo>
                    <a:pt x="1009" y="1754"/>
                    <a:pt x="783" y="1525"/>
                    <a:pt x="505" y="1525"/>
                  </a:cubicBezTo>
                  <a:close/>
                  <a:moveTo>
                    <a:pt x="2764" y="1027"/>
                  </a:moveTo>
                  <a:cubicBezTo>
                    <a:pt x="3007" y="1169"/>
                    <a:pt x="3314" y="1079"/>
                    <a:pt x="3455" y="835"/>
                  </a:cubicBezTo>
                  <a:cubicBezTo>
                    <a:pt x="3596" y="591"/>
                    <a:pt x="3506" y="283"/>
                    <a:pt x="3263" y="141"/>
                  </a:cubicBezTo>
                  <a:cubicBezTo>
                    <a:pt x="3020" y="0"/>
                    <a:pt x="2713" y="90"/>
                    <a:pt x="2573" y="334"/>
                  </a:cubicBezTo>
                  <a:cubicBezTo>
                    <a:pt x="2432" y="578"/>
                    <a:pt x="2521" y="886"/>
                    <a:pt x="2764" y="102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91" name="Freeform 14">
              <a:extLst>
                <a:ext uri="{FF2B5EF4-FFF2-40B4-BE49-F238E27FC236}">
                  <a16:creationId xmlns:a16="http://schemas.microsoft.com/office/drawing/2014/main" id="{993A6C15-B8D8-3A4B-B851-111F59B4988B}"/>
                </a:ext>
              </a:extLst>
            </p:cNvPr>
            <p:cNvSpPr>
              <a:spLocks noEditPoints="1"/>
            </p:cNvSpPr>
            <p:nvPr/>
          </p:nvSpPr>
          <p:spPr bwMode="auto">
            <a:xfrm>
              <a:off x="1704" y="-61"/>
              <a:ext cx="2978" cy="3362"/>
            </a:xfrm>
            <a:custGeom>
              <a:avLst/>
              <a:gdLst>
                <a:gd name="T0" fmla="*/ 1018 w 3602"/>
                <a:gd name="T1" fmla="*/ 334 h 4072"/>
                <a:gd name="T2" fmla="*/ 827 w 3602"/>
                <a:gd name="T3" fmla="*/ 1027 h 4072"/>
                <a:gd name="T4" fmla="*/ 140 w 3602"/>
                <a:gd name="T5" fmla="*/ 835 h 4072"/>
                <a:gd name="T6" fmla="*/ 331 w 3602"/>
                <a:gd name="T7" fmla="*/ 141 h 4072"/>
                <a:gd name="T8" fmla="*/ 1018 w 3602"/>
                <a:gd name="T9" fmla="*/ 334 h 4072"/>
                <a:gd name="T10" fmla="*/ 3091 w 3602"/>
                <a:gd name="T11" fmla="*/ 1525 h 4072"/>
                <a:gd name="T12" fmla="*/ 2580 w 3602"/>
                <a:gd name="T13" fmla="*/ 2036 h 4072"/>
                <a:gd name="T14" fmla="*/ 3091 w 3602"/>
                <a:gd name="T15" fmla="*/ 2546 h 4072"/>
                <a:gd name="T16" fmla="*/ 3602 w 3602"/>
                <a:gd name="T17" fmla="*/ 2036 h 4072"/>
                <a:gd name="T18" fmla="*/ 3091 w 3602"/>
                <a:gd name="T19" fmla="*/ 1525 h 4072"/>
                <a:gd name="T20" fmla="*/ 827 w 3602"/>
                <a:gd name="T21" fmla="*/ 3050 h 4072"/>
                <a:gd name="T22" fmla="*/ 140 w 3602"/>
                <a:gd name="T23" fmla="*/ 3241 h 4072"/>
                <a:gd name="T24" fmla="*/ 331 w 3602"/>
                <a:gd name="T25" fmla="*/ 3931 h 4072"/>
                <a:gd name="T26" fmla="*/ 1018 w 3602"/>
                <a:gd name="T27" fmla="*/ 3740 h 4072"/>
                <a:gd name="T28" fmla="*/ 827 w 3602"/>
                <a:gd name="T29" fmla="*/ 3050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02" h="4072">
                  <a:moveTo>
                    <a:pt x="1018" y="334"/>
                  </a:moveTo>
                  <a:cubicBezTo>
                    <a:pt x="1158" y="578"/>
                    <a:pt x="1069" y="886"/>
                    <a:pt x="827" y="1027"/>
                  </a:cubicBezTo>
                  <a:cubicBezTo>
                    <a:pt x="585" y="1169"/>
                    <a:pt x="280" y="1079"/>
                    <a:pt x="140" y="835"/>
                  </a:cubicBezTo>
                  <a:cubicBezTo>
                    <a:pt x="0" y="591"/>
                    <a:pt x="89" y="283"/>
                    <a:pt x="331" y="141"/>
                  </a:cubicBezTo>
                  <a:cubicBezTo>
                    <a:pt x="572" y="0"/>
                    <a:pt x="878" y="90"/>
                    <a:pt x="1018" y="334"/>
                  </a:cubicBezTo>
                  <a:close/>
                  <a:moveTo>
                    <a:pt x="3091" y="1525"/>
                  </a:moveTo>
                  <a:cubicBezTo>
                    <a:pt x="2809" y="1525"/>
                    <a:pt x="2580" y="1754"/>
                    <a:pt x="2580" y="2036"/>
                  </a:cubicBezTo>
                  <a:cubicBezTo>
                    <a:pt x="2580" y="2318"/>
                    <a:pt x="2809" y="2546"/>
                    <a:pt x="3091" y="2546"/>
                  </a:cubicBezTo>
                  <a:cubicBezTo>
                    <a:pt x="3373" y="2546"/>
                    <a:pt x="3602" y="2318"/>
                    <a:pt x="3602" y="2036"/>
                  </a:cubicBezTo>
                  <a:cubicBezTo>
                    <a:pt x="3602" y="1754"/>
                    <a:pt x="3373" y="1525"/>
                    <a:pt x="3091" y="1525"/>
                  </a:cubicBezTo>
                  <a:close/>
                  <a:moveTo>
                    <a:pt x="827" y="3050"/>
                  </a:moveTo>
                  <a:cubicBezTo>
                    <a:pt x="585" y="2909"/>
                    <a:pt x="280" y="2999"/>
                    <a:pt x="140" y="3241"/>
                  </a:cubicBezTo>
                  <a:cubicBezTo>
                    <a:pt x="0" y="3484"/>
                    <a:pt x="89" y="3791"/>
                    <a:pt x="331" y="3931"/>
                  </a:cubicBezTo>
                  <a:cubicBezTo>
                    <a:pt x="572" y="4072"/>
                    <a:pt x="878" y="3982"/>
                    <a:pt x="1018" y="3740"/>
                  </a:cubicBezTo>
                  <a:cubicBezTo>
                    <a:pt x="1158" y="3497"/>
                    <a:pt x="1069" y="3190"/>
                    <a:pt x="827" y="3050"/>
                  </a:cubicBezTo>
                  <a:close/>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grpSp>
      <p:sp>
        <p:nvSpPr>
          <p:cNvPr id="193" name="Freeform 6">
            <a:extLst>
              <a:ext uri="{FF2B5EF4-FFF2-40B4-BE49-F238E27FC236}">
                <a16:creationId xmlns:a16="http://schemas.microsoft.com/office/drawing/2014/main" id="{FDE02D32-7B55-8C4C-AE2F-572C155F0E6B}"/>
              </a:ext>
            </a:extLst>
          </p:cNvPr>
          <p:cNvSpPr>
            <a:spLocks/>
          </p:cNvSpPr>
          <p:nvPr/>
        </p:nvSpPr>
        <p:spPr bwMode="auto">
          <a:xfrm>
            <a:off x="5572585" y="2640695"/>
            <a:ext cx="311864" cy="308501"/>
          </a:xfrm>
          <a:custGeom>
            <a:avLst/>
            <a:gdLst>
              <a:gd name="T0" fmla="*/ 1529 w 3053"/>
              <a:gd name="T1" fmla="*/ 0 h 3023"/>
              <a:gd name="T2" fmla="*/ 2609 w 3053"/>
              <a:gd name="T3" fmla="*/ 443 h 3023"/>
              <a:gd name="T4" fmla="*/ 3053 w 3053"/>
              <a:gd name="T5" fmla="*/ 1520 h 3023"/>
              <a:gd name="T6" fmla="*/ 2962 w 3053"/>
              <a:gd name="T7" fmla="*/ 1974 h 3023"/>
              <a:gd name="T8" fmla="*/ 2757 w 3053"/>
              <a:gd name="T9" fmla="*/ 2331 h 3023"/>
              <a:gd name="T10" fmla="*/ 2439 w 3053"/>
              <a:gd name="T11" fmla="*/ 2666 h 3023"/>
              <a:gd name="T12" fmla="*/ 2274 w 3053"/>
              <a:gd name="T13" fmla="*/ 2859 h 3023"/>
              <a:gd name="T14" fmla="*/ 2200 w 3053"/>
              <a:gd name="T15" fmla="*/ 2972 h 3023"/>
              <a:gd name="T16" fmla="*/ 2115 w 3053"/>
              <a:gd name="T17" fmla="*/ 3023 h 3023"/>
              <a:gd name="T18" fmla="*/ 938 w 3053"/>
              <a:gd name="T19" fmla="*/ 3023 h 3023"/>
              <a:gd name="T20" fmla="*/ 858 w 3053"/>
              <a:gd name="T21" fmla="*/ 2978 h 3023"/>
              <a:gd name="T22" fmla="*/ 813 w 3053"/>
              <a:gd name="T23" fmla="*/ 2904 h 3023"/>
              <a:gd name="T24" fmla="*/ 705 w 3053"/>
              <a:gd name="T25" fmla="*/ 2757 h 3023"/>
              <a:gd name="T26" fmla="*/ 614 w 3053"/>
              <a:gd name="T27" fmla="*/ 2666 h 3023"/>
              <a:gd name="T28" fmla="*/ 409 w 3053"/>
              <a:gd name="T29" fmla="*/ 2468 h 3023"/>
              <a:gd name="T30" fmla="*/ 97 w 3053"/>
              <a:gd name="T31" fmla="*/ 1974 h 3023"/>
              <a:gd name="T32" fmla="*/ 0 w 3053"/>
              <a:gd name="T33" fmla="*/ 1520 h 3023"/>
              <a:gd name="T34" fmla="*/ 449 w 3053"/>
              <a:gd name="T35" fmla="*/ 443 h 3023"/>
              <a:gd name="T36" fmla="*/ 1529 w 3053"/>
              <a:gd name="T37" fmla="*/ 0 h 3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53" h="3023">
                <a:moveTo>
                  <a:pt x="1529" y="0"/>
                </a:moveTo>
                <a:cubicBezTo>
                  <a:pt x="1950" y="0"/>
                  <a:pt x="2331" y="170"/>
                  <a:pt x="2609" y="443"/>
                </a:cubicBezTo>
                <a:cubicBezTo>
                  <a:pt x="2882" y="721"/>
                  <a:pt x="3053" y="1101"/>
                  <a:pt x="3053" y="1520"/>
                </a:cubicBezTo>
                <a:cubicBezTo>
                  <a:pt x="3053" y="1685"/>
                  <a:pt x="3018" y="1838"/>
                  <a:pt x="2962" y="1974"/>
                </a:cubicBezTo>
                <a:cubicBezTo>
                  <a:pt x="2905" y="2110"/>
                  <a:pt x="2831" y="2235"/>
                  <a:pt x="2757" y="2331"/>
                </a:cubicBezTo>
                <a:cubicBezTo>
                  <a:pt x="2609" y="2530"/>
                  <a:pt x="2456" y="2655"/>
                  <a:pt x="2439" y="2666"/>
                </a:cubicBezTo>
                <a:cubicBezTo>
                  <a:pt x="2376" y="2717"/>
                  <a:pt x="2314" y="2791"/>
                  <a:pt x="2274" y="2859"/>
                </a:cubicBezTo>
                <a:cubicBezTo>
                  <a:pt x="2228" y="2921"/>
                  <a:pt x="2200" y="2972"/>
                  <a:pt x="2200" y="2972"/>
                </a:cubicBezTo>
                <a:cubicBezTo>
                  <a:pt x="2183" y="3006"/>
                  <a:pt x="2154" y="3023"/>
                  <a:pt x="2115" y="3023"/>
                </a:cubicBezTo>
                <a:cubicBezTo>
                  <a:pt x="2115" y="3023"/>
                  <a:pt x="2115" y="3023"/>
                  <a:pt x="938" y="3023"/>
                </a:cubicBezTo>
                <a:cubicBezTo>
                  <a:pt x="904" y="3023"/>
                  <a:pt x="875" y="3006"/>
                  <a:pt x="858" y="2978"/>
                </a:cubicBezTo>
                <a:cubicBezTo>
                  <a:pt x="858" y="2978"/>
                  <a:pt x="830" y="2927"/>
                  <a:pt x="813" y="2904"/>
                </a:cubicBezTo>
                <a:cubicBezTo>
                  <a:pt x="785" y="2859"/>
                  <a:pt x="750" y="2808"/>
                  <a:pt x="705" y="2757"/>
                </a:cubicBezTo>
                <a:cubicBezTo>
                  <a:pt x="677" y="2723"/>
                  <a:pt x="642" y="2689"/>
                  <a:pt x="614" y="2666"/>
                </a:cubicBezTo>
                <a:cubicBezTo>
                  <a:pt x="603" y="2655"/>
                  <a:pt x="517" y="2587"/>
                  <a:pt x="409" y="2468"/>
                </a:cubicBezTo>
                <a:cubicBezTo>
                  <a:pt x="307" y="2348"/>
                  <a:pt x="182" y="2178"/>
                  <a:pt x="97" y="1974"/>
                </a:cubicBezTo>
                <a:cubicBezTo>
                  <a:pt x="40" y="1838"/>
                  <a:pt x="0" y="1685"/>
                  <a:pt x="0" y="1520"/>
                </a:cubicBezTo>
                <a:cubicBezTo>
                  <a:pt x="0" y="1101"/>
                  <a:pt x="176" y="721"/>
                  <a:pt x="449" y="443"/>
                </a:cubicBezTo>
                <a:cubicBezTo>
                  <a:pt x="728" y="170"/>
                  <a:pt x="1109" y="0"/>
                  <a:pt x="1529"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128"/>
            </a:endParaRPr>
          </a:p>
        </p:txBody>
      </p:sp>
      <p:sp>
        <p:nvSpPr>
          <p:cNvPr id="196" name="Rectangle 195">
            <a:extLst>
              <a:ext uri="{FF2B5EF4-FFF2-40B4-BE49-F238E27FC236}">
                <a16:creationId xmlns:a16="http://schemas.microsoft.com/office/drawing/2014/main" id="{58382351-2531-F941-99DF-C2F5AB70F4B3}"/>
              </a:ext>
            </a:extLst>
          </p:cNvPr>
          <p:cNvSpPr/>
          <p:nvPr/>
        </p:nvSpPr>
        <p:spPr>
          <a:xfrm>
            <a:off x="5055873" y="3195336"/>
            <a:ext cx="710187" cy="338554"/>
          </a:xfrm>
          <a:prstGeom prst="rect">
            <a:avLst/>
          </a:prstGeom>
        </p:spPr>
        <p:txBody>
          <a:bodyPr wrap="square">
            <a:spAutoFit/>
          </a:bodyPr>
          <a:lstStyle/>
          <a:p>
            <a:pPr marL="0" marR="0" lvl="0" indent="0" algn="ctr" defTabSz="457166" rtl="0" eaLnBrk="0" fontAlgn="base" latinLnBrk="0" hangingPunct="0">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005073"/>
                </a:solidFill>
                <a:effectLst/>
                <a:uLnTx/>
                <a:uFillTx/>
                <a:latin typeface="Arial"/>
                <a:ea typeface="ＭＳ Ｐゴシック" charset="-128"/>
              </a:rPr>
              <a:t>Licensing / Usage</a:t>
            </a:r>
          </a:p>
        </p:txBody>
      </p:sp>
      <p:cxnSp>
        <p:nvCxnSpPr>
          <p:cNvPr id="197" name="Straight Connector 196">
            <a:extLst>
              <a:ext uri="{FF2B5EF4-FFF2-40B4-BE49-F238E27FC236}">
                <a16:creationId xmlns:a16="http://schemas.microsoft.com/office/drawing/2014/main" id="{644317AF-145D-A346-81A4-998C089B13E4}"/>
              </a:ext>
            </a:extLst>
          </p:cNvPr>
          <p:cNvCxnSpPr>
            <a:cxnSpLocks/>
          </p:cNvCxnSpPr>
          <p:nvPr/>
        </p:nvCxnSpPr>
        <p:spPr>
          <a:xfrm>
            <a:off x="4058587" y="2808615"/>
            <a:ext cx="0" cy="233005"/>
          </a:xfrm>
          <a:prstGeom prst="line">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98" name="TextBox 197">
            <a:extLst>
              <a:ext uri="{FF2B5EF4-FFF2-40B4-BE49-F238E27FC236}">
                <a16:creationId xmlns:a16="http://schemas.microsoft.com/office/drawing/2014/main" id="{B4BA974B-636A-FF4E-BBE1-B7A27E0EEBCE}"/>
              </a:ext>
            </a:extLst>
          </p:cNvPr>
          <p:cNvSpPr txBox="1"/>
          <p:nvPr/>
        </p:nvSpPr>
        <p:spPr>
          <a:xfrm>
            <a:off x="2798903" y="3090692"/>
            <a:ext cx="707792" cy="461665"/>
          </a:xfrm>
          <a:prstGeom prst="rect">
            <a:avLst/>
          </a:prstGeom>
          <a:noFill/>
        </p:spPr>
        <p:txBody>
          <a:bodyPr wrap="square" rtlCol="0">
            <a:spAutoFit/>
          </a:bodyPr>
          <a:lstStyle/>
          <a:p>
            <a:pPr marL="0" marR="0" lvl="0" indent="0" algn="r" defTabSz="457178"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ＭＳ Ｐゴシック" charset="-128"/>
              </a:rPr>
              <a:t>Correlate against  Database</a:t>
            </a:r>
          </a:p>
        </p:txBody>
      </p:sp>
      <p:sp>
        <p:nvSpPr>
          <p:cNvPr id="16" name="Right Arrow 15">
            <a:extLst>
              <a:ext uri="{FF2B5EF4-FFF2-40B4-BE49-F238E27FC236}">
                <a16:creationId xmlns:a16="http://schemas.microsoft.com/office/drawing/2014/main" id="{2BC8A56F-C332-204B-92C0-6CC2AC1B88F6}"/>
              </a:ext>
            </a:extLst>
          </p:cNvPr>
          <p:cNvSpPr/>
          <p:nvPr/>
        </p:nvSpPr>
        <p:spPr>
          <a:xfrm>
            <a:off x="6705938" y="2684764"/>
            <a:ext cx="193805" cy="27239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96" name="TextBox 95">
            <a:extLst>
              <a:ext uri="{FF2B5EF4-FFF2-40B4-BE49-F238E27FC236}">
                <a16:creationId xmlns:a16="http://schemas.microsoft.com/office/drawing/2014/main" id="{850DE139-960A-5E47-9E6D-C6E746A78266}"/>
              </a:ext>
            </a:extLst>
          </p:cNvPr>
          <p:cNvSpPr txBox="1"/>
          <p:nvPr/>
        </p:nvSpPr>
        <p:spPr>
          <a:xfrm>
            <a:off x="1183277" y="4018703"/>
            <a:ext cx="6868883" cy="387798"/>
          </a:xfrm>
          <a:prstGeom prst="rect">
            <a:avLst/>
          </a:prstGeom>
          <a:noFill/>
        </p:spPr>
        <p:txBody>
          <a:bodyPr wrap="square" rtlCol="0">
            <a:spAutoFit/>
          </a:bodyPr>
          <a:lstStyle/>
          <a:p>
            <a:pPr marL="609570" marR="0" lvl="0" indent="-609570" algn="ctr" defTabSz="912239" rtl="0" eaLnBrk="0" fontAlgn="base" latinLnBrk="0" hangingPunct="0">
              <a:lnSpc>
                <a:spcPct val="8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2"/>
                </a:solidFill>
                <a:effectLst/>
                <a:uLnTx/>
                <a:uFillTx/>
                <a:ea typeface="CiscoSansTT Thin" charset="0"/>
                <a:cs typeface="Arial" panose="020B0604020202020204" pitchFamily="34" charset="0"/>
              </a:rPr>
              <a:t>Increase Availability Performance Security</a:t>
            </a:r>
          </a:p>
        </p:txBody>
      </p:sp>
      <p:sp>
        <p:nvSpPr>
          <p:cNvPr id="98" name="TextBox 97">
            <a:extLst>
              <a:ext uri="{FF2B5EF4-FFF2-40B4-BE49-F238E27FC236}">
                <a16:creationId xmlns:a16="http://schemas.microsoft.com/office/drawing/2014/main" id="{F45F2247-46E5-5343-9C93-E50E466DAD86}"/>
              </a:ext>
            </a:extLst>
          </p:cNvPr>
          <p:cNvSpPr txBox="1"/>
          <p:nvPr/>
        </p:nvSpPr>
        <p:spPr>
          <a:xfrm>
            <a:off x="-7961" y="4421268"/>
            <a:ext cx="9144000" cy="584775"/>
          </a:xfrm>
          <a:prstGeom prst="rect">
            <a:avLst/>
          </a:prstGeom>
          <a:noFill/>
        </p:spPr>
        <p:txBody>
          <a:bodyPr wrap="square" rtlCol="0">
            <a:spAutoFit/>
          </a:bodyPr>
          <a:lstStyle/>
          <a:p>
            <a:pPr marL="0" marR="0" lvl="0" indent="0" algn="ctr" defTabSz="60957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2"/>
                </a:solidFill>
                <a:effectLst/>
                <a:uLnTx/>
                <a:uFillTx/>
                <a:ea typeface="CiscoSansTT" charset="0"/>
                <a:cs typeface="Arial" panose="020B0604020202020204" pitchFamily="34" charset="0"/>
              </a:rPr>
              <a:t>Leverage Knowledge Base of Digitized Known Issues</a:t>
            </a:r>
          </a:p>
          <a:p>
            <a:pPr marL="0" marR="0" lvl="0" indent="0" algn="ctr" defTabSz="60957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2"/>
                </a:solidFill>
                <a:effectLst/>
                <a:uLnTx/>
                <a:uFillTx/>
                <a:ea typeface="CiscoSansTT" charset="0"/>
                <a:cs typeface="Arial" panose="020B0604020202020204" pitchFamily="34" charset="0"/>
              </a:rPr>
              <a:t>ACI | NX-OS</a:t>
            </a:r>
          </a:p>
        </p:txBody>
      </p:sp>
      <p:sp>
        <p:nvSpPr>
          <p:cNvPr id="99" name="TextBox 98">
            <a:extLst>
              <a:ext uri="{FF2B5EF4-FFF2-40B4-BE49-F238E27FC236}">
                <a16:creationId xmlns:a16="http://schemas.microsoft.com/office/drawing/2014/main" id="{E99AAB3E-DDCA-D243-93EA-651EFB0A2A03}"/>
              </a:ext>
            </a:extLst>
          </p:cNvPr>
          <p:cNvSpPr txBox="1"/>
          <p:nvPr/>
        </p:nvSpPr>
        <p:spPr>
          <a:xfrm>
            <a:off x="697976" y="3040692"/>
            <a:ext cx="1057000" cy="219291"/>
          </a:xfrm>
          <a:prstGeom prst="rect">
            <a:avLst/>
          </a:prstGeom>
          <a:noFill/>
        </p:spPr>
        <p:txBody>
          <a:bodyPr wrap="square" rtlCol="0">
            <a:spAutoFit/>
          </a:bodyPr>
          <a:lstStyle/>
          <a:p>
            <a:pPr marL="0" marR="0" lvl="0" indent="0" algn="ctr" defTabSz="457178" rtl="0" eaLnBrk="0" fontAlgn="base" latinLnBrk="0" hangingPunct="0">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srgbClr val="FBAB18"/>
                </a:solidFill>
                <a:effectLst/>
                <a:uLnTx/>
                <a:uFillTx/>
                <a:latin typeface="Arial"/>
                <a:ea typeface="CiscoSans ExtraLight" charset="0"/>
                <a:cs typeface="CiscoSans ExtraLight" charset="0"/>
              </a:rPr>
              <a:t>Topology</a:t>
            </a:r>
          </a:p>
        </p:txBody>
      </p:sp>
    </p:spTree>
    <p:extLst>
      <p:ext uri="{BB962C8B-B14F-4D97-AF65-F5344CB8AC3E}">
        <p14:creationId xmlns:p14="http://schemas.microsoft.com/office/powerpoint/2010/main" val="1324076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134C7-155B-EE44-B23E-44E49F534725}"/>
              </a:ext>
            </a:extLst>
          </p:cNvPr>
          <p:cNvSpPr>
            <a:spLocks noGrp="1"/>
          </p:cNvSpPr>
          <p:nvPr>
            <p:ph type="title"/>
          </p:nvPr>
        </p:nvSpPr>
        <p:spPr/>
        <p:txBody>
          <a:bodyPr/>
          <a:lstStyle/>
          <a:p>
            <a:r>
              <a:rPr lang="en-US" dirty="0"/>
              <a:t>Cisco CVIM POD Options</a:t>
            </a:r>
          </a:p>
        </p:txBody>
      </p:sp>
      <p:pic>
        <p:nvPicPr>
          <p:cNvPr id="3" name="Picture 2">
            <a:extLst>
              <a:ext uri="{FF2B5EF4-FFF2-40B4-BE49-F238E27FC236}">
                <a16:creationId xmlns:a16="http://schemas.microsoft.com/office/drawing/2014/main" id="{3D80056D-53E4-9240-AE47-FE12F66EFDCD}"/>
              </a:ext>
            </a:extLst>
          </p:cNvPr>
          <p:cNvPicPr>
            <a:picLocks noChangeAspect="1"/>
          </p:cNvPicPr>
          <p:nvPr/>
        </p:nvPicPr>
        <p:blipFill>
          <a:blip r:embed="rId2"/>
          <a:stretch>
            <a:fillRect/>
          </a:stretch>
        </p:blipFill>
        <p:spPr>
          <a:xfrm>
            <a:off x="437765" y="1178834"/>
            <a:ext cx="8345487" cy="3964666"/>
          </a:xfrm>
          <a:prstGeom prst="rect">
            <a:avLst/>
          </a:prstGeom>
        </p:spPr>
      </p:pic>
    </p:spTree>
    <p:extLst>
      <p:ext uri="{BB962C8B-B14F-4D97-AF65-F5344CB8AC3E}">
        <p14:creationId xmlns:p14="http://schemas.microsoft.com/office/powerpoint/2010/main" val="39522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851BF0-C3A9-A24C-B27B-10476EFFCE91}"/>
              </a:ext>
            </a:extLst>
          </p:cNvPr>
          <p:cNvSpPr>
            <a:spLocks noGrp="1"/>
          </p:cNvSpPr>
          <p:nvPr>
            <p:ph type="body" sz="quarter" idx="10"/>
          </p:nvPr>
        </p:nvSpPr>
        <p:spPr>
          <a:xfrm>
            <a:off x="267285" y="1073149"/>
            <a:ext cx="3960573" cy="3529847"/>
          </a:xfrm>
        </p:spPr>
        <p:txBody>
          <a:bodyPr/>
          <a:lstStyle/>
          <a:p>
            <a:r>
              <a:rPr lang="en-US" sz="1050" b="1" dirty="0"/>
              <a:t>Each RDC hosts 1 x 7-rack pods.</a:t>
            </a:r>
          </a:p>
          <a:p>
            <a:r>
              <a:rPr lang="en-US" sz="1050" dirty="0"/>
              <a:t>Leaf switches (93180YC) aggregate connections and traffic for the servers in the rack.</a:t>
            </a:r>
          </a:p>
          <a:p>
            <a:r>
              <a:rPr lang="en-US" sz="1050" dirty="0"/>
              <a:t>Spine switches (9364) aggregate connections and traffic between the leaf switches and the external world.</a:t>
            </a:r>
          </a:p>
          <a:p>
            <a:r>
              <a:rPr lang="en-US" sz="1050" dirty="0"/>
              <a:t>Catalyst management switches (3850) aggregate 1G copper connections for out of band O&amp;AM  </a:t>
            </a:r>
          </a:p>
          <a:p>
            <a:r>
              <a:rPr lang="en-US" sz="1050" dirty="0"/>
              <a:t>8 servers in the pod hosting CVIM (OpenStack) management and storage functions.  OpenStack required to deploy and manage VMs on all Cloud Native infrastructure servers</a:t>
            </a:r>
          </a:p>
          <a:p>
            <a:r>
              <a:rPr lang="en-US" sz="1050" dirty="0"/>
              <a:t>2 servers in the pod host as spares</a:t>
            </a:r>
          </a:p>
          <a:p>
            <a:r>
              <a:rPr lang="en-US" sz="1050" dirty="0"/>
              <a:t>96 servers in the pod host VNFs</a:t>
            </a:r>
          </a:p>
        </p:txBody>
      </p:sp>
      <p:sp>
        <p:nvSpPr>
          <p:cNvPr id="3" name="Title 2">
            <a:extLst>
              <a:ext uri="{FF2B5EF4-FFF2-40B4-BE49-F238E27FC236}">
                <a16:creationId xmlns:a16="http://schemas.microsoft.com/office/drawing/2014/main" id="{D5010D6A-9AEC-0749-BCD0-10DF2B6FEA98}"/>
              </a:ext>
            </a:extLst>
          </p:cNvPr>
          <p:cNvSpPr>
            <a:spLocks noGrp="1"/>
          </p:cNvSpPr>
          <p:nvPr>
            <p:ph type="title"/>
          </p:nvPr>
        </p:nvSpPr>
        <p:spPr>
          <a:xfrm>
            <a:off x="461013" y="174585"/>
            <a:ext cx="8345488" cy="731837"/>
          </a:xfrm>
        </p:spPr>
        <p:txBody>
          <a:bodyPr/>
          <a:lstStyle/>
          <a:p>
            <a:r>
              <a:rPr lang="en-US" dirty="0"/>
              <a:t>NDC Pod Design Details</a:t>
            </a:r>
          </a:p>
        </p:txBody>
      </p:sp>
      <p:sp>
        <p:nvSpPr>
          <p:cNvPr id="74" name="TextBox 73">
            <a:extLst>
              <a:ext uri="{FF2B5EF4-FFF2-40B4-BE49-F238E27FC236}">
                <a16:creationId xmlns:a16="http://schemas.microsoft.com/office/drawing/2014/main" id="{95CDDCFF-C1C6-D04E-9746-6FE6C4185703}"/>
              </a:ext>
            </a:extLst>
          </p:cNvPr>
          <p:cNvSpPr txBox="1"/>
          <p:nvPr/>
        </p:nvSpPr>
        <p:spPr>
          <a:xfrm>
            <a:off x="4916144" y="750960"/>
            <a:ext cx="3466013" cy="369332"/>
          </a:xfrm>
          <a:prstGeom prst="rect">
            <a:avLst/>
          </a:prstGeom>
          <a:noFill/>
        </p:spPr>
        <p:txBody>
          <a:bodyPr wrap="none" rtlCol="0">
            <a:spAutoFit/>
          </a:bodyPr>
          <a:lstStyle/>
          <a:p>
            <a:r>
              <a:rPr lang="en-US" dirty="0">
                <a:solidFill>
                  <a:srgbClr val="FF0000"/>
                </a:solidFill>
                <a:latin typeface="+mn-lt"/>
              </a:rPr>
              <a:t>One NDC Pod – Sample Layout</a:t>
            </a:r>
          </a:p>
        </p:txBody>
      </p:sp>
      <p:pic>
        <p:nvPicPr>
          <p:cNvPr id="6" name="Picture 5">
            <a:extLst>
              <a:ext uri="{FF2B5EF4-FFF2-40B4-BE49-F238E27FC236}">
                <a16:creationId xmlns:a16="http://schemas.microsoft.com/office/drawing/2014/main" id="{833ED2CA-1AF8-E74C-96D0-8E48A3C43893}"/>
              </a:ext>
            </a:extLst>
          </p:cNvPr>
          <p:cNvPicPr>
            <a:picLocks noChangeAspect="1"/>
          </p:cNvPicPr>
          <p:nvPr/>
        </p:nvPicPr>
        <p:blipFill>
          <a:blip r:embed="rId2"/>
          <a:stretch>
            <a:fillRect/>
          </a:stretch>
        </p:blipFill>
        <p:spPr>
          <a:xfrm>
            <a:off x="4036291" y="1606606"/>
            <a:ext cx="5015344" cy="1930288"/>
          </a:xfrm>
          <a:prstGeom prst="rect">
            <a:avLst/>
          </a:prstGeom>
        </p:spPr>
      </p:pic>
    </p:spTree>
    <p:extLst>
      <p:ext uri="{BB962C8B-B14F-4D97-AF65-F5344CB8AC3E}">
        <p14:creationId xmlns:p14="http://schemas.microsoft.com/office/powerpoint/2010/main" val="213948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851BF0-C3A9-A24C-B27B-10476EFFCE91}"/>
              </a:ext>
            </a:extLst>
          </p:cNvPr>
          <p:cNvSpPr>
            <a:spLocks noGrp="1"/>
          </p:cNvSpPr>
          <p:nvPr>
            <p:ph type="body" sz="quarter" idx="10"/>
          </p:nvPr>
        </p:nvSpPr>
        <p:spPr>
          <a:xfrm>
            <a:off x="267285" y="1073149"/>
            <a:ext cx="3960573" cy="3529847"/>
          </a:xfrm>
        </p:spPr>
        <p:txBody>
          <a:bodyPr/>
          <a:lstStyle/>
          <a:p>
            <a:r>
              <a:rPr lang="en-US" sz="1050" b="1" dirty="0"/>
              <a:t>Each RDC hosts 1 x 3-rack pods.</a:t>
            </a:r>
          </a:p>
          <a:p>
            <a:r>
              <a:rPr lang="en-US" sz="1050" dirty="0"/>
              <a:t>Leaf switches (93180YC) aggregate connections and traffic for the servers in the rack.</a:t>
            </a:r>
          </a:p>
          <a:p>
            <a:r>
              <a:rPr lang="en-US" sz="1050" dirty="0"/>
              <a:t>Spine switches (9364) aggregate connections and traffic between the leaf switches and the external world.</a:t>
            </a:r>
          </a:p>
          <a:p>
            <a:r>
              <a:rPr lang="en-US" sz="1050" dirty="0"/>
              <a:t>Catalyst management switches (3850) aggregate 1G copper connections for out of band O&amp;AM  </a:t>
            </a:r>
          </a:p>
          <a:p>
            <a:r>
              <a:rPr lang="en-US" sz="1050" dirty="0"/>
              <a:t>8 servers in the pod hosting CVIM (OpenStack) management and storage functions.  OpenStack required to deploy and manage VMs on all Cloud Native infrastructure servers</a:t>
            </a:r>
          </a:p>
          <a:p>
            <a:r>
              <a:rPr lang="en-US" sz="1050" dirty="0"/>
              <a:t>1 servers in the pod host as spares</a:t>
            </a:r>
          </a:p>
          <a:p>
            <a:r>
              <a:rPr lang="en-US" sz="1050" dirty="0"/>
              <a:t>41 servers in the pod host VNFs</a:t>
            </a:r>
          </a:p>
        </p:txBody>
      </p:sp>
      <p:sp>
        <p:nvSpPr>
          <p:cNvPr id="3" name="Title 2">
            <a:extLst>
              <a:ext uri="{FF2B5EF4-FFF2-40B4-BE49-F238E27FC236}">
                <a16:creationId xmlns:a16="http://schemas.microsoft.com/office/drawing/2014/main" id="{D5010D6A-9AEC-0749-BCD0-10DF2B6FEA98}"/>
              </a:ext>
            </a:extLst>
          </p:cNvPr>
          <p:cNvSpPr>
            <a:spLocks noGrp="1"/>
          </p:cNvSpPr>
          <p:nvPr>
            <p:ph type="title"/>
          </p:nvPr>
        </p:nvSpPr>
        <p:spPr>
          <a:xfrm>
            <a:off x="461013" y="174585"/>
            <a:ext cx="8345488" cy="731837"/>
          </a:xfrm>
        </p:spPr>
        <p:txBody>
          <a:bodyPr/>
          <a:lstStyle/>
          <a:p>
            <a:r>
              <a:rPr lang="en-US" dirty="0"/>
              <a:t>RDC Pod Design Details</a:t>
            </a:r>
          </a:p>
        </p:txBody>
      </p:sp>
      <p:sp>
        <p:nvSpPr>
          <p:cNvPr id="74" name="TextBox 73">
            <a:extLst>
              <a:ext uri="{FF2B5EF4-FFF2-40B4-BE49-F238E27FC236}">
                <a16:creationId xmlns:a16="http://schemas.microsoft.com/office/drawing/2014/main" id="{95CDDCFF-C1C6-D04E-9746-6FE6C4185703}"/>
              </a:ext>
            </a:extLst>
          </p:cNvPr>
          <p:cNvSpPr txBox="1"/>
          <p:nvPr/>
        </p:nvSpPr>
        <p:spPr>
          <a:xfrm>
            <a:off x="4916144" y="750960"/>
            <a:ext cx="3446777" cy="369332"/>
          </a:xfrm>
          <a:prstGeom prst="rect">
            <a:avLst/>
          </a:prstGeom>
          <a:noFill/>
        </p:spPr>
        <p:txBody>
          <a:bodyPr wrap="none" rtlCol="0">
            <a:spAutoFit/>
          </a:bodyPr>
          <a:lstStyle/>
          <a:p>
            <a:r>
              <a:rPr lang="en-US" dirty="0">
                <a:solidFill>
                  <a:srgbClr val="FF0000"/>
                </a:solidFill>
                <a:latin typeface="+mn-lt"/>
              </a:rPr>
              <a:t>One RDC Pod – Sample Layout</a:t>
            </a:r>
          </a:p>
        </p:txBody>
      </p:sp>
      <p:pic>
        <p:nvPicPr>
          <p:cNvPr id="6" name="Picture 5">
            <a:extLst>
              <a:ext uri="{FF2B5EF4-FFF2-40B4-BE49-F238E27FC236}">
                <a16:creationId xmlns:a16="http://schemas.microsoft.com/office/drawing/2014/main" id="{ED6ED62B-A5DF-0D40-80C0-231C44AF8380}"/>
              </a:ext>
            </a:extLst>
          </p:cNvPr>
          <p:cNvPicPr>
            <a:picLocks noChangeAspect="1"/>
          </p:cNvPicPr>
          <p:nvPr/>
        </p:nvPicPr>
        <p:blipFill>
          <a:blip r:embed="rId2"/>
          <a:stretch>
            <a:fillRect/>
          </a:stretch>
        </p:blipFill>
        <p:spPr>
          <a:xfrm>
            <a:off x="5200073" y="1243409"/>
            <a:ext cx="3052738" cy="3189326"/>
          </a:xfrm>
          <a:prstGeom prst="rect">
            <a:avLst/>
          </a:prstGeom>
        </p:spPr>
      </p:pic>
    </p:spTree>
    <p:extLst>
      <p:ext uri="{BB962C8B-B14F-4D97-AF65-F5344CB8AC3E}">
        <p14:creationId xmlns:p14="http://schemas.microsoft.com/office/powerpoint/2010/main" val="94199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ED865-F59E-489F-A9F5-5B488E8C02F7}"/>
              </a:ext>
            </a:extLst>
          </p:cNvPr>
          <p:cNvSpPr>
            <a:spLocks noGrp="1"/>
          </p:cNvSpPr>
          <p:nvPr>
            <p:ph type="title"/>
          </p:nvPr>
        </p:nvSpPr>
        <p:spPr/>
        <p:txBody>
          <a:bodyPr/>
          <a:lstStyle/>
          <a:p>
            <a:r>
              <a:rPr lang="en-ZA" dirty="0"/>
              <a:t>Defining the Core Sites</a:t>
            </a:r>
            <a:endParaRPr lang="en-GB" dirty="0"/>
          </a:p>
        </p:txBody>
      </p:sp>
      <p:sp>
        <p:nvSpPr>
          <p:cNvPr id="3" name="Content Placeholder 2">
            <a:extLst>
              <a:ext uri="{FF2B5EF4-FFF2-40B4-BE49-F238E27FC236}">
                <a16:creationId xmlns:a16="http://schemas.microsoft.com/office/drawing/2014/main" id="{B9016126-0340-4CA0-A217-1C022730D907}"/>
              </a:ext>
            </a:extLst>
          </p:cNvPr>
          <p:cNvSpPr>
            <a:spLocks noGrp="1"/>
          </p:cNvSpPr>
          <p:nvPr>
            <p:ph sz="quarter" idx="11"/>
          </p:nvPr>
        </p:nvSpPr>
        <p:spPr/>
        <p:txBody>
          <a:bodyPr/>
          <a:lstStyle/>
          <a:p>
            <a:r>
              <a:rPr lang="en-ZA" dirty="0"/>
              <a:t>Core Sites are defined based on major population centres</a:t>
            </a:r>
          </a:p>
          <a:p>
            <a:r>
              <a:rPr lang="en-ZA" dirty="0"/>
              <a:t>Core Sites will use the ASR9900 and the NCS5508</a:t>
            </a:r>
          </a:p>
          <a:p>
            <a:r>
              <a:rPr lang="en-ZA" dirty="0"/>
              <a:t>Longest Transmission Length is </a:t>
            </a:r>
            <a:r>
              <a:rPr lang="en-ZA" dirty="0" err="1"/>
              <a:t>Jimma</a:t>
            </a:r>
            <a:r>
              <a:rPr lang="en-ZA" dirty="0"/>
              <a:t> &lt;-&gt; Bahir Dar (592km)</a:t>
            </a:r>
          </a:p>
          <a:p>
            <a:pPr lvl="1"/>
            <a:r>
              <a:rPr lang="en-ZA" dirty="0"/>
              <a:t>The Cisco NCS 5500 1.2-Tbps </a:t>
            </a:r>
            <a:r>
              <a:rPr lang="en-ZA" dirty="0" err="1"/>
              <a:t>IPoDWDM</a:t>
            </a:r>
            <a:r>
              <a:rPr lang="en-ZA" dirty="0"/>
              <a:t> supports 200-Gbps coherent polarization-multiplexed 16-state Quadrature Amplitude Modulation (16-QAM) up to 1000 km.</a:t>
            </a:r>
          </a:p>
          <a:p>
            <a:endParaRPr lang="en-ZA" dirty="0"/>
          </a:p>
          <a:p>
            <a:pPr lvl="1"/>
            <a:endParaRPr lang="en-ZA" dirty="0"/>
          </a:p>
          <a:p>
            <a:endParaRPr lang="en-GB" dirty="0"/>
          </a:p>
        </p:txBody>
      </p:sp>
      <p:graphicFrame>
        <p:nvGraphicFramePr>
          <p:cNvPr id="4" name="Table 3">
            <a:extLst>
              <a:ext uri="{FF2B5EF4-FFF2-40B4-BE49-F238E27FC236}">
                <a16:creationId xmlns:a16="http://schemas.microsoft.com/office/drawing/2014/main" id="{FCC20A83-DF89-44C6-8BF9-E6B54C1E5F90}"/>
              </a:ext>
            </a:extLst>
          </p:cNvPr>
          <p:cNvGraphicFramePr>
            <a:graphicFrameLocks noGrp="1"/>
          </p:cNvGraphicFramePr>
          <p:nvPr/>
        </p:nvGraphicFramePr>
        <p:xfrm>
          <a:off x="352925" y="3315493"/>
          <a:ext cx="3467100" cy="1500190"/>
        </p:xfrm>
        <a:graphic>
          <a:graphicData uri="http://schemas.openxmlformats.org/drawingml/2006/table">
            <a:tbl>
              <a:tblPr>
                <a:tableStyleId>{5C22544A-7EE6-4342-B048-85BDC9FD1C3A}</a:tableStyleId>
              </a:tblPr>
              <a:tblGrid>
                <a:gridCol w="799551">
                  <a:extLst>
                    <a:ext uri="{9D8B030D-6E8A-4147-A177-3AD203B41FA5}">
                      <a16:colId xmlns:a16="http://schemas.microsoft.com/office/drawing/2014/main" val="1147714087"/>
                    </a:ext>
                  </a:extLst>
                </a:gridCol>
                <a:gridCol w="1561028">
                  <a:extLst>
                    <a:ext uri="{9D8B030D-6E8A-4147-A177-3AD203B41FA5}">
                      <a16:colId xmlns:a16="http://schemas.microsoft.com/office/drawing/2014/main" val="4219995033"/>
                    </a:ext>
                  </a:extLst>
                </a:gridCol>
                <a:gridCol w="563969">
                  <a:extLst>
                    <a:ext uri="{9D8B030D-6E8A-4147-A177-3AD203B41FA5}">
                      <a16:colId xmlns:a16="http://schemas.microsoft.com/office/drawing/2014/main" val="662930508"/>
                    </a:ext>
                  </a:extLst>
                </a:gridCol>
                <a:gridCol w="542552">
                  <a:extLst>
                    <a:ext uri="{9D8B030D-6E8A-4147-A177-3AD203B41FA5}">
                      <a16:colId xmlns:a16="http://schemas.microsoft.com/office/drawing/2014/main" val="2477236979"/>
                    </a:ext>
                  </a:extLst>
                </a:gridCol>
              </a:tblGrid>
              <a:tr h="150019">
                <a:tc>
                  <a:txBody>
                    <a:bodyPr/>
                    <a:lstStyle/>
                    <a:p>
                      <a:pPr algn="l" fontAlgn="b"/>
                      <a:r>
                        <a:rPr lang="en-GB" sz="900" u="none" strike="noStrike">
                          <a:effectLst/>
                        </a:rPr>
                        <a:t>City</a:t>
                      </a:r>
                      <a:endParaRPr lang="en-GB" sz="9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en-GB" sz="900" u="none" strike="noStrike">
                          <a:effectLst/>
                        </a:rPr>
                        <a:t>Site Present</a:t>
                      </a:r>
                      <a:endParaRPr lang="en-GB" sz="9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en-GB" sz="900" u="none" strike="noStrike">
                          <a:effectLst/>
                        </a:rPr>
                        <a:t>Population</a:t>
                      </a:r>
                      <a:endParaRPr lang="en-GB" sz="9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en-GB" sz="900" u="none" strike="noStrike">
                          <a:effectLst/>
                        </a:rPr>
                        <a:t>Link</a:t>
                      </a:r>
                      <a:endParaRPr lang="en-GB" sz="9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41870944"/>
                  </a:ext>
                </a:extLst>
              </a:tr>
              <a:tr h="150019">
                <a:tc>
                  <a:txBody>
                    <a:bodyPr/>
                    <a:lstStyle/>
                    <a:p>
                      <a:pPr algn="l" fontAlgn="ctr"/>
                      <a:r>
                        <a:rPr lang="en-GB" sz="900" u="none" strike="noStrike">
                          <a:effectLst/>
                        </a:rPr>
                        <a:t>Addis Ababa</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none" strike="noStrike">
                          <a:effectLst/>
                        </a:rPr>
                        <a:t>Core</a:t>
                      </a:r>
                      <a:endParaRPr lang="en-GB" sz="900" b="0" i="0" u="none" strike="noStrike">
                        <a:solidFill>
                          <a:srgbClr val="FFFFFF"/>
                        </a:solidFill>
                        <a:effectLst/>
                        <a:latin typeface="Calibri" panose="020F0502020204030204" pitchFamily="34" charset="0"/>
                      </a:endParaRPr>
                    </a:p>
                  </a:txBody>
                  <a:tcPr marL="7144" marR="7144" marT="7144" marB="0" anchor="ctr"/>
                </a:tc>
                <a:tc>
                  <a:txBody>
                    <a:bodyPr/>
                    <a:lstStyle/>
                    <a:p>
                      <a:pPr algn="r" fontAlgn="ctr"/>
                      <a:r>
                        <a:rPr lang="en-GB" sz="900" u="none" strike="noStrike">
                          <a:effectLst/>
                        </a:rPr>
                        <a:t>2,757,729</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sng" strike="noStrike">
                          <a:effectLst/>
                          <a:hlinkClick r:id="rId2"/>
                        </a:rPr>
                        <a:t>Map</a:t>
                      </a:r>
                      <a:endParaRPr lang="en-GB" sz="900" b="0" i="0" u="sng" strike="noStrike">
                        <a:solidFill>
                          <a:srgbClr val="0563C1"/>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2174389578"/>
                  </a:ext>
                </a:extLst>
              </a:tr>
              <a:tr h="150019">
                <a:tc>
                  <a:txBody>
                    <a:bodyPr/>
                    <a:lstStyle/>
                    <a:p>
                      <a:pPr algn="l" fontAlgn="ctr"/>
                      <a:r>
                        <a:rPr lang="en-GB" sz="900" u="none" strike="noStrike">
                          <a:effectLst/>
                        </a:rPr>
                        <a:t>Dire Dawa</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none" strike="noStrike">
                          <a:effectLst/>
                        </a:rPr>
                        <a:t>Core</a:t>
                      </a:r>
                      <a:endParaRPr lang="en-GB" sz="900" b="0" i="0" u="none" strike="noStrike">
                        <a:solidFill>
                          <a:srgbClr val="FFFFFF"/>
                        </a:solidFill>
                        <a:effectLst/>
                        <a:latin typeface="Calibri" panose="020F0502020204030204" pitchFamily="34" charset="0"/>
                      </a:endParaRPr>
                    </a:p>
                  </a:txBody>
                  <a:tcPr marL="7144" marR="7144" marT="7144" marB="0" anchor="ctr"/>
                </a:tc>
                <a:tc>
                  <a:txBody>
                    <a:bodyPr/>
                    <a:lstStyle/>
                    <a:p>
                      <a:pPr algn="r" fontAlgn="ctr"/>
                      <a:r>
                        <a:rPr lang="en-GB" sz="900" u="none" strike="noStrike">
                          <a:effectLst/>
                        </a:rPr>
                        <a:t>252,279</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sng" strike="noStrike">
                          <a:effectLst/>
                          <a:hlinkClick r:id="rId3"/>
                        </a:rPr>
                        <a:t>Map</a:t>
                      </a:r>
                      <a:endParaRPr lang="en-GB" sz="900" b="0" i="0" u="sng" strike="noStrike">
                        <a:solidFill>
                          <a:srgbClr val="0563C1"/>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448070410"/>
                  </a:ext>
                </a:extLst>
              </a:tr>
              <a:tr h="150019">
                <a:tc>
                  <a:txBody>
                    <a:bodyPr/>
                    <a:lstStyle/>
                    <a:p>
                      <a:pPr algn="l" fontAlgn="ctr"/>
                      <a:r>
                        <a:rPr lang="en-GB" sz="900" u="none" strike="noStrike">
                          <a:effectLst/>
                        </a:rPr>
                        <a:t>Mek'ele</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none" strike="noStrike">
                          <a:effectLst/>
                        </a:rPr>
                        <a:t>Core</a:t>
                      </a:r>
                      <a:endParaRPr lang="en-GB" sz="900" b="0" i="0" u="none" strike="noStrike">
                        <a:solidFill>
                          <a:srgbClr val="FFFFFF"/>
                        </a:solidFill>
                        <a:effectLst/>
                        <a:latin typeface="Calibri" panose="020F0502020204030204" pitchFamily="34" charset="0"/>
                      </a:endParaRPr>
                    </a:p>
                  </a:txBody>
                  <a:tcPr marL="7144" marR="7144" marT="7144" marB="0" anchor="ctr"/>
                </a:tc>
                <a:tc>
                  <a:txBody>
                    <a:bodyPr/>
                    <a:lstStyle/>
                    <a:p>
                      <a:pPr algn="r" fontAlgn="ctr"/>
                      <a:r>
                        <a:rPr lang="en-GB" sz="900" u="none" strike="noStrike">
                          <a:effectLst/>
                        </a:rPr>
                        <a:t>215,546</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sng" strike="noStrike">
                          <a:effectLst/>
                          <a:hlinkClick r:id="rId4"/>
                        </a:rPr>
                        <a:t>Map</a:t>
                      </a:r>
                      <a:endParaRPr lang="en-GB" sz="900" b="0" i="0" u="sng" strike="noStrike">
                        <a:solidFill>
                          <a:srgbClr val="0563C1"/>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1288290441"/>
                  </a:ext>
                </a:extLst>
              </a:tr>
              <a:tr h="150019">
                <a:tc>
                  <a:txBody>
                    <a:bodyPr/>
                    <a:lstStyle/>
                    <a:p>
                      <a:pPr algn="l" fontAlgn="ctr"/>
                      <a:r>
                        <a:rPr lang="en-GB" sz="900" u="none" strike="noStrike">
                          <a:effectLst/>
                        </a:rPr>
                        <a:t>Nazret/Adama</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none" strike="noStrike">
                          <a:effectLst/>
                        </a:rPr>
                        <a:t>Core</a:t>
                      </a:r>
                      <a:endParaRPr lang="en-GB" sz="900" b="0" i="0" u="none" strike="noStrike">
                        <a:solidFill>
                          <a:srgbClr val="FFFFFF"/>
                        </a:solidFill>
                        <a:effectLst/>
                        <a:latin typeface="Calibri" panose="020F0502020204030204" pitchFamily="34" charset="0"/>
                      </a:endParaRPr>
                    </a:p>
                  </a:txBody>
                  <a:tcPr marL="7144" marR="7144" marT="7144" marB="0" anchor="ctr"/>
                </a:tc>
                <a:tc>
                  <a:txBody>
                    <a:bodyPr/>
                    <a:lstStyle/>
                    <a:p>
                      <a:pPr algn="r" fontAlgn="ctr"/>
                      <a:r>
                        <a:rPr lang="en-GB" sz="900" u="none" strike="noStrike">
                          <a:effectLst/>
                        </a:rPr>
                        <a:t>213,995</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sng" strike="noStrike">
                          <a:effectLst/>
                          <a:hlinkClick r:id="rId5"/>
                        </a:rPr>
                        <a:t>Map</a:t>
                      </a:r>
                      <a:endParaRPr lang="en-GB" sz="900" b="0" i="0" u="sng" strike="noStrike">
                        <a:solidFill>
                          <a:srgbClr val="0563C1"/>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2008388131"/>
                  </a:ext>
                </a:extLst>
              </a:tr>
              <a:tr h="150019">
                <a:tc>
                  <a:txBody>
                    <a:bodyPr/>
                    <a:lstStyle/>
                    <a:p>
                      <a:pPr algn="l" fontAlgn="ctr"/>
                      <a:r>
                        <a:rPr lang="en-GB" sz="900" u="none" strike="noStrike">
                          <a:effectLst/>
                        </a:rPr>
                        <a:t>Bahir Dar</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none" strike="noStrike">
                          <a:effectLst/>
                        </a:rPr>
                        <a:t>Core</a:t>
                      </a:r>
                      <a:endParaRPr lang="en-GB" sz="900" b="0" i="0" u="none" strike="noStrike">
                        <a:solidFill>
                          <a:srgbClr val="FFFFFF"/>
                        </a:solidFill>
                        <a:effectLst/>
                        <a:latin typeface="Calibri" panose="020F0502020204030204" pitchFamily="34" charset="0"/>
                      </a:endParaRPr>
                    </a:p>
                  </a:txBody>
                  <a:tcPr marL="7144" marR="7144" marT="7144" marB="0" anchor="ctr"/>
                </a:tc>
                <a:tc>
                  <a:txBody>
                    <a:bodyPr/>
                    <a:lstStyle/>
                    <a:p>
                      <a:pPr algn="r" fontAlgn="ctr"/>
                      <a:r>
                        <a:rPr lang="en-GB" sz="900" u="none" strike="noStrike">
                          <a:effectLst/>
                        </a:rPr>
                        <a:t>168,899</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sng" strike="noStrike">
                          <a:effectLst/>
                          <a:hlinkClick r:id="rId6"/>
                        </a:rPr>
                        <a:t>Map</a:t>
                      </a:r>
                      <a:endParaRPr lang="en-GB" sz="900" b="0" i="0" u="sng" strike="noStrike">
                        <a:solidFill>
                          <a:srgbClr val="0563C1"/>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524401555"/>
                  </a:ext>
                </a:extLst>
              </a:tr>
              <a:tr h="150019">
                <a:tc>
                  <a:txBody>
                    <a:bodyPr/>
                    <a:lstStyle/>
                    <a:p>
                      <a:pPr algn="l" fontAlgn="ctr"/>
                      <a:r>
                        <a:rPr lang="en-GB" sz="900" u="none" strike="noStrike">
                          <a:effectLst/>
                        </a:rPr>
                        <a:t>Gondar</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none" strike="noStrike">
                          <a:effectLst/>
                        </a:rPr>
                        <a:t>Core</a:t>
                      </a:r>
                      <a:endParaRPr lang="en-GB" sz="900" b="0" i="0" u="none" strike="noStrike">
                        <a:solidFill>
                          <a:srgbClr val="FFFFFF"/>
                        </a:solidFill>
                        <a:effectLst/>
                        <a:latin typeface="Calibri" panose="020F0502020204030204" pitchFamily="34" charset="0"/>
                      </a:endParaRPr>
                    </a:p>
                  </a:txBody>
                  <a:tcPr marL="7144" marR="7144" marT="7144" marB="0" anchor="ctr"/>
                </a:tc>
                <a:tc>
                  <a:txBody>
                    <a:bodyPr/>
                    <a:lstStyle/>
                    <a:p>
                      <a:pPr algn="r" fontAlgn="ctr"/>
                      <a:r>
                        <a:rPr lang="en-GB" sz="900" u="none" strike="noStrike">
                          <a:effectLst/>
                        </a:rPr>
                        <a:t>153,914</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sng" strike="noStrike">
                          <a:effectLst/>
                          <a:hlinkClick r:id="rId7"/>
                        </a:rPr>
                        <a:t>Map</a:t>
                      </a:r>
                      <a:endParaRPr lang="en-GB" sz="900" b="0" i="0" u="sng" strike="noStrike">
                        <a:solidFill>
                          <a:srgbClr val="0563C1"/>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1879802921"/>
                  </a:ext>
                </a:extLst>
              </a:tr>
              <a:tr h="150019">
                <a:tc>
                  <a:txBody>
                    <a:bodyPr/>
                    <a:lstStyle/>
                    <a:p>
                      <a:pPr algn="l" fontAlgn="ctr"/>
                      <a:r>
                        <a:rPr lang="en-GB" sz="900" u="none" strike="noStrike">
                          <a:effectLst/>
                        </a:rPr>
                        <a:t>Dese</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none" strike="noStrike">
                          <a:effectLst/>
                        </a:rPr>
                        <a:t>Core</a:t>
                      </a:r>
                      <a:endParaRPr lang="en-GB" sz="900" b="0" i="0" u="none" strike="noStrike">
                        <a:solidFill>
                          <a:srgbClr val="FFFFFF"/>
                        </a:solidFill>
                        <a:effectLst/>
                        <a:latin typeface="Calibri" panose="020F0502020204030204" pitchFamily="34" charset="0"/>
                      </a:endParaRPr>
                    </a:p>
                  </a:txBody>
                  <a:tcPr marL="7144" marR="7144" marT="7144" marB="0" anchor="ctr"/>
                </a:tc>
                <a:tc>
                  <a:txBody>
                    <a:bodyPr/>
                    <a:lstStyle/>
                    <a:p>
                      <a:pPr algn="r" fontAlgn="ctr"/>
                      <a:r>
                        <a:rPr lang="en-GB" sz="900" u="none" strike="noStrike">
                          <a:effectLst/>
                        </a:rPr>
                        <a:t>136,056</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sng" strike="noStrike">
                          <a:effectLst/>
                          <a:hlinkClick r:id="rId8"/>
                        </a:rPr>
                        <a:t>Map</a:t>
                      </a:r>
                      <a:endParaRPr lang="en-GB" sz="900" b="0" i="0" u="sng" strike="noStrike">
                        <a:solidFill>
                          <a:srgbClr val="0563C1"/>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1436298517"/>
                  </a:ext>
                </a:extLst>
              </a:tr>
              <a:tr h="150019">
                <a:tc>
                  <a:txBody>
                    <a:bodyPr/>
                    <a:lstStyle/>
                    <a:p>
                      <a:pPr algn="l" fontAlgn="ctr"/>
                      <a:r>
                        <a:rPr lang="en-GB" sz="900" u="none" strike="noStrike">
                          <a:effectLst/>
                        </a:rPr>
                        <a:t>Hawassa</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none" strike="noStrike">
                          <a:effectLst/>
                        </a:rPr>
                        <a:t>Core</a:t>
                      </a:r>
                      <a:endParaRPr lang="en-GB" sz="900" b="0" i="0" u="none" strike="noStrike">
                        <a:solidFill>
                          <a:srgbClr val="FFFFFF"/>
                        </a:solidFill>
                        <a:effectLst/>
                        <a:latin typeface="Calibri" panose="020F0502020204030204" pitchFamily="34" charset="0"/>
                      </a:endParaRPr>
                    </a:p>
                  </a:txBody>
                  <a:tcPr marL="7144" marR="7144" marT="7144" marB="0" anchor="ctr"/>
                </a:tc>
                <a:tc>
                  <a:txBody>
                    <a:bodyPr/>
                    <a:lstStyle/>
                    <a:p>
                      <a:pPr algn="r" fontAlgn="ctr"/>
                      <a:r>
                        <a:rPr lang="en-GB" sz="900" u="none" strike="noStrike">
                          <a:effectLst/>
                        </a:rPr>
                        <a:t>133,097</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sng" strike="noStrike">
                          <a:effectLst/>
                          <a:hlinkClick r:id="rId9"/>
                        </a:rPr>
                        <a:t>Map</a:t>
                      </a:r>
                      <a:endParaRPr lang="en-GB" sz="900" b="0" i="0" u="sng" strike="noStrike">
                        <a:solidFill>
                          <a:srgbClr val="0563C1"/>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3704591817"/>
                  </a:ext>
                </a:extLst>
              </a:tr>
              <a:tr h="150019">
                <a:tc>
                  <a:txBody>
                    <a:bodyPr/>
                    <a:lstStyle/>
                    <a:p>
                      <a:pPr algn="l" fontAlgn="ctr"/>
                      <a:r>
                        <a:rPr lang="en-GB" sz="900" u="none" strike="noStrike" dirty="0" err="1">
                          <a:effectLst/>
                        </a:rPr>
                        <a:t>Jimma</a:t>
                      </a:r>
                      <a:endParaRPr lang="en-GB" sz="900" b="0" i="0" u="none" strike="noStrike" dirty="0">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none" strike="noStrike">
                          <a:effectLst/>
                        </a:rPr>
                        <a:t>Core</a:t>
                      </a:r>
                      <a:endParaRPr lang="en-GB" sz="900" b="0" i="0" u="none" strike="noStrike">
                        <a:solidFill>
                          <a:srgbClr val="FFFFFF"/>
                        </a:solidFill>
                        <a:effectLst/>
                        <a:latin typeface="Calibri" panose="020F0502020204030204" pitchFamily="34" charset="0"/>
                      </a:endParaRPr>
                    </a:p>
                  </a:txBody>
                  <a:tcPr marL="7144" marR="7144" marT="7144" marB="0" anchor="ctr"/>
                </a:tc>
                <a:tc>
                  <a:txBody>
                    <a:bodyPr/>
                    <a:lstStyle/>
                    <a:p>
                      <a:pPr algn="r" fontAlgn="ctr"/>
                      <a:r>
                        <a:rPr lang="en-GB" sz="900" u="none" strike="noStrike">
                          <a:effectLst/>
                        </a:rPr>
                        <a:t>128,306</a:t>
                      </a:r>
                      <a:endParaRPr lang="en-GB" sz="900" b="0" i="0" u="none" strike="noStrike">
                        <a:solidFill>
                          <a:srgbClr val="000000"/>
                        </a:solidFill>
                        <a:effectLst/>
                        <a:latin typeface="Calibri" panose="020F0502020204030204" pitchFamily="34" charset="0"/>
                      </a:endParaRPr>
                    </a:p>
                  </a:txBody>
                  <a:tcPr marL="7144" marR="7144" marT="7144" marB="0" anchor="ctr"/>
                </a:tc>
                <a:tc>
                  <a:txBody>
                    <a:bodyPr/>
                    <a:lstStyle/>
                    <a:p>
                      <a:pPr algn="l" fontAlgn="ctr"/>
                      <a:r>
                        <a:rPr lang="en-GB" sz="900" u="sng" strike="noStrike" dirty="0">
                          <a:effectLst/>
                          <a:hlinkClick r:id="rId10"/>
                        </a:rPr>
                        <a:t>Map</a:t>
                      </a:r>
                      <a:endParaRPr lang="en-GB" sz="900" b="0" i="0" u="sng" strike="noStrike" dirty="0">
                        <a:solidFill>
                          <a:srgbClr val="0563C1"/>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2788393767"/>
                  </a:ext>
                </a:extLst>
              </a:tr>
            </a:tbl>
          </a:graphicData>
        </a:graphic>
      </p:graphicFrame>
    </p:spTree>
    <p:extLst>
      <p:ext uri="{BB962C8B-B14F-4D97-AF65-F5344CB8AC3E}">
        <p14:creationId xmlns:p14="http://schemas.microsoft.com/office/powerpoint/2010/main" val="1437815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F0AD3-B537-CD4A-8681-99278FDF9B62}"/>
              </a:ext>
            </a:extLst>
          </p:cNvPr>
          <p:cNvSpPr>
            <a:spLocks noGrp="1"/>
          </p:cNvSpPr>
          <p:nvPr>
            <p:ph type="title"/>
          </p:nvPr>
        </p:nvSpPr>
        <p:spPr/>
        <p:txBody>
          <a:bodyPr/>
          <a:lstStyle/>
          <a:p>
            <a:r>
              <a:rPr lang="en-US" dirty="0"/>
              <a:t>Cisco VIM Architecture</a:t>
            </a:r>
          </a:p>
        </p:txBody>
      </p:sp>
      <p:sp>
        <p:nvSpPr>
          <p:cNvPr id="3" name="Rectangle 2">
            <a:extLst>
              <a:ext uri="{FF2B5EF4-FFF2-40B4-BE49-F238E27FC236}">
                <a16:creationId xmlns:a16="http://schemas.microsoft.com/office/drawing/2014/main" id="{647AB408-53CC-0D4A-8CB7-59043ED2CDFD}"/>
              </a:ext>
            </a:extLst>
          </p:cNvPr>
          <p:cNvSpPr>
            <a:spLocks noChangeArrowheads="1"/>
          </p:cNvSpPr>
          <p:nvPr/>
        </p:nvSpPr>
        <p:spPr bwMode="auto">
          <a:xfrm>
            <a:off x="1791854" y="2122487"/>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4" name="Object 3">
            <a:extLst>
              <a:ext uri="{FF2B5EF4-FFF2-40B4-BE49-F238E27FC236}">
                <a16:creationId xmlns:a16="http://schemas.microsoft.com/office/drawing/2014/main" id="{F2066D7D-F198-A04B-A0AE-E7DB0B430CB8}"/>
              </a:ext>
            </a:extLst>
          </p:cNvPr>
          <p:cNvGraphicFramePr>
            <a:graphicFrameLocks noChangeAspect="1"/>
          </p:cNvGraphicFramePr>
          <p:nvPr/>
        </p:nvGraphicFramePr>
        <p:xfrm>
          <a:off x="762000" y="1312039"/>
          <a:ext cx="6793346" cy="3638060"/>
        </p:xfrm>
        <a:graphic>
          <a:graphicData uri="http://schemas.openxmlformats.org/presentationml/2006/ole">
            <mc:AlternateContent xmlns:mc="http://schemas.openxmlformats.org/markup-compatibility/2006">
              <mc:Choice xmlns:v="urn:schemas-microsoft-com:vml" Requires="v">
                <p:oleObj spid="_x0000_s8195" r:id="rId3" imgW="8394700" imgH="4457700" progId="Visio.Drawing.15">
                  <p:embed/>
                </p:oleObj>
              </mc:Choice>
              <mc:Fallback>
                <p:oleObj r:id="rId3" imgW="8394700" imgH="4457700" progId="Visio.Drawing.15">
                  <p:embed/>
                  <p:pic>
                    <p:nvPicPr>
                      <p:cNvPr id="4" name="Object 3">
                        <a:extLst>
                          <a:ext uri="{FF2B5EF4-FFF2-40B4-BE49-F238E27FC236}">
                            <a16:creationId xmlns:a16="http://schemas.microsoft.com/office/drawing/2014/main" id="{F2066D7D-F198-A04B-A0AE-E7DB0B430C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0" y="1312039"/>
                        <a:ext cx="6793346" cy="3638060"/>
                      </a:xfrm>
                      <a:prstGeom prst="rect">
                        <a:avLst/>
                      </a:prstGeom>
                      <a:noFill/>
                    </p:spPr>
                  </p:pic>
                </p:oleObj>
              </mc:Fallback>
            </mc:AlternateContent>
          </a:graphicData>
        </a:graphic>
      </p:graphicFrame>
    </p:spTree>
    <p:extLst>
      <p:ext uri="{BB962C8B-B14F-4D97-AF65-F5344CB8AC3E}">
        <p14:creationId xmlns:p14="http://schemas.microsoft.com/office/powerpoint/2010/main" val="580285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E43819-2F7E-470B-AC28-BE2D93289235}"/>
              </a:ext>
            </a:extLst>
          </p:cNvPr>
          <p:cNvSpPr>
            <a:spLocks noGrp="1"/>
          </p:cNvSpPr>
          <p:nvPr>
            <p:ph type="ctrTitle"/>
          </p:nvPr>
        </p:nvSpPr>
        <p:spPr/>
        <p:txBody>
          <a:bodyPr/>
          <a:lstStyle/>
          <a:p>
            <a:r>
              <a:rPr lang="en-ZA" dirty="0"/>
              <a:t>Mobile Packet Core</a:t>
            </a:r>
          </a:p>
        </p:txBody>
      </p:sp>
    </p:spTree>
    <p:extLst>
      <p:ext uri="{BB962C8B-B14F-4D97-AF65-F5344CB8AC3E}">
        <p14:creationId xmlns:p14="http://schemas.microsoft.com/office/powerpoint/2010/main" val="130656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Mobile Packet Core</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1"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7"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sp>
        <p:nvSpPr>
          <p:cNvPr id="201" name="Rectangle 200">
            <a:extLst>
              <a:ext uri="{FF2B5EF4-FFF2-40B4-BE49-F238E27FC236}">
                <a16:creationId xmlns:a16="http://schemas.microsoft.com/office/drawing/2014/main" id="{EC08BCEF-0D76-4578-B3AB-22A2944AAB23}"/>
              </a:ext>
            </a:extLst>
          </p:cNvPr>
          <p:cNvSpPr/>
          <p:nvPr/>
        </p:nvSpPr>
        <p:spPr>
          <a:xfrm flipH="1">
            <a:off x="732671" y="1776470"/>
            <a:ext cx="7399089" cy="1606923"/>
          </a:xfrm>
          <a:prstGeom prst="rect">
            <a:avLst/>
          </a:prstGeom>
          <a:gradFill>
            <a:gsLst>
              <a:gs pos="0">
                <a:schemeClr val="accent4">
                  <a:alpha val="60000"/>
                </a:schemeClr>
              </a:gs>
              <a:gs pos="100000">
                <a:schemeClr val="accent4">
                  <a:alpha val="75000"/>
                </a:schemeClr>
              </a:gs>
            </a:gsLst>
            <a:lin ang="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1" name="Rectangle 220">
            <a:extLst>
              <a:ext uri="{FF2B5EF4-FFF2-40B4-BE49-F238E27FC236}">
                <a16:creationId xmlns:a16="http://schemas.microsoft.com/office/drawing/2014/main" id="{85B5D98D-0635-4241-A5D8-01401122EDBB}"/>
              </a:ext>
            </a:extLst>
          </p:cNvPr>
          <p:cNvSpPr/>
          <p:nvPr/>
        </p:nvSpPr>
        <p:spPr>
          <a:xfrm>
            <a:off x="1789987" y="3670897"/>
            <a:ext cx="5945724" cy="847315"/>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2" name="Rectangle 221">
            <a:extLst>
              <a:ext uri="{FF2B5EF4-FFF2-40B4-BE49-F238E27FC236}">
                <a16:creationId xmlns:a16="http://schemas.microsoft.com/office/drawing/2014/main" id="{552D17C2-84BE-4ED5-8817-DA6FE9CFEF2C}"/>
              </a:ext>
            </a:extLst>
          </p:cNvPr>
          <p:cNvSpPr/>
          <p:nvPr/>
        </p:nvSpPr>
        <p:spPr>
          <a:xfrm>
            <a:off x="1789987" y="1242865"/>
            <a:ext cx="5945724" cy="488854"/>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Tree>
    <p:extLst>
      <p:ext uri="{BB962C8B-B14F-4D97-AF65-F5344CB8AC3E}">
        <p14:creationId xmlns:p14="http://schemas.microsoft.com/office/powerpoint/2010/main" val="341351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01"/>
                                        </p:tgtEl>
                                        <p:attrNameLst>
                                          <p:attrName>style.visibility</p:attrName>
                                        </p:attrNameLst>
                                      </p:cBhvr>
                                      <p:to>
                                        <p:strVal val="visible"/>
                                      </p:to>
                                    </p:set>
                                    <p:animEffect transition="in" filter="wipe(left)">
                                      <p:cBhvr>
                                        <p:cTn id="7" dur="500"/>
                                        <p:tgtEl>
                                          <p:spTgt spid="20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1"/>
                                        </p:tgtEl>
                                        <p:attrNameLst>
                                          <p:attrName>style.visibility</p:attrName>
                                        </p:attrNameLst>
                                      </p:cBhvr>
                                      <p:to>
                                        <p:strVal val="visible"/>
                                      </p:to>
                                    </p:set>
                                    <p:animEffect transition="in" filter="fade">
                                      <p:cBhvr>
                                        <p:cTn id="10" dur="500"/>
                                        <p:tgtEl>
                                          <p:spTgt spid="2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2"/>
                                        </p:tgtEl>
                                        <p:attrNameLst>
                                          <p:attrName>style.visibility</p:attrName>
                                        </p:attrNameLst>
                                      </p:cBhvr>
                                      <p:to>
                                        <p:strVal val="visible"/>
                                      </p:to>
                                    </p:set>
                                    <p:animEffect transition="in" filter="fade">
                                      <p:cBhvr>
                                        <p:cTn id="13" dur="500"/>
                                        <p:tgtEl>
                                          <p:spTgt spid="2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21" grpId="0" animBg="1"/>
      <p:bldP spid="222" grpId="0" animBg="1"/>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3D929C-DE5D-1F42-BD45-3BC68EDE2C0F}"/>
              </a:ext>
            </a:extLst>
          </p:cNvPr>
          <p:cNvSpPr>
            <a:spLocks noGrp="1"/>
          </p:cNvSpPr>
          <p:nvPr>
            <p:ph type="title"/>
          </p:nvPr>
        </p:nvSpPr>
        <p:spPr/>
        <p:txBody>
          <a:bodyPr/>
          <a:lstStyle/>
          <a:p>
            <a:r>
              <a:rPr lang="en-US" dirty="0"/>
              <a:t>Treehouse Forecasts</a:t>
            </a:r>
          </a:p>
        </p:txBody>
      </p:sp>
      <p:graphicFrame>
        <p:nvGraphicFramePr>
          <p:cNvPr id="5" name="Table 4">
            <a:extLst>
              <a:ext uri="{FF2B5EF4-FFF2-40B4-BE49-F238E27FC236}">
                <a16:creationId xmlns:a16="http://schemas.microsoft.com/office/drawing/2014/main" id="{C230798F-1F6D-0F40-81BC-74B9873ABBEC}"/>
              </a:ext>
            </a:extLst>
          </p:cNvPr>
          <p:cNvGraphicFramePr>
            <a:graphicFrameLocks noGrp="1"/>
          </p:cNvGraphicFramePr>
          <p:nvPr/>
        </p:nvGraphicFramePr>
        <p:xfrm>
          <a:off x="576610" y="1721864"/>
          <a:ext cx="7886701" cy="1339409"/>
        </p:xfrm>
        <a:graphic>
          <a:graphicData uri="http://schemas.openxmlformats.org/drawingml/2006/table">
            <a:tbl>
              <a:tblPr/>
              <a:tblGrid>
                <a:gridCol w="1621836">
                  <a:extLst>
                    <a:ext uri="{9D8B030D-6E8A-4147-A177-3AD203B41FA5}">
                      <a16:colId xmlns:a16="http://schemas.microsoft.com/office/drawing/2014/main" val="2789052240"/>
                    </a:ext>
                  </a:extLst>
                </a:gridCol>
                <a:gridCol w="542692">
                  <a:extLst>
                    <a:ext uri="{9D8B030D-6E8A-4147-A177-3AD203B41FA5}">
                      <a16:colId xmlns:a16="http://schemas.microsoft.com/office/drawing/2014/main" val="934059172"/>
                    </a:ext>
                  </a:extLst>
                </a:gridCol>
                <a:gridCol w="548929">
                  <a:extLst>
                    <a:ext uri="{9D8B030D-6E8A-4147-A177-3AD203B41FA5}">
                      <a16:colId xmlns:a16="http://schemas.microsoft.com/office/drawing/2014/main" val="2030006261"/>
                    </a:ext>
                  </a:extLst>
                </a:gridCol>
                <a:gridCol w="548929">
                  <a:extLst>
                    <a:ext uri="{9D8B030D-6E8A-4147-A177-3AD203B41FA5}">
                      <a16:colId xmlns:a16="http://schemas.microsoft.com/office/drawing/2014/main" val="432826536"/>
                    </a:ext>
                  </a:extLst>
                </a:gridCol>
                <a:gridCol w="548929">
                  <a:extLst>
                    <a:ext uri="{9D8B030D-6E8A-4147-A177-3AD203B41FA5}">
                      <a16:colId xmlns:a16="http://schemas.microsoft.com/office/drawing/2014/main" val="2227601458"/>
                    </a:ext>
                  </a:extLst>
                </a:gridCol>
                <a:gridCol w="582198">
                  <a:extLst>
                    <a:ext uri="{9D8B030D-6E8A-4147-A177-3AD203B41FA5}">
                      <a16:colId xmlns:a16="http://schemas.microsoft.com/office/drawing/2014/main" val="1817565240"/>
                    </a:ext>
                  </a:extLst>
                </a:gridCol>
                <a:gridCol w="582198">
                  <a:extLst>
                    <a:ext uri="{9D8B030D-6E8A-4147-A177-3AD203B41FA5}">
                      <a16:colId xmlns:a16="http://schemas.microsoft.com/office/drawing/2014/main" val="4163547157"/>
                    </a:ext>
                  </a:extLst>
                </a:gridCol>
                <a:gridCol w="582198">
                  <a:extLst>
                    <a:ext uri="{9D8B030D-6E8A-4147-A177-3AD203B41FA5}">
                      <a16:colId xmlns:a16="http://schemas.microsoft.com/office/drawing/2014/main" val="3691000936"/>
                    </a:ext>
                  </a:extLst>
                </a:gridCol>
                <a:gridCol w="582198">
                  <a:extLst>
                    <a:ext uri="{9D8B030D-6E8A-4147-A177-3AD203B41FA5}">
                      <a16:colId xmlns:a16="http://schemas.microsoft.com/office/drawing/2014/main" val="3215540460"/>
                    </a:ext>
                  </a:extLst>
                </a:gridCol>
                <a:gridCol w="582198">
                  <a:extLst>
                    <a:ext uri="{9D8B030D-6E8A-4147-A177-3AD203B41FA5}">
                      <a16:colId xmlns:a16="http://schemas.microsoft.com/office/drawing/2014/main" val="4221008561"/>
                    </a:ext>
                  </a:extLst>
                </a:gridCol>
                <a:gridCol w="582198">
                  <a:extLst>
                    <a:ext uri="{9D8B030D-6E8A-4147-A177-3AD203B41FA5}">
                      <a16:colId xmlns:a16="http://schemas.microsoft.com/office/drawing/2014/main" val="3569585098"/>
                    </a:ext>
                  </a:extLst>
                </a:gridCol>
                <a:gridCol w="582198">
                  <a:extLst>
                    <a:ext uri="{9D8B030D-6E8A-4147-A177-3AD203B41FA5}">
                      <a16:colId xmlns:a16="http://schemas.microsoft.com/office/drawing/2014/main" val="358231805"/>
                    </a:ext>
                  </a:extLst>
                </a:gridCol>
              </a:tblGrid>
              <a:tr h="133109">
                <a:tc>
                  <a:txBody>
                    <a:bodyPr/>
                    <a:lstStyle/>
                    <a:p>
                      <a:pPr algn="l" fontAlgn="b"/>
                      <a:r>
                        <a:rPr lang="en-ZA" sz="700" b="1"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Technolog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a:solidFill>
                            <a:srgbClr val="000000"/>
                          </a:solidFill>
                          <a:effectLst/>
                          <a:latin typeface="Calibri" panose="020F0502020204030204" pitchFamily="34" charset="0"/>
                        </a:rPr>
                        <a:t>Year 1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114353897"/>
                  </a:ext>
                </a:extLst>
              </a:tr>
              <a:tr h="133109">
                <a:tc>
                  <a:txBody>
                    <a:bodyPr/>
                    <a:lstStyle/>
                    <a:p>
                      <a:pPr algn="l" fontAlgn="b"/>
                      <a:r>
                        <a:rPr lang="en-ZA" sz="700" b="1" i="0" u="none" strike="noStrike">
                          <a:solidFill>
                            <a:srgbClr val="000000"/>
                          </a:solidFill>
                          <a:effectLst/>
                          <a:latin typeface="Calibri" panose="020F0502020204030204" pitchFamily="34" charset="0"/>
                        </a:rPr>
                        <a:t>Year (1st July)</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02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618845660"/>
                  </a:ext>
                </a:extLst>
              </a:tr>
              <a:tr h="133109">
                <a:tc>
                  <a:txBody>
                    <a:bodyPr/>
                    <a:lstStyle/>
                    <a:p>
                      <a:pPr algn="l" fontAlgn="b"/>
                      <a:r>
                        <a:rPr lang="en-ZA" sz="700" b="1" i="0" u="none" strike="noStrike">
                          <a:solidFill>
                            <a:srgbClr val="000000"/>
                          </a:solidFill>
                          <a:effectLst/>
                          <a:latin typeface="Calibri" panose="020F0502020204030204" pitchFamily="34" charset="0"/>
                        </a:rPr>
                        <a:t>Total Population</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17 533 7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20 634 9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23 826 7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27 103 0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30 466 0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33 917 9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37 461 2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41 098 2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44 831 4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48 663 52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532162061"/>
                  </a:ext>
                </a:extLst>
              </a:tr>
              <a:tr h="133109">
                <a:tc>
                  <a:txBody>
                    <a:bodyPr/>
                    <a:lstStyle/>
                    <a:p>
                      <a:pPr algn="l" fontAlgn="b"/>
                      <a:r>
                        <a:rPr lang="en-ZA" sz="800" b="0" i="0" u="none" strike="noStrike">
                          <a:solidFill>
                            <a:srgbClr val="000000"/>
                          </a:solidFill>
                          <a:effectLst/>
                          <a:latin typeface="Calibri" panose="020F0502020204030204" pitchFamily="34" charset="0"/>
                        </a:rPr>
                        <a:t>Active Customer Base (30 Day)</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1 322 4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5 772 9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12 163 0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21 784 36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29 920 4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36 263 4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39 716 2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43 075 2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46 671 8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50 307 77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150244833"/>
                  </a:ext>
                </a:extLst>
              </a:tr>
              <a:tr h="133109">
                <a:tc>
                  <a:txBody>
                    <a:bodyPr/>
                    <a:lstStyle/>
                    <a:p>
                      <a:pPr algn="l" fontAlgn="b"/>
                      <a:r>
                        <a:rPr lang="en-ZA" sz="700" b="1" i="0" u="none" strike="noStrike">
                          <a:solidFill>
                            <a:srgbClr val="000000"/>
                          </a:solidFill>
                          <a:effectLst/>
                          <a:latin typeface="Calibri" panose="020F0502020204030204" pitchFamily="34" charset="0"/>
                        </a:rPr>
                        <a:t>Active Data Base (30 Day)</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 076 7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4 757 4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0 134 7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8 326 36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5 294 3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30 849 7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33 920 0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36 906 0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40 109 7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43 353 59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411860653"/>
                  </a:ext>
                </a:extLst>
              </a:tr>
              <a:tr h="133109">
                <a:tc>
                  <a:txBody>
                    <a:bodyPr/>
                    <a:lstStyle/>
                    <a:p>
                      <a:pPr algn="l" fontAlgn="b"/>
                      <a:r>
                        <a:rPr lang="en-ZA" sz="800" b="0" i="0" u="none" strike="noStrike">
                          <a:solidFill>
                            <a:srgbClr val="000000"/>
                          </a:solidFill>
                          <a:effectLst/>
                          <a:latin typeface="Calibri" panose="020F0502020204030204" pitchFamily="34" charset="0"/>
                        </a:rPr>
                        <a:t>Market share of active data users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14,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1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2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2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2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2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29,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72345004"/>
                  </a:ext>
                </a:extLst>
              </a:tr>
              <a:tr h="133109">
                <a:tc>
                  <a:txBody>
                    <a:bodyPr/>
                    <a:lstStyle/>
                    <a:p>
                      <a:pPr algn="l" fontAlgn="b"/>
                      <a:r>
                        <a:rPr lang="en-ZA" sz="800" b="0" i="0" u="none" strike="noStrike">
                          <a:solidFill>
                            <a:srgbClr val="000000"/>
                          </a:solidFill>
                          <a:effectLst/>
                          <a:latin typeface="Calibri" panose="020F0502020204030204" pitchFamily="34" charset="0"/>
                        </a:rPr>
                        <a:t>Voice MOU [min]</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8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             11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             143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              16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              17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              17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              179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              184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              189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a:solidFill>
                            <a:srgbClr val="000000"/>
                          </a:solidFill>
                          <a:effectLst/>
                          <a:latin typeface="Calibri" panose="020F0502020204030204" pitchFamily="34" charset="0"/>
                        </a:rPr>
                        <a:t>              194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71923459"/>
                  </a:ext>
                </a:extLst>
              </a:tr>
              <a:tr h="133109">
                <a:tc>
                  <a:txBody>
                    <a:bodyPr/>
                    <a:lstStyle/>
                    <a:p>
                      <a:pPr algn="l" fontAlgn="b"/>
                      <a:r>
                        <a:rPr lang="en-ZA" sz="700" b="1" i="0" u="none" strike="noStrike">
                          <a:solidFill>
                            <a:srgbClr val="000000"/>
                          </a:solidFill>
                          <a:effectLst/>
                          <a:latin typeface="Calibri" panose="020F0502020204030204" pitchFamily="34" charset="0"/>
                        </a:rPr>
                        <a:t>Data per Month [GB]</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0,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a:solidFill>
                            <a:srgbClr val="000000"/>
                          </a:solidFill>
                          <a:effectLst/>
                          <a:latin typeface="Calibri" panose="020F0502020204030204" pitchFamily="34" charset="0"/>
                        </a:rPr>
                        <a:t>6,4</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602359942"/>
                  </a:ext>
                </a:extLst>
              </a:tr>
              <a:tr h="133109">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40820014"/>
                  </a:ext>
                </a:extLst>
              </a:tr>
              <a:tr h="141428">
                <a:tc>
                  <a:txBody>
                    <a:bodyPr/>
                    <a:lstStyle/>
                    <a:p>
                      <a:pPr algn="l" fontAlgn="b"/>
                      <a:r>
                        <a:rPr lang="en-ZA" sz="700" b="0" i="0" u="none" strike="noStrike">
                          <a:solidFill>
                            <a:srgbClr val="FFFFFF"/>
                          </a:solidFill>
                          <a:effectLst/>
                          <a:latin typeface="Calibri" panose="020F0502020204030204" pitchFamily="34" charset="0"/>
                        </a:rPr>
                        <a:t>Total LTE Cell Capacity [Mbp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l" fontAlgn="b"/>
                      <a:r>
                        <a:rPr lang="en-ZA" sz="8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700" b="0" i="0" u="none" strike="noStrike">
                          <a:solidFill>
                            <a:srgbClr val="FFFFFF"/>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b"/>
                      <a:r>
                        <a:rPr lang="en-ZA" sz="700" b="0" i="0" u="none" strike="noStrike">
                          <a:solidFill>
                            <a:srgbClr val="FFFFFF"/>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b"/>
                      <a:r>
                        <a:rPr lang="en-ZA" sz="700" b="0" i="0" u="none" strike="noStrike">
                          <a:solidFill>
                            <a:srgbClr val="FFFFFF"/>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b"/>
                      <a:r>
                        <a:rPr lang="en-ZA" sz="700" b="0" i="0" u="none" strike="noStrike">
                          <a:solidFill>
                            <a:srgbClr val="FFFFFF"/>
                          </a:solidFill>
                          <a:effectLst/>
                          <a:latin typeface="Calibri" panose="020F0502020204030204" pitchFamily="34" charset="0"/>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4"/>
                    </a:solidFill>
                  </a:tcPr>
                </a:tc>
                <a:tc>
                  <a:txBody>
                    <a:bodyPr/>
                    <a:lstStyle/>
                    <a:p>
                      <a:pPr algn="r" fontAlgn="b"/>
                      <a:r>
                        <a:rPr lang="en-ZA" sz="700" b="0" i="0" u="none" strike="noStrike">
                          <a:solidFill>
                            <a:srgbClr val="FFFFFF"/>
                          </a:solidFill>
                          <a:effectLst/>
                          <a:latin typeface="Calibri" panose="020F0502020204030204" pitchFamily="34" charset="0"/>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4"/>
                    </a:solidFill>
                  </a:tcPr>
                </a:tc>
                <a:tc>
                  <a:txBody>
                    <a:bodyPr/>
                    <a:lstStyle/>
                    <a:p>
                      <a:pPr algn="r" fontAlgn="b"/>
                      <a:r>
                        <a:rPr lang="en-ZA" sz="700" b="0" i="0" u="none" strike="noStrike">
                          <a:solidFill>
                            <a:srgbClr val="FFFFFF"/>
                          </a:solidFill>
                          <a:effectLst/>
                          <a:latin typeface="Calibri" panose="020F0502020204030204" pitchFamily="34" charset="0"/>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4"/>
                    </a:solidFill>
                  </a:tcPr>
                </a:tc>
                <a:tc>
                  <a:txBody>
                    <a:bodyPr/>
                    <a:lstStyle/>
                    <a:p>
                      <a:pPr algn="r" fontAlgn="b"/>
                      <a:r>
                        <a:rPr lang="en-ZA" sz="700" b="0" i="0" u="none" strike="noStrike">
                          <a:solidFill>
                            <a:srgbClr val="FFFFFF"/>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algn="r" fontAlgn="b"/>
                      <a:r>
                        <a:rPr lang="en-ZA" sz="700" b="0" i="0" u="none" strike="noStrike">
                          <a:solidFill>
                            <a:srgbClr val="FFFFFF"/>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algn="r" fontAlgn="b"/>
                      <a:r>
                        <a:rPr lang="en-ZA" sz="700" b="0" i="0" u="none" strike="noStrike">
                          <a:solidFill>
                            <a:srgbClr val="FFFFFF"/>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algn="r" fontAlgn="b"/>
                      <a:r>
                        <a:rPr lang="en-ZA" sz="700" b="0" i="0" u="none" strike="noStrike" dirty="0">
                          <a:solidFill>
                            <a:srgbClr val="FFFFFF"/>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extLst>
                  <a:ext uri="{0D108BD9-81ED-4DB2-BD59-A6C34878D82A}">
                    <a16:rowId xmlns:a16="http://schemas.microsoft.com/office/drawing/2014/main" val="485113184"/>
                  </a:ext>
                </a:extLst>
              </a:tr>
            </a:tbl>
          </a:graphicData>
        </a:graphic>
      </p:graphicFrame>
    </p:spTree>
    <p:extLst>
      <p:ext uri="{BB962C8B-B14F-4D97-AF65-F5344CB8AC3E}">
        <p14:creationId xmlns:p14="http://schemas.microsoft.com/office/powerpoint/2010/main" val="323310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9" name="Line 13">
            <a:extLst>
              <a:ext uri="{FF2B5EF4-FFF2-40B4-BE49-F238E27FC236}">
                <a16:creationId xmlns:a16="http://schemas.microsoft.com/office/drawing/2014/main" id="{F726258A-F474-1A4D-ACC6-EDF337E5C0B5}"/>
              </a:ext>
            </a:extLst>
          </p:cNvPr>
          <p:cNvSpPr>
            <a:spLocks noChangeShapeType="1"/>
          </p:cNvSpPr>
          <p:nvPr/>
        </p:nvSpPr>
        <p:spPr bwMode="auto">
          <a:xfrm flipV="1">
            <a:off x="5774995" y="1580989"/>
            <a:ext cx="479424" cy="2644"/>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71" name="Line 13">
            <a:extLst>
              <a:ext uri="{FF2B5EF4-FFF2-40B4-BE49-F238E27FC236}">
                <a16:creationId xmlns:a16="http://schemas.microsoft.com/office/drawing/2014/main" id="{DB79CAEA-7480-7741-A8C0-00C06870554F}"/>
              </a:ext>
            </a:extLst>
          </p:cNvPr>
          <p:cNvSpPr>
            <a:spLocks noChangeShapeType="1"/>
          </p:cNvSpPr>
          <p:nvPr/>
        </p:nvSpPr>
        <p:spPr bwMode="auto">
          <a:xfrm flipV="1">
            <a:off x="3915814" y="1658936"/>
            <a:ext cx="1025742" cy="0"/>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68" name="Line 13">
            <a:extLst>
              <a:ext uri="{FF2B5EF4-FFF2-40B4-BE49-F238E27FC236}">
                <a16:creationId xmlns:a16="http://schemas.microsoft.com/office/drawing/2014/main" id="{F1B17836-9B9A-3245-B5B0-222741597C1D}"/>
              </a:ext>
            </a:extLst>
          </p:cNvPr>
          <p:cNvSpPr>
            <a:spLocks noChangeShapeType="1"/>
          </p:cNvSpPr>
          <p:nvPr/>
        </p:nvSpPr>
        <p:spPr bwMode="auto">
          <a:xfrm flipV="1">
            <a:off x="910099" y="1755566"/>
            <a:ext cx="2366963" cy="0"/>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2" name="Title 1">
            <a:extLst>
              <a:ext uri="{FF2B5EF4-FFF2-40B4-BE49-F238E27FC236}">
                <a16:creationId xmlns:a16="http://schemas.microsoft.com/office/drawing/2014/main" id="{C4868B73-C478-E141-A92E-5FEE22FFAB9E}"/>
              </a:ext>
            </a:extLst>
          </p:cNvPr>
          <p:cNvSpPr>
            <a:spLocks noGrp="1"/>
          </p:cNvSpPr>
          <p:nvPr>
            <p:ph type="title"/>
          </p:nvPr>
        </p:nvSpPr>
        <p:spPr/>
        <p:txBody>
          <a:bodyPr/>
          <a:lstStyle/>
          <a:p>
            <a:r>
              <a:rPr lang="en-US" dirty="0"/>
              <a:t>Mobile Network Architecture</a:t>
            </a:r>
          </a:p>
        </p:txBody>
      </p:sp>
      <p:pic>
        <p:nvPicPr>
          <p:cNvPr id="4" name="Picture 4">
            <a:extLst>
              <a:ext uri="{FF2B5EF4-FFF2-40B4-BE49-F238E27FC236}">
                <a16:creationId xmlns:a16="http://schemas.microsoft.com/office/drawing/2014/main" id="{97F1A87C-63B3-2540-BDA6-5E11DDB8C30B}"/>
              </a:ext>
            </a:extLst>
          </p:cNvPr>
          <p:cNvPicPr>
            <a:picLocks noChangeAspect="1" noChangeArrowheads="1"/>
          </p:cNvPicPr>
          <p:nvPr/>
        </p:nvPicPr>
        <p:blipFill>
          <a:blip r:embed="rId2" cstate="print"/>
          <a:srcRect/>
          <a:stretch>
            <a:fillRect/>
          </a:stretch>
        </p:blipFill>
        <p:spPr bwMode="auto">
          <a:xfrm>
            <a:off x="6922756" y="2713003"/>
            <a:ext cx="796212" cy="762000"/>
          </a:xfrm>
          <a:prstGeom prst="rect">
            <a:avLst/>
          </a:prstGeom>
          <a:noFill/>
          <a:ln w="9525">
            <a:noFill/>
            <a:miter lim="800000"/>
            <a:headEnd/>
            <a:tailEnd/>
          </a:ln>
        </p:spPr>
      </p:pic>
      <p:sp>
        <p:nvSpPr>
          <p:cNvPr id="5" name="TextBox 4">
            <a:extLst>
              <a:ext uri="{FF2B5EF4-FFF2-40B4-BE49-F238E27FC236}">
                <a16:creationId xmlns:a16="http://schemas.microsoft.com/office/drawing/2014/main" id="{8C35928D-38FC-0E48-9CB5-70F17CB42CCB}"/>
              </a:ext>
            </a:extLst>
          </p:cNvPr>
          <p:cNvSpPr txBox="1"/>
          <p:nvPr/>
        </p:nvSpPr>
        <p:spPr>
          <a:xfrm>
            <a:off x="7151356" y="3057391"/>
            <a:ext cx="7620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PCRF</a:t>
            </a:r>
          </a:p>
        </p:txBody>
      </p:sp>
      <p:pic>
        <p:nvPicPr>
          <p:cNvPr id="6" name="Picture 4">
            <a:extLst>
              <a:ext uri="{FF2B5EF4-FFF2-40B4-BE49-F238E27FC236}">
                <a16:creationId xmlns:a16="http://schemas.microsoft.com/office/drawing/2014/main" id="{6A6805C1-B865-2146-AE76-6AB094E87153}"/>
              </a:ext>
            </a:extLst>
          </p:cNvPr>
          <p:cNvPicPr>
            <a:picLocks noChangeAspect="1" noChangeArrowheads="1"/>
          </p:cNvPicPr>
          <p:nvPr/>
        </p:nvPicPr>
        <p:blipFill>
          <a:blip r:embed="rId2" cstate="print"/>
          <a:srcRect/>
          <a:stretch>
            <a:fillRect/>
          </a:stretch>
        </p:blipFill>
        <p:spPr bwMode="auto">
          <a:xfrm>
            <a:off x="5398756" y="2636803"/>
            <a:ext cx="796212" cy="762000"/>
          </a:xfrm>
          <a:prstGeom prst="rect">
            <a:avLst/>
          </a:prstGeom>
          <a:noFill/>
          <a:ln w="9525">
            <a:noFill/>
            <a:miter lim="800000"/>
            <a:headEnd/>
            <a:tailEnd/>
          </a:ln>
        </p:spPr>
      </p:pic>
      <p:sp>
        <p:nvSpPr>
          <p:cNvPr id="7" name="TextBox 6">
            <a:extLst>
              <a:ext uri="{FF2B5EF4-FFF2-40B4-BE49-F238E27FC236}">
                <a16:creationId xmlns:a16="http://schemas.microsoft.com/office/drawing/2014/main" id="{44A63916-D0BD-6F4A-B386-7C85C3A46395}"/>
              </a:ext>
            </a:extLst>
          </p:cNvPr>
          <p:cNvSpPr txBox="1"/>
          <p:nvPr/>
        </p:nvSpPr>
        <p:spPr>
          <a:xfrm>
            <a:off x="5703556" y="2981191"/>
            <a:ext cx="6096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HSS</a:t>
            </a:r>
          </a:p>
        </p:txBody>
      </p:sp>
      <p:sp>
        <p:nvSpPr>
          <p:cNvPr id="8" name="Oval 3">
            <a:extLst>
              <a:ext uri="{FF2B5EF4-FFF2-40B4-BE49-F238E27FC236}">
                <a16:creationId xmlns:a16="http://schemas.microsoft.com/office/drawing/2014/main" id="{AFBCD3B0-EE7B-7B4C-A054-19D2C0B7B51B}"/>
              </a:ext>
            </a:extLst>
          </p:cNvPr>
          <p:cNvSpPr>
            <a:spLocks noChangeArrowheads="1"/>
          </p:cNvSpPr>
          <p:nvPr/>
        </p:nvSpPr>
        <p:spPr bwMode="auto">
          <a:xfrm>
            <a:off x="6676872" y="3593941"/>
            <a:ext cx="304800" cy="1524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1000" b="1" dirty="0">
                <a:latin typeface="+mn-lt"/>
              </a:rPr>
              <a:t>Gx</a:t>
            </a:r>
          </a:p>
        </p:txBody>
      </p:sp>
      <p:sp>
        <p:nvSpPr>
          <p:cNvPr id="9" name="Line 13">
            <a:extLst>
              <a:ext uri="{FF2B5EF4-FFF2-40B4-BE49-F238E27FC236}">
                <a16:creationId xmlns:a16="http://schemas.microsoft.com/office/drawing/2014/main" id="{A0A49149-D811-3D40-AA01-931254DB7739}"/>
              </a:ext>
            </a:extLst>
          </p:cNvPr>
          <p:cNvSpPr>
            <a:spLocks noChangeShapeType="1"/>
          </p:cNvSpPr>
          <p:nvPr/>
        </p:nvSpPr>
        <p:spPr bwMode="auto">
          <a:xfrm flipV="1">
            <a:off x="2045956" y="4197315"/>
            <a:ext cx="2366963" cy="0"/>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10" name="Line 17">
            <a:extLst>
              <a:ext uri="{FF2B5EF4-FFF2-40B4-BE49-F238E27FC236}">
                <a16:creationId xmlns:a16="http://schemas.microsoft.com/office/drawing/2014/main" id="{703E0E7A-9F15-BF47-BC37-11D311C4A784}"/>
              </a:ext>
            </a:extLst>
          </p:cNvPr>
          <p:cNvSpPr>
            <a:spLocks noChangeShapeType="1"/>
          </p:cNvSpPr>
          <p:nvPr/>
        </p:nvSpPr>
        <p:spPr bwMode="auto">
          <a:xfrm flipV="1">
            <a:off x="2093581" y="3298790"/>
            <a:ext cx="2390775" cy="1111250"/>
          </a:xfrm>
          <a:prstGeom prst="line">
            <a:avLst/>
          </a:prstGeom>
          <a:noFill/>
          <a:ln w="28575">
            <a:solidFill>
              <a:schemeClr val="tx1"/>
            </a:solidFill>
            <a:prstDash val="dash"/>
            <a:round/>
            <a:headEnd/>
            <a:tailEnd/>
          </a:ln>
          <a:effectLst>
            <a:glow rad="101600">
              <a:schemeClr val="accent6">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11" name="Line 27">
            <a:extLst>
              <a:ext uri="{FF2B5EF4-FFF2-40B4-BE49-F238E27FC236}">
                <a16:creationId xmlns:a16="http://schemas.microsoft.com/office/drawing/2014/main" id="{FF4F32C2-B359-264B-A444-AF0A2A141EC5}"/>
              </a:ext>
            </a:extLst>
          </p:cNvPr>
          <p:cNvSpPr>
            <a:spLocks noChangeShapeType="1"/>
          </p:cNvSpPr>
          <p:nvPr/>
        </p:nvSpPr>
        <p:spPr bwMode="auto">
          <a:xfrm flipV="1">
            <a:off x="4865356" y="3070190"/>
            <a:ext cx="685800" cy="222250"/>
          </a:xfrm>
          <a:prstGeom prst="line">
            <a:avLst/>
          </a:prstGeom>
          <a:noFill/>
          <a:ln w="28575">
            <a:solidFill>
              <a:schemeClr val="tx1"/>
            </a:solidFill>
            <a:prstDash val="dash"/>
            <a:round/>
            <a:headEnd/>
            <a:tailEnd/>
          </a:ln>
          <a:effectLst>
            <a:glow rad="101600">
              <a:schemeClr val="accent6">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12" name="Line 28">
            <a:extLst>
              <a:ext uri="{FF2B5EF4-FFF2-40B4-BE49-F238E27FC236}">
                <a16:creationId xmlns:a16="http://schemas.microsoft.com/office/drawing/2014/main" id="{3CA79581-F5CB-9E40-8C99-1FD8481FB76C}"/>
              </a:ext>
            </a:extLst>
          </p:cNvPr>
          <p:cNvSpPr>
            <a:spLocks noChangeShapeType="1"/>
          </p:cNvSpPr>
          <p:nvPr/>
        </p:nvSpPr>
        <p:spPr bwMode="auto">
          <a:xfrm flipH="1">
            <a:off x="4551031" y="3603590"/>
            <a:ext cx="0" cy="382588"/>
          </a:xfrm>
          <a:prstGeom prst="line">
            <a:avLst/>
          </a:prstGeom>
          <a:noFill/>
          <a:ln w="28575">
            <a:solidFill>
              <a:schemeClr val="tx1"/>
            </a:solidFill>
            <a:prstDash val="dash"/>
            <a:round/>
            <a:headEnd/>
            <a:tailEnd/>
          </a:ln>
          <a:effectLst>
            <a:glow rad="139700">
              <a:schemeClr val="accent6">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13" name="Line 34">
            <a:extLst>
              <a:ext uri="{FF2B5EF4-FFF2-40B4-BE49-F238E27FC236}">
                <a16:creationId xmlns:a16="http://schemas.microsoft.com/office/drawing/2014/main" id="{DE842C48-A59D-8F41-B0B3-5D75C6018820}"/>
              </a:ext>
            </a:extLst>
          </p:cNvPr>
          <p:cNvSpPr>
            <a:spLocks noChangeShapeType="1"/>
          </p:cNvSpPr>
          <p:nvPr/>
        </p:nvSpPr>
        <p:spPr bwMode="auto">
          <a:xfrm>
            <a:off x="4889169" y="4197315"/>
            <a:ext cx="1365250" cy="0"/>
          </a:xfrm>
          <a:prstGeom prst="line">
            <a:avLst/>
          </a:prstGeom>
          <a:noFill/>
          <a:ln w="9525" cap="sq">
            <a:solidFill>
              <a:schemeClr val="tx1"/>
            </a:solidFill>
            <a:round/>
            <a:headEnd/>
            <a:tailEnd/>
          </a:ln>
          <a:effectLst>
            <a:glow rad="228600">
              <a:schemeClr val="accent4">
                <a:satMod val="175000"/>
                <a:alpha val="40000"/>
              </a:schemeClr>
            </a:glow>
          </a:effectLst>
        </p:spPr>
        <p:txBody>
          <a:bodyPr>
            <a:spAutoFit/>
          </a:bodyPr>
          <a:lstStyle/>
          <a:p>
            <a:pPr algn="l">
              <a:spcBef>
                <a:spcPct val="50000"/>
              </a:spcBef>
              <a:defRPr/>
            </a:pPr>
            <a:endParaRPr lang="en-US" sz="1800" b="1">
              <a:latin typeface="+mn-lt"/>
              <a:ea typeface="ＭＳ Ｐゴシック" pitchFamily="34" charset="-128"/>
            </a:endParaRPr>
          </a:p>
        </p:txBody>
      </p:sp>
      <p:sp>
        <p:nvSpPr>
          <p:cNvPr id="14" name="Line 35">
            <a:extLst>
              <a:ext uri="{FF2B5EF4-FFF2-40B4-BE49-F238E27FC236}">
                <a16:creationId xmlns:a16="http://schemas.microsoft.com/office/drawing/2014/main" id="{FF144FB9-2E02-A644-A7BF-A90806D96965}"/>
              </a:ext>
            </a:extLst>
          </p:cNvPr>
          <p:cNvSpPr>
            <a:spLocks noChangeShapeType="1"/>
          </p:cNvSpPr>
          <p:nvPr/>
        </p:nvSpPr>
        <p:spPr bwMode="auto">
          <a:xfrm flipV="1">
            <a:off x="6617956" y="4440203"/>
            <a:ext cx="1200150" cy="1587"/>
          </a:xfrm>
          <a:prstGeom prst="line">
            <a:avLst/>
          </a:prstGeom>
          <a:noFill/>
          <a:ln w="9525" cap="sq">
            <a:solidFill>
              <a:schemeClr val="tx1"/>
            </a:solidFill>
            <a:round/>
            <a:headEnd/>
            <a:tailEnd/>
          </a:ln>
          <a:effectLst>
            <a:glow rad="228600">
              <a:schemeClr val="accent4">
                <a:satMod val="175000"/>
                <a:alpha val="40000"/>
              </a:schemeClr>
            </a:glow>
          </a:effectLst>
        </p:spPr>
        <p:txBody>
          <a:bodyPr>
            <a:spAutoFit/>
          </a:bodyPr>
          <a:lstStyle/>
          <a:p>
            <a:pPr algn="l">
              <a:spcBef>
                <a:spcPct val="50000"/>
              </a:spcBef>
              <a:defRPr/>
            </a:pPr>
            <a:endParaRPr lang="en-US" sz="1800" b="1">
              <a:latin typeface="+mn-lt"/>
              <a:ea typeface="ＭＳ Ｐゴシック" pitchFamily="34" charset="-128"/>
            </a:endParaRPr>
          </a:p>
        </p:txBody>
      </p:sp>
      <p:sp>
        <p:nvSpPr>
          <p:cNvPr id="15" name="Line 36">
            <a:extLst>
              <a:ext uri="{FF2B5EF4-FFF2-40B4-BE49-F238E27FC236}">
                <a16:creationId xmlns:a16="http://schemas.microsoft.com/office/drawing/2014/main" id="{60ED3DD1-7926-2741-A711-D482ADD8C005}"/>
              </a:ext>
            </a:extLst>
          </p:cNvPr>
          <p:cNvSpPr>
            <a:spLocks noChangeShapeType="1"/>
          </p:cNvSpPr>
          <p:nvPr/>
        </p:nvSpPr>
        <p:spPr bwMode="auto">
          <a:xfrm flipH="1">
            <a:off x="6513180" y="3398803"/>
            <a:ext cx="790575" cy="588962"/>
          </a:xfrm>
          <a:prstGeom prst="line">
            <a:avLst/>
          </a:prstGeom>
          <a:noFill/>
          <a:ln w="28575">
            <a:solidFill>
              <a:schemeClr val="tx1"/>
            </a:solidFill>
            <a:prstDash val="dash"/>
            <a:round/>
            <a:headEnd/>
            <a:tailEnd/>
          </a:ln>
          <a:effectLst>
            <a:glow rad="101600">
              <a:schemeClr val="accent6">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16" name="Line 37">
            <a:extLst>
              <a:ext uri="{FF2B5EF4-FFF2-40B4-BE49-F238E27FC236}">
                <a16:creationId xmlns:a16="http://schemas.microsoft.com/office/drawing/2014/main" id="{C8BB27CA-DE08-0744-B5C7-8797A8C7359F}"/>
              </a:ext>
            </a:extLst>
          </p:cNvPr>
          <p:cNvSpPr>
            <a:spLocks noChangeShapeType="1"/>
          </p:cNvSpPr>
          <p:nvPr/>
        </p:nvSpPr>
        <p:spPr bwMode="auto">
          <a:xfrm>
            <a:off x="7532356" y="3374990"/>
            <a:ext cx="457200" cy="762000"/>
          </a:xfrm>
          <a:prstGeom prst="line">
            <a:avLst/>
          </a:prstGeom>
          <a:noFill/>
          <a:ln w="28575">
            <a:solidFill>
              <a:schemeClr val="tx1"/>
            </a:solidFill>
            <a:prstDash val="dash"/>
            <a:round/>
            <a:headEnd/>
            <a:tailEnd/>
          </a:ln>
          <a:effectLst>
            <a:glow rad="101600">
              <a:schemeClr val="accent6">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pic>
        <p:nvPicPr>
          <p:cNvPr id="17" name="Picture 40" descr="PDA">
            <a:extLst>
              <a:ext uri="{FF2B5EF4-FFF2-40B4-BE49-F238E27FC236}">
                <a16:creationId xmlns:a16="http://schemas.microsoft.com/office/drawing/2014/main" id="{FD945AE8-927C-A947-A76E-B1415C3F119F}"/>
              </a:ext>
            </a:extLst>
          </p:cNvPr>
          <p:cNvPicPr>
            <a:picLocks noChangeAspect="1" noChangeArrowheads="1"/>
          </p:cNvPicPr>
          <p:nvPr/>
        </p:nvPicPr>
        <p:blipFill>
          <a:blip r:embed="rId3" cstate="print"/>
          <a:srcRect/>
          <a:stretch>
            <a:fillRect/>
          </a:stretch>
        </p:blipFill>
        <p:spPr bwMode="auto">
          <a:xfrm>
            <a:off x="856919" y="4043328"/>
            <a:ext cx="458787" cy="533400"/>
          </a:xfrm>
          <a:prstGeom prst="rect">
            <a:avLst/>
          </a:prstGeom>
          <a:noFill/>
          <a:ln w="9525">
            <a:noFill/>
            <a:miter lim="800000"/>
            <a:headEnd/>
            <a:tailEnd/>
          </a:ln>
        </p:spPr>
      </p:pic>
      <p:sp>
        <p:nvSpPr>
          <p:cNvPr id="18" name="Line 43">
            <a:extLst>
              <a:ext uri="{FF2B5EF4-FFF2-40B4-BE49-F238E27FC236}">
                <a16:creationId xmlns:a16="http://schemas.microsoft.com/office/drawing/2014/main" id="{12E7D8DB-5329-8D4F-8BF1-BB6808E13A77}"/>
              </a:ext>
            </a:extLst>
          </p:cNvPr>
          <p:cNvSpPr>
            <a:spLocks noChangeShapeType="1"/>
          </p:cNvSpPr>
          <p:nvPr/>
        </p:nvSpPr>
        <p:spPr bwMode="auto">
          <a:xfrm>
            <a:off x="1380794" y="4311615"/>
            <a:ext cx="360362" cy="1588"/>
          </a:xfrm>
          <a:prstGeom prst="line">
            <a:avLst/>
          </a:prstGeom>
          <a:noFill/>
          <a:ln w="9525" cap="sq">
            <a:solidFill>
              <a:schemeClr val="tx1"/>
            </a:solidFill>
            <a:round/>
            <a:headEnd type="arrow" w="med" len="med"/>
            <a:tailEnd type="arrow" w="med" len="med"/>
          </a:ln>
          <a:effectLst>
            <a:outerShdw blurRad="50800" dist="38100" dir="18900000" algn="bl" rotWithShape="0">
              <a:prstClr val="black">
                <a:alpha val="40000"/>
              </a:prstClr>
            </a:outerShdw>
          </a:effectLst>
        </p:spPr>
        <p:txBody>
          <a:bodyPr wrap="square">
            <a:spAutoFit/>
          </a:bodyPr>
          <a:lstStyle/>
          <a:p>
            <a:pPr algn="l">
              <a:spcBef>
                <a:spcPct val="50000"/>
              </a:spcBef>
              <a:defRPr/>
            </a:pPr>
            <a:endParaRPr lang="en-US" sz="1800" b="1">
              <a:latin typeface="+mn-lt"/>
              <a:ea typeface="ＭＳ Ｐゴシック" pitchFamily="34" charset="-128"/>
            </a:endParaRPr>
          </a:p>
        </p:txBody>
      </p:sp>
      <p:sp>
        <p:nvSpPr>
          <p:cNvPr id="19" name="Line 95">
            <a:extLst>
              <a:ext uri="{FF2B5EF4-FFF2-40B4-BE49-F238E27FC236}">
                <a16:creationId xmlns:a16="http://schemas.microsoft.com/office/drawing/2014/main" id="{40ECE750-CEF4-D040-982D-06D826DAA9B7}"/>
              </a:ext>
            </a:extLst>
          </p:cNvPr>
          <p:cNvSpPr>
            <a:spLocks noChangeShapeType="1"/>
          </p:cNvSpPr>
          <p:nvPr/>
        </p:nvSpPr>
        <p:spPr bwMode="auto">
          <a:xfrm>
            <a:off x="4827256" y="4087778"/>
            <a:ext cx="1473200" cy="0"/>
          </a:xfrm>
          <a:prstGeom prst="line">
            <a:avLst/>
          </a:prstGeom>
          <a:noFill/>
          <a:ln w="28575">
            <a:solidFill>
              <a:schemeClr val="tx1"/>
            </a:solidFill>
            <a:prstDash val="dash"/>
            <a:round/>
            <a:headEnd/>
            <a:tailEnd/>
          </a:ln>
          <a:effectLst>
            <a:glow rad="101600">
              <a:schemeClr val="accent6">
                <a:satMod val="175000"/>
                <a:alpha val="40000"/>
              </a:schemeClr>
            </a:glow>
          </a:effectLst>
        </p:spPr>
        <p:txBody>
          <a:bodyPr>
            <a:spAutoFit/>
          </a:bodyPr>
          <a:lstStyle/>
          <a:p>
            <a:pPr algn="l">
              <a:spcBef>
                <a:spcPct val="50000"/>
              </a:spcBef>
              <a:defRPr/>
            </a:pPr>
            <a:endParaRPr lang="en-US" sz="1800" b="1">
              <a:latin typeface="+mn-lt"/>
              <a:ea typeface="ＭＳ Ｐゴシック" pitchFamily="34" charset="-128"/>
            </a:endParaRPr>
          </a:p>
        </p:txBody>
      </p:sp>
      <p:sp>
        <p:nvSpPr>
          <p:cNvPr id="20" name="Oval 33">
            <a:extLst>
              <a:ext uri="{FF2B5EF4-FFF2-40B4-BE49-F238E27FC236}">
                <a16:creationId xmlns:a16="http://schemas.microsoft.com/office/drawing/2014/main" id="{15CA6B19-7B51-2A42-A115-F1D54E10B365}"/>
              </a:ext>
            </a:extLst>
          </p:cNvPr>
          <p:cNvSpPr>
            <a:spLocks noChangeArrowheads="1"/>
          </p:cNvSpPr>
          <p:nvPr/>
        </p:nvSpPr>
        <p:spPr bwMode="auto">
          <a:xfrm>
            <a:off x="5203494" y="4111590"/>
            <a:ext cx="423862" cy="2540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1000" b="1">
                <a:latin typeface="+mn-lt"/>
              </a:rPr>
              <a:t>S5/S8</a:t>
            </a:r>
          </a:p>
        </p:txBody>
      </p:sp>
      <p:sp>
        <p:nvSpPr>
          <p:cNvPr id="21" name="Oval 34">
            <a:extLst>
              <a:ext uri="{FF2B5EF4-FFF2-40B4-BE49-F238E27FC236}">
                <a16:creationId xmlns:a16="http://schemas.microsoft.com/office/drawing/2014/main" id="{EA968E1B-9D8D-3745-8F84-05951A709DD1}"/>
              </a:ext>
            </a:extLst>
          </p:cNvPr>
          <p:cNvSpPr>
            <a:spLocks noChangeArrowheads="1"/>
          </p:cNvSpPr>
          <p:nvPr/>
        </p:nvSpPr>
        <p:spPr bwMode="auto">
          <a:xfrm>
            <a:off x="6846556" y="4136990"/>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1000" b="1" dirty="0">
                <a:latin typeface="+mn-lt"/>
              </a:rPr>
              <a:t>SGi</a:t>
            </a:r>
          </a:p>
        </p:txBody>
      </p:sp>
      <p:sp>
        <p:nvSpPr>
          <p:cNvPr id="22" name="Oval 35">
            <a:extLst>
              <a:ext uri="{FF2B5EF4-FFF2-40B4-BE49-F238E27FC236}">
                <a16:creationId xmlns:a16="http://schemas.microsoft.com/office/drawing/2014/main" id="{0C60F99B-2133-DB4A-81CE-611F9AE9EB9E}"/>
              </a:ext>
            </a:extLst>
          </p:cNvPr>
          <p:cNvSpPr>
            <a:spLocks noChangeArrowheads="1"/>
          </p:cNvSpPr>
          <p:nvPr/>
        </p:nvSpPr>
        <p:spPr bwMode="auto">
          <a:xfrm>
            <a:off x="3036556" y="4136990"/>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b="1">
                <a:latin typeface="+mn-lt"/>
              </a:rPr>
              <a:t>S1-U</a:t>
            </a:r>
          </a:p>
        </p:txBody>
      </p:sp>
      <p:sp>
        <p:nvSpPr>
          <p:cNvPr id="23" name="Oval 36">
            <a:extLst>
              <a:ext uri="{FF2B5EF4-FFF2-40B4-BE49-F238E27FC236}">
                <a16:creationId xmlns:a16="http://schemas.microsoft.com/office/drawing/2014/main" id="{1FDCB4FC-3798-9143-87CC-FBA06D8A55C2}"/>
              </a:ext>
            </a:extLst>
          </p:cNvPr>
          <p:cNvSpPr>
            <a:spLocks noChangeArrowheads="1"/>
          </p:cNvSpPr>
          <p:nvPr/>
        </p:nvSpPr>
        <p:spPr bwMode="auto">
          <a:xfrm>
            <a:off x="2884156" y="3527390"/>
            <a:ext cx="6096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800" b="1">
                <a:latin typeface="+mn-lt"/>
              </a:rPr>
              <a:t>S1-MME</a:t>
            </a:r>
          </a:p>
        </p:txBody>
      </p:sp>
      <p:sp>
        <p:nvSpPr>
          <p:cNvPr id="24" name="Oval 37">
            <a:extLst>
              <a:ext uri="{FF2B5EF4-FFF2-40B4-BE49-F238E27FC236}">
                <a16:creationId xmlns:a16="http://schemas.microsoft.com/office/drawing/2014/main" id="{AC5D5896-18BD-5147-A173-A203D1304864}"/>
              </a:ext>
            </a:extLst>
          </p:cNvPr>
          <p:cNvSpPr>
            <a:spLocks noChangeArrowheads="1"/>
          </p:cNvSpPr>
          <p:nvPr/>
        </p:nvSpPr>
        <p:spPr bwMode="auto">
          <a:xfrm>
            <a:off x="4712956" y="3679790"/>
            <a:ext cx="381000" cy="157163"/>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1000" b="1">
                <a:latin typeface="+mn-lt"/>
              </a:rPr>
              <a:t>S11</a:t>
            </a:r>
          </a:p>
        </p:txBody>
      </p:sp>
      <p:sp>
        <p:nvSpPr>
          <p:cNvPr id="25" name="Oval 38">
            <a:extLst>
              <a:ext uri="{FF2B5EF4-FFF2-40B4-BE49-F238E27FC236}">
                <a16:creationId xmlns:a16="http://schemas.microsoft.com/office/drawing/2014/main" id="{6F10A2DF-4B30-5E46-9328-60016EF4629E}"/>
              </a:ext>
            </a:extLst>
          </p:cNvPr>
          <p:cNvSpPr>
            <a:spLocks noChangeArrowheads="1"/>
          </p:cNvSpPr>
          <p:nvPr/>
        </p:nvSpPr>
        <p:spPr bwMode="auto">
          <a:xfrm>
            <a:off x="5017756" y="2917790"/>
            <a:ext cx="407988" cy="1524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1000" b="1">
                <a:latin typeface="+mn-lt"/>
              </a:rPr>
              <a:t>S6a</a:t>
            </a:r>
          </a:p>
        </p:txBody>
      </p:sp>
      <p:sp>
        <p:nvSpPr>
          <p:cNvPr id="26" name="Oval 39">
            <a:extLst>
              <a:ext uri="{FF2B5EF4-FFF2-40B4-BE49-F238E27FC236}">
                <a16:creationId xmlns:a16="http://schemas.microsoft.com/office/drawing/2014/main" id="{F09B123A-8A95-0A4A-ABDA-0F8D11055A23}"/>
              </a:ext>
            </a:extLst>
          </p:cNvPr>
          <p:cNvSpPr>
            <a:spLocks noChangeArrowheads="1"/>
          </p:cNvSpPr>
          <p:nvPr/>
        </p:nvSpPr>
        <p:spPr bwMode="auto">
          <a:xfrm>
            <a:off x="1268081" y="3932203"/>
            <a:ext cx="6096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800" b="1">
                <a:latin typeface="+mn-lt"/>
              </a:rPr>
              <a:t>LTE-Uu</a:t>
            </a:r>
          </a:p>
        </p:txBody>
      </p:sp>
      <p:grpSp>
        <p:nvGrpSpPr>
          <p:cNvPr id="27" name="Group 18">
            <a:extLst>
              <a:ext uri="{FF2B5EF4-FFF2-40B4-BE49-F238E27FC236}">
                <a16:creationId xmlns:a16="http://schemas.microsoft.com/office/drawing/2014/main" id="{1962B861-BB95-4247-8368-ADB16841F301}"/>
              </a:ext>
            </a:extLst>
          </p:cNvPr>
          <p:cNvGrpSpPr>
            <a:grpSpLocks/>
          </p:cNvGrpSpPr>
          <p:nvPr/>
        </p:nvGrpSpPr>
        <p:grpSpPr bwMode="auto">
          <a:xfrm>
            <a:off x="7303756" y="3984590"/>
            <a:ext cx="1279525" cy="731838"/>
            <a:chOff x="4032" y="1329"/>
            <a:chExt cx="1142" cy="666"/>
          </a:xfrm>
        </p:grpSpPr>
        <p:pic>
          <p:nvPicPr>
            <p:cNvPr id="28" name="Picture 19" descr="cloud">
              <a:extLst>
                <a:ext uri="{FF2B5EF4-FFF2-40B4-BE49-F238E27FC236}">
                  <a16:creationId xmlns:a16="http://schemas.microsoft.com/office/drawing/2014/main" id="{783EFF9A-2470-0142-A403-6122B63D3BC9}"/>
                </a:ext>
              </a:extLst>
            </p:cNvPr>
            <p:cNvPicPr>
              <a:picLocks noChangeAspect="1" noChangeArrowheads="1"/>
            </p:cNvPicPr>
            <p:nvPr/>
          </p:nvPicPr>
          <p:blipFill>
            <a:blip r:embed="rId4" cstate="print"/>
            <a:srcRect/>
            <a:stretch>
              <a:fillRect/>
            </a:stretch>
          </p:blipFill>
          <p:spPr bwMode="auto">
            <a:xfrm>
              <a:off x="4032" y="1329"/>
              <a:ext cx="1142" cy="666"/>
            </a:xfrm>
            <a:prstGeom prst="rect">
              <a:avLst/>
            </a:prstGeom>
            <a:noFill/>
            <a:ln w="9525">
              <a:noFill/>
              <a:miter lim="800000"/>
              <a:headEnd/>
              <a:tailEnd/>
            </a:ln>
          </p:spPr>
        </p:pic>
        <p:sp>
          <p:nvSpPr>
            <p:cNvPr id="29" name="Text Box 20">
              <a:extLst>
                <a:ext uri="{FF2B5EF4-FFF2-40B4-BE49-F238E27FC236}">
                  <a16:creationId xmlns:a16="http://schemas.microsoft.com/office/drawing/2014/main" id="{DF7D881D-53B4-2B4C-9565-EBE7E10C822F}"/>
                </a:ext>
              </a:extLst>
            </p:cNvPr>
            <p:cNvSpPr txBox="1">
              <a:spLocks noChangeArrowheads="1"/>
            </p:cNvSpPr>
            <p:nvPr/>
          </p:nvSpPr>
          <p:spPr bwMode="auto">
            <a:xfrm>
              <a:off x="4336" y="1528"/>
              <a:ext cx="576" cy="105"/>
            </a:xfrm>
            <a:prstGeom prst="rect">
              <a:avLst/>
            </a:prstGeom>
            <a:noFill/>
            <a:ln w="12700" cap="sq">
              <a:noFill/>
              <a:miter lim="800000"/>
              <a:headEnd type="none" w="sm" len="sm"/>
              <a:tailEnd type="none" w="sm" len="sm"/>
            </a:ln>
          </p:spPr>
          <p:txBody>
            <a:bodyPr lIns="59436" tIns="29718" rIns="59436" bIns="29718"/>
            <a:lstStyle/>
            <a:p>
              <a:pPr>
                <a:spcBef>
                  <a:spcPct val="50000"/>
                </a:spcBef>
              </a:pPr>
              <a:r>
                <a:rPr lang="en-US" altLang="ja-JP" sz="1200" b="1">
                  <a:solidFill>
                    <a:srgbClr val="007CC3"/>
                  </a:solidFill>
                  <a:latin typeface="+mn-lt"/>
                </a:rPr>
                <a:t>PDN</a:t>
              </a:r>
              <a:endParaRPr lang="en-US" sz="2800" b="1">
                <a:latin typeface="+mn-lt"/>
              </a:endParaRPr>
            </a:p>
          </p:txBody>
        </p:sp>
      </p:grpSp>
      <p:sp>
        <p:nvSpPr>
          <p:cNvPr id="30" name="Oval 44">
            <a:extLst>
              <a:ext uri="{FF2B5EF4-FFF2-40B4-BE49-F238E27FC236}">
                <a16:creationId xmlns:a16="http://schemas.microsoft.com/office/drawing/2014/main" id="{5F7C4CC7-0260-674C-9ACF-A7184D82B0B5}"/>
              </a:ext>
            </a:extLst>
          </p:cNvPr>
          <p:cNvSpPr>
            <a:spLocks noChangeArrowheads="1"/>
          </p:cNvSpPr>
          <p:nvPr/>
        </p:nvSpPr>
        <p:spPr bwMode="auto">
          <a:xfrm>
            <a:off x="7760956" y="3603590"/>
            <a:ext cx="304800" cy="1524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1000" b="1">
                <a:latin typeface="+mn-lt"/>
              </a:rPr>
              <a:t>Rx</a:t>
            </a:r>
          </a:p>
        </p:txBody>
      </p:sp>
      <p:pic>
        <p:nvPicPr>
          <p:cNvPr id="31" name="Picture 100" descr="app-server">
            <a:extLst>
              <a:ext uri="{FF2B5EF4-FFF2-40B4-BE49-F238E27FC236}">
                <a16:creationId xmlns:a16="http://schemas.microsoft.com/office/drawing/2014/main" id="{FCF63B17-4233-E644-890C-3D6B0C5A96D1}"/>
              </a:ext>
            </a:extLst>
          </p:cNvPr>
          <p:cNvPicPr>
            <a:picLocks noChangeAspect="1" noChangeArrowheads="1"/>
          </p:cNvPicPr>
          <p:nvPr/>
        </p:nvPicPr>
        <p:blipFill>
          <a:blip r:embed="rId5" cstate="print"/>
          <a:srcRect/>
          <a:stretch>
            <a:fillRect/>
          </a:stretch>
        </p:blipFill>
        <p:spPr bwMode="auto">
          <a:xfrm>
            <a:off x="5170156" y="3475003"/>
            <a:ext cx="381000" cy="433387"/>
          </a:xfrm>
          <a:prstGeom prst="rect">
            <a:avLst/>
          </a:prstGeom>
          <a:noFill/>
          <a:ln w="9525">
            <a:noFill/>
            <a:miter lim="800000"/>
            <a:headEnd/>
            <a:tailEnd/>
          </a:ln>
        </p:spPr>
      </p:pic>
      <p:sp>
        <p:nvSpPr>
          <p:cNvPr id="32" name="Text Box 104">
            <a:extLst>
              <a:ext uri="{FF2B5EF4-FFF2-40B4-BE49-F238E27FC236}">
                <a16:creationId xmlns:a16="http://schemas.microsoft.com/office/drawing/2014/main" id="{2772BD3B-48FB-5946-A8C3-31DB6D782A76}"/>
              </a:ext>
            </a:extLst>
          </p:cNvPr>
          <p:cNvSpPr txBox="1">
            <a:spLocks noChangeArrowheads="1"/>
          </p:cNvSpPr>
          <p:nvPr/>
        </p:nvSpPr>
        <p:spPr bwMode="auto">
          <a:xfrm>
            <a:off x="5551156" y="3679790"/>
            <a:ext cx="304800" cy="152400"/>
          </a:xfrm>
          <a:prstGeom prst="rect">
            <a:avLst/>
          </a:prstGeom>
          <a:noFill/>
          <a:ln w="9525">
            <a:noFill/>
            <a:miter lim="800000"/>
            <a:headEnd/>
            <a:tailEnd/>
          </a:ln>
        </p:spPr>
        <p:txBody>
          <a:bodyPr lIns="0" tIns="0" rIns="0" bIns="0">
            <a:spAutoFit/>
          </a:bodyPr>
          <a:lstStyle/>
          <a:p>
            <a:pPr algn="l">
              <a:spcBef>
                <a:spcPct val="50000"/>
              </a:spcBef>
            </a:pPr>
            <a:r>
              <a:rPr lang="en-US" sz="1000" b="1">
                <a:solidFill>
                  <a:srgbClr val="000000"/>
                </a:solidFill>
                <a:latin typeface="+mn-lt"/>
              </a:rPr>
              <a:t>DNS</a:t>
            </a:r>
          </a:p>
        </p:txBody>
      </p:sp>
      <p:sp>
        <p:nvSpPr>
          <p:cNvPr id="33" name="Line 27">
            <a:extLst>
              <a:ext uri="{FF2B5EF4-FFF2-40B4-BE49-F238E27FC236}">
                <a16:creationId xmlns:a16="http://schemas.microsoft.com/office/drawing/2014/main" id="{8D222345-F4C8-0040-B394-8FD7986E644B}"/>
              </a:ext>
            </a:extLst>
          </p:cNvPr>
          <p:cNvSpPr>
            <a:spLocks noChangeShapeType="1"/>
          </p:cNvSpPr>
          <p:nvPr/>
        </p:nvSpPr>
        <p:spPr bwMode="auto">
          <a:xfrm>
            <a:off x="4865356" y="3444840"/>
            <a:ext cx="457200" cy="234950"/>
          </a:xfrm>
          <a:prstGeom prst="line">
            <a:avLst/>
          </a:prstGeom>
          <a:noFill/>
          <a:ln w="28575">
            <a:solidFill>
              <a:schemeClr val="tx1"/>
            </a:solidFill>
            <a:prstDash val="dash"/>
            <a:round/>
            <a:headEnd/>
            <a:tailEnd/>
          </a:ln>
          <a:effectLst>
            <a:glow rad="101600">
              <a:schemeClr val="accent6">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pic>
        <p:nvPicPr>
          <p:cNvPr id="34" name="Picture 4" descr="celltower">
            <a:extLst>
              <a:ext uri="{FF2B5EF4-FFF2-40B4-BE49-F238E27FC236}">
                <a16:creationId xmlns:a16="http://schemas.microsoft.com/office/drawing/2014/main" id="{C88CDBB5-DF34-5946-8666-7E4ED9F980EE}"/>
              </a:ext>
            </a:extLst>
          </p:cNvPr>
          <p:cNvPicPr>
            <a:picLocks noChangeAspect="1" noChangeArrowheads="1"/>
          </p:cNvPicPr>
          <p:nvPr/>
        </p:nvPicPr>
        <p:blipFill>
          <a:blip r:embed="rId6" cstate="print"/>
          <a:srcRect/>
          <a:stretch>
            <a:fillRect/>
          </a:stretch>
        </p:blipFill>
        <p:spPr bwMode="auto">
          <a:xfrm>
            <a:off x="1544183" y="3475003"/>
            <a:ext cx="958973" cy="1252306"/>
          </a:xfrm>
          <a:prstGeom prst="rect">
            <a:avLst/>
          </a:prstGeom>
          <a:noFill/>
        </p:spPr>
      </p:pic>
      <p:pic>
        <p:nvPicPr>
          <p:cNvPr id="35" name="Picture 49" descr="app-server">
            <a:extLst>
              <a:ext uri="{FF2B5EF4-FFF2-40B4-BE49-F238E27FC236}">
                <a16:creationId xmlns:a16="http://schemas.microsoft.com/office/drawing/2014/main" id="{C2EE4BE7-330F-A24E-A60F-FA0AB4157EA5}"/>
              </a:ext>
            </a:extLst>
          </p:cNvPr>
          <p:cNvPicPr>
            <a:picLocks noChangeAspect="1" noChangeArrowheads="1"/>
          </p:cNvPicPr>
          <p:nvPr/>
        </p:nvPicPr>
        <p:blipFill>
          <a:blip r:embed="rId7" cstate="print"/>
          <a:srcRect/>
          <a:stretch>
            <a:fillRect/>
          </a:stretch>
        </p:blipFill>
        <p:spPr bwMode="auto">
          <a:xfrm>
            <a:off x="3874756" y="4008403"/>
            <a:ext cx="1143000" cy="533400"/>
          </a:xfrm>
          <a:prstGeom prst="rect">
            <a:avLst/>
          </a:prstGeom>
          <a:noFill/>
        </p:spPr>
      </p:pic>
      <p:sp>
        <p:nvSpPr>
          <p:cNvPr id="36" name="TextBox 35">
            <a:extLst>
              <a:ext uri="{FF2B5EF4-FFF2-40B4-BE49-F238E27FC236}">
                <a16:creationId xmlns:a16="http://schemas.microsoft.com/office/drawing/2014/main" id="{5AB71983-AECA-8E47-9309-254B26606DB7}"/>
              </a:ext>
            </a:extLst>
          </p:cNvPr>
          <p:cNvSpPr txBox="1"/>
          <p:nvPr/>
        </p:nvSpPr>
        <p:spPr>
          <a:xfrm>
            <a:off x="4331956" y="4160803"/>
            <a:ext cx="6858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SGW</a:t>
            </a:r>
          </a:p>
        </p:txBody>
      </p:sp>
      <p:pic>
        <p:nvPicPr>
          <p:cNvPr id="37" name="Picture 49" descr="app-server">
            <a:extLst>
              <a:ext uri="{FF2B5EF4-FFF2-40B4-BE49-F238E27FC236}">
                <a16:creationId xmlns:a16="http://schemas.microsoft.com/office/drawing/2014/main" id="{D408B50B-BFCD-C445-9FBA-E1BFFE299C73}"/>
              </a:ext>
            </a:extLst>
          </p:cNvPr>
          <p:cNvPicPr>
            <a:picLocks noChangeAspect="1" noChangeArrowheads="1"/>
          </p:cNvPicPr>
          <p:nvPr/>
        </p:nvPicPr>
        <p:blipFill>
          <a:blip r:embed="rId7" cstate="print"/>
          <a:srcRect/>
          <a:stretch>
            <a:fillRect/>
          </a:stretch>
        </p:blipFill>
        <p:spPr bwMode="auto">
          <a:xfrm>
            <a:off x="5627356" y="4008403"/>
            <a:ext cx="1143000" cy="533400"/>
          </a:xfrm>
          <a:prstGeom prst="rect">
            <a:avLst/>
          </a:prstGeom>
          <a:noFill/>
        </p:spPr>
      </p:pic>
      <p:sp>
        <p:nvSpPr>
          <p:cNvPr id="38" name="TextBox 37">
            <a:extLst>
              <a:ext uri="{FF2B5EF4-FFF2-40B4-BE49-F238E27FC236}">
                <a16:creationId xmlns:a16="http://schemas.microsoft.com/office/drawing/2014/main" id="{C0BC0455-0BAA-0F48-9C82-341824E5D4B1}"/>
              </a:ext>
            </a:extLst>
          </p:cNvPr>
          <p:cNvSpPr txBox="1"/>
          <p:nvPr/>
        </p:nvSpPr>
        <p:spPr>
          <a:xfrm>
            <a:off x="6084556" y="4160803"/>
            <a:ext cx="6858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PGW</a:t>
            </a:r>
          </a:p>
        </p:txBody>
      </p:sp>
      <p:sp>
        <p:nvSpPr>
          <p:cNvPr id="39" name="TextBox 38">
            <a:extLst>
              <a:ext uri="{FF2B5EF4-FFF2-40B4-BE49-F238E27FC236}">
                <a16:creationId xmlns:a16="http://schemas.microsoft.com/office/drawing/2014/main" id="{C4855C65-F7F7-4F41-BFFA-F4E145494C1E}"/>
              </a:ext>
            </a:extLst>
          </p:cNvPr>
          <p:cNvSpPr txBox="1"/>
          <p:nvPr/>
        </p:nvSpPr>
        <p:spPr>
          <a:xfrm>
            <a:off x="1887206" y="4465603"/>
            <a:ext cx="6096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eNB</a:t>
            </a:r>
          </a:p>
        </p:txBody>
      </p:sp>
      <p:sp>
        <p:nvSpPr>
          <p:cNvPr id="40" name="TextBox 39">
            <a:extLst>
              <a:ext uri="{FF2B5EF4-FFF2-40B4-BE49-F238E27FC236}">
                <a16:creationId xmlns:a16="http://schemas.microsoft.com/office/drawing/2014/main" id="{51175E79-FFC2-094E-B92F-992999232B8C}"/>
              </a:ext>
            </a:extLst>
          </p:cNvPr>
          <p:cNvSpPr txBox="1"/>
          <p:nvPr/>
        </p:nvSpPr>
        <p:spPr>
          <a:xfrm>
            <a:off x="598156" y="4313203"/>
            <a:ext cx="4572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UE</a:t>
            </a:r>
          </a:p>
        </p:txBody>
      </p:sp>
      <p:pic>
        <p:nvPicPr>
          <p:cNvPr id="41" name="Picture 49" descr="app-server">
            <a:extLst>
              <a:ext uri="{FF2B5EF4-FFF2-40B4-BE49-F238E27FC236}">
                <a16:creationId xmlns:a16="http://schemas.microsoft.com/office/drawing/2014/main" id="{7BEA16CD-A900-1E43-8DFF-5E373CBE5386}"/>
              </a:ext>
            </a:extLst>
          </p:cNvPr>
          <p:cNvPicPr>
            <a:picLocks noChangeAspect="1" noChangeArrowheads="1"/>
          </p:cNvPicPr>
          <p:nvPr/>
        </p:nvPicPr>
        <p:blipFill>
          <a:blip r:embed="rId7" cstate="print"/>
          <a:srcRect/>
          <a:stretch>
            <a:fillRect/>
          </a:stretch>
        </p:blipFill>
        <p:spPr bwMode="auto">
          <a:xfrm>
            <a:off x="3798556" y="3017803"/>
            <a:ext cx="1143000" cy="533400"/>
          </a:xfrm>
          <a:prstGeom prst="rect">
            <a:avLst/>
          </a:prstGeom>
          <a:noFill/>
        </p:spPr>
      </p:pic>
      <p:sp>
        <p:nvSpPr>
          <p:cNvPr id="42" name="TextBox 41">
            <a:extLst>
              <a:ext uri="{FF2B5EF4-FFF2-40B4-BE49-F238E27FC236}">
                <a16:creationId xmlns:a16="http://schemas.microsoft.com/office/drawing/2014/main" id="{FA378383-EA7C-FF43-B1F0-6A2B454CDEC2}"/>
              </a:ext>
            </a:extLst>
          </p:cNvPr>
          <p:cNvSpPr txBox="1"/>
          <p:nvPr/>
        </p:nvSpPr>
        <p:spPr>
          <a:xfrm>
            <a:off x="4255756" y="3170203"/>
            <a:ext cx="6858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MME</a:t>
            </a:r>
          </a:p>
        </p:txBody>
      </p:sp>
      <p:pic>
        <p:nvPicPr>
          <p:cNvPr id="43" name="Picture 4" descr="celltower">
            <a:extLst>
              <a:ext uri="{FF2B5EF4-FFF2-40B4-BE49-F238E27FC236}">
                <a16:creationId xmlns:a16="http://schemas.microsoft.com/office/drawing/2014/main" id="{A3C40FD7-E521-AC4F-BB75-C42E91120641}"/>
              </a:ext>
            </a:extLst>
          </p:cNvPr>
          <p:cNvPicPr>
            <a:picLocks noChangeAspect="1" noChangeArrowheads="1"/>
          </p:cNvPicPr>
          <p:nvPr/>
        </p:nvPicPr>
        <p:blipFill>
          <a:blip r:embed="rId6" cstate="print"/>
          <a:srcRect/>
          <a:stretch>
            <a:fillRect/>
          </a:stretch>
        </p:blipFill>
        <p:spPr bwMode="auto">
          <a:xfrm>
            <a:off x="363228" y="1047523"/>
            <a:ext cx="958973" cy="1252306"/>
          </a:xfrm>
          <a:prstGeom prst="rect">
            <a:avLst/>
          </a:prstGeom>
          <a:noFill/>
        </p:spPr>
      </p:pic>
      <p:pic>
        <p:nvPicPr>
          <p:cNvPr id="44" name="Picture 4" descr="celltower">
            <a:extLst>
              <a:ext uri="{FF2B5EF4-FFF2-40B4-BE49-F238E27FC236}">
                <a16:creationId xmlns:a16="http://schemas.microsoft.com/office/drawing/2014/main" id="{BE7F8265-0637-334E-B632-72CD48B41238}"/>
              </a:ext>
            </a:extLst>
          </p:cNvPr>
          <p:cNvPicPr>
            <a:picLocks noChangeAspect="1" noChangeArrowheads="1"/>
          </p:cNvPicPr>
          <p:nvPr/>
        </p:nvPicPr>
        <p:blipFill>
          <a:blip r:embed="rId6" cstate="print"/>
          <a:srcRect/>
          <a:stretch>
            <a:fillRect/>
          </a:stretch>
        </p:blipFill>
        <p:spPr bwMode="auto">
          <a:xfrm>
            <a:off x="363706" y="2263972"/>
            <a:ext cx="958973" cy="1252306"/>
          </a:xfrm>
          <a:prstGeom prst="rect">
            <a:avLst/>
          </a:prstGeom>
          <a:noFill/>
        </p:spPr>
      </p:pic>
      <p:pic>
        <p:nvPicPr>
          <p:cNvPr id="45" name="Picture 49" descr="app-server">
            <a:extLst>
              <a:ext uri="{FF2B5EF4-FFF2-40B4-BE49-F238E27FC236}">
                <a16:creationId xmlns:a16="http://schemas.microsoft.com/office/drawing/2014/main" id="{C1C54E44-B965-7647-B852-D0C8780DE3A4}"/>
              </a:ext>
            </a:extLst>
          </p:cNvPr>
          <p:cNvPicPr>
            <a:picLocks noChangeAspect="1" noChangeArrowheads="1"/>
          </p:cNvPicPr>
          <p:nvPr/>
        </p:nvPicPr>
        <p:blipFill>
          <a:blip r:embed="rId7" cstate="print"/>
          <a:srcRect/>
          <a:stretch>
            <a:fillRect/>
          </a:stretch>
        </p:blipFill>
        <p:spPr bwMode="auto">
          <a:xfrm>
            <a:off x="1169656" y="1562298"/>
            <a:ext cx="1143000" cy="533400"/>
          </a:xfrm>
          <a:prstGeom prst="rect">
            <a:avLst/>
          </a:prstGeom>
          <a:noFill/>
        </p:spPr>
      </p:pic>
      <p:pic>
        <p:nvPicPr>
          <p:cNvPr id="46" name="Picture 49" descr="app-server">
            <a:extLst>
              <a:ext uri="{FF2B5EF4-FFF2-40B4-BE49-F238E27FC236}">
                <a16:creationId xmlns:a16="http://schemas.microsoft.com/office/drawing/2014/main" id="{2353B4E2-3698-F749-A23A-851AD7FD398C}"/>
              </a:ext>
            </a:extLst>
          </p:cNvPr>
          <p:cNvPicPr>
            <a:picLocks noChangeAspect="1" noChangeArrowheads="1"/>
          </p:cNvPicPr>
          <p:nvPr/>
        </p:nvPicPr>
        <p:blipFill>
          <a:blip r:embed="rId7" cstate="print"/>
          <a:srcRect/>
          <a:stretch>
            <a:fillRect/>
          </a:stretch>
        </p:blipFill>
        <p:spPr bwMode="auto">
          <a:xfrm>
            <a:off x="1208379" y="2643942"/>
            <a:ext cx="1143000" cy="533400"/>
          </a:xfrm>
          <a:prstGeom prst="rect">
            <a:avLst/>
          </a:prstGeom>
          <a:noFill/>
        </p:spPr>
      </p:pic>
      <p:sp>
        <p:nvSpPr>
          <p:cNvPr id="48" name="TextBox 47">
            <a:extLst>
              <a:ext uri="{FF2B5EF4-FFF2-40B4-BE49-F238E27FC236}">
                <a16:creationId xmlns:a16="http://schemas.microsoft.com/office/drawing/2014/main" id="{2A638BF9-B348-EA45-988A-F930D6A73DA5}"/>
              </a:ext>
            </a:extLst>
          </p:cNvPr>
          <p:cNvSpPr txBox="1"/>
          <p:nvPr/>
        </p:nvSpPr>
        <p:spPr>
          <a:xfrm>
            <a:off x="1585849" y="1755566"/>
            <a:ext cx="6858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BSC</a:t>
            </a:r>
          </a:p>
        </p:txBody>
      </p:sp>
      <p:sp>
        <p:nvSpPr>
          <p:cNvPr id="49" name="TextBox 48">
            <a:extLst>
              <a:ext uri="{FF2B5EF4-FFF2-40B4-BE49-F238E27FC236}">
                <a16:creationId xmlns:a16="http://schemas.microsoft.com/office/drawing/2014/main" id="{6BC0D775-2F77-2A49-9CA5-756AA2021013}"/>
              </a:ext>
            </a:extLst>
          </p:cNvPr>
          <p:cNvSpPr txBox="1"/>
          <p:nvPr/>
        </p:nvSpPr>
        <p:spPr>
          <a:xfrm>
            <a:off x="1698770" y="2840101"/>
            <a:ext cx="6858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RNC</a:t>
            </a:r>
          </a:p>
        </p:txBody>
      </p:sp>
      <p:sp>
        <p:nvSpPr>
          <p:cNvPr id="50" name="TextBox 49">
            <a:extLst>
              <a:ext uri="{FF2B5EF4-FFF2-40B4-BE49-F238E27FC236}">
                <a16:creationId xmlns:a16="http://schemas.microsoft.com/office/drawing/2014/main" id="{04B14BE4-D959-C244-9E15-DDE8A8B4352B}"/>
              </a:ext>
            </a:extLst>
          </p:cNvPr>
          <p:cNvSpPr txBox="1"/>
          <p:nvPr/>
        </p:nvSpPr>
        <p:spPr>
          <a:xfrm>
            <a:off x="644071" y="3297301"/>
            <a:ext cx="487486"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NB</a:t>
            </a:r>
          </a:p>
        </p:txBody>
      </p:sp>
      <p:sp>
        <p:nvSpPr>
          <p:cNvPr id="51" name="TextBox 50">
            <a:extLst>
              <a:ext uri="{FF2B5EF4-FFF2-40B4-BE49-F238E27FC236}">
                <a16:creationId xmlns:a16="http://schemas.microsoft.com/office/drawing/2014/main" id="{2503BB6A-6D26-CF4F-A569-919C64273927}"/>
              </a:ext>
            </a:extLst>
          </p:cNvPr>
          <p:cNvSpPr txBox="1"/>
          <p:nvPr/>
        </p:nvSpPr>
        <p:spPr>
          <a:xfrm>
            <a:off x="583014" y="2094117"/>
            <a:ext cx="6096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BTS</a:t>
            </a:r>
          </a:p>
        </p:txBody>
      </p:sp>
      <p:pic>
        <p:nvPicPr>
          <p:cNvPr id="52" name="Picture 49" descr="app-server">
            <a:extLst>
              <a:ext uri="{FF2B5EF4-FFF2-40B4-BE49-F238E27FC236}">
                <a16:creationId xmlns:a16="http://schemas.microsoft.com/office/drawing/2014/main" id="{0810111E-E168-B04E-B492-7CE366E5042C}"/>
              </a:ext>
            </a:extLst>
          </p:cNvPr>
          <p:cNvPicPr>
            <a:picLocks noChangeAspect="1" noChangeArrowheads="1"/>
          </p:cNvPicPr>
          <p:nvPr/>
        </p:nvPicPr>
        <p:blipFill>
          <a:blip r:embed="rId7" cstate="print"/>
          <a:srcRect/>
          <a:stretch>
            <a:fillRect/>
          </a:stretch>
        </p:blipFill>
        <p:spPr bwMode="auto">
          <a:xfrm>
            <a:off x="3036556" y="1411503"/>
            <a:ext cx="1143000" cy="533400"/>
          </a:xfrm>
          <a:prstGeom prst="rect">
            <a:avLst/>
          </a:prstGeom>
          <a:noFill/>
        </p:spPr>
      </p:pic>
      <p:pic>
        <p:nvPicPr>
          <p:cNvPr id="53" name="Picture 49" descr="app-server">
            <a:extLst>
              <a:ext uri="{FF2B5EF4-FFF2-40B4-BE49-F238E27FC236}">
                <a16:creationId xmlns:a16="http://schemas.microsoft.com/office/drawing/2014/main" id="{089B2F7E-12BF-4647-B9DE-0A79F0099309}"/>
              </a:ext>
            </a:extLst>
          </p:cNvPr>
          <p:cNvPicPr>
            <a:picLocks noChangeAspect="1" noChangeArrowheads="1"/>
          </p:cNvPicPr>
          <p:nvPr/>
        </p:nvPicPr>
        <p:blipFill>
          <a:blip r:embed="rId7" cstate="print"/>
          <a:srcRect/>
          <a:stretch>
            <a:fillRect/>
          </a:stretch>
        </p:blipFill>
        <p:spPr bwMode="auto">
          <a:xfrm>
            <a:off x="4653239" y="1346906"/>
            <a:ext cx="1143000" cy="533400"/>
          </a:xfrm>
          <a:prstGeom prst="rect">
            <a:avLst/>
          </a:prstGeom>
          <a:noFill/>
        </p:spPr>
      </p:pic>
      <p:sp>
        <p:nvSpPr>
          <p:cNvPr id="54" name="TextBox 53">
            <a:extLst>
              <a:ext uri="{FF2B5EF4-FFF2-40B4-BE49-F238E27FC236}">
                <a16:creationId xmlns:a16="http://schemas.microsoft.com/office/drawing/2014/main" id="{966234AF-FC27-9F4E-BA1A-CBD59EAF301F}"/>
              </a:ext>
            </a:extLst>
          </p:cNvPr>
          <p:cNvSpPr txBox="1"/>
          <p:nvPr/>
        </p:nvSpPr>
        <p:spPr>
          <a:xfrm>
            <a:off x="3320116" y="1584073"/>
            <a:ext cx="1046372"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MSC/VLR</a:t>
            </a:r>
          </a:p>
        </p:txBody>
      </p:sp>
      <p:sp>
        <p:nvSpPr>
          <p:cNvPr id="55" name="TextBox 54">
            <a:extLst>
              <a:ext uri="{FF2B5EF4-FFF2-40B4-BE49-F238E27FC236}">
                <a16:creationId xmlns:a16="http://schemas.microsoft.com/office/drawing/2014/main" id="{5509D133-A775-EC4E-A519-D22E0AEB22CD}"/>
              </a:ext>
            </a:extLst>
          </p:cNvPr>
          <p:cNvSpPr txBox="1"/>
          <p:nvPr/>
        </p:nvSpPr>
        <p:spPr>
          <a:xfrm>
            <a:off x="5055856" y="1599343"/>
            <a:ext cx="719138"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GMSC</a:t>
            </a:r>
          </a:p>
        </p:txBody>
      </p:sp>
      <p:pic>
        <p:nvPicPr>
          <p:cNvPr id="56" name="Picture 49" descr="app-server">
            <a:extLst>
              <a:ext uri="{FF2B5EF4-FFF2-40B4-BE49-F238E27FC236}">
                <a16:creationId xmlns:a16="http://schemas.microsoft.com/office/drawing/2014/main" id="{2A747FEB-0C4B-F04F-BADD-9A02452B7366}"/>
              </a:ext>
            </a:extLst>
          </p:cNvPr>
          <p:cNvPicPr>
            <a:picLocks noChangeAspect="1" noChangeArrowheads="1"/>
          </p:cNvPicPr>
          <p:nvPr/>
        </p:nvPicPr>
        <p:blipFill>
          <a:blip r:embed="rId7" cstate="print"/>
          <a:srcRect/>
          <a:stretch>
            <a:fillRect/>
          </a:stretch>
        </p:blipFill>
        <p:spPr bwMode="auto">
          <a:xfrm>
            <a:off x="3091073" y="2006872"/>
            <a:ext cx="1143000" cy="533400"/>
          </a:xfrm>
          <a:prstGeom prst="rect">
            <a:avLst/>
          </a:prstGeom>
          <a:noFill/>
        </p:spPr>
      </p:pic>
      <p:pic>
        <p:nvPicPr>
          <p:cNvPr id="57" name="Picture 49" descr="app-server">
            <a:extLst>
              <a:ext uri="{FF2B5EF4-FFF2-40B4-BE49-F238E27FC236}">
                <a16:creationId xmlns:a16="http://schemas.microsoft.com/office/drawing/2014/main" id="{1FB99511-C996-6846-BB1C-8A04299688A1}"/>
              </a:ext>
            </a:extLst>
          </p:cNvPr>
          <p:cNvPicPr>
            <a:picLocks noChangeAspect="1" noChangeArrowheads="1"/>
          </p:cNvPicPr>
          <p:nvPr/>
        </p:nvPicPr>
        <p:blipFill>
          <a:blip r:embed="rId7" cstate="print"/>
          <a:srcRect/>
          <a:stretch>
            <a:fillRect/>
          </a:stretch>
        </p:blipFill>
        <p:spPr bwMode="auto">
          <a:xfrm>
            <a:off x="4689507" y="2008100"/>
            <a:ext cx="1143000" cy="533400"/>
          </a:xfrm>
          <a:prstGeom prst="rect">
            <a:avLst/>
          </a:prstGeom>
          <a:noFill/>
        </p:spPr>
      </p:pic>
      <p:sp>
        <p:nvSpPr>
          <p:cNvPr id="58" name="TextBox 57">
            <a:extLst>
              <a:ext uri="{FF2B5EF4-FFF2-40B4-BE49-F238E27FC236}">
                <a16:creationId xmlns:a16="http://schemas.microsoft.com/office/drawing/2014/main" id="{71D52C6A-AF39-D047-ABF8-8DD941599547}"/>
              </a:ext>
            </a:extLst>
          </p:cNvPr>
          <p:cNvSpPr txBox="1"/>
          <p:nvPr/>
        </p:nvSpPr>
        <p:spPr>
          <a:xfrm>
            <a:off x="3472073" y="2259275"/>
            <a:ext cx="7620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SGSN</a:t>
            </a:r>
          </a:p>
        </p:txBody>
      </p:sp>
      <p:sp>
        <p:nvSpPr>
          <p:cNvPr id="59" name="TextBox 58">
            <a:extLst>
              <a:ext uri="{FF2B5EF4-FFF2-40B4-BE49-F238E27FC236}">
                <a16:creationId xmlns:a16="http://schemas.microsoft.com/office/drawing/2014/main" id="{7DF783D0-BED5-164E-AB5A-A21F9878852E}"/>
              </a:ext>
            </a:extLst>
          </p:cNvPr>
          <p:cNvSpPr txBox="1"/>
          <p:nvPr/>
        </p:nvSpPr>
        <p:spPr>
          <a:xfrm>
            <a:off x="5113369" y="2252078"/>
            <a:ext cx="719138"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GGSN</a:t>
            </a:r>
          </a:p>
        </p:txBody>
      </p:sp>
      <p:pic>
        <p:nvPicPr>
          <p:cNvPr id="61" name="Picture 49" descr="app-server">
            <a:extLst>
              <a:ext uri="{FF2B5EF4-FFF2-40B4-BE49-F238E27FC236}">
                <a16:creationId xmlns:a16="http://schemas.microsoft.com/office/drawing/2014/main" id="{FDF70D40-7AAC-284A-885C-ABA3B89783A8}"/>
              </a:ext>
            </a:extLst>
          </p:cNvPr>
          <p:cNvPicPr>
            <a:picLocks noChangeAspect="1" noChangeArrowheads="1"/>
          </p:cNvPicPr>
          <p:nvPr/>
        </p:nvPicPr>
        <p:blipFill>
          <a:blip r:embed="rId7" cstate="print"/>
          <a:srcRect/>
          <a:stretch>
            <a:fillRect/>
          </a:stretch>
        </p:blipFill>
        <p:spPr bwMode="auto">
          <a:xfrm>
            <a:off x="7760593" y="1385615"/>
            <a:ext cx="1143000" cy="533400"/>
          </a:xfrm>
          <a:prstGeom prst="rect">
            <a:avLst/>
          </a:prstGeom>
          <a:noFill/>
        </p:spPr>
      </p:pic>
      <p:sp>
        <p:nvSpPr>
          <p:cNvPr id="63" name="TextBox 62">
            <a:extLst>
              <a:ext uri="{FF2B5EF4-FFF2-40B4-BE49-F238E27FC236}">
                <a16:creationId xmlns:a16="http://schemas.microsoft.com/office/drawing/2014/main" id="{DC7AB08C-CCB7-E645-883E-7BC22D2E4C52}"/>
              </a:ext>
            </a:extLst>
          </p:cNvPr>
          <p:cNvSpPr txBox="1"/>
          <p:nvPr/>
        </p:nvSpPr>
        <p:spPr>
          <a:xfrm>
            <a:off x="8184455" y="1629593"/>
            <a:ext cx="719138"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MGW</a:t>
            </a:r>
          </a:p>
        </p:txBody>
      </p:sp>
      <p:pic>
        <p:nvPicPr>
          <p:cNvPr id="64" name="Picture 49" descr="app-server">
            <a:extLst>
              <a:ext uri="{FF2B5EF4-FFF2-40B4-BE49-F238E27FC236}">
                <a16:creationId xmlns:a16="http://schemas.microsoft.com/office/drawing/2014/main" id="{A9AE7B66-25A3-724B-8BB6-C531D5E159FC}"/>
              </a:ext>
            </a:extLst>
          </p:cNvPr>
          <p:cNvPicPr>
            <a:picLocks noChangeAspect="1" noChangeArrowheads="1"/>
          </p:cNvPicPr>
          <p:nvPr/>
        </p:nvPicPr>
        <p:blipFill>
          <a:blip r:embed="rId7" cstate="print"/>
          <a:srcRect/>
          <a:stretch>
            <a:fillRect/>
          </a:stretch>
        </p:blipFill>
        <p:spPr bwMode="auto">
          <a:xfrm>
            <a:off x="6219672" y="2037122"/>
            <a:ext cx="1143000" cy="533400"/>
          </a:xfrm>
          <a:prstGeom prst="rect">
            <a:avLst/>
          </a:prstGeom>
          <a:noFill/>
        </p:spPr>
      </p:pic>
      <p:pic>
        <p:nvPicPr>
          <p:cNvPr id="65" name="Picture 49" descr="app-server">
            <a:extLst>
              <a:ext uri="{FF2B5EF4-FFF2-40B4-BE49-F238E27FC236}">
                <a16:creationId xmlns:a16="http://schemas.microsoft.com/office/drawing/2014/main" id="{645A5D76-1500-B044-A327-583C4510B768}"/>
              </a:ext>
            </a:extLst>
          </p:cNvPr>
          <p:cNvPicPr>
            <a:picLocks noChangeAspect="1" noChangeArrowheads="1"/>
          </p:cNvPicPr>
          <p:nvPr/>
        </p:nvPicPr>
        <p:blipFill>
          <a:blip r:embed="rId7" cstate="print"/>
          <a:srcRect/>
          <a:stretch>
            <a:fillRect/>
          </a:stretch>
        </p:blipFill>
        <p:spPr bwMode="auto">
          <a:xfrm>
            <a:off x="7818106" y="2038350"/>
            <a:ext cx="1143000" cy="533400"/>
          </a:xfrm>
          <a:prstGeom prst="rect">
            <a:avLst/>
          </a:prstGeom>
          <a:noFill/>
        </p:spPr>
      </p:pic>
      <p:sp>
        <p:nvSpPr>
          <p:cNvPr id="66" name="TextBox 65">
            <a:extLst>
              <a:ext uri="{FF2B5EF4-FFF2-40B4-BE49-F238E27FC236}">
                <a16:creationId xmlns:a16="http://schemas.microsoft.com/office/drawing/2014/main" id="{3460AE27-AA0F-A14F-B0AC-3DDC9CEC838F}"/>
              </a:ext>
            </a:extLst>
          </p:cNvPr>
          <p:cNvSpPr txBox="1"/>
          <p:nvPr/>
        </p:nvSpPr>
        <p:spPr>
          <a:xfrm>
            <a:off x="6600672" y="2289525"/>
            <a:ext cx="762000"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MGCP</a:t>
            </a:r>
          </a:p>
        </p:txBody>
      </p:sp>
      <p:sp>
        <p:nvSpPr>
          <p:cNvPr id="67" name="TextBox 66">
            <a:extLst>
              <a:ext uri="{FF2B5EF4-FFF2-40B4-BE49-F238E27FC236}">
                <a16:creationId xmlns:a16="http://schemas.microsoft.com/office/drawing/2014/main" id="{14C4717A-985E-1940-A136-DDED1AFBF45D}"/>
              </a:ext>
            </a:extLst>
          </p:cNvPr>
          <p:cNvSpPr txBox="1"/>
          <p:nvPr/>
        </p:nvSpPr>
        <p:spPr>
          <a:xfrm>
            <a:off x="7881728" y="2282328"/>
            <a:ext cx="1249338" cy="307777"/>
          </a:xfrm>
          <a:prstGeom prst="rect">
            <a:avLst/>
          </a:prstGeom>
          <a:solidFill>
            <a:schemeClr val="accent2">
              <a:lumMod val="20000"/>
              <a:lumOff val="80000"/>
            </a:schemeClr>
          </a:solidFill>
        </p:spPr>
        <p:txBody>
          <a:bodyPr wrap="square" rtlCol="0">
            <a:spAutoFit/>
          </a:bodyPr>
          <a:lstStyle/>
          <a:p>
            <a:r>
              <a:rPr lang="en-US" sz="1400" b="1" dirty="0">
                <a:solidFill>
                  <a:srgbClr val="000000"/>
                </a:solidFill>
                <a:latin typeface="+mn-lt"/>
              </a:rPr>
              <a:t>I/P/S-CSCF</a:t>
            </a:r>
          </a:p>
        </p:txBody>
      </p:sp>
      <p:sp>
        <p:nvSpPr>
          <p:cNvPr id="69" name="Line 13">
            <a:extLst>
              <a:ext uri="{FF2B5EF4-FFF2-40B4-BE49-F238E27FC236}">
                <a16:creationId xmlns:a16="http://schemas.microsoft.com/office/drawing/2014/main" id="{B19A2276-D503-3345-9A93-275C8FED8161}"/>
              </a:ext>
            </a:extLst>
          </p:cNvPr>
          <p:cNvSpPr>
            <a:spLocks noChangeShapeType="1"/>
          </p:cNvSpPr>
          <p:nvPr/>
        </p:nvSpPr>
        <p:spPr bwMode="auto">
          <a:xfrm flipV="1">
            <a:off x="913295" y="2892623"/>
            <a:ext cx="667288" cy="147020"/>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70" name="Line 13">
            <a:extLst>
              <a:ext uri="{FF2B5EF4-FFF2-40B4-BE49-F238E27FC236}">
                <a16:creationId xmlns:a16="http://schemas.microsoft.com/office/drawing/2014/main" id="{A7EC9D78-0D64-EB44-8910-1B4953FE488E}"/>
              </a:ext>
            </a:extLst>
          </p:cNvPr>
          <p:cNvSpPr>
            <a:spLocks noChangeShapeType="1"/>
          </p:cNvSpPr>
          <p:nvPr/>
        </p:nvSpPr>
        <p:spPr bwMode="auto">
          <a:xfrm flipV="1">
            <a:off x="2288592" y="2235913"/>
            <a:ext cx="1143000" cy="477090"/>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72" name="Line 13">
            <a:extLst>
              <a:ext uri="{FF2B5EF4-FFF2-40B4-BE49-F238E27FC236}">
                <a16:creationId xmlns:a16="http://schemas.microsoft.com/office/drawing/2014/main" id="{9FACFDFD-C9FD-D340-BC5C-09CC59FA033C}"/>
              </a:ext>
            </a:extLst>
          </p:cNvPr>
          <p:cNvSpPr>
            <a:spLocks noChangeShapeType="1"/>
          </p:cNvSpPr>
          <p:nvPr/>
        </p:nvSpPr>
        <p:spPr bwMode="auto">
          <a:xfrm flipH="1" flipV="1">
            <a:off x="4234072" y="2435810"/>
            <a:ext cx="1317083" cy="259729"/>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73" name="Line 13">
            <a:extLst>
              <a:ext uri="{FF2B5EF4-FFF2-40B4-BE49-F238E27FC236}">
                <a16:creationId xmlns:a16="http://schemas.microsoft.com/office/drawing/2014/main" id="{5E6397C5-79A1-DC42-A625-29CF141B63E1}"/>
              </a:ext>
            </a:extLst>
          </p:cNvPr>
          <p:cNvSpPr>
            <a:spLocks noChangeShapeType="1"/>
          </p:cNvSpPr>
          <p:nvPr/>
        </p:nvSpPr>
        <p:spPr bwMode="auto">
          <a:xfrm flipV="1">
            <a:off x="8303878" y="2580300"/>
            <a:ext cx="326551" cy="1507477"/>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74" name="Line 13">
            <a:extLst>
              <a:ext uri="{FF2B5EF4-FFF2-40B4-BE49-F238E27FC236}">
                <a16:creationId xmlns:a16="http://schemas.microsoft.com/office/drawing/2014/main" id="{11A98A16-4DBF-E545-8EAD-584B81961E14}"/>
              </a:ext>
            </a:extLst>
          </p:cNvPr>
          <p:cNvSpPr>
            <a:spLocks noChangeShapeType="1"/>
          </p:cNvSpPr>
          <p:nvPr/>
        </p:nvSpPr>
        <p:spPr bwMode="auto">
          <a:xfrm flipV="1">
            <a:off x="7151355" y="1667536"/>
            <a:ext cx="969495" cy="386192"/>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75" name="Line 13">
            <a:extLst>
              <a:ext uri="{FF2B5EF4-FFF2-40B4-BE49-F238E27FC236}">
                <a16:creationId xmlns:a16="http://schemas.microsoft.com/office/drawing/2014/main" id="{A2F1BB3F-86F6-974A-8766-63D7C52C2752}"/>
              </a:ext>
            </a:extLst>
          </p:cNvPr>
          <p:cNvSpPr>
            <a:spLocks noChangeShapeType="1"/>
          </p:cNvSpPr>
          <p:nvPr/>
        </p:nvSpPr>
        <p:spPr bwMode="auto">
          <a:xfrm flipV="1">
            <a:off x="8544712" y="1907119"/>
            <a:ext cx="0" cy="186997"/>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grpSp>
        <p:nvGrpSpPr>
          <p:cNvPr id="76" name="Group 18">
            <a:extLst>
              <a:ext uri="{FF2B5EF4-FFF2-40B4-BE49-F238E27FC236}">
                <a16:creationId xmlns:a16="http://schemas.microsoft.com/office/drawing/2014/main" id="{0F69D860-727B-4640-A2D7-2824CE4F2FDC}"/>
              </a:ext>
            </a:extLst>
          </p:cNvPr>
          <p:cNvGrpSpPr>
            <a:grpSpLocks/>
          </p:cNvGrpSpPr>
          <p:nvPr/>
        </p:nvGrpSpPr>
        <p:grpSpPr bwMode="auto">
          <a:xfrm>
            <a:off x="6040500" y="1249363"/>
            <a:ext cx="1279525" cy="731838"/>
            <a:chOff x="4032" y="1329"/>
            <a:chExt cx="1142" cy="666"/>
          </a:xfrm>
        </p:grpSpPr>
        <p:pic>
          <p:nvPicPr>
            <p:cNvPr id="77" name="Picture 19" descr="cloud">
              <a:extLst>
                <a:ext uri="{FF2B5EF4-FFF2-40B4-BE49-F238E27FC236}">
                  <a16:creationId xmlns:a16="http://schemas.microsoft.com/office/drawing/2014/main" id="{6BC71FE1-4141-3345-8BEB-AE362CF186F4}"/>
                </a:ext>
              </a:extLst>
            </p:cNvPr>
            <p:cNvPicPr>
              <a:picLocks noChangeAspect="1" noChangeArrowheads="1"/>
            </p:cNvPicPr>
            <p:nvPr/>
          </p:nvPicPr>
          <p:blipFill>
            <a:blip r:embed="rId4" cstate="print"/>
            <a:srcRect/>
            <a:stretch>
              <a:fillRect/>
            </a:stretch>
          </p:blipFill>
          <p:spPr bwMode="auto">
            <a:xfrm>
              <a:off x="4032" y="1329"/>
              <a:ext cx="1142" cy="666"/>
            </a:xfrm>
            <a:prstGeom prst="rect">
              <a:avLst/>
            </a:prstGeom>
            <a:noFill/>
            <a:ln w="9525">
              <a:noFill/>
              <a:miter lim="800000"/>
              <a:headEnd/>
              <a:tailEnd/>
            </a:ln>
          </p:spPr>
        </p:pic>
        <p:sp>
          <p:nvSpPr>
            <p:cNvPr id="78" name="Text Box 20">
              <a:extLst>
                <a:ext uri="{FF2B5EF4-FFF2-40B4-BE49-F238E27FC236}">
                  <a16:creationId xmlns:a16="http://schemas.microsoft.com/office/drawing/2014/main" id="{2825624D-1A1B-DC4D-B0B6-59E0FDB19A73}"/>
                </a:ext>
              </a:extLst>
            </p:cNvPr>
            <p:cNvSpPr txBox="1">
              <a:spLocks noChangeArrowheads="1"/>
            </p:cNvSpPr>
            <p:nvPr/>
          </p:nvSpPr>
          <p:spPr bwMode="auto">
            <a:xfrm>
              <a:off x="4336" y="1528"/>
              <a:ext cx="576" cy="105"/>
            </a:xfrm>
            <a:prstGeom prst="rect">
              <a:avLst/>
            </a:prstGeom>
            <a:noFill/>
            <a:ln w="12700" cap="sq">
              <a:noFill/>
              <a:miter lim="800000"/>
              <a:headEnd type="none" w="sm" len="sm"/>
              <a:tailEnd type="none" w="sm" len="sm"/>
            </a:ln>
          </p:spPr>
          <p:txBody>
            <a:bodyPr lIns="59436" tIns="29718" rIns="59436" bIns="29718"/>
            <a:lstStyle/>
            <a:p>
              <a:pPr>
                <a:spcBef>
                  <a:spcPct val="50000"/>
                </a:spcBef>
              </a:pPr>
              <a:r>
                <a:rPr lang="en-US" altLang="ja-JP" sz="1200" b="1" dirty="0">
                  <a:solidFill>
                    <a:srgbClr val="007CC3"/>
                  </a:solidFill>
                  <a:latin typeface="+mn-lt"/>
                </a:rPr>
                <a:t>PSTN</a:t>
              </a:r>
              <a:endParaRPr lang="en-US" sz="2800" b="1" dirty="0">
                <a:latin typeface="+mn-lt"/>
              </a:endParaRPr>
            </a:p>
          </p:txBody>
        </p:sp>
      </p:grpSp>
      <p:sp>
        <p:nvSpPr>
          <p:cNvPr id="80" name="Line 13">
            <a:extLst>
              <a:ext uri="{FF2B5EF4-FFF2-40B4-BE49-F238E27FC236}">
                <a16:creationId xmlns:a16="http://schemas.microsoft.com/office/drawing/2014/main" id="{AC68BCCF-2962-5D42-AF91-0C2FDB6AA343}"/>
              </a:ext>
            </a:extLst>
          </p:cNvPr>
          <p:cNvSpPr>
            <a:spLocks noChangeShapeType="1"/>
          </p:cNvSpPr>
          <p:nvPr/>
        </p:nvSpPr>
        <p:spPr bwMode="auto">
          <a:xfrm flipH="1" flipV="1">
            <a:off x="6703791" y="1878307"/>
            <a:ext cx="60399" cy="175420"/>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47" name="Oval 46">
            <a:extLst>
              <a:ext uri="{FF2B5EF4-FFF2-40B4-BE49-F238E27FC236}">
                <a16:creationId xmlns:a16="http://schemas.microsoft.com/office/drawing/2014/main" id="{FB9750D5-9BFF-C342-84D2-91F100A43426}"/>
              </a:ext>
            </a:extLst>
          </p:cNvPr>
          <p:cNvSpPr/>
          <p:nvPr/>
        </p:nvSpPr>
        <p:spPr>
          <a:xfrm>
            <a:off x="4221544" y="3388386"/>
            <a:ext cx="135983" cy="15388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Oval 80">
            <a:extLst>
              <a:ext uri="{FF2B5EF4-FFF2-40B4-BE49-F238E27FC236}">
                <a16:creationId xmlns:a16="http://schemas.microsoft.com/office/drawing/2014/main" id="{7DA95325-11BE-774C-A06F-3A26664D13EA}"/>
              </a:ext>
            </a:extLst>
          </p:cNvPr>
          <p:cNvSpPr/>
          <p:nvPr/>
        </p:nvSpPr>
        <p:spPr>
          <a:xfrm>
            <a:off x="4283628" y="4367582"/>
            <a:ext cx="135983" cy="15388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Oval 81">
            <a:extLst>
              <a:ext uri="{FF2B5EF4-FFF2-40B4-BE49-F238E27FC236}">
                <a16:creationId xmlns:a16="http://schemas.microsoft.com/office/drawing/2014/main" id="{EC6998F6-B447-394B-B5A7-613E9B658624}"/>
              </a:ext>
            </a:extLst>
          </p:cNvPr>
          <p:cNvSpPr/>
          <p:nvPr/>
        </p:nvSpPr>
        <p:spPr>
          <a:xfrm>
            <a:off x="3386627" y="2435389"/>
            <a:ext cx="135983" cy="15388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Oval 82">
            <a:extLst>
              <a:ext uri="{FF2B5EF4-FFF2-40B4-BE49-F238E27FC236}">
                <a16:creationId xmlns:a16="http://schemas.microsoft.com/office/drawing/2014/main" id="{04A0116B-FC64-ED47-9574-6340066ECA88}"/>
              </a:ext>
            </a:extLst>
          </p:cNvPr>
          <p:cNvSpPr/>
          <p:nvPr/>
        </p:nvSpPr>
        <p:spPr>
          <a:xfrm>
            <a:off x="3277062" y="1757784"/>
            <a:ext cx="135983" cy="15388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Oval 83">
            <a:extLst>
              <a:ext uri="{FF2B5EF4-FFF2-40B4-BE49-F238E27FC236}">
                <a16:creationId xmlns:a16="http://schemas.microsoft.com/office/drawing/2014/main" id="{8449DB99-9AD9-2A4C-91D2-ECB4CB3371FB}"/>
              </a:ext>
            </a:extLst>
          </p:cNvPr>
          <p:cNvSpPr/>
          <p:nvPr/>
        </p:nvSpPr>
        <p:spPr>
          <a:xfrm>
            <a:off x="7098292" y="3266198"/>
            <a:ext cx="135983" cy="15388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Oval 84">
            <a:extLst>
              <a:ext uri="{FF2B5EF4-FFF2-40B4-BE49-F238E27FC236}">
                <a16:creationId xmlns:a16="http://schemas.microsoft.com/office/drawing/2014/main" id="{464C6165-6429-724A-9EB7-9FD6909F8B22}"/>
              </a:ext>
            </a:extLst>
          </p:cNvPr>
          <p:cNvSpPr/>
          <p:nvPr/>
        </p:nvSpPr>
        <p:spPr>
          <a:xfrm>
            <a:off x="6037408" y="4387716"/>
            <a:ext cx="135983" cy="15388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a:extLst>
              <a:ext uri="{FF2B5EF4-FFF2-40B4-BE49-F238E27FC236}">
                <a16:creationId xmlns:a16="http://schemas.microsoft.com/office/drawing/2014/main" id="{33690F58-90AC-BB40-8D4C-2C7DE0287D79}"/>
              </a:ext>
            </a:extLst>
          </p:cNvPr>
          <p:cNvSpPr/>
          <p:nvPr/>
        </p:nvSpPr>
        <p:spPr>
          <a:xfrm>
            <a:off x="5072273" y="2451080"/>
            <a:ext cx="135983" cy="15388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35">
            <a:extLst>
              <a:ext uri="{FF2B5EF4-FFF2-40B4-BE49-F238E27FC236}">
                <a16:creationId xmlns:a16="http://schemas.microsoft.com/office/drawing/2014/main" id="{2343E04B-ADCE-D242-A15C-5639E7D8CAC8}"/>
              </a:ext>
            </a:extLst>
          </p:cNvPr>
          <p:cNvSpPr>
            <a:spLocks noChangeArrowheads="1"/>
          </p:cNvSpPr>
          <p:nvPr/>
        </p:nvSpPr>
        <p:spPr bwMode="auto">
          <a:xfrm>
            <a:off x="2584146" y="2397170"/>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b="1" dirty="0" err="1">
                <a:latin typeface="+mn-lt"/>
              </a:rPr>
              <a:t>Iu</a:t>
            </a:r>
            <a:endParaRPr lang="en-US" sz="900" b="1" dirty="0">
              <a:latin typeface="+mn-lt"/>
            </a:endParaRPr>
          </a:p>
        </p:txBody>
      </p:sp>
      <p:sp>
        <p:nvSpPr>
          <p:cNvPr id="88" name="Line 13">
            <a:extLst>
              <a:ext uri="{FF2B5EF4-FFF2-40B4-BE49-F238E27FC236}">
                <a16:creationId xmlns:a16="http://schemas.microsoft.com/office/drawing/2014/main" id="{300F58B0-2831-2D45-9F4D-86B1BA1BDBBC}"/>
              </a:ext>
            </a:extLst>
          </p:cNvPr>
          <p:cNvSpPr>
            <a:spLocks noChangeShapeType="1"/>
          </p:cNvSpPr>
          <p:nvPr/>
        </p:nvSpPr>
        <p:spPr bwMode="auto">
          <a:xfrm flipV="1">
            <a:off x="4210008" y="2245410"/>
            <a:ext cx="761999" cy="12580"/>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89" name="Oval 35">
            <a:extLst>
              <a:ext uri="{FF2B5EF4-FFF2-40B4-BE49-F238E27FC236}">
                <a16:creationId xmlns:a16="http://schemas.microsoft.com/office/drawing/2014/main" id="{4019F5F9-241C-7F4C-B4D6-484A78381D44}"/>
              </a:ext>
            </a:extLst>
          </p:cNvPr>
          <p:cNvSpPr>
            <a:spLocks noChangeArrowheads="1"/>
          </p:cNvSpPr>
          <p:nvPr/>
        </p:nvSpPr>
        <p:spPr bwMode="auto">
          <a:xfrm>
            <a:off x="4454494" y="2130237"/>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dirty="0" err="1">
                <a:latin typeface="+mn-lt"/>
              </a:rPr>
              <a:t>Gn</a:t>
            </a:r>
            <a:endParaRPr lang="en-US" sz="900" dirty="0">
              <a:latin typeface="+mn-lt"/>
            </a:endParaRPr>
          </a:p>
        </p:txBody>
      </p:sp>
      <p:sp>
        <p:nvSpPr>
          <p:cNvPr id="90" name="Line 13">
            <a:extLst>
              <a:ext uri="{FF2B5EF4-FFF2-40B4-BE49-F238E27FC236}">
                <a16:creationId xmlns:a16="http://schemas.microsoft.com/office/drawing/2014/main" id="{A7A61756-E0F7-1249-9FBB-15919617A4A0}"/>
              </a:ext>
            </a:extLst>
          </p:cNvPr>
          <p:cNvSpPr>
            <a:spLocks noChangeShapeType="1"/>
          </p:cNvSpPr>
          <p:nvPr/>
        </p:nvSpPr>
        <p:spPr bwMode="auto">
          <a:xfrm flipH="1" flipV="1">
            <a:off x="5793167" y="2232260"/>
            <a:ext cx="1701089" cy="1923053"/>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91" name="Oval 35">
            <a:extLst>
              <a:ext uri="{FF2B5EF4-FFF2-40B4-BE49-F238E27FC236}">
                <a16:creationId xmlns:a16="http://schemas.microsoft.com/office/drawing/2014/main" id="{DACFECCE-6669-5440-A293-31D9EFA418A9}"/>
              </a:ext>
            </a:extLst>
          </p:cNvPr>
          <p:cNvSpPr>
            <a:spLocks noChangeArrowheads="1"/>
          </p:cNvSpPr>
          <p:nvPr/>
        </p:nvSpPr>
        <p:spPr bwMode="auto">
          <a:xfrm>
            <a:off x="5894056" y="2194773"/>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b="1" dirty="0">
                <a:latin typeface="+mn-lt"/>
              </a:rPr>
              <a:t>Gi</a:t>
            </a:r>
          </a:p>
        </p:txBody>
      </p:sp>
      <p:sp>
        <p:nvSpPr>
          <p:cNvPr id="92" name="Line 13">
            <a:extLst>
              <a:ext uri="{FF2B5EF4-FFF2-40B4-BE49-F238E27FC236}">
                <a16:creationId xmlns:a16="http://schemas.microsoft.com/office/drawing/2014/main" id="{E28A2A48-C4C2-4947-BA0A-6CA2391EC153}"/>
              </a:ext>
            </a:extLst>
          </p:cNvPr>
          <p:cNvSpPr>
            <a:spLocks noChangeShapeType="1"/>
          </p:cNvSpPr>
          <p:nvPr/>
        </p:nvSpPr>
        <p:spPr bwMode="auto">
          <a:xfrm flipV="1">
            <a:off x="2308768" y="1753349"/>
            <a:ext cx="967631" cy="942190"/>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93" name="Oval 35">
            <a:extLst>
              <a:ext uri="{FF2B5EF4-FFF2-40B4-BE49-F238E27FC236}">
                <a16:creationId xmlns:a16="http://schemas.microsoft.com/office/drawing/2014/main" id="{EE422475-9C91-C248-B292-BDAB03F79858}"/>
              </a:ext>
            </a:extLst>
          </p:cNvPr>
          <p:cNvSpPr>
            <a:spLocks noChangeArrowheads="1"/>
          </p:cNvSpPr>
          <p:nvPr/>
        </p:nvSpPr>
        <p:spPr bwMode="auto">
          <a:xfrm>
            <a:off x="2446525" y="2130237"/>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b="1" dirty="0" err="1">
                <a:latin typeface="+mn-lt"/>
              </a:rPr>
              <a:t>Iu</a:t>
            </a:r>
            <a:endParaRPr lang="en-US" sz="900" b="1" dirty="0">
              <a:latin typeface="+mn-lt"/>
            </a:endParaRPr>
          </a:p>
        </p:txBody>
      </p:sp>
      <p:sp>
        <p:nvSpPr>
          <p:cNvPr id="94" name="Oval 35">
            <a:extLst>
              <a:ext uri="{FF2B5EF4-FFF2-40B4-BE49-F238E27FC236}">
                <a16:creationId xmlns:a16="http://schemas.microsoft.com/office/drawing/2014/main" id="{51F6C7FC-D69A-3B46-9BDA-55E93FEFE616}"/>
              </a:ext>
            </a:extLst>
          </p:cNvPr>
          <p:cNvSpPr>
            <a:spLocks noChangeArrowheads="1"/>
          </p:cNvSpPr>
          <p:nvPr/>
        </p:nvSpPr>
        <p:spPr bwMode="auto">
          <a:xfrm>
            <a:off x="1070631" y="2817819"/>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b="1" dirty="0" err="1">
                <a:latin typeface="+mn-lt"/>
              </a:rPr>
              <a:t>Iub</a:t>
            </a:r>
            <a:endParaRPr lang="en-US" sz="900" b="1" dirty="0">
              <a:latin typeface="+mn-lt"/>
            </a:endParaRPr>
          </a:p>
        </p:txBody>
      </p:sp>
      <p:sp>
        <p:nvSpPr>
          <p:cNvPr id="95" name="Oval 35">
            <a:extLst>
              <a:ext uri="{FF2B5EF4-FFF2-40B4-BE49-F238E27FC236}">
                <a16:creationId xmlns:a16="http://schemas.microsoft.com/office/drawing/2014/main" id="{8B9078C3-D107-9A4A-AD71-78FFF2F184D9}"/>
              </a:ext>
            </a:extLst>
          </p:cNvPr>
          <p:cNvSpPr>
            <a:spLocks noChangeArrowheads="1"/>
          </p:cNvSpPr>
          <p:nvPr/>
        </p:nvSpPr>
        <p:spPr bwMode="auto">
          <a:xfrm>
            <a:off x="4488598" y="2401036"/>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b="1" dirty="0">
                <a:latin typeface="+mn-lt"/>
              </a:rPr>
              <a:t>Gr</a:t>
            </a:r>
          </a:p>
        </p:txBody>
      </p:sp>
      <p:sp>
        <p:nvSpPr>
          <p:cNvPr id="96" name="Line 13">
            <a:extLst>
              <a:ext uri="{FF2B5EF4-FFF2-40B4-BE49-F238E27FC236}">
                <a16:creationId xmlns:a16="http://schemas.microsoft.com/office/drawing/2014/main" id="{A97255D6-DCC1-FB4B-93DD-F7BE1978D22D}"/>
              </a:ext>
            </a:extLst>
          </p:cNvPr>
          <p:cNvSpPr>
            <a:spLocks noChangeShapeType="1"/>
          </p:cNvSpPr>
          <p:nvPr/>
        </p:nvSpPr>
        <p:spPr bwMode="auto">
          <a:xfrm flipH="1" flipV="1">
            <a:off x="2260297" y="1753349"/>
            <a:ext cx="1152748" cy="478911"/>
          </a:xfrm>
          <a:prstGeom prst="line">
            <a:avLst/>
          </a:prstGeom>
          <a:noFill/>
          <a:ln w="9525">
            <a:solidFill>
              <a:schemeClr val="tx1"/>
            </a:solidFill>
            <a:round/>
            <a:headEnd/>
            <a:tailEnd/>
          </a:ln>
          <a:effectLst>
            <a:glow rad="228600">
              <a:schemeClr val="accent4">
                <a:satMod val="175000"/>
                <a:alpha val="40000"/>
              </a:schemeClr>
            </a:glow>
          </a:effectLst>
        </p:spPr>
        <p:txBody>
          <a:bodyPr/>
          <a:lstStyle/>
          <a:p>
            <a:pPr algn="l">
              <a:spcBef>
                <a:spcPct val="50000"/>
              </a:spcBef>
              <a:defRPr/>
            </a:pPr>
            <a:endParaRPr lang="en-US" sz="1800" b="1">
              <a:latin typeface="+mn-lt"/>
              <a:ea typeface="ＭＳ Ｐゴシック" pitchFamily="34" charset="-128"/>
            </a:endParaRPr>
          </a:p>
        </p:txBody>
      </p:sp>
      <p:sp>
        <p:nvSpPr>
          <p:cNvPr id="97" name="Oval 35">
            <a:extLst>
              <a:ext uri="{FF2B5EF4-FFF2-40B4-BE49-F238E27FC236}">
                <a16:creationId xmlns:a16="http://schemas.microsoft.com/office/drawing/2014/main" id="{7E826419-5CC3-B24E-A151-C6AABAC4F470}"/>
              </a:ext>
            </a:extLst>
          </p:cNvPr>
          <p:cNvSpPr>
            <a:spLocks noChangeArrowheads="1"/>
          </p:cNvSpPr>
          <p:nvPr/>
        </p:nvSpPr>
        <p:spPr bwMode="auto">
          <a:xfrm>
            <a:off x="2949928" y="2047994"/>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b="1" dirty="0">
                <a:latin typeface="+mn-lt"/>
              </a:rPr>
              <a:t>Gb</a:t>
            </a:r>
          </a:p>
        </p:txBody>
      </p:sp>
      <p:sp>
        <p:nvSpPr>
          <p:cNvPr id="98" name="Oval 35">
            <a:extLst>
              <a:ext uri="{FF2B5EF4-FFF2-40B4-BE49-F238E27FC236}">
                <a16:creationId xmlns:a16="http://schemas.microsoft.com/office/drawing/2014/main" id="{110B4942-E730-FA4A-B1C0-2DA5863FBE14}"/>
              </a:ext>
            </a:extLst>
          </p:cNvPr>
          <p:cNvSpPr>
            <a:spLocks noChangeArrowheads="1"/>
          </p:cNvSpPr>
          <p:nvPr/>
        </p:nvSpPr>
        <p:spPr bwMode="auto">
          <a:xfrm>
            <a:off x="2564752" y="1663250"/>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b="1" dirty="0">
                <a:latin typeface="+mn-lt"/>
              </a:rPr>
              <a:t>A</a:t>
            </a:r>
          </a:p>
        </p:txBody>
      </p:sp>
      <p:sp>
        <p:nvSpPr>
          <p:cNvPr id="99" name="Oval 35">
            <a:extLst>
              <a:ext uri="{FF2B5EF4-FFF2-40B4-BE49-F238E27FC236}">
                <a16:creationId xmlns:a16="http://schemas.microsoft.com/office/drawing/2014/main" id="{B6351755-1B10-5A47-8449-4FFA6A01C859}"/>
              </a:ext>
            </a:extLst>
          </p:cNvPr>
          <p:cNvSpPr>
            <a:spLocks noChangeArrowheads="1"/>
          </p:cNvSpPr>
          <p:nvPr/>
        </p:nvSpPr>
        <p:spPr bwMode="auto">
          <a:xfrm>
            <a:off x="1058125" y="1657110"/>
            <a:ext cx="381000" cy="228600"/>
          </a:xfrm>
          <a:prstGeom prst="ellipse">
            <a:avLst/>
          </a:prstGeom>
          <a:solidFill>
            <a:srgbClr val="FFFF99"/>
          </a:solidFill>
          <a:ln w="12700" cap="sq">
            <a:solidFill>
              <a:schemeClr val="tx1"/>
            </a:solidFill>
            <a:round/>
            <a:headEnd/>
            <a:tailEnd/>
          </a:ln>
        </p:spPr>
        <p:txBody>
          <a:bodyPr wrap="none" lIns="0" rIns="0" anchor="ctr"/>
          <a:lstStyle/>
          <a:p>
            <a:pPr algn="ctr">
              <a:spcBef>
                <a:spcPct val="50000"/>
              </a:spcBef>
            </a:pPr>
            <a:r>
              <a:rPr lang="en-US" sz="900" b="1" dirty="0" err="1">
                <a:latin typeface="+mn-lt"/>
              </a:rPr>
              <a:t>Abis</a:t>
            </a:r>
            <a:endParaRPr lang="en-US" sz="900" b="1" dirty="0">
              <a:latin typeface="+mn-lt"/>
            </a:endParaRPr>
          </a:p>
        </p:txBody>
      </p:sp>
      <p:sp>
        <p:nvSpPr>
          <p:cNvPr id="60" name="Freeform 59">
            <a:extLst>
              <a:ext uri="{FF2B5EF4-FFF2-40B4-BE49-F238E27FC236}">
                <a16:creationId xmlns:a16="http://schemas.microsoft.com/office/drawing/2014/main" id="{DA3ACF78-EA21-6E44-BE53-369E845B450D}"/>
              </a:ext>
            </a:extLst>
          </p:cNvPr>
          <p:cNvSpPr/>
          <p:nvPr/>
        </p:nvSpPr>
        <p:spPr>
          <a:xfrm>
            <a:off x="323134" y="1299411"/>
            <a:ext cx="8800240" cy="3602598"/>
          </a:xfrm>
          <a:custGeom>
            <a:avLst/>
            <a:gdLst>
              <a:gd name="connsiteX0" fmla="*/ 82502 w 8800240"/>
              <a:gd name="connsiteY0" fmla="*/ 2543819 h 3602598"/>
              <a:gd name="connsiteX1" fmla="*/ 116878 w 8800240"/>
              <a:gd name="connsiteY1" fmla="*/ 2557569 h 3602598"/>
              <a:gd name="connsiteX2" fmla="*/ 144379 w 8800240"/>
              <a:gd name="connsiteY2" fmla="*/ 2564445 h 3602598"/>
              <a:gd name="connsiteX3" fmla="*/ 254382 w 8800240"/>
              <a:gd name="connsiteY3" fmla="*/ 2598821 h 3602598"/>
              <a:gd name="connsiteX4" fmla="*/ 323134 w 8800240"/>
              <a:gd name="connsiteY4" fmla="*/ 2612571 h 3602598"/>
              <a:gd name="connsiteX5" fmla="*/ 577516 w 8800240"/>
              <a:gd name="connsiteY5" fmla="*/ 2605696 h 3602598"/>
              <a:gd name="connsiteX6" fmla="*/ 660018 w 8800240"/>
              <a:gd name="connsiteY6" fmla="*/ 2598821 h 3602598"/>
              <a:gd name="connsiteX7" fmla="*/ 976277 w 8800240"/>
              <a:gd name="connsiteY7" fmla="*/ 2557569 h 3602598"/>
              <a:gd name="connsiteX8" fmla="*/ 1175657 w 8800240"/>
              <a:gd name="connsiteY8" fmla="*/ 2502568 h 3602598"/>
              <a:gd name="connsiteX9" fmla="*/ 1203158 w 8800240"/>
              <a:gd name="connsiteY9" fmla="*/ 2495693 h 3602598"/>
              <a:gd name="connsiteX10" fmla="*/ 1430039 w 8800240"/>
              <a:gd name="connsiteY10" fmla="*/ 2454442 h 3602598"/>
              <a:gd name="connsiteX11" fmla="*/ 1464415 w 8800240"/>
              <a:gd name="connsiteY11" fmla="*/ 2440691 h 3602598"/>
              <a:gd name="connsiteX12" fmla="*/ 1505666 w 8800240"/>
              <a:gd name="connsiteY12" fmla="*/ 2433816 h 3602598"/>
              <a:gd name="connsiteX13" fmla="*/ 1546917 w 8800240"/>
              <a:gd name="connsiteY13" fmla="*/ 2413191 h 3602598"/>
              <a:gd name="connsiteX14" fmla="*/ 1663795 w 8800240"/>
              <a:gd name="connsiteY14" fmla="*/ 2378815 h 3602598"/>
              <a:gd name="connsiteX15" fmla="*/ 1739422 w 8800240"/>
              <a:gd name="connsiteY15" fmla="*/ 2344439 h 3602598"/>
              <a:gd name="connsiteX16" fmla="*/ 1815049 w 8800240"/>
              <a:gd name="connsiteY16" fmla="*/ 2316938 h 3602598"/>
              <a:gd name="connsiteX17" fmla="*/ 1856301 w 8800240"/>
              <a:gd name="connsiteY17" fmla="*/ 2296312 h 3602598"/>
              <a:gd name="connsiteX18" fmla="*/ 1897552 w 8800240"/>
              <a:gd name="connsiteY18" fmla="*/ 2282562 h 3602598"/>
              <a:gd name="connsiteX19" fmla="*/ 1938803 w 8800240"/>
              <a:gd name="connsiteY19" fmla="*/ 2261936 h 3602598"/>
              <a:gd name="connsiteX20" fmla="*/ 2021305 w 8800240"/>
              <a:gd name="connsiteY20" fmla="*/ 2234436 h 3602598"/>
              <a:gd name="connsiteX21" fmla="*/ 2289437 w 8800240"/>
              <a:gd name="connsiteY21" fmla="*/ 2131308 h 3602598"/>
              <a:gd name="connsiteX22" fmla="*/ 2358189 w 8800240"/>
              <a:gd name="connsiteY22" fmla="*/ 2096932 h 3602598"/>
              <a:gd name="connsiteX23" fmla="*/ 2406316 w 8800240"/>
              <a:gd name="connsiteY23" fmla="*/ 2069431 h 3602598"/>
              <a:gd name="connsiteX24" fmla="*/ 2495693 w 8800240"/>
              <a:gd name="connsiteY24" fmla="*/ 2007554 h 3602598"/>
              <a:gd name="connsiteX25" fmla="*/ 2530069 w 8800240"/>
              <a:gd name="connsiteY25" fmla="*/ 1993804 h 3602598"/>
              <a:gd name="connsiteX26" fmla="*/ 2585071 w 8800240"/>
              <a:gd name="connsiteY26" fmla="*/ 1952553 h 3602598"/>
              <a:gd name="connsiteX27" fmla="*/ 2605696 w 8800240"/>
              <a:gd name="connsiteY27" fmla="*/ 1938803 h 3602598"/>
              <a:gd name="connsiteX28" fmla="*/ 2640072 w 8800240"/>
              <a:gd name="connsiteY28" fmla="*/ 1925052 h 3602598"/>
              <a:gd name="connsiteX29" fmla="*/ 2660698 w 8800240"/>
              <a:gd name="connsiteY29" fmla="*/ 1911302 h 3602598"/>
              <a:gd name="connsiteX30" fmla="*/ 2860078 w 8800240"/>
              <a:gd name="connsiteY30" fmla="*/ 1815049 h 3602598"/>
              <a:gd name="connsiteX31" fmla="*/ 2880704 w 8800240"/>
              <a:gd name="connsiteY31" fmla="*/ 1808174 h 3602598"/>
              <a:gd name="connsiteX32" fmla="*/ 2928830 w 8800240"/>
              <a:gd name="connsiteY32" fmla="*/ 1787548 h 3602598"/>
              <a:gd name="connsiteX33" fmla="*/ 2963206 w 8800240"/>
              <a:gd name="connsiteY33" fmla="*/ 1780673 h 3602598"/>
              <a:gd name="connsiteX34" fmla="*/ 3059458 w 8800240"/>
              <a:gd name="connsiteY34" fmla="*/ 1760048 h 3602598"/>
              <a:gd name="connsiteX35" fmla="*/ 3128210 w 8800240"/>
              <a:gd name="connsiteY35" fmla="*/ 1746297 h 3602598"/>
              <a:gd name="connsiteX36" fmla="*/ 3196962 w 8800240"/>
              <a:gd name="connsiteY36" fmla="*/ 1725672 h 3602598"/>
              <a:gd name="connsiteX37" fmla="*/ 3327591 w 8800240"/>
              <a:gd name="connsiteY37" fmla="*/ 1711921 h 3602598"/>
              <a:gd name="connsiteX38" fmla="*/ 3389468 w 8800240"/>
              <a:gd name="connsiteY38" fmla="*/ 1705046 h 3602598"/>
              <a:gd name="connsiteX39" fmla="*/ 3664475 w 8800240"/>
              <a:gd name="connsiteY39" fmla="*/ 1670670 h 3602598"/>
              <a:gd name="connsiteX40" fmla="*/ 3685101 w 8800240"/>
              <a:gd name="connsiteY40" fmla="*/ 1663795 h 3602598"/>
              <a:gd name="connsiteX41" fmla="*/ 3808854 w 8800240"/>
              <a:gd name="connsiteY41" fmla="*/ 1643169 h 3602598"/>
              <a:gd name="connsiteX42" fmla="*/ 3877606 w 8800240"/>
              <a:gd name="connsiteY42" fmla="*/ 1629419 h 3602598"/>
              <a:gd name="connsiteX43" fmla="*/ 3898231 w 8800240"/>
              <a:gd name="connsiteY43" fmla="*/ 1622544 h 3602598"/>
              <a:gd name="connsiteX44" fmla="*/ 3925732 w 8800240"/>
              <a:gd name="connsiteY44" fmla="*/ 1615669 h 3602598"/>
              <a:gd name="connsiteX45" fmla="*/ 3946358 w 8800240"/>
              <a:gd name="connsiteY45" fmla="*/ 1608794 h 3602598"/>
              <a:gd name="connsiteX46" fmla="*/ 4063236 w 8800240"/>
              <a:gd name="connsiteY46" fmla="*/ 1581293 h 3602598"/>
              <a:gd name="connsiteX47" fmla="*/ 4083861 w 8800240"/>
              <a:gd name="connsiteY47" fmla="*/ 1574418 h 3602598"/>
              <a:gd name="connsiteX48" fmla="*/ 4131988 w 8800240"/>
              <a:gd name="connsiteY48" fmla="*/ 1567542 h 3602598"/>
              <a:gd name="connsiteX49" fmla="*/ 4345119 w 8800240"/>
              <a:gd name="connsiteY49" fmla="*/ 1533166 h 3602598"/>
              <a:gd name="connsiteX50" fmla="*/ 4365744 w 8800240"/>
              <a:gd name="connsiteY50" fmla="*/ 1526291 h 3602598"/>
              <a:gd name="connsiteX51" fmla="*/ 4393245 w 8800240"/>
              <a:gd name="connsiteY51" fmla="*/ 1519416 h 3602598"/>
              <a:gd name="connsiteX52" fmla="*/ 4441371 w 8800240"/>
              <a:gd name="connsiteY52" fmla="*/ 1512541 h 3602598"/>
              <a:gd name="connsiteX53" fmla="*/ 4489498 w 8800240"/>
              <a:gd name="connsiteY53" fmla="*/ 1498791 h 3602598"/>
              <a:gd name="connsiteX54" fmla="*/ 4510123 w 8800240"/>
              <a:gd name="connsiteY54" fmla="*/ 1491915 h 3602598"/>
              <a:gd name="connsiteX55" fmla="*/ 4537624 w 8800240"/>
              <a:gd name="connsiteY55" fmla="*/ 1485040 h 3602598"/>
              <a:gd name="connsiteX56" fmla="*/ 4578875 w 8800240"/>
              <a:gd name="connsiteY56" fmla="*/ 1471290 h 3602598"/>
              <a:gd name="connsiteX57" fmla="*/ 4599501 w 8800240"/>
              <a:gd name="connsiteY57" fmla="*/ 1464415 h 3602598"/>
              <a:gd name="connsiteX58" fmla="*/ 4627001 w 8800240"/>
              <a:gd name="connsiteY58" fmla="*/ 1457539 h 3602598"/>
              <a:gd name="connsiteX59" fmla="*/ 4688878 w 8800240"/>
              <a:gd name="connsiteY59" fmla="*/ 1436914 h 3602598"/>
              <a:gd name="connsiteX60" fmla="*/ 4730129 w 8800240"/>
              <a:gd name="connsiteY60" fmla="*/ 1423163 h 3602598"/>
              <a:gd name="connsiteX61" fmla="*/ 4805756 w 8800240"/>
              <a:gd name="connsiteY61" fmla="*/ 1395663 h 3602598"/>
              <a:gd name="connsiteX62" fmla="*/ 4853883 w 8800240"/>
              <a:gd name="connsiteY62" fmla="*/ 1381912 h 3602598"/>
              <a:gd name="connsiteX63" fmla="*/ 4874508 w 8800240"/>
              <a:gd name="connsiteY63" fmla="*/ 1375037 h 3602598"/>
              <a:gd name="connsiteX64" fmla="*/ 4902009 w 8800240"/>
              <a:gd name="connsiteY64" fmla="*/ 1368162 h 3602598"/>
              <a:gd name="connsiteX65" fmla="*/ 4970761 w 8800240"/>
              <a:gd name="connsiteY65" fmla="*/ 1347536 h 3602598"/>
              <a:gd name="connsiteX66" fmla="*/ 5101389 w 8800240"/>
              <a:gd name="connsiteY66" fmla="*/ 1340661 h 3602598"/>
              <a:gd name="connsiteX67" fmla="*/ 5355771 w 8800240"/>
              <a:gd name="connsiteY67" fmla="*/ 1340661 h 3602598"/>
              <a:gd name="connsiteX68" fmla="*/ 5452024 w 8800240"/>
              <a:gd name="connsiteY68" fmla="*/ 1347536 h 3602598"/>
              <a:gd name="connsiteX69" fmla="*/ 5582652 w 8800240"/>
              <a:gd name="connsiteY69" fmla="*/ 1354412 h 3602598"/>
              <a:gd name="connsiteX70" fmla="*/ 5747657 w 8800240"/>
              <a:gd name="connsiteY70" fmla="*/ 1354412 h 3602598"/>
              <a:gd name="connsiteX71" fmla="*/ 5940162 w 8800240"/>
              <a:gd name="connsiteY71" fmla="*/ 1347536 h 3602598"/>
              <a:gd name="connsiteX72" fmla="*/ 5981413 w 8800240"/>
              <a:gd name="connsiteY72" fmla="*/ 1333786 h 3602598"/>
              <a:gd name="connsiteX73" fmla="*/ 6063916 w 8800240"/>
              <a:gd name="connsiteY73" fmla="*/ 1271909 h 3602598"/>
              <a:gd name="connsiteX74" fmla="*/ 6077666 w 8800240"/>
              <a:gd name="connsiteY74" fmla="*/ 1237533 h 3602598"/>
              <a:gd name="connsiteX75" fmla="*/ 6105167 w 8800240"/>
              <a:gd name="connsiteY75" fmla="*/ 1189407 h 3602598"/>
              <a:gd name="connsiteX76" fmla="*/ 6112042 w 8800240"/>
              <a:gd name="connsiteY76" fmla="*/ 1168781 h 3602598"/>
              <a:gd name="connsiteX77" fmla="*/ 6125792 w 8800240"/>
              <a:gd name="connsiteY77" fmla="*/ 1141281 h 3602598"/>
              <a:gd name="connsiteX78" fmla="*/ 6132668 w 8800240"/>
              <a:gd name="connsiteY78" fmla="*/ 1120655 h 3602598"/>
              <a:gd name="connsiteX79" fmla="*/ 6146418 w 8800240"/>
              <a:gd name="connsiteY79" fmla="*/ 1093154 h 3602598"/>
              <a:gd name="connsiteX80" fmla="*/ 6173919 w 8800240"/>
              <a:gd name="connsiteY80" fmla="*/ 983151 h 3602598"/>
              <a:gd name="connsiteX81" fmla="*/ 6180794 w 8800240"/>
              <a:gd name="connsiteY81" fmla="*/ 790646 h 3602598"/>
              <a:gd name="connsiteX82" fmla="*/ 6208295 w 8800240"/>
              <a:gd name="connsiteY82" fmla="*/ 687518 h 3602598"/>
              <a:gd name="connsiteX83" fmla="*/ 6242671 w 8800240"/>
              <a:gd name="connsiteY83" fmla="*/ 653142 h 3602598"/>
              <a:gd name="connsiteX84" fmla="*/ 6325173 w 8800240"/>
              <a:gd name="connsiteY84" fmla="*/ 611891 h 3602598"/>
              <a:gd name="connsiteX85" fmla="*/ 6345798 w 8800240"/>
              <a:gd name="connsiteY85" fmla="*/ 598141 h 3602598"/>
              <a:gd name="connsiteX86" fmla="*/ 6469552 w 8800240"/>
              <a:gd name="connsiteY86" fmla="*/ 550015 h 3602598"/>
              <a:gd name="connsiteX87" fmla="*/ 6538304 w 8800240"/>
              <a:gd name="connsiteY87" fmla="*/ 522514 h 3602598"/>
              <a:gd name="connsiteX88" fmla="*/ 6662057 w 8800240"/>
              <a:gd name="connsiteY88" fmla="*/ 481263 h 3602598"/>
              <a:gd name="connsiteX89" fmla="*/ 6682683 w 8800240"/>
              <a:gd name="connsiteY89" fmla="*/ 467512 h 3602598"/>
              <a:gd name="connsiteX90" fmla="*/ 6710183 w 8800240"/>
              <a:gd name="connsiteY90" fmla="*/ 453762 h 3602598"/>
              <a:gd name="connsiteX91" fmla="*/ 6730809 w 8800240"/>
              <a:gd name="connsiteY91" fmla="*/ 440012 h 3602598"/>
              <a:gd name="connsiteX92" fmla="*/ 6751434 w 8800240"/>
              <a:gd name="connsiteY92" fmla="*/ 433136 h 3602598"/>
              <a:gd name="connsiteX93" fmla="*/ 6854562 w 8800240"/>
              <a:gd name="connsiteY93" fmla="*/ 371260 h 3602598"/>
              <a:gd name="connsiteX94" fmla="*/ 6875188 w 8800240"/>
              <a:gd name="connsiteY94" fmla="*/ 357509 h 3602598"/>
              <a:gd name="connsiteX95" fmla="*/ 6895813 w 8800240"/>
              <a:gd name="connsiteY95" fmla="*/ 350634 h 3602598"/>
              <a:gd name="connsiteX96" fmla="*/ 6923314 w 8800240"/>
              <a:gd name="connsiteY96" fmla="*/ 336884 h 3602598"/>
              <a:gd name="connsiteX97" fmla="*/ 7005816 w 8800240"/>
              <a:gd name="connsiteY97" fmla="*/ 302508 h 3602598"/>
              <a:gd name="connsiteX98" fmla="*/ 7060818 w 8800240"/>
              <a:gd name="connsiteY98" fmla="*/ 268132 h 3602598"/>
              <a:gd name="connsiteX99" fmla="*/ 7115819 w 8800240"/>
              <a:gd name="connsiteY99" fmla="*/ 240631 h 3602598"/>
              <a:gd name="connsiteX100" fmla="*/ 7157071 w 8800240"/>
              <a:gd name="connsiteY100" fmla="*/ 213130 h 3602598"/>
              <a:gd name="connsiteX101" fmla="*/ 7184571 w 8800240"/>
              <a:gd name="connsiteY101" fmla="*/ 192505 h 3602598"/>
              <a:gd name="connsiteX102" fmla="*/ 7370201 w 8800240"/>
              <a:gd name="connsiteY102" fmla="*/ 137503 h 3602598"/>
              <a:gd name="connsiteX103" fmla="*/ 7397702 w 8800240"/>
              <a:gd name="connsiteY103" fmla="*/ 123753 h 3602598"/>
              <a:gd name="connsiteX104" fmla="*/ 7542081 w 8800240"/>
              <a:gd name="connsiteY104" fmla="*/ 96252 h 3602598"/>
              <a:gd name="connsiteX105" fmla="*/ 7569582 w 8800240"/>
              <a:gd name="connsiteY105" fmla="*/ 89377 h 3602598"/>
              <a:gd name="connsiteX106" fmla="*/ 7878965 w 8800240"/>
              <a:gd name="connsiteY106" fmla="*/ 68751 h 3602598"/>
              <a:gd name="connsiteX107" fmla="*/ 7933967 w 8800240"/>
              <a:gd name="connsiteY107" fmla="*/ 61876 h 3602598"/>
              <a:gd name="connsiteX108" fmla="*/ 7975218 w 8800240"/>
              <a:gd name="connsiteY108" fmla="*/ 55001 h 3602598"/>
              <a:gd name="connsiteX109" fmla="*/ 8160848 w 8800240"/>
              <a:gd name="connsiteY109" fmla="*/ 41251 h 3602598"/>
              <a:gd name="connsiteX110" fmla="*/ 8222725 w 8800240"/>
              <a:gd name="connsiteY110" fmla="*/ 34375 h 3602598"/>
              <a:gd name="connsiteX111" fmla="*/ 8291477 w 8800240"/>
              <a:gd name="connsiteY111" fmla="*/ 27500 h 3602598"/>
              <a:gd name="connsiteX112" fmla="*/ 8332728 w 8800240"/>
              <a:gd name="connsiteY112" fmla="*/ 13750 h 3602598"/>
              <a:gd name="connsiteX113" fmla="*/ 8394604 w 8800240"/>
              <a:gd name="connsiteY113" fmla="*/ 0 h 3602598"/>
              <a:gd name="connsiteX114" fmla="*/ 8456481 w 8800240"/>
              <a:gd name="connsiteY114" fmla="*/ 6875 h 3602598"/>
              <a:gd name="connsiteX115" fmla="*/ 8483982 w 8800240"/>
              <a:gd name="connsiteY115" fmla="*/ 20625 h 3602598"/>
              <a:gd name="connsiteX116" fmla="*/ 8532108 w 8800240"/>
              <a:gd name="connsiteY116" fmla="*/ 55001 h 3602598"/>
              <a:gd name="connsiteX117" fmla="*/ 8552734 w 8800240"/>
              <a:gd name="connsiteY117" fmla="*/ 68751 h 3602598"/>
              <a:gd name="connsiteX118" fmla="*/ 8621486 w 8800240"/>
              <a:gd name="connsiteY118" fmla="*/ 137503 h 3602598"/>
              <a:gd name="connsiteX119" fmla="*/ 8628361 w 8800240"/>
              <a:gd name="connsiteY119" fmla="*/ 158129 h 3602598"/>
              <a:gd name="connsiteX120" fmla="*/ 8662737 w 8800240"/>
              <a:gd name="connsiteY120" fmla="*/ 199380 h 3602598"/>
              <a:gd name="connsiteX121" fmla="*/ 8676487 w 8800240"/>
              <a:gd name="connsiteY121" fmla="*/ 226881 h 3602598"/>
              <a:gd name="connsiteX122" fmla="*/ 8690237 w 8800240"/>
              <a:gd name="connsiteY122" fmla="*/ 247506 h 3602598"/>
              <a:gd name="connsiteX123" fmla="*/ 8703988 w 8800240"/>
              <a:gd name="connsiteY123" fmla="*/ 288757 h 3602598"/>
              <a:gd name="connsiteX124" fmla="*/ 8724613 w 8800240"/>
              <a:gd name="connsiteY124" fmla="*/ 371260 h 3602598"/>
              <a:gd name="connsiteX125" fmla="*/ 8731489 w 8800240"/>
              <a:gd name="connsiteY125" fmla="*/ 412511 h 3602598"/>
              <a:gd name="connsiteX126" fmla="*/ 8745239 w 8800240"/>
              <a:gd name="connsiteY126" fmla="*/ 453762 h 3602598"/>
              <a:gd name="connsiteX127" fmla="*/ 8758989 w 8800240"/>
              <a:gd name="connsiteY127" fmla="*/ 556890 h 3602598"/>
              <a:gd name="connsiteX128" fmla="*/ 8765864 w 8800240"/>
              <a:gd name="connsiteY128" fmla="*/ 605016 h 3602598"/>
              <a:gd name="connsiteX129" fmla="*/ 8772740 w 8800240"/>
              <a:gd name="connsiteY129" fmla="*/ 660018 h 3602598"/>
              <a:gd name="connsiteX130" fmla="*/ 8786490 w 8800240"/>
              <a:gd name="connsiteY130" fmla="*/ 845648 h 3602598"/>
              <a:gd name="connsiteX131" fmla="*/ 8800240 w 8800240"/>
              <a:gd name="connsiteY131" fmla="*/ 921275 h 3602598"/>
              <a:gd name="connsiteX132" fmla="*/ 8793365 w 8800240"/>
              <a:gd name="connsiteY132" fmla="*/ 1100030 h 3602598"/>
              <a:gd name="connsiteX133" fmla="*/ 8786490 w 8800240"/>
              <a:gd name="connsiteY133" fmla="*/ 1148156 h 3602598"/>
              <a:gd name="connsiteX134" fmla="*/ 8765864 w 8800240"/>
              <a:gd name="connsiteY134" fmla="*/ 1271909 h 3602598"/>
              <a:gd name="connsiteX135" fmla="*/ 8752114 w 8800240"/>
              <a:gd name="connsiteY135" fmla="*/ 1340661 h 3602598"/>
              <a:gd name="connsiteX136" fmla="*/ 8745239 w 8800240"/>
              <a:gd name="connsiteY136" fmla="*/ 1395663 h 3602598"/>
              <a:gd name="connsiteX137" fmla="*/ 8731489 w 8800240"/>
              <a:gd name="connsiteY137" fmla="*/ 1464415 h 3602598"/>
              <a:gd name="connsiteX138" fmla="*/ 8717738 w 8800240"/>
              <a:gd name="connsiteY138" fmla="*/ 1560667 h 3602598"/>
              <a:gd name="connsiteX139" fmla="*/ 8710863 w 8800240"/>
              <a:gd name="connsiteY139" fmla="*/ 1636294 h 3602598"/>
              <a:gd name="connsiteX140" fmla="*/ 8717738 w 8800240"/>
              <a:gd name="connsiteY140" fmla="*/ 1842550 h 3602598"/>
              <a:gd name="connsiteX141" fmla="*/ 8738364 w 8800240"/>
              <a:gd name="connsiteY141" fmla="*/ 2007554 h 3602598"/>
              <a:gd name="connsiteX142" fmla="*/ 8745239 w 8800240"/>
              <a:gd name="connsiteY142" fmla="*/ 2096932 h 3602598"/>
              <a:gd name="connsiteX143" fmla="*/ 8752114 w 8800240"/>
              <a:gd name="connsiteY143" fmla="*/ 2124433 h 3602598"/>
              <a:gd name="connsiteX144" fmla="*/ 8765864 w 8800240"/>
              <a:gd name="connsiteY144" fmla="*/ 2351314 h 3602598"/>
              <a:gd name="connsiteX145" fmla="*/ 8758989 w 8800240"/>
              <a:gd name="connsiteY145" fmla="*/ 2633197 h 3602598"/>
              <a:gd name="connsiteX146" fmla="*/ 8752114 w 8800240"/>
              <a:gd name="connsiteY146" fmla="*/ 2860078 h 3602598"/>
              <a:gd name="connsiteX147" fmla="*/ 8745239 w 8800240"/>
              <a:gd name="connsiteY147" fmla="*/ 2887578 h 3602598"/>
              <a:gd name="connsiteX148" fmla="*/ 8731489 w 8800240"/>
              <a:gd name="connsiteY148" fmla="*/ 2963206 h 3602598"/>
              <a:gd name="connsiteX149" fmla="*/ 8710863 w 8800240"/>
              <a:gd name="connsiteY149" fmla="*/ 3011332 h 3602598"/>
              <a:gd name="connsiteX150" fmla="*/ 8703988 w 8800240"/>
              <a:gd name="connsiteY150" fmla="*/ 3038833 h 3602598"/>
              <a:gd name="connsiteX151" fmla="*/ 8655861 w 8800240"/>
              <a:gd name="connsiteY151" fmla="*/ 3114460 h 3602598"/>
              <a:gd name="connsiteX152" fmla="*/ 8628361 w 8800240"/>
              <a:gd name="connsiteY152" fmla="*/ 3155711 h 3602598"/>
              <a:gd name="connsiteX153" fmla="*/ 8587110 w 8800240"/>
              <a:gd name="connsiteY153" fmla="*/ 3203837 h 3602598"/>
              <a:gd name="connsiteX154" fmla="*/ 8504607 w 8800240"/>
              <a:gd name="connsiteY154" fmla="*/ 3258839 h 3602598"/>
              <a:gd name="connsiteX155" fmla="*/ 8470231 w 8800240"/>
              <a:gd name="connsiteY155" fmla="*/ 3279464 h 3602598"/>
              <a:gd name="connsiteX156" fmla="*/ 8373979 w 8800240"/>
              <a:gd name="connsiteY156" fmla="*/ 3327591 h 3602598"/>
              <a:gd name="connsiteX157" fmla="*/ 8332728 w 8800240"/>
              <a:gd name="connsiteY157" fmla="*/ 3341341 h 3602598"/>
              <a:gd name="connsiteX158" fmla="*/ 8284601 w 8800240"/>
              <a:gd name="connsiteY158" fmla="*/ 3361966 h 3602598"/>
              <a:gd name="connsiteX159" fmla="*/ 8243350 w 8800240"/>
              <a:gd name="connsiteY159" fmla="*/ 3375717 h 3602598"/>
              <a:gd name="connsiteX160" fmla="*/ 8222725 w 8800240"/>
              <a:gd name="connsiteY160" fmla="*/ 3382592 h 3602598"/>
              <a:gd name="connsiteX161" fmla="*/ 8188349 w 8800240"/>
              <a:gd name="connsiteY161" fmla="*/ 3396342 h 3602598"/>
              <a:gd name="connsiteX162" fmla="*/ 8105846 w 8800240"/>
              <a:gd name="connsiteY162" fmla="*/ 3416968 h 3602598"/>
              <a:gd name="connsiteX163" fmla="*/ 8071471 w 8800240"/>
              <a:gd name="connsiteY163" fmla="*/ 3430718 h 3602598"/>
              <a:gd name="connsiteX164" fmla="*/ 8043970 w 8800240"/>
              <a:gd name="connsiteY164" fmla="*/ 3444469 h 3602598"/>
              <a:gd name="connsiteX165" fmla="*/ 7954592 w 8800240"/>
              <a:gd name="connsiteY165" fmla="*/ 3471969 h 3602598"/>
              <a:gd name="connsiteX166" fmla="*/ 7892716 w 8800240"/>
              <a:gd name="connsiteY166" fmla="*/ 3485720 h 3602598"/>
              <a:gd name="connsiteX167" fmla="*/ 7789588 w 8800240"/>
              <a:gd name="connsiteY167" fmla="*/ 3499470 h 3602598"/>
              <a:gd name="connsiteX168" fmla="*/ 7686460 w 8800240"/>
              <a:gd name="connsiteY168" fmla="*/ 3513221 h 3602598"/>
              <a:gd name="connsiteX169" fmla="*/ 7624583 w 8800240"/>
              <a:gd name="connsiteY169" fmla="*/ 3526971 h 3602598"/>
              <a:gd name="connsiteX170" fmla="*/ 7473329 w 8800240"/>
              <a:gd name="connsiteY170" fmla="*/ 3533846 h 3602598"/>
              <a:gd name="connsiteX171" fmla="*/ 7342701 w 8800240"/>
              <a:gd name="connsiteY171" fmla="*/ 3540721 h 3602598"/>
              <a:gd name="connsiteX172" fmla="*/ 7047068 w 8800240"/>
              <a:gd name="connsiteY172" fmla="*/ 3561347 h 3602598"/>
              <a:gd name="connsiteX173" fmla="*/ 6985191 w 8800240"/>
              <a:gd name="connsiteY173" fmla="*/ 3568222 h 3602598"/>
              <a:gd name="connsiteX174" fmla="*/ 6854562 w 8800240"/>
              <a:gd name="connsiteY174" fmla="*/ 3575097 h 3602598"/>
              <a:gd name="connsiteX175" fmla="*/ 6765185 w 8800240"/>
              <a:gd name="connsiteY175" fmla="*/ 3581972 h 3602598"/>
              <a:gd name="connsiteX176" fmla="*/ 6400800 w 8800240"/>
              <a:gd name="connsiteY176" fmla="*/ 3575097 h 3602598"/>
              <a:gd name="connsiteX177" fmla="*/ 6332048 w 8800240"/>
              <a:gd name="connsiteY177" fmla="*/ 3568222 h 3602598"/>
              <a:gd name="connsiteX178" fmla="*/ 6194544 w 8800240"/>
              <a:gd name="connsiteY178" fmla="*/ 3561347 h 3602598"/>
              <a:gd name="connsiteX179" fmla="*/ 5623904 w 8800240"/>
              <a:gd name="connsiteY179" fmla="*/ 3547597 h 3602598"/>
              <a:gd name="connsiteX180" fmla="*/ 4936385 w 8800240"/>
              <a:gd name="connsiteY180" fmla="*/ 3547597 h 3602598"/>
              <a:gd name="connsiteX181" fmla="*/ 4235116 w 8800240"/>
              <a:gd name="connsiteY181" fmla="*/ 3575097 h 3602598"/>
              <a:gd name="connsiteX182" fmla="*/ 4104487 w 8800240"/>
              <a:gd name="connsiteY182" fmla="*/ 3581972 h 3602598"/>
              <a:gd name="connsiteX183" fmla="*/ 3630099 w 8800240"/>
              <a:gd name="connsiteY183" fmla="*/ 3595723 h 3602598"/>
              <a:gd name="connsiteX184" fmla="*/ 3107585 w 8800240"/>
              <a:gd name="connsiteY184" fmla="*/ 3588848 h 3602598"/>
              <a:gd name="connsiteX185" fmla="*/ 2935705 w 8800240"/>
              <a:gd name="connsiteY185" fmla="*/ 3581972 h 3602598"/>
              <a:gd name="connsiteX186" fmla="*/ 2550695 w 8800240"/>
              <a:gd name="connsiteY186" fmla="*/ 3568222 h 3602598"/>
              <a:gd name="connsiteX187" fmla="*/ 2413191 w 8800240"/>
              <a:gd name="connsiteY187" fmla="*/ 3554472 h 3602598"/>
              <a:gd name="connsiteX188" fmla="*/ 2234436 w 8800240"/>
              <a:gd name="connsiteY188" fmla="*/ 3540721 h 3602598"/>
              <a:gd name="connsiteX189" fmla="*/ 2138183 w 8800240"/>
              <a:gd name="connsiteY189" fmla="*/ 3533846 h 3602598"/>
              <a:gd name="connsiteX190" fmla="*/ 1794424 w 8800240"/>
              <a:gd name="connsiteY190" fmla="*/ 3547597 h 3602598"/>
              <a:gd name="connsiteX191" fmla="*/ 1691296 w 8800240"/>
              <a:gd name="connsiteY191" fmla="*/ 3561347 h 3602598"/>
              <a:gd name="connsiteX192" fmla="*/ 1656920 w 8800240"/>
              <a:gd name="connsiteY192" fmla="*/ 3568222 h 3602598"/>
              <a:gd name="connsiteX193" fmla="*/ 1540042 w 8800240"/>
              <a:gd name="connsiteY193" fmla="*/ 3581972 h 3602598"/>
              <a:gd name="connsiteX194" fmla="*/ 1457540 w 8800240"/>
              <a:gd name="connsiteY194" fmla="*/ 3595723 h 3602598"/>
              <a:gd name="connsiteX195" fmla="*/ 1354412 w 8800240"/>
              <a:gd name="connsiteY195" fmla="*/ 3602598 h 3602598"/>
              <a:gd name="connsiteX196" fmla="*/ 1113780 w 8800240"/>
              <a:gd name="connsiteY196" fmla="*/ 3588848 h 3602598"/>
              <a:gd name="connsiteX197" fmla="*/ 1079404 w 8800240"/>
              <a:gd name="connsiteY197" fmla="*/ 3581972 h 3602598"/>
              <a:gd name="connsiteX198" fmla="*/ 1038153 w 8800240"/>
              <a:gd name="connsiteY198" fmla="*/ 3575097 h 3602598"/>
              <a:gd name="connsiteX199" fmla="*/ 1010652 w 8800240"/>
              <a:gd name="connsiteY199" fmla="*/ 3568222 h 3602598"/>
              <a:gd name="connsiteX200" fmla="*/ 928150 w 8800240"/>
              <a:gd name="connsiteY200" fmla="*/ 3561347 h 3602598"/>
              <a:gd name="connsiteX201" fmla="*/ 838773 w 8800240"/>
              <a:gd name="connsiteY201" fmla="*/ 3547597 h 3602598"/>
              <a:gd name="connsiteX202" fmla="*/ 501889 w 8800240"/>
              <a:gd name="connsiteY202" fmla="*/ 3533846 h 3602598"/>
              <a:gd name="connsiteX203" fmla="*/ 309383 w 8800240"/>
              <a:gd name="connsiteY203" fmla="*/ 3520096 h 3602598"/>
              <a:gd name="connsiteX204" fmla="*/ 261257 w 8800240"/>
              <a:gd name="connsiteY204" fmla="*/ 3506345 h 3602598"/>
              <a:gd name="connsiteX205" fmla="*/ 220006 w 8800240"/>
              <a:gd name="connsiteY205" fmla="*/ 3485720 h 3602598"/>
              <a:gd name="connsiteX206" fmla="*/ 151254 w 8800240"/>
              <a:gd name="connsiteY206" fmla="*/ 3430718 h 3602598"/>
              <a:gd name="connsiteX207" fmla="*/ 103128 w 8800240"/>
              <a:gd name="connsiteY207" fmla="*/ 3382592 h 3602598"/>
              <a:gd name="connsiteX208" fmla="*/ 75627 w 8800240"/>
              <a:gd name="connsiteY208" fmla="*/ 3334466 h 3602598"/>
              <a:gd name="connsiteX209" fmla="*/ 68752 w 8800240"/>
              <a:gd name="connsiteY209" fmla="*/ 3313840 h 3602598"/>
              <a:gd name="connsiteX210" fmla="*/ 55001 w 8800240"/>
              <a:gd name="connsiteY210" fmla="*/ 3293215 h 3602598"/>
              <a:gd name="connsiteX211" fmla="*/ 20625 w 8800240"/>
              <a:gd name="connsiteY211" fmla="*/ 3196962 h 3602598"/>
              <a:gd name="connsiteX212" fmla="*/ 6875 w 8800240"/>
              <a:gd name="connsiteY212" fmla="*/ 3155711 h 3602598"/>
              <a:gd name="connsiteX213" fmla="*/ 0 w 8800240"/>
              <a:gd name="connsiteY213" fmla="*/ 3135085 h 3602598"/>
              <a:gd name="connsiteX214" fmla="*/ 13750 w 8800240"/>
              <a:gd name="connsiteY214" fmla="*/ 2915079 h 3602598"/>
              <a:gd name="connsiteX215" fmla="*/ 34376 w 8800240"/>
              <a:gd name="connsiteY215" fmla="*/ 2777575 h 3602598"/>
              <a:gd name="connsiteX216" fmla="*/ 34376 w 8800240"/>
              <a:gd name="connsiteY216" fmla="*/ 2653822 h 3602598"/>
              <a:gd name="connsiteX217" fmla="*/ 41251 w 8800240"/>
              <a:gd name="connsiteY217" fmla="*/ 2633197 h 3602598"/>
              <a:gd name="connsiteX218" fmla="*/ 55001 w 8800240"/>
              <a:gd name="connsiteY218" fmla="*/ 2619446 h 3602598"/>
              <a:gd name="connsiteX219" fmla="*/ 68752 w 8800240"/>
              <a:gd name="connsiteY219" fmla="*/ 2598821 h 3602598"/>
              <a:gd name="connsiteX220" fmla="*/ 158129 w 8800240"/>
              <a:gd name="connsiteY220" fmla="*/ 2605696 h 3602598"/>
              <a:gd name="connsiteX221" fmla="*/ 199380 w 8800240"/>
              <a:gd name="connsiteY221" fmla="*/ 2619446 h 3602598"/>
              <a:gd name="connsiteX222" fmla="*/ 220006 w 8800240"/>
              <a:gd name="connsiteY222" fmla="*/ 2626321 h 3602598"/>
              <a:gd name="connsiteX223" fmla="*/ 378135 w 8800240"/>
              <a:gd name="connsiteY223" fmla="*/ 2619446 h 360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8800240" h="3602598">
                <a:moveTo>
                  <a:pt x="82502" y="2543819"/>
                </a:moveTo>
                <a:cubicBezTo>
                  <a:pt x="93961" y="2548402"/>
                  <a:pt x="105170" y="2553666"/>
                  <a:pt x="116878" y="2557569"/>
                </a:cubicBezTo>
                <a:cubicBezTo>
                  <a:pt x="125842" y="2560557"/>
                  <a:pt x="135499" y="2561216"/>
                  <a:pt x="144379" y="2564445"/>
                </a:cubicBezTo>
                <a:cubicBezTo>
                  <a:pt x="235584" y="2597611"/>
                  <a:pt x="146827" y="2576178"/>
                  <a:pt x="254382" y="2598821"/>
                </a:cubicBezTo>
                <a:cubicBezTo>
                  <a:pt x="277252" y="2603636"/>
                  <a:pt x="323134" y="2612571"/>
                  <a:pt x="323134" y="2612571"/>
                </a:cubicBezTo>
                <a:lnTo>
                  <a:pt x="577516" y="2605696"/>
                </a:lnTo>
                <a:cubicBezTo>
                  <a:pt x="605089" y="2604571"/>
                  <a:pt x="632621" y="2602128"/>
                  <a:pt x="660018" y="2598821"/>
                </a:cubicBezTo>
                <a:cubicBezTo>
                  <a:pt x="765565" y="2586082"/>
                  <a:pt x="871321" y="2574497"/>
                  <a:pt x="976277" y="2557569"/>
                </a:cubicBezTo>
                <a:cubicBezTo>
                  <a:pt x="1038422" y="2547546"/>
                  <a:pt x="1114564" y="2520537"/>
                  <a:pt x="1175657" y="2502568"/>
                </a:cubicBezTo>
                <a:cubicBezTo>
                  <a:pt x="1184722" y="2499902"/>
                  <a:pt x="1193925" y="2497700"/>
                  <a:pt x="1203158" y="2495693"/>
                </a:cubicBezTo>
                <a:cubicBezTo>
                  <a:pt x="1350554" y="2463650"/>
                  <a:pt x="1300623" y="2472929"/>
                  <a:pt x="1430039" y="2454442"/>
                </a:cubicBezTo>
                <a:cubicBezTo>
                  <a:pt x="1441498" y="2449858"/>
                  <a:pt x="1452508" y="2443938"/>
                  <a:pt x="1464415" y="2440691"/>
                </a:cubicBezTo>
                <a:cubicBezTo>
                  <a:pt x="1477864" y="2437023"/>
                  <a:pt x="1492441" y="2438224"/>
                  <a:pt x="1505666" y="2433816"/>
                </a:cubicBezTo>
                <a:cubicBezTo>
                  <a:pt x="1520250" y="2428955"/>
                  <a:pt x="1532420" y="2418308"/>
                  <a:pt x="1546917" y="2413191"/>
                </a:cubicBezTo>
                <a:cubicBezTo>
                  <a:pt x="1599959" y="2394470"/>
                  <a:pt x="1618039" y="2397655"/>
                  <a:pt x="1663795" y="2378815"/>
                </a:cubicBezTo>
                <a:cubicBezTo>
                  <a:pt x="1689400" y="2368272"/>
                  <a:pt x="1714053" y="2355538"/>
                  <a:pt x="1739422" y="2344439"/>
                </a:cubicBezTo>
                <a:cubicBezTo>
                  <a:pt x="1881525" y="2282268"/>
                  <a:pt x="1651378" y="2385134"/>
                  <a:pt x="1815049" y="2316938"/>
                </a:cubicBezTo>
                <a:cubicBezTo>
                  <a:pt x="1829240" y="2311025"/>
                  <a:pt x="1842110" y="2302225"/>
                  <a:pt x="1856301" y="2296312"/>
                </a:cubicBezTo>
                <a:cubicBezTo>
                  <a:pt x="1869680" y="2290737"/>
                  <a:pt x="1884173" y="2288137"/>
                  <a:pt x="1897552" y="2282562"/>
                </a:cubicBezTo>
                <a:cubicBezTo>
                  <a:pt x="1911743" y="2276649"/>
                  <a:pt x="1924475" y="2267508"/>
                  <a:pt x="1938803" y="2261936"/>
                </a:cubicBezTo>
                <a:cubicBezTo>
                  <a:pt x="1965820" y="2251429"/>
                  <a:pt x="1994249" y="2244842"/>
                  <a:pt x="2021305" y="2234436"/>
                </a:cubicBezTo>
                <a:cubicBezTo>
                  <a:pt x="2110682" y="2200060"/>
                  <a:pt x="2200778" y="2167496"/>
                  <a:pt x="2289437" y="2131308"/>
                </a:cubicBezTo>
                <a:cubicBezTo>
                  <a:pt x="2313159" y="2121625"/>
                  <a:pt x="2337691" y="2112306"/>
                  <a:pt x="2358189" y="2096932"/>
                </a:cubicBezTo>
                <a:cubicBezTo>
                  <a:pt x="2391488" y="2071958"/>
                  <a:pt x="2374819" y="2079929"/>
                  <a:pt x="2406316" y="2069431"/>
                </a:cubicBezTo>
                <a:cubicBezTo>
                  <a:pt x="2431824" y="2049025"/>
                  <a:pt x="2466187" y="2019356"/>
                  <a:pt x="2495693" y="2007554"/>
                </a:cubicBezTo>
                <a:cubicBezTo>
                  <a:pt x="2507152" y="2002971"/>
                  <a:pt x="2519558" y="2000272"/>
                  <a:pt x="2530069" y="1993804"/>
                </a:cubicBezTo>
                <a:cubicBezTo>
                  <a:pt x="2549587" y="1981793"/>
                  <a:pt x="2566003" y="1965265"/>
                  <a:pt x="2585071" y="1952553"/>
                </a:cubicBezTo>
                <a:cubicBezTo>
                  <a:pt x="2591946" y="1947970"/>
                  <a:pt x="2598306" y="1942498"/>
                  <a:pt x="2605696" y="1938803"/>
                </a:cubicBezTo>
                <a:cubicBezTo>
                  <a:pt x="2616734" y="1933284"/>
                  <a:pt x="2629033" y="1930571"/>
                  <a:pt x="2640072" y="1925052"/>
                </a:cubicBezTo>
                <a:cubicBezTo>
                  <a:pt x="2647463" y="1921357"/>
                  <a:pt x="2653307" y="1914997"/>
                  <a:pt x="2660698" y="1911302"/>
                </a:cubicBezTo>
                <a:cubicBezTo>
                  <a:pt x="2726706" y="1878298"/>
                  <a:pt x="2793256" y="1846372"/>
                  <a:pt x="2860078" y="1815049"/>
                </a:cubicBezTo>
                <a:cubicBezTo>
                  <a:pt x="2866640" y="1811973"/>
                  <a:pt x="2873975" y="1810866"/>
                  <a:pt x="2880704" y="1808174"/>
                </a:cubicBezTo>
                <a:cubicBezTo>
                  <a:pt x="2896909" y="1801692"/>
                  <a:pt x="2912272" y="1793067"/>
                  <a:pt x="2928830" y="1787548"/>
                </a:cubicBezTo>
                <a:cubicBezTo>
                  <a:pt x="2939916" y="1783853"/>
                  <a:pt x="2951771" y="1783080"/>
                  <a:pt x="2963206" y="1780673"/>
                </a:cubicBezTo>
                <a:lnTo>
                  <a:pt x="3059458" y="1760048"/>
                </a:lnTo>
                <a:cubicBezTo>
                  <a:pt x="3082338" y="1755281"/>
                  <a:pt x="3106038" y="1753687"/>
                  <a:pt x="3128210" y="1746297"/>
                </a:cubicBezTo>
                <a:cubicBezTo>
                  <a:pt x="3150303" y="1738933"/>
                  <a:pt x="3174927" y="1730394"/>
                  <a:pt x="3196962" y="1725672"/>
                </a:cubicBezTo>
                <a:cubicBezTo>
                  <a:pt x="3232927" y="1717965"/>
                  <a:pt x="3296171" y="1714913"/>
                  <a:pt x="3327591" y="1711921"/>
                </a:cubicBezTo>
                <a:cubicBezTo>
                  <a:pt x="3348250" y="1709953"/>
                  <a:pt x="3368876" y="1707620"/>
                  <a:pt x="3389468" y="1705046"/>
                </a:cubicBezTo>
                <a:cubicBezTo>
                  <a:pt x="3691032" y="1667350"/>
                  <a:pt x="3511746" y="1687639"/>
                  <a:pt x="3664475" y="1670670"/>
                </a:cubicBezTo>
                <a:cubicBezTo>
                  <a:pt x="3671350" y="1668378"/>
                  <a:pt x="3678015" y="1665313"/>
                  <a:pt x="3685101" y="1663795"/>
                </a:cubicBezTo>
                <a:cubicBezTo>
                  <a:pt x="3735037" y="1653095"/>
                  <a:pt x="3761695" y="1649907"/>
                  <a:pt x="3808854" y="1643169"/>
                </a:cubicBezTo>
                <a:cubicBezTo>
                  <a:pt x="3855454" y="1627637"/>
                  <a:pt x="3798603" y="1645219"/>
                  <a:pt x="3877606" y="1629419"/>
                </a:cubicBezTo>
                <a:cubicBezTo>
                  <a:pt x="3884712" y="1627998"/>
                  <a:pt x="3891263" y="1624535"/>
                  <a:pt x="3898231" y="1622544"/>
                </a:cubicBezTo>
                <a:cubicBezTo>
                  <a:pt x="3907317" y="1619948"/>
                  <a:pt x="3916646" y="1618265"/>
                  <a:pt x="3925732" y="1615669"/>
                </a:cubicBezTo>
                <a:cubicBezTo>
                  <a:pt x="3932700" y="1613678"/>
                  <a:pt x="3939327" y="1610552"/>
                  <a:pt x="3946358" y="1608794"/>
                </a:cubicBezTo>
                <a:cubicBezTo>
                  <a:pt x="3985186" y="1599087"/>
                  <a:pt x="4025267" y="1593949"/>
                  <a:pt x="4063236" y="1581293"/>
                </a:cubicBezTo>
                <a:cubicBezTo>
                  <a:pt x="4070111" y="1579001"/>
                  <a:pt x="4076755" y="1575839"/>
                  <a:pt x="4083861" y="1574418"/>
                </a:cubicBezTo>
                <a:cubicBezTo>
                  <a:pt x="4099752" y="1571240"/>
                  <a:pt x="4115946" y="1569834"/>
                  <a:pt x="4131988" y="1567542"/>
                </a:cubicBezTo>
                <a:cubicBezTo>
                  <a:pt x="4216499" y="1539372"/>
                  <a:pt x="4124045" y="1568823"/>
                  <a:pt x="4345119" y="1533166"/>
                </a:cubicBezTo>
                <a:cubicBezTo>
                  <a:pt x="4352273" y="1532012"/>
                  <a:pt x="4358776" y="1528282"/>
                  <a:pt x="4365744" y="1526291"/>
                </a:cubicBezTo>
                <a:cubicBezTo>
                  <a:pt x="4374830" y="1523695"/>
                  <a:pt x="4383948" y="1521106"/>
                  <a:pt x="4393245" y="1519416"/>
                </a:cubicBezTo>
                <a:cubicBezTo>
                  <a:pt x="4409188" y="1516517"/>
                  <a:pt x="4425329" y="1514833"/>
                  <a:pt x="4441371" y="1512541"/>
                </a:cubicBezTo>
                <a:cubicBezTo>
                  <a:pt x="4490851" y="1496048"/>
                  <a:pt x="4429033" y="1516068"/>
                  <a:pt x="4489498" y="1498791"/>
                </a:cubicBezTo>
                <a:cubicBezTo>
                  <a:pt x="4496466" y="1496800"/>
                  <a:pt x="4503155" y="1493906"/>
                  <a:pt x="4510123" y="1491915"/>
                </a:cubicBezTo>
                <a:cubicBezTo>
                  <a:pt x="4519209" y="1489319"/>
                  <a:pt x="4528573" y="1487755"/>
                  <a:pt x="4537624" y="1485040"/>
                </a:cubicBezTo>
                <a:cubicBezTo>
                  <a:pt x="4551507" y="1480875"/>
                  <a:pt x="4565125" y="1475873"/>
                  <a:pt x="4578875" y="1471290"/>
                </a:cubicBezTo>
                <a:cubicBezTo>
                  <a:pt x="4585750" y="1468998"/>
                  <a:pt x="4592470" y="1466173"/>
                  <a:pt x="4599501" y="1464415"/>
                </a:cubicBezTo>
                <a:cubicBezTo>
                  <a:pt x="4608668" y="1462123"/>
                  <a:pt x="4617970" y="1460318"/>
                  <a:pt x="4627001" y="1457539"/>
                </a:cubicBezTo>
                <a:cubicBezTo>
                  <a:pt x="4647781" y="1451145"/>
                  <a:pt x="4668252" y="1443789"/>
                  <a:pt x="4688878" y="1436914"/>
                </a:cubicBezTo>
                <a:lnTo>
                  <a:pt x="4730129" y="1423163"/>
                </a:lnTo>
                <a:cubicBezTo>
                  <a:pt x="4755390" y="1414141"/>
                  <a:pt x="4779964" y="1403032"/>
                  <a:pt x="4805756" y="1395663"/>
                </a:cubicBezTo>
                <a:lnTo>
                  <a:pt x="4853883" y="1381912"/>
                </a:lnTo>
                <a:cubicBezTo>
                  <a:pt x="4860824" y="1379830"/>
                  <a:pt x="4867540" y="1377028"/>
                  <a:pt x="4874508" y="1375037"/>
                </a:cubicBezTo>
                <a:cubicBezTo>
                  <a:pt x="4883594" y="1372441"/>
                  <a:pt x="4892958" y="1370877"/>
                  <a:pt x="4902009" y="1368162"/>
                </a:cubicBezTo>
                <a:cubicBezTo>
                  <a:pt x="4911282" y="1365380"/>
                  <a:pt x="4955890" y="1348829"/>
                  <a:pt x="4970761" y="1347536"/>
                </a:cubicBezTo>
                <a:cubicBezTo>
                  <a:pt x="5014200" y="1343759"/>
                  <a:pt x="5057846" y="1342953"/>
                  <a:pt x="5101389" y="1340661"/>
                </a:cubicBezTo>
                <a:cubicBezTo>
                  <a:pt x="5205858" y="1319768"/>
                  <a:pt x="5135721" y="1331094"/>
                  <a:pt x="5355771" y="1340661"/>
                </a:cubicBezTo>
                <a:cubicBezTo>
                  <a:pt x="5387907" y="1342058"/>
                  <a:pt x="5419917" y="1345590"/>
                  <a:pt x="5452024" y="1347536"/>
                </a:cubicBezTo>
                <a:lnTo>
                  <a:pt x="5582652" y="1354412"/>
                </a:lnTo>
                <a:cubicBezTo>
                  <a:pt x="5744388" y="1338237"/>
                  <a:pt x="5543270" y="1354412"/>
                  <a:pt x="5747657" y="1354412"/>
                </a:cubicBezTo>
                <a:cubicBezTo>
                  <a:pt x="5811866" y="1354412"/>
                  <a:pt x="5875994" y="1349828"/>
                  <a:pt x="5940162" y="1347536"/>
                </a:cubicBezTo>
                <a:cubicBezTo>
                  <a:pt x="5953912" y="1342953"/>
                  <a:pt x="5969539" y="1342098"/>
                  <a:pt x="5981413" y="1333786"/>
                </a:cubicBezTo>
                <a:cubicBezTo>
                  <a:pt x="6055476" y="1281943"/>
                  <a:pt x="6030384" y="1305441"/>
                  <a:pt x="6063916" y="1271909"/>
                </a:cubicBezTo>
                <a:cubicBezTo>
                  <a:pt x="6068499" y="1260450"/>
                  <a:pt x="6072147" y="1248571"/>
                  <a:pt x="6077666" y="1237533"/>
                </a:cubicBezTo>
                <a:cubicBezTo>
                  <a:pt x="6112191" y="1168482"/>
                  <a:pt x="6069003" y="1273788"/>
                  <a:pt x="6105167" y="1189407"/>
                </a:cubicBezTo>
                <a:cubicBezTo>
                  <a:pt x="6108022" y="1182746"/>
                  <a:pt x="6109187" y="1175442"/>
                  <a:pt x="6112042" y="1168781"/>
                </a:cubicBezTo>
                <a:cubicBezTo>
                  <a:pt x="6116079" y="1159361"/>
                  <a:pt x="6121755" y="1150701"/>
                  <a:pt x="6125792" y="1141281"/>
                </a:cubicBezTo>
                <a:cubicBezTo>
                  <a:pt x="6128647" y="1134620"/>
                  <a:pt x="6129813" y="1127316"/>
                  <a:pt x="6132668" y="1120655"/>
                </a:cubicBezTo>
                <a:cubicBezTo>
                  <a:pt x="6136705" y="1111235"/>
                  <a:pt x="6143473" y="1102971"/>
                  <a:pt x="6146418" y="1093154"/>
                </a:cubicBezTo>
                <a:cubicBezTo>
                  <a:pt x="6157279" y="1056952"/>
                  <a:pt x="6173919" y="983151"/>
                  <a:pt x="6173919" y="983151"/>
                </a:cubicBezTo>
                <a:cubicBezTo>
                  <a:pt x="6176211" y="918983"/>
                  <a:pt x="6173378" y="854426"/>
                  <a:pt x="6180794" y="790646"/>
                </a:cubicBezTo>
                <a:cubicBezTo>
                  <a:pt x="6184903" y="755307"/>
                  <a:pt x="6193695" y="719962"/>
                  <a:pt x="6208295" y="687518"/>
                </a:cubicBezTo>
                <a:cubicBezTo>
                  <a:pt x="6214945" y="672740"/>
                  <a:pt x="6228601" y="661182"/>
                  <a:pt x="6242671" y="653142"/>
                </a:cubicBezTo>
                <a:cubicBezTo>
                  <a:pt x="6409540" y="557790"/>
                  <a:pt x="6201484" y="673737"/>
                  <a:pt x="6325173" y="611891"/>
                </a:cubicBezTo>
                <a:cubicBezTo>
                  <a:pt x="6332563" y="608196"/>
                  <a:pt x="6338310" y="601635"/>
                  <a:pt x="6345798" y="598141"/>
                </a:cubicBezTo>
                <a:cubicBezTo>
                  <a:pt x="6454342" y="547487"/>
                  <a:pt x="6393877" y="578393"/>
                  <a:pt x="6469552" y="550015"/>
                </a:cubicBezTo>
                <a:cubicBezTo>
                  <a:pt x="6492663" y="541348"/>
                  <a:pt x="6514991" y="530623"/>
                  <a:pt x="6538304" y="522514"/>
                </a:cubicBezTo>
                <a:cubicBezTo>
                  <a:pt x="6561053" y="514601"/>
                  <a:pt x="6629789" y="497397"/>
                  <a:pt x="6662057" y="481263"/>
                </a:cubicBezTo>
                <a:cubicBezTo>
                  <a:pt x="6669448" y="477568"/>
                  <a:pt x="6675509" y="471612"/>
                  <a:pt x="6682683" y="467512"/>
                </a:cubicBezTo>
                <a:cubicBezTo>
                  <a:pt x="6691581" y="462427"/>
                  <a:pt x="6701285" y="458847"/>
                  <a:pt x="6710183" y="453762"/>
                </a:cubicBezTo>
                <a:cubicBezTo>
                  <a:pt x="6717357" y="449662"/>
                  <a:pt x="6723418" y="443707"/>
                  <a:pt x="6730809" y="440012"/>
                </a:cubicBezTo>
                <a:cubicBezTo>
                  <a:pt x="6737291" y="436771"/>
                  <a:pt x="6745099" y="436655"/>
                  <a:pt x="6751434" y="433136"/>
                </a:cubicBezTo>
                <a:cubicBezTo>
                  <a:pt x="6786478" y="413667"/>
                  <a:pt x="6820355" y="392164"/>
                  <a:pt x="6854562" y="371260"/>
                </a:cubicBezTo>
                <a:cubicBezTo>
                  <a:pt x="6861613" y="366951"/>
                  <a:pt x="6867797" y="361204"/>
                  <a:pt x="6875188" y="357509"/>
                </a:cubicBezTo>
                <a:cubicBezTo>
                  <a:pt x="6881670" y="354268"/>
                  <a:pt x="6889152" y="353489"/>
                  <a:pt x="6895813" y="350634"/>
                </a:cubicBezTo>
                <a:cubicBezTo>
                  <a:pt x="6905233" y="346597"/>
                  <a:pt x="6913924" y="340992"/>
                  <a:pt x="6923314" y="336884"/>
                </a:cubicBezTo>
                <a:cubicBezTo>
                  <a:pt x="6950609" y="324943"/>
                  <a:pt x="6981027" y="319034"/>
                  <a:pt x="7005816" y="302508"/>
                </a:cubicBezTo>
                <a:cubicBezTo>
                  <a:pt x="7025259" y="289546"/>
                  <a:pt x="7039250" y="279746"/>
                  <a:pt x="7060818" y="268132"/>
                </a:cubicBezTo>
                <a:cubicBezTo>
                  <a:pt x="7078866" y="258414"/>
                  <a:pt x="7098764" y="252001"/>
                  <a:pt x="7115819" y="240631"/>
                </a:cubicBezTo>
                <a:cubicBezTo>
                  <a:pt x="7129570" y="231464"/>
                  <a:pt x="7143850" y="223046"/>
                  <a:pt x="7157071" y="213130"/>
                </a:cubicBezTo>
                <a:cubicBezTo>
                  <a:pt x="7166238" y="206255"/>
                  <a:pt x="7173772" y="196337"/>
                  <a:pt x="7184571" y="192505"/>
                </a:cubicBezTo>
                <a:cubicBezTo>
                  <a:pt x="7245391" y="170924"/>
                  <a:pt x="7308782" y="157316"/>
                  <a:pt x="7370201" y="137503"/>
                </a:cubicBezTo>
                <a:cubicBezTo>
                  <a:pt x="7379955" y="134357"/>
                  <a:pt x="7387736" y="126145"/>
                  <a:pt x="7397702" y="123753"/>
                </a:cubicBezTo>
                <a:cubicBezTo>
                  <a:pt x="7445341" y="112320"/>
                  <a:pt x="7494552" y="108134"/>
                  <a:pt x="7542081" y="96252"/>
                </a:cubicBezTo>
                <a:cubicBezTo>
                  <a:pt x="7551248" y="93960"/>
                  <a:pt x="7560166" y="90162"/>
                  <a:pt x="7569582" y="89377"/>
                </a:cubicBezTo>
                <a:cubicBezTo>
                  <a:pt x="7641572" y="83378"/>
                  <a:pt x="7788645" y="77353"/>
                  <a:pt x="7878965" y="68751"/>
                </a:cubicBezTo>
                <a:cubicBezTo>
                  <a:pt x="7897358" y="66999"/>
                  <a:pt x="7915676" y="64489"/>
                  <a:pt x="7933967" y="61876"/>
                </a:cubicBezTo>
                <a:cubicBezTo>
                  <a:pt x="7947767" y="59905"/>
                  <a:pt x="7961363" y="56540"/>
                  <a:pt x="7975218" y="55001"/>
                </a:cubicBezTo>
                <a:cubicBezTo>
                  <a:pt x="8038025" y="48023"/>
                  <a:pt x="8097637" y="46519"/>
                  <a:pt x="8160848" y="41251"/>
                </a:cubicBezTo>
                <a:cubicBezTo>
                  <a:pt x="8181529" y="39528"/>
                  <a:pt x="8202086" y="36548"/>
                  <a:pt x="8222725" y="34375"/>
                </a:cubicBezTo>
                <a:lnTo>
                  <a:pt x="8291477" y="27500"/>
                </a:lnTo>
                <a:cubicBezTo>
                  <a:pt x="8305227" y="22917"/>
                  <a:pt x="8318667" y="17265"/>
                  <a:pt x="8332728" y="13750"/>
                </a:cubicBezTo>
                <a:cubicBezTo>
                  <a:pt x="8371565" y="4041"/>
                  <a:pt x="8350963" y="8728"/>
                  <a:pt x="8394604" y="0"/>
                </a:cubicBezTo>
                <a:cubicBezTo>
                  <a:pt x="8415230" y="2292"/>
                  <a:pt x="8436260" y="2209"/>
                  <a:pt x="8456481" y="6875"/>
                </a:cubicBezTo>
                <a:cubicBezTo>
                  <a:pt x="8466467" y="9179"/>
                  <a:pt x="8475083" y="15540"/>
                  <a:pt x="8483982" y="20625"/>
                </a:cubicBezTo>
                <a:cubicBezTo>
                  <a:pt x="8500185" y="29884"/>
                  <a:pt x="8517351" y="44461"/>
                  <a:pt x="8532108" y="55001"/>
                </a:cubicBezTo>
                <a:cubicBezTo>
                  <a:pt x="8538832" y="59804"/>
                  <a:pt x="8546662" y="63146"/>
                  <a:pt x="8552734" y="68751"/>
                </a:cubicBezTo>
                <a:cubicBezTo>
                  <a:pt x="8576549" y="90734"/>
                  <a:pt x="8621486" y="137503"/>
                  <a:pt x="8621486" y="137503"/>
                </a:cubicBezTo>
                <a:cubicBezTo>
                  <a:pt x="8623778" y="144378"/>
                  <a:pt x="8624765" y="151837"/>
                  <a:pt x="8628361" y="158129"/>
                </a:cubicBezTo>
                <a:cubicBezTo>
                  <a:pt x="8639258" y="177200"/>
                  <a:pt x="8648586" y="185230"/>
                  <a:pt x="8662737" y="199380"/>
                </a:cubicBezTo>
                <a:cubicBezTo>
                  <a:pt x="8667320" y="208547"/>
                  <a:pt x="8671402" y="217982"/>
                  <a:pt x="8676487" y="226881"/>
                </a:cubicBezTo>
                <a:cubicBezTo>
                  <a:pt x="8680586" y="234055"/>
                  <a:pt x="8686881" y="239955"/>
                  <a:pt x="8690237" y="247506"/>
                </a:cubicBezTo>
                <a:cubicBezTo>
                  <a:pt x="8696124" y="260751"/>
                  <a:pt x="8699404" y="275007"/>
                  <a:pt x="8703988" y="288757"/>
                </a:cubicBezTo>
                <a:cubicBezTo>
                  <a:pt x="8716230" y="325481"/>
                  <a:pt x="8713124" y="313814"/>
                  <a:pt x="8724613" y="371260"/>
                </a:cubicBezTo>
                <a:cubicBezTo>
                  <a:pt x="8727347" y="384929"/>
                  <a:pt x="8728108" y="398987"/>
                  <a:pt x="8731489" y="412511"/>
                </a:cubicBezTo>
                <a:cubicBezTo>
                  <a:pt x="8735004" y="426572"/>
                  <a:pt x="8742856" y="439465"/>
                  <a:pt x="8745239" y="453762"/>
                </a:cubicBezTo>
                <a:cubicBezTo>
                  <a:pt x="8758352" y="532441"/>
                  <a:pt x="8746367" y="455914"/>
                  <a:pt x="8758989" y="556890"/>
                </a:cubicBezTo>
                <a:cubicBezTo>
                  <a:pt x="8760999" y="572970"/>
                  <a:pt x="8763722" y="588953"/>
                  <a:pt x="8765864" y="605016"/>
                </a:cubicBezTo>
                <a:cubicBezTo>
                  <a:pt x="8768306" y="623331"/>
                  <a:pt x="8770448" y="641684"/>
                  <a:pt x="8772740" y="660018"/>
                </a:cubicBezTo>
                <a:cubicBezTo>
                  <a:pt x="8777777" y="740614"/>
                  <a:pt x="8778643" y="771100"/>
                  <a:pt x="8786490" y="845648"/>
                </a:cubicBezTo>
                <a:cubicBezTo>
                  <a:pt x="8792470" y="902458"/>
                  <a:pt x="8788226" y="885232"/>
                  <a:pt x="8800240" y="921275"/>
                </a:cubicBezTo>
                <a:cubicBezTo>
                  <a:pt x="8797948" y="980860"/>
                  <a:pt x="8796972" y="1040510"/>
                  <a:pt x="8793365" y="1100030"/>
                </a:cubicBezTo>
                <a:cubicBezTo>
                  <a:pt x="8792385" y="1116205"/>
                  <a:pt x="8789050" y="1132155"/>
                  <a:pt x="8786490" y="1148156"/>
                </a:cubicBezTo>
                <a:cubicBezTo>
                  <a:pt x="8779883" y="1189451"/>
                  <a:pt x="8773345" y="1230764"/>
                  <a:pt x="8765864" y="1271909"/>
                </a:cubicBezTo>
                <a:cubicBezTo>
                  <a:pt x="8749164" y="1363759"/>
                  <a:pt x="8770049" y="1215109"/>
                  <a:pt x="8752114" y="1340661"/>
                </a:cubicBezTo>
                <a:cubicBezTo>
                  <a:pt x="8749501" y="1358952"/>
                  <a:pt x="8748276" y="1377438"/>
                  <a:pt x="8745239" y="1395663"/>
                </a:cubicBezTo>
                <a:cubicBezTo>
                  <a:pt x="8732488" y="1472168"/>
                  <a:pt x="8743598" y="1361495"/>
                  <a:pt x="8731489" y="1464415"/>
                </a:cubicBezTo>
                <a:cubicBezTo>
                  <a:pt x="8720534" y="1557527"/>
                  <a:pt x="8733598" y="1513088"/>
                  <a:pt x="8717738" y="1560667"/>
                </a:cubicBezTo>
                <a:cubicBezTo>
                  <a:pt x="8715446" y="1585876"/>
                  <a:pt x="8710863" y="1610981"/>
                  <a:pt x="8710863" y="1636294"/>
                </a:cubicBezTo>
                <a:cubicBezTo>
                  <a:pt x="8710863" y="1705084"/>
                  <a:pt x="8713447" y="1773894"/>
                  <a:pt x="8717738" y="1842550"/>
                </a:cubicBezTo>
                <a:cubicBezTo>
                  <a:pt x="8722324" y="1915932"/>
                  <a:pt x="8728261" y="1946934"/>
                  <a:pt x="8738364" y="2007554"/>
                </a:cubicBezTo>
                <a:cubicBezTo>
                  <a:pt x="8740656" y="2037347"/>
                  <a:pt x="8741748" y="2067256"/>
                  <a:pt x="8745239" y="2096932"/>
                </a:cubicBezTo>
                <a:cubicBezTo>
                  <a:pt x="8746343" y="2106316"/>
                  <a:pt x="8751125" y="2115036"/>
                  <a:pt x="8752114" y="2124433"/>
                </a:cubicBezTo>
                <a:cubicBezTo>
                  <a:pt x="8755511" y="2156701"/>
                  <a:pt x="8764545" y="2327570"/>
                  <a:pt x="8765864" y="2351314"/>
                </a:cubicBezTo>
                <a:cubicBezTo>
                  <a:pt x="8763572" y="2445275"/>
                  <a:pt x="8761528" y="2539242"/>
                  <a:pt x="8758989" y="2633197"/>
                </a:cubicBezTo>
                <a:cubicBezTo>
                  <a:pt x="8756945" y="2708831"/>
                  <a:pt x="8756198" y="2784527"/>
                  <a:pt x="8752114" y="2860078"/>
                </a:cubicBezTo>
                <a:cubicBezTo>
                  <a:pt x="8751604" y="2869513"/>
                  <a:pt x="8746929" y="2878282"/>
                  <a:pt x="8745239" y="2887578"/>
                </a:cubicBezTo>
                <a:cubicBezTo>
                  <a:pt x="8735505" y="2941118"/>
                  <a:pt x="8743182" y="2922282"/>
                  <a:pt x="8731489" y="2963206"/>
                </a:cubicBezTo>
                <a:cubicBezTo>
                  <a:pt x="8717832" y="3011002"/>
                  <a:pt x="8732859" y="2952673"/>
                  <a:pt x="8710863" y="3011332"/>
                </a:cubicBezTo>
                <a:cubicBezTo>
                  <a:pt x="8707545" y="3020180"/>
                  <a:pt x="8707898" y="3030231"/>
                  <a:pt x="8703988" y="3038833"/>
                </a:cubicBezTo>
                <a:cubicBezTo>
                  <a:pt x="8688034" y="3073932"/>
                  <a:pt x="8676886" y="3086427"/>
                  <a:pt x="8655861" y="3114460"/>
                </a:cubicBezTo>
                <a:cubicBezTo>
                  <a:pt x="8644167" y="3149542"/>
                  <a:pt x="8656451" y="3122939"/>
                  <a:pt x="8628361" y="3155711"/>
                </a:cubicBezTo>
                <a:cubicBezTo>
                  <a:pt x="8606914" y="3180732"/>
                  <a:pt x="8611584" y="3183813"/>
                  <a:pt x="8587110" y="3203837"/>
                </a:cubicBezTo>
                <a:cubicBezTo>
                  <a:pt x="8517621" y="3260691"/>
                  <a:pt x="8555418" y="3230611"/>
                  <a:pt x="8504607" y="3258839"/>
                </a:cubicBezTo>
                <a:cubicBezTo>
                  <a:pt x="8492926" y="3265329"/>
                  <a:pt x="8482056" y="3273240"/>
                  <a:pt x="8470231" y="3279464"/>
                </a:cubicBezTo>
                <a:cubicBezTo>
                  <a:pt x="8438488" y="3296171"/>
                  <a:pt x="8406691" y="3312871"/>
                  <a:pt x="8373979" y="3327591"/>
                </a:cubicBezTo>
                <a:cubicBezTo>
                  <a:pt x="8360762" y="3333539"/>
                  <a:pt x="8346256" y="3336138"/>
                  <a:pt x="8332728" y="3341341"/>
                </a:cubicBezTo>
                <a:cubicBezTo>
                  <a:pt x="8316438" y="3347606"/>
                  <a:pt x="8300891" y="3355701"/>
                  <a:pt x="8284601" y="3361966"/>
                </a:cubicBezTo>
                <a:cubicBezTo>
                  <a:pt x="8271073" y="3367169"/>
                  <a:pt x="8257100" y="3371133"/>
                  <a:pt x="8243350" y="3375717"/>
                </a:cubicBezTo>
                <a:cubicBezTo>
                  <a:pt x="8236475" y="3378009"/>
                  <a:pt x="8229454" y="3379901"/>
                  <a:pt x="8222725" y="3382592"/>
                </a:cubicBezTo>
                <a:cubicBezTo>
                  <a:pt x="8211266" y="3387175"/>
                  <a:pt x="8200189" y="3392860"/>
                  <a:pt x="8188349" y="3396342"/>
                </a:cubicBezTo>
                <a:cubicBezTo>
                  <a:pt x="8161153" y="3404341"/>
                  <a:pt x="8132166" y="3406440"/>
                  <a:pt x="8105846" y="3416968"/>
                </a:cubicBezTo>
                <a:cubicBezTo>
                  <a:pt x="8094388" y="3421551"/>
                  <a:pt x="8082748" y="3425706"/>
                  <a:pt x="8071471" y="3430718"/>
                </a:cubicBezTo>
                <a:cubicBezTo>
                  <a:pt x="8062105" y="3434881"/>
                  <a:pt x="8053635" y="3441058"/>
                  <a:pt x="8043970" y="3444469"/>
                </a:cubicBezTo>
                <a:cubicBezTo>
                  <a:pt x="8014576" y="3454843"/>
                  <a:pt x="7984665" y="3463767"/>
                  <a:pt x="7954592" y="3471969"/>
                </a:cubicBezTo>
                <a:cubicBezTo>
                  <a:pt x="7934208" y="3477528"/>
                  <a:pt x="7913483" y="3481826"/>
                  <a:pt x="7892716" y="3485720"/>
                </a:cubicBezTo>
                <a:cubicBezTo>
                  <a:pt x="7867788" y="3490394"/>
                  <a:pt x="7813365" y="3496073"/>
                  <a:pt x="7789588" y="3499470"/>
                </a:cubicBezTo>
                <a:cubicBezTo>
                  <a:pt x="7681555" y="3514903"/>
                  <a:pt x="7831136" y="3497144"/>
                  <a:pt x="7686460" y="3513221"/>
                </a:cubicBezTo>
                <a:cubicBezTo>
                  <a:pt x="7672882" y="3516615"/>
                  <a:pt x="7636986" y="3526052"/>
                  <a:pt x="7624583" y="3526971"/>
                </a:cubicBezTo>
                <a:cubicBezTo>
                  <a:pt x="7574251" y="3530699"/>
                  <a:pt x="7523739" y="3531387"/>
                  <a:pt x="7473329" y="3533846"/>
                </a:cubicBezTo>
                <a:lnTo>
                  <a:pt x="7342701" y="3540721"/>
                </a:lnTo>
                <a:cubicBezTo>
                  <a:pt x="7226761" y="3547162"/>
                  <a:pt x="7171945" y="3550644"/>
                  <a:pt x="7047068" y="3561347"/>
                </a:cubicBezTo>
                <a:cubicBezTo>
                  <a:pt x="7026391" y="3563119"/>
                  <a:pt x="7005891" y="3566743"/>
                  <a:pt x="6985191" y="3568222"/>
                </a:cubicBezTo>
                <a:cubicBezTo>
                  <a:pt x="6941699" y="3571329"/>
                  <a:pt x="6898080" y="3572377"/>
                  <a:pt x="6854562" y="3575097"/>
                </a:cubicBezTo>
                <a:cubicBezTo>
                  <a:pt x="6824740" y="3576961"/>
                  <a:pt x="6794977" y="3579680"/>
                  <a:pt x="6765185" y="3581972"/>
                </a:cubicBezTo>
                <a:lnTo>
                  <a:pt x="6400800" y="3575097"/>
                </a:lnTo>
                <a:cubicBezTo>
                  <a:pt x="6377780" y="3574366"/>
                  <a:pt x="6355029" y="3569754"/>
                  <a:pt x="6332048" y="3568222"/>
                </a:cubicBezTo>
                <a:cubicBezTo>
                  <a:pt x="6286258" y="3565169"/>
                  <a:pt x="6240406" y="3563015"/>
                  <a:pt x="6194544" y="3561347"/>
                </a:cubicBezTo>
                <a:cubicBezTo>
                  <a:pt x="6019847" y="3554995"/>
                  <a:pt x="5792928" y="3551118"/>
                  <a:pt x="5623904" y="3547597"/>
                </a:cubicBezTo>
                <a:cubicBezTo>
                  <a:pt x="5310809" y="3532686"/>
                  <a:pt x="5482078" y="3537938"/>
                  <a:pt x="4936385" y="3547597"/>
                </a:cubicBezTo>
                <a:cubicBezTo>
                  <a:pt x="4726020" y="3551320"/>
                  <a:pt x="4421685" y="3566519"/>
                  <a:pt x="4235116" y="3575097"/>
                </a:cubicBezTo>
                <a:lnTo>
                  <a:pt x="4104487" y="3581972"/>
                </a:lnTo>
                <a:cubicBezTo>
                  <a:pt x="3889852" y="3591955"/>
                  <a:pt x="3894394" y="3589850"/>
                  <a:pt x="3630099" y="3595723"/>
                </a:cubicBezTo>
                <a:lnTo>
                  <a:pt x="3107585" y="3588848"/>
                </a:lnTo>
                <a:cubicBezTo>
                  <a:pt x="3050257" y="3587713"/>
                  <a:pt x="2993005" y="3584094"/>
                  <a:pt x="2935705" y="3581972"/>
                </a:cubicBezTo>
                <a:lnTo>
                  <a:pt x="2550695" y="3568222"/>
                </a:lnTo>
                <a:cubicBezTo>
                  <a:pt x="2492732" y="3548902"/>
                  <a:pt x="2538988" y="3562334"/>
                  <a:pt x="2413191" y="3554472"/>
                </a:cubicBezTo>
                <a:cubicBezTo>
                  <a:pt x="2222052" y="3542526"/>
                  <a:pt x="2390481" y="3553205"/>
                  <a:pt x="2234436" y="3540721"/>
                </a:cubicBezTo>
                <a:lnTo>
                  <a:pt x="2138183" y="3533846"/>
                </a:lnTo>
                <a:cubicBezTo>
                  <a:pt x="1986477" y="3537946"/>
                  <a:pt x="1921686" y="3535476"/>
                  <a:pt x="1794424" y="3547597"/>
                </a:cubicBezTo>
                <a:cubicBezTo>
                  <a:pt x="1778199" y="3549142"/>
                  <a:pt x="1709601" y="3558296"/>
                  <a:pt x="1691296" y="3561347"/>
                </a:cubicBezTo>
                <a:cubicBezTo>
                  <a:pt x="1679769" y="3563268"/>
                  <a:pt x="1668447" y="3566301"/>
                  <a:pt x="1656920" y="3568222"/>
                </a:cubicBezTo>
                <a:cubicBezTo>
                  <a:pt x="1611324" y="3575821"/>
                  <a:pt x="1588917" y="3577085"/>
                  <a:pt x="1540042" y="3581972"/>
                </a:cubicBezTo>
                <a:cubicBezTo>
                  <a:pt x="1502409" y="3594518"/>
                  <a:pt x="1518945" y="3590606"/>
                  <a:pt x="1457540" y="3595723"/>
                </a:cubicBezTo>
                <a:cubicBezTo>
                  <a:pt x="1423207" y="3598584"/>
                  <a:pt x="1388788" y="3600306"/>
                  <a:pt x="1354412" y="3602598"/>
                </a:cubicBezTo>
                <a:cubicBezTo>
                  <a:pt x="1288208" y="3599720"/>
                  <a:pt x="1186357" y="3597387"/>
                  <a:pt x="1113780" y="3588848"/>
                </a:cubicBezTo>
                <a:cubicBezTo>
                  <a:pt x="1102174" y="3587483"/>
                  <a:pt x="1090901" y="3584062"/>
                  <a:pt x="1079404" y="3581972"/>
                </a:cubicBezTo>
                <a:cubicBezTo>
                  <a:pt x="1065689" y="3579478"/>
                  <a:pt x="1051822" y="3577831"/>
                  <a:pt x="1038153" y="3575097"/>
                </a:cubicBezTo>
                <a:cubicBezTo>
                  <a:pt x="1028887" y="3573244"/>
                  <a:pt x="1020028" y="3569394"/>
                  <a:pt x="1010652" y="3568222"/>
                </a:cubicBezTo>
                <a:cubicBezTo>
                  <a:pt x="983269" y="3564799"/>
                  <a:pt x="955651" y="3563639"/>
                  <a:pt x="928150" y="3561347"/>
                </a:cubicBezTo>
                <a:cubicBezTo>
                  <a:pt x="886940" y="3547610"/>
                  <a:pt x="910716" y="3553853"/>
                  <a:pt x="838773" y="3547597"/>
                </a:cubicBezTo>
                <a:cubicBezTo>
                  <a:pt x="696193" y="3535198"/>
                  <a:pt x="698918" y="3539319"/>
                  <a:pt x="501889" y="3533846"/>
                </a:cubicBezTo>
                <a:lnTo>
                  <a:pt x="309383" y="3520096"/>
                </a:lnTo>
                <a:cubicBezTo>
                  <a:pt x="303618" y="3519418"/>
                  <a:pt x="268783" y="3510108"/>
                  <a:pt x="261257" y="3506345"/>
                </a:cubicBezTo>
                <a:cubicBezTo>
                  <a:pt x="207950" y="3479692"/>
                  <a:pt x="271843" y="3502999"/>
                  <a:pt x="220006" y="3485720"/>
                </a:cubicBezTo>
                <a:cubicBezTo>
                  <a:pt x="167968" y="3451028"/>
                  <a:pt x="190441" y="3469905"/>
                  <a:pt x="151254" y="3430718"/>
                </a:cubicBezTo>
                <a:lnTo>
                  <a:pt x="103128" y="3382592"/>
                </a:lnTo>
                <a:cubicBezTo>
                  <a:pt x="87361" y="3335296"/>
                  <a:pt x="108928" y="3392744"/>
                  <a:pt x="75627" y="3334466"/>
                </a:cubicBezTo>
                <a:cubicBezTo>
                  <a:pt x="72031" y="3328174"/>
                  <a:pt x="71993" y="3320322"/>
                  <a:pt x="68752" y="3313840"/>
                </a:cubicBezTo>
                <a:cubicBezTo>
                  <a:pt x="65057" y="3306449"/>
                  <a:pt x="59585" y="3300090"/>
                  <a:pt x="55001" y="3293215"/>
                </a:cubicBezTo>
                <a:cubicBezTo>
                  <a:pt x="22374" y="3195329"/>
                  <a:pt x="63477" y="3316947"/>
                  <a:pt x="20625" y="3196962"/>
                </a:cubicBezTo>
                <a:cubicBezTo>
                  <a:pt x="15750" y="3183312"/>
                  <a:pt x="11458" y="3169461"/>
                  <a:pt x="6875" y="3155711"/>
                </a:cubicBezTo>
                <a:lnTo>
                  <a:pt x="0" y="3135085"/>
                </a:lnTo>
                <a:cubicBezTo>
                  <a:pt x="3026" y="3074565"/>
                  <a:pt x="6207" y="2980448"/>
                  <a:pt x="13750" y="2915079"/>
                </a:cubicBezTo>
                <a:cubicBezTo>
                  <a:pt x="19643" y="2864006"/>
                  <a:pt x="26401" y="2825427"/>
                  <a:pt x="34376" y="2777575"/>
                </a:cubicBezTo>
                <a:cubicBezTo>
                  <a:pt x="28397" y="2705827"/>
                  <a:pt x="21927" y="2709844"/>
                  <a:pt x="34376" y="2653822"/>
                </a:cubicBezTo>
                <a:cubicBezTo>
                  <a:pt x="35948" y="2646748"/>
                  <a:pt x="37523" y="2639411"/>
                  <a:pt x="41251" y="2633197"/>
                </a:cubicBezTo>
                <a:cubicBezTo>
                  <a:pt x="44586" y="2627639"/>
                  <a:pt x="50952" y="2624508"/>
                  <a:pt x="55001" y="2619446"/>
                </a:cubicBezTo>
                <a:cubicBezTo>
                  <a:pt x="60163" y="2612994"/>
                  <a:pt x="64168" y="2605696"/>
                  <a:pt x="68752" y="2598821"/>
                </a:cubicBezTo>
                <a:cubicBezTo>
                  <a:pt x="98544" y="2601113"/>
                  <a:pt x="128614" y="2601036"/>
                  <a:pt x="158129" y="2605696"/>
                </a:cubicBezTo>
                <a:cubicBezTo>
                  <a:pt x="172446" y="2607956"/>
                  <a:pt x="185630" y="2614863"/>
                  <a:pt x="199380" y="2619446"/>
                </a:cubicBezTo>
                <a:lnTo>
                  <a:pt x="220006" y="2626321"/>
                </a:lnTo>
                <a:cubicBezTo>
                  <a:pt x="304431" y="2614261"/>
                  <a:pt x="251927" y="2619446"/>
                  <a:pt x="378135" y="2619446"/>
                </a:cubicBezTo>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61">
            <a:extLst>
              <a:ext uri="{FF2B5EF4-FFF2-40B4-BE49-F238E27FC236}">
                <a16:creationId xmlns:a16="http://schemas.microsoft.com/office/drawing/2014/main" id="{27B31E61-1BCF-8845-A942-6688B04578C2}"/>
              </a:ext>
            </a:extLst>
          </p:cNvPr>
          <p:cNvSpPr/>
          <p:nvPr/>
        </p:nvSpPr>
        <p:spPr>
          <a:xfrm>
            <a:off x="438592" y="1285660"/>
            <a:ext cx="8691811" cy="3726352"/>
          </a:xfrm>
          <a:custGeom>
            <a:avLst/>
            <a:gdLst>
              <a:gd name="connsiteX0" fmla="*/ 1420 w 8691811"/>
              <a:gd name="connsiteY0" fmla="*/ 3086960 h 3726352"/>
              <a:gd name="connsiteX1" fmla="*/ 15170 w 8691811"/>
              <a:gd name="connsiteY1" fmla="*/ 2970081 h 3726352"/>
              <a:gd name="connsiteX2" fmla="*/ 49546 w 8691811"/>
              <a:gd name="connsiteY2" fmla="*/ 2908205 h 3726352"/>
              <a:gd name="connsiteX3" fmla="*/ 77047 w 8691811"/>
              <a:gd name="connsiteY3" fmla="*/ 2873829 h 3726352"/>
              <a:gd name="connsiteX4" fmla="*/ 90797 w 8691811"/>
              <a:gd name="connsiteY4" fmla="*/ 2846328 h 3726352"/>
              <a:gd name="connsiteX5" fmla="*/ 132049 w 8691811"/>
              <a:gd name="connsiteY5" fmla="*/ 2805077 h 3726352"/>
              <a:gd name="connsiteX6" fmla="*/ 193925 w 8691811"/>
              <a:gd name="connsiteY6" fmla="*/ 2736325 h 3726352"/>
              <a:gd name="connsiteX7" fmla="*/ 242052 w 8691811"/>
              <a:gd name="connsiteY7" fmla="*/ 2701949 h 3726352"/>
              <a:gd name="connsiteX8" fmla="*/ 262677 w 8691811"/>
              <a:gd name="connsiteY8" fmla="*/ 2681323 h 3726352"/>
              <a:gd name="connsiteX9" fmla="*/ 303928 w 8691811"/>
              <a:gd name="connsiteY9" fmla="*/ 2653823 h 3726352"/>
              <a:gd name="connsiteX10" fmla="*/ 345179 w 8691811"/>
              <a:gd name="connsiteY10" fmla="*/ 2619447 h 3726352"/>
              <a:gd name="connsiteX11" fmla="*/ 393306 w 8691811"/>
              <a:gd name="connsiteY11" fmla="*/ 2585071 h 3726352"/>
              <a:gd name="connsiteX12" fmla="*/ 496434 w 8691811"/>
              <a:gd name="connsiteY12" fmla="*/ 2516319 h 3726352"/>
              <a:gd name="connsiteX13" fmla="*/ 578936 w 8691811"/>
              <a:gd name="connsiteY13" fmla="*/ 2468193 h 3726352"/>
              <a:gd name="connsiteX14" fmla="*/ 613312 w 8691811"/>
              <a:gd name="connsiteY14" fmla="*/ 2447567 h 3726352"/>
              <a:gd name="connsiteX15" fmla="*/ 661438 w 8691811"/>
              <a:gd name="connsiteY15" fmla="*/ 2433817 h 3726352"/>
              <a:gd name="connsiteX16" fmla="*/ 730190 w 8691811"/>
              <a:gd name="connsiteY16" fmla="*/ 2406316 h 3726352"/>
              <a:gd name="connsiteX17" fmla="*/ 771441 w 8691811"/>
              <a:gd name="connsiteY17" fmla="*/ 2399441 h 3726352"/>
              <a:gd name="connsiteX18" fmla="*/ 853943 w 8691811"/>
              <a:gd name="connsiteY18" fmla="*/ 2378815 h 3726352"/>
              <a:gd name="connsiteX19" fmla="*/ 888319 w 8691811"/>
              <a:gd name="connsiteY19" fmla="*/ 2371940 h 3726352"/>
              <a:gd name="connsiteX20" fmla="*/ 1046449 w 8691811"/>
              <a:gd name="connsiteY20" fmla="*/ 2365065 h 3726352"/>
              <a:gd name="connsiteX21" fmla="*/ 1335206 w 8691811"/>
              <a:gd name="connsiteY21" fmla="*/ 2358190 h 3726352"/>
              <a:gd name="connsiteX22" fmla="*/ 1520837 w 8691811"/>
              <a:gd name="connsiteY22" fmla="*/ 2330689 h 3726352"/>
              <a:gd name="connsiteX23" fmla="*/ 1582713 w 8691811"/>
              <a:gd name="connsiteY23" fmla="*/ 2316938 h 3726352"/>
              <a:gd name="connsiteX24" fmla="*/ 1637715 w 8691811"/>
              <a:gd name="connsiteY24" fmla="*/ 2310063 h 3726352"/>
              <a:gd name="connsiteX25" fmla="*/ 1699591 w 8691811"/>
              <a:gd name="connsiteY25" fmla="*/ 2296313 h 3726352"/>
              <a:gd name="connsiteX26" fmla="*/ 1720217 w 8691811"/>
              <a:gd name="connsiteY26" fmla="*/ 2289438 h 3726352"/>
              <a:gd name="connsiteX27" fmla="*/ 1926473 w 8691811"/>
              <a:gd name="connsiteY27" fmla="*/ 2261937 h 3726352"/>
              <a:gd name="connsiteX28" fmla="*/ 2167104 w 8691811"/>
              <a:gd name="connsiteY28" fmla="*/ 2220686 h 3726352"/>
              <a:gd name="connsiteX29" fmla="*/ 2235856 w 8691811"/>
              <a:gd name="connsiteY29" fmla="*/ 2206935 h 3726352"/>
              <a:gd name="connsiteX30" fmla="*/ 2283982 w 8691811"/>
              <a:gd name="connsiteY30" fmla="*/ 2200060 h 3726352"/>
              <a:gd name="connsiteX31" fmla="*/ 2318358 w 8691811"/>
              <a:gd name="connsiteY31" fmla="*/ 2193185 h 3726352"/>
              <a:gd name="connsiteX32" fmla="*/ 2387110 w 8691811"/>
              <a:gd name="connsiteY32" fmla="*/ 2186310 h 3726352"/>
              <a:gd name="connsiteX33" fmla="*/ 2442112 w 8691811"/>
              <a:gd name="connsiteY33" fmla="*/ 2172560 h 3726352"/>
              <a:gd name="connsiteX34" fmla="*/ 2469613 w 8691811"/>
              <a:gd name="connsiteY34" fmla="*/ 2165684 h 3726352"/>
              <a:gd name="connsiteX35" fmla="*/ 2510864 w 8691811"/>
              <a:gd name="connsiteY35" fmla="*/ 2158809 h 3726352"/>
              <a:gd name="connsiteX36" fmla="*/ 2531489 w 8691811"/>
              <a:gd name="connsiteY36" fmla="*/ 2151934 h 3726352"/>
              <a:gd name="connsiteX37" fmla="*/ 2634617 w 8691811"/>
              <a:gd name="connsiteY37" fmla="*/ 2131308 h 3726352"/>
              <a:gd name="connsiteX38" fmla="*/ 2662118 w 8691811"/>
              <a:gd name="connsiteY38" fmla="*/ 2117558 h 3726352"/>
              <a:gd name="connsiteX39" fmla="*/ 2689619 w 8691811"/>
              <a:gd name="connsiteY39" fmla="*/ 2110683 h 3726352"/>
              <a:gd name="connsiteX40" fmla="*/ 2799622 w 8691811"/>
              <a:gd name="connsiteY40" fmla="*/ 2048806 h 3726352"/>
              <a:gd name="connsiteX41" fmla="*/ 2854623 w 8691811"/>
              <a:gd name="connsiteY41" fmla="*/ 2021305 h 3726352"/>
              <a:gd name="connsiteX42" fmla="*/ 2882124 w 8691811"/>
              <a:gd name="connsiteY42" fmla="*/ 2000680 h 3726352"/>
              <a:gd name="connsiteX43" fmla="*/ 2944000 w 8691811"/>
              <a:gd name="connsiteY43" fmla="*/ 1973179 h 3726352"/>
              <a:gd name="connsiteX44" fmla="*/ 2971501 w 8691811"/>
              <a:gd name="connsiteY44" fmla="*/ 1952554 h 3726352"/>
              <a:gd name="connsiteX45" fmla="*/ 2999002 w 8691811"/>
              <a:gd name="connsiteY45" fmla="*/ 1938803 h 3726352"/>
              <a:gd name="connsiteX46" fmla="*/ 3019628 w 8691811"/>
              <a:gd name="connsiteY46" fmla="*/ 1918178 h 3726352"/>
              <a:gd name="connsiteX47" fmla="*/ 3074629 w 8691811"/>
              <a:gd name="connsiteY47" fmla="*/ 1870051 h 3726352"/>
              <a:gd name="connsiteX48" fmla="*/ 3115880 w 8691811"/>
              <a:gd name="connsiteY48" fmla="*/ 1842551 h 3726352"/>
              <a:gd name="connsiteX49" fmla="*/ 3177757 w 8691811"/>
              <a:gd name="connsiteY49" fmla="*/ 1794424 h 3726352"/>
              <a:gd name="connsiteX50" fmla="*/ 3219008 w 8691811"/>
              <a:gd name="connsiteY50" fmla="*/ 1773799 h 3726352"/>
              <a:gd name="connsiteX51" fmla="*/ 3267134 w 8691811"/>
              <a:gd name="connsiteY51" fmla="*/ 1753173 h 3726352"/>
              <a:gd name="connsiteX52" fmla="*/ 3308385 w 8691811"/>
              <a:gd name="connsiteY52" fmla="*/ 1732548 h 3726352"/>
              <a:gd name="connsiteX53" fmla="*/ 3425264 w 8691811"/>
              <a:gd name="connsiteY53" fmla="*/ 1691296 h 3726352"/>
              <a:gd name="connsiteX54" fmla="*/ 3459640 w 8691811"/>
              <a:gd name="connsiteY54" fmla="*/ 1677546 h 3726352"/>
              <a:gd name="connsiteX55" fmla="*/ 3521516 w 8691811"/>
              <a:gd name="connsiteY55" fmla="*/ 1663796 h 3726352"/>
              <a:gd name="connsiteX56" fmla="*/ 3542142 w 8691811"/>
              <a:gd name="connsiteY56" fmla="*/ 1656920 h 3726352"/>
              <a:gd name="connsiteX57" fmla="*/ 3610894 w 8691811"/>
              <a:gd name="connsiteY57" fmla="*/ 1643170 h 3726352"/>
              <a:gd name="connsiteX58" fmla="*/ 3727772 w 8691811"/>
              <a:gd name="connsiteY58" fmla="*/ 1615669 h 3726352"/>
              <a:gd name="connsiteX59" fmla="*/ 3748397 w 8691811"/>
              <a:gd name="connsiteY59" fmla="*/ 1608794 h 3726352"/>
              <a:gd name="connsiteX60" fmla="*/ 3782773 w 8691811"/>
              <a:gd name="connsiteY60" fmla="*/ 1601919 h 3726352"/>
              <a:gd name="connsiteX61" fmla="*/ 3803399 w 8691811"/>
              <a:gd name="connsiteY61" fmla="*/ 1595044 h 3726352"/>
              <a:gd name="connsiteX62" fmla="*/ 3858400 w 8691811"/>
              <a:gd name="connsiteY62" fmla="*/ 1588169 h 3726352"/>
              <a:gd name="connsiteX63" fmla="*/ 4119658 w 8691811"/>
              <a:gd name="connsiteY63" fmla="*/ 1546917 h 3726352"/>
              <a:gd name="connsiteX64" fmla="*/ 4188410 w 8691811"/>
              <a:gd name="connsiteY64" fmla="*/ 1526292 h 3726352"/>
              <a:gd name="connsiteX65" fmla="*/ 4229661 w 8691811"/>
              <a:gd name="connsiteY65" fmla="*/ 1519417 h 3726352"/>
              <a:gd name="connsiteX66" fmla="*/ 4264037 w 8691811"/>
              <a:gd name="connsiteY66" fmla="*/ 1512542 h 3726352"/>
              <a:gd name="connsiteX67" fmla="*/ 4319038 w 8691811"/>
              <a:gd name="connsiteY67" fmla="*/ 1505666 h 3726352"/>
              <a:gd name="connsiteX68" fmla="*/ 4346539 w 8691811"/>
              <a:gd name="connsiteY68" fmla="*/ 1498791 h 3726352"/>
              <a:gd name="connsiteX69" fmla="*/ 4380915 w 8691811"/>
              <a:gd name="connsiteY69" fmla="*/ 1491916 h 3726352"/>
              <a:gd name="connsiteX70" fmla="*/ 4442791 w 8691811"/>
              <a:gd name="connsiteY70" fmla="*/ 1471290 h 3726352"/>
              <a:gd name="connsiteX71" fmla="*/ 4470292 w 8691811"/>
              <a:gd name="connsiteY71" fmla="*/ 1457540 h 3726352"/>
              <a:gd name="connsiteX72" fmla="*/ 4497793 w 8691811"/>
              <a:gd name="connsiteY72" fmla="*/ 1450665 h 3726352"/>
              <a:gd name="connsiteX73" fmla="*/ 4587170 w 8691811"/>
              <a:gd name="connsiteY73" fmla="*/ 1416289 h 3726352"/>
              <a:gd name="connsiteX74" fmla="*/ 4614671 w 8691811"/>
              <a:gd name="connsiteY74" fmla="*/ 1409414 h 3726352"/>
              <a:gd name="connsiteX75" fmla="*/ 4635297 w 8691811"/>
              <a:gd name="connsiteY75" fmla="*/ 1402538 h 3726352"/>
              <a:gd name="connsiteX76" fmla="*/ 4704049 w 8691811"/>
              <a:gd name="connsiteY76" fmla="*/ 1388788 h 3726352"/>
              <a:gd name="connsiteX77" fmla="*/ 4759050 w 8691811"/>
              <a:gd name="connsiteY77" fmla="*/ 1375038 h 3726352"/>
              <a:gd name="connsiteX78" fmla="*/ 4786551 w 8691811"/>
              <a:gd name="connsiteY78" fmla="*/ 1368163 h 3726352"/>
              <a:gd name="connsiteX79" fmla="*/ 4827802 w 8691811"/>
              <a:gd name="connsiteY79" fmla="*/ 1361287 h 3726352"/>
              <a:gd name="connsiteX80" fmla="*/ 4896554 w 8691811"/>
              <a:gd name="connsiteY80" fmla="*/ 1347537 h 3726352"/>
              <a:gd name="connsiteX81" fmla="*/ 4951555 w 8691811"/>
              <a:gd name="connsiteY81" fmla="*/ 1333787 h 3726352"/>
              <a:gd name="connsiteX82" fmla="*/ 5137185 w 8691811"/>
              <a:gd name="connsiteY82" fmla="*/ 1320036 h 3726352"/>
              <a:gd name="connsiteX83" fmla="*/ 5336566 w 8691811"/>
              <a:gd name="connsiteY83" fmla="*/ 1299411 h 3726352"/>
              <a:gd name="connsiteX84" fmla="*/ 5618449 w 8691811"/>
              <a:gd name="connsiteY84" fmla="*/ 1299411 h 3726352"/>
              <a:gd name="connsiteX85" fmla="*/ 5742202 w 8691811"/>
              <a:gd name="connsiteY85" fmla="*/ 1313161 h 3726352"/>
              <a:gd name="connsiteX86" fmla="*/ 5797203 w 8691811"/>
              <a:gd name="connsiteY86" fmla="*/ 1320036 h 3726352"/>
              <a:gd name="connsiteX87" fmla="*/ 5824704 w 8691811"/>
              <a:gd name="connsiteY87" fmla="*/ 1326911 h 3726352"/>
              <a:gd name="connsiteX88" fmla="*/ 5879706 w 8691811"/>
              <a:gd name="connsiteY88" fmla="*/ 1340662 h 3726352"/>
              <a:gd name="connsiteX89" fmla="*/ 5893456 w 8691811"/>
              <a:gd name="connsiteY89" fmla="*/ 1320036 h 3726352"/>
              <a:gd name="connsiteX90" fmla="*/ 5927832 w 8691811"/>
              <a:gd name="connsiteY90" fmla="*/ 1278785 h 3726352"/>
              <a:gd name="connsiteX91" fmla="*/ 5934707 w 8691811"/>
              <a:gd name="connsiteY91" fmla="*/ 1258160 h 3726352"/>
              <a:gd name="connsiteX92" fmla="*/ 5948458 w 8691811"/>
              <a:gd name="connsiteY92" fmla="*/ 1244409 h 3726352"/>
              <a:gd name="connsiteX93" fmla="*/ 5962208 w 8691811"/>
              <a:gd name="connsiteY93" fmla="*/ 1223784 h 3726352"/>
              <a:gd name="connsiteX94" fmla="*/ 5982834 w 8691811"/>
              <a:gd name="connsiteY94" fmla="*/ 1155032 h 3726352"/>
              <a:gd name="connsiteX95" fmla="*/ 5989709 w 8691811"/>
              <a:gd name="connsiteY95" fmla="*/ 1093155 h 3726352"/>
              <a:gd name="connsiteX96" fmla="*/ 5989709 w 8691811"/>
              <a:gd name="connsiteY96" fmla="*/ 935026 h 3726352"/>
              <a:gd name="connsiteX97" fmla="*/ 6010334 w 8691811"/>
              <a:gd name="connsiteY97" fmla="*/ 893775 h 3726352"/>
              <a:gd name="connsiteX98" fmla="*/ 6030960 w 8691811"/>
              <a:gd name="connsiteY98" fmla="*/ 859399 h 3726352"/>
              <a:gd name="connsiteX99" fmla="*/ 6037835 w 8691811"/>
              <a:gd name="connsiteY99" fmla="*/ 838773 h 3726352"/>
              <a:gd name="connsiteX100" fmla="*/ 6085961 w 8691811"/>
              <a:gd name="connsiteY100" fmla="*/ 756271 h 3726352"/>
              <a:gd name="connsiteX101" fmla="*/ 6099712 w 8691811"/>
              <a:gd name="connsiteY101" fmla="*/ 742520 h 3726352"/>
              <a:gd name="connsiteX102" fmla="*/ 6113462 w 8691811"/>
              <a:gd name="connsiteY102" fmla="*/ 721895 h 3726352"/>
              <a:gd name="connsiteX103" fmla="*/ 6140963 w 8691811"/>
              <a:gd name="connsiteY103" fmla="*/ 694394 h 3726352"/>
              <a:gd name="connsiteX104" fmla="*/ 6161588 w 8691811"/>
              <a:gd name="connsiteY104" fmla="*/ 673769 h 3726352"/>
              <a:gd name="connsiteX105" fmla="*/ 6175339 w 8691811"/>
              <a:gd name="connsiteY105" fmla="*/ 660018 h 3726352"/>
              <a:gd name="connsiteX106" fmla="*/ 6202840 w 8691811"/>
              <a:gd name="connsiteY106" fmla="*/ 639393 h 3726352"/>
              <a:gd name="connsiteX107" fmla="*/ 6223465 w 8691811"/>
              <a:gd name="connsiteY107" fmla="*/ 618767 h 3726352"/>
              <a:gd name="connsiteX108" fmla="*/ 6244091 w 8691811"/>
              <a:gd name="connsiteY108" fmla="*/ 605017 h 3726352"/>
              <a:gd name="connsiteX109" fmla="*/ 6257841 w 8691811"/>
              <a:gd name="connsiteY109" fmla="*/ 591266 h 3726352"/>
              <a:gd name="connsiteX110" fmla="*/ 6333468 w 8691811"/>
              <a:gd name="connsiteY110" fmla="*/ 536265 h 3726352"/>
              <a:gd name="connsiteX111" fmla="*/ 6347219 w 8691811"/>
              <a:gd name="connsiteY111" fmla="*/ 522514 h 3726352"/>
              <a:gd name="connsiteX112" fmla="*/ 6388470 w 8691811"/>
              <a:gd name="connsiteY112" fmla="*/ 501889 h 3726352"/>
              <a:gd name="connsiteX113" fmla="*/ 6415970 w 8691811"/>
              <a:gd name="connsiteY113" fmla="*/ 481263 h 3726352"/>
              <a:gd name="connsiteX114" fmla="*/ 6443471 w 8691811"/>
              <a:gd name="connsiteY114" fmla="*/ 474388 h 3726352"/>
              <a:gd name="connsiteX115" fmla="*/ 6477847 w 8691811"/>
              <a:gd name="connsiteY115" fmla="*/ 460638 h 3726352"/>
              <a:gd name="connsiteX116" fmla="*/ 6519098 w 8691811"/>
              <a:gd name="connsiteY116" fmla="*/ 446887 h 3726352"/>
              <a:gd name="connsiteX117" fmla="*/ 6574100 w 8691811"/>
              <a:gd name="connsiteY117" fmla="*/ 426262 h 3726352"/>
              <a:gd name="connsiteX118" fmla="*/ 6773480 w 8691811"/>
              <a:gd name="connsiteY118" fmla="*/ 378135 h 3726352"/>
              <a:gd name="connsiteX119" fmla="*/ 6821606 w 8691811"/>
              <a:gd name="connsiteY119" fmla="*/ 357510 h 3726352"/>
              <a:gd name="connsiteX120" fmla="*/ 6849107 w 8691811"/>
              <a:gd name="connsiteY120" fmla="*/ 343760 h 3726352"/>
              <a:gd name="connsiteX121" fmla="*/ 6869733 w 8691811"/>
              <a:gd name="connsiteY121" fmla="*/ 336884 h 3726352"/>
              <a:gd name="connsiteX122" fmla="*/ 6897234 w 8691811"/>
              <a:gd name="connsiteY122" fmla="*/ 323134 h 3726352"/>
              <a:gd name="connsiteX123" fmla="*/ 6938485 w 8691811"/>
              <a:gd name="connsiteY123" fmla="*/ 309384 h 3726352"/>
              <a:gd name="connsiteX124" fmla="*/ 6965985 w 8691811"/>
              <a:gd name="connsiteY124" fmla="*/ 295633 h 3726352"/>
              <a:gd name="connsiteX125" fmla="*/ 7014112 w 8691811"/>
              <a:gd name="connsiteY125" fmla="*/ 275008 h 3726352"/>
              <a:gd name="connsiteX126" fmla="*/ 7082864 w 8691811"/>
              <a:gd name="connsiteY126" fmla="*/ 254382 h 3726352"/>
              <a:gd name="connsiteX127" fmla="*/ 7185991 w 8691811"/>
              <a:gd name="connsiteY127" fmla="*/ 213131 h 3726352"/>
              <a:gd name="connsiteX128" fmla="*/ 7247868 w 8691811"/>
              <a:gd name="connsiteY128" fmla="*/ 199381 h 3726352"/>
              <a:gd name="connsiteX129" fmla="*/ 7275369 w 8691811"/>
              <a:gd name="connsiteY129" fmla="*/ 192505 h 3726352"/>
              <a:gd name="connsiteX130" fmla="*/ 7295994 w 8691811"/>
              <a:gd name="connsiteY130" fmla="*/ 185630 h 3726352"/>
              <a:gd name="connsiteX131" fmla="*/ 7378497 w 8691811"/>
              <a:gd name="connsiteY131" fmla="*/ 171880 h 3726352"/>
              <a:gd name="connsiteX132" fmla="*/ 7467874 w 8691811"/>
              <a:gd name="connsiteY132" fmla="*/ 144379 h 3726352"/>
              <a:gd name="connsiteX133" fmla="*/ 7557252 w 8691811"/>
              <a:gd name="connsiteY133" fmla="*/ 130629 h 3726352"/>
              <a:gd name="connsiteX134" fmla="*/ 7626003 w 8691811"/>
              <a:gd name="connsiteY134" fmla="*/ 110003 h 3726352"/>
              <a:gd name="connsiteX135" fmla="*/ 7660379 w 8691811"/>
              <a:gd name="connsiteY135" fmla="*/ 96253 h 3726352"/>
              <a:gd name="connsiteX136" fmla="*/ 7694755 w 8691811"/>
              <a:gd name="connsiteY136" fmla="*/ 89378 h 3726352"/>
              <a:gd name="connsiteX137" fmla="*/ 7715381 w 8691811"/>
              <a:gd name="connsiteY137" fmla="*/ 82502 h 3726352"/>
              <a:gd name="connsiteX138" fmla="*/ 7749757 w 8691811"/>
              <a:gd name="connsiteY138" fmla="*/ 75627 h 3726352"/>
              <a:gd name="connsiteX139" fmla="*/ 7777258 w 8691811"/>
              <a:gd name="connsiteY139" fmla="*/ 68752 h 3726352"/>
              <a:gd name="connsiteX140" fmla="*/ 7907886 w 8691811"/>
              <a:gd name="connsiteY140" fmla="*/ 20626 h 3726352"/>
              <a:gd name="connsiteX141" fmla="*/ 7990388 w 8691811"/>
              <a:gd name="connsiteY141" fmla="*/ 6875 h 3726352"/>
              <a:gd name="connsiteX142" fmla="*/ 8017889 w 8691811"/>
              <a:gd name="connsiteY142" fmla="*/ 0 h 3726352"/>
              <a:gd name="connsiteX143" fmla="*/ 8203519 w 8691811"/>
              <a:gd name="connsiteY143" fmla="*/ 6875 h 3726352"/>
              <a:gd name="connsiteX144" fmla="*/ 8292897 w 8691811"/>
              <a:gd name="connsiteY144" fmla="*/ 34376 h 3726352"/>
              <a:gd name="connsiteX145" fmla="*/ 8361649 w 8691811"/>
              <a:gd name="connsiteY145" fmla="*/ 61877 h 3726352"/>
              <a:gd name="connsiteX146" fmla="*/ 8382274 w 8691811"/>
              <a:gd name="connsiteY146" fmla="*/ 68752 h 3726352"/>
              <a:gd name="connsiteX147" fmla="*/ 8437276 w 8691811"/>
              <a:gd name="connsiteY147" fmla="*/ 103128 h 3726352"/>
              <a:gd name="connsiteX148" fmla="*/ 8457901 w 8691811"/>
              <a:gd name="connsiteY148" fmla="*/ 123754 h 3726352"/>
              <a:gd name="connsiteX149" fmla="*/ 8478527 w 8691811"/>
              <a:gd name="connsiteY149" fmla="*/ 137504 h 3726352"/>
              <a:gd name="connsiteX150" fmla="*/ 8519778 w 8691811"/>
              <a:gd name="connsiteY150" fmla="*/ 171880 h 3726352"/>
              <a:gd name="connsiteX151" fmla="*/ 8554154 w 8691811"/>
              <a:gd name="connsiteY151" fmla="*/ 199381 h 3726352"/>
              <a:gd name="connsiteX152" fmla="*/ 8561029 w 8691811"/>
              <a:gd name="connsiteY152" fmla="*/ 220006 h 3726352"/>
              <a:gd name="connsiteX153" fmla="*/ 8588530 w 8691811"/>
              <a:gd name="connsiteY153" fmla="*/ 254382 h 3726352"/>
              <a:gd name="connsiteX154" fmla="*/ 8622906 w 8691811"/>
              <a:gd name="connsiteY154" fmla="*/ 364385 h 3726352"/>
              <a:gd name="connsiteX155" fmla="*/ 8636656 w 8691811"/>
              <a:gd name="connsiteY155" fmla="*/ 453763 h 3726352"/>
              <a:gd name="connsiteX156" fmla="*/ 8643531 w 8691811"/>
              <a:gd name="connsiteY156" fmla="*/ 563766 h 3726352"/>
              <a:gd name="connsiteX157" fmla="*/ 8650406 w 8691811"/>
              <a:gd name="connsiteY157" fmla="*/ 639393 h 3726352"/>
              <a:gd name="connsiteX158" fmla="*/ 8643531 w 8691811"/>
              <a:gd name="connsiteY158" fmla="*/ 996902 h 3726352"/>
              <a:gd name="connsiteX159" fmla="*/ 8650406 w 8691811"/>
              <a:gd name="connsiteY159" fmla="*/ 1065654 h 3726352"/>
              <a:gd name="connsiteX160" fmla="*/ 8657282 w 8691811"/>
              <a:gd name="connsiteY160" fmla="*/ 1086280 h 3726352"/>
              <a:gd name="connsiteX161" fmla="*/ 8664157 w 8691811"/>
              <a:gd name="connsiteY161" fmla="*/ 1127531 h 3726352"/>
              <a:gd name="connsiteX162" fmla="*/ 8671032 w 8691811"/>
              <a:gd name="connsiteY162" fmla="*/ 1155032 h 3726352"/>
              <a:gd name="connsiteX163" fmla="*/ 8684782 w 8691811"/>
              <a:gd name="connsiteY163" fmla="*/ 1237534 h 3726352"/>
              <a:gd name="connsiteX164" fmla="*/ 8691658 w 8691811"/>
              <a:gd name="connsiteY164" fmla="*/ 1299411 h 3726352"/>
              <a:gd name="connsiteX165" fmla="*/ 8677907 w 8691811"/>
              <a:gd name="connsiteY165" fmla="*/ 1581293 h 3726352"/>
              <a:gd name="connsiteX166" fmla="*/ 8671032 w 8691811"/>
              <a:gd name="connsiteY166" fmla="*/ 1828800 h 3726352"/>
              <a:gd name="connsiteX167" fmla="*/ 8657282 w 8691811"/>
              <a:gd name="connsiteY167" fmla="*/ 1897552 h 3726352"/>
              <a:gd name="connsiteX168" fmla="*/ 8643531 w 8691811"/>
              <a:gd name="connsiteY168" fmla="*/ 1931928 h 3726352"/>
              <a:gd name="connsiteX169" fmla="*/ 8629781 w 8691811"/>
              <a:gd name="connsiteY169" fmla="*/ 1980054 h 3726352"/>
              <a:gd name="connsiteX170" fmla="*/ 8609155 w 8691811"/>
              <a:gd name="connsiteY170" fmla="*/ 2048806 h 3726352"/>
              <a:gd name="connsiteX171" fmla="*/ 8581655 w 8691811"/>
              <a:gd name="connsiteY171" fmla="*/ 2234436 h 3726352"/>
              <a:gd name="connsiteX172" fmla="*/ 8588530 w 8691811"/>
              <a:gd name="connsiteY172" fmla="*/ 2413191 h 3726352"/>
              <a:gd name="connsiteX173" fmla="*/ 8547279 w 8691811"/>
              <a:gd name="connsiteY173" fmla="*/ 2818827 h 3726352"/>
              <a:gd name="connsiteX174" fmla="*/ 8506028 w 8691811"/>
              <a:gd name="connsiteY174" fmla="*/ 2942581 h 3726352"/>
              <a:gd name="connsiteX175" fmla="*/ 8492277 w 8691811"/>
              <a:gd name="connsiteY175" fmla="*/ 2976957 h 3726352"/>
              <a:gd name="connsiteX176" fmla="*/ 8478527 w 8691811"/>
              <a:gd name="connsiteY176" fmla="*/ 2997582 h 3726352"/>
              <a:gd name="connsiteX177" fmla="*/ 8444151 w 8691811"/>
              <a:gd name="connsiteY177" fmla="*/ 3059459 h 3726352"/>
              <a:gd name="connsiteX178" fmla="*/ 8416650 w 8691811"/>
              <a:gd name="connsiteY178" fmla="*/ 3093835 h 3726352"/>
              <a:gd name="connsiteX179" fmla="*/ 8341023 w 8691811"/>
              <a:gd name="connsiteY179" fmla="*/ 3190087 h 3726352"/>
              <a:gd name="connsiteX180" fmla="*/ 8313522 w 8691811"/>
              <a:gd name="connsiteY180" fmla="*/ 3217588 h 3726352"/>
              <a:gd name="connsiteX181" fmla="*/ 8258521 w 8691811"/>
              <a:gd name="connsiteY181" fmla="*/ 3279465 h 3726352"/>
              <a:gd name="connsiteX182" fmla="*/ 8079766 w 8691811"/>
              <a:gd name="connsiteY182" fmla="*/ 3430719 h 3726352"/>
              <a:gd name="connsiteX183" fmla="*/ 8059140 w 8691811"/>
              <a:gd name="connsiteY183" fmla="*/ 3444469 h 3726352"/>
              <a:gd name="connsiteX184" fmla="*/ 7983513 w 8691811"/>
              <a:gd name="connsiteY184" fmla="*/ 3471970 h 3726352"/>
              <a:gd name="connsiteX185" fmla="*/ 7949137 w 8691811"/>
              <a:gd name="connsiteY185" fmla="*/ 3485720 h 3726352"/>
              <a:gd name="connsiteX186" fmla="*/ 7846010 w 8691811"/>
              <a:gd name="connsiteY186" fmla="*/ 3520096 h 3726352"/>
              <a:gd name="connsiteX187" fmla="*/ 7825384 w 8691811"/>
              <a:gd name="connsiteY187" fmla="*/ 3526972 h 3726352"/>
              <a:gd name="connsiteX188" fmla="*/ 7708506 w 8691811"/>
              <a:gd name="connsiteY188" fmla="*/ 3547597 h 3726352"/>
              <a:gd name="connsiteX189" fmla="*/ 7674130 w 8691811"/>
              <a:gd name="connsiteY189" fmla="*/ 3554472 h 3726352"/>
              <a:gd name="connsiteX190" fmla="*/ 7522876 w 8691811"/>
              <a:gd name="connsiteY190" fmla="*/ 3575098 h 3726352"/>
              <a:gd name="connsiteX191" fmla="*/ 7179116 w 8691811"/>
              <a:gd name="connsiteY191" fmla="*/ 3636975 h 3726352"/>
              <a:gd name="connsiteX192" fmla="*/ 7110364 w 8691811"/>
              <a:gd name="connsiteY192" fmla="*/ 3643850 h 3726352"/>
              <a:gd name="connsiteX193" fmla="*/ 6821606 w 8691811"/>
              <a:gd name="connsiteY193" fmla="*/ 3657600 h 3726352"/>
              <a:gd name="connsiteX194" fmla="*/ 6684103 w 8691811"/>
              <a:gd name="connsiteY194" fmla="*/ 3671351 h 3726352"/>
              <a:gd name="connsiteX195" fmla="*/ 6525973 w 8691811"/>
              <a:gd name="connsiteY195" fmla="*/ 3685101 h 3726352"/>
              <a:gd name="connsiteX196" fmla="*/ 6161588 w 8691811"/>
              <a:gd name="connsiteY196" fmla="*/ 3705726 h 3726352"/>
              <a:gd name="connsiteX197" fmla="*/ 5749077 w 8691811"/>
              <a:gd name="connsiteY197" fmla="*/ 3719477 h 3726352"/>
              <a:gd name="connsiteX198" fmla="*/ 5549697 w 8691811"/>
              <a:gd name="connsiteY198" fmla="*/ 3726352 h 3726352"/>
              <a:gd name="connsiteX199" fmla="*/ 4875928 w 8691811"/>
              <a:gd name="connsiteY199" fmla="*/ 3712602 h 3726352"/>
              <a:gd name="connsiteX200" fmla="*/ 4710924 w 8691811"/>
              <a:gd name="connsiteY200" fmla="*/ 3698851 h 3726352"/>
              <a:gd name="connsiteX201" fmla="*/ 4559670 w 8691811"/>
              <a:gd name="connsiteY201" fmla="*/ 3691976 h 3726352"/>
              <a:gd name="connsiteX202" fmla="*/ 4140283 w 8691811"/>
              <a:gd name="connsiteY202" fmla="*/ 3698851 h 3726352"/>
              <a:gd name="connsiteX203" fmla="*/ 3851525 w 8691811"/>
              <a:gd name="connsiteY203" fmla="*/ 3691976 h 3726352"/>
              <a:gd name="connsiteX204" fmla="*/ 3576518 w 8691811"/>
              <a:gd name="connsiteY204" fmla="*/ 3678226 h 3726352"/>
              <a:gd name="connsiteX205" fmla="*/ 2277107 w 8691811"/>
              <a:gd name="connsiteY205" fmla="*/ 3664475 h 3726352"/>
              <a:gd name="connsiteX206" fmla="*/ 1981474 w 8691811"/>
              <a:gd name="connsiteY206" fmla="*/ 3657600 h 3726352"/>
              <a:gd name="connsiteX207" fmla="*/ 1142701 w 8691811"/>
              <a:gd name="connsiteY207" fmla="*/ 3671351 h 3726352"/>
              <a:gd name="connsiteX208" fmla="*/ 647688 w 8691811"/>
              <a:gd name="connsiteY208" fmla="*/ 3657600 h 3726352"/>
              <a:gd name="connsiteX209" fmla="*/ 627062 w 8691811"/>
              <a:gd name="connsiteY209" fmla="*/ 3650725 h 3726352"/>
              <a:gd name="connsiteX210" fmla="*/ 510184 w 8691811"/>
              <a:gd name="connsiteY210" fmla="*/ 3636975 h 3726352"/>
              <a:gd name="connsiteX211" fmla="*/ 434557 w 8691811"/>
              <a:gd name="connsiteY211" fmla="*/ 3623224 h 3726352"/>
              <a:gd name="connsiteX212" fmla="*/ 379555 w 8691811"/>
              <a:gd name="connsiteY212" fmla="*/ 3609474 h 3726352"/>
              <a:gd name="connsiteX213" fmla="*/ 345179 w 8691811"/>
              <a:gd name="connsiteY213" fmla="*/ 3602599 h 3726352"/>
              <a:gd name="connsiteX214" fmla="*/ 324554 w 8691811"/>
              <a:gd name="connsiteY214" fmla="*/ 3595723 h 3726352"/>
              <a:gd name="connsiteX215" fmla="*/ 283303 w 8691811"/>
              <a:gd name="connsiteY215" fmla="*/ 3568223 h 3726352"/>
              <a:gd name="connsiteX216" fmla="*/ 242052 w 8691811"/>
              <a:gd name="connsiteY216" fmla="*/ 3554472 h 3726352"/>
              <a:gd name="connsiteX217" fmla="*/ 228301 w 8691811"/>
              <a:gd name="connsiteY217" fmla="*/ 3540722 h 3726352"/>
              <a:gd name="connsiteX218" fmla="*/ 207676 w 8691811"/>
              <a:gd name="connsiteY218" fmla="*/ 3533847 h 3726352"/>
              <a:gd name="connsiteX219" fmla="*/ 180175 w 8691811"/>
              <a:gd name="connsiteY219" fmla="*/ 3520096 h 3726352"/>
              <a:gd name="connsiteX220" fmla="*/ 125173 w 8691811"/>
              <a:gd name="connsiteY220" fmla="*/ 3478845 h 3726352"/>
              <a:gd name="connsiteX221" fmla="*/ 104548 w 8691811"/>
              <a:gd name="connsiteY221" fmla="*/ 3465095 h 3726352"/>
              <a:gd name="connsiteX222" fmla="*/ 70172 w 8691811"/>
              <a:gd name="connsiteY222" fmla="*/ 3423844 h 3726352"/>
              <a:gd name="connsiteX223" fmla="*/ 42671 w 8691811"/>
              <a:gd name="connsiteY223" fmla="*/ 3389468 h 3726352"/>
              <a:gd name="connsiteX224" fmla="*/ 22046 w 8691811"/>
              <a:gd name="connsiteY224" fmla="*/ 3176337 h 3726352"/>
              <a:gd name="connsiteX225" fmla="*/ 1420 w 8691811"/>
              <a:gd name="connsiteY225" fmla="*/ 3121335 h 3726352"/>
              <a:gd name="connsiteX226" fmla="*/ 1420 w 8691811"/>
              <a:gd name="connsiteY226" fmla="*/ 3086960 h 372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8691811" h="3726352">
                <a:moveTo>
                  <a:pt x="1420" y="3086960"/>
                </a:moveTo>
                <a:cubicBezTo>
                  <a:pt x="3712" y="3061751"/>
                  <a:pt x="-788" y="3005987"/>
                  <a:pt x="15170" y="2970081"/>
                </a:cubicBezTo>
                <a:cubicBezTo>
                  <a:pt x="25321" y="2947242"/>
                  <a:pt x="34885" y="2927753"/>
                  <a:pt x="49546" y="2908205"/>
                </a:cubicBezTo>
                <a:cubicBezTo>
                  <a:pt x="58351" y="2896466"/>
                  <a:pt x="68907" y="2886039"/>
                  <a:pt x="77047" y="2873829"/>
                </a:cubicBezTo>
                <a:cubicBezTo>
                  <a:pt x="82732" y="2865301"/>
                  <a:pt x="84395" y="2854331"/>
                  <a:pt x="90797" y="2846328"/>
                </a:cubicBezTo>
                <a:cubicBezTo>
                  <a:pt x="102945" y="2831143"/>
                  <a:pt x="119040" y="2819531"/>
                  <a:pt x="132049" y="2805077"/>
                </a:cubicBezTo>
                <a:cubicBezTo>
                  <a:pt x="184567" y="2746724"/>
                  <a:pt x="110248" y="2811634"/>
                  <a:pt x="193925" y="2736325"/>
                </a:cubicBezTo>
                <a:cubicBezTo>
                  <a:pt x="255875" y="2680569"/>
                  <a:pt x="191817" y="2743812"/>
                  <a:pt x="242052" y="2701949"/>
                </a:cubicBezTo>
                <a:cubicBezTo>
                  <a:pt x="249521" y="2695724"/>
                  <a:pt x="255002" y="2687292"/>
                  <a:pt x="262677" y="2681323"/>
                </a:cubicBezTo>
                <a:cubicBezTo>
                  <a:pt x="275722" y="2671177"/>
                  <a:pt x="290707" y="2663738"/>
                  <a:pt x="303928" y="2653823"/>
                </a:cubicBezTo>
                <a:cubicBezTo>
                  <a:pt x="318247" y="2643084"/>
                  <a:pt x="331050" y="2630436"/>
                  <a:pt x="345179" y="2619447"/>
                </a:cubicBezTo>
                <a:cubicBezTo>
                  <a:pt x="384342" y="2588987"/>
                  <a:pt x="346710" y="2625011"/>
                  <a:pt x="393306" y="2585071"/>
                </a:cubicBezTo>
                <a:cubicBezTo>
                  <a:pt x="458956" y="2528799"/>
                  <a:pt x="331813" y="2612347"/>
                  <a:pt x="496434" y="2516319"/>
                </a:cubicBezTo>
                <a:lnTo>
                  <a:pt x="578936" y="2468193"/>
                </a:lnTo>
                <a:cubicBezTo>
                  <a:pt x="590454" y="2461418"/>
                  <a:pt x="600635" y="2451793"/>
                  <a:pt x="613312" y="2447567"/>
                </a:cubicBezTo>
                <a:cubicBezTo>
                  <a:pt x="642901" y="2437704"/>
                  <a:pt x="626906" y="2442450"/>
                  <a:pt x="661438" y="2433817"/>
                </a:cubicBezTo>
                <a:cubicBezTo>
                  <a:pt x="683882" y="2422595"/>
                  <a:pt x="704701" y="2410564"/>
                  <a:pt x="730190" y="2406316"/>
                </a:cubicBezTo>
                <a:lnTo>
                  <a:pt x="771441" y="2399441"/>
                </a:lnTo>
                <a:cubicBezTo>
                  <a:pt x="831691" y="2379357"/>
                  <a:pt x="792841" y="2389924"/>
                  <a:pt x="853943" y="2378815"/>
                </a:cubicBezTo>
                <a:cubicBezTo>
                  <a:pt x="865440" y="2376725"/>
                  <a:pt x="876663" y="2372773"/>
                  <a:pt x="888319" y="2371940"/>
                </a:cubicBezTo>
                <a:cubicBezTo>
                  <a:pt x="940945" y="2368181"/>
                  <a:pt x="993714" y="2366688"/>
                  <a:pt x="1046449" y="2365065"/>
                </a:cubicBezTo>
                <a:lnTo>
                  <a:pt x="1335206" y="2358190"/>
                </a:lnTo>
                <a:cubicBezTo>
                  <a:pt x="1387962" y="2351595"/>
                  <a:pt x="1481676" y="2340479"/>
                  <a:pt x="1520837" y="2330689"/>
                </a:cubicBezTo>
                <a:cubicBezTo>
                  <a:pt x="1542728" y="2325216"/>
                  <a:pt x="1560029" y="2320428"/>
                  <a:pt x="1582713" y="2316938"/>
                </a:cubicBezTo>
                <a:cubicBezTo>
                  <a:pt x="1600975" y="2314128"/>
                  <a:pt x="1619381" y="2312355"/>
                  <a:pt x="1637715" y="2310063"/>
                </a:cubicBezTo>
                <a:cubicBezTo>
                  <a:pt x="1684144" y="2294587"/>
                  <a:pt x="1626995" y="2312445"/>
                  <a:pt x="1699591" y="2296313"/>
                </a:cubicBezTo>
                <a:cubicBezTo>
                  <a:pt x="1706666" y="2294741"/>
                  <a:pt x="1713043" y="2290463"/>
                  <a:pt x="1720217" y="2289438"/>
                </a:cubicBezTo>
                <a:cubicBezTo>
                  <a:pt x="1845552" y="2271534"/>
                  <a:pt x="1760728" y="2298769"/>
                  <a:pt x="1926473" y="2261937"/>
                </a:cubicBezTo>
                <a:cubicBezTo>
                  <a:pt x="2063350" y="2231520"/>
                  <a:pt x="1921383" y="2261640"/>
                  <a:pt x="2167104" y="2220686"/>
                </a:cubicBezTo>
                <a:cubicBezTo>
                  <a:pt x="2190157" y="2216844"/>
                  <a:pt x="2212720" y="2210240"/>
                  <a:pt x="2235856" y="2206935"/>
                </a:cubicBezTo>
                <a:cubicBezTo>
                  <a:pt x="2251898" y="2204643"/>
                  <a:pt x="2267998" y="2202724"/>
                  <a:pt x="2283982" y="2200060"/>
                </a:cubicBezTo>
                <a:cubicBezTo>
                  <a:pt x="2295509" y="2198139"/>
                  <a:pt x="2306775" y="2194729"/>
                  <a:pt x="2318358" y="2193185"/>
                </a:cubicBezTo>
                <a:cubicBezTo>
                  <a:pt x="2341188" y="2190141"/>
                  <a:pt x="2364193" y="2188602"/>
                  <a:pt x="2387110" y="2186310"/>
                </a:cubicBezTo>
                <a:lnTo>
                  <a:pt x="2442112" y="2172560"/>
                </a:lnTo>
                <a:cubicBezTo>
                  <a:pt x="2451279" y="2170268"/>
                  <a:pt x="2460292" y="2167237"/>
                  <a:pt x="2469613" y="2165684"/>
                </a:cubicBezTo>
                <a:lnTo>
                  <a:pt x="2510864" y="2158809"/>
                </a:lnTo>
                <a:cubicBezTo>
                  <a:pt x="2517739" y="2156517"/>
                  <a:pt x="2524415" y="2153506"/>
                  <a:pt x="2531489" y="2151934"/>
                </a:cubicBezTo>
                <a:cubicBezTo>
                  <a:pt x="2565711" y="2144329"/>
                  <a:pt x="2600714" y="2140230"/>
                  <a:pt x="2634617" y="2131308"/>
                </a:cubicBezTo>
                <a:cubicBezTo>
                  <a:pt x="2644528" y="2128700"/>
                  <a:pt x="2652522" y="2121157"/>
                  <a:pt x="2662118" y="2117558"/>
                </a:cubicBezTo>
                <a:cubicBezTo>
                  <a:pt x="2670966" y="2114240"/>
                  <a:pt x="2680452" y="2112975"/>
                  <a:pt x="2689619" y="2110683"/>
                </a:cubicBezTo>
                <a:cubicBezTo>
                  <a:pt x="2762005" y="2065441"/>
                  <a:pt x="2725280" y="2085977"/>
                  <a:pt x="2799622" y="2048806"/>
                </a:cubicBezTo>
                <a:cubicBezTo>
                  <a:pt x="2817956" y="2039639"/>
                  <a:pt x="2838225" y="2033603"/>
                  <a:pt x="2854623" y="2021305"/>
                </a:cubicBezTo>
                <a:cubicBezTo>
                  <a:pt x="2863790" y="2014430"/>
                  <a:pt x="2872035" y="2006113"/>
                  <a:pt x="2882124" y="2000680"/>
                </a:cubicBezTo>
                <a:cubicBezTo>
                  <a:pt x="2901997" y="1989979"/>
                  <a:pt x="2924127" y="1983880"/>
                  <a:pt x="2944000" y="1973179"/>
                </a:cubicBezTo>
                <a:cubicBezTo>
                  <a:pt x="2954089" y="1967746"/>
                  <a:pt x="2961784" y="1958627"/>
                  <a:pt x="2971501" y="1952554"/>
                </a:cubicBezTo>
                <a:cubicBezTo>
                  <a:pt x="2980192" y="1947122"/>
                  <a:pt x="2990662" y="1944760"/>
                  <a:pt x="2999002" y="1938803"/>
                </a:cubicBezTo>
                <a:cubicBezTo>
                  <a:pt x="3006914" y="1933152"/>
                  <a:pt x="3012434" y="1924718"/>
                  <a:pt x="3019628" y="1918178"/>
                </a:cubicBezTo>
                <a:cubicBezTo>
                  <a:pt x="3037654" y="1901791"/>
                  <a:pt x="3055473" y="1885102"/>
                  <a:pt x="3074629" y="1870051"/>
                </a:cubicBezTo>
                <a:cubicBezTo>
                  <a:pt x="3087623" y="1859841"/>
                  <a:pt x="3104195" y="1854236"/>
                  <a:pt x="3115880" y="1842551"/>
                </a:cubicBezTo>
                <a:cubicBezTo>
                  <a:pt x="3148191" y="1810240"/>
                  <a:pt x="3128416" y="1827318"/>
                  <a:pt x="3177757" y="1794424"/>
                </a:cubicBezTo>
                <a:cubicBezTo>
                  <a:pt x="3204412" y="1776654"/>
                  <a:pt x="3190544" y="1783287"/>
                  <a:pt x="3219008" y="1773799"/>
                </a:cubicBezTo>
                <a:cubicBezTo>
                  <a:pt x="3264965" y="1743160"/>
                  <a:pt x="3211642" y="1775369"/>
                  <a:pt x="3267134" y="1753173"/>
                </a:cubicBezTo>
                <a:cubicBezTo>
                  <a:pt x="3281408" y="1747464"/>
                  <a:pt x="3294069" y="1738150"/>
                  <a:pt x="3308385" y="1732548"/>
                </a:cubicBezTo>
                <a:cubicBezTo>
                  <a:pt x="3346859" y="1717493"/>
                  <a:pt x="3386436" y="1705415"/>
                  <a:pt x="3425264" y="1691296"/>
                </a:cubicBezTo>
                <a:cubicBezTo>
                  <a:pt x="3436862" y="1687078"/>
                  <a:pt x="3447932" y="1681449"/>
                  <a:pt x="3459640" y="1677546"/>
                </a:cubicBezTo>
                <a:cubicBezTo>
                  <a:pt x="3480818" y="1670487"/>
                  <a:pt x="3499713" y="1669247"/>
                  <a:pt x="3521516" y="1663796"/>
                </a:cubicBezTo>
                <a:cubicBezTo>
                  <a:pt x="3528547" y="1662038"/>
                  <a:pt x="3535080" y="1658550"/>
                  <a:pt x="3542142" y="1656920"/>
                </a:cubicBezTo>
                <a:cubicBezTo>
                  <a:pt x="3564915" y="1651665"/>
                  <a:pt x="3588722" y="1650560"/>
                  <a:pt x="3610894" y="1643170"/>
                </a:cubicBezTo>
                <a:cubicBezTo>
                  <a:pt x="3690321" y="1616695"/>
                  <a:pt x="3613369" y="1640185"/>
                  <a:pt x="3727772" y="1615669"/>
                </a:cubicBezTo>
                <a:cubicBezTo>
                  <a:pt x="3734858" y="1614151"/>
                  <a:pt x="3741366" y="1610552"/>
                  <a:pt x="3748397" y="1608794"/>
                </a:cubicBezTo>
                <a:cubicBezTo>
                  <a:pt x="3759734" y="1605960"/>
                  <a:pt x="3771436" y="1604753"/>
                  <a:pt x="3782773" y="1601919"/>
                </a:cubicBezTo>
                <a:cubicBezTo>
                  <a:pt x="3789804" y="1600161"/>
                  <a:pt x="3796269" y="1596340"/>
                  <a:pt x="3803399" y="1595044"/>
                </a:cubicBezTo>
                <a:cubicBezTo>
                  <a:pt x="3821577" y="1591739"/>
                  <a:pt x="3840192" y="1591308"/>
                  <a:pt x="3858400" y="1588169"/>
                </a:cubicBezTo>
                <a:cubicBezTo>
                  <a:pt x="4101648" y="1546229"/>
                  <a:pt x="3905813" y="1572076"/>
                  <a:pt x="4119658" y="1546917"/>
                </a:cubicBezTo>
                <a:cubicBezTo>
                  <a:pt x="4145967" y="1538148"/>
                  <a:pt x="4162433" y="1531487"/>
                  <a:pt x="4188410" y="1526292"/>
                </a:cubicBezTo>
                <a:cubicBezTo>
                  <a:pt x="4202079" y="1523558"/>
                  <a:pt x="4215946" y="1521911"/>
                  <a:pt x="4229661" y="1519417"/>
                </a:cubicBezTo>
                <a:cubicBezTo>
                  <a:pt x="4241158" y="1517327"/>
                  <a:pt x="4252487" y="1514319"/>
                  <a:pt x="4264037" y="1512542"/>
                </a:cubicBezTo>
                <a:cubicBezTo>
                  <a:pt x="4282299" y="1509732"/>
                  <a:pt x="4300813" y="1508704"/>
                  <a:pt x="4319038" y="1505666"/>
                </a:cubicBezTo>
                <a:cubicBezTo>
                  <a:pt x="4328359" y="1504113"/>
                  <a:pt x="4337315" y="1500841"/>
                  <a:pt x="4346539" y="1498791"/>
                </a:cubicBezTo>
                <a:cubicBezTo>
                  <a:pt x="4357946" y="1496256"/>
                  <a:pt x="4369456" y="1494208"/>
                  <a:pt x="4380915" y="1491916"/>
                </a:cubicBezTo>
                <a:cubicBezTo>
                  <a:pt x="4450040" y="1457355"/>
                  <a:pt x="4362825" y="1497946"/>
                  <a:pt x="4442791" y="1471290"/>
                </a:cubicBezTo>
                <a:cubicBezTo>
                  <a:pt x="4452514" y="1468049"/>
                  <a:pt x="4460696" y="1461139"/>
                  <a:pt x="4470292" y="1457540"/>
                </a:cubicBezTo>
                <a:cubicBezTo>
                  <a:pt x="4479140" y="1454222"/>
                  <a:pt x="4488883" y="1453810"/>
                  <a:pt x="4497793" y="1450665"/>
                </a:cubicBezTo>
                <a:cubicBezTo>
                  <a:pt x="4527893" y="1440041"/>
                  <a:pt x="4557070" y="1426913"/>
                  <a:pt x="4587170" y="1416289"/>
                </a:cubicBezTo>
                <a:cubicBezTo>
                  <a:pt x="4596080" y="1413144"/>
                  <a:pt x="4605585" y="1412010"/>
                  <a:pt x="4614671" y="1409414"/>
                </a:cubicBezTo>
                <a:cubicBezTo>
                  <a:pt x="4621639" y="1407423"/>
                  <a:pt x="4628235" y="1404168"/>
                  <a:pt x="4635297" y="1402538"/>
                </a:cubicBezTo>
                <a:cubicBezTo>
                  <a:pt x="4658070" y="1397283"/>
                  <a:pt x="4681376" y="1394456"/>
                  <a:pt x="4704049" y="1388788"/>
                </a:cubicBezTo>
                <a:lnTo>
                  <a:pt x="4759050" y="1375038"/>
                </a:lnTo>
                <a:cubicBezTo>
                  <a:pt x="4768217" y="1372746"/>
                  <a:pt x="4777230" y="1369717"/>
                  <a:pt x="4786551" y="1368163"/>
                </a:cubicBezTo>
                <a:cubicBezTo>
                  <a:pt x="4800301" y="1365871"/>
                  <a:pt x="4814101" y="1363856"/>
                  <a:pt x="4827802" y="1361287"/>
                </a:cubicBezTo>
                <a:cubicBezTo>
                  <a:pt x="4850773" y="1356980"/>
                  <a:pt x="4873881" y="1353205"/>
                  <a:pt x="4896554" y="1347537"/>
                </a:cubicBezTo>
                <a:cubicBezTo>
                  <a:pt x="4914888" y="1342954"/>
                  <a:pt x="4932722" y="1335357"/>
                  <a:pt x="4951555" y="1333787"/>
                </a:cubicBezTo>
                <a:cubicBezTo>
                  <a:pt x="5068391" y="1324050"/>
                  <a:pt x="5006523" y="1328747"/>
                  <a:pt x="5137185" y="1320036"/>
                </a:cubicBezTo>
                <a:cubicBezTo>
                  <a:pt x="5267544" y="1301414"/>
                  <a:pt x="5201100" y="1308442"/>
                  <a:pt x="5336566" y="1299411"/>
                </a:cubicBezTo>
                <a:cubicBezTo>
                  <a:pt x="5438970" y="1265271"/>
                  <a:pt x="5360350" y="1288876"/>
                  <a:pt x="5618449" y="1299411"/>
                </a:cubicBezTo>
                <a:cubicBezTo>
                  <a:pt x="5672299" y="1301609"/>
                  <a:pt x="5693290" y="1306640"/>
                  <a:pt x="5742202" y="1313161"/>
                </a:cubicBezTo>
                <a:cubicBezTo>
                  <a:pt x="5760516" y="1315603"/>
                  <a:pt x="5778978" y="1316999"/>
                  <a:pt x="5797203" y="1320036"/>
                </a:cubicBezTo>
                <a:cubicBezTo>
                  <a:pt x="5806524" y="1321589"/>
                  <a:pt x="5815480" y="1324861"/>
                  <a:pt x="5824704" y="1326911"/>
                </a:cubicBezTo>
                <a:cubicBezTo>
                  <a:pt x="5874479" y="1337973"/>
                  <a:pt x="5842851" y="1328378"/>
                  <a:pt x="5879706" y="1340662"/>
                </a:cubicBezTo>
                <a:cubicBezTo>
                  <a:pt x="5884289" y="1333787"/>
                  <a:pt x="5888383" y="1326558"/>
                  <a:pt x="5893456" y="1320036"/>
                </a:cubicBezTo>
                <a:cubicBezTo>
                  <a:pt x="5904445" y="1305907"/>
                  <a:pt x="5917903" y="1293678"/>
                  <a:pt x="5927832" y="1278785"/>
                </a:cubicBezTo>
                <a:cubicBezTo>
                  <a:pt x="5931852" y="1272755"/>
                  <a:pt x="5930978" y="1264374"/>
                  <a:pt x="5934707" y="1258160"/>
                </a:cubicBezTo>
                <a:cubicBezTo>
                  <a:pt x="5938042" y="1252602"/>
                  <a:pt x="5944409" y="1249471"/>
                  <a:pt x="5948458" y="1244409"/>
                </a:cubicBezTo>
                <a:cubicBezTo>
                  <a:pt x="5953620" y="1237957"/>
                  <a:pt x="5957625" y="1230659"/>
                  <a:pt x="5962208" y="1223784"/>
                </a:cubicBezTo>
                <a:cubicBezTo>
                  <a:pt x="5978946" y="1173568"/>
                  <a:pt x="5972442" y="1196594"/>
                  <a:pt x="5982834" y="1155032"/>
                </a:cubicBezTo>
                <a:cubicBezTo>
                  <a:pt x="5985126" y="1134406"/>
                  <a:pt x="5989709" y="1113908"/>
                  <a:pt x="5989709" y="1093155"/>
                </a:cubicBezTo>
                <a:cubicBezTo>
                  <a:pt x="5989709" y="969362"/>
                  <a:pt x="5973200" y="1042337"/>
                  <a:pt x="5989709" y="935026"/>
                </a:cubicBezTo>
                <a:cubicBezTo>
                  <a:pt x="5992738" y="915337"/>
                  <a:pt x="5999928" y="910425"/>
                  <a:pt x="6010334" y="893775"/>
                </a:cubicBezTo>
                <a:cubicBezTo>
                  <a:pt x="6017416" y="882443"/>
                  <a:pt x="6024984" y="871351"/>
                  <a:pt x="6030960" y="859399"/>
                </a:cubicBezTo>
                <a:cubicBezTo>
                  <a:pt x="6034201" y="852917"/>
                  <a:pt x="6034425" y="845168"/>
                  <a:pt x="6037835" y="838773"/>
                </a:cubicBezTo>
                <a:cubicBezTo>
                  <a:pt x="6052817" y="810681"/>
                  <a:pt x="6068745" y="783052"/>
                  <a:pt x="6085961" y="756271"/>
                </a:cubicBezTo>
                <a:cubicBezTo>
                  <a:pt x="6089466" y="750818"/>
                  <a:pt x="6095663" y="747582"/>
                  <a:pt x="6099712" y="742520"/>
                </a:cubicBezTo>
                <a:cubicBezTo>
                  <a:pt x="6104874" y="736068"/>
                  <a:pt x="6108085" y="728169"/>
                  <a:pt x="6113462" y="721895"/>
                </a:cubicBezTo>
                <a:cubicBezTo>
                  <a:pt x="6121899" y="712052"/>
                  <a:pt x="6131796" y="703561"/>
                  <a:pt x="6140963" y="694394"/>
                </a:cubicBezTo>
                <a:lnTo>
                  <a:pt x="6161588" y="673769"/>
                </a:lnTo>
                <a:cubicBezTo>
                  <a:pt x="6166172" y="669185"/>
                  <a:pt x="6170153" y="663907"/>
                  <a:pt x="6175339" y="660018"/>
                </a:cubicBezTo>
                <a:cubicBezTo>
                  <a:pt x="6184506" y="653143"/>
                  <a:pt x="6194140" y="646850"/>
                  <a:pt x="6202840" y="639393"/>
                </a:cubicBezTo>
                <a:cubicBezTo>
                  <a:pt x="6210222" y="633065"/>
                  <a:pt x="6215996" y="624992"/>
                  <a:pt x="6223465" y="618767"/>
                </a:cubicBezTo>
                <a:cubicBezTo>
                  <a:pt x="6229813" y="613477"/>
                  <a:pt x="6237639" y="610179"/>
                  <a:pt x="6244091" y="605017"/>
                </a:cubicBezTo>
                <a:cubicBezTo>
                  <a:pt x="6249153" y="600968"/>
                  <a:pt x="6252703" y="595218"/>
                  <a:pt x="6257841" y="591266"/>
                </a:cubicBezTo>
                <a:cubicBezTo>
                  <a:pt x="6282548" y="572261"/>
                  <a:pt x="6308761" y="555270"/>
                  <a:pt x="6333468" y="536265"/>
                </a:cubicBezTo>
                <a:cubicBezTo>
                  <a:pt x="6338606" y="532313"/>
                  <a:pt x="6342157" y="526563"/>
                  <a:pt x="6347219" y="522514"/>
                </a:cubicBezTo>
                <a:cubicBezTo>
                  <a:pt x="6366258" y="507282"/>
                  <a:pt x="6366685" y="509150"/>
                  <a:pt x="6388470" y="501889"/>
                </a:cubicBezTo>
                <a:cubicBezTo>
                  <a:pt x="6397637" y="495014"/>
                  <a:pt x="6405721" y="486387"/>
                  <a:pt x="6415970" y="481263"/>
                </a:cubicBezTo>
                <a:cubicBezTo>
                  <a:pt x="6424422" y="477037"/>
                  <a:pt x="6434507" y="477376"/>
                  <a:pt x="6443471" y="474388"/>
                </a:cubicBezTo>
                <a:cubicBezTo>
                  <a:pt x="6455179" y="470485"/>
                  <a:pt x="6466249" y="464856"/>
                  <a:pt x="6477847" y="460638"/>
                </a:cubicBezTo>
                <a:cubicBezTo>
                  <a:pt x="6491469" y="455685"/>
                  <a:pt x="6505640" y="452270"/>
                  <a:pt x="6519098" y="446887"/>
                </a:cubicBezTo>
                <a:cubicBezTo>
                  <a:pt x="6529617" y="442680"/>
                  <a:pt x="6559727" y="429855"/>
                  <a:pt x="6574100" y="426262"/>
                </a:cubicBezTo>
                <a:lnTo>
                  <a:pt x="6773480" y="378135"/>
                </a:lnTo>
                <a:cubicBezTo>
                  <a:pt x="6864691" y="332531"/>
                  <a:pt x="6750793" y="387858"/>
                  <a:pt x="6821606" y="357510"/>
                </a:cubicBezTo>
                <a:cubicBezTo>
                  <a:pt x="6831026" y="353473"/>
                  <a:pt x="6839687" y="347797"/>
                  <a:pt x="6849107" y="343760"/>
                </a:cubicBezTo>
                <a:cubicBezTo>
                  <a:pt x="6855768" y="340905"/>
                  <a:pt x="6863072" y="339739"/>
                  <a:pt x="6869733" y="336884"/>
                </a:cubicBezTo>
                <a:cubicBezTo>
                  <a:pt x="6879153" y="332847"/>
                  <a:pt x="6887718" y="326940"/>
                  <a:pt x="6897234" y="323134"/>
                </a:cubicBezTo>
                <a:cubicBezTo>
                  <a:pt x="6910691" y="317751"/>
                  <a:pt x="6925028" y="314767"/>
                  <a:pt x="6938485" y="309384"/>
                </a:cubicBezTo>
                <a:cubicBezTo>
                  <a:pt x="6948001" y="305578"/>
                  <a:pt x="6956655" y="299874"/>
                  <a:pt x="6965985" y="295633"/>
                </a:cubicBezTo>
                <a:cubicBezTo>
                  <a:pt x="6981874" y="288411"/>
                  <a:pt x="6997709" y="280973"/>
                  <a:pt x="7014112" y="275008"/>
                </a:cubicBezTo>
                <a:cubicBezTo>
                  <a:pt x="7093277" y="246221"/>
                  <a:pt x="6974969" y="299337"/>
                  <a:pt x="7082864" y="254382"/>
                </a:cubicBezTo>
                <a:cubicBezTo>
                  <a:pt x="7177255" y="215053"/>
                  <a:pt x="7061880" y="251320"/>
                  <a:pt x="7185991" y="213131"/>
                </a:cubicBezTo>
                <a:cubicBezTo>
                  <a:pt x="7207788" y="206424"/>
                  <a:pt x="7225301" y="204396"/>
                  <a:pt x="7247868" y="199381"/>
                </a:cubicBezTo>
                <a:cubicBezTo>
                  <a:pt x="7257092" y="197331"/>
                  <a:pt x="7266283" y="195101"/>
                  <a:pt x="7275369" y="192505"/>
                </a:cubicBezTo>
                <a:cubicBezTo>
                  <a:pt x="7282337" y="190514"/>
                  <a:pt x="7288888" y="187051"/>
                  <a:pt x="7295994" y="185630"/>
                </a:cubicBezTo>
                <a:cubicBezTo>
                  <a:pt x="7323333" y="180162"/>
                  <a:pt x="7378497" y="171880"/>
                  <a:pt x="7378497" y="171880"/>
                </a:cubicBezTo>
                <a:cubicBezTo>
                  <a:pt x="7396936" y="165733"/>
                  <a:pt x="7442056" y="148935"/>
                  <a:pt x="7467874" y="144379"/>
                </a:cubicBezTo>
                <a:cubicBezTo>
                  <a:pt x="7497559" y="139141"/>
                  <a:pt x="7527459" y="135212"/>
                  <a:pt x="7557252" y="130629"/>
                </a:cubicBezTo>
                <a:cubicBezTo>
                  <a:pt x="7651551" y="92908"/>
                  <a:pt x="7533062" y="137885"/>
                  <a:pt x="7626003" y="110003"/>
                </a:cubicBezTo>
                <a:cubicBezTo>
                  <a:pt x="7637824" y="106457"/>
                  <a:pt x="7648558" y="99799"/>
                  <a:pt x="7660379" y="96253"/>
                </a:cubicBezTo>
                <a:cubicBezTo>
                  <a:pt x="7671572" y="92895"/>
                  <a:pt x="7683418" y="92212"/>
                  <a:pt x="7694755" y="89378"/>
                </a:cubicBezTo>
                <a:cubicBezTo>
                  <a:pt x="7701786" y="87620"/>
                  <a:pt x="7708350" y="84260"/>
                  <a:pt x="7715381" y="82502"/>
                </a:cubicBezTo>
                <a:cubicBezTo>
                  <a:pt x="7726718" y="79668"/>
                  <a:pt x="7738350" y="78162"/>
                  <a:pt x="7749757" y="75627"/>
                </a:cubicBezTo>
                <a:cubicBezTo>
                  <a:pt x="7758981" y="73577"/>
                  <a:pt x="7768091" y="71044"/>
                  <a:pt x="7777258" y="68752"/>
                </a:cubicBezTo>
                <a:cubicBezTo>
                  <a:pt x="7831848" y="41457"/>
                  <a:pt x="7813844" y="48838"/>
                  <a:pt x="7907886" y="20626"/>
                </a:cubicBezTo>
                <a:cubicBezTo>
                  <a:pt x="7929803" y="14051"/>
                  <a:pt x="7970007" y="10581"/>
                  <a:pt x="7990388" y="6875"/>
                </a:cubicBezTo>
                <a:cubicBezTo>
                  <a:pt x="7999685" y="5185"/>
                  <a:pt x="8008722" y="2292"/>
                  <a:pt x="8017889" y="0"/>
                </a:cubicBezTo>
                <a:cubicBezTo>
                  <a:pt x="8079766" y="2292"/>
                  <a:pt x="8141826" y="1587"/>
                  <a:pt x="8203519" y="6875"/>
                </a:cubicBezTo>
                <a:cubicBezTo>
                  <a:pt x="8241303" y="10114"/>
                  <a:pt x="8260037" y="22427"/>
                  <a:pt x="8292897" y="34376"/>
                </a:cubicBezTo>
                <a:cubicBezTo>
                  <a:pt x="8430582" y="84442"/>
                  <a:pt x="8259869" y="18256"/>
                  <a:pt x="8361649" y="61877"/>
                </a:cubicBezTo>
                <a:cubicBezTo>
                  <a:pt x="8368310" y="64732"/>
                  <a:pt x="8375792" y="65511"/>
                  <a:pt x="8382274" y="68752"/>
                </a:cubicBezTo>
                <a:cubicBezTo>
                  <a:pt x="8385621" y="70426"/>
                  <a:pt x="8429099" y="96314"/>
                  <a:pt x="8437276" y="103128"/>
                </a:cubicBezTo>
                <a:cubicBezTo>
                  <a:pt x="8444745" y="109353"/>
                  <a:pt x="8450432" y="117529"/>
                  <a:pt x="8457901" y="123754"/>
                </a:cubicBezTo>
                <a:cubicBezTo>
                  <a:pt x="8464249" y="129044"/>
                  <a:pt x="8471803" y="132701"/>
                  <a:pt x="8478527" y="137504"/>
                </a:cubicBezTo>
                <a:cubicBezTo>
                  <a:pt x="8587695" y="215478"/>
                  <a:pt x="8454661" y="119784"/>
                  <a:pt x="8519778" y="171880"/>
                </a:cubicBezTo>
                <a:cubicBezTo>
                  <a:pt x="8563149" y="206578"/>
                  <a:pt x="8520947" y="166174"/>
                  <a:pt x="8554154" y="199381"/>
                </a:cubicBezTo>
                <a:cubicBezTo>
                  <a:pt x="8556446" y="206256"/>
                  <a:pt x="8557301" y="213792"/>
                  <a:pt x="8561029" y="220006"/>
                </a:cubicBezTo>
                <a:cubicBezTo>
                  <a:pt x="8587249" y="263707"/>
                  <a:pt x="8562735" y="197634"/>
                  <a:pt x="8588530" y="254382"/>
                </a:cubicBezTo>
                <a:cubicBezTo>
                  <a:pt x="8601158" y="282164"/>
                  <a:pt x="8618528" y="333737"/>
                  <a:pt x="8622906" y="364385"/>
                </a:cubicBezTo>
                <a:cubicBezTo>
                  <a:pt x="8631752" y="426311"/>
                  <a:pt x="8627117" y="396527"/>
                  <a:pt x="8636656" y="453763"/>
                </a:cubicBezTo>
                <a:cubicBezTo>
                  <a:pt x="8638948" y="490431"/>
                  <a:pt x="8640817" y="527127"/>
                  <a:pt x="8643531" y="563766"/>
                </a:cubicBezTo>
                <a:cubicBezTo>
                  <a:pt x="8645401" y="589010"/>
                  <a:pt x="8650406" y="614080"/>
                  <a:pt x="8650406" y="639393"/>
                </a:cubicBezTo>
                <a:cubicBezTo>
                  <a:pt x="8650406" y="758585"/>
                  <a:pt x="8645823" y="877732"/>
                  <a:pt x="8643531" y="996902"/>
                </a:cubicBezTo>
                <a:cubicBezTo>
                  <a:pt x="8645823" y="1019819"/>
                  <a:pt x="8646904" y="1042890"/>
                  <a:pt x="8650406" y="1065654"/>
                </a:cubicBezTo>
                <a:cubicBezTo>
                  <a:pt x="8651508" y="1072817"/>
                  <a:pt x="8655710" y="1079205"/>
                  <a:pt x="8657282" y="1086280"/>
                </a:cubicBezTo>
                <a:cubicBezTo>
                  <a:pt x="8660306" y="1099888"/>
                  <a:pt x="8661423" y="1113862"/>
                  <a:pt x="8664157" y="1127531"/>
                </a:cubicBezTo>
                <a:cubicBezTo>
                  <a:pt x="8666010" y="1136797"/>
                  <a:pt x="8669479" y="1145711"/>
                  <a:pt x="8671032" y="1155032"/>
                </a:cubicBezTo>
                <a:cubicBezTo>
                  <a:pt x="8687126" y="1251598"/>
                  <a:pt x="8669311" y="1175646"/>
                  <a:pt x="8684782" y="1237534"/>
                </a:cubicBezTo>
                <a:cubicBezTo>
                  <a:pt x="8687074" y="1258160"/>
                  <a:pt x="8691658" y="1278658"/>
                  <a:pt x="8691658" y="1299411"/>
                </a:cubicBezTo>
                <a:cubicBezTo>
                  <a:pt x="8691658" y="1497897"/>
                  <a:pt x="8694277" y="1466697"/>
                  <a:pt x="8677907" y="1581293"/>
                </a:cubicBezTo>
                <a:cubicBezTo>
                  <a:pt x="8675615" y="1663795"/>
                  <a:pt x="8674958" y="1746359"/>
                  <a:pt x="8671032" y="1828800"/>
                </a:cubicBezTo>
                <a:cubicBezTo>
                  <a:pt x="8670468" y="1840646"/>
                  <a:pt x="8662207" y="1882777"/>
                  <a:pt x="8657282" y="1897552"/>
                </a:cubicBezTo>
                <a:cubicBezTo>
                  <a:pt x="8653379" y="1909260"/>
                  <a:pt x="8647434" y="1920220"/>
                  <a:pt x="8643531" y="1931928"/>
                </a:cubicBezTo>
                <a:cubicBezTo>
                  <a:pt x="8638255" y="1947756"/>
                  <a:pt x="8633532" y="1963797"/>
                  <a:pt x="8629781" y="1980054"/>
                </a:cubicBezTo>
                <a:cubicBezTo>
                  <a:pt x="8615107" y="2043642"/>
                  <a:pt x="8633635" y="1999847"/>
                  <a:pt x="8609155" y="2048806"/>
                </a:cubicBezTo>
                <a:cubicBezTo>
                  <a:pt x="8599988" y="2110683"/>
                  <a:pt x="8585190" y="2171984"/>
                  <a:pt x="8581655" y="2234436"/>
                </a:cubicBezTo>
                <a:cubicBezTo>
                  <a:pt x="8578285" y="2293970"/>
                  <a:pt x="8588530" y="2353562"/>
                  <a:pt x="8588530" y="2413191"/>
                </a:cubicBezTo>
                <a:cubicBezTo>
                  <a:pt x="8588530" y="2571014"/>
                  <a:pt x="8582864" y="2663546"/>
                  <a:pt x="8547279" y="2818827"/>
                </a:cubicBezTo>
                <a:cubicBezTo>
                  <a:pt x="8537566" y="2861211"/>
                  <a:pt x="8522178" y="2902209"/>
                  <a:pt x="8506028" y="2942581"/>
                </a:cubicBezTo>
                <a:cubicBezTo>
                  <a:pt x="8501444" y="2954040"/>
                  <a:pt x="8497796" y="2965919"/>
                  <a:pt x="8492277" y="2976957"/>
                </a:cubicBezTo>
                <a:cubicBezTo>
                  <a:pt x="8488582" y="2984347"/>
                  <a:pt x="8482627" y="2990408"/>
                  <a:pt x="8478527" y="2997582"/>
                </a:cubicBezTo>
                <a:cubicBezTo>
                  <a:pt x="8458175" y="3033198"/>
                  <a:pt x="8470864" y="3021298"/>
                  <a:pt x="8444151" y="3059459"/>
                </a:cubicBezTo>
                <a:cubicBezTo>
                  <a:pt x="8435736" y="3071481"/>
                  <a:pt x="8425455" y="3082096"/>
                  <a:pt x="8416650" y="3093835"/>
                </a:cubicBezTo>
                <a:cubicBezTo>
                  <a:pt x="8371080" y="3154595"/>
                  <a:pt x="8393939" y="3131879"/>
                  <a:pt x="8341023" y="3190087"/>
                </a:cubicBezTo>
                <a:cubicBezTo>
                  <a:pt x="8332302" y="3199680"/>
                  <a:pt x="8322135" y="3207898"/>
                  <a:pt x="8313522" y="3217588"/>
                </a:cubicBezTo>
                <a:cubicBezTo>
                  <a:pt x="8295188" y="3238214"/>
                  <a:pt x="8278913" y="3260872"/>
                  <a:pt x="8258521" y="3279465"/>
                </a:cubicBezTo>
                <a:cubicBezTo>
                  <a:pt x="8200843" y="3332054"/>
                  <a:pt x="8144711" y="3387424"/>
                  <a:pt x="8079766" y="3430719"/>
                </a:cubicBezTo>
                <a:cubicBezTo>
                  <a:pt x="8072891" y="3435302"/>
                  <a:pt x="8066531" y="3440774"/>
                  <a:pt x="8059140" y="3444469"/>
                </a:cubicBezTo>
                <a:cubicBezTo>
                  <a:pt x="7985639" y="3481220"/>
                  <a:pt x="8036982" y="3454147"/>
                  <a:pt x="7983513" y="3471970"/>
                </a:cubicBezTo>
                <a:cubicBezTo>
                  <a:pt x="7971805" y="3475873"/>
                  <a:pt x="7960785" y="3481643"/>
                  <a:pt x="7949137" y="3485720"/>
                </a:cubicBezTo>
                <a:cubicBezTo>
                  <a:pt x="7914936" y="3497690"/>
                  <a:pt x="7880386" y="3508637"/>
                  <a:pt x="7846010" y="3520096"/>
                </a:cubicBezTo>
                <a:cubicBezTo>
                  <a:pt x="7839135" y="3522388"/>
                  <a:pt x="7832459" y="3525400"/>
                  <a:pt x="7825384" y="3526972"/>
                </a:cubicBezTo>
                <a:cubicBezTo>
                  <a:pt x="7708821" y="3552874"/>
                  <a:pt x="7816521" y="3530980"/>
                  <a:pt x="7708506" y="3547597"/>
                </a:cubicBezTo>
                <a:cubicBezTo>
                  <a:pt x="7696956" y="3549374"/>
                  <a:pt x="7685657" y="3552551"/>
                  <a:pt x="7674130" y="3554472"/>
                </a:cubicBezTo>
                <a:cubicBezTo>
                  <a:pt x="7589591" y="3568562"/>
                  <a:pt x="7597258" y="3566833"/>
                  <a:pt x="7522876" y="3575098"/>
                </a:cubicBezTo>
                <a:cubicBezTo>
                  <a:pt x="7395818" y="3606861"/>
                  <a:pt x="7456549" y="3592387"/>
                  <a:pt x="7179116" y="3636975"/>
                </a:cubicBezTo>
                <a:cubicBezTo>
                  <a:pt x="7156376" y="3640630"/>
                  <a:pt x="7133281" y="3641558"/>
                  <a:pt x="7110364" y="3643850"/>
                </a:cubicBezTo>
                <a:cubicBezTo>
                  <a:pt x="6996552" y="3672303"/>
                  <a:pt x="7108876" y="3646335"/>
                  <a:pt x="6821606" y="3657600"/>
                </a:cubicBezTo>
                <a:cubicBezTo>
                  <a:pt x="6680479" y="3663134"/>
                  <a:pt x="6781112" y="3661650"/>
                  <a:pt x="6684103" y="3671351"/>
                </a:cubicBezTo>
                <a:cubicBezTo>
                  <a:pt x="6631457" y="3676616"/>
                  <a:pt x="6578785" y="3681900"/>
                  <a:pt x="6525973" y="3685101"/>
                </a:cubicBezTo>
                <a:lnTo>
                  <a:pt x="6161588" y="3705726"/>
                </a:lnTo>
                <a:lnTo>
                  <a:pt x="5749077" y="3719477"/>
                </a:lnTo>
                <a:lnTo>
                  <a:pt x="5549697" y="3726352"/>
                </a:lnTo>
                <a:lnTo>
                  <a:pt x="4875928" y="3712602"/>
                </a:lnTo>
                <a:cubicBezTo>
                  <a:pt x="4820797" y="3710018"/>
                  <a:pt x="4766059" y="3701357"/>
                  <a:pt x="4710924" y="3698851"/>
                </a:cubicBezTo>
                <a:lnTo>
                  <a:pt x="4559670" y="3691976"/>
                </a:lnTo>
                <a:lnTo>
                  <a:pt x="4140283" y="3698851"/>
                </a:lnTo>
                <a:cubicBezTo>
                  <a:pt x="4044003" y="3698851"/>
                  <a:pt x="3947750" y="3695238"/>
                  <a:pt x="3851525" y="3691976"/>
                </a:cubicBezTo>
                <a:cubicBezTo>
                  <a:pt x="3684518" y="3686315"/>
                  <a:pt x="3770203" y="3680967"/>
                  <a:pt x="3576518" y="3678226"/>
                </a:cubicBezTo>
                <a:lnTo>
                  <a:pt x="2277107" y="3664475"/>
                </a:lnTo>
                <a:cubicBezTo>
                  <a:pt x="2178563" y="3662183"/>
                  <a:pt x="2080045" y="3657600"/>
                  <a:pt x="1981474" y="3657600"/>
                </a:cubicBezTo>
                <a:cubicBezTo>
                  <a:pt x="1271140" y="3657600"/>
                  <a:pt x="1463902" y="3642147"/>
                  <a:pt x="1142701" y="3671351"/>
                </a:cubicBezTo>
                <a:cubicBezTo>
                  <a:pt x="1107697" y="3670690"/>
                  <a:pt x="765762" y="3668334"/>
                  <a:pt x="647688" y="3657600"/>
                </a:cubicBezTo>
                <a:cubicBezTo>
                  <a:pt x="640471" y="3656944"/>
                  <a:pt x="634168" y="3652146"/>
                  <a:pt x="627062" y="3650725"/>
                </a:cubicBezTo>
                <a:cubicBezTo>
                  <a:pt x="596664" y="3644646"/>
                  <a:pt x="537458" y="3639702"/>
                  <a:pt x="510184" y="3636975"/>
                </a:cubicBezTo>
                <a:cubicBezTo>
                  <a:pt x="468110" y="3622949"/>
                  <a:pt x="506742" y="3634329"/>
                  <a:pt x="434557" y="3623224"/>
                </a:cubicBezTo>
                <a:cubicBezTo>
                  <a:pt x="368672" y="3613088"/>
                  <a:pt x="426401" y="3621185"/>
                  <a:pt x="379555" y="3609474"/>
                </a:cubicBezTo>
                <a:cubicBezTo>
                  <a:pt x="368218" y="3606640"/>
                  <a:pt x="356516" y="3605433"/>
                  <a:pt x="345179" y="3602599"/>
                </a:cubicBezTo>
                <a:cubicBezTo>
                  <a:pt x="338148" y="3600841"/>
                  <a:pt x="330889" y="3599242"/>
                  <a:pt x="324554" y="3595723"/>
                </a:cubicBezTo>
                <a:cubicBezTo>
                  <a:pt x="310108" y="3587697"/>
                  <a:pt x="298981" y="3573449"/>
                  <a:pt x="283303" y="3568223"/>
                </a:cubicBezTo>
                <a:lnTo>
                  <a:pt x="242052" y="3554472"/>
                </a:lnTo>
                <a:cubicBezTo>
                  <a:pt x="237468" y="3549889"/>
                  <a:pt x="233859" y="3544057"/>
                  <a:pt x="228301" y="3540722"/>
                </a:cubicBezTo>
                <a:cubicBezTo>
                  <a:pt x="222087" y="3536994"/>
                  <a:pt x="214337" y="3536702"/>
                  <a:pt x="207676" y="3533847"/>
                </a:cubicBezTo>
                <a:cubicBezTo>
                  <a:pt x="198256" y="3529810"/>
                  <a:pt x="188964" y="3525369"/>
                  <a:pt x="180175" y="3520096"/>
                </a:cubicBezTo>
                <a:cubicBezTo>
                  <a:pt x="84233" y="3462531"/>
                  <a:pt x="169947" y="3514664"/>
                  <a:pt x="125173" y="3478845"/>
                </a:cubicBezTo>
                <a:cubicBezTo>
                  <a:pt x="118721" y="3473683"/>
                  <a:pt x="111000" y="3470257"/>
                  <a:pt x="104548" y="3465095"/>
                </a:cubicBezTo>
                <a:cubicBezTo>
                  <a:pt x="88995" y="3452653"/>
                  <a:pt x="83548" y="3439896"/>
                  <a:pt x="70172" y="3423844"/>
                </a:cubicBezTo>
                <a:cubicBezTo>
                  <a:pt x="37511" y="3384649"/>
                  <a:pt x="76676" y="3440472"/>
                  <a:pt x="42671" y="3389468"/>
                </a:cubicBezTo>
                <a:cubicBezTo>
                  <a:pt x="9068" y="3288658"/>
                  <a:pt x="36308" y="3383122"/>
                  <a:pt x="22046" y="3176337"/>
                </a:cubicBezTo>
                <a:cubicBezTo>
                  <a:pt x="19791" y="3143642"/>
                  <a:pt x="11687" y="3152137"/>
                  <a:pt x="1420" y="3121335"/>
                </a:cubicBezTo>
                <a:cubicBezTo>
                  <a:pt x="-29" y="3116987"/>
                  <a:pt x="-872" y="3112169"/>
                  <a:pt x="1420" y="3086960"/>
                </a:cubicBezTo>
                <a:close/>
              </a:path>
            </a:pathLst>
          </a:custGeom>
          <a:noFill/>
          <a:ln>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63923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3" name="Picture 4" descr="celltower">
            <a:extLst>
              <a:ext uri="{FF2B5EF4-FFF2-40B4-BE49-F238E27FC236}">
                <a16:creationId xmlns:a16="http://schemas.microsoft.com/office/drawing/2014/main" id="{A3C40FD7-E521-AC4F-BB75-C42E91120641}"/>
              </a:ext>
            </a:extLst>
          </p:cNvPr>
          <p:cNvPicPr>
            <a:picLocks noChangeAspect="1" noChangeArrowheads="1"/>
          </p:cNvPicPr>
          <p:nvPr/>
        </p:nvPicPr>
        <p:blipFill>
          <a:blip r:embed="rId2" cstate="print"/>
          <a:srcRect/>
          <a:stretch>
            <a:fillRect/>
          </a:stretch>
        </p:blipFill>
        <p:spPr bwMode="auto">
          <a:xfrm>
            <a:off x="363228" y="1047523"/>
            <a:ext cx="958973" cy="1252306"/>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pic>
      <p:pic>
        <p:nvPicPr>
          <p:cNvPr id="44" name="Picture 4" descr="celltower">
            <a:extLst>
              <a:ext uri="{FF2B5EF4-FFF2-40B4-BE49-F238E27FC236}">
                <a16:creationId xmlns:a16="http://schemas.microsoft.com/office/drawing/2014/main" id="{BE7F8265-0637-334E-B632-72CD48B41238}"/>
              </a:ext>
            </a:extLst>
          </p:cNvPr>
          <p:cNvPicPr>
            <a:picLocks noChangeAspect="1" noChangeArrowheads="1"/>
          </p:cNvPicPr>
          <p:nvPr/>
        </p:nvPicPr>
        <p:blipFill>
          <a:blip r:embed="rId2" cstate="print"/>
          <a:srcRect/>
          <a:stretch>
            <a:fillRect/>
          </a:stretch>
        </p:blipFill>
        <p:spPr bwMode="auto">
          <a:xfrm>
            <a:off x="363706" y="2263972"/>
            <a:ext cx="958973" cy="1252306"/>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pic>
      <p:pic>
        <p:nvPicPr>
          <p:cNvPr id="34" name="Picture 4" descr="celltower">
            <a:extLst>
              <a:ext uri="{FF2B5EF4-FFF2-40B4-BE49-F238E27FC236}">
                <a16:creationId xmlns:a16="http://schemas.microsoft.com/office/drawing/2014/main" id="{C88CDBB5-DF34-5946-8666-7E4ED9F980EE}"/>
              </a:ext>
            </a:extLst>
          </p:cNvPr>
          <p:cNvPicPr>
            <a:picLocks noChangeAspect="1" noChangeArrowheads="1"/>
          </p:cNvPicPr>
          <p:nvPr/>
        </p:nvPicPr>
        <p:blipFill>
          <a:blip r:embed="rId2" cstate="print"/>
          <a:srcRect/>
          <a:stretch>
            <a:fillRect/>
          </a:stretch>
        </p:blipFill>
        <p:spPr bwMode="auto">
          <a:xfrm>
            <a:off x="1544183" y="3475003"/>
            <a:ext cx="958973" cy="1252306"/>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pic>
      <p:sp>
        <p:nvSpPr>
          <p:cNvPr id="79" name="Line 13">
            <a:extLst>
              <a:ext uri="{FF2B5EF4-FFF2-40B4-BE49-F238E27FC236}">
                <a16:creationId xmlns:a16="http://schemas.microsoft.com/office/drawing/2014/main" id="{F726258A-F474-1A4D-ACC6-EDF337E5C0B5}"/>
              </a:ext>
            </a:extLst>
          </p:cNvPr>
          <p:cNvSpPr>
            <a:spLocks noChangeShapeType="1"/>
          </p:cNvSpPr>
          <p:nvPr/>
        </p:nvSpPr>
        <p:spPr bwMode="auto">
          <a:xfrm flipV="1">
            <a:off x="5774995" y="1580989"/>
            <a:ext cx="479424" cy="2644"/>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71" name="Line 13">
            <a:extLst>
              <a:ext uri="{FF2B5EF4-FFF2-40B4-BE49-F238E27FC236}">
                <a16:creationId xmlns:a16="http://schemas.microsoft.com/office/drawing/2014/main" id="{DB79CAEA-7480-7741-A8C0-00C06870554F}"/>
              </a:ext>
            </a:extLst>
          </p:cNvPr>
          <p:cNvSpPr>
            <a:spLocks noChangeShapeType="1"/>
          </p:cNvSpPr>
          <p:nvPr/>
        </p:nvSpPr>
        <p:spPr bwMode="auto">
          <a:xfrm flipV="1">
            <a:off x="3915814" y="1658936"/>
            <a:ext cx="1025742" cy="0"/>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68" name="Line 13">
            <a:extLst>
              <a:ext uri="{FF2B5EF4-FFF2-40B4-BE49-F238E27FC236}">
                <a16:creationId xmlns:a16="http://schemas.microsoft.com/office/drawing/2014/main" id="{F1B17836-9B9A-3245-B5B0-222741597C1D}"/>
              </a:ext>
            </a:extLst>
          </p:cNvPr>
          <p:cNvSpPr>
            <a:spLocks noChangeShapeType="1"/>
          </p:cNvSpPr>
          <p:nvPr/>
        </p:nvSpPr>
        <p:spPr bwMode="auto">
          <a:xfrm flipV="1">
            <a:off x="910099" y="1755566"/>
            <a:ext cx="2366963" cy="0"/>
          </a:xfrm>
          <a:prstGeom prst="line">
            <a:avLst/>
          </a:prstGeom>
          <a:ln>
            <a:headEnd/>
            <a:tailEnd/>
          </a:ln>
        </p:spPr>
        <p:style>
          <a:lnRef idx="1">
            <a:schemeClr val="accent5"/>
          </a:lnRef>
          <a:fillRef idx="0">
            <a:schemeClr val="accent5"/>
          </a:fillRef>
          <a:effectRef idx="0">
            <a:schemeClr val="accent5"/>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2" name="Title 1">
            <a:extLst>
              <a:ext uri="{FF2B5EF4-FFF2-40B4-BE49-F238E27FC236}">
                <a16:creationId xmlns:a16="http://schemas.microsoft.com/office/drawing/2014/main" id="{C4868B73-C478-E141-A92E-5FEE22FFAB9E}"/>
              </a:ext>
            </a:extLst>
          </p:cNvPr>
          <p:cNvSpPr>
            <a:spLocks noGrp="1"/>
          </p:cNvSpPr>
          <p:nvPr>
            <p:ph type="title"/>
          </p:nvPr>
        </p:nvSpPr>
        <p:spPr/>
        <p:txBody>
          <a:bodyPr/>
          <a:lstStyle/>
          <a:p>
            <a:r>
              <a:rPr lang="en-US" dirty="0"/>
              <a:t>Mobile Network Architecture</a:t>
            </a:r>
          </a:p>
        </p:txBody>
      </p:sp>
      <p:sp>
        <p:nvSpPr>
          <p:cNvPr id="5" name="TextBox 4">
            <a:extLst>
              <a:ext uri="{FF2B5EF4-FFF2-40B4-BE49-F238E27FC236}">
                <a16:creationId xmlns:a16="http://schemas.microsoft.com/office/drawing/2014/main" id="{8C35928D-38FC-0E48-9CB5-70F17CB42CCB}"/>
              </a:ext>
            </a:extLst>
          </p:cNvPr>
          <p:cNvSpPr txBox="1"/>
          <p:nvPr/>
        </p:nvSpPr>
        <p:spPr>
          <a:xfrm>
            <a:off x="7151356" y="3057391"/>
            <a:ext cx="762000" cy="30777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PCRF</a:t>
            </a:r>
          </a:p>
        </p:txBody>
      </p:sp>
      <p:sp>
        <p:nvSpPr>
          <p:cNvPr id="8" name="Oval 3">
            <a:extLst>
              <a:ext uri="{FF2B5EF4-FFF2-40B4-BE49-F238E27FC236}">
                <a16:creationId xmlns:a16="http://schemas.microsoft.com/office/drawing/2014/main" id="{AFBCD3B0-EE7B-7B4C-A054-19D2C0B7B51B}"/>
              </a:ext>
            </a:extLst>
          </p:cNvPr>
          <p:cNvSpPr>
            <a:spLocks noChangeArrowheads="1"/>
          </p:cNvSpPr>
          <p:nvPr/>
        </p:nvSpPr>
        <p:spPr bwMode="auto">
          <a:xfrm>
            <a:off x="6670345" y="3697219"/>
            <a:ext cx="304800" cy="1524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1000" b="1" dirty="0">
                <a:latin typeface="+mn-lt"/>
              </a:rPr>
              <a:t>Gx</a:t>
            </a:r>
          </a:p>
        </p:txBody>
      </p:sp>
      <p:sp>
        <p:nvSpPr>
          <p:cNvPr id="9" name="Line 13">
            <a:extLst>
              <a:ext uri="{FF2B5EF4-FFF2-40B4-BE49-F238E27FC236}">
                <a16:creationId xmlns:a16="http://schemas.microsoft.com/office/drawing/2014/main" id="{A0A49149-D811-3D40-AA01-931254DB7739}"/>
              </a:ext>
            </a:extLst>
          </p:cNvPr>
          <p:cNvSpPr>
            <a:spLocks noChangeShapeType="1"/>
          </p:cNvSpPr>
          <p:nvPr/>
        </p:nvSpPr>
        <p:spPr bwMode="auto">
          <a:xfrm flipV="1">
            <a:off x="2045956" y="4197315"/>
            <a:ext cx="2366963" cy="0"/>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10" name="Line 17">
            <a:extLst>
              <a:ext uri="{FF2B5EF4-FFF2-40B4-BE49-F238E27FC236}">
                <a16:creationId xmlns:a16="http://schemas.microsoft.com/office/drawing/2014/main" id="{703E0E7A-9F15-BF47-BC37-11D311C4A784}"/>
              </a:ext>
            </a:extLst>
          </p:cNvPr>
          <p:cNvSpPr>
            <a:spLocks noChangeShapeType="1"/>
          </p:cNvSpPr>
          <p:nvPr/>
        </p:nvSpPr>
        <p:spPr bwMode="auto">
          <a:xfrm flipV="1">
            <a:off x="2093581" y="3298790"/>
            <a:ext cx="2390775" cy="1111250"/>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11" name="Line 27">
            <a:extLst>
              <a:ext uri="{FF2B5EF4-FFF2-40B4-BE49-F238E27FC236}">
                <a16:creationId xmlns:a16="http://schemas.microsoft.com/office/drawing/2014/main" id="{FF4F32C2-B359-264B-A444-AF0A2A141EC5}"/>
              </a:ext>
            </a:extLst>
          </p:cNvPr>
          <p:cNvSpPr>
            <a:spLocks noChangeShapeType="1"/>
          </p:cNvSpPr>
          <p:nvPr/>
        </p:nvSpPr>
        <p:spPr bwMode="auto">
          <a:xfrm flipV="1">
            <a:off x="4865356" y="3001929"/>
            <a:ext cx="719138" cy="290511"/>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12" name="Line 28">
            <a:extLst>
              <a:ext uri="{FF2B5EF4-FFF2-40B4-BE49-F238E27FC236}">
                <a16:creationId xmlns:a16="http://schemas.microsoft.com/office/drawing/2014/main" id="{3CA79581-F5CB-9E40-8C99-1FD8481FB76C}"/>
              </a:ext>
            </a:extLst>
          </p:cNvPr>
          <p:cNvSpPr>
            <a:spLocks noChangeShapeType="1"/>
          </p:cNvSpPr>
          <p:nvPr/>
        </p:nvSpPr>
        <p:spPr bwMode="auto">
          <a:xfrm flipH="1">
            <a:off x="4551030" y="3475003"/>
            <a:ext cx="23837" cy="511175"/>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13" name="Line 34">
            <a:extLst>
              <a:ext uri="{FF2B5EF4-FFF2-40B4-BE49-F238E27FC236}">
                <a16:creationId xmlns:a16="http://schemas.microsoft.com/office/drawing/2014/main" id="{DE842C48-A59D-8F41-B0B3-5D75C6018820}"/>
              </a:ext>
            </a:extLst>
          </p:cNvPr>
          <p:cNvSpPr>
            <a:spLocks noChangeShapeType="1"/>
          </p:cNvSpPr>
          <p:nvPr/>
        </p:nvSpPr>
        <p:spPr bwMode="auto">
          <a:xfrm>
            <a:off x="4889169" y="4197315"/>
            <a:ext cx="1365250" cy="0"/>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spAutoFit/>
          </a:bodyPr>
          <a:lstStyle/>
          <a:p>
            <a:pPr algn="l">
              <a:spcBef>
                <a:spcPct val="50000"/>
              </a:spcBef>
              <a:defRPr/>
            </a:pPr>
            <a:endParaRPr lang="en-US" sz="1800" b="1" dirty="0">
              <a:latin typeface="+mn-lt"/>
              <a:ea typeface="ＭＳ Ｐゴシック" pitchFamily="34" charset="-128"/>
            </a:endParaRPr>
          </a:p>
        </p:txBody>
      </p:sp>
      <p:sp>
        <p:nvSpPr>
          <p:cNvPr id="14" name="Line 35">
            <a:extLst>
              <a:ext uri="{FF2B5EF4-FFF2-40B4-BE49-F238E27FC236}">
                <a16:creationId xmlns:a16="http://schemas.microsoft.com/office/drawing/2014/main" id="{FF144FB9-2E02-A644-A7BF-A90806D96965}"/>
              </a:ext>
            </a:extLst>
          </p:cNvPr>
          <p:cNvSpPr>
            <a:spLocks noChangeShapeType="1"/>
          </p:cNvSpPr>
          <p:nvPr/>
        </p:nvSpPr>
        <p:spPr bwMode="auto">
          <a:xfrm>
            <a:off x="6657612" y="4165133"/>
            <a:ext cx="1160494" cy="275069"/>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wrap="square">
            <a:spAutoFit/>
          </a:bodyPr>
          <a:lstStyle/>
          <a:p>
            <a:pPr algn="l">
              <a:spcBef>
                <a:spcPct val="50000"/>
              </a:spcBef>
              <a:defRPr/>
            </a:pPr>
            <a:endParaRPr lang="en-US" sz="1800" b="1" dirty="0">
              <a:latin typeface="+mn-lt"/>
              <a:ea typeface="ＭＳ Ｐゴシック" pitchFamily="34" charset="-128"/>
            </a:endParaRPr>
          </a:p>
        </p:txBody>
      </p:sp>
      <p:sp>
        <p:nvSpPr>
          <p:cNvPr id="15" name="Line 36">
            <a:extLst>
              <a:ext uri="{FF2B5EF4-FFF2-40B4-BE49-F238E27FC236}">
                <a16:creationId xmlns:a16="http://schemas.microsoft.com/office/drawing/2014/main" id="{60ED3DD1-7926-2741-A711-D482ADD8C005}"/>
              </a:ext>
            </a:extLst>
          </p:cNvPr>
          <p:cNvSpPr>
            <a:spLocks noChangeShapeType="1"/>
          </p:cNvSpPr>
          <p:nvPr/>
        </p:nvSpPr>
        <p:spPr bwMode="auto">
          <a:xfrm flipH="1">
            <a:off x="6513180" y="3398803"/>
            <a:ext cx="790575" cy="588962"/>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16" name="Line 37">
            <a:extLst>
              <a:ext uri="{FF2B5EF4-FFF2-40B4-BE49-F238E27FC236}">
                <a16:creationId xmlns:a16="http://schemas.microsoft.com/office/drawing/2014/main" id="{C8BB27CA-DE08-0744-B5C7-8797A8C7359F}"/>
              </a:ext>
            </a:extLst>
          </p:cNvPr>
          <p:cNvSpPr>
            <a:spLocks noChangeShapeType="1"/>
          </p:cNvSpPr>
          <p:nvPr/>
        </p:nvSpPr>
        <p:spPr bwMode="auto">
          <a:xfrm>
            <a:off x="7532356" y="3374990"/>
            <a:ext cx="457200" cy="762000"/>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pic>
        <p:nvPicPr>
          <p:cNvPr id="17" name="Picture 40" descr="PDA">
            <a:extLst>
              <a:ext uri="{FF2B5EF4-FFF2-40B4-BE49-F238E27FC236}">
                <a16:creationId xmlns:a16="http://schemas.microsoft.com/office/drawing/2014/main" id="{FD945AE8-927C-A947-A76E-B1415C3F119F}"/>
              </a:ext>
            </a:extLst>
          </p:cNvPr>
          <p:cNvPicPr>
            <a:picLocks noChangeAspect="1" noChangeArrowheads="1"/>
          </p:cNvPicPr>
          <p:nvPr/>
        </p:nvPicPr>
        <p:blipFill>
          <a:blip r:embed="rId3" cstate="print"/>
          <a:srcRect/>
          <a:stretch>
            <a:fillRect/>
          </a:stretch>
        </p:blipFill>
        <p:spPr bwMode="auto">
          <a:xfrm>
            <a:off x="856919" y="4043328"/>
            <a:ext cx="458787" cy="5334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pic>
      <p:sp>
        <p:nvSpPr>
          <p:cNvPr id="18" name="Line 43">
            <a:extLst>
              <a:ext uri="{FF2B5EF4-FFF2-40B4-BE49-F238E27FC236}">
                <a16:creationId xmlns:a16="http://schemas.microsoft.com/office/drawing/2014/main" id="{12E7D8DB-5329-8D4F-8BF1-BB6808E13A77}"/>
              </a:ext>
            </a:extLst>
          </p:cNvPr>
          <p:cNvSpPr>
            <a:spLocks noChangeShapeType="1"/>
          </p:cNvSpPr>
          <p:nvPr/>
        </p:nvSpPr>
        <p:spPr bwMode="auto">
          <a:xfrm>
            <a:off x="1380794" y="4311615"/>
            <a:ext cx="360362" cy="1588"/>
          </a:xfrm>
          <a:prstGeom prst="line">
            <a:avLst/>
          </a:prstGeom>
          <a:ln>
            <a:headEnd type="arrow" w="med" len="med"/>
            <a:tailEnd type="arrow" w="med" len="med"/>
          </a:ln>
        </p:spPr>
        <p:style>
          <a:lnRef idx="1">
            <a:schemeClr val="accent5"/>
          </a:lnRef>
          <a:fillRef idx="0">
            <a:schemeClr val="accent5"/>
          </a:fillRef>
          <a:effectRef idx="0">
            <a:schemeClr val="accent5"/>
          </a:effectRef>
          <a:fontRef idx="minor">
            <a:schemeClr val="tx1"/>
          </a:fontRef>
        </p:style>
        <p:txBody>
          <a:bodyPr wrap="square">
            <a:spAutoFit/>
          </a:bodyPr>
          <a:lstStyle/>
          <a:p>
            <a:pPr algn="l">
              <a:spcBef>
                <a:spcPct val="50000"/>
              </a:spcBef>
              <a:defRPr/>
            </a:pPr>
            <a:endParaRPr lang="en-US" sz="1800" b="1" dirty="0">
              <a:latin typeface="+mn-lt"/>
              <a:ea typeface="ＭＳ Ｐゴシック" pitchFamily="34" charset="-128"/>
            </a:endParaRPr>
          </a:p>
        </p:txBody>
      </p:sp>
      <p:sp>
        <p:nvSpPr>
          <p:cNvPr id="19" name="Line 95">
            <a:extLst>
              <a:ext uri="{FF2B5EF4-FFF2-40B4-BE49-F238E27FC236}">
                <a16:creationId xmlns:a16="http://schemas.microsoft.com/office/drawing/2014/main" id="{40ECE750-CEF4-D040-982D-06D826DAA9B7}"/>
              </a:ext>
            </a:extLst>
          </p:cNvPr>
          <p:cNvSpPr>
            <a:spLocks noChangeShapeType="1"/>
          </p:cNvSpPr>
          <p:nvPr/>
        </p:nvSpPr>
        <p:spPr bwMode="auto">
          <a:xfrm>
            <a:off x="4827256" y="4087778"/>
            <a:ext cx="1473200" cy="0"/>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spAutoFit/>
          </a:bodyPr>
          <a:lstStyle/>
          <a:p>
            <a:pPr algn="l">
              <a:spcBef>
                <a:spcPct val="50000"/>
              </a:spcBef>
              <a:defRPr/>
            </a:pPr>
            <a:endParaRPr lang="en-US" sz="1800" b="1" dirty="0">
              <a:latin typeface="+mn-lt"/>
              <a:ea typeface="ＭＳ Ｐゴシック" pitchFamily="34" charset="-128"/>
            </a:endParaRPr>
          </a:p>
        </p:txBody>
      </p:sp>
      <p:sp>
        <p:nvSpPr>
          <p:cNvPr id="20" name="Oval 33">
            <a:extLst>
              <a:ext uri="{FF2B5EF4-FFF2-40B4-BE49-F238E27FC236}">
                <a16:creationId xmlns:a16="http://schemas.microsoft.com/office/drawing/2014/main" id="{15CA6B19-7B51-2A42-A115-F1D54E10B365}"/>
              </a:ext>
            </a:extLst>
          </p:cNvPr>
          <p:cNvSpPr>
            <a:spLocks noChangeArrowheads="1"/>
          </p:cNvSpPr>
          <p:nvPr/>
        </p:nvSpPr>
        <p:spPr bwMode="auto">
          <a:xfrm>
            <a:off x="5203494" y="4111590"/>
            <a:ext cx="423862" cy="2540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1000" b="1" dirty="0">
                <a:latin typeface="+mn-lt"/>
              </a:rPr>
              <a:t>S5/S8</a:t>
            </a:r>
          </a:p>
        </p:txBody>
      </p:sp>
      <p:sp>
        <p:nvSpPr>
          <p:cNvPr id="21" name="Oval 34">
            <a:extLst>
              <a:ext uri="{FF2B5EF4-FFF2-40B4-BE49-F238E27FC236}">
                <a16:creationId xmlns:a16="http://schemas.microsoft.com/office/drawing/2014/main" id="{EA968E1B-9D8D-3745-8F84-05951A709DD1}"/>
              </a:ext>
            </a:extLst>
          </p:cNvPr>
          <p:cNvSpPr>
            <a:spLocks noChangeArrowheads="1"/>
          </p:cNvSpPr>
          <p:nvPr/>
        </p:nvSpPr>
        <p:spPr bwMode="auto">
          <a:xfrm>
            <a:off x="6839851" y="4136990"/>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1000" b="1" dirty="0">
                <a:latin typeface="+mn-lt"/>
              </a:rPr>
              <a:t>SGi</a:t>
            </a:r>
          </a:p>
        </p:txBody>
      </p:sp>
      <p:sp>
        <p:nvSpPr>
          <p:cNvPr id="22" name="Oval 35">
            <a:extLst>
              <a:ext uri="{FF2B5EF4-FFF2-40B4-BE49-F238E27FC236}">
                <a16:creationId xmlns:a16="http://schemas.microsoft.com/office/drawing/2014/main" id="{0C60F99B-2133-DB4A-81CE-611F9AE9EB9E}"/>
              </a:ext>
            </a:extLst>
          </p:cNvPr>
          <p:cNvSpPr>
            <a:spLocks noChangeArrowheads="1"/>
          </p:cNvSpPr>
          <p:nvPr/>
        </p:nvSpPr>
        <p:spPr bwMode="auto">
          <a:xfrm>
            <a:off x="3036556" y="4136990"/>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b="1" dirty="0">
                <a:latin typeface="+mn-lt"/>
              </a:rPr>
              <a:t>S1-U</a:t>
            </a:r>
          </a:p>
        </p:txBody>
      </p:sp>
      <p:sp>
        <p:nvSpPr>
          <p:cNvPr id="23" name="Oval 36">
            <a:extLst>
              <a:ext uri="{FF2B5EF4-FFF2-40B4-BE49-F238E27FC236}">
                <a16:creationId xmlns:a16="http://schemas.microsoft.com/office/drawing/2014/main" id="{1FDCB4FC-3798-9143-87CC-FBA06D8A55C2}"/>
              </a:ext>
            </a:extLst>
          </p:cNvPr>
          <p:cNvSpPr>
            <a:spLocks noChangeArrowheads="1"/>
          </p:cNvSpPr>
          <p:nvPr/>
        </p:nvSpPr>
        <p:spPr bwMode="auto">
          <a:xfrm>
            <a:off x="2884156" y="3527390"/>
            <a:ext cx="6096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800" b="1" dirty="0">
                <a:latin typeface="+mn-lt"/>
              </a:rPr>
              <a:t>S1-MME</a:t>
            </a:r>
          </a:p>
        </p:txBody>
      </p:sp>
      <p:sp>
        <p:nvSpPr>
          <p:cNvPr id="24" name="Oval 37">
            <a:extLst>
              <a:ext uri="{FF2B5EF4-FFF2-40B4-BE49-F238E27FC236}">
                <a16:creationId xmlns:a16="http://schemas.microsoft.com/office/drawing/2014/main" id="{AC5D5896-18BD-5147-A173-A203D1304864}"/>
              </a:ext>
            </a:extLst>
          </p:cNvPr>
          <p:cNvSpPr>
            <a:spLocks noChangeArrowheads="1"/>
          </p:cNvSpPr>
          <p:nvPr/>
        </p:nvSpPr>
        <p:spPr bwMode="auto">
          <a:xfrm>
            <a:off x="4712956" y="3679790"/>
            <a:ext cx="381000" cy="157163"/>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1000" b="1" dirty="0">
                <a:latin typeface="+mn-lt"/>
              </a:rPr>
              <a:t>S11</a:t>
            </a:r>
          </a:p>
        </p:txBody>
      </p:sp>
      <p:sp>
        <p:nvSpPr>
          <p:cNvPr id="25" name="Oval 38">
            <a:extLst>
              <a:ext uri="{FF2B5EF4-FFF2-40B4-BE49-F238E27FC236}">
                <a16:creationId xmlns:a16="http://schemas.microsoft.com/office/drawing/2014/main" id="{6F10A2DF-4B30-5E46-9328-60016EF4629E}"/>
              </a:ext>
            </a:extLst>
          </p:cNvPr>
          <p:cNvSpPr>
            <a:spLocks noChangeArrowheads="1"/>
          </p:cNvSpPr>
          <p:nvPr/>
        </p:nvSpPr>
        <p:spPr bwMode="auto">
          <a:xfrm>
            <a:off x="5074930" y="3027055"/>
            <a:ext cx="407988" cy="1524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1000" b="1" dirty="0">
                <a:latin typeface="+mn-lt"/>
              </a:rPr>
              <a:t>S6a</a:t>
            </a:r>
          </a:p>
        </p:txBody>
      </p:sp>
      <p:sp>
        <p:nvSpPr>
          <p:cNvPr id="26" name="Oval 39">
            <a:extLst>
              <a:ext uri="{FF2B5EF4-FFF2-40B4-BE49-F238E27FC236}">
                <a16:creationId xmlns:a16="http://schemas.microsoft.com/office/drawing/2014/main" id="{F09B123A-8A95-0A4A-ABDA-0F8D11055A23}"/>
              </a:ext>
            </a:extLst>
          </p:cNvPr>
          <p:cNvSpPr>
            <a:spLocks noChangeArrowheads="1"/>
          </p:cNvSpPr>
          <p:nvPr/>
        </p:nvSpPr>
        <p:spPr bwMode="auto">
          <a:xfrm>
            <a:off x="1268081" y="3932203"/>
            <a:ext cx="609600" cy="228600"/>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800" b="1" dirty="0">
                <a:latin typeface="+mn-lt"/>
              </a:rPr>
              <a:t>LTE-Uu</a:t>
            </a:r>
          </a:p>
        </p:txBody>
      </p:sp>
      <p:grpSp>
        <p:nvGrpSpPr>
          <p:cNvPr id="27" name="Group 18">
            <a:extLst>
              <a:ext uri="{FF2B5EF4-FFF2-40B4-BE49-F238E27FC236}">
                <a16:creationId xmlns:a16="http://schemas.microsoft.com/office/drawing/2014/main" id="{1962B861-BB95-4247-8368-ADB16841F301}"/>
              </a:ext>
            </a:extLst>
          </p:cNvPr>
          <p:cNvGrpSpPr>
            <a:grpSpLocks/>
          </p:cNvGrpSpPr>
          <p:nvPr/>
        </p:nvGrpSpPr>
        <p:grpSpPr bwMode="auto">
          <a:xfrm>
            <a:off x="7303756" y="3984590"/>
            <a:ext cx="1279525" cy="731838"/>
            <a:chOff x="4032" y="1329"/>
            <a:chExt cx="1142" cy="666"/>
          </a:xfrm>
        </p:grpSpPr>
        <p:pic>
          <p:nvPicPr>
            <p:cNvPr id="28" name="Picture 19" descr="cloud">
              <a:extLst>
                <a:ext uri="{FF2B5EF4-FFF2-40B4-BE49-F238E27FC236}">
                  <a16:creationId xmlns:a16="http://schemas.microsoft.com/office/drawing/2014/main" id="{783EFF9A-2470-0142-A403-6122B63D3BC9}"/>
                </a:ext>
              </a:extLst>
            </p:cNvPr>
            <p:cNvPicPr>
              <a:picLocks noChangeAspect="1" noChangeArrowheads="1"/>
            </p:cNvPicPr>
            <p:nvPr/>
          </p:nvPicPr>
          <p:blipFill>
            <a:blip r:embed="rId4" cstate="print"/>
            <a:srcRect/>
            <a:stretch>
              <a:fillRect/>
            </a:stretch>
          </p:blipFill>
          <p:spPr bwMode="auto">
            <a:xfrm>
              <a:off x="4032" y="1329"/>
              <a:ext cx="1142" cy="666"/>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29" name="Text Box 20">
              <a:extLst>
                <a:ext uri="{FF2B5EF4-FFF2-40B4-BE49-F238E27FC236}">
                  <a16:creationId xmlns:a16="http://schemas.microsoft.com/office/drawing/2014/main" id="{DF7D881D-53B4-2B4C-9565-EBE7E10C822F}"/>
                </a:ext>
              </a:extLst>
            </p:cNvPr>
            <p:cNvSpPr txBox="1">
              <a:spLocks noChangeArrowheads="1"/>
            </p:cNvSpPr>
            <p:nvPr/>
          </p:nvSpPr>
          <p:spPr bwMode="auto">
            <a:xfrm>
              <a:off x="4336" y="1528"/>
              <a:ext cx="576" cy="105"/>
            </a:xfrm>
            <a:prstGeom prst="rect">
              <a:avLst/>
            </a:prstGeom>
            <a:noFill/>
            <a:ln>
              <a:noFill/>
            </a:ln>
          </p:spPr>
          <p:style>
            <a:lnRef idx="0">
              <a:scrgbClr r="0" g="0" b="0"/>
            </a:lnRef>
            <a:fillRef idx="0">
              <a:scrgbClr r="0" g="0" b="0"/>
            </a:fillRef>
            <a:effectRef idx="0">
              <a:scrgbClr r="0" g="0" b="0"/>
            </a:effectRef>
            <a:fontRef idx="minor">
              <a:schemeClr val="accent1"/>
            </a:fontRef>
          </p:style>
          <p:txBody>
            <a:bodyPr lIns="59436" tIns="29718" rIns="59436" bIns="29718"/>
            <a:lstStyle/>
            <a:p>
              <a:pPr>
                <a:spcBef>
                  <a:spcPct val="50000"/>
                </a:spcBef>
              </a:pPr>
              <a:r>
                <a:rPr lang="en-US" altLang="ja-JP" sz="1200" b="1" dirty="0">
                  <a:solidFill>
                    <a:srgbClr val="007CC3"/>
                  </a:solidFill>
                  <a:latin typeface="+mn-lt"/>
                </a:rPr>
                <a:t>PDN</a:t>
              </a:r>
              <a:endParaRPr lang="en-US" sz="2800" b="1" dirty="0">
                <a:latin typeface="+mn-lt"/>
              </a:endParaRPr>
            </a:p>
          </p:txBody>
        </p:sp>
      </p:grpSp>
      <p:sp>
        <p:nvSpPr>
          <p:cNvPr id="30" name="Oval 44">
            <a:extLst>
              <a:ext uri="{FF2B5EF4-FFF2-40B4-BE49-F238E27FC236}">
                <a16:creationId xmlns:a16="http://schemas.microsoft.com/office/drawing/2014/main" id="{5F7C4CC7-0260-674C-9ACF-A7184D82B0B5}"/>
              </a:ext>
            </a:extLst>
          </p:cNvPr>
          <p:cNvSpPr>
            <a:spLocks noChangeArrowheads="1"/>
          </p:cNvSpPr>
          <p:nvPr/>
        </p:nvSpPr>
        <p:spPr bwMode="auto">
          <a:xfrm>
            <a:off x="7614929" y="3603590"/>
            <a:ext cx="304800" cy="1524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1000" b="1" dirty="0">
                <a:latin typeface="+mn-lt"/>
              </a:rPr>
              <a:t>Rx</a:t>
            </a:r>
          </a:p>
        </p:txBody>
      </p:sp>
      <p:sp>
        <p:nvSpPr>
          <p:cNvPr id="32" name="Text Box 104">
            <a:extLst>
              <a:ext uri="{FF2B5EF4-FFF2-40B4-BE49-F238E27FC236}">
                <a16:creationId xmlns:a16="http://schemas.microsoft.com/office/drawing/2014/main" id="{2772BD3B-48FB-5946-A8C3-31DB6D782A76}"/>
              </a:ext>
            </a:extLst>
          </p:cNvPr>
          <p:cNvSpPr txBox="1">
            <a:spLocks noChangeArrowheads="1"/>
          </p:cNvSpPr>
          <p:nvPr/>
        </p:nvSpPr>
        <p:spPr bwMode="auto">
          <a:xfrm>
            <a:off x="5322556" y="3602102"/>
            <a:ext cx="533400" cy="15388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0" tIns="0" rIns="0" bIns="0">
            <a:spAutoFit/>
          </a:bodyPr>
          <a:lstStyle/>
          <a:p>
            <a:pPr algn="l">
              <a:spcBef>
                <a:spcPct val="50000"/>
              </a:spcBef>
            </a:pPr>
            <a:r>
              <a:rPr lang="en-US" sz="1000" b="1" dirty="0">
                <a:solidFill>
                  <a:srgbClr val="000000"/>
                </a:solidFill>
                <a:latin typeface="+mn-lt"/>
              </a:rPr>
              <a:t>DNS</a:t>
            </a:r>
          </a:p>
        </p:txBody>
      </p:sp>
      <p:sp>
        <p:nvSpPr>
          <p:cNvPr id="33" name="Line 27">
            <a:extLst>
              <a:ext uri="{FF2B5EF4-FFF2-40B4-BE49-F238E27FC236}">
                <a16:creationId xmlns:a16="http://schemas.microsoft.com/office/drawing/2014/main" id="{8D222345-F4C8-0040-B394-8FD7986E644B}"/>
              </a:ext>
            </a:extLst>
          </p:cNvPr>
          <p:cNvSpPr>
            <a:spLocks noChangeShapeType="1"/>
          </p:cNvSpPr>
          <p:nvPr/>
        </p:nvSpPr>
        <p:spPr bwMode="auto">
          <a:xfrm>
            <a:off x="4865356" y="3444840"/>
            <a:ext cx="457200" cy="234950"/>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36" name="TextBox 35">
            <a:extLst>
              <a:ext uri="{FF2B5EF4-FFF2-40B4-BE49-F238E27FC236}">
                <a16:creationId xmlns:a16="http://schemas.microsoft.com/office/drawing/2014/main" id="{5AB71983-AECA-8E47-9309-254B26606DB7}"/>
              </a:ext>
            </a:extLst>
          </p:cNvPr>
          <p:cNvSpPr txBox="1"/>
          <p:nvPr/>
        </p:nvSpPr>
        <p:spPr>
          <a:xfrm>
            <a:off x="4295412" y="3984787"/>
            <a:ext cx="685800" cy="30777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SGW</a:t>
            </a:r>
          </a:p>
        </p:txBody>
      </p:sp>
      <p:sp>
        <p:nvSpPr>
          <p:cNvPr id="38" name="TextBox 37">
            <a:extLst>
              <a:ext uri="{FF2B5EF4-FFF2-40B4-BE49-F238E27FC236}">
                <a16:creationId xmlns:a16="http://schemas.microsoft.com/office/drawing/2014/main" id="{C0BC0455-0BAA-0F48-9C82-341824E5D4B1}"/>
              </a:ext>
            </a:extLst>
          </p:cNvPr>
          <p:cNvSpPr txBox="1"/>
          <p:nvPr/>
        </p:nvSpPr>
        <p:spPr>
          <a:xfrm>
            <a:off x="5997083" y="3989980"/>
            <a:ext cx="685800" cy="30777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PGW</a:t>
            </a:r>
          </a:p>
        </p:txBody>
      </p:sp>
      <p:sp>
        <p:nvSpPr>
          <p:cNvPr id="39" name="TextBox 38">
            <a:extLst>
              <a:ext uri="{FF2B5EF4-FFF2-40B4-BE49-F238E27FC236}">
                <a16:creationId xmlns:a16="http://schemas.microsoft.com/office/drawing/2014/main" id="{C4855C65-F7F7-4F41-BFFA-F4E145494C1E}"/>
              </a:ext>
            </a:extLst>
          </p:cNvPr>
          <p:cNvSpPr txBox="1"/>
          <p:nvPr/>
        </p:nvSpPr>
        <p:spPr>
          <a:xfrm>
            <a:off x="1887206" y="4465603"/>
            <a:ext cx="609600"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eNB</a:t>
            </a:r>
          </a:p>
        </p:txBody>
      </p:sp>
      <p:sp>
        <p:nvSpPr>
          <p:cNvPr id="40" name="TextBox 39">
            <a:extLst>
              <a:ext uri="{FF2B5EF4-FFF2-40B4-BE49-F238E27FC236}">
                <a16:creationId xmlns:a16="http://schemas.microsoft.com/office/drawing/2014/main" id="{51175E79-FFC2-094E-B92F-992999232B8C}"/>
              </a:ext>
            </a:extLst>
          </p:cNvPr>
          <p:cNvSpPr txBox="1"/>
          <p:nvPr/>
        </p:nvSpPr>
        <p:spPr>
          <a:xfrm>
            <a:off x="598156" y="4313203"/>
            <a:ext cx="457200"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UE</a:t>
            </a:r>
          </a:p>
        </p:txBody>
      </p:sp>
      <p:sp>
        <p:nvSpPr>
          <p:cNvPr id="42" name="TextBox 41">
            <a:extLst>
              <a:ext uri="{FF2B5EF4-FFF2-40B4-BE49-F238E27FC236}">
                <a16:creationId xmlns:a16="http://schemas.microsoft.com/office/drawing/2014/main" id="{FA378383-EA7C-FF43-B1F0-6A2B454CDEC2}"/>
              </a:ext>
            </a:extLst>
          </p:cNvPr>
          <p:cNvSpPr txBox="1"/>
          <p:nvPr/>
        </p:nvSpPr>
        <p:spPr>
          <a:xfrm>
            <a:off x="4255756" y="3170203"/>
            <a:ext cx="685800" cy="30777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MME</a:t>
            </a:r>
          </a:p>
        </p:txBody>
      </p:sp>
      <p:sp>
        <p:nvSpPr>
          <p:cNvPr id="48" name="TextBox 47">
            <a:extLst>
              <a:ext uri="{FF2B5EF4-FFF2-40B4-BE49-F238E27FC236}">
                <a16:creationId xmlns:a16="http://schemas.microsoft.com/office/drawing/2014/main" id="{2A638BF9-B348-EA45-988A-F930D6A73DA5}"/>
              </a:ext>
            </a:extLst>
          </p:cNvPr>
          <p:cNvSpPr txBox="1"/>
          <p:nvPr/>
        </p:nvSpPr>
        <p:spPr>
          <a:xfrm>
            <a:off x="1585849" y="1755566"/>
            <a:ext cx="685800"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BSC</a:t>
            </a:r>
          </a:p>
        </p:txBody>
      </p:sp>
      <p:sp>
        <p:nvSpPr>
          <p:cNvPr id="49" name="TextBox 48">
            <a:extLst>
              <a:ext uri="{FF2B5EF4-FFF2-40B4-BE49-F238E27FC236}">
                <a16:creationId xmlns:a16="http://schemas.microsoft.com/office/drawing/2014/main" id="{6BC0D775-2F77-2A49-9CA5-756AA2021013}"/>
              </a:ext>
            </a:extLst>
          </p:cNvPr>
          <p:cNvSpPr txBox="1"/>
          <p:nvPr/>
        </p:nvSpPr>
        <p:spPr>
          <a:xfrm>
            <a:off x="1581752" y="2663930"/>
            <a:ext cx="685800"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RNC</a:t>
            </a:r>
          </a:p>
        </p:txBody>
      </p:sp>
      <p:sp>
        <p:nvSpPr>
          <p:cNvPr id="50" name="TextBox 49">
            <a:extLst>
              <a:ext uri="{FF2B5EF4-FFF2-40B4-BE49-F238E27FC236}">
                <a16:creationId xmlns:a16="http://schemas.microsoft.com/office/drawing/2014/main" id="{04B14BE4-D959-C244-9E15-DDE8A8B4352B}"/>
              </a:ext>
            </a:extLst>
          </p:cNvPr>
          <p:cNvSpPr txBox="1"/>
          <p:nvPr/>
        </p:nvSpPr>
        <p:spPr>
          <a:xfrm>
            <a:off x="644071" y="3297301"/>
            <a:ext cx="487486"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NB</a:t>
            </a:r>
          </a:p>
        </p:txBody>
      </p:sp>
      <p:sp>
        <p:nvSpPr>
          <p:cNvPr id="51" name="TextBox 50">
            <a:extLst>
              <a:ext uri="{FF2B5EF4-FFF2-40B4-BE49-F238E27FC236}">
                <a16:creationId xmlns:a16="http://schemas.microsoft.com/office/drawing/2014/main" id="{2503BB6A-6D26-CF4F-A569-919C64273927}"/>
              </a:ext>
            </a:extLst>
          </p:cNvPr>
          <p:cNvSpPr txBox="1"/>
          <p:nvPr/>
        </p:nvSpPr>
        <p:spPr>
          <a:xfrm>
            <a:off x="583014" y="2094117"/>
            <a:ext cx="609600"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BTS</a:t>
            </a:r>
          </a:p>
        </p:txBody>
      </p:sp>
      <p:sp>
        <p:nvSpPr>
          <p:cNvPr id="54" name="TextBox 53">
            <a:extLst>
              <a:ext uri="{FF2B5EF4-FFF2-40B4-BE49-F238E27FC236}">
                <a16:creationId xmlns:a16="http://schemas.microsoft.com/office/drawing/2014/main" id="{966234AF-FC27-9F4E-BA1A-CBD59EAF301F}"/>
              </a:ext>
            </a:extLst>
          </p:cNvPr>
          <p:cNvSpPr txBox="1"/>
          <p:nvPr/>
        </p:nvSpPr>
        <p:spPr>
          <a:xfrm>
            <a:off x="3305486" y="1584073"/>
            <a:ext cx="1046372"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MSC/VLR</a:t>
            </a:r>
          </a:p>
        </p:txBody>
      </p:sp>
      <p:sp>
        <p:nvSpPr>
          <p:cNvPr id="55" name="TextBox 54">
            <a:extLst>
              <a:ext uri="{FF2B5EF4-FFF2-40B4-BE49-F238E27FC236}">
                <a16:creationId xmlns:a16="http://schemas.microsoft.com/office/drawing/2014/main" id="{5509D133-A775-EC4E-A519-D22E0AEB22CD}"/>
              </a:ext>
            </a:extLst>
          </p:cNvPr>
          <p:cNvSpPr txBox="1"/>
          <p:nvPr/>
        </p:nvSpPr>
        <p:spPr>
          <a:xfrm>
            <a:off x="5055856" y="1599343"/>
            <a:ext cx="719138"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GMSC</a:t>
            </a:r>
          </a:p>
        </p:txBody>
      </p:sp>
      <p:sp>
        <p:nvSpPr>
          <p:cNvPr id="58" name="TextBox 57">
            <a:extLst>
              <a:ext uri="{FF2B5EF4-FFF2-40B4-BE49-F238E27FC236}">
                <a16:creationId xmlns:a16="http://schemas.microsoft.com/office/drawing/2014/main" id="{71D52C6A-AF39-D047-ABF8-8DD941599547}"/>
              </a:ext>
            </a:extLst>
          </p:cNvPr>
          <p:cNvSpPr txBox="1"/>
          <p:nvPr/>
        </p:nvSpPr>
        <p:spPr>
          <a:xfrm>
            <a:off x="3450440" y="2143303"/>
            <a:ext cx="762000" cy="30777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SGSN</a:t>
            </a:r>
          </a:p>
        </p:txBody>
      </p:sp>
      <p:sp>
        <p:nvSpPr>
          <p:cNvPr id="59" name="TextBox 58">
            <a:extLst>
              <a:ext uri="{FF2B5EF4-FFF2-40B4-BE49-F238E27FC236}">
                <a16:creationId xmlns:a16="http://schemas.microsoft.com/office/drawing/2014/main" id="{7DF783D0-BED5-164E-AB5A-A21F9878852E}"/>
              </a:ext>
            </a:extLst>
          </p:cNvPr>
          <p:cNvSpPr txBox="1"/>
          <p:nvPr/>
        </p:nvSpPr>
        <p:spPr>
          <a:xfrm>
            <a:off x="4991124" y="2098189"/>
            <a:ext cx="719138" cy="30777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GGSN</a:t>
            </a:r>
          </a:p>
        </p:txBody>
      </p:sp>
      <p:sp>
        <p:nvSpPr>
          <p:cNvPr id="63" name="TextBox 62">
            <a:extLst>
              <a:ext uri="{FF2B5EF4-FFF2-40B4-BE49-F238E27FC236}">
                <a16:creationId xmlns:a16="http://schemas.microsoft.com/office/drawing/2014/main" id="{DC7AB08C-CCB7-E645-883E-7BC22D2E4C52}"/>
              </a:ext>
            </a:extLst>
          </p:cNvPr>
          <p:cNvSpPr txBox="1"/>
          <p:nvPr/>
        </p:nvSpPr>
        <p:spPr>
          <a:xfrm>
            <a:off x="8184455" y="1629593"/>
            <a:ext cx="719138"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MGW</a:t>
            </a:r>
          </a:p>
        </p:txBody>
      </p:sp>
      <p:sp>
        <p:nvSpPr>
          <p:cNvPr id="66" name="TextBox 65">
            <a:extLst>
              <a:ext uri="{FF2B5EF4-FFF2-40B4-BE49-F238E27FC236}">
                <a16:creationId xmlns:a16="http://schemas.microsoft.com/office/drawing/2014/main" id="{3460AE27-AA0F-A14F-B0AC-3DDC9CEC838F}"/>
              </a:ext>
            </a:extLst>
          </p:cNvPr>
          <p:cNvSpPr txBox="1"/>
          <p:nvPr/>
        </p:nvSpPr>
        <p:spPr>
          <a:xfrm>
            <a:off x="6600672" y="2289525"/>
            <a:ext cx="762000"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MGCP</a:t>
            </a:r>
          </a:p>
        </p:txBody>
      </p:sp>
      <p:sp>
        <p:nvSpPr>
          <p:cNvPr id="67" name="TextBox 66">
            <a:extLst>
              <a:ext uri="{FF2B5EF4-FFF2-40B4-BE49-F238E27FC236}">
                <a16:creationId xmlns:a16="http://schemas.microsoft.com/office/drawing/2014/main" id="{14C4717A-985E-1940-A136-DDED1AFBF45D}"/>
              </a:ext>
            </a:extLst>
          </p:cNvPr>
          <p:cNvSpPr txBox="1"/>
          <p:nvPr/>
        </p:nvSpPr>
        <p:spPr>
          <a:xfrm>
            <a:off x="7881728" y="2282328"/>
            <a:ext cx="1249338"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I/P/S-CSCF</a:t>
            </a:r>
          </a:p>
        </p:txBody>
      </p:sp>
      <p:sp>
        <p:nvSpPr>
          <p:cNvPr id="69" name="Line 13">
            <a:extLst>
              <a:ext uri="{FF2B5EF4-FFF2-40B4-BE49-F238E27FC236}">
                <a16:creationId xmlns:a16="http://schemas.microsoft.com/office/drawing/2014/main" id="{B19A2276-D503-3345-9A93-275C8FED8161}"/>
              </a:ext>
            </a:extLst>
          </p:cNvPr>
          <p:cNvSpPr>
            <a:spLocks noChangeShapeType="1"/>
          </p:cNvSpPr>
          <p:nvPr/>
        </p:nvSpPr>
        <p:spPr bwMode="auto">
          <a:xfrm flipV="1">
            <a:off x="913295" y="2892623"/>
            <a:ext cx="667288" cy="147020"/>
          </a:xfrm>
          <a:prstGeom prst="line">
            <a:avLst/>
          </a:prstGeom>
          <a:ln>
            <a:headEnd/>
            <a:tailEnd/>
          </a:ln>
        </p:spPr>
        <p:style>
          <a:lnRef idx="1">
            <a:schemeClr val="accent5"/>
          </a:lnRef>
          <a:fillRef idx="0">
            <a:schemeClr val="accent5"/>
          </a:fillRef>
          <a:effectRef idx="0">
            <a:schemeClr val="accent5"/>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70" name="Line 13">
            <a:extLst>
              <a:ext uri="{FF2B5EF4-FFF2-40B4-BE49-F238E27FC236}">
                <a16:creationId xmlns:a16="http://schemas.microsoft.com/office/drawing/2014/main" id="{A7EC9D78-0D64-EB44-8910-1B4953FE488E}"/>
              </a:ext>
            </a:extLst>
          </p:cNvPr>
          <p:cNvSpPr>
            <a:spLocks noChangeShapeType="1"/>
          </p:cNvSpPr>
          <p:nvPr/>
        </p:nvSpPr>
        <p:spPr bwMode="auto">
          <a:xfrm flipV="1">
            <a:off x="2288592" y="2235913"/>
            <a:ext cx="1143000" cy="477090"/>
          </a:xfrm>
          <a:prstGeom prst="line">
            <a:avLst/>
          </a:prstGeom>
          <a:ln>
            <a:headEnd/>
            <a:tailEnd/>
          </a:ln>
        </p:spPr>
        <p:style>
          <a:lnRef idx="1">
            <a:schemeClr val="accent5"/>
          </a:lnRef>
          <a:fillRef idx="0">
            <a:schemeClr val="accent5"/>
          </a:fillRef>
          <a:effectRef idx="0">
            <a:schemeClr val="accent5"/>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72" name="Line 13">
            <a:extLst>
              <a:ext uri="{FF2B5EF4-FFF2-40B4-BE49-F238E27FC236}">
                <a16:creationId xmlns:a16="http://schemas.microsoft.com/office/drawing/2014/main" id="{9FACFDFD-C9FD-D340-BC5C-09CC59FA033C}"/>
              </a:ext>
            </a:extLst>
          </p:cNvPr>
          <p:cNvSpPr>
            <a:spLocks noChangeShapeType="1"/>
          </p:cNvSpPr>
          <p:nvPr/>
        </p:nvSpPr>
        <p:spPr bwMode="auto">
          <a:xfrm flipH="1" flipV="1">
            <a:off x="4234070" y="2435808"/>
            <a:ext cx="1328604" cy="357507"/>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73" name="Line 13">
            <a:extLst>
              <a:ext uri="{FF2B5EF4-FFF2-40B4-BE49-F238E27FC236}">
                <a16:creationId xmlns:a16="http://schemas.microsoft.com/office/drawing/2014/main" id="{5E6397C5-79A1-DC42-A625-29CF141B63E1}"/>
              </a:ext>
            </a:extLst>
          </p:cNvPr>
          <p:cNvSpPr>
            <a:spLocks noChangeShapeType="1"/>
          </p:cNvSpPr>
          <p:nvPr/>
        </p:nvSpPr>
        <p:spPr bwMode="auto">
          <a:xfrm flipV="1">
            <a:off x="8303878" y="2580300"/>
            <a:ext cx="326551" cy="1507477"/>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74" name="Line 13">
            <a:extLst>
              <a:ext uri="{FF2B5EF4-FFF2-40B4-BE49-F238E27FC236}">
                <a16:creationId xmlns:a16="http://schemas.microsoft.com/office/drawing/2014/main" id="{11A98A16-4DBF-E545-8EAD-584B81961E14}"/>
              </a:ext>
            </a:extLst>
          </p:cNvPr>
          <p:cNvSpPr>
            <a:spLocks noChangeShapeType="1"/>
          </p:cNvSpPr>
          <p:nvPr/>
        </p:nvSpPr>
        <p:spPr bwMode="auto">
          <a:xfrm flipV="1">
            <a:off x="7320025" y="1772169"/>
            <a:ext cx="811319" cy="553989"/>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75" name="Line 13">
            <a:extLst>
              <a:ext uri="{FF2B5EF4-FFF2-40B4-BE49-F238E27FC236}">
                <a16:creationId xmlns:a16="http://schemas.microsoft.com/office/drawing/2014/main" id="{A2F1BB3F-86F6-974A-8766-63D7C52C2752}"/>
              </a:ext>
            </a:extLst>
          </p:cNvPr>
          <p:cNvSpPr>
            <a:spLocks noChangeShapeType="1"/>
          </p:cNvSpPr>
          <p:nvPr/>
        </p:nvSpPr>
        <p:spPr bwMode="auto">
          <a:xfrm flipV="1">
            <a:off x="8544712" y="1907118"/>
            <a:ext cx="0" cy="338291"/>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grpSp>
        <p:nvGrpSpPr>
          <p:cNvPr id="76" name="Group 18">
            <a:extLst>
              <a:ext uri="{FF2B5EF4-FFF2-40B4-BE49-F238E27FC236}">
                <a16:creationId xmlns:a16="http://schemas.microsoft.com/office/drawing/2014/main" id="{0F69D860-727B-4640-A2D7-2824CE4F2FDC}"/>
              </a:ext>
            </a:extLst>
          </p:cNvPr>
          <p:cNvGrpSpPr>
            <a:grpSpLocks/>
          </p:cNvGrpSpPr>
          <p:nvPr/>
        </p:nvGrpSpPr>
        <p:grpSpPr bwMode="auto">
          <a:xfrm>
            <a:off x="6040500" y="1249363"/>
            <a:ext cx="1279525" cy="731838"/>
            <a:chOff x="4032" y="1329"/>
            <a:chExt cx="1142" cy="666"/>
          </a:xfrm>
        </p:grpSpPr>
        <p:pic>
          <p:nvPicPr>
            <p:cNvPr id="77" name="Picture 19" descr="cloud">
              <a:extLst>
                <a:ext uri="{FF2B5EF4-FFF2-40B4-BE49-F238E27FC236}">
                  <a16:creationId xmlns:a16="http://schemas.microsoft.com/office/drawing/2014/main" id="{6BC71FE1-4141-3345-8BEB-AE362CF186F4}"/>
                </a:ext>
              </a:extLst>
            </p:cNvPr>
            <p:cNvPicPr>
              <a:picLocks noChangeAspect="1" noChangeArrowheads="1"/>
            </p:cNvPicPr>
            <p:nvPr/>
          </p:nvPicPr>
          <p:blipFill>
            <a:blip r:embed="rId4" cstate="print"/>
            <a:srcRect/>
            <a:stretch>
              <a:fillRect/>
            </a:stretch>
          </p:blipFill>
          <p:spPr bwMode="auto">
            <a:xfrm>
              <a:off x="4032" y="1329"/>
              <a:ext cx="1142" cy="666"/>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8" name="Text Box 20">
              <a:extLst>
                <a:ext uri="{FF2B5EF4-FFF2-40B4-BE49-F238E27FC236}">
                  <a16:creationId xmlns:a16="http://schemas.microsoft.com/office/drawing/2014/main" id="{2825624D-1A1B-DC4D-B0B6-59E0FDB19A73}"/>
                </a:ext>
              </a:extLst>
            </p:cNvPr>
            <p:cNvSpPr txBox="1">
              <a:spLocks noChangeArrowheads="1"/>
            </p:cNvSpPr>
            <p:nvPr/>
          </p:nvSpPr>
          <p:spPr bwMode="auto">
            <a:xfrm>
              <a:off x="4336" y="1528"/>
              <a:ext cx="576" cy="105"/>
            </a:xfrm>
            <a:prstGeom prst="rect">
              <a:avLst/>
            </a:prstGeom>
            <a:noFill/>
            <a:ln>
              <a:noFill/>
            </a:ln>
          </p:spPr>
          <p:style>
            <a:lnRef idx="0">
              <a:scrgbClr r="0" g="0" b="0"/>
            </a:lnRef>
            <a:fillRef idx="0">
              <a:scrgbClr r="0" g="0" b="0"/>
            </a:fillRef>
            <a:effectRef idx="0">
              <a:scrgbClr r="0" g="0" b="0"/>
            </a:effectRef>
            <a:fontRef idx="minor">
              <a:schemeClr val="accent1"/>
            </a:fontRef>
          </p:style>
          <p:txBody>
            <a:bodyPr lIns="59436" tIns="29718" rIns="59436" bIns="29718"/>
            <a:lstStyle/>
            <a:p>
              <a:pPr>
                <a:spcBef>
                  <a:spcPct val="50000"/>
                </a:spcBef>
              </a:pPr>
              <a:r>
                <a:rPr lang="en-US" altLang="ja-JP" sz="1200" b="1" dirty="0">
                  <a:solidFill>
                    <a:srgbClr val="007CC3"/>
                  </a:solidFill>
                  <a:latin typeface="+mn-lt"/>
                </a:rPr>
                <a:t>PST</a:t>
              </a:r>
              <a:endParaRPr lang="en-US" sz="2800" b="1" dirty="0">
                <a:latin typeface="+mn-lt"/>
              </a:endParaRPr>
            </a:p>
          </p:txBody>
        </p:sp>
      </p:grpSp>
      <p:sp>
        <p:nvSpPr>
          <p:cNvPr id="80" name="Line 13">
            <a:extLst>
              <a:ext uri="{FF2B5EF4-FFF2-40B4-BE49-F238E27FC236}">
                <a16:creationId xmlns:a16="http://schemas.microsoft.com/office/drawing/2014/main" id="{AC68BCCF-2962-5D42-AF91-0C2FDB6AA343}"/>
              </a:ext>
            </a:extLst>
          </p:cNvPr>
          <p:cNvSpPr>
            <a:spLocks noChangeShapeType="1"/>
          </p:cNvSpPr>
          <p:nvPr/>
        </p:nvSpPr>
        <p:spPr bwMode="auto">
          <a:xfrm flipH="1" flipV="1">
            <a:off x="6703790" y="1878306"/>
            <a:ext cx="136099" cy="387785"/>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84" name="Oval 83">
            <a:extLst>
              <a:ext uri="{FF2B5EF4-FFF2-40B4-BE49-F238E27FC236}">
                <a16:creationId xmlns:a16="http://schemas.microsoft.com/office/drawing/2014/main" id="{8449DB99-9AD9-2A4C-91D2-ECB4CB3371FB}"/>
              </a:ext>
            </a:extLst>
          </p:cNvPr>
          <p:cNvSpPr/>
          <p:nvPr/>
        </p:nvSpPr>
        <p:spPr>
          <a:xfrm>
            <a:off x="7098292" y="3266198"/>
            <a:ext cx="135983" cy="153888"/>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87" name="Oval 35">
            <a:extLst>
              <a:ext uri="{FF2B5EF4-FFF2-40B4-BE49-F238E27FC236}">
                <a16:creationId xmlns:a16="http://schemas.microsoft.com/office/drawing/2014/main" id="{2343E04B-ADCE-D242-A15C-5639E7D8CAC8}"/>
              </a:ext>
            </a:extLst>
          </p:cNvPr>
          <p:cNvSpPr>
            <a:spLocks noChangeArrowheads="1"/>
          </p:cNvSpPr>
          <p:nvPr/>
        </p:nvSpPr>
        <p:spPr bwMode="auto">
          <a:xfrm>
            <a:off x="2584146" y="2397170"/>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b="1" dirty="0">
                <a:latin typeface="+mn-lt"/>
              </a:rPr>
              <a:t>Iu</a:t>
            </a:r>
          </a:p>
        </p:txBody>
      </p:sp>
      <p:sp>
        <p:nvSpPr>
          <p:cNvPr id="88" name="Line 13">
            <a:extLst>
              <a:ext uri="{FF2B5EF4-FFF2-40B4-BE49-F238E27FC236}">
                <a16:creationId xmlns:a16="http://schemas.microsoft.com/office/drawing/2014/main" id="{300F58B0-2831-2D45-9F4D-86B1BA1BDBBC}"/>
              </a:ext>
            </a:extLst>
          </p:cNvPr>
          <p:cNvSpPr>
            <a:spLocks noChangeShapeType="1"/>
          </p:cNvSpPr>
          <p:nvPr/>
        </p:nvSpPr>
        <p:spPr bwMode="auto">
          <a:xfrm flipV="1">
            <a:off x="4210008" y="2245410"/>
            <a:ext cx="761999" cy="12580"/>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89" name="Oval 35">
            <a:extLst>
              <a:ext uri="{FF2B5EF4-FFF2-40B4-BE49-F238E27FC236}">
                <a16:creationId xmlns:a16="http://schemas.microsoft.com/office/drawing/2014/main" id="{4019F5F9-241C-7F4C-B4D6-484A78381D44}"/>
              </a:ext>
            </a:extLst>
          </p:cNvPr>
          <p:cNvSpPr>
            <a:spLocks noChangeArrowheads="1"/>
          </p:cNvSpPr>
          <p:nvPr/>
        </p:nvSpPr>
        <p:spPr bwMode="auto">
          <a:xfrm>
            <a:off x="4454494" y="2130237"/>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dirty="0">
                <a:latin typeface="+mn-lt"/>
              </a:rPr>
              <a:t>Gn</a:t>
            </a:r>
          </a:p>
        </p:txBody>
      </p:sp>
      <p:sp>
        <p:nvSpPr>
          <p:cNvPr id="90" name="Line 13">
            <a:extLst>
              <a:ext uri="{FF2B5EF4-FFF2-40B4-BE49-F238E27FC236}">
                <a16:creationId xmlns:a16="http://schemas.microsoft.com/office/drawing/2014/main" id="{A7A61756-E0F7-1249-9FBB-15919617A4A0}"/>
              </a:ext>
            </a:extLst>
          </p:cNvPr>
          <p:cNvSpPr>
            <a:spLocks noChangeShapeType="1"/>
          </p:cNvSpPr>
          <p:nvPr/>
        </p:nvSpPr>
        <p:spPr bwMode="auto">
          <a:xfrm flipH="1" flipV="1">
            <a:off x="5717868" y="2245409"/>
            <a:ext cx="1776387" cy="1909903"/>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91" name="Oval 35">
            <a:extLst>
              <a:ext uri="{FF2B5EF4-FFF2-40B4-BE49-F238E27FC236}">
                <a16:creationId xmlns:a16="http://schemas.microsoft.com/office/drawing/2014/main" id="{DACFECCE-6669-5440-A293-31D9EFA418A9}"/>
              </a:ext>
            </a:extLst>
          </p:cNvPr>
          <p:cNvSpPr>
            <a:spLocks noChangeArrowheads="1"/>
          </p:cNvSpPr>
          <p:nvPr/>
        </p:nvSpPr>
        <p:spPr bwMode="auto">
          <a:xfrm>
            <a:off x="5777141" y="2274889"/>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b="1" dirty="0">
                <a:latin typeface="+mn-lt"/>
              </a:rPr>
              <a:t>Gi</a:t>
            </a:r>
          </a:p>
        </p:txBody>
      </p:sp>
      <p:sp>
        <p:nvSpPr>
          <p:cNvPr id="92" name="Line 13">
            <a:extLst>
              <a:ext uri="{FF2B5EF4-FFF2-40B4-BE49-F238E27FC236}">
                <a16:creationId xmlns:a16="http://schemas.microsoft.com/office/drawing/2014/main" id="{E28A2A48-C4C2-4947-BA0A-6CA2391EC153}"/>
              </a:ext>
            </a:extLst>
          </p:cNvPr>
          <p:cNvSpPr>
            <a:spLocks noChangeShapeType="1"/>
          </p:cNvSpPr>
          <p:nvPr/>
        </p:nvSpPr>
        <p:spPr bwMode="auto">
          <a:xfrm flipV="1">
            <a:off x="2308768" y="1753349"/>
            <a:ext cx="967631" cy="942190"/>
          </a:xfrm>
          <a:prstGeom prst="line">
            <a:avLst/>
          </a:prstGeom>
          <a:ln>
            <a:headEnd/>
            <a:tailEnd/>
          </a:ln>
        </p:spPr>
        <p:style>
          <a:lnRef idx="1">
            <a:schemeClr val="accent5"/>
          </a:lnRef>
          <a:fillRef idx="0">
            <a:schemeClr val="accent5"/>
          </a:fillRef>
          <a:effectRef idx="0">
            <a:schemeClr val="accent5"/>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93" name="Oval 35">
            <a:extLst>
              <a:ext uri="{FF2B5EF4-FFF2-40B4-BE49-F238E27FC236}">
                <a16:creationId xmlns:a16="http://schemas.microsoft.com/office/drawing/2014/main" id="{EE422475-9C91-C248-B292-BDAB03F79858}"/>
              </a:ext>
            </a:extLst>
          </p:cNvPr>
          <p:cNvSpPr>
            <a:spLocks noChangeArrowheads="1"/>
          </p:cNvSpPr>
          <p:nvPr/>
        </p:nvSpPr>
        <p:spPr bwMode="auto">
          <a:xfrm>
            <a:off x="2446525" y="2130237"/>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b="1" dirty="0">
                <a:latin typeface="+mn-lt"/>
              </a:rPr>
              <a:t>Iu</a:t>
            </a:r>
          </a:p>
        </p:txBody>
      </p:sp>
      <p:sp>
        <p:nvSpPr>
          <p:cNvPr id="94" name="Oval 35">
            <a:extLst>
              <a:ext uri="{FF2B5EF4-FFF2-40B4-BE49-F238E27FC236}">
                <a16:creationId xmlns:a16="http://schemas.microsoft.com/office/drawing/2014/main" id="{51F6C7FC-D69A-3B46-9BDA-55E93FEFE616}"/>
              </a:ext>
            </a:extLst>
          </p:cNvPr>
          <p:cNvSpPr>
            <a:spLocks noChangeArrowheads="1"/>
          </p:cNvSpPr>
          <p:nvPr/>
        </p:nvSpPr>
        <p:spPr bwMode="auto">
          <a:xfrm>
            <a:off x="1070631" y="2817819"/>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b="1" dirty="0">
                <a:latin typeface="+mn-lt"/>
              </a:rPr>
              <a:t>Iub</a:t>
            </a:r>
          </a:p>
        </p:txBody>
      </p:sp>
      <p:sp>
        <p:nvSpPr>
          <p:cNvPr id="95" name="Oval 35">
            <a:extLst>
              <a:ext uri="{FF2B5EF4-FFF2-40B4-BE49-F238E27FC236}">
                <a16:creationId xmlns:a16="http://schemas.microsoft.com/office/drawing/2014/main" id="{8B9078C3-D107-9A4A-AD71-78FFF2F184D9}"/>
              </a:ext>
            </a:extLst>
          </p:cNvPr>
          <p:cNvSpPr>
            <a:spLocks noChangeArrowheads="1"/>
          </p:cNvSpPr>
          <p:nvPr/>
        </p:nvSpPr>
        <p:spPr bwMode="auto">
          <a:xfrm>
            <a:off x="4488598" y="2401036"/>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b="1" dirty="0">
                <a:latin typeface="+mn-lt"/>
              </a:rPr>
              <a:t>Gr</a:t>
            </a:r>
          </a:p>
        </p:txBody>
      </p:sp>
      <p:sp>
        <p:nvSpPr>
          <p:cNvPr id="96" name="Line 13">
            <a:extLst>
              <a:ext uri="{FF2B5EF4-FFF2-40B4-BE49-F238E27FC236}">
                <a16:creationId xmlns:a16="http://schemas.microsoft.com/office/drawing/2014/main" id="{A97255D6-DCC1-FB4B-93DD-F7BE1978D22D}"/>
              </a:ext>
            </a:extLst>
          </p:cNvPr>
          <p:cNvSpPr>
            <a:spLocks noChangeShapeType="1"/>
          </p:cNvSpPr>
          <p:nvPr/>
        </p:nvSpPr>
        <p:spPr bwMode="auto">
          <a:xfrm flipH="1" flipV="1">
            <a:off x="2260297" y="1753349"/>
            <a:ext cx="1152748" cy="478911"/>
          </a:xfrm>
          <a:prstGeom prst="line">
            <a:avLst/>
          </a:prstGeom>
          <a:ln>
            <a:headEnd/>
            <a:tailEnd/>
          </a:ln>
        </p:spPr>
        <p:style>
          <a:lnRef idx="1">
            <a:schemeClr val="accent5"/>
          </a:lnRef>
          <a:fillRef idx="0">
            <a:schemeClr val="accent5"/>
          </a:fillRef>
          <a:effectRef idx="0">
            <a:schemeClr val="accent5"/>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97" name="Oval 35">
            <a:extLst>
              <a:ext uri="{FF2B5EF4-FFF2-40B4-BE49-F238E27FC236}">
                <a16:creationId xmlns:a16="http://schemas.microsoft.com/office/drawing/2014/main" id="{7E826419-5CC3-B24E-A151-C6AABAC4F470}"/>
              </a:ext>
            </a:extLst>
          </p:cNvPr>
          <p:cNvSpPr>
            <a:spLocks noChangeArrowheads="1"/>
          </p:cNvSpPr>
          <p:nvPr/>
        </p:nvSpPr>
        <p:spPr bwMode="auto">
          <a:xfrm>
            <a:off x="2949928" y="2047994"/>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b="1" dirty="0">
                <a:latin typeface="+mn-lt"/>
              </a:rPr>
              <a:t>Gb</a:t>
            </a:r>
          </a:p>
        </p:txBody>
      </p:sp>
      <p:sp>
        <p:nvSpPr>
          <p:cNvPr id="98" name="Oval 35">
            <a:extLst>
              <a:ext uri="{FF2B5EF4-FFF2-40B4-BE49-F238E27FC236}">
                <a16:creationId xmlns:a16="http://schemas.microsoft.com/office/drawing/2014/main" id="{110B4942-E730-FA4A-B1C0-2DA5863FBE14}"/>
              </a:ext>
            </a:extLst>
          </p:cNvPr>
          <p:cNvSpPr>
            <a:spLocks noChangeArrowheads="1"/>
          </p:cNvSpPr>
          <p:nvPr/>
        </p:nvSpPr>
        <p:spPr bwMode="auto">
          <a:xfrm>
            <a:off x="2564752" y="1663250"/>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b="1" dirty="0">
                <a:latin typeface="+mn-lt"/>
              </a:rPr>
              <a:t>A</a:t>
            </a:r>
          </a:p>
        </p:txBody>
      </p:sp>
      <p:sp>
        <p:nvSpPr>
          <p:cNvPr id="99" name="Oval 35">
            <a:extLst>
              <a:ext uri="{FF2B5EF4-FFF2-40B4-BE49-F238E27FC236}">
                <a16:creationId xmlns:a16="http://schemas.microsoft.com/office/drawing/2014/main" id="{B6351755-1B10-5A47-8449-4FFA6A01C859}"/>
              </a:ext>
            </a:extLst>
          </p:cNvPr>
          <p:cNvSpPr>
            <a:spLocks noChangeArrowheads="1"/>
          </p:cNvSpPr>
          <p:nvPr/>
        </p:nvSpPr>
        <p:spPr bwMode="auto">
          <a:xfrm>
            <a:off x="1058125" y="1657110"/>
            <a:ext cx="381000" cy="2286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none" lIns="0" rIns="0" anchor="ctr"/>
          <a:lstStyle/>
          <a:p>
            <a:pPr algn="ctr">
              <a:spcBef>
                <a:spcPct val="50000"/>
              </a:spcBef>
            </a:pPr>
            <a:r>
              <a:rPr lang="en-US" sz="900" b="1" dirty="0">
                <a:latin typeface="+mn-lt"/>
              </a:rPr>
              <a:t>Abis</a:t>
            </a:r>
          </a:p>
        </p:txBody>
      </p:sp>
      <p:sp>
        <p:nvSpPr>
          <p:cNvPr id="100" name="Line 13">
            <a:extLst>
              <a:ext uri="{FF2B5EF4-FFF2-40B4-BE49-F238E27FC236}">
                <a16:creationId xmlns:a16="http://schemas.microsoft.com/office/drawing/2014/main" id="{6D37090C-7C8A-419B-A73C-53569D9ADB63}"/>
              </a:ext>
            </a:extLst>
          </p:cNvPr>
          <p:cNvSpPr>
            <a:spLocks noChangeShapeType="1"/>
          </p:cNvSpPr>
          <p:nvPr/>
        </p:nvSpPr>
        <p:spPr bwMode="auto">
          <a:xfrm flipV="1">
            <a:off x="5777141" y="2447052"/>
            <a:ext cx="1143000" cy="477090"/>
          </a:xfrm>
          <a:prstGeom prst="line">
            <a:avLst/>
          </a:prstGeom>
          <a:ln>
            <a:headEnd/>
            <a:tailEnd/>
          </a:ln>
        </p:spPr>
        <p:style>
          <a:lnRef idx="1">
            <a:schemeClr val="accent1"/>
          </a:lnRef>
          <a:fillRef idx="0">
            <a:schemeClr val="accent1"/>
          </a:fillRef>
          <a:effectRef idx="0">
            <a:schemeClr val="accent1"/>
          </a:effectRef>
          <a:fontRef idx="minor">
            <a:schemeClr val="tx1"/>
          </a:fontRef>
        </p:style>
        <p:txBody>
          <a:bodyPr/>
          <a:lstStyle/>
          <a:p>
            <a:pPr algn="l">
              <a:spcBef>
                <a:spcPct val="50000"/>
              </a:spcBef>
              <a:defRPr/>
            </a:pPr>
            <a:endParaRPr lang="en-US" sz="1800" b="1" dirty="0">
              <a:latin typeface="+mn-lt"/>
              <a:ea typeface="ＭＳ Ｐゴシック" pitchFamily="34" charset="-128"/>
            </a:endParaRPr>
          </a:p>
        </p:txBody>
      </p:sp>
      <p:sp>
        <p:nvSpPr>
          <p:cNvPr id="7" name="TextBox 6">
            <a:extLst>
              <a:ext uri="{FF2B5EF4-FFF2-40B4-BE49-F238E27FC236}">
                <a16:creationId xmlns:a16="http://schemas.microsoft.com/office/drawing/2014/main" id="{44A63916-D0BD-6F4A-B386-7C85C3A46395}"/>
              </a:ext>
            </a:extLst>
          </p:cNvPr>
          <p:cNvSpPr txBox="1"/>
          <p:nvPr/>
        </p:nvSpPr>
        <p:spPr>
          <a:xfrm>
            <a:off x="5571794" y="2719278"/>
            <a:ext cx="609600" cy="30777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400" b="1" dirty="0">
                <a:solidFill>
                  <a:srgbClr val="000000"/>
                </a:solidFill>
                <a:latin typeface="+mn-lt"/>
              </a:rPr>
              <a:t>HSS</a:t>
            </a:r>
          </a:p>
        </p:txBody>
      </p:sp>
    </p:spTree>
    <p:extLst>
      <p:ext uri="{BB962C8B-B14F-4D97-AF65-F5344CB8AC3E}">
        <p14:creationId xmlns:p14="http://schemas.microsoft.com/office/powerpoint/2010/main" val="185775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659A37-3DC0-6645-8866-91775FF83E33}"/>
              </a:ext>
            </a:extLst>
          </p:cNvPr>
          <p:cNvSpPr>
            <a:spLocks noGrp="1"/>
          </p:cNvSpPr>
          <p:nvPr>
            <p:ph type="body" sz="quarter" idx="10"/>
          </p:nvPr>
        </p:nvSpPr>
        <p:spPr/>
        <p:txBody>
          <a:bodyPr/>
          <a:lstStyle/>
          <a:p>
            <a:r>
              <a:rPr lang="en-US" dirty="0"/>
              <a:t>Core networks is architected with 4G in mind (roaming); however, legacy (2G, 3G) can be supported at no additional licensing costs</a:t>
            </a:r>
          </a:p>
          <a:p>
            <a:r>
              <a:rPr lang="en-US" dirty="0"/>
              <a:t>Fully virtualised and IP Only</a:t>
            </a:r>
          </a:p>
          <a:p>
            <a:r>
              <a:rPr lang="en-US" dirty="0"/>
              <a:t>Technology decisions/inputs based on Vodacom SA (assumption is that Vodacom SA is end-customer)</a:t>
            </a:r>
          </a:p>
          <a:p>
            <a:r>
              <a:rPr lang="en-US" dirty="0"/>
              <a:t>Telco over Cloud using </a:t>
            </a:r>
            <a:r>
              <a:rPr lang="en-US" dirty="0" err="1"/>
              <a:t>Redhat</a:t>
            </a:r>
            <a:r>
              <a:rPr lang="en-US" dirty="0"/>
              <a:t> OpenStack</a:t>
            </a:r>
          </a:p>
          <a:p>
            <a:r>
              <a:rPr lang="en-US" dirty="0"/>
              <a:t>Tonnage (GB) cannot be used for network sizing. Using sliding scale of 20kbps/sub from year 1 onwards. Vodacom is &lt; 20kbps/sub.</a:t>
            </a:r>
          </a:p>
        </p:txBody>
      </p:sp>
      <p:sp>
        <p:nvSpPr>
          <p:cNvPr id="2" name="Title 1">
            <a:extLst>
              <a:ext uri="{FF2B5EF4-FFF2-40B4-BE49-F238E27FC236}">
                <a16:creationId xmlns:a16="http://schemas.microsoft.com/office/drawing/2014/main" id="{4C7AFDA3-82BD-964F-9190-648F93197766}"/>
              </a:ext>
            </a:extLst>
          </p:cNvPr>
          <p:cNvSpPr>
            <a:spLocks noGrp="1"/>
          </p:cNvSpPr>
          <p:nvPr>
            <p:ph type="title"/>
          </p:nvPr>
        </p:nvSpPr>
        <p:spPr/>
        <p:txBody>
          <a:bodyPr/>
          <a:lstStyle/>
          <a:p>
            <a:r>
              <a:rPr lang="en-US" dirty="0"/>
              <a:t>Assumptions</a:t>
            </a:r>
          </a:p>
        </p:txBody>
      </p:sp>
    </p:spTree>
    <p:extLst>
      <p:ext uri="{BB962C8B-B14F-4D97-AF65-F5344CB8AC3E}">
        <p14:creationId xmlns:p14="http://schemas.microsoft.com/office/powerpoint/2010/main" val="162067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209AEB-E611-0545-9F13-2F5F362B6AFF}"/>
              </a:ext>
            </a:extLst>
          </p:cNvPr>
          <p:cNvSpPr>
            <a:spLocks noGrp="1"/>
          </p:cNvSpPr>
          <p:nvPr>
            <p:ph type="body" sz="quarter" idx="10"/>
          </p:nvPr>
        </p:nvSpPr>
        <p:spPr/>
        <p:txBody>
          <a:bodyPr/>
          <a:lstStyle/>
          <a:p>
            <a:pPr lvl="1">
              <a:lnSpc>
                <a:spcPct val="100000"/>
              </a:lnSpc>
            </a:pPr>
            <a:r>
              <a:rPr lang="en-US" sz="1600" dirty="0"/>
              <a:t>The National Data Centers will host the core Network functions, mainly control plane functions. These include, but not limited to, HSS, PRCF, AAA, </a:t>
            </a:r>
            <a:r>
              <a:rPr lang="en-US" sz="1600" dirty="0" err="1"/>
              <a:t>vDNS</a:t>
            </a:r>
            <a:r>
              <a:rPr lang="en-US" sz="1600" dirty="0"/>
              <a:t>, IMS Core</a:t>
            </a:r>
          </a:p>
          <a:p>
            <a:pPr lvl="1">
              <a:lnSpc>
                <a:spcPct val="100000"/>
              </a:lnSpc>
            </a:pPr>
            <a:r>
              <a:rPr lang="en-US" sz="1600" dirty="0"/>
              <a:t>The Regional Data Centers will host the core Network Functions, both data plane and control plane functions. These include, but not limited to, SGSN/MME, S/PGW/GGSN, SBC, MGW, MGW-C, </a:t>
            </a:r>
            <a:r>
              <a:rPr lang="en-US" sz="1600" dirty="0" err="1"/>
              <a:t>vDU</a:t>
            </a:r>
            <a:r>
              <a:rPr lang="en-US" sz="1600" dirty="0"/>
              <a:t> and </a:t>
            </a:r>
            <a:r>
              <a:rPr lang="en-US" sz="1600" dirty="0" err="1"/>
              <a:t>vCU</a:t>
            </a:r>
            <a:r>
              <a:rPr lang="en-US" sz="1600" dirty="0"/>
              <a:t>. </a:t>
            </a:r>
          </a:p>
          <a:p>
            <a:pPr lvl="1">
              <a:lnSpc>
                <a:spcPct val="100000"/>
              </a:lnSpc>
            </a:pPr>
            <a:r>
              <a:rPr lang="en-US" sz="1600" dirty="0"/>
              <a:t>As the network evolves, additional Data Centers will be deployed in smaller scale (Cisco CVIM </a:t>
            </a:r>
            <a:r>
              <a:rPr lang="en-US" sz="1600" dirty="0" err="1"/>
              <a:t>micropods</a:t>
            </a:r>
            <a:r>
              <a:rPr lang="en-US" sz="1600" dirty="0"/>
              <a:t>) to support the </a:t>
            </a:r>
            <a:r>
              <a:rPr lang="en-US" sz="1600" dirty="0" err="1"/>
              <a:t>vDUs</a:t>
            </a:r>
            <a:r>
              <a:rPr lang="en-US" sz="1600" dirty="0"/>
              <a:t> and </a:t>
            </a:r>
            <a:r>
              <a:rPr lang="en-US" sz="1600" dirty="0" err="1"/>
              <a:t>vCUs</a:t>
            </a:r>
            <a:r>
              <a:rPr lang="en-US" sz="1600" dirty="0"/>
              <a:t>.</a:t>
            </a:r>
          </a:p>
          <a:p>
            <a:pPr lvl="1">
              <a:lnSpc>
                <a:spcPct val="100000"/>
              </a:lnSpc>
            </a:pPr>
            <a:r>
              <a:rPr lang="en-US" sz="1600" dirty="0"/>
              <a:t>The Cisco CVIM solution follow the ETSI MANO Architecture and will be based on </a:t>
            </a:r>
            <a:r>
              <a:rPr lang="en-US" sz="1600" dirty="0" err="1"/>
              <a:t>Redhat</a:t>
            </a:r>
            <a:r>
              <a:rPr lang="en-US" sz="1600" dirty="0"/>
              <a:t> OSP</a:t>
            </a:r>
            <a:endParaRPr lang="en-US" dirty="0"/>
          </a:p>
        </p:txBody>
      </p:sp>
      <p:sp>
        <p:nvSpPr>
          <p:cNvPr id="2" name="Title 1">
            <a:extLst>
              <a:ext uri="{FF2B5EF4-FFF2-40B4-BE49-F238E27FC236}">
                <a16:creationId xmlns:a16="http://schemas.microsoft.com/office/drawing/2014/main" id="{73F3D3D4-6DAC-914B-8F10-BEEA8BF93C50}"/>
              </a:ext>
            </a:extLst>
          </p:cNvPr>
          <p:cNvSpPr>
            <a:spLocks noGrp="1"/>
          </p:cNvSpPr>
          <p:nvPr>
            <p:ph type="title"/>
          </p:nvPr>
        </p:nvSpPr>
        <p:spPr/>
        <p:txBody>
          <a:bodyPr/>
          <a:lstStyle/>
          <a:p>
            <a:r>
              <a:rPr lang="en-US" dirty="0"/>
              <a:t>Core Architecture Assumptions</a:t>
            </a:r>
          </a:p>
        </p:txBody>
      </p:sp>
    </p:spTree>
    <p:extLst>
      <p:ext uri="{BB962C8B-B14F-4D97-AF65-F5344CB8AC3E}">
        <p14:creationId xmlns:p14="http://schemas.microsoft.com/office/powerpoint/2010/main" val="361158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bwMode="auto">
          <a:xfrm rot="16200000">
            <a:off x="7772400" y="2571750"/>
            <a:ext cx="1752600" cy="381000"/>
          </a:xfrm>
          <a:prstGeom prst="roundRect">
            <a:avLst/>
          </a:prstGeom>
          <a:solidFill>
            <a:schemeClr val="accent5">
              <a:lumMod val="75000"/>
            </a:schemeClr>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OpenStack</a:t>
            </a:r>
          </a:p>
        </p:txBody>
      </p:sp>
      <p:sp>
        <p:nvSpPr>
          <p:cNvPr id="2" name="Title 1"/>
          <p:cNvSpPr>
            <a:spLocks noGrp="1"/>
          </p:cNvSpPr>
          <p:nvPr>
            <p:ph type="ctrTitle"/>
          </p:nvPr>
        </p:nvSpPr>
        <p:spPr>
          <a:xfrm>
            <a:off x="437766" y="185448"/>
            <a:ext cx="8345488" cy="731837"/>
          </a:xfrm>
        </p:spPr>
        <p:txBody>
          <a:bodyPr/>
          <a:lstStyle/>
          <a:p>
            <a:r>
              <a:rPr lang="en-US" dirty="0"/>
              <a:t>Packet Core - Deployment Models</a:t>
            </a:r>
          </a:p>
        </p:txBody>
      </p:sp>
      <p:sp>
        <p:nvSpPr>
          <p:cNvPr id="18" name="Text Placeholder 17"/>
          <p:cNvSpPr>
            <a:spLocks noGrp="1"/>
          </p:cNvSpPr>
          <p:nvPr>
            <p:ph type="body" sz="quarter" idx="4294967295"/>
          </p:nvPr>
        </p:nvSpPr>
        <p:spPr>
          <a:xfrm>
            <a:off x="1" y="742950"/>
            <a:ext cx="2527349" cy="381000"/>
          </a:xfrm>
          <a:prstGeom prst="rect">
            <a:avLst/>
          </a:prstGeom>
        </p:spPr>
        <p:txBody>
          <a:bodyPr lIns="91432" tIns="45716" rIns="91432" bIns="45716"/>
          <a:lstStyle/>
          <a:p>
            <a:pPr marL="0" indent="0" algn="ctr">
              <a:buNone/>
            </a:pPr>
            <a:r>
              <a:rPr lang="en-US" sz="1600" dirty="0">
                <a:solidFill>
                  <a:schemeClr val="accent1"/>
                </a:solidFill>
                <a:ea typeface="+mn-ea"/>
                <a:cs typeface="+mn-cs"/>
              </a:rPr>
              <a:t>Bespoke</a:t>
            </a:r>
            <a:r>
              <a:rPr lang="en-US" sz="1600" dirty="0"/>
              <a:t> </a:t>
            </a:r>
            <a:r>
              <a:rPr lang="en-US" sz="1600" dirty="0">
                <a:solidFill>
                  <a:schemeClr val="accent1"/>
                </a:solidFill>
                <a:ea typeface="+mn-ea"/>
                <a:cs typeface="+mn-cs"/>
                <a:sym typeface="Arial" pitchFamily="34" charset="0"/>
              </a:rPr>
              <a:t>Hardware</a:t>
            </a:r>
          </a:p>
        </p:txBody>
      </p:sp>
      <p:sp>
        <p:nvSpPr>
          <p:cNvPr id="5" name="Rounded Rectangle 4"/>
          <p:cNvSpPr/>
          <p:nvPr/>
        </p:nvSpPr>
        <p:spPr bwMode="auto">
          <a:xfrm>
            <a:off x="3124200" y="3257550"/>
            <a:ext cx="1981200" cy="381000"/>
          </a:xfrm>
          <a:prstGeom prst="roundRect">
            <a:avLst/>
          </a:prstGeom>
          <a:solidFill>
            <a:schemeClr val="accent1"/>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Networking</a:t>
            </a:r>
          </a:p>
        </p:txBody>
      </p:sp>
      <p:sp>
        <p:nvSpPr>
          <p:cNvPr id="6" name="Rounded Rectangle 5"/>
          <p:cNvSpPr/>
          <p:nvPr/>
        </p:nvSpPr>
        <p:spPr bwMode="auto">
          <a:xfrm>
            <a:off x="3124200" y="2800350"/>
            <a:ext cx="1981200" cy="381000"/>
          </a:xfrm>
          <a:prstGeom prst="roundRect">
            <a:avLst/>
          </a:prstGeom>
          <a:solidFill>
            <a:schemeClr val="bg2">
              <a:lumMod val="75000"/>
            </a:schemeClr>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Hardware</a:t>
            </a:r>
          </a:p>
        </p:txBody>
      </p:sp>
      <p:sp>
        <p:nvSpPr>
          <p:cNvPr id="7" name="Rounded Rectangle 6"/>
          <p:cNvSpPr/>
          <p:nvPr/>
        </p:nvSpPr>
        <p:spPr bwMode="auto">
          <a:xfrm>
            <a:off x="3124200" y="1885950"/>
            <a:ext cx="1981200" cy="838200"/>
          </a:xfrm>
          <a:prstGeom prst="roundRect">
            <a:avLst/>
          </a:prstGeom>
          <a:solidFill>
            <a:schemeClr val="tx2">
              <a:lumMod val="60000"/>
              <a:lumOff val="40000"/>
            </a:schemeClr>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VMware ESXi</a:t>
            </a:r>
          </a:p>
          <a:p>
            <a:pPr algn="ctr" defTabSz="514308"/>
            <a:r>
              <a:rPr lang="en-US" sz="1200" dirty="0">
                <a:solidFill>
                  <a:schemeClr val="bg1"/>
                </a:solidFill>
                <a:ea typeface="Arial" pitchFamily="-107" charset="0"/>
                <a:cs typeface="Arial" pitchFamily="-107" charset="0"/>
                <a:sym typeface="Arial" pitchFamily="-107" charset="0"/>
              </a:rPr>
              <a:t>(OS + Hypervisor)</a:t>
            </a:r>
          </a:p>
        </p:txBody>
      </p:sp>
      <p:sp>
        <p:nvSpPr>
          <p:cNvPr id="8" name="Rounded Rectangle 7"/>
          <p:cNvSpPr/>
          <p:nvPr/>
        </p:nvSpPr>
        <p:spPr bwMode="auto">
          <a:xfrm>
            <a:off x="3124200" y="1200150"/>
            <a:ext cx="849086" cy="609600"/>
          </a:xfrm>
          <a:prstGeom prst="roundRect">
            <a:avLst/>
          </a:prstGeom>
          <a:solidFill>
            <a:schemeClr val="accent1"/>
          </a:solidFill>
          <a:ln w="12700" cap="flat">
            <a:noFill/>
            <a:miter lim="800000"/>
            <a:headEnd type="none" w="med" len="med"/>
            <a:tailEnd type="none" w="med" len="med"/>
          </a:ln>
        </p:spPr>
        <p:txBody>
          <a:bodyPr lIns="0" tIns="0" rIns="0" bIns="0" rtlCol="0" anchor="t"/>
          <a:lstStyle/>
          <a:p>
            <a:pPr algn="ctr" defTabSz="514308"/>
            <a:r>
              <a:rPr lang="en-US" sz="1400" dirty="0">
                <a:solidFill>
                  <a:schemeClr val="bg1"/>
                </a:solidFill>
                <a:ea typeface="Arial" pitchFamily="-107" charset="0"/>
                <a:cs typeface="Arial" pitchFamily="-107" charset="0"/>
                <a:sym typeface="Arial" pitchFamily="-107" charset="0"/>
              </a:rPr>
              <a:t>vPC</a:t>
            </a:r>
          </a:p>
        </p:txBody>
      </p:sp>
      <p:sp>
        <p:nvSpPr>
          <p:cNvPr id="9" name="Rounded Rectangle 8"/>
          <p:cNvSpPr/>
          <p:nvPr/>
        </p:nvSpPr>
        <p:spPr bwMode="auto">
          <a:xfrm>
            <a:off x="3124200" y="1581150"/>
            <a:ext cx="849086" cy="228600"/>
          </a:xfrm>
          <a:prstGeom prst="roundRect">
            <a:avLst/>
          </a:prstGeom>
          <a:solidFill>
            <a:schemeClr val="accent5">
              <a:lumMod val="50000"/>
            </a:schemeClr>
          </a:solidFill>
          <a:ln w="12700" cap="flat">
            <a:noFill/>
            <a:miter lim="800000"/>
            <a:headEnd type="none" w="med" len="med"/>
            <a:tailEnd type="none" w="med" len="med"/>
          </a:ln>
        </p:spPr>
        <p:txBody>
          <a:bodyPr lIns="0" tIns="0" rIns="0" bIns="0" rtlCol="0" anchor="ctr"/>
          <a:lstStyle/>
          <a:p>
            <a:pPr algn="ctr" defTabSz="514308"/>
            <a:r>
              <a:rPr lang="en-US" sz="1000" dirty="0">
                <a:solidFill>
                  <a:schemeClr val="bg1"/>
                </a:solidFill>
                <a:ea typeface="Arial" pitchFamily="-107" charset="0"/>
                <a:cs typeface="Arial" pitchFamily="-107" charset="0"/>
                <a:sym typeface="Arial" pitchFamily="-107" charset="0"/>
              </a:rPr>
              <a:t>Linux Kernel</a:t>
            </a:r>
          </a:p>
        </p:txBody>
      </p:sp>
      <p:sp>
        <p:nvSpPr>
          <p:cNvPr id="10" name="Rounded Rectangle 9"/>
          <p:cNvSpPr/>
          <p:nvPr/>
        </p:nvSpPr>
        <p:spPr bwMode="auto">
          <a:xfrm>
            <a:off x="304800" y="3257550"/>
            <a:ext cx="1981200" cy="381000"/>
          </a:xfrm>
          <a:prstGeom prst="roundRect">
            <a:avLst/>
          </a:prstGeom>
          <a:solidFill>
            <a:schemeClr val="accent1"/>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Networking</a:t>
            </a:r>
          </a:p>
        </p:txBody>
      </p:sp>
      <p:sp>
        <p:nvSpPr>
          <p:cNvPr id="11" name="Rounded Rectangle 10"/>
          <p:cNvSpPr/>
          <p:nvPr/>
        </p:nvSpPr>
        <p:spPr bwMode="auto">
          <a:xfrm>
            <a:off x="304800" y="1200150"/>
            <a:ext cx="1981200" cy="1981200"/>
          </a:xfrm>
          <a:prstGeom prst="roundRect">
            <a:avLst/>
          </a:prstGeom>
          <a:solidFill>
            <a:schemeClr val="bg2">
              <a:lumMod val="75000"/>
            </a:schemeClr>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ASR5K</a:t>
            </a:r>
          </a:p>
          <a:p>
            <a:pPr algn="ctr" defTabSz="514308"/>
            <a:endParaRPr lang="en-US" sz="1400" dirty="0">
              <a:solidFill>
                <a:schemeClr val="bg1"/>
              </a:solidFill>
              <a:ea typeface="Arial" pitchFamily="-107" charset="0"/>
              <a:cs typeface="Arial" pitchFamily="-107" charset="0"/>
              <a:sym typeface="Arial" pitchFamily="-107" charset="0"/>
            </a:endParaRPr>
          </a:p>
          <a:p>
            <a:pPr algn="ctr" defTabSz="514308"/>
            <a:r>
              <a:rPr lang="en-US" sz="1200" dirty="0">
                <a:solidFill>
                  <a:schemeClr val="bg1"/>
                </a:solidFill>
                <a:ea typeface="Arial" pitchFamily="-107" charset="0"/>
                <a:cs typeface="Arial" pitchFamily="-107" charset="0"/>
                <a:sym typeface="Arial" pitchFamily="-107" charset="0"/>
              </a:rPr>
              <a:t>(Hardware + Software)</a:t>
            </a:r>
          </a:p>
          <a:p>
            <a:pPr algn="ctr" defTabSz="514308"/>
            <a:r>
              <a:rPr lang="en-US" sz="1200" dirty="0">
                <a:solidFill>
                  <a:schemeClr val="bg1"/>
                </a:solidFill>
                <a:ea typeface="Arial" pitchFamily="-107" charset="0"/>
                <a:cs typeface="Arial" pitchFamily="-107" charset="0"/>
                <a:sym typeface="Arial" pitchFamily="-107" charset="0"/>
              </a:rPr>
              <a:t>“StarOS”</a:t>
            </a:r>
          </a:p>
        </p:txBody>
      </p:sp>
      <p:sp>
        <p:nvSpPr>
          <p:cNvPr id="12" name="Rounded Rectangle 11"/>
          <p:cNvSpPr/>
          <p:nvPr/>
        </p:nvSpPr>
        <p:spPr bwMode="auto">
          <a:xfrm>
            <a:off x="6400800" y="3257550"/>
            <a:ext cx="1981200" cy="381000"/>
          </a:xfrm>
          <a:prstGeom prst="roundRect">
            <a:avLst/>
          </a:prstGeom>
          <a:solidFill>
            <a:schemeClr val="accent1"/>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Networking</a:t>
            </a:r>
          </a:p>
        </p:txBody>
      </p:sp>
      <p:sp>
        <p:nvSpPr>
          <p:cNvPr id="13" name="Rounded Rectangle 12"/>
          <p:cNvSpPr/>
          <p:nvPr/>
        </p:nvSpPr>
        <p:spPr bwMode="auto">
          <a:xfrm>
            <a:off x="6400800" y="2800350"/>
            <a:ext cx="1981200" cy="381000"/>
          </a:xfrm>
          <a:prstGeom prst="roundRect">
            <a:avLst/>
          </a:prstGeom>
          <a:solidFill>
            <a:schemeClr val="bg2">
              <a:lumMod val="75000"/>
            </a:schemeClr>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Hardware</a:t>
            </a:r>
          </a:p>
        </p:txBody>
      </p:sp>
      <p:sp>
        <p:nvSpPr>
          <p:cNvPr id="14" name="Rounded Rectangle 13"/>
          <p:cNvSpPr/>
          <p:nvPr/>
        </p:nvSpPr>
        <p:spPr bwMode="auto">
          <a:xfrm>
            <a:off x="6400800" y="2266950"/>
            <a:ext cx="1981200" cy="457200"/>
          </a:xfrm>
          <a:prstGeom prst="roundRect">
            <a:avLst/>
          </a:prstGeom>
          <a:solidFill>
            <a:schemeClr val="tx2">
              <a:lumMod val="60000"/>
              <a:lumOff val="40000"/>
            </a:schemeClr>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Ubuntu / RedHat (OS)</a:t>
            </a:r>
            <a:endParaRPr lang="en-US" sz="1200" dirty="0">
              <a:solidFill>
                <a:schemeClr val="bg1"/>
              </a:solidFill>
              <a:ea typeface="Arial" pitchFamily="-107" charset="0"/>
              <a:cs typeface="Arial" pitchFamily="-107" charset="0"/>
              <a:sym typeface="Arial" pitchFamily="-107" charset="0"/>
            </a:endParaRPr>
          </a:p>
        </p:txBody>
      </p:sp>
      <p:sp>
        <p:nvSpPr>
          <p:cNvPr id="15" name="Rounded Rectangle 14"/>
          <p:cNvSpPr/>
          <p:nvPr/>
        </p:nvSpPr>
        <p:spPr bwMode="auto">
          <a:xfrm>
            <a:off x="6400800" y="1200150"/>
            <a:ext cx="849086" cy="609600"/>
          </a:xfrm>
          <a:prstGeom prst="roundRect">
            <a:avLst/>
          </a:prstGeom>
          <a:solidFill>
            <a:schemeClr val="accent1"/>
          </a:solidFill>
          <a:ln w="12700" cap="flat">
            <a:noFill/>
            <a:miter lim="800000"/>
            <a:headEnd type="none" w="med" len="med"/>
            <a:tailEnd type="none" w="med" len="med"/>
          </a:ln>
        </p:spPr>
        <p:txBody>
          <a:bodyPr lIns="0" tIns="0" rIns="0" bIns="0" rtlCol="0" anchor="t"/>
          <a:lstStyle/>
          <a:p>
            <a:pPr algn="ctr" defTabSz="514308"/>
            <a:r>
              <a:rPr lang="en-US" sz="1400" dirty="0">
                <a:solidFill>
                  <a:schemeClr val="bg1"/>
                </a:solidFill>
                <a:ea typeface="Arial" pitchFamily="-107" charset="0"/>
                <a:cs typeface="Arial" pitchFamily="-107" charset="0"/>
                <a:sym typeface="Arial" pitchFamily="-107" charset="0"/>
              </a:rPr>
              <a:t>vPC</a:t>
            </a:r>
          </a:p>
        </p:txBody>
      </p:sp>
      <p:sp>
        <p:nvSpPr>
          <p:cNvPr id="16" name="Rounded Rectangle 15"/>
          <p:cNvSpPr/>
          <p:nvPr/>
        </p:nvSpPr>
        <p:spPr bwMode="auto">
          <a:xfrm>
            <a:off x="6400800" y="1581150"/>
            <a:ext cx="849086" cy="228600"/>
          </a:xfrm>
          <a:prstGeom prst="roundRect">
            <a:avLst/>
          </a:prstGeom>
          <a:solidFill>
            <a:schemeClr val="accent5">
              <a:lumMod val="50000"/>
            </a:schemeClr>
          </a:solidFill>
          <a:ln w="12700" cap="flat">
            <a:noFill/>
            <a:miter lim="800000"/>
            <a:headEnd type="none" w="med" len="med"/>
            <a:tailEnd type="none" w="med" len="med"/>
          </a:ln>
        </p:spPr>
        <p:txBody>
          <a:bodyPr lIns="0" tIns="0" rIns="0" bIns="0" rtlCol="0" anchor="ctr"/>
          <a:lstStyle/>
          <a:p>
            <a:pPr algn="ctr" defTabSz="514308"/>
            <a:r>
              <a:rPr lang="en-US" sz="1000" dirty="0">
                <a:solidFill>
                  <a:schemeClr val="bg1"/>
                </a:solidFill>
                <a:ea typeface="Arial" pitchFamily="-107" charset="0"/>
                <a:cs typeface="Arial" pitchFamily="-107" charset="0"/>
                <a:sym typeface="Arial" pitchFamily="-107" charset="0"/>
              </a:rPr>
              <a:t>Linux Kernel</a:t>
            </a:r>
          </a:p>
        </p:txBody>
      </p:sp>
      <p:sp>
        <p:nvSpPr>
          <p:cNvPr id="17" name="Rounded Rectangle 16"/>
          <p:cNvSpPr/>
          <p:nvPr/>
        </p:nvSpPr>
        <p:spPr bwMode="auto">
          <a:xfrm>
            <a:off x="6400800" y="1885950"/>
            <a:ext cx="1981200" cy="381000"/>
          </a:xfrm>
          <a:prstGeom prst="roundRect">
            <a:avLst/>
          </a:prstGeom>
          <a:solidFill>
            <a:srgbClr val="800000"/>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KVM (Hypervisor)</a:t>
            </a:r>
            <a:endParaRPr lang="en-US" sz="1200" dirty="0">
              <a:solidFill>
                <a:schemeClr val="bg1"/>
              </a:solidFill>
              <a:ea typeface="Arial" pitchFamily="-107" charset="0"/>
              <a:cs typeface="Arial" pitchFamily="-107" charset="0"/>
              <a:sym typeface="Arial" pitchFamily="-107" charset="0"/>
            </a:endParaRPr>
          </a:p>
        </p:txBody>
      </p:sp>
      <p:sp>
        <p:nvSpPr>
          <p:cNvPr id="20" name="Rounded Rectangle 19"/>
          <p:cNvSpPr/>
          <p:nvPr/>
        </p:nvSpPr>
        <p:spPr bwMode="auto">
          <a:xfrm rot="16200000">
            <a:off x="4495800" y="2571750"/>
            <a:ext cx="1752600" cy="381000"/>
          </a:xfrm>
          <a:prstGeom prst="roundRect">
            <a:avLst/>
          </a:prstGeom>
          <a:solidFill>
            <a:srgbClr val="008040"/>
          </a:solidFill>
          <a:ln w="12700" cap="flat">
            <a:noFill/>
            <a:miter lim="800000"/>
            <a:headEnd type="none" w="med" len="med"/>
            <a:tailEnd type="none" w="med" len="med"/>
          </a:ln>
        </p:spPr>
        <p:txBody>
          <a:bodyPr lIns="0" tIns="0" rIns="0" bIns="0" rtlCol="0" anchor="ctr"/>
          <a:lstStyle/>
          <a:p>
            <a:pPr algn="ctr" defTabSz="514308"/>
            <a:r>
              <a:rPr lang="en-US" sz="1400" dirty="0">
                <a:solidFill>
                  <a:schemeClr val="bg1"/>
                </a:solidFill>
                <a:ea typeface="Arial" pitchFamily="-107" charset="0"/>
                <a:cs typeface="Arial" pitchFamily="-107" charset="0"/>
                <a:sym typeface="Arial" pitchFamily="-107" charset="0"/>
              </a:rPr>
              <a:t>vSphere / vCloud</a:t>
            </a:r>
          </a:p>
        </p:txBody>
      </p:sp>
      <p:cxnSp>
        <p:nvCxnSpPr>
          <p:cNvPr id="22" name="Straight Connector 21"/>
          <p:cNvCxnSpPr/>
          <p:nvPr/>
        </p:nvCxnSpPr>
        <p:spPr bwMode="auto">
          <a:xfrm>
            <a:off x="6019800" y="1047750"/>
            <a:ext cx="0" cy="3733800"/>
          </a:xfrm>
          <a:prstGeom prst="line">
            <a:avLst/>
          </a:prstGeom>
          <a:solidFill>
            <a:srgbClr val="0183B7"/>
          </a:solidFill>
          <a:ln w="19050" cap="flat" cmpd="sng" algn="ctr">
            <a:solidFill>
              <a:schemeClr val="accent1"/>
            </a:solidFill>
            <a:prstDash val="solid"/>
            <a:round/>
            <a:headEnd type="none" w="med" len="med"/>
            <a:tailEnd type="none" w="med" len="med"/>
          </a:ln>
          <a:effectLst/>
        </p:spPr>
      </p:cxnSp>
      <p:cxnSp>
        <p:nvCxnSpPr>
          <p:cNvPr id="24" name="Straight Connector 23"/>
          <p:cNvCxnSpPr/>
          <p:nvPr/>
        </p:nvCxnSpPr>
        <p:spPr bwMode="auto">
          <a:xfrm>
            <a:off x="2667000" y="971550"/>
            <a:ext cx="0" cy="3733800"/>
          </a:xfrm>
          <a:prstGeom prst="line">
            <a:avLst/>
          </a:prstGeom>
          <a:solidFill>
            <a:srgbClr val="0183B7"/>
          </a:solidFill>
          <a:ln w="19050" cap="flat" cmpd="sng" algn="ctr">
            <a:solidFill>
              <a:schemeClr val="accent1"/>
            </a:solidFill>
            <a:prstDash val="solid"/>
            <a:round/>
            <a:headEnd type="none" w="med" len="med"/>
            <a:tailEnd type="none" w="med" len="med"/>
          </a:ln>
          <a:effectLst/>
        </p:spPr>
      </p:cxnSp>
      <p:sp>
        <p:nvSpPr>
          <p:cNvPr id="25" name="Rounded Rectangle 24"/>
          <p:cNvSpPr/>
          <p:nvPr/>
        </p:nvSpPr>
        <p:spPr bwMode="auto">
          <a:xfrm>
            <a:off x="4267200" y="1200150"/>
            <a:ext cx="849086" cy="609600"/>
          </a:xfrm>
          <a:prstGeom prst="roundRect">
            <a:avLst/>
          </a:prstGeom>
          <a:solidFill>
            <a:schemeClr val="accent1"/>
          </a:solidFill>
          <a:ln w="12700" cap="flat">
            <a:noFill/>
            <a:miter lim="800000"/>
            <a:headEnd type="none" w="med" len="med"/>
            <a:tailEnd type="none" w="med" len="med"/>
          </a:ln>
        </p:spPr>
        <p:txBody>
          <a:bodyPr lIns="0" tIns="0" rIns="0" bIns="0" rtlCol="0" anchor="t"/>
          <a:lstStyle/>
          <a:p>
            <a:pPr algn="ctr" defTabSz="514308"/>
            <a:r>
              <a:rPr lang="en-US" sz="1400" dirty="0">
                <a:solidFill>
                  <a:schemeClr val="bg1"/>
                </a:solidFill>
                <a:ea typeface="Arial" pitchFamily="-107" charset="0"/>
                <a:cs typeface="Arial" pitchFamily="-107" charset="0"/>
                <a:sym typeface="Arial" pitchFamily="-107" charset="0"/>
              </a:rPr>
              <a:t>VNF</a:t>
            </a:r>
          </a:p>
        </p:txBody>
      </p:sp>
      <p:sp>
        <p:nvSpPr>
          <p:cNvPr id="26" name="Rounded Rectangle 25"/>
          <p:cNvSpPr/>
          <p:nvPr/>
        </p:nvSpPr>
        <p:spPr bwMode="auto">
          <a:xfrm>
            <a:off x="4267200" y="1581150"/>
            <a:ext cx="849086" cy="228600"/>
          </a:xfrm>
          <a:prstGeom prst="roundRect">
            <a:avLst/>
          </a:prstGeom>
          <a:solidFill>
            <a:schemeClr val="accent5">
              <a:lumMod val="50000"/>
            </a:schemeClr>
          </a:solidFill>
          <a:ln w="12700" cap="flat">
            <a:noFill/>
            <a:miter lim="800000"/>
            <a:headEnd type="none" w="med" len="med"/>
            <a:tailEnd type="none" w="med" len="med"/>
          </a:ln>
        </p:spPr>
        <p:txBody>
          <a:bodyPr lIns="0" tIns="0" rIns="0" bIns="0" rtlCol="0" anchor="ctr"/>
          <a:lstStyle/>
          <a:p>
            <a:pPr algn="ctr" defTabSz="514308"/>
            <a:r>
              <a:rPr lang="en-US" sz="1000" dirty="0">
                <a:solidFill>
                  <a:schemeClr val="bg1"/>
                </a:solidFill>
                <a:ea typeface="Arial" pitchFamily="-107" charset="0"/>
                <a:cs typeface="Arial" pitchFamily="-107" charset="0"/>
                <a:sym typeface="Arial" pitchFamily="-107" charset="0"/>
              </a:rPr>
              <a:t>Linux Kernel</a:t>
            </a:r>
          </a:p>
        </p:txBody>
      </p:sp>
      <p:sp>
        <p:nvSpPr>
          <p:cNvPr id="27" name="Rounded Rectangle 26"/>
          <p:cNvSpPr/>
          <p:nvPr/>
        </p:nvSpPr>
        <p:spPr bwMode="auto">
          <a:xfrm>
            <a:off x="7543800" y="1200150"/>
            <a:ext cx="849086" cy="609600"/>
          </a:xfrm>
          <a:prstGeom prst="roundRect">
            <a:avLst/>
          </a:prstGeom>
          <a:solidFill>
            <a:schemeClr val="accent1"/>
          </a:solidFill>
          <a:ln w="12700" cap="flat">
            <a:noFill/>
            <a:miter lim="800000"/>
            <a:headEnd type="none" w="med" len="med"/>
            <a:tailEnd type="none" w="med" len="med"/>
          </a:ln>
        </p:spPr>
        <p:txBody>
          <a:bodyPr lIns="0" tIns="0" rIns="0" bIns="0" rtlCol="0" anchor="t"/>
          <a:lstStyle/>
          <a:p>
            <a:pPr algn="ctr" defTabSz="514308"/>
            <a:r>
              <a:rPr lang="en-US" sz="1400" dirty="0">
                <a:solidFill>
                  <a:schemeClr val="bg1"/>
                </a:solidFill>
                <a:ea typeface="Arial" pitchFamily="-107" charset="0"/>
                <a:cs typeface="Arial" pitchFamily="-107" charset="0"/>
                <a:sym typeface="Arial" pitchFamily="-107" charset="0"/>
              </a:rPr>
              <a:t>VNF</a:t>
            </a:r>
          </a:p>
        </p:txBody>
      </p:sp>
      <p:sp>
        <p:nvSpPr>
          <p:cNvPr id="28" name="Rounded Rectangle 27"/>
          <p:cNvSpPr/>
          <p:nvPr/>
        </p:nvSpPr>
        <p:spPr bwMode="auto">
          <a:xfrm>
            <a:off x="7543800" y="1581150"/>
            <a:ext cx="849086" cy="228600"/>
          </a:xfrm>
          <a:prstGeom prst="roundRect">
            <a:avLst/>
          </a:prstGeom>
          <a:solidFill>
            <a:schemeClr val="accent5">
              <a:lumMod val="50000"/>
            </a:schemeClr>
          </a:solidFill>
          <a:ln w="12700" cap="flat">
            <a:noFill/>
            <a:miter lim="800000"/>
            <a:headEnd type="none" w="med" len="med"/>
            <a:tailEnd type="none" w="med" len="med"/>
          </a:ln>
        </p:spPr>
        <p:txBody>
          <a:bodyPr lIns="0" tIns="0" rIns="0" bIns="0" rtlCol="0" anchor="ctr"/>
          <a:lstStyle/>
          <a:p>
            <a:pPr algn="ctr" defTabSz="514308"/>
            <a:r>
              <a:rPr lang="en-US" sz="1000" dirty="0">
                <a:solidFill>
                  <a:schemeClr val="bg1"/>
                </a:solidFill>
                <a:ea typeface="Arial" pitchFamily="-107" charset="0"/>
                <a:cs typeface="Arial" pitchFamily="-107" charset="0"/>
                <a:sym typeface="Arial" pitchFamily="-107" charset="0"/>
              </a:rPr>
              <a:t>Linux Kernel</a:t>
            </a:r>
          </a:p>
        </p:txBody>
      </p:sp>
      <p:sp>
        <p:nvSpPr>
          <p:cNvPr id="29" name="TextBox 28"/>
          <p:cNvSpPr txBox="1"/>
          <p:nvPr/>
        </p:nvSpPr>
        <p:spPr>
          <a:xfrm>
            <a:off x="2895600" y="3790950"/>
            <a:ext cx="2895600" cy="661716"/>
          </a:xfrm>
          <a:prstGeom prst="rect">
            <a:avLst/>
          </a:prstGeom>
          <a:noFill/>
        </p:spPr>
        <p:txBody>
          <a:bodyPr wrap="square" lIns="91432" tIns="45716" rIns="91432" bIns="45716" rtlCol="0">
            <a:spAutoFit/>
          </a:bodyPr>
          <a:lstStyle/>
          <a:p>
            <a:pPr indent="-285726">
              <a:lnSpc>
                <a:spcPct val="90000"/>
              </a:lnSpc>
              <a:spcBef>
                <a:spcPts val="600"/>
              </a:spcBef>
              <a:buFont typeface="Arial"/>
              <a:buChar char="•"/>
            </a:pPr>
            <a:r>
              <a:rPr lang="en-US" sz="1000" dirty="0">
                <a:solidFill>
                  <a:srgbClr val="000000"/>
                </a:solidFill>
              </a:rPr>
              <a:t>Integrated OS + Hypervisor</a:t>
            </a:r>
          </a:p>
          <a:p>
            <a:pPr indent="-285726">
              <a:lnSpc>
                <a:spcPct val="90000"/>
              </a:lnSpc>
              <a:spcBef>
                <a:spcPts val="600"/>
              </a:spcBef>
              <a:buFont typeface="Arial"/>
              <a:buChar char="•"/>
            </a:pPr>
            <a:r>
              <a:rPr lang="en-US" sz="1000" dirty="0">
                <a:solidFill>
                  <a:srgbClr val="000000"/>
                </a:solidFill>
              </a:rPr>
              <a:t>Benefits of Hardware/Network Acceleration</a:t>
            </a:r>
          </a:p>
          <a:p>
            <a:pPr indent="-285726">
              <a:lnSpc>
                <a:spcPct val="90000"/>
              </a:lnSpc>
              <a:spcBef>
                <a:spcPts val="600"/>
              </a:spcBef>
              <a:buFont typeface="Arial"/>
              <a:buChar char="•"/>
            </a:pPr>
            <a:r>
              <a:rPr lang="en-US" sz="1000" dirty="0">
                <a:solidFill>
                  <a:srgbClr val="000000"/>
                </a:solidFill>
              </a:rPr>
              <a:t>Single Vendor OS/Hypervisor (VMware)</a:t>
            </a:r>
          </a:p>
        </p:txBody>
      </p:sp>
      <p:sp>
        <p:nvSpPr>
          <p:cNvPr id="30" name="TextBox 29"/>
          <p:cNvSpPr txBox="1"/>
          <p:nvPr/>
        </p:nvSpPr>
        <p:spPr>
          <a:xfrm>
            <a:off x="152400" y="3790952"/>
            <a:ext cx="2438400" cy="448841"/>
          </a:xfrm>
          <a:prstGeom prst="rect">
            <a:avLst/>
          </a:prstGeom>
          <a:noFill/>
        </p:spPr>
        <p:txBody>
          <a:bodyPr wrap="square" lIns="91432" tIns="45716" rIns="91432" bIns="45716" rtlCol="0">
            <a:spAutoFit/>
          </a:bodyPr>
          <a:lstStyle/>
          <a:p>
            <a:pPr indent="-285726">
              <a:lnSpc>
                <a:spcPct val="90000"/>
              </a:lnSpc>
              <a:spcBef>
                <a:spcPts val="600"/>
              </a:spcBef>
              <a:buFont typeface="Arial"/>
              <a:buChar char="•"/>
            </a:pPr>
            <a:r>
              <a:rPr lang="en-US" sz="1000" dirty="0">
                <a:solidFill>
                  <a:srgbClr val="000000"/>
                </a:solidFill>
              </a:rPr>
              <a:t>Bespoke Hardware + Software</a:t>
            </a:r>
          </a:p>
          <a:p>
            <a:pPr indent="-285726">
              <a:lnSpc>
                <a:spcPct val="90000"/>
              </a:lnSpc>
              <a:spcBef>
                <a:spcPts val="600"/>
              </a:spcBef>
              <a:buFont typeface="Arial"/>
              <a:buChar char="•"/>
            </a:pPr>
            <a:r>
              <a:rPr lang="en-US" sz="1000" dirty="0">
                <a:solidFill>
                  <a:srgbClr val="000000"/>
                </a:solidFill>
              </a:rPr>
              <a:t>Single Vendor (Cisco)</a:t>
            </a:r>
          </a:p>
        </p:txBody>
      </p:sp>
      <p:sp>
        <p:nvSpPr>
          <p:cNvPr id="31" name="TextBox 30"/>
          <p:cNvSpPr txBox="1"/>
          <p:nvPr/>
        </p:nvSpPr>
        <p:spPr>
          <a:xfrm>
            <a:off x="6172201" y="3867151"/>
            <a:ext cx="2895600" cy="879728"/>
          </a:xfrm>
          <a:prstGeom prst="rect">
            <a:avLst/>
          </a:prstGeom>
          <a:noFill/>
        </p:spPr>
        <p:txBody>
          <a:bodyPr wrap="square" lIns="91432" tIns="45716" rIns="91432" bIns="45716" rtlCol="0">
            <a:spAutoFit/>
          </a:bodyPr>
          <a:lstStyle/>
          <a:p>
            <a:pPr indent="-285726">
              <a:lnSpc>
                <a:spcPct val="90000"/>
              </a:lnSpc>
              <a:spcBef>
                <a:spcPts val="600"/>
              </a:spcBef>
              <a:buFont typeface="Arial"/>
              <a:buChar char="•"/>
            </a:pPr>
            <a:r>
              <a:rPr lang="en-US" sz="1000" dirty="0">
                <a:solidFill>
                  <a:srgbClr val="000000"/>
                </a:solidFill>
              </a:rPr>
              <a:t>KVM as Hypervisor</a:t>
            </a:r>
          </a:p>
          <a:p>
            <a:pPr indent="-285726">
              <a:lnSpc>
                <a:spcPct val="90000"/>
              </a:lnSpc>
              <a:spcBef>
                <a:spcPts val="600"/>
              </a:spcBef>
              <a:buFont typeface="Arial"/>
              <a:buChar char="•"/>
            </a:pPr>
            <a:r>
              <a:rPr lang="en-US" sz="1000" dirty="0">
                <a:solidFill>
                  <a:srgbClr val="000000"/>
                </a:solidFill>
              </a:rPr>
              <a:t>Full OS Implementation (Ubuntu / RedHat)</a:t>
            </a:r>
          </a:p>
          <a:p>
            <a:pPr indent="-285726">
              <a:lnSpc>
                <a:spcPct val="90000"/>
              </a:lnSpc>
              <a:spcBef>
                <a:spcPts val="600"/>
              </a:spcBef>
              <a:buFont typeface="Arial"/>
              <a:buChar char="•"/>
            </a:pPr>
            <a:r>
              <a:rPr lang="en-US" sz="1000" dirty="0">
                <a:solidFill>
                  <a:srgbClr val="000000"/>
                </a:solidFill>
              </a:rPr>
              <a:t>Multi-Vendor “Open Source” Environment</a:t>
            </a:r>
          </a:p>
          <a:p>
            <a:pPr indent="-285726">
              <a:lnSpc>
                <a:spcPct val="90000"/>
              </a:lnSpc>
              <a:spcBef>
                <a:spcPts val="600"/>
              </a:spcBef>
              <a:buFont typeface="Arial"/>
              <a:buChar char="•"/>
            </a:pPr>
            <a:r>
              <a:rPr lang="en-US" sz="1000" dirty="0">
                <a:solidFill>
                  <a:srgbClr val="000000"/>
                </a:solidFill>
              </a:rPr>
              <a:t>Complex Monitoring and Management</a:t>
            </a:r>
          </a:p>
        </p:txBody>
      </p:sp>
      <p:sp>
        <p:nvSpPr>
          <p:cNvPr id="32" name="Text Placeholder 17"/>
          <p:cNvSpPr txBox="1">
            <a:spLocks/>
          </p:cNvSpPr>
          <p:nvPr/>
        </p:nvSpPr>
        <p:spPr bwMode="auto">
          <a:xfrm>
            <a:off x="3124200" y="742950"/>
            <a:ext cx="24384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32" tIns="45716" rIns="91432" bIns="45716" numCol="1" anchor="t" anchorCtr="0" compatLnSpc="1">
            <a:prstTxWarp prst="textNoShape">
              <a:avLst/>
            </a:prstTxWarp>
          </a:bodyPr>
          <a:lstStyle>
            <a:lvl1pPr marL="1785" indent="0" algn="l" rtl="0" eaLnBrk="0" fontAlgn="base" hangingPunct="0">
              <a:lnSpc>
                <a:spcPct val="90000"/>
              </a:lnSpc>
              <a:spcBef>
                <a:spcPts val="1200"/>
              </a:spcBef>
              <a:spcAft>
                <a:spcPct val="0"/>
              </a:spcAft>
              <a:buClr>
                <a:srgbClr val="0C65B7"/>
              </a:buClr>
              <a:buSzPct val="100000"/>
              <a:buFont typeface="Arial" panose="020B0604020202020204" pitchFamily="34" charset="0"/>
              <a:buNone/>
              <a:defRPr sz="1800">
                <a:solidFill>
                  <a:schemeClr val="accent1"/>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chemeClr val="tx1"/>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chemeClr val="tx1"/>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lgn="ctr"/>
            <a:r>
              <a:rPr lang="en-US" sz="1600" dirty="0"/>
              <a:t>VMware Ecosystem</a:t>
            </a:r>
          </a:p>
        </p:txBody>
      </p:sp>
      <p:sp>
        <p:nvSpPr>
          <p:cNvPr id="33" name="Text Placeholder 17"/>
          <p:cNvSpPr txBox="1">
            <a:spLocks/>
          </p:cNvSpPr>
          <p:nvPr/>
        </p:nvSpPr>
        <p:spPr bwMode="auto">
          <a:xfrm>
            <a:off x="6400801" y="742950"/>
            <a:ext cx="24384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32" tIns="45716" rIns="91432" bIns="45716" numCol="1" anchor="t" anchorCtr="0" compatLnSpc="1">
            <a:prstTxWarp prst="textNoShape">
              <a:avLst/>
            </a:prstTxWarp>
          </a:bodyPr>
          <a:lstStyle>
            <a:lvl1pPr marL="1785" indent="0" algn="l" rtl="0" eaLnBrk="0" fontAlgn="base" hangingPunct="0">
              <a:lnSpc>
                <a:spcPct val="90000"/>
              </a:lnSpc>
              <a:spcBef>
                <a:spcPts val="1200"/>
              </a:spcBef>
              <a:spcAft>
                <a:spcPct val="0"/>
              </a:spcAft>
              <a:buClr>
                <a:srgbClr val="0C65B7"/>
              </a:buClr>
              <a:buSzPct val="100000"/>
              <a:buFont typeface="Arial" panose="020B0604020202020204" pitchFamily="34" charset="0"/>
              <a:buNone/>
              <a:defRPr sz="1800">
                <a:solidFill>
                  <a:schemeClr val="accent1"/>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chemeClr val="tx1"/>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chemeClr val="tx1"/>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lgn="ctr"/>
            <a:r>
              <a:rPr lang="en-US" sz="1600" dirty="0"/>
              <a:t>OpenStack Ecosystem</a:t>
            </a:r>
          </a:p>
        </p:txBody>
      </p:sp>
      <p:sp>
        <p:nvSpPr>
          <p:cNvPr id="3" name="Rounded Rectangle 2">
            <a:extLst>
              <a:ext uri="{FF2B5EF4-FFF2-40B4-BE49-F238E27FC236}">
                <a16:creationId xmlns:a16="http://schemas.microsoft.com/office/drawing/2014/main" id="{E79227C6-60A8-F645-B67F-1259C0CAFA88}"/>
              </a:ext>
            </a:extLst>
          </p:cNvPr>
          <p:cNvSpPr/>
          <p:nvPr/>
        </p:nvSpPr>
        <p:spPr>
          <a:xfrm>
            <a:off x="6505646" y="4721394"/>
            <a:ext cx="2277607" cy="282312"/>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Deployed at Vodacom</a:t>
            </a:r>
          </a:p>
        </p:txBody>
      </p:sp>
      <p:sp>
        <p:nvSpPr>
          <p:cNvPr id="34" name="Rounded Rectangle 33">
            <a:extLst>
              <a:ext uri="{FF2B5EF4-FFF2-40B4-BE49-F238E27FC236}">
                <a16:creationId xmlns:a16="http://schemas.microsoft.com/office/drawing/2014/main" id="{47680CB8-7930-0140-8C74-5BFAF2E492A5}"/>
              </a:ext>
            </a:extLst>
          </p:cNvPr>
          <p:cNvSpPr/>
          <p:nvPr/>
        </p:nvSpPr>
        <p:spPr>
          <a:xfrm>
            <a:off x="3152846" y="4463910"/>
            <a:ext cx="2277607" cy="282312"/>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Ongoing deployment at Vodacom </a:t>
            </a:r>
          </a:p>
        </p:txBody>
      </p:sp>
      <p:sp>
        <p:nvSpPr>
          <p:cNvPr id="35" name="Rounded Rectangle 34">
            <a:extLst>
              <a:ext uri="{FF2B5EF4-FFF2-40B4-BE49-F238E27FC236}">
                <a16:creationId xmlns:a16="http://schemas.microsoft.com/office/drawing/2014/main" id="{73A6CE72-781C-E943-963D-4FA0C0BF6B57}"/>
              </a:ext>
            </a:extLst>
          </p:cNvPr>
          <p:cNvSpPr/>
          <p:nvPr/>
        </p:nvSpPr>
        <p:spPr>
          <a:xfrm>
            <a:off x="249743" y="4446650"/>
            <a:ext cx="2277607" cy="282312"/>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Deployed at Vodacom</a:t>
            </a:r>
          </a:p>
        </p:txBody>
      </p:sp>
    </p:spTree>
    <p:extLst>
      <p:ext uri="{BB962C8B-B14F-4D97-AF65-F5344CB8AC3E}">
        <p14:creationId xmlns:p14="http://schemas.microsoft.com/office/powerpoint/2010/main" val="101014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isco Solution Overview for 4G/5G-NSA</a:t>
            </a:r>
            <a:endParaRPr lang="en-ZA" dirty="0"/>
          </a:p>
        </p:txBody>
      </p:sp>
      <p:pic>
        <p:nvPicPr>
          <p:cNvPr id="3" name="Picture 2"/>
          <p:cNvPicPr>
            <a:picLocks noChangeAspect="1"/>
          </p:cNvPicPr>
          <p:nvPr/>
        </p:nvPicPr>
        <p:blipFill>
          <a:blip r:embed="rId2"/>
          <a:stretch>
            <a:fillRect/>
          </a:stretch>
        </p:blipFill>
        <p:spPr>
          <a:xfrm>
            <a:off x="4659971" y="1306515"/>
            <a:ext cx="3639473" cy="3106031"/>
          </a:xfrm>
          <a:prstGeom prst="rect">
            <a:avLst/>
          </a:prstGeom>
        </p:spPr>
      </p:pic>
      <p:sp>
        <p:nvSpPr>
          <p:cNvPr id="4" name="TextBox 3"/>
          <p:cNvSpPr txBox="1"/>
          <p:nvPr/>
        </p:nvSpPr>
        <p:spPr>
          <a:xfrm>
            <a:off x="4759108" y="4452681"/>
            <a:ext cx="1906548" cy="276999"/>
          </a:xfrm>
          <a:prstGeom prst="rect">
            <a:avLst/>
          </a:prstGeom>
          <a:noFill/>
        </p:spPr>
        <p:txBody>
          <a:bodyPr wrap="none" rtlCol="0">
            <a:spAutoFit/>
          </a:bodyPr>
          <a:lstStyle/>
          <a:p>
            <a:r>
              <a:rPr lang="en-US" sz="1200" b="1" dirty="0">
                <a:solidFill>
                  <a:srgbClr val="000000"/>
                </a:solidFill>
                <a:cs typeface="Times New Roman" panose="02020603050405020304" pitchFamily="18" charset="0"/>
              </a:rPr>
              <a:t>Traditional Architecture</a:t>
            </a:r>
          </a:p>
        </p:txBody>
      </p:sp>
      <p:sp>
        <p:nvSpPr>
          <p:cNvPr id="5" name="TextBox 4"/>
          <p:cNvSpPr txBox="1"/>
          <p:nvPr/>
        </p:nvSpPr>
        <p:spPr>
          <a:xfrm>
            <a:off x="6875908" y="4452681"/>
            <a:ext cx="1552733" cy="276999"/>
          </a:xfrm>
          <a:prstGeom prst="rect">
            <a:avLst/>
          </a:prstGeom>
          <a:noFill/>
        </p:spPr>
        <p:txBody>
          <a:bodyPr wrap="none" rtlCol="0">
            <a:spAutoFit/>
          </a:bodyPr>
          <a:lstStyle/>
          <a:p>
            <a:r>
              <a:rPr lang="en-US" sz="1200" b="1" dirty="0">
                <a:solidFill>
                  <a:srgbClr val="000000"/>
                </a:solidFill>
                <a:cs typeface="Times New Roman" panose="02020603050405020304" pitchFamily="18" charset="0"/>
              </a:rPr>
              <a:t>CUPS Architecture</a:t>
            </a:r>
          </a:p>
        </p:txBody>
      </p:sp>
      <p:sp>
        <p:nvSpPr>
          <p:cNvPr id="6" name="TextBox 5"/>
          <p:cNvSpPr txBox="1"/>
          <p:nvPr/>
        </p:nvSpPr>
        <p:spPr>
          <a:xfrm>
            <a:off x="394538" y="1306515"/>
            <a:ext cx="4024288" cy="4093428"/>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t>3GPP CUPS Architecture is assumed using Cisco Ultra</a:t>
            </a:r>
          </a:p>
          <a:p>
            <a:pPr marL="285750" indent="-285750" algn="just">
              <a:buFont typeface="Arial" panose="020B0604020202020204" pitchFamily="34" charset="0"/>
              <a:buChar char="•"/>
            </a:pPr>
            <a:r>
              <a:rPr lang="en-US" sz="1400" dirty="0"/>
              <a:t>Traditional 4G Architecture</a:t>
            </a:r>
          </a:p>
          <a:p>
            <a:pPr marL="742950" lvl="1" indent="-285750" algn="just">
              <a:buFont typeface="Arial" panose="020B0604020202020204" pitchFamily="34" charset="0"/>
              <a:buChar char="•"/>
            </a:pPr>
            <a:r>
              <a:rPr lang="en-US" sz="1400" dirty="0"/>
              <a:t>Control Plane is combined with Data Plane (SAEGW)</a:t>
            </a:r>
          </a:p>
          <a:p>
            <a:pPr marL="285750" indent="-285750" algn="just">
              <a:buFont typeface="Arial" panose="020B0604020202020204" pitchFamily="34" charset="0"/>
              <a:buChar char="•"/>
            </a:pPr>
            <a:r>
              <a:rPr lang="en-US" sz="1400" dirty="0"/>
              <a:t>CUPS Architecture </a:t>
            </a:r>
          </a:p>
          <a:p>
            <a:pPr marL="742950" lvl="1" indent="-285750" algn="just">
              <a:buFont typeface="Arial" panose="020B0604020202020204" pitchFamily="34" charset="0"/>
              <a:buChar char="•"/>
            </a:pPr>
            <a:r>
              <a:rPr lang="en-US" sz="1400" dirty="0"/>
              <a:t>Decoupling of the control plane and Data plane (SAEGW-c and SAEGW-u)</a:t>
            </a:r>
          </a:p>
          <a:p>
            <a:pPr marL="285750" indent="-285750" algn="just">
              <a:buFont typeface="Arial" panose="020B0604020202020204" pitchFamily="34" charset="0"/>
              <a:buChar char="•"/>
            </a:pPr>
            <a:r>
              <a:rPr lang="en-US" sz="1400" dirty="0"/>
              <a:t>Aligns to 5G</a:t>
            </a:r>
          </a:p>
          <a:p>
            <a:pPr marL="742950" lvl="1" indent="-285750" algn="just">
              <a:buFont typeface="Arial" panose="020B0604020202020204" pitchFamily="34" charset="0"/>
              <a:buChar char="•"/>
            </a:pPr>
            <a:r>
              <a:rPr lang="en-US" sz="1400" dirty="0"/>
              <a:t>decouples the control functions consolidating them into a mobility control plane so that the user plane is fairly generic</a:t>
            </a:r>
          </a:p>
          <a:p>
            <a:pPr marL="742950" lvl="1" indent="-285750" algn="just">
              <a:buFont typeface="Arial" panose="020B0604020202020204" pitchFamily="34" charset="0"/>
              <a:buChar char="•"/>
            </a:pPr>
            <a:r>
              <a:rPr lang="en-US" sz="1400" dirty="0"/>
              <a:t>Policy, charging, and LI are all accessible via the control plane in CUP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ZA" dirty="0"/>
          </a:p>
        </p:txBody>
      </p:sp>
    </p:spTree>
    <p:extLst>
      <p:ext uri="{BB962C8B-B14F-4D97-AF65-F5344CB8AC3E}">
        <p14:creationId xmlns:p14="http://schemas.microsoft.com/office/powerpoint/2010/main" val="2755382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a:extLst>
              <a:ext uri="{FF2B5EF4-FFF2-40B4-BE49-F238E27FC236}">
                <a16:creationId xmlns:a16="http://schemas.microsoft.com/office/drawing/2014/main" id="{FD2CF8CA-3EE8-8A4D-87EA-C216F0C46FA4}"/>
              </a:ext>
            </a:extLst>
          </p:cNvPr>
          <p:cNvSpPr>
            <a:spLocks noGrp="1"/>
          </p:cNvSpPr>
          <p:nvPr>
            <p:ph type="title"/>
          </p:nvPr>
        </p:nvSpPr>
        <p:spPr>
          <a:xfrm>
            <a:off x="250167" y="1"/>
            <a:ext cx="8345488" cy="731837"/>
          </a:xfrm>
        </p:spPr>
        <p:txBody>
          <a:bodyPr/>
          <a:lstStyle/>
          <a:p>
            <a:r>
              <a:rPr lang="en-GB" dirty="0">
                <a:latin typeface="+mn-lt"/>
              </a:rPr>
              <a:t>Fit into end-to-end Architecture</a:t>
            </a:r>
          </a:p>
        </p:txBody>
      </p:sp>
      <p:grpSp>
        <p:nvGrpSpPr>
          <p:cNvPr id="4" name="Group 3">
            <a:extLst>
              <a:ext uri="{FF2B5EF4-FFF2-40B4-BE49-F238E27FC236}">
                <a16:creationId xmlns:a16="http://schemas.microsoft.com/office/drawing/2014/main" id="{2E95E9D7-4C9F-45D5-9F62-8B0E87225D84}"/>
              </a:ext>
            </a:extLst>
          </p:cNvPr>
          <p:cNvGrpSpPr/>
          <p:nvPr/>
        </p:nvGrpSpPr>
        <p:grpSpPr>
          <a:xfrm>
            <a:off x="163902" y="643517"/>
            <a:ext cx="9387175" cy="4308045"/>
            <a:chOff x="163902" y="643517"/>
            <a:chExt cx="9387175" cy="4308045"/>
          </a:xfrm>
        </p:grpSpPr>
        <p:grpSp>
          <p:nvGrpSpPr>
            <p:cNvPr id="23" name="Group 22">
              <a:extLst>
                <a:ext uri="{FF2B5EF4-FFF2-40B4-BE49-F238E27FC236}">
                  <a16:creationId xmlns:a16="http://schemas.microsoft.com/office/drawing/2014/main" id="{E64DEC5D-6369-C246-BDA3-2642F9BCC3FF}"/>
                </a:ext>
              </a:extLst>
            </p:cNvPr>
            <p:cNvGrpSpPr/>
            <p:nvPr/>
          </p:nvGrpSpPr>
          <p:grpSpPr>
            <a:xfrm>
              <a:off x="2867892" y="988620"/>
              <a:ext cx="5790341" cy="3149936"/>
              <a:chOff x="2202872" y="1179613"/>
              <a:chExt cx="8257309" cy="4199914"/>
            </a:xfrm>
          </p:grpSpPr>
          <p:pic>
            <p:nvPicPr>
              <p:cNvPr id="3" name="Picture 2">
                <a:extLst>
                  <a:ext uri="{FF2B5EF4-FFF2-40B4-BE49-F238E27FC236}">
                    <a16:creationId xmlns:a16="http://schemas.microsoft.com/office/drawing/2014/main" id="{A2665DA0-1D80-5B47-ACF2-83FED1C8AAAA}"/>
                  </a:ext>
                </a:extLst>
              </p:cNvPr>
              <p:cNvPicPr>
                <a:picLocks noChangeAspect="1"/>
              </p:cNvPicPr>
              <p:nvPr/>
            </p:nvPicPr>
            <p:blipFill>
              <a:blip r:embed="rId2"/>
              <a:stretch>
                <a:fillRect/>
              </a:stretch>
            </p:blipFill>
            <p:spPr>
              <a:xfrm>
                <a:off x="2202872" y="1179613"/>
                <a:ext cx="8257309" cy="4199914"/>
              </a:xfrm>
              <a:prstGeom prst="rect">
                <a:avLst/>
              </a:prstGeom>
            </p:spPr>
          </p:pic>
          <p:pic>
            <p:nvPicPr>
              <p:cNvPr id="6" name="Picture 5">
                <a:extLst>
                  <a:ext uri="{FF2B5EF4-FFF2-40B4-BE49-F238E27FC236}">
                    <a16:creationId xmlns:a16="http://schemas.microsoft.com/office/drawing/2014/main" id="{8F950B80-ED53-9B45-808A-ACC6FDB487E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53191" y="2096187"/>
                <a:ext cx="837718" cy="109503"/>
              </a:xfrm>
              <a:prstGeom prst="rect">
                <a:avLst/>
              </a:prstGeom>
            </p:spPr>
          </p:pic>
          <p:cxnSp>
            <p:nvCxnSpPr>
              <p:cNvPr id="11" name="Straight Connector 10">
                <a:extLst>
                  <a:ext uri="{FF2B5EF4-FFF2-40B4-BE49-F238E27FC236}">
                    <a16:creationId xmlns:a16="http://schemas.microsoft.com/office/drawing/2014/main" id="{ACE218F4-9A3C-E043-B31C-42F3AB17C980}"/>
                  </a:ext>
                </a:extLst>
              </p:cNvPr>
              <p:cNvCxnSpPr>
                <a:cxnSpLocks/>
              </p:cNvCxnSpPr>
              <p:nvPr/>
            </p:nvCxnSpPr>
            <p:spPr>
              <a:xfrm flipV="1">
                <a:off x="9974246" y="2196338"/>
                <a:ext cx="0" cy="311336"/>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FF77376-E8DC-C64B-B7D4-31A7C1AF58B4}"/>
                  </a:ext>
                </a:extLst>
              </p:cNvPr>
              <p:cNvCxnSpPr>
                <a:cxnSpLocks/>
              </p:cNvCxnSpPr>
              <p:nvPr/>
            </p:nvCxnSpPr>
            <p:spPr>
              <a:xfrm flipV="1">
                <a:off x="9974246" y="1805274"/>
                <a:ext cx="0" cy="304541"/>
              </a:xfrm>
              <a:prstGeom prst="line">
                <a:avLst/>
              </a:prstGeom>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DF53BD4-BEF5-6D47-A16B-72EDA98D1F6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9720286" y="1307619"/>
                <a:ext cx="519776" cy="504349"/>
              </a:xfrm>
              <a:prstGeom prst="rect">
                <a:avLst/>
              </a:prstGeom>
            </p:spPr>
          </p:pic>
        </p:grpSp>
        <p:sp>
          <p:nvSpPr>
            <p:cNvPr id="21" name="Rounded Rectangle 20">
              <a:extLst>
                <a:ext uri="{FF2B5EF4-FFF2-40B4-BE49-F238E27FC236}">
                  <a16:creationId xmlns:a16="http://schemas.microsoft.com/office/drawing/2014/main" id="{89B79772-D849-AF4E-8CED-0D93F15D1BEC}"/>
                </a:ext>
              </a:extLst>
            </p:cNvPr>
            <p:cNvSpPr/>
            <p:nvPr/>
          </p:nvSpPr>
          <p:spPr>
            <a:xfrm>
              <a:off x="1390669" y="4342525"/>
              <a:ext cx="7311991" cy="173964"/>
            </a:xfrm>
            <a:prstGeom prst="roundRect">
              <a:avLst>
                <a:gd name="adj" fmla="val 50000"/>
              </a:avLst>
            </a:prstGeom>
            <a:solidFill>
              <a:srgbClr val="00B050"/>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r>
                <a:rPr lang="en-US" sz="1100" dirty="0">
                  <a:solidFill>
                    <a:srgbClr val="FFFFFF"/>
                  </a:solidFill>
                  <a:ea typeface="CiscoSansTT ExtraLight" charset="0"/>
                  <a:cs typeface="CiscoSansTT ExtraLight" charset="0"/>
                </a:rPr>
                <a:t>BGP-based VPNs</a:t>
              </a:r>
            </a:p>
          </p:txBody>
        </p:sp>
        <p:sp>
          <p:nvSpPr>
            <p:cNvPr id="22" name="Rounded Rectangle 21">
              <a:extLst>
                <a:ext uri="{FF2B5EF4-FFF2-40B4-BE49-F238E27FC236}">
                  <a16:creationId xmlns:a16="http://schemas.microsoft.com/office/drawing/2014/main" id="{1473BDA2-869D-6143-A7CE-2180B36FE45B}"/>
                </a:ext>
              </a:extLst>
            </p:cNvPr>
            <p:cNvSpPr/>
            <p:nvPr/>
          </p:nvSpPr>
          <p:spPr>
            <a:xfrm>
              <a:off x="1390668" y="4559591"/>
              <a:ext cx="7311991" cy="183381"/>
            </a:xfrm>
            <a:prstGeom prst="roundRect">
              <a:avLst>
                <a:gd name="adj" fmla="val 50000"/>
              </a:avLst>
            </a:prstGeom>
            <a:solidFill>
              <a:schemeClr val="tx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r>
                <a:rPr lang="en-US" sz="1100" dirty="0">
                  <a:solidFill>
                    <a:srgbClr val="FFFFFF"/>
                  </a:solidFill>
                  <a:ea typeface="CiscoSansTT ExtraLight" charset="0"/>
                  <a:cs typeface="CiscoSansTT ExtraLight" charset="0"/>
                </a:rPr>
                <a:t>Segment Routing (SR)</a:t>
              </a:r>
            </a:p>
          </p:txBody>
        </p:sp>
        <p:sp>
          <p:nvSpPr>
            <p:cNvPr id="24" name="TextBox 23">
              <a:extLst>
                <a:ext uri="{FF2B5EF4-FFF2-40B4-BE49-F238E27FC236}">
                  <a16:creationId xmlns:a16="http://schemas.microsoft.com/office/drawing/2014/main" id="{48E7F76A-BD58-DE43-B644-06326096CC56}"/>
                </a:ext>
              </a:extLst>
            </p:cNvPr>
            <p:cNvSpPr txBox="1"/>
            <p:nvPr/>
          </p:nvSpPr>
          <p:spPr>
            <a:xfrm>
              <a:off x="880206" y="1146581"/>
              <a:ext cx="1545742" cy="215444"/>
            </a:xfrm>
            <a:prstGeom prst="rect">
              <a:avLst/>
            </a:prstGeom>
            <a:noFill/>
          </p:spPr>
          <p:txBody>
            <a:bodyPr wrap="square" rtlCol="0">
              <a:spAutoFit/>
            </a:bodyPr>
            <a:lstStyle/>
            <a:p>
              <a:pPr algn="ctr" defTabSz="457166">
                <a:spcAft>
                  <a:spcPts val="600"/>
                </a:spcAft>
                <a:defRPr/>
              </a:pPr>
              <a:r>
                <a:rPr lang="en-US" sz="800" b="1" dirty="0">
                  <a:solidFill>
                    <a:schemeClr val="accent5"/>
                  </a:solidFill>
                  <a:latin typeface="+mn-lt"/>
                </a:rPr>
                <a:t>NCS 540</a:t>
              </a:r>
            </a:p>
          </p:txBody>
        </p:sp>
        <p:pic>
          <p:nvPicPr>
            <p:cNvPr id="25" name="Picture 24" descr="C:\Users\pkesavan\Documents\ERBU\SPAccess\Tortin\Pics\KS42011.jpg">
              <a:extLst>
                <a:ext uri="{FF2B5EF4-FFF2-40B4-BE49-F238E27FC236}">
                  <a16:creationId xmlns:a16="http://schemas.microsoft.com/office/drawing/2014/main" id="{CE7D70BC-22DB-D64E-B1E9-A68CA916F968}"/>
                </a:ext>
              </a:extLst>
            </p:cNvPr>
            <p:cNvPicPr/>
            <p:nvPr/>
          </p:nvPicPr>
          <p:blipFill rotWithShape="1">
            <a:blip r:embed="rId5" cstate="email">
              <a:extLst>
                <a:ext uri="{28A0092B-C50C-407E-A947-70E740481C1C}">
                  <a14:useLocalDpi xmlns:a14="http://schemas.microsoft.com/office/drawing/2010/main"/>
                </a:ext>
              </a:extLst>
            </a:blip>
            <a:srcRect/>
            <a:stretch/>
          </p:blipFill>
          <p:spPr bwMode="auto">
            <a:xfrm>
              <a:off x="1211795" y="1319645"/>
              <a:ext cx="855997" cy="114300"/>
            </a:xfrm>
            <a:prstGeom prst="rect">
              <a:avLst/>
            </a:prstGeom>
            <a:noFill/>
            <a:ln>
              <a:noFill/>
            </a:ln>
            <a:extLst>
              <a:ext uri="{53640926-AAD7-44D8-BBD7-CCE9431645EC}">
                <a14:shadowObscured xmlns:a14="http://schemas.microsoft.com/office/drawing/2010/main"/>
              </a:ext>
            </a:extLst>
          </p:spPr>
        </p:pic>
        <p:cxnSp>
          <p:nvCxnSpPr>
            <p:cNvPr id="26" name="Straight Connector 25">
              <a:extLst>
                <a:ext uri="{FF2B5EF4-FFF2-40B4-BE49-F238E27FC236}">
                  <a16:creationId xmlns:a16="http://schemas.microsoft.com/office/drawing/2014/main" id="{5629458B-48A9-FD46-9508-A3238DB0BC25}"/>
                </a:ext>
              </a:extLst>
            </p:cNvPr>
            <p:cNvCxnSpPr>
              <a:cxnSpLocks/>
              <a:stCxn id="25" idx="3"/>
            </p:cNvCxnSpPr>
            <p:nvPr/>
          </p:nvCxnSpPr>
          <p:spPr>
            <a:xfrm>
              <a:off x="2067791" y="1376796"/>
              <a:ext cx="872837" cy="597478"/>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EFBCB1F-8AC8-1F43-8E65-85D7D16E9385}"/>
                </a:ext>
              </a:extLst>
            </p:cNvPr>
            <p:cNvCxnSpPr>
              <a:cxnSpLocks/>
              <a:endCxn id="25" idx="1"/>
            </p:cNvCxnSpPr>
            <p:nvPr/>
          </p:nvCxnSpPr>
          <p:spPr>
            <a:xfrm flipV="1">
              <a:off x="463938" y="1376796"/>
              <a:ext cx="747856" cy="197659"/>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48" name="Picture 47" descr="C:\Users\pkesavan\Documents\ERBU\SPAccess\Tortin\Pics\KS42011.jpg">
              <a:extLst>
                <a:ext uri="{FF2B5EF4-FFF2-40B4-BE49-F238E27FC236}">
                  <a16:creationId xmlns:a16="http://schemas.microsoft.com/office/drawing/2014/main" id="{BEE98708-A62A-E741-B6EC-4815E44699E4}"/>
                </a:ext>
              </a:extLst>
            </p:cNvPr>
            <p:cNvPicPr/>
            <p:nvPr/>
          </p:nvPicPr>
          <p:blipFill rotWithShape="1">
            <a:blip r:embed="rId6" cstate="email">
              <a:extLst>
                <a:ext uri="{BEBA8EAE-BF5A-486C-A8C5-ECC9F3942E4B}">
                  <a14:imgProps xmlns:a14="http://schemas.microsoft.com/office/drawing/2010/main">
                    <a14:imgLayer r:embed="rId7">
                      <a14:imgEffect>
                        <a14:artisticGlowEdges/>
                      </a14:imgEffect>
                    </a14:imgLayer>
                  </a14:imgProps>
                </a:ext>
                <a:ext uri="{28A0092B-C50C-407E-A947-70E740481C1C}">
                  <a14:useLocalDpi xmlns:a14="http://schemas.microsoft.com/office/drawing/2010/main"/>
                </a:ext>
              </a:extLst>
            </a:blip>
            <a:srcRect/>
            <a:stretch/>
          </p:blipFill>
          <p:spPr bwMode="auto">
            <a:xfrm>
              <a:off x="1326097" y="2265218"/>
              <a:ext cx="855997" cy="114300"/>
            </a:xfrm>
            <a:prstGeom prst="rect">
              <a:avLst/>
            </a:prstGeom>
            <a:noFill/>
            <a:ln>
              <a:noFill/>
            </a:ln>
            <a:extLst>
              <a:ext uri="{53640926-AAD7-44D8-BBD7-CCE9431645EC}">
                <a14:shadowObscured xmlns:a14="http://schemas.microsoft.com/office/drawing/2010/main"/>
              </a:ext>
            </a:extLst>
          </p:spPr>
        </p:pic>
        <p:cxnSp>
          <p:nvCxnSpPr>
            <p:cNvPr id="52" name="Straight Connector 51">
              <a:extLst>
                <a:ext uri="{FF2B5EF4-FFF2-40B4-BE49-F238E27FC236}">
                  <a16:creationId xmlns:a16="http://schemas.microsoft.com/office/drawing/2014/main" id="{4C3D338C-6C64-9F48-924C-0E99804D1085}"/>
                </a:ext>
              </a:extLst>
            </p:cNvPr>
            <p:cNvCxnSpPr>
              <a:cxnSpLocks/>
              <a:endCxn id="48" idx="1"/>
            </p:cNvCxnSpPr>
            <p:nvPr/>
          </p:nvCxnSpPr>
          <p:spPr>
            <a:xfrm>
              <a:off x="505502" y="2312993"/>
              <a:ext cx="820595" cy="9376"/>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D0E8F8-D40E-5540-B843-D559D47D6C32}"/>
                </a:ext>
              </a:extLst>
            </p:cNvPr>
            <p:cNvCxnSpPr>
              <a:cxnSpLocks/>
              <a:stCxn id="48" idx="3"/>
            </p:cNvCxnSpPr>
            <p:nvPr/>
          </p:nvCxnSpPr>
          <p:spPr>
            <a:xfrm>
              <a:off x="2182093" y="2322368"/>
              <a:ext cx="768926" cy="60786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859E906E-A2D6-9041-9082-F441BA24B345}"/>
                </a:ext>
              </a:extLst>
            </p:cNvPr>
            <p:cNvSpPr txBox="1"/>
            <p:nvPr/>
          </p:nvSpPr>
          <p:spPr>
            <a:xfrm>
              <a:off x="971478" y="2398826"/>
              <a:ext cx="1545742" cy="215444"/>
            </a:xfrm>
            <a:prstGeom prst="rect">
              <a:avLst/>
            </a:prstGeom>
            <a:noFill/>
          </p:spPr>
          <p:txBody>
            <a:bodyPr wrap="square" rtlCol="0">
              <a:spAutoFit/>
            </a:bodyPr>
            <a:lstStyle/>
            <a:p>
              <a:pPr algn="ctr" defTabSz="457166">
                <a:spcAft>
                  <a:spcPts val="600"/>
                </a:spcAft>
                <a:defRPr/>
              </a:pPr>
              <a:r>
                <a:rPr lang="en-US" sz="800" b="1" i="1" dirty="0">
                  <a:solidFill>
                    <a:schemeClr val="accent5"/>
                  </a:solidFill>
                  <a:latin typeface="+mn-lt"/>
                </a:rPr>
                <a:t>“</a:t>
              </a:r>
              <a:r>
                <a:rPr lang="en-US" sz="800" b="1" i="1" dirty="0" err="1">
                  <a:solidFill>
                    <a:schemeClr val="accent5"/>
                  </a:solidFill>
                  <a:latin typeface="+mn-lt"/>
                </a:rPr>
                <a:t>Felidae</a:t>
              </a:r>
              <a:r>
                <a:rPr lang="en-US" sz="800" b="1" i="1" dirty="0">
                  <a:solidFill>
                    <a:schemeClr val="accent5"/>
                  </a:solidFill>
                  <a:latin typeface="+mn-lt"/>
                </a:rPr>
                <a:t>”</a:t>
              </a:r>
            </a:p>
          </p:txBody>
        </p:sp>
        <p:cxnSp>
          <p:nvCxnSpPr>
            <p:cNvPr id="61" name="Straight Connector 60">
              <a:extLst>
                <a:ext uri="{FF2B5EF4-FFF2-40B4-BE49-F238E27FC236}">
                  <a16:creationId xmlns:a16="http://schemas.microsoft.com/office/drawing/2014/main" id="{D63BCEC7-FE06-1F44-B24A-D7B0409660ED}"/>
                </a:ext>
              </a:extLst>
            </p:cNvPr>
            <p:cNvCxnSpPr>
              <a:cxnSpLocks/>
            </p:cNvCxnSpPr>
            <p:nvPr/>
          </p:nvCxnSpPr>
          <p:spPr>
            <a:xfrm flipV="1">
              <a:off x="458047" y="2367702"/>
              <a:ext cx="987188" cy="492484"/>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A06C7A62-852F-1049-B4ED-739341442597}"/>
                </a:ext>
              </a:extLst>
            </p:cNvPr>
            <p:cNvSpPr txBox="1"/>
            <p:nvPr/>
          </p:nvSpPr>
          <p:spPr>
            <a:xfrm>
              <a:off x="5122718" y="3360870"/>
              <a:ext cx="1143000" cy="213585"/>
            </a:xfrm>
            <a:prstGeom prst="rect">
              <a:avLst/>
            </a:prstGeom>
            <a:noFill/>
          </p:spPr>
          <p:txBody>
            <a:bodyPr wrap="square" rtlCol="0">
              <a:spAutoFit/>
            </a:bodyPr>
            <a:lstStyle/>
            <a:p>
              <a:r>
                <a:rPr lang="en-GB" sz="788" dirty="0">
                  <a:latin typeface="+mn-lt"/>
                </a:rPr>
                <a:t>100/200G IPoDWDM</a:t>
              </a:r>
            </a:p>
          </p:txBody>
        </p:sp>
        <p:cxnSp>
          <p:nvCxnSpPr>
            <p:cNvPr id="80" name="Straight Connector 79">
              <a:extLst>
                <a:ext uri="{FF2B5EF4-FFF2-40B4-BE49-F238E27FC236}">
                  <a16:creationId xmlns:a16="http://schemas.microsoft.com/office/drawing/2014/main" id="{CC84CCC4-3E9F-9D4B-9129-E18C82D7F975}"/>
                </a:ext>
              </a:extLst>
            </p:cNvPr>
            <p:cNvCxnSpPr>
              <a:cxnSpLocks/>
            </p:cNvCxnSpPr>
            <p:nvPr/>
          </p:nvCxnSpPr>
          <p:spPr>
            <a:xfrm flipV="1">
              <a:off x="1276169" y="3038476"/>
              <a:ext cx="1657531" cy="743834"/>
            </a:xfrm>
            <a:prstGeom prst="line">
              <a:avLst/>
            </a:prstGeom>
            <a:ln w="9525"/>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742C65CE-0A84-784F-A6FE-12ACAA9C9F86}"/>
                </a:ext>
              </a:extLst>
            </p:cNvPr>
            <p:cNvGrpSpPr/>
            <p:nvPr/>
          </p:nvGrpSpPr>
          <p:grpSpPr>
            <a:xfrm>
              <a:off x="1229491" y="722967"/>
              <a:ext cx="1015376" cy="246221"/>
              <a:chOff x="1050584" y="1124438"/>
              <a:chExt cx="1015376" cy="246222"/>
            </a:xfrm>
          </p:grpSpPr>
          <p:sp>
            <p:nvSpPr>
              <p:cNvPr id="93" name="Rounded Rectangle 92">
                <a:extLst>
                  <a:ext uri="{FF2B5EF4-FFF2-40B4-BE49-F238E27FC236}">
                    <a16:creationId xmlns:a16="http://schemas.microsoft.com/office/drawing/2014/main" id="{4861F086-A04B-5147-9784-B708A3586BE2}"/>
                  </a:ext>
                </a:extLst>
              </p:cNvPr>
              <p:cNvSpPr/>
              <p:nvPr/>
            </p:nvSpPr>
            <p:spPr>
              <a:xfrm>
                <a:off x="1050584" y="1127984"/>
                <a:ext cx="1015376" cy="218520"/>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66">
                  <a:defRPr/>
                </a:pPr>
                <a:endParaRPr lang="en-US" sz="1900" dirty="0">
                  <a:solidFill>
                    <a:srgbClr val="005073"/>
                  </a:solidFill>
                </a:endParaRPr>
              </a:p>
            </p:txBody>
          </p:sp>
          <p:sp>
            <p:nvSpPr>
              <p:cNvPr id="94" name="TextBox 93">
                <a:extLst>
                  <a:ext uri="{FF2B5EF4-FFF2-40B4-BE49-F238E27FC236}">
                    <a16:creationId xmlns:a16="http://schemas.microsoft.com/office/drawing/2014/main" id="{C182113A-3305-8A43-B091-C5AB5C9F00E9}"/>
                  </a:ext>
                </a:extLst>
              </p:cNvPr>
              <p:cNvSpPr txBox="1"/>
              <p:nvPr/>
            </p:nvSpPr>
            <p:spPr>
              <a:xfrm>
                <a:off x="1211762" y="1124438"/>
                <a:ext cx="688299" cy="246222"/>
              </a:xfrm>
              <a:prstGeom prst="rect">
                <a:avLst/>
              </a:prstGeom>
              <a:noFill/>
            </p:spPr>
            <p:txBody>
              <a:bodyPr wrap="square" rtlCol="0">
                <a:spAutoFit/>
              </a:bodyPr>
              <a:lstStyle/>
              <a:p>
                <a:pPr algn="ctr" defTabSz="457166">
                  <a:spcAft>
                    <a:spcPts val="600"/>
                  </a:spcAft>
                  <a:defRPr/>
                </a:pPr>
                <a:r>
                  <a:rPr lang="en-US" sz="1000" b="1" dirty="0">
                    <a:solidFill>
                      <a:srgbClr val="FFFFFF"/>
                    </a:solidFill>
                    <a:latin typeface="+mn-lt"/>
                  </a:rPr>
                  <a:t>Cell-site</a:t>
                </a:r>
              </a:p>
            </p:txBody>
          </p:sp>
        </p:grpSp>
        <p:sp>
          <p:nvSpPr>
            <p:cNvPr id="95" name="Rounded Rectangle 94">
              <a:extLst>
                <a:ext uri="{FF2B5EF4-FFF2-40B4-BE49-F238E27FC236}">
                  <a16:creationId xmlns:a16="http://schemas.microsoft.com/office/drawing/2014/main" id="{064C22E2-FFAE-0349-A5C9-BE8930AB79D1}"/>
                </a:ext>
              </a:extLst>
            </p:cNvPr>
            <p:cNvSpPr/>
            <p:nvPr/>
          </p:nvSpPr>
          <p:spPr>
            <a:xfrm>
              <a:off x="4233785" y="713005"/>
              <a:ext cx="1251640" cy="218520"/>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66">
                <a:defRPr/>
              </a:pPr>
              <a:endParaRPr lang="en-US" sz="1900" dirty="0">
                <a:solidFill>
                  <a:srgbClr val="005073"/>
                </a:solidFill>
              </a:endParaRPr>
            </a:p>
          </p:txBody>
        </p:sp>
        <p:sp>
          <p:nvSpPr>
            <p:cNvPr id="96" name="TextBox 95">
              <a:extLst>
                <a:ext uri="{FF2B5EF4-FFF2-40B4-BE49-F238E27FC236}">
                  <a16:creationId xmlns:a16="http://schemas.microsoft.com/office/drawing/2014/main" id="{C1A1A9C8-1997-8C4A-A6AB-1EA723343705}"/>
                </a:ext>
              </a:extLst>
            </p:cNvPr>
            <p:cNvSpPr txBox="1"/>
            <p:nvPr/>
          </p:nvSpPr>
          <p:spPr>
            <a:xfrm>
              <a:off x="4201063" y="701342"/>
              <a:ext cx="1354163" cy="246221"/>
            </a:xfrm>
            <a:prstGeom prst="rect">
              <a:avLst/>
            </a:prstGeom>
            <a:noFill/>
          </p:spPr>
          <p:txBody>
            <a:bodyPr wrap="square" rtlCol="0">
              <a:spAutoFit/>
            </a:bodyPr>
            <a:lstStyle/>
            <a:p>
              <a:pPr algn="ctr" defTabSz="457166">
                <a:spcAft>
                  <a:spcPts val="600"/>
                </a:spcAft>
                <a:defRPr/>
              </a:pPr>
              <a:r>
                <a:rPr lang="en-US" sz="1000" b="1" dirty="0">
                  <a:solidFill>
                    <a:srgbClr val="FFFFFF"/>
                  </a:solidFill>
                  <a:latin typeface="+mn-lt"/>
                </a:rPr>
                <a:t>Pre-Aggregation</a:t>
              </a:r>
            </a:p>
          </p:txBody>
        </p:sp>
        <p:sp>
          <p:nvSpPr>
            <p:cNvPr id="97" name="Rounded Rectangle 96">
              <a:extLst>
                <a:ext uri="{FF2B5EF4-FFF2-40B4-BE49-F238E27FC236}">
                  <a16:creationId xmlns:a16="http://schemas.microsoft.com/office/drawing/2014/main" id="{697EEC44-F46D-9740-A2C2-B04668D82638}"/>
                </a:ext>
              </a:extLst>
            </p:cNvPr>
            <p:cNvSpPr/>
            <p:nvPr/>
          </p:nvSpPr>
          <p:spPr>
            <a:xfrm>
              <a:off x="7254035" y="697065"/>
              <a:ext cx="1458646" cy="218520"/>
            </a:xfrm>
            <a:prstGeom prst="roundRect">
              <a:avLst>
                <a:gd name="adj" fmla="val 50000"/>
              </a:avLst>
            </a:prstGeom>
            <a:gradFill flip="none" rotWithShape="1">
              <a:gsLst>
                <a:gs pos="0">
                  <a:schemeClr val="accent1"/>
                </a:gs>
                <a:gs pos="100000">
                  <a:schemeClr val="accent3"/>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a:defRPr/>
              </a:pPr>
              <a:endParaRPr lang="en-US" sz="1900" dirty="0">
                <a:solidFill>
                  <a:srgbClr val="005073"/>
                </a:solidFill>
              </a:endParaRPr>
            </a:p>
          </p:txBody>
        </p:sp>
        <p:sp>
          <p:nvSpPr>
            <p:cNvPr id="98" name="TextBox 97">
              <a:extLst>
                <a:ext uri="{FF2B5EF4-FFF2-40B4-BE49-F238E27FC236}">
                  <a16:creationId xmlns:a16="http://schemas.microsoft.com/office/drawing/2014/main" id="{B12640FB-696B-8B43-B02D-D410921F3591}"/>
                </a:ext>
              </a:extLst>
            </p:cNvPr>
            <p:cNvSpPr txBox="1"/>
            <p:nvPr/>
          </p:nvSpPr>
          <p:spPr>
            <a:xfrm>
              <a:off x="7189768" y="675077"/>
              <a:ext cx="1664898" cy="246221"/>
            </a:xfrm>
            <a:prstGeom prst="rect">
              <a:avLst/>
            </a:prstGeom>
            <a:noFill/>
          </p:spPr>
          <p:txBody>
            <a:bodyPr wrap="square" rtlCol="0">
              <a:spAutoFit/>
            </a:bodyPr>
            <a:lstStyle/>
            <a:p>
              <a:pPr algn="ctr" defTabSz="457166">
                <a:spcAft>
                  <a:spcPts val="600"/>
                </a:spcAft>
                <a:defRPr/>
              </a:pPr>
              <a:r>
                <a:rPr lang="en-US" sz="1000" b="1" dirty="0">
                  <a:solidFill>
                    <a:srgbClr val="FFFFFF"/>
                  </a:solidFill>
                  <a:latin typeface="+mn-lt"/>
                </a:rPr>
                <a:t>Aggregation/Core</a:t>
              </a:r>
            </a:p>
          </p:txBody>
        </p:sp>
        <p:cxnSp>
          <p:nvCxnSpPr>
            <p:cNvPr id="104" name="Straight Connector 103">
              <a:extLst>
                <a:ext uri="{FF2B5EF4-FFF2-40B4-BE49-F238E27FC236}">
                  <a16:creationId xmlns:a16="http://schemas.microsoft.com/office/drawing/2014/main" id="{01428988-21B7-654C-9F8E-8045C9936846}"/>
                </a:ext>
              </a:extLst>
            </p:cNvPr>
            <p:cNvCxnSpPr>
              <a:cxnSpLocks/>
            </p:cNvCxnSpPr>
            <p:nvPr/>
          </p:nvCxnSpPr>
          <p:spPr>
            <a:xfrm flipV="1">
              <a:off x="3243550" y="3040138"/>
              <a:ext cx="0" cy="361757"/>
            </a:xfrm>
            <a:prstGeom prst="line">
              <a:avLst/>
            </a:prstGeom>
          </p:spPr>
          <p:style>
            <a:lnRef idx="1">
              <a:schemeClr val="accent1"/>
            </a:lnRef>
            <a:fillRef idx="0">
              <a:schemeClr val="accent1"/>
            </a:fillRef>
            <a:effectRef idx="0">
              <a:schemeClr val="accent1"/>
            </a:effectRef>
            <a:fontRef idx="minor">
              <a:schemeClr val="tx1"/>
            </a:fontRef>
          </p:style>
        </p:cxnSp>
        <p:pic>
          <p:nvPicPr>
            <p:cNvPr id="105" name="Picture 104">
              <a:extLst>
                <a:ext uri="{FF2B5EF4-FFF2-40B4-BE49-F238E27FC236}">
                  <a16:creationId xmlns:a16="http://schemas.microsoft.com/office/drawing/2014/main" id="{9CAFFCFA-0B8A-334B-BD63-1800B7FB81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3064151" y="3385158"/>
              <a:ext cx="364487" cy="378262"/>
            </a:xfrm>
            <a:prstGeom prst="rect">
              <a:avLst/>
            </a:prstGeom>
          </p:spPr>
        </p:pic>
        <p:sp>
          <p:nvSpPr>
            <p:cNvPr id="12" name="TextBox 11">
              <a:extLst>
                <a:ext uri="{FF2B5EF4-FFF2-40B4-BE49-F238E27FC236}">
                  <a16:creationId xmlns:a16="http://schemas.microsoft.com/office/drawing/2014/main" id="{91750E26-5D4A-244E-A2FB-3D8A118CA608}"/>
                </a:ext>
              </a:extLst>
            </p:cNvPr>
            <p:cNvSpPr txBox="1"/>
            <p:nvPr/>
          </p:nvSpPr>
          <p:spPr>
            <a:xfrm>
              <a:off x="163902" y="1699405"/>
              <a:ext cx="526212" cy="246221"/>
            </a:xfrm>
            <a:prstGeom prst="rect">
              <a:avLst/>
            </a:prstGeom>
            <a:noFill/>
          </p:spPr>
          <p:txBody>
            <a:bodyPr wrap="square" rtlCol="0">
              <a:spAutoFit/>
            </a:bodyPr>
            <a:lstStyle/>
            <a:p>
              <a:r>
                <a:rPr lang="en-GB" sz="1000" dirty="0">
                  <a:latin typeface="+mn-lt"/>
                </a:rPr>
                <a:t>BBU</a:t>
              </a:r>
            </a:p>
          </p:txBody>
        </p:sp>
        <p:sp>
          <p:nvSpPr>
            <p:cNvPr id="76" name="TextBox 75">
              <a:extLst>
                <a:ext uri="{FF2B5EF4-FFF2-40B4-BE49-F238E27FC236}">
                  <a16:creationId xmlns:a16="http://schemas.microsoft.com/office/drawing/2014/main" id="{E93B2773-3A27-114A-B5EE-2D704B0D77A0}"/>
                </a:ext>
              </a:extLst>
            </p:cNvPr>
            <p:cNvSpPr txBox="1"/>
            <p:nvPr/>
          </p:nvSpPr>
          <p:spPr>
            <a:xfrm>
              <a:off x="244416" y="2418272"/>
              <a:ext cx="526212" cy="246221"/>
            </a:xfrm>
            <a:prstGeom prst="rect">
              <a:avLst/>
            </a:prstGeom>
            <a:noFill/>
          </p:spPr>
          <p:txBody>
            <a:bodyPr wrap="square" rtlCol="0">
              <a:spAutoFit/>
            </a:bodyPr>
            <a:lstStyle/>
            <a:p>
              <a:r>
                <a:rPr lang="en-GB" sz="1000" dirty="0">
                  <a:latin typeface="+mn-lt"/>
                </a:rPr>
                <a:t>RU</a:t>
              </a:r>
            </a:p>
          </p:txBody>
        </p:sp>
        <p:sp>
          <p:nvSpPr>
            <p:cNvPr id="82" name="Rounded Rectangle 81">
              <a:extLst>
                <a:ext uri="{FF2B5EF4-FFF2-40B4-BE49-F238E27FC236}">
                  <a16:creationId xmlns:a16="http://schemas.microsoft.com/office/drawing/2014/main" id="{096E02E8-C721-814F-A744-8FFBD53B2675}"/>
                </a:ext>
              </a:extLst>
            </p:cNvPr>
            <p:cNvSpPr/>
            <p:nvPr/>
          </p:nvSpPr>
          <p:spPr>
            <a:xfrm>
              <a:off x="276045" y="4781003"/>
              <a:ext cx="8428008" cy="170559"/>
            </a:xfrm>
            <a:prstGeom prst="roundRect">
              <a:avLst>
                <a:gd name="adj" fmla="val 50000"/>
              </a:avLst>
            </a:prstGeom>
            <a:solidFill>
              <a:srgbClr val="7030A0"/>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r>
                <a:rPr lang="en-US" sz="1100" dirty="0">
                  <a:solidFill>
                    <a:srgbClr val="FFFFFF"/>
                  </a:solidFill>
                  <a:ea typeface="CiscoSansTT ExtraLight" charset="0"/>
                  <a:cs typeface="CiscoSansTT ExtraLight" charset="0"/>
                </a:rPr>
                <a:t>                     </a:t>
              </a:r>
              <a:r>
                <a:rPr lang="en-US" sz="1100" dirty="0" err="1">
                  <a:solidFill>
                    <a:srgbClr val="FFFFFF"/>
                  </a:solidFill>
                  <a:ea typeface="CiscoSansTT ExtraLight" charset="0"/>
                  <a:cs typeface="CiscoSansTT ExtraLight" charset="0"/>
                </a:rPr>
                <a:t>NetConf</a:t>
              </a:r>
              <a:r>
                <a:rPr lang="en-US" sz="1100" dirty="0">
                  <a:solidFill>
                    <a:srgbClr val="FFFFFF"/>
                  </a:solidFill>
                  <a:ea typeface="CiscoSansTT ExtraLight" charset="0"/>
                  <a:cs typeface="CiscoSansTT ExtraLight" charset="0"/>
                </a:rPr>
                <a:t>/YANG</a:t>
              </a:r>
            </a:p>
          </p:txBody>
        </p:sp>
        <p:pic>
          <p:nvPicPr>
            <p:cNvPr id="88" name="Picture 87">
              <a:extLst>
                <a:ext uri="{FF2B5EF4-FFF2-40B4-BE49-F238E27FC236}">
                  <a16:creationId xmlns:a16="http://schemas.microsoft.com/office/drawing/2014/main" id="{E7038E3B-5946-5E4C-AA0F-85DEF09C5F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95292" y="1073925"/>
              <a:ext cx="212104" cy="220120"/>
            </a:xfrm>
            <a:prstGeom prst="rect">
              <a:avLst/>
            </a:prstGeom>
          </p:spPr>
        </p:pic>
        <p:cxnSp>
          <p:nvCxnSpPr>
            <p:cNvPr id="89" name="Straight Connector 88">
              <a:extLst>
                <a:ext uri="{FF2B5EF4-FFF2-40B4-BE49-F238E27FC236}">
                  <a16:creationId xmlns:a16="http://schemas.microsoft.com/office/drawing/2014/main" id="{7E29162C-478F-5A45-8ECE-73A9FF625E36}"/>
                </a:ext>
              </a:extLst>
            </p:cNvPr>
            <p:cNvCxnSpPr>
              <a:cxnSpLocks/>
              <a:endCxn id="25" idx="1"/>
            </p:cNvCxnSpPr>
            <p:nvPr/>
          </p:nvCxnSpPr>
          <p:spPr>
            <a:xfrm>
              <a:off x="508959" y="1000664"/>
              <a:ext cx="702836" cy="376131"/>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607D74E-3E54-8843-A3BD-5C94FEC833FA}"/>
                </a:ext>
              </a:extLst>
            </p:cNvPr>
            <p:cNvSpPr txBox="1"/>
            <p:nvPr/>
          </p:nvSpPr>
          <p:spPr>
            <a:xfrm>
              <a:off x="7203056" y="2251494"/>
              <a:ext cx="897147" cy="507831"/>
            </a:xfrm>
            <a:prstGeom prst="rect">
              <a:avLst/>
            </a:prstGeom>
            <a:noFill/>
          </p:spPr>
          <p:txBody>
            <a:bodyPr wrap="square" rtlCol="0">
              <a:spAutoFit/>
            </a:bodyPr>
            <a:lstStyle/>
            <a:p>
              <a:pPr algn="ctr"/>
              <a:r>
                <a:rPr lang="en-GB" sz="900" dirty="0">
                  <a:latin typeface="+mn-lt"/>
                </a:rPr>
                <a:t>NCS 5500 </a:t>
              </a:r>
            </a:p>
            <a:p>
              <a:pPr algn="ctr"/>
              <a:r>
                <a:rPr lang="en-GB" sz="900" dirty="0">
                  <a:latin typeface="+mn-lt"/>
                </a:rPr>
                <a:t>or </a:t>
              </a:r>
            </a:p>
            <a:p>
              <a:pPr algn="ctr"/>
              <a:r>
                <a:rPr lang="en-GB" sz="900" dirty="0">
                  <a:latin typeface="+mn-lt"/>
                </a:rPr>
                <a:t>ASR 9000</a:t>
              </a:r>
            </a:p>
          </p:txBody>
        </p:sp>
        <p:sp>
          <p:nvSpPr>
            <p:cNvPr id="103" name="TextBox 102">
              <a:extLst>
                <a:ext uri="{FF2B5EF4-FFF2-40B4-BE49-F238E27FC236}">
                  <a16:creationId xmlns:a16="http://schemas.microsoft.com/office/drawing/2014/main" id="{CCAB2CBB-18ED-9442-A8CF-8BB8B2E3D7F0}"/>
                </a:ext>
              </a:extLst>
            </p:cNvPr>
            <p:cNvSpPr txBox="1"/>
            <p:nvPr/>
          </p:nvSpPr>
          <p:spPr>
            <a:xfrm>
              <a:off x="3390183" y="1049548"/>
              <a:ext cx="1316966" cy="230832"/>
            </a:xfrm>
            <a:prstGeom prst="rect">
              <a:avLst/>
            </a:prstGeom>
            <a:noFill/>
          </p:spPr>
          <p:txBody>
            <a:bodyPr wrap="square" rtlCol="0">
              <a:spAutoFit/>
            </a:bodyPr>
            <a:lstStyle/>
            <a:p>
              <a:pPr algn="ctr"/>
              <a:r>
                <a:rPr lang="en-GB" sz="900" dirty="0">
                  <a:latin typeface="+mn-lt"/>
                </a:rPr>
                <a:t>NCS 5500/500</a:t>
              </a:r>
            </a:p>
          </p:txBody>
        </p:sp>
        <p:sp>
          <p:nvSpPr>
            <p:cNvPr id="47" name="TextBox 46">
              <a:extLst>
                <a:ext uri="{FF2B5EF4-FFF2-40B4-BE49-F238E27FC236}">
                  <a16:creationId xmlns:a16="http://schemas.microsoft.com/office/drawing/2014/main" id="{94730E66-11BA-6A4B-A86A-82D99FE06E0B}"/>
                </a:ext>
              </a:extLst>
            </p:cNvPr>
            <p:cNvSpPr txBox="1"/>
            <p:nvPr/>
          </p:nvSpPr>
          <p:spPr>
            <a:xfrm>
              <a:off x="526212" y="2139351"/>
              <a:ext cx="793631" cy="369332"/>
            </a:xfrm>
            <a:prstGeom prst="rect">
              <a:avLst/>
            </a:prstGeom>
            <a:noFill/>
          </p:spPr>
          <p:txBody>
            <a:bodyPr wrap="square" rtlCol="0">
              <a:spAutoFit/>
            </a:bodyPr>
            <a:lstStyle/>
            <a:p>
              <a:pPr algn="ctr"/>
              <a:r>
                <a:rPr lang="en-GB" sz="800" dirty="0" err="1">
                  <a:latin typeface="+mn-lt"/>
                </a:rPr>
                <a:t>xRAN</a:t>
              </a:r>
              <a:endParaRPr lang="en-GB" sz="800" dirty="0">
                <a:latin typeface="+mn-lt"/>
              </a:endParaRPr>
            </a:p>
            <a:p>
              <a:pPr algn="ctr"/>
              <a:endParaRPr lang="en-GB" sz="200" dirty="0">
                <a:latin typeface="+mn-lt"/>
              </a:endParaRPr>
            </a:p>
            <a:p>
              <a:pPr algn="ctr"/>
              <a:r>
                <a:rPr lang="en-GB" sz="800" dirty="0">
                  <a:latin typeface="+mn-lt"/>
                </a:rPr>
                <a:t>(e)CPRI</a:t>
              </a:r>
            </a:p>
          </p:txBody>
        </p:sp>
        <p:cxnSp>
          <p:nvCxnSpPr>
            <p:cNvPr id="74" name="Straight Connector 73">
              <a:extLst>
                <a:ext uri="{FF2B5EF4-FFF2-40B4-BE49-F238E27FC236}">
                  <a16:creationId xmlns:a16="http://schemas.microsoft.com/office/drawing/2014/main" id="{2C0B97C9-8AA7-DB4E-A7E5-675859968BC0}"/>
                </a:ext>
              </a:extLst>
            </p:cNvPr>
            <p:cNvCxnSpPr>
              <a:cxnSpLocks/>
              <a:endCxn id="77" idx="0"/>
            </p:cNvCxnSpPr>
            <p:nvPr/>
          </p:nvCxnSpPr>
          <p:spPr>
            <a:xfrm>
              <a:off x="8604109" y="2573445"/>
              <a:ext cx="503353" cy="9025"/>
            </a:xfrm>
            <a:prstGeom prst="line">
              <a:avLst/>
            </a:prstGeom>
            <a:ln w="98425">
              <a:gradFill>
                <a:gsLst>
                  <a:gs pos="0">
                    <a:srgbClr val="FF00FF"/>
                  </a:gs>
                  <a:gs pos="22000">
                    <a:srgbClr val="FFFF00"/>
                  </a:gs>
                  <a:gs pos="75000">
                    <a:schemeClr val="accent4">
                      <a:lumMod val="60000"/>
                      <a:lumOff val="40000"/>
                    </a:schemeClr>
                  </a:gs>
                  <a:gs pos="50000">
                    <a:srgbClr val="1171FF"/>
                  </a:gs>
                  <a:gs pos="100000">
                    <a:srgbClr val="FF0000"/>
                  </a:gs>
                </a:gsLst>
                <a:lin ang="5400000" scaled="1"/>
              </a:gra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C100612F-8E60-BC4B-9156-776441B233D2}"/>
                </a:ext>
              </a:extLst>
            </p:cNvPr>
            <p:cNvSpPr txBox="1"/>
            <p:nvPr/>
          </p:nvSpPr>
          <p:spPr>
            <a:xfrm>
              <a:off x="8663847" y="2582470"/>
              <a:ext cx="887230" cy="253916"/>
            </a:xfrm>
            <a:prstGeom prst="rect">
              <a:avLst/>
            </a:prstGeom>
            <a:noFill/>
          </p:spPr>
          <p:txBody>
            <a:bodyPr wrap="square" rtlCol="0">
              <a:spAutoFit/>
            </a:bodyPr>
            <a:lstStyle/>
            <a:p>
              <a:r>
                <a:rPr lang="en-US" sz="1050" dirty="0"/>
                <a:t>400G</a:t>
              </a:r>
            </a:p>
          </p:txBody>
        </p:sp>
        <p:pic>
          <p:nvPicPr>
            <p:cNvPr id="108" name="Picture 107">
              <a:extLst>
                <a:ext uri="{FF2B5EF4-FFF2-40B4-BE49-F238E27FC236}">
                  <a16:creationId xmlns:a16="http://schemas.microsoft.com/office/drawing/2014/main" id="{1F472B7B-0462-3041-BBB7-60E15ABE12C8}"/>
                </a:ext>
              </a:extLst>
            </p:cNvPr>
            <p:cNvPicPr>
              <a:picLocks noChangeAspect="1"/>
            </p:cNvPicPr>
            <p:nvPr/>
          </p:nvPicPr>
          <p:blipFill>
            <a:blip r:embed="rId8"/>
            <a:stretch>
              <a:fillRect/>
            </a:stretch>
          </p:blipFill>
          <p:spPr>
            <a:xfrm>
              <a:off x="931606" y="3704159"/>
              <a:ext cx="430766" cy="311109"/>
            </a:xfrm>
            <a:prstGeom prst="rect">
              <a:avLst/>
            </a:prstGeom>
          </p:spPr>
        </p:pic>
        <p:cxnSp>
          <p:nvCxnSpPr>
            <p:cNvPr id="117" name="Straight Connector 116">
              <a:extLst>
                <a:ext uri="{FF2B5EF4-FFF2-40B4-BE49-F238E27FC236}">
                  <a16:creationId xmlns:a16="http://schemas.microsoft.com/office/drawing/2014/main" id="{4507934D-CAE0-094F-BBFC-F0E39446A086}"/>
                </a:ext>
              </a:extLst>
            </p:cNvPr>
            <p:cNvCxnSpPr>
              <a:cxnSpLocks/>
              <a:endCxn id="108" idx="1"/>
            </p:cNvCxnSpPr>
            <p:nvPr/>
          </p:nvCxnSpPr>
          <p:spPr>
            <a:xfrm>
              <a:off x="460205" y="3701402"/>
              <a:ext cx="471401" cy="158312"/>
            </a:xfrm>
            <a:prstGeom prst="line">
              <a:avLst/>
            </a:prstGeom>
            <a:ln>
              <a:solidFill>
                <a:srgbClr val="FCAB17"/>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2E2A4CF-F031-E341-870F-3E427C820BE8}"/>
                </a:ext>
              </a:extLst>
            </p:cNvPr>
            <p:cNvCxnSpPr>
              <a:cxnSpLocks/>
              <a:stCxn id="110" idx="5"/>
              <a:endCxn id="108" idx="1"/>
            </p:cNvCxnSpPr>
            <p:nvPr/>
          </p:nvCxnSpPr>
          <p:spPr>
            <a:xfrm flipV="1">
              <a:off x="386264" y="3859714"/>
              <a:ext cx="545342" cy="388287"/>
            </a:xfrm>
            <a:prstGeom prst="line">
              <a:avLst/>
            </a:prstGeom>
            <a:ln>
              <a:solidFill>
                <a:srgbClr val="FCAB17"/>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A5CE00B9-CACE-8945-B8E9-5604169724BD}"/>
                </a:ext>
              </a:extLst>
            </p:cNvPr>
            <p:cNvGrpSpPr>
              <a:grpSpLocks noChangeAspect="1"/>
            </p:cNvGrpSpPr>
            <p:nvPr/>
          </p:nvGrpSpPr>
          <p:grpSpPr>
            <a:xfrm>
              <a:off x="252930" y="4103444"/>
              <a:ext cx="267385" cy="206855"/>
              <a:chOff x="2534696" y="4341496"/>
              <a:chExt cx="507985" cy="392988"/>
            </a:xfrm>
          </p:grpSpPr>
          <p:sp>
            <p:nvSpPr>
              <p:cNvPr id="110" name="Freeform 279">
                <a:extLst>
                  <a:ext uri="{FF2B5EF4-FFF2-40B4-BE49-F238E27FC236}">
                    <a16:creationId xmlns:a16="http://schemas.microsoft.com/office/drawing/2014/main" id="{C6241235-41C1-434F-8DD1-2A0ED86E70E9}"/>
                  </a:ext>
                </a:extLst>
              </p:cNvPr>
              <p:cNvSpPr>
                <a:spLocks noChangeAspect="1"/>
              </p:cNvSpPr>
              <p:nvPr/>
            </p:nvSpPr>
            <p:spPr bwMode="auto">
              <a:xfrm>
                <a:off x="2610694" y="4431493"/>
                <a:ext cx="356989" cy="302991"/>
              </a:xfrm>
              <a:custGeom>
                <a:avLst/>
                <a:gdLst>
                  <a:gd name="T0" fmla="*/ 75 w 151"/>
                  <a:gd name="T1" fmla="*/ 0 h 128"/>
                  <a:gd name="T2" fmla="*/ 0 w 151"/>
                  <a:gd name="T3" fmla="*/ 58 h 128"/>
                  <a:gd name="T4" fmla="*/ 0 w 151"/>
                  <a:gd name="T5" fmla="*/ 128 h 128"/>
                  <a:gd name="T6" fmla="*/ 55 w 151"/>
                  <a:gd name="T7" fmla="*/ 128 h 128"/>
                  <a:gd name="T8" fmla="*/ 55 w 151"/>
                  <a:gd name="T9" fmla="*/ 98 h 128"/>
                  <a:gd name="T10" fmla="*/ 75 w 151"/>
                  <a:gd name="T11" fmla="*/ 78 h 128"/>
                  <a:gd name="T12" fmla="*/ 75 w 151"/>
                  <a:gd name="T13" fmla="*/ 78 h 128"/>
                  <a:gd name="T14" fmla="*/ 96 w 151"/>
                  <a:gd name="T15" fmla="*/ 98 h 128"/>
                  <a:gd name="T16" fmla="*/ 96 w 151"/>
                  <a:gd name="T17" fmla="*/ 128 h 128"/>
                  <a:gd name="T18" fmla="*/ 151 w 151"/>
                  <a:gd name="T19" fmla="*/ 128 h 128"/>
                  <a:gd name="T20" fmla="*/ 151 w 151"/>
                  <a:gd name="T21" fmla="*/ 58 h 128"/>
                  <a:gd name="T22" fmla="*/ 75 w 151"/>
                  <a:gd name="T2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128">
                    <a:moveTo>
                      <a:pt x="75" y="0"/>
                    </a:moveTo>
                    <a:cubicBezTo>
                      <a:pt x="0" y="58"/>
                      <a:pt x="0" y="58"/>
                      <a:pt x="0" y="58"/>
                    </a:cubicBezTo>
                    <a:cubicBezTo>
                      <a:pt x="0" y="128"/>
                      <a:pt x="0" y="128"/>
                      <a:pt x="0" y="128"/>
                    </a:cubicBezTo>
                    <a:cubicBezTo>
                      <a:pt x="55" y="128"/>
                      <a:pt x="55" y="128"/>
                      <a:pt x="55" y="128"/>
                    </a:cubicBezTo>
                    <a:cubicBezTo>
                      <a:pt x="55" y="98"/>
                      <a:pt x="55" y="98"/>
                      <a:pt x="55" y="98"/>
                    </a:cubicBezTo>
                    <a:cubicBezTo>
                      <a:pt x="55" y="87"/>
                      <a:pt x="64" y="78"/>
                      <a:pt x="75" y="78"/>
                    </a:cubicBezTo>
                    <a:cubicBezTo>
                      <a:pt x="75" y="78"/>
                      <a:pt x="75" y="78"/>
                      <a:pt x="75" y="78"/>
                    </a:cubicBezTo>
                    <a:cubicBezTo>
                      <a:pt x="87" y="78"/>
                      <a:pt x="96" y="87"/>
                      <a:pt x="96" y="98"/>
                    </a:cubicBezTo>
                    <a:cubicBezTo>
                      <a:pt x="96" y="128"/>
                      <a:pt x="96" y="128"/>
                      <a:pt x="96" y="128"/>
                    </a:cubicBezTo>
                    <a:cubicBezTo>
                      <a:pt x="151" y="128"/>
                      <a:pt x="151" y="128"/>
                      <a:pt x="151" y="128"/>
                    </a:cubicBezTo>
                    <a:cubicBezTo>
                      <a:pt x="151" y="58"/>
                      <a:pt x="151" y="58"/>
                      <a:pt x="151" y="58"/>
                    </a:cubicBezTo>
                    <a:lnTo>
                      <a:pt x="75"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1" name="Freeform 280">
                <a:extLst>
                  <a:ext uri="{FF2B5EF4-FFF2-40B4-BE49-F238E27FC236}">
                    <a16:creationId xmlns:a16="http://schemas.microsoft.com/office/drawing/2014/main" id="{78749F5F-59A2-7544-9F4D-07ED2FDCD1C5}"/>
                  </a:ext>
                </a:extLst>
              </p:cNvPr>
              <p:cNvSpPr>
                <a:spLocks noChangeAspect="1"/>
              </p:cNvSpPr>
              <p:nvPr/>
            </p:nvSpPr>
            <p:spPr bwMode="auto">
              <a:xfrm>
                <a:off x="2766689" y="4341496"/>
                <a:ext cx="275992" cy="217993"/>
              </a:xfrm>
              <a:custGeom>
                <a:avLst/>
                <a:gdLst>
                  <a:gd name="T0" fmla="*/ 107 w 117"/>
                  <a:gd name="T1" fmla="*/ 92 h 92"/>
                  <a:gd name="T2" fmla="*/ 102 w 117"/>
                  <a:gd name="T3" fmla="*/ 90 h 92"/>
                  <a:gd name="T4" fmla="*/ 4 w 117"/>
                  <a:gd name="T5" fmla="*/ 16 h 92"/>
                  <a:gd name="T6" fmla="*/ 3 w 117"/>
                  <a:gd name="T7" fmla="*/ 5 h 92"/>
                  <a:gd name="T8" fmla="*/ 15 w 117"/>
                  <a:gd name="T9" fmla="*/ 3 h 92"/>
                  <a:gd name="T10" fmla="*/ 113 w 117"/>
                  <a:gd name="T11" fmla="*/ 77 h 92"/>
                  <a:gd name="T12" fmla="*/ 114 w 117"/>
                  <a:gd name="T13" fmla="*/ 89 h 92"/>
                  <a:gd name="T14" fmla="*/ 107 w 117"/>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92">
                    <a:moveTo>
                      <a:pt x="107" y="92"/>
                    </a:moveTo>
                    <a:cubicBezTo>
                      <a:pt x="106" y="92"/>
                      <a:pt x="104" y="92"/>
                      <a:pt x="102" y="90"/>
                    </a:cubicBezTo>
                    <a:cubicBezTo>
                      <a:pt x="4" y="16"/>
                      <a:pt x="4" y="16"/>
                      <a:pt x="4" y="16"/>
                    </a:cubicBezTo>
                    <a:cubicBezTo>
                      <a:pt x="1" y="14"/>
                      <a:pt x="0" y="8"/>
                      <a:pt x="3" y="5"/>
                    </a:cubicBezTo>
                    <a:cubicBezTo>
                      <a:pt x="6" y="1"/>
                      <a:pt x="11" y="0"/>
                      <a:pt x="15" y="3"/>
                    </a:cubicBezTo>
                    <a:cubicBezTo>
                      <a:pt x="113" y="77"/>
                      <a:pt x="113" y="77"/>
                      <a:pt x="113" y="77"/>
                    </a:cubicBezTo>
                    <a:cubicBezTo>
                      <a:pt x="116" y="80"/>
                      <a:pt x="117" y="85"/>
                      <a:pt x="114" y="89"/>
                    </a:cubicBezTo>
                    <a:cubicBezTo>
                      <a:pt x="113" y="91"/>
                      <a:pt x="110" y="92"/>
                      <a:pt x="107" y="92"/>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2" name="Freeform 281">
                <a:extLst>
                  <a:ext uri="{FF2B5EF4-FFF2-40B4-BE49-F238E27FC236}">
                    <a16:creationId xmlns:a16="http://schemas.microsoft.com/office/drawing/2014/main" id="{0FCE35B0-E85B-4D45-8CA3-6B020424699D}"/>
                  </a:ext>
                </a:extLst>
              </p:cNvPr>
              <p:cNvSpPr>
                <a:spLocks noChangeAspect="1"/>
              </p:cNvSpPr>
              <p:nvPr/>
            </p:nvSpPr>
            <p:spPr bwMode="auto">
              <a:xfrm>
                <a:off x="2534696" y="4341496"/>
                <a:ext cx="276992" cy="217993"/>
              </a:xfrm>
              <a:custGeom>
                <a:avLst/>
                <a:gdLst>
                  <a:gd name="T0" fmla="*/ 10 w 117"/>
                  <a:gd name="T1" fmla="*/ 92 h 92"/>
                  <a:gd name="T2" fmla="*/ 3 w 117"/>
                  <a:gd name="T3" fmla="*/ 89 h 92"/>
                  <a:gd name="T4" fmla="*/ 4 w 117"/>
                  <a:gd name="T5" fmla="*/ 77 h 92"/>
                  <a:gd name="T6" fmla="*/ 102 w 117"/>
                  <a:gd name="T7" fmla="*/ 3 h 92"/>
                  <a:gd name="T8" fmla="*/ 114 w 117"/>
                  <a:gd name="T9" fmla="*/ 5 h 92"/>
                  <a:gd name="T10" fmla="*/ 113 w 117"/>
                  <a:gd name="T11" fmla="*/ 16 h 92"/>
                  <a:gd name="T12" fmla="*/ 15 w 117"/>
                  <a:gd name="T13" fmla="*/ 90 h 92"/>
                  <a:gd name="T14" fmla="*/ 10 w 117"/>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92">
                    <a:moveTo>
                      <a:pt x="10" y="92"/>
                    </a:moveTo>
                    <a:cubicBezTo>
                      <a:pt x="7" y="92"/>
                      <a:pt x="4" y="91"/>
                      <a:pt x="3" y="89"/>
                    </a:cubicBezTo>
                    <a:cubicBezTo>
                      <a:pt x="0" y="85"/>
                      <a:pt x="1" y="80"/>
                      <a:pt x="4" y="77"/>
                    </a:cubicBezTo>
                    <a:cubicBezTo>
                      <a:pt x="102" y="3"/>
                      <a:pt x="102" y="3"/>
                      <a:pt x="102" y="3"/>
                    </a:cubicBezTo>
                    <a:cubicBezTo>
                      <a:pt x="106" y="0"/>
                      <a:pt x="111" y="1"/>
                      <a:pt x="114" y="5"/>
                    </a:cubicBezTo>
                    <a:cubicBezTo>
                      <a:pt x="117" y="8"/>
                      <a:pt x="116" y="14"/>
                      <a:pt x="113" y="16"/>
                    </a:cubicBezTo>
                    <a:cubicBezTo>
                      <a:pt x="15" y="90"/>
                      <a:pt x="15" y="90"/>
                      <a:pt x="15" y="90"/>
                    </a:cubicBezTo>
                    <a:cubicBezTo>
                      <a:pt x="13" y="92"/>
                      <a:pt x="11" y="92"/>
                      <a:pt x="10" y="92"/>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13" name="Group 112">
              <a:extLst>
                <a:ext uri="{FF2B5EF4-FFF2-40B4-BE49-F238E27FC236}">
                  <a16:creationId xmlns:a16="http://schemas.microsoft.com/office/drawing/2014/main" id="{331F9FBC-46EC-FD49-B0FF-74402D68C361}"/>
                </a:ext>
              </a:extLst>
            </p:cNvPr>
            <p:cNvGrpSpPr>
              <a:grpSpLocks noChangeAspect="1"/>
            </p:cNvGrpSpPr>
            <p:nvPr/>
          </p:nvGrpSpPr>
          <p:grpSpPr>
            <a:xfrm>
              <a:off x="240824" y="3574289"/>
              <a:ext cx="267385" cy="206855"/>
              <a:chOff x="2534696" y="4341496"/>
              <a:chExt cx="507985" cy="392988"/>
            </a:xfrm>
          </p:grpSpPr>
          <p:sp>
            <p:nvSpPr>
              <p:cNvPr id="114" name="Freeform 279">
                <a:extLst>
                  <a:ext uri="{FF2B5EF4-FFF2-40B4-BE49-F238E27FC236}">
                    <a16:creationId xmlns:a16="http://schemas.microsoft.com/office/drawing/2014/main" id="{177733C6-761E-F045-BD62-0C5BE58D9E31}"/>
                  </a:ext>
                </a:extLst>
              </p:cNvPr>
              <p:cNvSpPr>
                <a:spLocks noChangeAspect="1"/>
              </p:cNvSpPr>
              <p:nvPr/>
            </p:nvSpPr>
            <p:spPr bwMode="auto">
              <a:xfrm>
                <a:off x="2610694" y="4431493"/>
                <a:ext cx="356989" cy="302991"/>
              </a:xfrm>
              <a:custGeom>
                <a:avLst/>
                <a:gdLst>
                  <a:gd name="T0" fmla="*/ 75 w 151"/>
                  <a:gd name="T1" fmla="*/ 0 h 128"/>
                  <a:gd name="T2" fmla="*/ 0 w 151"/>
                  <a:gd name="T3" fmla="*/ 58 h 128"/>
                  <a:gd name="T4" fmla="*/ 0 w 151"/>
                  <a:gd name="T5" fmla="*/ 128 h 128"/>
                  <a:gd name="T6" fmla="*/ 55 w 151"/>
                  <a:gd name="T7" fmla="*/ 128 h 128"/>
                  <a:gd name="T8" fmla="*/ 55 w 151"/>
                  <a:gd name="T9" fmla="*/ 98 h 128"/>
                  <a:gd name="T10" fmla="*/ 75 w 151"/>
                  <a:gd name="T11" fmla="*/ 78 h 128"/>
                  <a:gd name="T12" fmla="*/ 75 w 151"/>
                  <a:gd name="T13" fmla="*/ 78 h 128"/>
                  <a:gd name="T14" fmla="*/ 96 w 151"/>
                  <a:gd name="T15" fmla="*/ 98 h 128"/>
                  <a:gd name="T16" fmla="*/ 96 w 151"/>
                  <a:gd name="T17" fmla="*/ 128 h 128"/>
                  <a:gd name="T18" fmla="*/ 151 w 151"/>
                  <a:gd name="T19" fmla="*/ 128 h 128"/>
                  <a:gd name="T20" fmla="*/ 151 w 151"/>
                  <a:gd name="T21" fmla="*/ 58 h 128"/>
                  <a:gd name="T22" fmla="*/ 75 w 151"/>
                  <a:gd name="T2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128">
                    <a:moveTo>
                      <a:pt x="75" y="0"/>
                    </a:moveTo>
                    <a:cubicBezTo>
                      <a:pt x="0" y="58"/>
                      <a:pt x="0" y="58"/>
                      <a:pt x="0" y="58"/>
                    </a:cubicBezTo>
                    <a:cubicBezTo>
                      <a:pt x="0" y="128"/>
                      <a:pt x="0" y="128"/>
                      <a:pt x="0" y="128"/>
                    </a:cubicBezTo>
                    <a:cubicBezTo>
                      <a:pt x="55" y="128"/>
                      <a:pt x="55" y="128"/>
                      <a:pt x="55" y="128"/>
                    </a:cubicBezTo>
                    <a:cubicBezTo>
                      <a:pt x="55" y="98"/>
                      <a:pt x="55" y="98"/>
                      <a:pt x="55" y="98"/>
                    </a:cubicBezTo>
                    <a:cubicBezTo>
                      <a:pt x="55" y="87"/>
                      <a:pt x="64" y="78"/>
                      <a:pt x="75" y="78"/>
                    </a:cubicBezTo>
                    <a:cubicBezTo>
                      <a:pt x="75" y="78"/>
                      <a:pt x="75" y="78"/>
                      <a:pt x="75" y="78"/>
                    </a:cubicBezTo>
                    <a:cubicBezTo>
                      <a:pt x="87" y="78"/>
                      <a:pt x="96" y="87"/>
                      <a:pt x="96" y="98"/>
                    </a:cubicBezTo>
                    <a:cubicBezTo>
                      <a:pt x="96" y="128"/>
                      <a:pt x="96" y="128"/>
                      <a:pt x="96" y="128"/>
                    </a:cubicBezTo>
                    <a:cubicBezTo>
                      <a:pt x="151" y="128"/>
                      <a:pt x="151" y="128"/>
                      <a:pt x="151" y="128"/>
                    </a:cubicBezTo>
                    <a:cubicBezTo>
                      <a:pt x="151" y="58"/>
                      <a:pt x="151" y="58"/>
                      <a:pt x="151" y="58"/>
                    </a:cubicBezTo>
                    <a:lnTo>
                      <a:pt x="75"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5" name="Freeform 280">
                <a:extLst>
                  <a:ext uri="{FF2B5EF4-FFF2-40B4-BE49-F238E27FC236}">
                    <a16:creationId xmlns:a16="http://schemas.microsoft.com/office/drawing/2014/main" id="{CB1E536E-54A7-8F45-B2EF-BCFCEEA8FAA5}"/>
                  </a:ext>
                </a:extLst>
              </p:cNvPr>
              <p:cNvSpPr>
                <a:spLocks noChangeAspect="1"/>
              </p:cNvSpPr>
              <p:nvPr/>
            </p:nvSpPr>
            <p:spPr bwMode="auto">
              <a:xfrm>
                <a:off x="2766689" y="4341496"/>
                <a:ext cx="275992" cy="217993"/>
              </a:xfrm>
              <a:custGeom>
                <a:avLst/>
                <a:gdLst>
                  <a:gd name="T0" fmla="*/ 107 w 117"/>
                  <a:gd name="T1" fmla="*/ 92 h 92"/>
                  <a:gd name="T2" fmla="*/ 102 w 117"/>
                  <a:gd name="T3" fmla="*/ 90 h 92"/>
                  <a:gd name="T4" fmla="*/ 4 w 117"/>
                  <a:gd name="T5" fmla="*/ 16 h 92"/>
                  <a:gd name="T6" fmla="*/ 3 w 117"/>
                  <a:gd name="T7" fmla="*/ 5 h 92"/>
                  <a:gd name="T8" fmla="*/ 15 w 117"/>
                  <a:gd name="T9" fmla="*/ 3 h 92"/>
                  <a:gd name="T10" fmla="*/ 113 w 117"/>
                  <a:gd name="T11" fmla="*/ 77 h 92"/>
                  <a:gd name="T12" fmla="*/ 114 w 117"/>
                  <a:gd name="T13" fmla="*/ 89 h 92"/>
                  <a:gd name="T14" fmla="*/ 107 w 117"/>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92">
                    <a:moveTo>
                      <a:pt x="107" y="92"/>
                    </a:moveTo>
                    <a:cubicBezTo>
                      <a:pt x="106" y="92"/>
                      <a:pt x="104" y="92"/>
                      <a:pt x="102" y="90"/>
                    </a:cubicBezTo>
                    <a:cubicBezTo>
                      <a:pt x="4" y="16"/>
                      <a:pt x="4" y="16"/>
                      <a:pt x="4" y="16"/>
                    </a:cubicBezTo>
                    <a:cubicBezTo>
                      <a:pt x="1" y="14"/>
                      <a:pt x="0" y="8"/>
                      <a:pt x="3" y="5"/>
                    </a:cubicBezTo>
                    <a:cubicBezTo>
                      <a:pt x="6" y="1"/>
                      <a:pt x="11" y="0"/>
                      <a:pt x="15" y="3"/>
                    </a:cubicBezTo>
                    <a:cubicBezTo>
                      <a:pt x="113" y="77"/>
                      <a:pt x="113" y="77"/>
                      <a:pt x="113" y="77"/>
                    </a:cubicBezTo>
                    <a:cubicBezTo>
                      <a:pt x="116" y="80"/>
                      <a:pt x="117" y="85"/>
                      <a:pt x="114" y="89"/>
                    </a:cubicBezTo>
                    <a:cubicBezTo>
                      <a:pt x="113" y="91"/>
                      <a:pt x="110" y="92"/>
                      <a:pt x="107" y="92"/>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6" name="Freeform 281">
                <a:extLst>
                  <a:ext uri="{FF2B5EF4-FFF2-40B4-BE49-F238E27FC236}">
                    <a16:creationId xmlns:a16="http://schemas.microsoft.com/office/drawing/2014/main" id="{6A1AA94A-BA60-AA41-B929-355272FB0B1A}"/>
                  </a:ext>
                </a:extLst>
              </p:cNvPr>
              <p:cNvSpPr>
                <a:spLocks noChangeAspect="1"/>
              </p:cNvSpPr>
              <p:nvPr/>
            </p:nvSpPr>
            <p:spPr bwMode="auto">
              <a:xfrm>
                <a:off x="2534696" y="4341496"/>
                <a:ext cx="276992" cy="217993"/>
              </a:xfrm>
              <a:custGeom>
                <a:avLst/>
                <a:gdLst>
                  <a:gd name="T0" fmla="*/ 10 w 117"/>
                  <a:gd name="T1" fmla="*/ 92 h 92"/>
                  <a:gd name="T2" fmla="*/ 3 w 117"/>
                  <a:gd name="T3" fmla="*/ 89 h 92"/>
                  <a:gd name="T4" fmla="*/ 4 w 117"/>
                  <a:gd name="T5" fmla="*/ 77 h 92"/>
                  <a:gd name="T6" fmla="*/ 102 w 117"/>
                  <a:gd name="T7" fmla="*/ 3 h 92"/>
                  <a:gd name="T8" fmla="*/ 114 w 117"/>
                  <a:gd name="T9" fmla="*/ 5 h 92"/>
                  <a:gd name="T10" fmla="*/ 113 w 117"/>
                  <a:gd name="T11" fmla="*/ 16 h 92"/>
                  <a:gd name="T12" fmla="*/ 15 w 117"/>
                  <a:gd name="T13" fmla="*/ 90 h 92"/>
                  <a:gd name="T14" fmla="*/ 10 w 117"/>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92">
                    <a:moveTo>
                      <a:pt x="10" y="92"/>
                    </a:moveTo>
                    <a:cubicBezTo>
                      <a:pt x="7" y="92"/>
                      <a:pt x="4" y="91"/>
                      <a:pt x="3" y="89"/>
                    </a:cubicBezTo>
                    <a:cubicBezTo>
                      <a:pt x="0" y="85"/>
                      <a:pt x="1" y="80"/>
                      <a:pt x="4" y="77"/>
                    </a:cubicBezTo>
                    <a:cubicBezTo>
                      <a:pt x="102" y="3"/>
                      <a:pt x="102" y="3"/>
                      <a:pt x="102" y="3"/>
                    </a:cubicBezTo>
                    <a:cubicBezTo>
                      <a:pt x="106" y="0"/>
                      <a:pt x="111" y="1"/>
                      <a:pt x="114" y="5"/>
                    </a:cubicBezTo>
                    <a:cubicBezTo>
                      <a:pt x="117" y="8"/>
                      <a:pt x="116" y="14"/>
                      <a:pt x="113" y="16"/>
                    </a:cubicBezTo>
                    <a:cubicBezTo>
                      <a:pt x="15" y="90"/>
                      <a:pt x="15" y="90"/>
                      <a:pt x="15" y="90"/>
                    </a:cubicBezTo>
                    <a:cubicBezTo>
                      <a:pt x="13" y="92"/>
                      <a:pt x="11" y="92"/>
                      <a:pt x="10" y="92"/>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19" name="Group 105">
              <a:extLst>
                <a:ext uri="{FF2B5EF4-FFF2-40B4-BE49-F238E27FC236}">
                  <a16:creationId xmlns:a16="http://schemas.microsoft.com/office/drawing/2014/main" id="{55929F4B-3F71-C145-B358-C068DE3840E6}"/>
                </a:ext>
              </a:extLst>
            </p:cNvPr>
            <p:cNvGrpSpPr>
              <a:grpSpLocks noChangeAspect="1"/>
            </p:cNvGrpSpPr>
            <p:nvPr/>
          </p:nvGrpSpPr>
          <p:grpSpPr bwMode="auto">
            <a:xfrm>
              <a:off x="183759" y="643517"/>
              <a:ext cx="405010" cy="381830"/>
              <a:chOff x="1991" y="1544"/>
              <a:chExt cx="961" cy="906"/>
            </a:xfrm>
          </p:grpSpPr>
          <p:sp>
            <p:nvSpPr>
              <p:cNvPr id="120" name="Freeform 116">
                <a:extLst>
                  <a:ext uri="{FF2B5EF4-FFF2-40B4-BE49-F238E27FC236}">
                    <a16:creationId xmlns:a16="http://schemas.microsoft.com/office/drawing/2014/main" id="{13BDBB84-FA33-2F4E-950D-BBCFDD72B5E7}"/>
                  </a:ext>
                </a:extLst>
              </p:cNvPr>
              <p:cNvSpPr>
                <a:spLocks/>
              </p:cNvSpPr>
              <p:nvPr/>
            </p:nvSpPr>
            <p:spPr bwMode="auto">
              <a:xfrm>
                <a:off x="2517" y="1846"/>
                <a:ext cx="435" cy="604"/>
              </a:xfrm>
              <a:custGeom>
                <a:avLst/>
                <a:gdLst>
                  <a:gd name="T0" fmla="*/ 5 w 52"/>
                  <a:gd name="T1" fmla="*/ 0 h 74"/>
                  <a:gd name="T2" fmla="*/ 0 w 52"/>
                  <a:gd name="T3" fmla="*/ 5 h 74"/>
                  <a:gd name="T4" fmla="*/ 0 w 52"/>
                  <a:gd name="T5" fmla="*/ 74 h 74"/>
                  <a:gd name="T6" fmla="*/ 52 w 52"/>
                  <a:gd name="T7" fmla="*/ 74 h 74"/>
                  <a:gd name="T8" fmla="*/ 52 w 52"/>
                  <a:gd name="T9" fmla="*/ 5 h 74"/>
                  <a:gd name="T10" fmla="*/ 47 w 52"/>
                  <a:gd name="T11" fmla="*/ 0 h 74"/>
                  <a:gd name="T12" fmla="*/ 5 w 52"/>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2" h="74">
                    <a:moveTo>
                      <a:pt x="5" y="0"/>
                    </a:moveTo>
                    <a:cubicBezTo>
                      <a:pt x="2" y="0"/>
                      <a:pt x="0" y="2"/>
                      <a:pt x="0" y="5"/>
                    </a:cubicBezTo>
                    <a:cubicBezTo>
                      <a:pt x="0" y="74"/>
                      <a:pt x="0" y="74"/>
                      <a:pt x="0" y="74"/>
                    </a:cubicBezTo>
                    <a:cubicBezTo>
                      <a:pt x="52" y="74"/>
                      <a:pt x="52" y="74"/>
                      <a:pt x="52" y="74"/>
                    </a:cubicBezTo>
                    <a:cubicBezTo>
                      <a:pt x="52" y="5"/>
                      <a:pt x="52" y="5"/>
                      <a:pt x="52" y="5"/>
                    </a:cubicBezTo>
                    <a:cubicBezTo>
                      <a:pt x="52" y="2"/>
                      <a:pt x="50" y="0"/>
                      <a:pt x="47" y="0"/>
                    </a:cubicBezTo>
                    <a:lnTo>
                      <a:pt x="5"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1" name="Freeform 106">
                <a:extLst>
                  <a:ext uri="{FF2B5EF4-FFF2-40B4-BE49-F238E27FC236}">
                    <a16:creationId xmlns:a16="http://schemas.microsoft.com/office/drawing/2014/main" id="{58D98F3B-8A23-5049-AFB3-3A2AADC59028}"/>
                  </a:ext>
                </a:extLst>
              </p:cNvPr>
              <p:cNvSpPr>
                <a:spLocks/>
              </p:cNvSpPr>
              <p:nvPr/>
            </p:nvSpPr>
            <p:spPr bwMode="auto">
              <a:xfrm>
                <a:off x="1991" y="1544"/>
                <a:ext cx="585" cy="906"/>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2" name="Rectangle 107">
                <a:extLst>
                  <a:ext uri="{FF2B5EF4-FFF2-40B4-BE49-F238E27FC236}">
                    <a16:creationId xmlns:a16="http://schemas.microsoft.com/office/drawing/2014/main" id="{BA9CF141-3F7F-4948-AA15-1C11A2311811}"/>
                  </a:ext>
                </a:extLst>
              </p:cNvPr>
              <p:cNvSpPr>
                <a:spLocks noChangeArrowheads="1"/>
              </p:cNvSpPr>
              <p:nvPr/>
            </p:nvSpPr>
            <p:spPr bwMode="auto">
              <a:xfrm>
                <a:off x="2099"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3" name="Rectangle 108">
                <a:extLst>
                  <a:ext uri="{FF2B5EF4-FFF2-40B4-BE49-F238E27FC236}">
                    <a16:creationId xmlns:a16="http://schemas.microsoft.com/office/drawing/2014/main" id="{26E26493-108E-404D-9BF2-380BE00C30B7}"/>
                  </a:ext>
                </a:extLst>
              </p:cNvPr>
              <p:cNvSpPr>
                <a:spLocks noChangeArrowheads="1"/>
              </p:cNvSpPr>
              <p:nvPr/>
            </p:nvSpPr>
            <p:spPr bwMode="auto">
              <a:xfrm>
                <a:off x="2241"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4" name="Rectangle 109">
                <a:extLst>
                  <a:ext uri="{FF2B5EF4-FFF2-40B4-BE49-F238E27FC236}">
                    <a16:creationId xmlns:a16="http://schemas.microsoft.com/office/drawing/2014/main" id="{63CBC25F-0CF6-0F4D-BA57-EC3128E29727}"/>
                  </a:ext>
                </a:extLst>
              </p:cNvPr>
              <p:cNvSpPr>
                <a:spLocks noChangeArrowheads="1"/>
              </p:cNvSpPr>
              <p:nvPr/>
            </p:nvSpPr>
            <p:spPr bwMode="auto">
              <a:xfrm>
                <a:off x="2383"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5" name="Rectangle 110">
                <a:extLst>
                  <a:ext uri="{FF2B5EF4-FFF2-40B4-BE49-F238E27FC236}">
                    <a16:creationId xmlns:a16="http://schemas.microsoft.com/office/drawing/2014/main" id="{830B9EFE-4E83-AC46-9940-1390EBC022BF}"/>
                  </a:ext>
                </a:extLst>
              </p:cNvPr>
              <p:cNvSpPr>
                <a:spLocks noChangeArrowheads="1"/>
              </p:cNvSpPr>
              <p:nvPr/>
            </p:nvSpPr>
            <p:spPr bwMode="auto">
              <a:xfrm>
                <a:off x="2099"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6" name="Rectangle 111">
                <a:extLst>
                  <a:ext uri="{FF2B5EF4-FFF2-40B4-BE49-F238E27FC236}">
                    <a16:creationId xmlns:a16="http://schemas.microsoft.com/office/drawing/2014/main" id="{F3374F22-FA69-3043-AA38-F2594CE300E8}"/>
                  </a:ext>
                </a:extLst>
              </p:cNvPr>
              <p:cNvSpPr>
                <a:spLocks noChangeArrowheads="1"/>
              </p:cNvSpPr>
              <p:nvPr/>
            </p:nvSpPr>
            <p:spPr bwMode="auto">
              <a:xfrm>
                <a:off x="2241"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7" name="Rectangle 112">
                <a:extLst>
                  <a:ext uri="{FF2B5EF4-FFF2-40B4-BE49-F238E27FC236}">
                    <a16:creationId xmlns:a16="http://schemas.microsoft.com/office/drawing/2014/main" id="{45AF5AE1-2AC0-3549-B2B2-A89261687B1D}"/>
                  </a:ext>
                </a:extLst>
              </p:cNvPr>
              <p:cNvSpPr>
                <a:spLocks noChangeArrowheads="1"/>
              </p:cNvSpPr>
              <p:nvPr/>
            </p:nvSpPr>
            <p:spPr bwMode="auto">
              <a:xfrm>
                <a:off x="2383"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8" name="Rectangle 113">
                <a:extLst>
                  <a:ext uri="{FF2B5EF4-FFF2-40B4-BE49-F238E27FC236}">
                    <a16:creationId xmlns:a16="http://schemas.microsoft.com/office/drawing/2014/main" id="{8810C131-90A5-074B-B240-3FC082A31043}"/>
                  </a:ext>
                </a:extLst>
              </p:cNvPr>
              <p:cNvSpPr>
                <a:spLocks noChangeArrowheads="1"/>
              </p:cNvSpPr>
              <p:nvPr/>
            </p:nvSpPr>
            <p:spPr bwMode="auto">
              <a:xfrm>
                <a:off x="2099"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9" name="Rectangle 114">
                <a:extLst>
                  <a:ext uri="{FF2B5EF4-FFF2-40B4-BE49-F238E27FC236}">
                    <a16:creationId xmlns:a16="http://schemas.microsoft.com/office/drawing/2014/main" id="{FC280F12-2394-DE48-A3D0-2E83FED0C28A}"/>
                  </a:ext>
                </a:extLst>
              </p:cNvPr>
              <p:cNvSpPr>
                <a:spLocks noChangeArrowheads="1"/>
              </p:cNvSpPr>
              <p:nvPr/>
            </p:nvSpPr>
            <p:spPr bwMode="auto">
              <a:xfrm>
                <a:off x="2241"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0" name="Rectangle 115">
                <a:extLst>
                  <a:ext uri="{FF2B5EF4-FFF2-40B4-BE49-F238E27FC236}">
                    <a16:creationId xmlns:a16="http://schemas.microsoft.com/office/drawing/2014/main" id="{E8FCF500-EBDA-1044-B532-3D05D626701C}"/>
                  </a:ext>
                </a:extLst>
              </p:cNvPr>
              <p:cNvSpPr>
                <a:spLocks noChangeArrowheads="1"/>
              </p:cNvSpPr>
              <p:nvPr/>
            </p:nvSpPr>
            <p:spPr bwMode="auto">
              <a:xfrm>
                <a:off x="2383"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1" name="Rectangle 117">
                <a:extLst>
                  <a:ext uri="{FF2B5EF4-FFF2-40B4-BE49-F238E27FC236}">
                    <a16:creationId xmlns:a16="http://schemas.microsoft.com/office/drawing/2014/main" id="{D8A3FA26-E6F8-624C-9A37-FA8C62683317}"/>
                  </a:ext>
                </a:extLst>
              </p:cNvPr>
              <p:cNvSpPr>
                <a:spLocks noChangeArrowheads="1"/>
              </p:cNvSpPr>
              <p:nvPr/>
            </p:nvSpPr>
            <p:spPr bwMode="auto">
              <a:xfrm>
                <a:off x="2629"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2" name="Rectangle 118">
                <a:extLst>
                  <a:ext uri="{FF2B5EF4-FFF2-40B4-BE49-F238E27FC236}">
                    <a16:creationId xmlns:a16="http://schemas.microsoft.com/office/drawing/2014/main" id="{F63D8412-34ED-E048-A6FC-4579990AB44C}"/>
                  </a:ext>
                </a:extLst>
              </p:cNvPr>
              <p:cNvSpPr>
                <a:spLocks noChangeArrowheads="1"/>
              </p:cNvSpPr>
              <p:nvPr/>
            </p:nvSpPr>
            <p:spPr bwMode="auto">
              <a:xfrm>
                <a:off x="2725" y="1927"/>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3" name="Rectangle 119">
                <a:extLst>
                  <a:ext uri="{FF2B5EF4-FFF2-40B4-BE49-F238E27FC236}">
                    <a16:creationId xmlns:a16="http://schemas.microsoft.com/office/drawing/2014/main" id="{0783F966-CB6F-854D-BE24-0F986F60BCF8}"/>
                  </a:ext>
                </a:extLst>
              </p:cNvPr>
              <p:cNvSpPr>
                <a:spLocks noChangeArrowheads="1"/>
              </p:cNvSpPr>
              <p:nvPr/>
            </p:nvSpPr>
            <p:spPr bwMode="auto">
              <a:xfrm>
                <a:off x="2823"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4" name="Rectangle 120">
                <a:extLst>
                  <a:ext uri="{FF2B5EF4-FFF2-40B4-BE49-F238E27FC236}">
                    <a16:creationId xmlns:a16="http://schemas.microsoft.com/office/drawing/2014/main" id="{3938603D-EFF6-6C48-A4FB-A3C90D92C747}"/>
                  </a:ext>
                </a:extLst>
              </p:cNvPr>
              <p:cNvSpPr>
                <a:spLocks noChangeArrowheads="1"/>
              </p:cNvSpPr>
              <p:nvPr/>
            </p:nvSpPr>
            <p:spPr bwMode="auto">
              <a:xfrm>
                <a:off x="2629"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5" name="Rectangle 121">
                <a:extLst>
                  <a:ext uri="{FF2B5EF4-FFF2-40B4-BE49-F238E27FC236}">
                    <a16:creationId xmlns:a16="http://schemas.microsoft.com/office/drawing/2014/main" id="{84883AA9-6CB2-3D4F-992F-C13CB31E6238}"/>
                  </a:ext>
                </a:extLst>
              </p:cNvPr>
              <p:cNvSpPr>
                <a:spLocks noChangeArrowheads="1"/>
              </p:cNvSpPr>
              <p:nvPr/>
            </p:nvSpPr>
            <p:spPr bwMode="auto">
              <a:xfrm>
                <a:off x="2725" y="2189"/>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6" name="Rectangle 122">
                <a:extLst>
                  <a:ext uri="{FF2B5EF4-FFF2-40B4-BE49-F238E27FC236}">
                    <a16:creationId xmlns:a16="http://schemas.microsoft.com/office/drawing/2014/main" id="{259A4D00-4AFD-E04B-BF93-6E8811F3D3B2}"/>
                  </a:ext>
                </a:extLst>
              </p:cNvPr>
              <p:cNvSpPr>
                <a:spLocks noChangeArrowheads="1"/>
              </p:cNvSpPr>
              <p:nvPr/>
            </p:nvSpPr>
            <p:spPr bwMode="auto">
              <a:xfrm>
                <a:off x="2823"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7" name="Rectangle 123">
                <a:extLst>
                  <a:ext uri="{FF2B5EF4-FFF2-40B4-BE49-F238E27FC236}">
                    <a16:creationId xmlns:a16="http://schemas.microsoft.com/office/drawing/2014/main" id="{D8FC0D63-F0E1-BE44-8149-B66101C6AF7A}"/>
                  </a:ext>
                </a:extLst>
              </p:cNvPr>
              <p:cNvSpPr>
                <a:spLocks noChangeArrowheads="1"/>
              </p:cNvSpPr>
              <p:nvPr/>
            </p:nvSpPr>
            <p:spPr bwMode="auto">
              <a:xfrm>
                <a:off x="2629"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8" name="Rectangle 124">
                <a:extLst>
                  <a:ext uri="{FF2B5EF4-FFF2-40B4-BE49-F238E27FC236}">
                    <a16:creationId xmlns:a16="http://schemas.microsoft.com/office/drawing/2014/main" id="{52BE73C4-D68C-3F43-9B62-28624B2AFFCE}"/>
                  </a:ext>
                </a:extLst>
              </p:cNvPr>
              <p:cNvSpPr>
                <a:spLocks noChangeArrowheads="1"/>
              </p:cNvSpPr>
              <p:nvPr/>
            </p:nvSpPr>
            <p:spPr bwMode="auto">
              <a:xfrm>
                <a:off x="2725" y="2058"/>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9" name="Rectangle 125">
                <a:extLst>
                  <a:ext uri="{FF2B5EF4-FFF2-40B4-BE49-F238E27FC236}">
                    <a16:creationId xmlns:a16="http://schemas.microsoft.com/office/drawing/2014/main" id="{4BDFFCD9-ED01-5E45-AF8B-A7004FE81DBB}"/>
                  </a:ext>
                </a:extLst>
              </p:cNvPr>
              <p:cNvSpPr>
                <a:spLocks noChangeArrowheads="1"/>
              </p:cNvSpPr>
              <p:nvPr/>
            </p:nvSpPr>
            <p:spPr bwMode="auto">
              <a:xfrm>
                <a:off x="2823"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40" name="Group 134">
              <a:extLst>
                <a:ext uri="{FF2B5EF4-FFF2-40B4-BE49-F238E27FC236}">
                  <a16:creationId xmlns:a16="http://schemas.microsoft.com/office/drawing/2014/main" id="{A5680DEA-6F49-D84B-A40F-344D4323F579}"/>
                </a:ext>
              </a:extLst>
            </p:cNvPr>
            <p:cNvGrpSpPr>
              <a:grpSpLocks noChangeAspect="1"/>
            </p:cNvGrpSpPr>
            <p:nvPr/>
          </p:nvGrpSpPr>
          <p:grpSpPr bwMode="auto">
            <a:xfrm>
              <a:off x="200043" y="1357546"/>
              <a:ext cx="320272" cy="399899"/>
              <a:chOff x="4879" y="1301"/>
              <a:chExt cx="362" cy="452"/>
            </a:xfrm>
          </p:grpSpPr>
          <p:sp>
            <p:nvSpPr>
              <p:cNvPr id="141" name="Freeform 135">
                <a:extLst>
                  <a:ext uri="{FF2B5EF4-FFF2-40B4-BE49-F238E27FC236}">
                    <a16:creationId xmlns:a16="http://schemas.microsoft.com/office/drawing/2014/main" id="{193CB394-C2F7-484C-B466-7A0F0E149886}"/>
                  </a:ext>
                </a:extLst>
              </p:cNvPr>
              <p:cNvSpPr>
                <a:spLocks noEditPoints="1"/>
              </p:cNvSpPr>
              <p:nvPr/>
            </p:nvSpPr>
            <p:spPr bwMode="auto">
              <a:xfrm>
                <a:off x="4971" y="1377"/>
                <a:ext cx="178" cy="376"/>
              </a:xfrm>
              <a:custGeom>
                <a:avLst/>
                <a:gdLst>
                  <a:gd name="T0" fmla="*/ 770 w 777"/>
                  <a:gd name="T1" fmla="*/ 1452 h 1675"/>
                  <a:gd name="T2" fmla="*/ 436 w 777"/>
                  <a:gd name="T3" fmla="*/ 168 h 1675"/>
                  <a:gd name="T4" fmla="*/ 427 w 777"/>
                  <a:gd name="T5" fmla="*/ 150 h 1675"/>
                  <a:gd name="T6" fmla="*/ 469 w 777"/>
                  <a:gd name="T7" fmla="*/ 80 h 1675"/>
                  <a:gd name="T8" fmla="*/ 389 w 777"/>
                  <a:gd name="T9" fmla="*/ 0 h 1675"/>
                  <a:gd name="T10" fmla="*/ 309 w 777"/>
                  <a:gd name="T11" fmla="*/ 80 h 1675"/>
                  <a:gd name="T12" fmla="*/ 351 w 777"/>
                  <a:gd name="T13" fmla="*/ 150 h 1675"/>
                  <a:gd name="T14" fmla="*/ 342 w 777"/>
                  <a:gd name="T15" fmla="*/ 168 h 1675"/>
                  <a:gd name="T16" fmla="*/ 7 w 777"/>
                  <a:gd name="T17" fmla="*/ 1452 h 1675"/>
                  <a:gd name="T18" fmla="*/ 42 w 777"/>
                  <a:gd name="T19" fmla="*/ 1511 h 1675"/>
                  <a:gd name="T20" fmla="*/ 101 w 777"/>
                  <a:gd name="T21" fmla="*/ 1476 h 1675"/>
                  <a:gd name="T22" fmla="*/ 157 w 777"/>
                  <a:gd name="T23" fmla="*/ 1262 h 1675"/>
                  <a:gd name="T24" fmla="*/ 339 w 777"/>
                  <a:gd name="T25" fmla="*/ 1370 h 1675"/>
                  <a:gd name="T26" fmla="*/ 339 w 777"/>
                  <a:gd name="T27" fmla="*/ 1626 h 1675"/>
                  <a:gd name="T28" fmla="*/ 388 w 777"/>
                  <a:gd name="T29" fmla="*/ 1675 h 1675"/>
                  <a:gd name="T30" fmla="*/ 437 w 777"/>
                  <a:gd name="T31" fmla="*/ 1626 h 1675"/>
                  <a:gd name="T32" fmla="*/ 437 w 777"/>
                  <a:gd name="T33" fmla="*/ 1370 h 1675"/>
                  <a:gd name="T34" fmla="*/ 620 w 777"/>
                  <a:gd name="T35" fmla="*/ 1262 h 1675"/>
                  <a:gd name="T36" fmla="*/ 676 w 777"/>
                  <a:gd name="T37" fmla="*/ 1476 h 1675"/>
                  <a:gd name="T38" fmla="*/ 723 w 777"/>
                  <a:gd name="T39" fmla="*/ 1513 h 1675"/>
                  <a:gd name="T40" fmla="*/ 735 w 777"/>
                  <a:gd name="T41" fmla="*/ 1511 h 1675"/>
                  <a:gd name="T42" fmla="*/ 770 w 777"/>
                  <a:gd name="T43" fmla="*/ 1452 h 1675"/>
                  <a:gd name="T44" fmla="*/ 339 w 777"/>
                  <a:gd name="T45" fmla="*/ 1285 h 1675"/>
                  <a:gd name="T46" fmla="*/ 176 w 777"/>
                  <a:gd name="T47" fmla="*/ 1189 h 1675"/>
                  <a:gd name="T48" fmla="*/ 243 w 777"/>
                  <a:gd name="T49" fmla="*/ 934 h 1675"/>
                  <a:gd name="T50" fmla="*/ 339 w 777"/>
                  <a:gd name="T51" fmla="*/ 991 h 1675"/>
                  <a:gd name="T52" fmla="*/ 339 w 777"/>
                  <a:gd name="T53" fmla="*/ 1285 h 1675"/>
                  <a:gd name="T54" fmla="*/ 339 w 777"/>
                  <a:gd name="T55" fmla="*/ 906 h 1675"/>
                  <a:gd name="T56" fmla="*/ 262 w 777"/>
                  <a:gd name="T57" fmla="*/ 860 h 1675"/>
                  <a:gd name="T58" fmla="*/ 339 w 777"/>
                  <a:gd name="T59" fmla="*/ 563 h 1675"/>
                  <a:gd name="T60" fmla="*/ 339 w 777"/>
                  <a:gd name="T61" fmla="*/ 906 h 1675"/>
                  <a:gd name="T62" fmla="*/ 437 w 777"/>
                  <a:gd name="T63" fmla="*/ 557 h 1675"/>
                  <a:gd name="T64" fmla="*/ 516 w 777"/>
                  <a:gd name="T65" fmla="*/ 861 h 1675"/>
                  <a:gd name="T66" fmla="*/ 437 w 777"/>
                  <a:gd name="T67" fmla="*/ 908 h 1675"/>
                  <a:gd name="T68" fmla="*/ 437 w 777"/>
                  <a:gd name="T69" fmla="*/ 557 h 1675"/>
                  <a:gd name="T70" fmla="*/ 437 w 777"/>
                  <a:gd name="T71" fmla="*/ 1285 h 1675"/>
                  <a:gd name="T72" fmla="*/ 437 w 777"/>
                  <a:gd name="T73" fmla="*/ 993 h 1675"/>
                  <a:gd name="T74" fmla="*/ 535 w 777"/>
                  <a:gd name="T75" fmla="*/ 934 h 1675"/>
                  <a:gd name="T76" fmla="*/ 601 w 777"/>
                  <a:gd name="T77" fmla="*/ 1188 h 1675"/>
                  <a:gd name="T78" fmla="*/ 437 w 777"/>
                  <a:gd name="T79" fmla="*/ 1285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7" h="1675">
                    <a:moveTo>
                      <a:pt x="770" y="1452"/>
                    </a:moveTo>
                    <a:cubicBezTo>
                      <a:pt x="436" y="168"/>
                      <a:pt x="436" y="168"/>
                      <a:pt x="436" y="168"/>
                    </a:cubicBezTo>
                    <a:cubicBezTo>
                      <a:pt x="434" y="161"/>
                      <a:pt x="431" y="155"/>
                      <a:pt x="427" y="150"/>
                    </a:cubicBezTo>
                    <a:cubicBezTo>
                      <a:pt x="452" y="136"/>
                      <a:pt x="469" y="110"/>
                      <a:pt x="469" y="80"/>
                    </a:cubicBezTo>
                    <a:cubicBezTo>
                      <a:pt x="469" y="36"/>
                      <a:pt x="433" y="0"/>
                      <a:pt x="389" y="0"/>
                    </a:cubicBezTo>
                    <a:cubicBezTo>
                      <a:pt x="345" y="0"/>
                      <a:pt x="309" y="36"/>
                      <a:pt x="309" y="80"/>
                    </a:cubicBezTo>
                    <a:cubicBezTo>
                      <a:pt x="309" y="110"/>
                      <a:pt x="326" y="136"/>
                      <a:pt x="351" y="150"/>
                    </a:cubicBezTo>
                    <a:cubicBezTo>
                      <a:pt x="346" y="155"/>
                      <a:pt x="343" y="161"/>
                      <a:pt x="342" y="168"/>
                    </a:cubicBezTo>
                    <a:cubicBezTo>
                      <a:pt x="7" y="1452"/>
                      <a:pt x="7" y="1452"/>
                      <a:pt x="7" y="1452"/>
                    </a:cubicBezTo>
                    <a:cubicBezTo>
                      <a:pt x="0" y="1478"/>
                      <a:pt x="16" y="1504"/>
                      <a:pt x="42" y="1511"/>
                    </a:cubicBezTo>
                    <a:cubicBezTo>
                      <a:pt x="68" y="1518"/>
                      <a:pt x="95" y="1502"/>
                      <a:pt x="101" y="1476"/>
                    </a:cubicBezTo>
                    <a:cubicBezTo>
                      <a:pt x="157" y="1262"/>
                      <a:pt x="157" y="1262"/>
                      <a:pt x="157" y="1262"/>
                    </a:cubicBezTo>
                    <a:cubicBezTo>
                      <a:pt x="339" y="1370"/>
                      <a:pt x="339" y="1370"/>
                      <a:pt x="339" y="1370"/>
                    </a:cubicBezTo>
                    <a:cubicBezTo>
                      <a:pt x="339" y="1626"/>
                      <a:pt x="339" y="1626"/>
                      <a:pt x="339" y="1626"/>
                    </a:cubicBezTo>
                    <a:cubicBezTo>
                      <a:pt x="339" y="1653"/>
                      <a:pt x="361" y="1675"/>
                      <a:pt x="388" y="1675"/>
                    </a:cubicBezTo>
                    <a:cubicBezTo>
                      <a:pt x="415" y="1675"/>
                      <a:pt x="437" y="1653"/>
                      <a:pt x="437" y="1626"/>
                    </a:cubicBezTo>
                    <a:cubicBezTo>
                      <a:pt x="437" y="1370"/>
                      <a:pt x="437" y="1370"/>
                      <a:pt x="437" y="1370"/>
                    </a:cubicBezTo>
                    <a:cubicBezTo>
                      <a:pt x="620" y="1262"/>
                      <a:pt x="620" y="1262"/>
                      <a:pt x="620" y="1262"/>
                    </a:cubicBezTo>
                    <a:cubicBezTo>
                      <a:pt x="676" y="1476"/>
                      <a:pt x="676" y="1476"/>
                      <a:pt x="676" y="1476"/>
                    </a:cubicBezTo>
                    <a:cubicBezTo>
                      <a:pt x="682" y="1498"/>
                      <a:pt x="701" y="1513"/>
                      <a:pt x="723" y="1513"/>
                    </a:cubicBezTo>
                    <a:cubicBezTo>
                      <a:pt x="727" y="1513"/>
                      <a:pt x="731" y="1512"/>
                      <a:pt x="735" y="1511"/>
                    </a:cubicBezTo>
                    <a:cubicBezTo>
                      <a:pt x="761" y="1504"/>
                      <a:pt x="777" y="1478"/>
                      <a:pt x="770" y="1452"/>
                    </a:cubicBezTo>
                    <a:close/>
                    <a:moveTo>
                      <a:pt x="339" y="1285"/>
                    </a:moveTo>
                    <a:cubicBezTo>
                      <a:pt x="176" y="1189"/>
                      <a:pt x="176" y="1189"/>
                      <a:pt x="176" y="1189"/>
                    </a:cubicBezTo>
                    <a:cubicBezTo>
                      <a:pt x="243" y="934"/>
                      <a:pt x="243" y="934"/>
                      <a:pt x="243" y="934"/>
                    </a:cubicBezTo>
                    <a:cubicBezTo>
                      <a:pt x="339" y="991"/>
                      <a:pt x="339" y="991"/>
                      <a:pt x="339" y="991"/>
                    </a:cubicBezTo>
                    <a:lnTo>
                      <a:pt x="339" y="1285"/>
                    </a:lnTo>
                    <a:close/>
                    <a:moveTo>
                      <a:pt x="339" y="906"/>
                    </a:moveTo>
                    <a:cubicBezTo>
                      <a:pt x="262" y="860"/>
                      <a:pt x="262" y="860"/>
                      <a:pt x="262" y="860"/>
                    </a:cubicBezTo>
                    <a:cubicBezTo>
                      <a:pt x="339" y="563"/>
                      <a:pt x="339" y="563"/>
                      <a:pt x="339" y="563"/>
                    </a:cubicBezTo>
                    <a:lnTo>
                      <a:pt x="339" y="906"/>
                    </a:lnTo>
                    <a:close/>
                    <a:moveTo>
                      <a:pt x="437" y="557"/>
                    </a:moveTo>
                    <a:cubicBezTo>
                      <a:pt x="516" y="861"/>
                      <a:pt x="516" y="861"/>
                      <a:pt x="516" y="861"/>
                    </a:cubicBezTo>
                    <a:cubicBezTo>
                      <a:pt x="437" y="908"/>
                      <a:pt x="437" y="908"/>
                      <a:pt x="437" y="908"/>
                    </a:cubicBezTo>
                    <a:lnTo>
                      <a:pt x="437" y="557"/>
                    </a:lnTo>
                    <a:close/>
                    <a:moveTo>
                      <a:pt x="437" y="1285"/>
                    </a:moveTo>
                    <a:cubicBezTo>
                      <a:pt x="437" y="993"/>
                      <a:pt x="437" y="993"/>
                      <a:pt x="437" y="993"/>
                    </a:cubicBezTo>
                    <a:cubicBezTo>
                      <a:pt x="535" y="934"/>
                      <a:pt x="535" y="934"/>
                      <a:pt x="535" y="934"/>
                    </a:cubicBezTo>
                    <a:cubicBezTo>
                      <a:pt x="601" y="1188"/>
                      <a:pt x="601" y="1188"/>
                      <a:pt x="601" y="1188"/>
                    </a:cubicBezTo>
                    <a:lnTo>
                      <a:pt x="437" y="128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2" name="Freeform 136">
                <a:extLst>
                  <a:ext uri="{FF2B5EF4-FFF2-40B4-BE49-F238E27FC236}">
                    <a16:creationId xmlns:a16="http://schemas.microsoft.com/office/drawing/2014/main" id="{5D385C4E-FE2A-3F4E-858F-FA22ADDDABDD}"/>
                  </a:ext>
                </a:extLst>
              </p:cNvPr>
              <p:cNvSpPr>
                <a:spLocks/>
              </p:cNvSpPr>
              <p:nvPr/>
            </p:nvSpPr>
            <p:spPr bwMode="auto">
              <a:xfrm>
                <a:off x="5184" y="1301"/>
                <a:ext cx="57" cy="193"/>
              </a:xfrm>
              <a:custGeom>
                <a:avLst/>
                <a:gdLst>
                  <a:gd name="T0" fmla="*/ 6 w 249"/>
                  <a:gd name="T1" fmla="*/ 817 h 863"/>
                  <a:gd name="T2" fmla="*/ 18 w 249"/>
                  <a:gd name="T3" fmla="*/ 787 h 863"/>
                  <a:gd name="T4" fmla="*/ 165 w 249"/>
                  <a:gd name="T5" fmla="*/ 431 h 863"/>
                  <a:gd name="T6" fmla="*/ 17 w 249"/>
                  <a:gd name="T7" fmla="*/ 76 h 863"/>
                  <a:gd name="T8" fmla="*/ 16 w 249"/>
                  <a:gd name="T9" fmla="*/ 16 h 863"/>
                  <a:gd name="T10" fmla="*/ 76 w 249"/>
                  <a:gd name="T11" fmla="*/ 16 h 863"/>
                  <a:gd name="T12" fmla="*/ 249 w 249"/>
                  <a:gd name="T13" fmla="*/ 431 h 863"/>
                  <a:gd name="T14" fmla="*/ 78 w 249"/>
                  <a:gd name="T15" fmla="*/ 846 h 863"/>
                  <a:gd name="T16" fmla="*/ 18 w 249"/>
                  <a:gd name="T17" fmla="*/ 846 h 863"/>
                  <a:gd name="T18" fmla="*/ 6 w 249"/>
                  <a:gd name="T19" fmla="*/ 817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9" h="863">
                    <a:moveTo>
                      <a:pt x="6" y="817"/>
                    </a:moveTo>
                    <a:cubicBezTo>
                      <a:pt x="6" y="806"/>
                      <a:pt x="10" y="795"/>
                      <a:pt x="18" y="787"/>
                    </a:cubicBezTo>
                    <a:cubicBezTo>
                      <a:pt x="113" y="692"/>
                      <a:pt x="165" y="565"/>
                      <a:pt x="165" y="431"/>
                    </a:cubicBezTo>
                    <a:cubicBezTo>
                      <a:pt x="164" y="297"/>
                      <a:pt x="112" y="171"/>
                      <a:pt x="17" y="76"/>
                    </a:cubicBezTo>
                    <a:cubicBezTo>
                      <a:pt x="0" y="60"/>
                      <a:pt x="0" y="33"/>
                      <a:pt x="16" y="16"/>
                    </a:cubicBezTo>
                    <a:cubicBezTo>
                      <a:pt x="33" y="0"/>
                      <a:pt x="60" y="0"/>
                      <a:pt x="76" y="16"/>
                    </a:cubicBezTo>
                    <a:cubicBezTo>
                      <a:pt x="187" y="127"/>
                      <a:pt x="248" y="274"/>
                      <a:pt x="249" y="431"/>
                    </a:cubicBezTo>
                    <a:cubicBezTo>
                      <a:pt x="249" y="588"/>
                      <a:pt x="188" y="735"/>
                      <a:pt x="78" y="846"/>
                    </a:cubicBezTo>
                    <a:cubicBezTo>
                      <a:pt x="61" y="863"/>
                      <a:pt x="35" y="863"/>
                      <a:pt x="18" y="846"/>
                    </a:cubicBezTo>
                    <a:cubicBezTo>
                      <a:pt x="10" y="838"/>
                      <a:pt x="6" y="827"/>
                      <a:pt x="6" y="8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3" name="Freeform 137">
                <a:extLst>
                  <a:ext uri="{FF2B5EF4-FFF2-40B4-BE49-F238E27FC236}">
                    <a16:creationId xmlns:a16="http://schemas.microsoft.com/office/drawing/2014/main" id="{861139AF-E84D-3244-ABA4-730BD9EC4856}"/>
                  </a:ext>
                </a:extLst>
              </p:cNvPr>
              <p:cNvSpPr>
                <a:spLocks/>
              </p:cNvSpPr>
              <p:nvPr/>
            </p:nvSpPr>
            <p:spPr bwMode="auto">
              <a:xfrm>
                <a:off x="5157" y="1328"/>
                <a:ext cx="45" cy="139"/>
              </a:xfrm>
              <a:custGeom>
                <a:avLst/>
                <a:gdLst>
                  <a:gd name="T0" fmla="*/ 5 w 199"/>
                  <a:gd name="T1" fmla="*/ 575 h 622"/>
                  <a:gd name="T2" fmla="*/ 17 w 199"/>
                  <a:gd name="T3" fmla="*/ 546 h 622"/>
                  <a:gd name="T4" fmla="*/ 114 w 199"/>
                  <a:gd name="T5" fmla="*/ 310 h 622"/>
                  <a:gd name="T6" fmla="*/ 16 w 199"/>
                  <a:gd name="T7" fmla="*/ 76 h 622"/>
                  <a:gd name="T8" fmla="*/ 16 w 199"/>
                  <a:gd name="T9" fmla="*/ 16 h 622"/>
                  <a:gd name="T10" fmla="*/ 76 w 199"/>
                  <a:gd name="T11" fmla="*/ 16 h 622"/>
                  <a:gd name="T12" fmla="*/ 198 w 199"/>
                  <a:gd name="T13" fmla="*/ 310 h 622"/>
                  <a:gd name="T14" fmla="*/ 77 w 199"/>
                  <a:gd name="T15" fmla="*/ 605 h 622"/>
                  <a:gd name="T16" fmla="*/ 18 w 199"/>
                  <a:gd name="T17" fmla="*/ 605 h 622"/>
                  <a:gd name="T18" fmla="*/ 5 w 199"/>
                  <a:gd name="T19" fmla="*/ 57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9" h="622">
                    <a:moveTo>
                      <a:pt x="5" y="575"/>
                    </a:moveTo>
                    <a:cubicBezTo>
                      <a:pt x="5" y="565"/>
                      <a:pt x="9" y="554"/>
                      <a:pt x="17" y="546"/>
                    </a:cubicBezTo>
                    <a:cubicBezTo>
                      <a:pt x="80" y="483"/>
                      <a:pt x="114" y="399"/>
                      <a:pt x="114" y="310"/>
                    </a:cubicBezTo>
                    <a:cubicBezTo>
                      <a:pt x="114" y="222"/>
                      <a:pt x="79" y="138"/>
                      <a:pt x="16" y="76"/>
                    </a:cubicBezTo>
                    <a:cubicBezTo>
                      <a:pt x="0" y="59"/>
                      <a:pt x="0" y="33"/>
                      <a:pt x="16" y="16"/>
                    </a:cubicBezTo>
                    <a:cubicBezTo>
                      <a:pt x="33" y="0"/>
                      <a:pt x="59" y="0"/>
                      <a:pt x="76" y="16"/>
                    </a:cubicBezTo>
                    <a:cubicBezTo>
                      <a:pt x="155" y="94"/>
                      <a:pt x="198" y="199"/>
                      <a:pt x="198" y="310"/>
                    </a:cubicBezTo>
                    <a:cubicBezTo>
                      <a:pt x="199" y="421"/>
                      <a:pt x="156" y="526"/>
                      <a:pt x="77" y="605"/>
                    </a:cubicBezTo>
                    <a:cubicBezTo>
                      <a:pt x="61" y="621"/>
                      <a:pt x="34" y="622"/>
                      <a:pt x="18" y="605"/>
                    </a:cubicBezTo>
                    <a:cubicBezTo>
                      <a:pt x="9" y="597"/>
                      <a:pt x="5" y="586"/>
                      <a:pt x="5" y="57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4" name="Freeform 138">
                <a:extLst>
                  <a:ext uri="{FF2B5EF4-FFF2-40B4-BE49-F238E27FC236}">
                    <a16:creationId xmlns:a16="http://schemas.microsoft.com/office/drawing/2014/main" id="{D537E9D3-87D3-F145-A1EC-7EF9F212BE48}"/>
                  </a:ext>
                </a:extLst>
              </p:cNvPr>
              <p:cNvSpPr>
                <a:spLocks/>
              </p:cNvSpPr>
              <p:nvPr/>
            </p:nvSpPr>
            <p:spPr bwMode="auto">
              <a:xfrm>
                <a:off x="5129" y="1355"/>
                <a:ext cx="40" cy="85"/>
              </a:xfrm>
              <a:custGeom>
                <a:avLst/>
                <a:gdLst>
                  <a:gd name="T0" fmla="*/ 5 w 173"/>
                  <a:gd name="T1" fmla="*/ 336 h 382"/>
                  <a:gd name="T2" fmla="*/ 17 w 173"/>
                  <a:gd name="T3" fmla="*/ 306 h 382"/>
                  <a:gd name="T4" fmla="*/ 17 w 173"/>
                  <a:gd name="T5" fmla="*/ 76 h 382"/>
                  <a:gd name="T6" fmla="*/ 17 w 173"/>
                  <a:gd name="T7" fmla="*/ 16 h 382"/>
                  <a:gd name="T8" fmla="*/ 76 w 173"/>
                  <a:gd name="T9" fmla="*/ 16 h 382"/>
                  <a:gd name="T10" fmla="*/ 77 w 173"/>
                  <a:gd name="T11" fmla="*/ 365 h 382"/>
                  <a:gd name="T12" fmla="*/ 17 w 173"/>
                  <a:gd name="T13" fmla="*/ 366 h 382"/>
                  <a:gd name="T14" fmla="*/ 5 w 173"/>
                  <a:gd name="T15" fmla="*/ 336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82">
                    <a:moveTo>
                      <a:pt x="5" y="336"/>
                    </a:moveTo>
                    <a:cubicBezTo>
                      <a:pt x="5" y="325"/>
                      <a:pt x="9" y="314"/>
                      <a:pt x="17" y="306"/>
                    </a:cubicBezTo>
                    <a:cubicBezTo>
                      <a:pt x="81" y="242"/>
                      <a:pt x="80" y="139"/>
                      <a:pt x="17" y="76"/>
                    </a:cubicBezTo>
                    <a:cubicBezTo>
                      <a:pt x="0" y="59"/>
                      <a:pt x="0" y="33"/>
                      <a:pt x="17" y="16"/>
                    </a:cubicBezTo>
                    <a:cubicBezTo>
                      <a:pt x="33" y="0"/>
                      <a:pt x="60" y="0"/>
                      <a:pt x="76" y="16"/>
                    </a:cubicBezTo>
                    <a:cubicBezTo>
                      <a:pt x="173" y="112"/>
                      <a:pt x="173" y="269"/>
                      <a:pt x="77" y="365"/>
                    </a:cubicBezTo>
                    <a:cubicBezTo>
                      <a:pt x="61" y="382"/>
                      <a:pt x="34" y="382"/>
                      <a:pt x="17" y="366"/>
                    </a:cubicBezTo>
                    <a:cubicBezTo>
                      <a:pt x="9" y="357"/>
                      <a:pt x="5" y="347"/>
                      <a:pt x="5" y="33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5" name="Freeform 139">
                <a:extLst>
                  <a:ext uri="{FF2B5EF4-FFF2-40B4-BE49-F238E27FC236}">
                    <a16:creationId xmlns:a16="http://schemas.microsoft.com/office/drawing/2014/main" id="{C912F0F2-8737-0243-A846-2833DBFEAB80}"/>
                  </a:ext>
                </a:extLst>
              </p:cNvPr>
              <p:cNvSpPr>
                <a:spLocks/>
              </p:cNvSpPr>
              <p:nvPr/>
            </p:nvSpPr>
            <p:spPr bwMode="auto">
              <a:xfrm>
                <a:off x="4879" y="1301"/>
                <a:ext cx="57" cy="193"/>
              </a:xfrm>
              <a:custGeom>
                <a:avLst/>
                <a:gdLst>
                  <a:gd name="T0" fmla="*/ 243 w 249"/>
                  <a:gd name="T1" fmla="*/ 46 h 863"/>
                  <a:gd name="T2" fmla="*/ 231 w 249"/>
                  <a:gd name="T3" fmla="*/ 76 h 863"/>
                  <a:gd name="T4" fmla="*/ 85 w 249"/>
                  <a:gd name="T5" fmla="*/ 432 h 863"/>
                  <a:gd name="T6" fmla="*/ 233 w 249"/>
                  <a:gd name="T7" fmla="*/ 787 h 863"/>
                  <a:gd name="T8" fmla="*/ 233 w 249"/>
                  <a:gd name="T9" fmla="*/ 846 h 863"/>
                  <a:gd name="T10" fmla="*/ 173 w 249"/>
                  <a:gd name="T11" fmla="*/ 847 h 863"/>
                  <a:gd name="T12" fmla="*/ 1 w 249"/>
                  <a:gd name="T13" fmla="*/ 432 h 863"/>
                  <a:gd name="T14" fmla="*/ 171 w 249"/>
                  <a:gd name="T15" fmla="*/ 17 h 863"/>
                  <a:gd name="T16" fmla="*/ 231 w 249"/>
                  <a:gd name="T17" fmla="*/ 16 h 863"/>
                  <a:gd name="T18" fmla="*/ 243 w 249"/>
                  <a:gd name="T19" fmla="*/ 46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9" h="863">
                    <a:moveTo>
                      <a:pt x="243" y="46"/>
                    </a:moveTo>
                    <a:cubicBezTo>
                      <a:pt x="243" y="57"/>
                      <a:pt x="239" y="68"/>
                      <a:pt x="231" y="76"/>
                    </a:cubicBezTo>
                    <a:cubicBezTo>
                      <a:pt x="136" y="171"/>
                      <a:pt x="84" y="297"/>
                      <a:pt x="85" y="432"/>
                    </a:cubicBezTo>
                    <a:cubicBezTo>
                      <a:pt x="85" y="566"/>
                      <a:pt x="138" y="692"/>
                      <a:pt x="233" y="787"/>
                    </a:cubicBezTo>
                    <a:cubicBezTo>
                      <a:pt x="249" y="803"/>
                      <a:pt x="249" y="830"/>
                      <a:pt x="233" y="846"/>
                    </a:cubicBezTo>
                    <a:cubicBezTo>
                      <a:pt x="216" y="863"/>
                      <a:pt x="190" y="863"/>
                      <a:pt x="173" y="847"/>
                    </a:cubicBezTo>
                    <a:cubicBezTo>
                      <a:pt x="62" y="736"/>
                      <a:pt x="1" y="589"/>
                      <a:pt x="1" y="432"/>
                    </a:cubicBezTo>
                    <a:cubicBezTo>
                      <a:pt x="0" y="275"/>
                      <a:pt x="61" y="128"/>
                      <a:pt x="171" y="17"/>
                    </a:cubicBezTo>
                    <a:cubicBezTo>
                      <a:pt x="188" y="0"/>
                      <a:pt x="215" y="0"/>
                      <a:pt x="231" y="16"/>
                    </a:cubicBezTo>
                    <a:cubicBezTo>
                      <a:pt x="239" y="25"/>
                      <a:pt x="243" y="35"/>
                      <a:pt x="243" y="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6" name="Freeform 140">
                <a:extLst>
                  <a:ext uri="{FF2B5EF4-FFF2-40B4-BE49-F238E27FC236}">
                    <a16:creationId xmlns:a16="http://schemas.microsoft.com/office/drawing/2014/main" id="{EC59ECB0-635B-4A41-82FA-B991338A2DCD}"/>
                  </a:ext>
                </a:extLst>
              </p:cNvPr>
              <p:cNvSpPr>
                <a:spLocks/>
              </p:cNvSpPr>
              <p:nvPr/>
            </p:nvSpPr>
            <p:spPr bwMode="auto">
              <a:xfrm>
                <a:off x="4918" y="1328"/>
                <a:ext cx="45" cy="139"/>
              </a:xfrm>
              <a:custGeom>
                <a:avLst/>
                <a:gdLst>
                  <a:gd name="T0" fmla="*/ 193 w 198"/>
                  <a:gd name="T1" fmla="*/ 46 h 622"/>
                  <a:gd name="T2" fmla="*/ 181 w 198"/>
                  <a:gd name="T3" fmla="*/ 76 h 622"/>
                  <a:gd name="T4" fmla="*/ 84 w 198"/>
                  <a:gd name="T5" fmla="*/ 311 h 622"/>
                  <a:gd name="T6" fmla="*/ 182 w 198"/>
                  <a:gd name="T7" fmla="*/ 546 h 622"/>
                  <a:gd name="T8" fmla="*/ 182 w 198"/>
                  <a:gd name="T9" fmla="*/ 606 h 622"/>
                  <a:gd name="T10" fmla="*/ 123 w 198"/>
                  <a:gd name="T11" fmla="*/ 606 h 622"/>
                  <a:gd name="T12" fmla="*/ 0 w 198"/>
                  <a:gd name="T13" fmla="*/ 312 h 622"/>
                  <a:gd name="T14" fmla="*/ 121 w 198"/>
                  <a:gd name="T15" fmla="*/ 17 h 622"/>
                  <a:gd name="T16" fmla="*/ 181 w 198"/>
                  <a:gd name="T17" fmla="*/ 17 h 622"/>
                  <a:gd name="T18" fmla="*/ 193 w 198"/>
                  <a:gd name="T19" fmla="*/ 46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622">
                    <a:moveTo>
                      <a:pt x="193" y="46"/>
                    </a:moveTo>
                    <a:cubicBezTo>
                      <a:pt x="193" y="57"/>
                      <a:pt x="189" y="68"/>
                      <a:pt x="181" y="76"/>
                    </a:cubicBezTo>
                    <a:cubicBezTo>
                      <a:pt x="118" y="139"/>
                      <a:pt x="84" y="223"/>
                      <a:pt x="84" y="311"/>
                    </a:cubicBezTo>
                    <a:cubicBezTo>
                      <a:pt x="84" y="400"/>
                      <a:pt x="119" y="484"/>
                      <a:pt x="182" y="546"/>
                    </a:cubicBezTo>
                    <a:cubicBezTo>
                      <a:pt x="198" y="563"/>
                      <a:pt x="198" y="589"/>
                      <a:pt x="182" y="606"/>
                    </a:cubicBezTo>
                    <a:cubicBezTo>
                      <a:pt x="166" y="622"/>
                      <a:pt x="139" y="622"/>
                      <a:pt x="123" y="606"/>
                    </a:cubicBezTo>
                    <a:cubicBezTo>
                      <a:pt x="44" y="527"/>
                      <a:pt x="0" y="423"/>
                      <a:pt x="0" y="312"/>
                    </a:cubicBezTo>
                    <a:cubicBezTo>
                      <a:pt x="0" y="200"/>
                      <a:pt x="43" y="96"/>
                      <a:pt x="121" y="17"/>
                    </a:cubicBezTo>
                    <a:cubicBezTo>
                      <a:pt x="138" y="0"/>
                      <a:pt x="164" y="0"/>
                      <a:pt x="181" y="17"/>
                    </a:cubicBezTo>
                    <a:cubicBezTo>
                      <a:pt x="189" y="25"/>
                      <a:pt x="193" y="36"/>
                      <a:pt x="193" y="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7" name="Freeform 141">
                <a:extLst>
                  <a:ext uri="{FF2B5EF4-FFF2-40B4-BE49-F238E27FC236}">
                    <a16:creationId xmlns:a16="http://schemas.microsoft.com/office/drawing/2014/main" id="{774039F3-6A9B-5F4A-AE5D-E57C36283DD6}"/>
                  </a:ext>
                </a:extLst>
              </p:cNvPr>
              <p:cNvSpPr>
                <a:spLocks/>
              </p:cNvSpPr>
              <p:nvPr/>
            </p:nvSpPr>
            <p:spPr bwMode="auto">
              <a:xfrm>
                <a:off x="4951" y="1355"/>
                <a:ext cx="40" cy="85"/>
              </a:xfrm>
              <a:custGeom>
                <a:avLst/>
                <a:gdLst>
                  <a:gd name="T0" fmla="*/ 168 w 173"/>
                  <a:gd name="T1" fmla="*/ 46 h 382"/>
                  <a:gd name="T2" fmla="*/ 156 w 173"/>
                  <a:gd name="T3" fmla="*/ 76 h 382"/>
                  <a:gd name="T4" fmla="*/ 157 w 173"/>
                  <a:gd name="T5" fmla="*/ 306 h 382"/>
                  <a:gd name="T6" fmla="*/ 157 w 173"/>
                  <a:gd name="T7" fmla="*/ 366 h 382"/>
                  <a:gd name="T8" fmla="*/ 97 w 173"/>
                  <a:gd name="T9" fmla="*/ 366 h 382"/>
                  <a:gd name="T10" fmla="*/ 96 w 173"/>
                  <a:gd name="T11" fmla="*/ 16 h 382"/>
                  <a:gd name="T12" fmla="*/ 156 w 173"/>
                  <a:gd name="T13" fmla="*/ 16 h 382"/>
                  <a:gd name="T14" fmla="*/ 168 w 173"/>
                  <a:gd name="T15" fmla="*/ 46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82">
                    <a:moveTo>
                      <a:pt x="168" y="46"/>
                    </a:moveTo>
                    <a:cubicBezTo>
                      <a:pt x="168" y="57"/>
                      <a:pt x="164" y="68"/>
                      <a:pt x="156" y="76"/>
                    </a:cubicBezTo>
                    <a:cubicBezTo>
                      <a:pt x="93" y="139"/>
                      <a:pt x="93" y="243"/>
                      <a:pt x="157" y="306"/>
                    </a:cubicBezTo>
                    <a:cubicBezTo>
                      <a:pt x="173" y="322"/>
                      <a:pt x="173" y="349"/>
                      <a:pt x="157" y="366"/>
                    </a:cubicBezTo>
                    <a:cubicBezTo>
                      <a:pt x="140" y="382"/>
                      <a:pt x="114" y="382"/>
                      <a:pt x="97" y="366"/>
                    </a:cubicBezTo>
                    <a:cubicBezTo>
                      <a:pt x="1" y="270"/>
                      <a:pt x="0" y="113"/>
                      <a:pt x="96" y="16"/>
                    </a:cubicBezTo>
                    <a:cubicBezTo>
                      <a:pt x="113" y="0"/>
                      <a:pt x="139" y="0"/>
                      <a:pt x="156" y="16"/>
                    </a:cubicBezTo>
                    <a:cubicBezTo>
                      <a:pt x="164" y="24"/>
                      <a:pt x="168" y="35"/>
                      <a:pt x="168" y="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48" name="Group 134">
              <a:extLst>
                <a:ext uri="{FF2B5EF4-FFF2-40B4-BE49-F238E27FC236}">
                  <a16:creationId xmlns:a16="http://schemas.microsoft.com/office/drawing/2014/main" id="{CED17E62-6179-0C4B-9DA8-FF5ECA15FB8C}"/>
                </a:ext>
              </a:extLst>
            </p:cNvPr>
            <p:cNvGrpSpPr>
              <a:grpSpLocks noChangeAspect="1"/>
            </p:cNvGrpSpPr>
            <p:nvPr/>
          </p:nvGrpSpPr>
          <p:grpSpPr bwMode="auto">
            <a:xfrm>
              <a:off x="270089" y="2121486"/>
              <a:ext cx="264893" cy="330752"/>
              <a:chOff x="4879" y="1301"/>
              <a:chExt cx="362" cy="452"/>
            </a:xfrm>
          </p:grpSpPr>
          <p:sp>
            <p:nvSpPr>
              <p:cNvPr id="149" name="Freeform 135">
                <a:extLst>
                  <a:ext uri="{FF2B5EF4-FFF2-40B4-BE49-F238E27FC236}">
                    <a16:creationId xmlns:a16="http://schemas.microsoft.com/office/drawing/2014/main" id="{B0948915-6EBC-254E-9823-52BDCBA3527C}"/>
                  </a:ext>
                </a:extLst>
              </p:cNvPr>
              <p:cNvSpPr>
                <a:spLocks noEditPoints="1"/>
              </p:cNvSpPr>
              <p:nvPr/>
            </p:nvSpPr>
            <p:spPr bwMode="auto">
              <a:xfrm>
                <a:off x="4971" y="1377"/>
                <a:ext cx="178" cy="376"/>
              </a:xfrm>
              <a:custGeom>
                <a:avLst/>
                <a:gdLst>
                  <a:gd name="T0" fmla="*/ 770 w 777"/>
                  <a:gd name="T1" fmla="*/ 1452 h 1675"/>
                  <a:gd name="T2" fmla="*/ 436 w 777"/>
                  <a:gd name="T3" fmla="*/ 168 h 1675"/>
                  <a:gd name="T4" fmla="*/ 427 w 777"/>
                  <a:gd name="T5" fmla="*/ 150 h 1675"/>
                  <a:gd name="T6" fmla="*/ 469 w 777"/>
                  <a:gd name="T7" fmla="*/ 80 h 1675"/>
                  <a:gd name="T8" fmla="*/ 389 w 777"/>
                  <a:gd name="T9" fmla="*/ 0 h 1675"/>
                  <a:gd name="T10" fmla="*/ 309 w 777"/>
                  <a:gd name="T11" fmla="*/ 80 h 1675"/>
                  <a:gd name="T12" fmla="*/ 351 w 777"/>
                  <a:gd name="T13" fmla="*/ 150 h 1675"/>
                  <a:gd name="T14" fmla="*/ 342 w 777"/>
                  <a:gd name="T15" fmla="*/ 168 h 1675"/>
                  <a:gd name="T16" fmla="*/ 7 w 777"/>
                  <a:gd name="T17" fmla="*/ 1452 h 1675"/>
                  <a:gd name="T18" fmla="*/ 42 w 777"/>
                  <a:gd name="T19" fmla="*/ 1511 h 1675"/>
                  <a:gd name="T20" fmla="*/ 101 w 777"/>
                  <a:gd name="T21" fmla="*/ 1476 h 1675"/>
                  <a:gd name="T22" fmla="*/ 157 w 777"/>
                  <a:gd name="T23" fmla="*/ 1262 h 1675"/>
                  <a:gd name="T24" fmla="*/ 339 w 777"/>
                  <a:gd name="T25" fmla="*/ 1370 h 1675"/>
                  <a:gd name="T26" fmla="*/ 339 w 777"/>
                  <a:gd name="T27" fmla="*/ 1626 h 1675"/>
                  <a:gd name="T28" fmla="*/ 388 w 777"/>
                  <a:gd name="T29" fmla="*/ 1675 h 1675"/>
                  <a:gd name="T30" fmla="*/ 437 w 777"/>
                  <a:gd name="T31" fmla="*/ 1626 h 1675"/>
                  <a:gd name="T32" fmla="*/ 437 w 777"/>
                  <a:gd name="T33" fmla="*/ 1370 h 1675"/>
                  <a:gd name="T34" fmla="*/ 620 w 777"/>
                  <a:gd name="T35" fmla="*/ 1262 h 1675"/>
                  <a:gd name="T36" fmla="*/ 676 w 777"/>
                  <a:gd name="T37" fmla="*/ 1476 h 1675"/>
                  <a:gd name="T38" fmla="*/ 723 w 777"/>
                  <a:gd name="T39" fmla="*/ 1513 h 1675"/>
                  <a:gd name="T40" fmla="*/ 735 w 777"/>
                  <a:gd name="T41" fmla="*/ 1511 h 1675"/>
                  <a:gd name="T42" fmla="*/ 770 w 777"/>
                  <a:gd name="T43" fmla="*/ 1452 h 1675"/>
                  <a:gd name="T44" fmla="*/ 339 w 777"/>
                  <a:gd name="T45" fmla="*/ 1285 h 1675"/>
                  <a:gd name="T46" fmla="*/ 176 w 777"/>
                  <a:gd name="T47" fmla="*/ 1189 h 1675"/>
                  <a:gd name="T48" fmla="*/ 243 w 777"/>
                  <a:gd name="T49" fmla="*/ 934 h 1675"/>
                  <a:gd name="T50" fmla="*/ 339 w 777"/>
                  <a:gd name="T51" fmla="*/ 991 h 1675"/>
                  <a:gd name="T52" fmla="*/ 339 w 777"/>
                  <a:gd name="T53" fmla="*/ 1285 h 1675"/>
                  <a:gd name="T54" fmla="*/ 339 w 777"/>
                  <a:gd name="T55" fmla="*/ 906 h 1675"/>
                  <a:gd name="T56" fmla="*/ 262 w 777"/>
                  <a:gd name="T57" fmla="*/ 860 h 1675"/>
                  <a:gd name="T58" fmla="*/ 339 w 777"/>
                  <a:gd name="T59" fmla="*/ 563 h 1675"/>
                  <a:gd name="T60" fmla="*/ 339 w 777"/>
                  <a:gd name="T61" fmla="*/ 906 h 1675"/>
                  <a:gd name="T62" fmla="*/ 437 w 777"/>
                  <a:gd name="T63" fmla="*/ 557 h 1675"/>
                  <a:gd name="T64" fmla="*/ 516 w 777"/>
                  <a:gd name="T65" fmla="*/ 861 h 1675"/>
                  <a:gd name="T66" fmla="*/ 437 w 777"/>
                  <a:gd name="T67" fmla="*/ 908 h 1675"/>
                  <a:gd name="T68" fmla="*/ 437 w 777"/>
                  <a:gd name="T69" fmla="*/ 557 h 1675"/>
                  <a:gd name="T70" fmla="*/ 437 w 777"/>
                  <a:gd name="T71" fmla="*/ 1285 h 1675"/>
                  <a:gd name="T72" fmla="*/ 437 w 777"/>
                  <a:gd name="T73" fmla="*/ 993 h 1675"/>
                  <a:gd name="T74" fmla="*/ 535 w 777"/>
                  <a:gd name="T75" fmla="*/ 934 h 1675"/>
                  <a:gd name="T76" fmla="*/ 601 w 777"/>
                  <a:gd name="T77" fmla="*/ 1188 h 1675"/>
                  <a:gd name="T78" fmla="*/ 437 w 777"/>
                  <a:gd name="T79" fmla="*/ 1285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7" h="1675">
                    <a:moveTo>
                      <a:pt x="770" y="1452"/>
                    </a:moveTo>
                    <a:cubicBezTo>
                      <a:pt x="436" y="168"/>
                      <a:pt x="436" y="168"/>
                      <a:pt x="436" y="168"/>
                    </a:cubicBezTo>
                    <a:cubicBezTo>
                      <a:pt x="434" y="161"/>
                      <a:pt x="431" y="155"/>
                      <a:pt x="427" y="150"/>
                    </a:cubicBezTo>
                    <a:cubicBezTo>
                      <a:pt x="452" y="136"/>
                      <a:pt x="469" y="110"/>
                      <a:pt x="469" y="80"/>
                    </a:cubicBezTo>
                    <a:cubicBezTo>
                      <a:pt x="469" y="36"/>
                      <a:pt x="433" y="0"/>
                      <a:pt x="389" y="0"/>
                    </a:cubicBezTo>
                    <a:cubicBezTo>
                      <a:pt x="345" y="0"/>
                      <a:pt x="309" y="36"/>
                      <a:pt x="309" y="80"/>
                    </a:cubicBezTo>
                    <a:cubicBezTo>
                      <a:pt x="309" y="110"/>
                      <a:pt x="326" y="136"/>
                      <a:pt x="351" y="150"/>
                    </a:cubicBezTo>
                    <a:cubicBezTo>
                      <a:pt x="346" y="155"/>
                      <a:pt x="343" y="161"/>
                      <a:pt x="342" y="168"/>
                    </a:cubicBezTo>
                    <a:cubicBezTo>
                      <a:pt x="7" y="1452"/>
                      <a:pt x="7" y="1452"/>
                      <a:pt x="7" y="1452"/>
                    </a:cubicBezTo>
                    <a:cubicBezTo>
                      <a:pt x="0" y="1478"/>
                      <a:pt x="16" y="1504"/>
                      <a:pt x="42" y="1511"/>
                    </a:cubicBezTo>
                    <a:cubicBezTo>
                      <a:pt x="68" y="1518"/>
                      <a:pt x="95" y="1502"/>
                      <a:pt x="101" y="1476"/>
                    </a:cubicBezTo>
                    <a:cubicBezTo>
                      <a:pt x="157" y="1262"/>
                      <a:pt x="157" y="1262"/>
                      <a:pt x="157" y="1262"/>
                    </a:cubicBezTo>
                    <a:cubicBezTo>
                      <a:pt x="339" y="1370"/>
                      <a:pt x="339" y="1370"/>
                      <a:pt x="339" y="1370"/>
                    </a:cubicBezTo>
                    <a:cubicBezTo>
                      <a:pt x="339" y="1626"/>
                      <a:pt x="339" y="1626"/>
                      <a:pt x="339" y="1626"/>
                    </a:cubicBezTo>
                    <a:cubicBezTo>
                      <a:pt x="339" y="1653"/>
                      <a:pt x="361" y="1675"/>
                      <a:pt x="388" y="1675"/>
                    </a:cubicBezTo>
                    <a:cubicBezTo>
                      <a:pt x="415" y="1675"/>
                      <a:pt x="437" y="1653"/>
                      <a:pt x="437" y="1626"/>
                    </a:cubicBezTo>
                    <a:cubicBezTo>
                      <a:pt x="437" y="1370"/>
                      <a:pt x="437" y="1370"/>
                      <a:pt x="437" y="1370"/>
                    </a:cubicBezTo>
                    <a:cubicBezTo>
                      <a:pt x="620" y="1262"/>
                      <a:pt x="620" y="1262"/>
                      <a:pt x="620" y="1262"/>
                    </a:cubicBezTo>
                    <a:cubicBezTo>
                      <a:pt x="676" y="1476"/>
                      <a:pt x="676" y="1476"/>
                      <a:pt x="676" y="1476"/>
                    </a:cubicBezTo>
                    <a:cubicBezTo>
                      <a:pt x="682" y="1498"/>
                      <a:pt x="701" y="1513"/>
                      <a:pt x="723" y="1513"/>
                    </a:cubicBezTo>
                    <a:cubicBezTo>
                      <a:pt x="727" y="1513"/>
                      <a:pt x="731" y="1512"/>
                      <a:pt x="735" y="1511"/>
                    </a:cubicBezTo>
                    <a:cubicBezTo>
                      <a:pt x="761" y="1504"/>
                      <a:pt x="777" y="1478"/>
                      <a:pt x="770" y="1452"/>
                    </a:cubicBezTo>
                    <a:close/>
                    <a:moveTo>
                      <a:pt x="339" y="1285"/>
                    </a:moveTo>
                    <a:cubicBezTo>
                      <a:pt x="176" y="1189"/>
                      <a:pt x="176" y="1189"/>
                      <a:pt x="176" y="1189"/>
                    </a:cubicBezTo>
                    <a:cubicBezTo>
                      <a:pt x="243" y="934"/>
                      <a:pt x="243" y="934"/>
                      <a:pt x="243" y="934"/>
                    </a:cubicBezTo>
                    <a:cubicBezTo>
                      <a:pt x="339" y="991"/>
                      <a:pt x="339" y="991"/>
                      <a:pt x="339" y="991"/>
                    </a:cubicBezTo>
                    <a:lnTo>
                      <a:pt x="339" y="1285"/>
                    </a:lnTo>
                    <a:close/>
                    <a:moveTo>
                      <a:pt x="339" y="906"/>
                    </a:moveTo>
                    <a:cubicBezTo>
                      <a:pt x="262" y="860"/>
                      <a:pt x="262" y="860"/>
                      <a:pt x="262" y="860"/>
                    </a:cubicBezTo>
                    <a:cubicBezTo>
                      <a:pt x="339" y="563"/>
                      <a:pt x="339" y="563"/>
                      <a:pt x="339" y="563"/>
                    </a:cubicBezTo>
                    <a:lnTo>
                      <a:pt x="339" y="906"/>
                    </a:lnTo>
                    <a:close/>
                    <a:moveTo>
                      <a:pt x="437" y="557"/>
                    </a:moveTo>
                    <a:cubicBezTo>
                      <a:pt x="516" y="861"/>
                      <a:pt x="516" y="861"/>
                      <a:pt x="516" y="861"/>
                    </a:cubicBezTo>
                    <a:cubicBezTo>
                      <a:pt x="437" y="908"/>
                      <a:pt x="437" y="908"/>
                      <a:pt x="437" y="908"/>
                    </a:cubicBezTo>
                    <a:lnTo>
                      <a:pt x="437" y="557"/>
                    </a:lnTo>
                    <a:close/>
                    <a:moveTo>
                      <a:pt x="437" y="1285"/>
                    </a:moveTo>
                    <a:cubicBezTo>
                      <a:pt x="437" y="993"/>
                      <a:pt x="437" y="993"/>
                      <a:pt x="437" y="993"/>
                    </a:cubicBezTo>
                    <a:cubicBezTo>
                      <a:pt x="535" y="934"/>
                      <a:pt x="535" y="934"/>
                      <a:pt x="535" y="934"/>
                    </a:cubicBezTo>
                    <a:cubicBezTo>
                      <a:pt x="601" y="1188"/>
                      <a:pt x="601" y="1188"/>
                      <a:pt x="601" y="1188"/>
                    </a:cubicBezTo>
                    <a:lnTo>
                      <a:pt x="437" y="128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Freeform 136">
                <a:extLst>
                  <a:ext uri="{FF2B5EF4-FFF2-40B4-BE49-F238E27FC236}">
                    <a16:creationId xmlns:a16="http://schemas.microsoft.com/office/drawing/2014/main" id="{A1115BDE-0C48-D84D-80CD-E22467A4129F}"/>
                  </a:ext>
                </a:extLst>
              </p:cNvPr>
              <p:cNvSpPr>
                <a:spLocks/>
              </p:cNvSpPr>
              <p:nvPr/>
            </p:nvSpPr>
            <p:spPr bwMode="auto">
              <a:xfrm>
                <a:off x="5184" y="1301"/>
                <a:ext cx="57" cy="193"/>
              </a:xfrm>
              <a:custGeom>
                <a:avLst/>
                <a:gdLst>
                  <a:gd name="T0" fmla="*/ 6 w 249"/>
                  <a:gd name="T1" fmla="*/ 817 h 863"/>
                  <a:gd name="T2" fmla="*/ 18 w 249"/>
                  <a:gd name="T3" fmla="*/ 787 h 863"/>
                  <a:gd name="T4" fmla="*/ 165 w 249"/>
                  <a:gd name="T5" fmla="*/ 431 h 863"/>
                  <a:gd name="T6" fmla="*/ 17 w 249"/>
                  <a:gd name="T7" fmla="*/ 76 h 863"/>
                  <a:gd name="T8" fmla="*/ 16 w 249"/>
                  <a:gd name="T9" fmla="*/ 16 h 863"/>
                  <a:gd name="T10" fmla="*/ 76 w 249"/>
                  <a:gd name="T11" fmla="*/ 16 h 863"/>
                  <a:gd name="T12" fmla="*/ 249 w 249"/>
                  <a:gd name="T13" fmla="*/ 431 h 863"/>
                  <a:gd name="T14" fmla="*/ 78 w 249"/>
                  <a:gd name="T15" fmla="*/ 846 h 863"/>
                  <a:gd name="T16" fmla="*/ 18 w 249"/>
                  <a:gd name="T17" fmla="*/ 846 h 863"/>
                  <a:gd name="T18" fmla="*/ 6 w 249"/>
                  <a:gd name="T19" fmla="*/ 817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9" h="863">
                    <a:moveTo>
                      <a:pt x="6" y="817"/>
                    </a:moveTo>
                    <a:cubicBezTo>
                      <a:pt x="6" y="806"/>
                      <a:pt x="10" y="795"/>
                      <a:pt x="18" y="787"/>
                    </a:cubicBezTo>
                    <a:cubicBezTo>
                      <a:pt x="113" y="692"/>
                      <a:pt x="165" y="565"/>
                      <a:pt x="165" y="431"/>
                    </a:cubicBezTo>
                    <a:cubicBezTo>
                      <a:pt x="164" y="297"/>
                      <a:pt x="112" y="171"/>
                      <a:pt x="17" y="76"/>
                    </a:cubicBezTo>
                    <a:cubicBezTo>
                      <a:pt x="0" y="60"/>
                      <a:pt x="0" y="33"/>
                      <a:pt x="16" y="16"/>
                    </a:cubicBezTo>
                    <a:cubicBezTo>
                      <a:pt x="33" y="0"/>
                      <a:pt x="60" y="0"/>
                      <a:pt x="76" y="16"/>
                    </a:cubicBezTo>
                    <a:cubicBezTo>
                      <a:pt x="187" y="127"/>
                      <a:pt x="248" y="274"/>
                      <a:pt x="249" y="431"/>
                    </a:cubicBezTo>
                    <a:cubicBezTo>
                      <a:pt x="249" y="588"/>
                      <a:pt x="188" y="735"/>
                      <a:pt x="78" y="846"/>
                    </a:cubicBezTo>
                    <a:cubicBezTo>
                      <a:pt x="61" y="863"/>
                      <a:pt x="35" y="863"/>
                      <a:pt x="18" y="846"/>
                    </a:cubicBezTo>
                    <a:cubicBezTo>
                      <a:pt x="10" y="838"/>
                      <a:pt x="6" y="827"/>
                      <a:pt x="6" y="8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1" name="Freeform 137">
                <a:extLst>
                  <a:ext uri="{FF2B5EF4-FFF2-40B4-BE49-F238E27FC236}">
                    <a16:creationId xmlns:a16="http://schemas.microsoft.com/office/drawing/2014/main" id="{2832C639-9A51-BF45-9FEE-CA545DF51D84}"/>
                  </a:ext>
                </a:extLst>
              </p:cNvPr>
              <p:cNvSpPr>
                <a:spLocks/>
              </p:cNvSpPr>
              <p:nvPr/>
            </p:nvSpPr>
            <p:spPr bwMode="auto">
              <a:xfrm>
                <a:off x="5157" y="1328"/>
                <a:ext cx="45" cy="139"/>
              </a:xfrm>
              <a:custGeom>
                <a:avLst/>
                <a:gdLst>
                  <a:gd name="T0" fmla="*/ 5 w 199"/>
                  <a:gd name="T1" fmla="*/ 575 h 622"/>
                  <a:gd name="T2" fmla="*/ 17 w 199"/>
                  <a:gd name="T3" fmla="*/ 546 h 622"/>
                  <a:gd name="T4" fmla="*/ 114 w 199"/>
                  <a:gd name="T5" fmla="*/ 310 h 622"/>
                  <a:gd name="T6" fmla="*/ 16 w 199"/>
                  <a:gd name="T7" fmla="*/ 76 h 622"/>
                  <a:gd name="T8" fmla="*/ 16 w 199"/>
                  <a:gd name="T9" fmla="*/ 16 h 622"/>
                  <a:gd name="T10" fmla="*/ 76 w 199"/>
                  <a:gd name="T11" fmla="*/ 16 h 622"/>
                  <a:gd name="T12" fmla="*/ 198 w 199"/>
                  <a:gd name="T13" fmla="*/ 310 h 622"/>
                  <a:gd name="T14" fmla="*/ 77 w 199"/>
                  <a:gd name="T15" fmla="*/ 605 h 622"/>
                  <a:gd name="T16" fmla="*/ 18 w 199"/>
                  <a:gd name="T17" fmla="*/ 605 h 622"/>
                  <a:gd name="T18" fmla="*/ 5 w 199"/>
                  <a:gd name="T19" fmla="*/ 57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9" h="622">
                    <a:moveTo>
                      <a:pt x="5" y="575"/>
                    </a:moveTo>
                    <a:cubicBezTo>
                      <a:pt x="5" y="565"/>
                      <a:pt x="9" y="554"/>
                      <a:pt x="17" y="546"/>
                    </a:cubicBezTo>
                    <a:cubicBezTo>
                      <a:pt x="80" y="483"/>
                      <a:pt x="114" y="399"/>
                      <a:pt x="114" y="310"/>
                    </a:cubicBezTo>
                    <a:cubicBezTo>
                      <a:pt x="114" y="222"/>
                      <a:pt x="79" y="138"/>
                      <a:pt x="16" y="76"/>
                    </a:cubicBezTo>
                    <a:cubicBezTo>
                      <a:pt x="0" y="59"/>
                      <a:pt x="0" y="33"/>
                      <a:pt x="16" y="16"/>
                    </a:cubicBezTo>
                    <a:cubicBezTo>
                      <a:pt x="33" y="0"/>
                      <a:pt x="59" y="0"/>
                      <a:pt x="76" y="16"/>
                    </a:cubicBezTo>
                    <a:cubicBezTo>
                      <a:pt x="155" y="94"/>
                      <a:pt x="198" y="199"/>
                      <a:pt x="198" y="310"/>
                    </a:cubicBezTo>
                    <a:cubicBezTo>
                      <a:pt x="199" y="421"/>
                      <a:pt x="156" y="526"/>
                      <a:pt x="77" y="605"/>
                    </a:cubicBezTo>
                    <a:cubicBezTo>
                      <a:pt x="61" y="621"/>
                      <a:pt x="34" y="622"/>
                      <a:pt x="18" y="605"/>
                    </a:cubicBezTo>
                    <a:cubicBezTo>
                      <a:pt x="9" y="597"/>
                      <a:pt x="5" y="586"/>
                      <a:pt x="5" y="57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2" name="Freeform 138">
                <a:extLst>
                  <a:ext uri="{FF2B5EF4-FFF2-40B4-BE49-F238E27FC236}">
                    <a16:creationId xmlns:a16="http://schemas.microsoft.com/office/drawing/2014/main" id="{E7195B22-6050-A040-AD82-5FD2596CEDB6}"/>
                  </a:ext>
                </a:extLst>
              </p:cNvPr>
              <p:cNvSpPr>
                <a:spLocks/>
              </p:cNvSpPr>
              <p:nvPr/>
            </p:nvSpPr>
            <p:spPr bwMode="auto">
              <a:xfrm>
                <a:off x="5129" y="1355"/>
                <a:ext cx="40" cy="85"/>
              </a:xfrm>
              <a:custGeom>
                <a:avLst/>
                <a:gdLst>
                  <a:gd name="T0" fmla="*/ 5 w 173"/>
                  <a:gd name="T1" fmla="*/ 336 h 382"/>
                  <a:gd name="T2" fmla="*/ 17 w 173"/>
                  <a:gd name="T3" fmla="*/ 306 h 382"/>
                  <a:gd name="T4" fmla="*/ 17 w 173"/>
                  <a:gd name="T5" fmla="*/ 76 h 382"/>
                  <a:gd name="T6" fmla="*/ 17 w 173"/>
                  <a:gd name="T7" fmla="*/ 16 h 382"/>
                  <a:gd name="T8" fmla="*/ 76 w 173"/>
                  <a:gd name="T9" fmla="*/ 16 h 382"/>
                  <a:gd name="T10" fmla="*/ 77 w 173"/>
                  <a:gd name="T11" fmla="*/ 365 h 382"/>
                  <a:gd name="T12" fmla="*/ 17 w 173"/>
                  <a:gd name="T13" fmla="*/ 366 h 382"/>
                  <a:gd name="T14" fmla="*/ 5 w 173"/>
                  <a:gd name="T15" fmla="*/ 336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82">
                    <a:moveTo>
                      <a:pt x="5" y="336"/>
                    </a:moveTo>
                    <a:cubicBezTo>
                      <a:pt x="5" y="325"/>
                      <a:pt x="9" y="314"/>
                      <a:pt x="17" y="306"/>
                    </a:cubicBezTo>
                    <a:cubicBezTo>
                      <a:pt x="81" y="242"/>
                      <a:pt x="80" y="139"/>
                      <a:pt x="17" y="76"/>
                    </a:cubicBezTo>
                    <a:cubicBezTo>
                      <a:pt x="0" y="59"/>
                      <a:pt x="0" y="33"/>
                      <a:pt x="17" y="16"/>
                    </a:cubicBezTo>
                    <a:cubicBezTo>
                      <a:pt x="33" y="0"/>
                      <a:pt x="60" y="0"/>
                      <a:pt x="76" y="16"/>
                    </a:cubicBezTo>
                    <a:cubicBezTo>
                      <a:pt x="173" y="112"/>
                      <a:pt x="173" y="269"/>
                      <a:pt x="77" y="365"/>
                    </a:cubicBezTo>
                    <a:cubicBezTo>
                      <a:pt x="61" y="382"/>
                      <a:pt x="34" y="382"/>
                      <a:pt x="17" y="366"/>
                    </a:cubicBezTo>
                    <a:cubicBezTo>
                      <a:pt x="9" y="357"/>
                      <a:pt x="5" y="347"/>
                      <a:pt x="5" y="33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3" name="Freeform 139">
                <a:extLst>
                  <a:ext uri="{FF2B5EF4-FFF2-40B4-BE49-F238E27FC236}">
                    <a16:creationId xmlns:a16="http://schemas.microsoft.com/office/drawing/2014/main" id="{6A76E785-FB1B-A242-A579-91CF7DC48328}"/>
                  </a:ext>
                </a:extLst>
              </p:cNvPr>
              <p:cNvSpPr>
                <a:spLocks/>
              </p:cNvSpPr>
              <p:nvPr/>
            </p:nvSpPr>
            <p:spPr bwMode="auto">
              <a:xfrm>
                <a:off x="4879" y="1301"/>
                <a:ext cx="57" cy="193"/>
              </a:xfrm>
              <a:custGeom>
                <a:avLst/>
                <a:gdLst>
                  <a:gd name="T0" fmla="*/ 243 w 249"/>
                  <a:gd name="T1" fmla="*/ 46 h 863"/>
                  <a:gd name="T2" fmla="*/ 231 w 249"/>
                  <a:gd name="T3" fmla="*/ 76 h 863"/>
                  <a:gd name="T4" fmla="*/ 85 w 249"/>
                  <a:gd name="T5" fmla="*/ 432 h 863"/>
                  <a:gd name="T6" fmla="*/ 233 w 249"/>
                  <a:gd name="T7" fmla="*/ 787 h 863"/>
                  <a:gd name="T8" fmla="*/ 233 w 249"/>
                  <a:gd name="T9" fmla="*/ 846 h 863"/>
                  <a:gd name="T10" fmla="*/ 173 w 249"/>
                  <a:gd name="T11" fmla="*/ 847 h 863"/>
                  <a:gd name="T12" fmla="*/ 1 w 249"/>
                  <a:gd name="T13" fmla="*/ 432 h 863"/>
                  <a:gd name="T14" fmla="*/ 171 w 249"/>
                  <a:gd name="T15" fmla="*/ 17 h 863"/>
                  <a:gd name="T16" fmla="*/ 231 w 249"/>
                  <a:gd name="T17" fmla="*/ 16 h 863"/>
                  <a:gd name="T18" fmla="*/ 243 w 249"/>
                  <a:gd name="T19" fmla="*/ 46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9" h="863">
                    <a:moveTo>
                      <a:pt x="243" y="46"/>
                    </a:moveTo>
                    <a:cubicBezTo>
                      <a:pt x="243" y="57"/>
                      <a:pt x="239" y="68"/>
                      <a:pt x="231" y="76"/>
                    </a:cubicBezTo>
                    <a:cubicBezTo>
                      <a:pt x="136" y="171"/>
                      <a:pt x="84" y="297"/>
                      <a:pt x="85" y="432"/>
                    </a:cubicBezTo>
                    <a:cubicBezTo>
                      <a:pt x="85" y="566"/>
                      <a:pt x="138" y="692"/>
                      <a:pt x="233" y="787"/>
                    </a:cubicBezTo>
                    <a:cubicBezTo>
                      <a:pt x="249" y="803"/>
                      <a:pt x="249" y="830"/>
                      <a:pt x="233" y="846"/>
                    </a:cubicBezTo>
                    <a:cubicBezTo>
                      <a:pt x="216" y="863"/>
                      <a:pt x="190" y="863"/>
                      <a:pt x="173" y="847"/>
                    </a:cubicBezTo>
                    <a:cubicBezTo>
                      <a:pt x="62" y="736"/>
                      <a:pt x="1" y="589"/>
                      <a:pt x="1" y="432"/>
                    </a:cubicBezTo>
                    <a:cubicBezTo>
                      <a:pt x="0" y="275"/>
                      <a:pt x="61" y="128"/>
                      <a:pt x="171" y="17"/>
                    </a:cubicBezTo>
                    <a:cubicBezTo>
                      <a:pt x="188" y="0"/>
                      <a:pt x="215" y="0"/>
                      <a:pt x="231" y="16"/>
                    </a:cubicBezTo>
                    <a:cubicBezTo>
                      <a:pt x="239" y="25"/>
                      <a:pt x="243" y="35"/>
                      <a:pt x="243" y="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4" name="Freeform 140">
                <a:extLst>
                  <a:ext uri="{FF2B5EF4-FFF2-40B4-BE49-F238E27FC236}">
                    <a16:creationId xmlns:a16="http://schemas.microsoft.com/office/drawing/2014/main" id="{88527903-BEF4-B34A-8E33-2BFDCFA9DFB9}"/>
                  </a:ext>
                </a:extLst>
              </p:cNvPr>
              <p:cNvSpPr>
                <a:spLocks/>
              </p:cNvSpPr>
              <p:nvPr/>
            </p:nvSpPr>
            <p:spPr bwMode="auto">
              <a:xfrm>
                <a:off x="4918" y="1328"/>
                <a:ext cx="45" cy="139"/>
              </a:xfrm>
              <a:custGeom>
                <a:avLst/>
                <a:gdLst>
                  <a:gd name="T0" fmla="*/ 193 w 198"/>
                  <a:gd name="T1" fmla="*/ 46 h 622"/>
                  <a:gd name="T2" fmla="*/ 181 w 198"/>
                  <a:gd name="T3" fmla="*/ 76 h 622"/>
                  <a:gd name="T4" fmla="*/ 84 w 198"/>
                  <a:gd name="T5" fmla="*/ 311 h 622"/>
                  <a:gd name="T6" fmla="*/ 182 w 198"/>
                  <a:gd name="T7" fmla="*/ 546 h 622"/>
                  <a:gd name="T8" fmla="*/ 182 w 198"/>
                  <a:gd name="T9" fmla="*/ 606 h 622"/>
                  <a:gd name="T10" fmla="*/ 123 w 198"/>
                  <a:gd name="T11" fmla="*/ 606 h 622"/>
                  <a:gd name="T12" fmla="*/ 0 w 198"/>
                  <a:gd name="T13" fmla="*/ 312 h 622"/>
                  <a:gd name="T14" fmla="*/ 121 w 198"/>
                  <a:gd name="T15" fmla="*/ 17 h 622"/>
                  <a:gd name="T16" fmla="*/ 181 w 198"/>
                  <a:gd name="T17" fmla="*/ 17 h 622"/>
                  <a:gd name="T18" fmla="*/ 193 w 198"/>
                  <a:gd name="T19" fmla="*/ 46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622">
                    <a:moveTo>
                      <a:pt x="193" y="46"/>
                    </a:moveTo>
                    <a:cubicBezTo>
                      <a:pt x="193" y="57"/>
                      <a:pt x="189" y="68"/>
                      <a:pt x="181" y="76"/>
                    </a:cubicBezTo>
                    <a:cubicBezTo>
                      <a:pt x="118" y="139"/>
                      <a:pt x="84" y="223"/>
                      <a:pt x="84" y="311"/>
                    </a:cubicBezTo>
                    <a:cubicBezTo>
                      <a:pt x="84" y="400"/>
                      <a:pt x="119" y="484"/>
                      <a:pt x="182" y="546"/>
                    </a:cubicBezTo>
                    <a:cubicBezTo>
                      <a:pt x="198" y="563"/>
                      <a:pt x="198" y="589"/>
                      <a:pt x="182" y="606"/>
                    </a:cubicBezTo>
                    <a:cubicBezTo>
                      <a:pt x="166" y="622"/>
                      <a:pt x="139" y="622"/>
                      <a:pt x="123" y="606"/>
                    </a:cubicBezTo>
                    <a:cubicBezTo>
                      <a:pt x="44" y="527"/>
                      <a:pt x="0" y="423"/>
                      <a:pt x="0" y="312"/>
                    </a:cubicBezTo>
                    <a:cubicBezTo>
                      <a:pt x="0" y="200"/>
                      <a:pt x="43" y="96"/>
                      <a:pt x="121" y="17"/>
                    </a:cubicBezTo>
                    <a:cubicBezTo>
                      <a:pt x="138" y="0"/>
                      <a:pt x="164" y="0"/>
                      <a:pt x="181" y="17"/>
                    </a:cubicBezTo>
                    <a:cubicBezTo>
                      <a:pt x="189" y="25"/>
                      <a:pt x="193" y="36"/>
                      <a:pt x="193" y="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Freeform 141">
                <a:extLst>
                  <a:ext uri="{FF2B5EF4-FFF2-40B4-BE49-F238E27FC236}">
                    <a16:creationId xmlns:a16="http://schemas.microsoft.com/office/drawing/2014/main" id="{8762AE93-C47C-FC4B-9BB3-5A103F5D26FA}"/>
                  </a:ext>
                </a:extLst>
              </p:cNvPr>
              <p:cNvSpPr>
                <a:spLocks/>
              </p:cNvSpPr>
              <p:nvPr/>
            </p:nvSpPr>
            <p:spPr bwMode="auto">
              <a:xfrm>
                <a:off x="4951" y="1355"/>
                <a:ext cx="40" cy="85"/>
              </a:xfrm>
              <a:custGeom>
                <a:avLst/>
                <a:gdLst>
                  <a:gd name="T0" fmla="*/ 168 w 173"/>
                  <a:gd name="T1" fmla="*/ 46 h 382"/>
                  <a:gd name="T2" fmla="*/ 156 w 173"/>
                  <a:gd name="T3" fmla="*/ 76 h 382"/>
                  <a:gd name="T4" fmla="*/ 157 w 173"/>
                  <a:gd name="T5" fmla="*/ 306 h 382"/>
                  <a:gd name="T6" fmla="*/ 157 w 173"/>
                  <a:gd name="T7" fmla="*/ 366 h 382"/>
                  <a:gd name="T8" fmla="*/ 97 w 173"/>
                  <a:gd name="T9" fmla="*/ 366 h 382"/>
                  <a:gd name="T10" fmla="*/ 96 w 173"/>
                  <a:gd name="T11" fmla="*/ 16 h 382"/>
                  <a:gd name="T12" fmla="*/ 156 w 173"/>
                  <a:gd name="T13" fmla="*/ 16 h 382"/>
                  <a:gd name="T14" fmla="*/ 168 w 173"/>
                  <a:gd name="T15" fmla="*/ 46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82">
                    <a:moveTo>
                      <a:pt x="168" y="46"/>
                    </a:moveTo>
                    <a:cubicBezTo>
                      <a:pt x="168" y="57"/>
                      <a:pt x="164" y="68"/>
                      <a:pt x="156" y="76"/>
                    </a:cubicBezTo>
                    <a:cubicBezTo>
                      <a:pt x="93" y="139"/>
                      <a:pt x="93" y="243"/>
                      <a:pt x="157" y="306"/>
                    </a:cubicBezTo>
                    <a:cubicBezTo>
                      <a:pt x="173" y="322"/>
                      <a:pt x="173" y="349"/>
                      <a:pt x="157" y="366"/>
                    </a:cubicBezTo>
                    <a:cubicBezTo>
                      <a:pt x="140" y="382"/>
                      <a:pt x="114" y="382"/>
                      <a:pt x="97" y="366"/>
                    </a:cubicBezTo>
                    <a:cubicBezTo>
                      <a:pt x="1" y="270"/>
                      <a:pt x="0" y="113"/>
                      <a:pt x="96" y="16"/>
                    </a:cubicBezTo>
                    <a:cubicBezTo>
                      <a:pt x="113" y="0"/>
                      <a:pt x="139" y="0"/>
                      <a:pt x="156" y="16"/>
                    </a:cubicBezTo>
                    <a:cubicBezTo>
                      <a:pt x="164" y="24"/>
                      <a:pt x="168" y="35"/>
                      <a:pt x="168" y="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56" name="Group 105">
              <a:extLst>
                <a:ext uri="{FF2B5EF4-FFF2-40B4-BE49-F238E27FC236}">
                  <a16:creationId xmlns:a16="http://schemas.microsoft.com/office/drawing/2014/main" id="{224B0434-3E40-0A44-9865-A41BD40087D7}"/>
                </a:ext>
              </a:extLst>
            </p:cNvPr>
            <p:cNvGrpSpPr>
              <a:grpSpLocks noChangeAspect="1"/>
            </p:cNvGrpSpPr>
            <p:nvPr/>
          </p:nvGrpSpPr>
          <p:grpSpPr bwMode="auto">
            <a:xfrm>
              <a:off x="234547" y="2809592"/>
              <a:ext cx="405010" cy="381830"/>
              <a:chOff x="1991" y="1544"/>
              <a:chExt cx="961" cy="906"/>
            </a:xfrm>
          </p:grpSpPr>
          <p:sp>
            <p:nvSpPr>
              <p:cNvPr id="157" name="Freeform 116">
                <a:extLst>
                  <a:ext uri="{FF2B5EF4-FFF2-40B4-BE49-F238E27FC236}">
                    <a16:creationId xmlns:a16="http://schemas.microsoft.com/office/drawing/2014/main" id="{6A5B79B0-BE0D-9948-9BC7-548641A79BF5}"/>
                  </a:ext>
                </a:extLst>
              </p:cNvPr>
              <p:cNvSpPr>
                <a:spLocks/>
              </p:cNvSpPr>
              <p:nvPr/>
            </p:nvSpPr>
            <p:spPr bwMode="auto">
              <a:xfrm>
                <a:off x="2517" y="1846"/>
                <a:ext cx="435" cy="604"/>
              </a:xfrm>
              <a:custGeom>
                <a:avLst/>
                <a:gdLst>
                  <a:gd name="T0" fmla="*/ 5 w 52"/>
                  <a:gd name="T1" fmla="*/ 0 h 74"/>
                  <a:gd name="T2" fmla="*/ 0 w 52"/>
                  <a:gd name="T3" fmla="*/ 5 h 74"/>
                  <a:gd name="T4" fmla="*/ 0 w 52"/>
                  <a:gd name="T5" fmla="*/ 74 h 74"/>
                  <a:gd name="T6" fmla="*/ 52 w 52"/>
                  <a:gd name="T7" fmla="*/ 74 h 74"/>
                  <a:gd name="T8" fmla="*/ 52 w 52"/>
                  <a:gd name="T9" fmla="*/ 5 h 74"/>
                  <a:gd name="T10" fmla="*/ 47 w 52"/>
                  <a:gd name="T11" fmla="*/ 0 h 74"/>
                  <a:gd name="T12" fmla="*/ 5 w 52"/>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2" h="74">
                    <a:moveTo>
                      <a:pt x="5" y="0"/>
                    </a:moveTo>
                    <a:cubicBezTo>
                      <a:pt x="2" y="0"/>
                      <a:pt x="0" y="2"/>
                      <a:pt x="0" y="5"/>
                    </a:cubicBezTo>
                    <a:cubicBezTo>
                      <a:pt x="0" y="74"/>
                      <a:pt x="0" y="74"/>
                      <a:pt x="0" y="74"/>
                    </a:cubicBezTo>
                    <a:cubicBezTo>
                      <a:pt x="52" y="74"/>
                      <a:pt x="52" y="74"/>
                      <a:pt x="52" y="74"/>
                    </a:cubicBezTo>
                    <a:cubicBezTo>
                      <a:pt x="52" y="5"/>
                      <a:pt x="52" y="5"/>
                      <a:pt x="52" y="5"/>
                    </a:cubicBezTo>
                    <a:cubicBezTo>
                      <a:pt x="52" y="2"/>
                      <a:pt x="50" y="0"/>
                      <a:pt x="47" y="0"/>
                    </a:cubicBezTo>
                    <a:lnTo>
                      <a:pt x="5"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Freeform 106">
                <a:extLst>
                  <a:ext uri="{FF2B5EF4-FFF2-40B4-BE49-F238E27FC236}">
                    <a16:creationId xmlns:a16="http://schemas.microsoft.com/office/drawing/2014/main" id="{78BB7837-0310-F448-A4CE-4E64BC44BE6B}"/>
                  </a:ext>
                </a:extLst>
              </p:cNvPr>
              <p:cNvSpPr>
                <a:spLocks/>
              </p:cNvSpPr>
              <p:nvPr/>
            </p:nvSpPr>
            <p:spPr bwMode="auto">
              <a:xfrm>
                <a:off x="1991" y="1544"/>
                <a:ext cx="585" cy="906"/>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9" name="Rectangle 107">
                <a:extLst>
                  <a:ext uri="{FF2B5EF4-FFF2-40B4-BE49-F238E27FC236}">
                    <a16:creationId xmlns:a16="http://schemas.microsoft.com/office/drawing/2014/main" id="{84BDF51D-CF64-724C-BF39-FA7E10D43805}"/>
                  </a:ext>
                </a:extLst>
              </p:cNvPr>
              <p:cNvSpPr>
                <a:spLocks noChangeArrowheads="1"/>
              </p:cNvSpPr>
              <p:nvPr/>
            </p:nvSpPr>
            <p:spPr bwMode="auto">
              <a:xfrm>
                <a:off x="2099"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108">
                <a:extLst>
                  <a:ext uri="{FF2B5EF4-FFF2-40B4-BE49-F238E27FC236}">
                    <a16:creationId xmlns:a16="http://schemas.microsoft.com/office/drawing/2014/main" id="{AEB7AB94-AF8F-874F-A3CE-AE9FDD6BE2FE}"/>
                  </a:ext>
                </a:extLst>
              </p:cNvPr>
              <p:cNvSpPr>
                <a:spLocks noChangeArrowheads="1"/>
              </p:cNvSpPr>
              <p:nvPr/>
            </p:nvSpPr>
            <p:spPr bwMode="auto">
              <a:xfrm>
                <a:off x="2241"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109">
                <a:extLst>
                  <a:ext uri="{FF2B5EF4-FFF2-40B4-BE49-F238E27FC236}">
                    <a16:creationId xmlns:a16="http://schemas.microsoft.com/office/drawing/2014/main" id="{C6B3B294-A2E5-FE4F-872D-BA0347FCEE57}"/>
                  </a:ext>
                </a:extLst>
              </p:cNvPr>
              <p:cNvSpPr>
                <a:spLocks noChangeArrowheads="1"/>
              </p:cNvSpPr>
              <p:nvPr/>
            </p:nvSpPr>
            <p:spPr bwMode="auto">
              <a:xfrm>
                <a:off x="2383"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110">
                <a:extLst>
                  <a:ext uri="{FF2B5EF4-FFF2-40B4-BE49-F238E27FC236}">
                    <a16:creationId xmlns:a16="http://schemas.microsoft.com/office/drawing/2014/main" id="{D7C44995-4BAE-654E-868E-B2A3FE2A9BFF}"/>
                  </a:ext>
                </a:extLst>
              </p:cNvPr>
              <p:cNvSpPr>
                <a:spLocks noChangeArrowheads="1"/>
              </p:cNvSpPr>
              <p:nvPr/>
            </p:nvSpPr>
            <p:spPr bwMode="auto">
              <a:xfrm>
                <a:off x="2099"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111">
                <a:extLst>
                  <a:ext uri="{FF2B5EF4-FFF2-40B4-BE49-F238E27FC236}">
                    <a16:creationId xmlns:a16="http://schemas.microsoft.com/office/drawing/2014/main" id="{B7D538D9-D1B0-0D47-AB79-5C877CEDC170}"/>
                  </a:ext>
                </a:extLst>
              </p:cNvPr>
              <p:cNvSpPr>
                <a:spLocks noChangeArrowheads="1"/>
              </p:cNvSpPr>
              <p:nvPr/>
            </p:nvSpPr>
            <p:spPr bwMode="auto">
              <a:xfrm>
                <a:off x="2241"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112">
                <a:extLst>
                  <a:ext uri="{FF2B5EF4-FFF2-40B4-BE49-F238E27FC236}">
                    <a16:creationId xmlns:a16="http://schemas.microsoft.com/office/drawing/2014/main" id="{D75245EA-61E4-CC44-9BA3-D1E4A390DC47}"/>
                  </a:ext>
                </a:extLst>
              </p:cNvPr>
              <p:cNvSpPr>
                <a:spLocks noChangeArrowheads="1"/>
              </p:cNvSpPr>
              <p:nvPr/>
            </p:nvSpPr>
            <p:spPr bwMode="auto">
              <a:xfrm>
                <a:off x="2383"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113">
                <a:extLst>
                  <a:ext uri="{FF2B5EF4-FFF2-40B4-BE49-F238E27FC236}">
                    <a16:creationId xmlns:a16="http://schemas.microsoft.com/office/drawing/2014/main" id="{A8664A71-2C76-DF46-B21D-3407B15A9BB0}"/>
                  </a:ext>
                </a:extLst>
              </p:cNvPr>
              <p:cNvSpPr>
                <a:spLocks noChangeArrowheads="1"/>
              </p:cNvSpPr>
              <p:nvPr/>
            </p:nvSpPr>
            <p:spPr bwMode="auto">
              <a:xfrm>
                <a:off x="2099"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114">
                <a:extLst>
                  <a:ext uri="{FF2B5EF4-FFF2-40B4-BE49-F238E27FC236}">
                    <a16:creationId xmlns:a16="http://schemas.microsoft.com/office/drawing/2014/main" id="{DE2C150D-5DD0-ED40-8E59-151EE66D77FC}"/>
                  </a:ext>
                </a:extLst>
              </p:cNvPr>
              <p:cNvSpPr>
                <a:spLocks noChangeArrowheads="1"/>
              </p:cNvSpPr>
              <p:nvPr/>
            </p:nvSpPr>
            <p:spPr bwMode="auto">
              <a:xfrm>
                <a:off x="2241"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115">
                <a:extLst>
                  <a:ext uri="{FF2B5EF4-FFF2-40B4-BE49-F238E27FC236}">
                    <a16:creationId xmlns:a16="http://schemas.microsoft.com/office/drawing/2014/main" id="{1595064A-C8E1-FB43-8125-111E3A1482C4}"/>
                  </a:ext>
                </a:extLst>
              </p:cNvPr>
              <p:cNvSpPr>
                <a:spLocks noChangeArrowheads="1"/>
              </p:cNvSpPr>
              <p:nvPr/>
            </p:nvSpPr>
            <p:spPr bwMode="auto">
              <a:xfrm>
                <a:off x="2383"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117">
                <a:extLst>
                  <a:ext uri="{FF2B5EF4-FFF2-40B4-BE49-F238E27FC236}">
                    <a16:creationId xmlns:a16="http://schemas.microsoft.com/office/drawing/2014/main" id="{048C41E7-6805-0646-B787-DCEBDFF73029}"/>
                  </a:ext>
                </a:extLst>
              </p:cNvPr>
              <p:cNvSpPr>
                <a:spLocks noChangeArrowheads="1"/>
              </p:cNvSpPr>
              <p:nvPr/>
            </p:nvSpPr>
            <p:spPr bwMode="auto">
              <a:xfrm>
                <a:off x="2629"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118">
                <a:extLst>
                  <a:ext uri="{FF2B5EF4-FFF2-40B4-BE49-F238E27FC236}">
                    <a16:creationId xmlns:a16="http://schemas.microsoft.com/office/drawing/2014/main" id="{73802B4A-245B-5D4F-9E1E-F5FCBE7DC6C2}"/>
                  </a:ext>
                </a:extLst>
              </p:cNvPr>
              <p:cNvSpPr>
                <a:spLocks noChangeArrowheads="1"/>
              </p:cNvSpPr>
              <p:nvPr/>
            </p:nvSpPr>
            <p:spPr bwMode="auto">
              <a:xfrm>
                <a:off x="2725" y="1927"/>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0" name="Rectangle 119">
                <a:extLst>
                  <a:ext uri="{FF2B5EF4-FFF2-40B4-BE49-F238E27FC236}">
                    <a16:creationId xmlns:a16="http://schemas.microsoft.com/office/drawing/2014/main" id="{84DE6BAD-0A7E-C94C-BD0E-DED7B681EB5D}"/>
                  </a:ext>
                </a:extLst>
              </p:cNvPr>
              <p:cNvSpPr>
                <a:spLocks noChangeArrowheads="1"/>
              </p:cNvSpPr>
              <p:nvPr/>
            </p:nvSpPr>
            <p:spPr bwMode="auto">
              <a:xfrm>
                <a:off x="2823"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1" name="Rectangle 120">
                <a:extLst>
                  <a:ext uri="{FF2B5EF4-FFF2-40B4-BE49-F238E27FC236}">
                    <a16:creationId xmlns:a16="http://schemas.microsoft.com/office/drawing/2014/main" id="{C8DE66BB-DE46-214D-B179-15C1207DE567}"/>
                  </a:ext>
                </a:extLst>
              </p:cNvPr>
              <p:cNvSpPr>
                <a:spLocks noChangeArrowheads="1"/>
              </p:cNvSpPr>
              <p:nvPr/>
            </p:nvSpPr>
            <p:spPr bwMode="auto">
              <a:xfrm>
                <a:off x="2629"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Rectangle 121">
                <a:extLst>
                  <a:ext uri="{FF2B5EF4-FFF2-40B4-BE49-F238E27FC236}">
                    <a16:creationId xmlns:a16="http://schemas.microsoft.com/office/drawing/2014/main" id="{0BFEA48D-CF84-A542-BD3E-96868A02C616}"/>
                  </a:ext>
                </a:extLst>
              </p:cNvPr>
              <p:cNvSpPr>
                <a:spLocks noChangeArrowheads="1"/>
              </p:cNvSpPr>
              <p:nvPr/>
            </p:nvSpPr>
            <p:spPr bwMode="auto">
              <a:xfrm>
                <a:off x="2725" y="2189"/>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Rectangle 122">
                <a:extLst>
                  <a:ext uri="{FF2B5EF4-FFF2-40B4-BE49-F238E27FC236}">
                    <a16:creationId xmlns:a16="http://schemas.microsoft.com/office/drawing/2014/main" id="{00D54AD9-6C5F-D949-BF76-ECCA603133D5}"/>
                  </a:ext>
                </a:extLst>
              </p:cNvPr>
              <p:cNvSpPr>
                <a:spLocks noChangeArrowheads="1"/>
              </p:cNvSpPr>
              <p:nvPr/>
            </p:nvSpPr>
            <p:spPr bwMode="auto">
              <a:xfrm>
                <a:off x="2823"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Rectangle 123">
                <a:extLst>
                  <a:ext uri="{FF2B5EF4-FFF2-40B4-BE49-F238E27FC236}">
                    <a16:creationId xmlns:a16="http://schemas.microsoft.com/office/drawing/2014/main" id="{08C4D834-237C-7248-BA12-C71C330BEBFC}"/>
                  </a:ext>
                </a:extLst>
              </p:cNvPr>
              <p:cNvSpPr>
                <a:spLocks noChangeArrowheads="1"/>
              </p:cNvSpPr>
              <p:nvPr/>
            </p:nvSpPr>
            <p:spPr bwMode="auto">
              <a:xfrm>
                <a:off x="2629"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Rectangle 124">
                <a:extLst>
                  <a:ext uri="{FF2B5EF4-FFF2-40B4-BE49-F238E27FC236}">
                    <a16:creationId xmlns:a16="http://schemas.microsoft.com/office/drawing/2014/main" id="{6F069341-8929-FD4A-A2E5-A36CBD7AF698}"/>
                  </a:ext>
                </a:extLst>
              </p:cNvPr>
              <p:cNvSpPr>
                <a:spLocks noChangeArrowheads="1"/>
              </p:cNvSpPr>
              <p:nvPr/>
            </p:nvSpPr>
            <p:spPr bwMode="auto">
              <a:xfrm>
                <a:off x="2725" y="2058"/>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Rectangle 125">
                <a:extLst>
                  <a:ext uri="{FF2B5EF4-FFF2-40B4-BE49-F238E27FC236}">
                    <a16:creationId xmlns:a16="http://schemas.microsoft.com/office/drawing/2014/main" id="{EAA9C101-DBD8-B84F-9452-9D6AA0D264C3}"/>
                  </a:ext>
                </a:extLst>
              </p:cNvPr>
              <p:cNvSpPr>
                <a:spLocks noChangeArrowheads="1"/>
              </p:cNvSpPr>
              <p:nvPr/>
            </p:nvSpPr>
            <p:spPr bwMode="auto">
              <a:xfrm>
                <a:off x="2823"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77" name="TextBox 176">
              <a:extLst>
                <a:ext uri="{FF2B5EF4-FFF2-40B4-BE49-F238E27FC236}">
                  <a16:creationId xmlns:a16="http://schemas.microsoft.com/office/drawing/2014/main" id="{5DA0E0CF-248D-CC4C-A330-C5DEE666A2BE}"/>
                </a:ext>
              </a:extLst>
            </p:cNvPr>
            <p:cNvSpPr txBox="1"/>
            <p:nvPr/>
          </p:nvSpPr>
          <p:spPr>
            <a:xfrm>
              <a:off x="749401" y="3976150"/>
              <a:ext cx="793631" cy="215444"/>
            </a:xfrm>
            <a:prstGeom prst="rect">
              <a:avLst/>
            </a:prstGeom>
            <a:noFill/>
          </p:spPr>
          <p:txBody>
            <a:bodyPr wrap="square" rtlCol="0">
              <a:spAutoFit/>
            </a:bodyPr>
            <a:lstStyle/>
            <a:p>
              <a:pPr algn="ctr"/>
              <a:r>
                <a:rPr lang="en-GB" sz="800" dirty="0">
                  <a:latin typeface="+mn-lt"/>
                </a:rPr>
                <a:t>RPHY Node</a:t>
              </a:r>
            </a:p>
          </p:txBody>
        </p:sp>
      </p:grpSp>
    </p:spTree>
    <p:extLst>
      <p:ext uri="{BB962C8B-B14F-4D97-AF65-F5344CB8AC3E}">
        <p14:creationId xmlns:p14="http://schemas.microsoft.com/office/powerpoint/2010/main" val="384774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Rectangle 169">
            <a:extLst>
              <a:ext uri="{FF2B5EF4-FFF2-40B4-BE49-F238E27FC236}">
                <a16:creationId xmlns:a16="http://schemas.microsoft.com/office/drawing/2014/main" id="{B6BCFBBD-FCBC-F94A-8428-F8C51FAA34E8}"/>
              </a:ext>
            </a:extLst>
          </p:cNvPr>
          <p:cNvSpPr/>
          <p:nvPr/>
        </p:nvSpPr>
        <p:spPr>
          <a:xfrm>
            <a:off x="1458339" y="3906730"/>
            <a:ext cx="789059" cy="377799"/>
          </a:xfrm>
          <a:prstGeom prst="rect">
            <a:avLst/>
          </a:prstGeom>
          <a:solidFill>
            <a:schemeClr val="tx2">
              <a:lumMod val="20000"/>
              <a:lumOff val="80000"/>
            </a:schemeClr>
          </a:solidFill>
          <a:ln w="2857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9" name="Rectangle 168">
            <a:extLst>
              <a:ext uri="{FF2B5EF4-FFF2-40B4-BE49-F238E27FC236}">
                <a16:creationId xmlns:a16="http://schemas.microsoft.com/office/drawing/2014/main" id="{92EF2FA4-80F9-CD42-8BD2-E6FB0201C927}"/>
              </a:ext>
            </a:extLst>
          </p:cNvPr>
          <p:cNvSpPr/>
          <p:nvPr/>
        </p:nvSpPr>
        <p:spPr>
          <a:xfrm>
            <a:off x="5868661" y="1659977"/>
            <a:ext cx="789059" cy="377799"/>
          </a:xfrm>
          <a:prstGeom prst="rect">
            <a:avLst/>
          </a:prstGeom>
          <a:solidFill>
            <a:schemeClr val="tx2">
              <a:lumMod val="20000"/>
              <a:lumOff val="80000"/>
            </a:schemeClr>
          </a:solidFill>
          <a:ln w="2857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8" name="Rectangle 167">
            <a:extLst>
              <a:ext uri="{FF2B5EF4-FFF2-40B4-BE49-F238E27FC236}">
                <a16:creationId xmlns:a16="http://schemas.microsoft.com/office/drawing/2014/main" id="{DC753CE8-4C11-2541-86C4-7DF4AB091D16}"/>
              </a:ext>
            </a:extLst>
          </p:cNvPr>
          <p:cNvSpPr/>
          <p:nvPr/>
        </p:nvSpPr>
        <p:spPr>
          <a:xfrm>
            <a:off x="3620847" y="1771720"/>
            <a:ext cx="789059" cy="377799"/>
          </a:xfrm>
          <a:prstGeom prst="rect">
            <a:avLst/>
          </a:prstGeom>
          <a:solidFill>
            <a:schemeClr val="tx2">
              <a:lumMod val="20000"/>
              <a:lumOff val="80000"/>
            </a:schemeClr>
          </a:solidFill>
          <a:ln w="2857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7" name="Rectangle 166">
            <a:extLst>
              <a:ext uri="{FF2B5EF4-FFF2-40B4-BE49-F238E27FC236}">
                <a16:creationId xmlns:a16="http://schemas.microsoft.com/office/drawing/2014/main" id="{1D528D80-9C74-6F45-B48B-67967F0DE8F0}"/>
              </a:ext>
            </a:extLst>
          </p:cNvPr>
          <p:cNvSpPr/>
          <p:nvPr/>
        </p:nvSpPr>
        <p:spPr>
          <a:xfrm>
            <a:off x="5825551" y="2289451"/>
            <a:ext cx="789059" cy="377799"/>
          </a:xfrm>
          <a:prstGeom prst="rect">
            <a:avLst/>
          </a:prstGeom>
          <a:solidFill>
            <a:schemeClr val="tx2">
              <a:lumMod val="20000"/>
              <a:lumOff val="80000"/>
            </a:schemeClr>
          </a:solidFill>
          <a:ln w="2857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5" name="Rectangle 164">
            <a:extLst>
              <a:ext uri="{FF2B5EF4-FFF2-40B4-BE49-F238E27FC236}">
                <a16:creationId xmlns:a16="http://schemas.microsoft.com/office/drawing/2014/main" id="{A780321C-D96B-6846-A1ED-578628F34384}"/>
              </a:ext>
            </a:extLst>
          </p:cNvPr>
          <p:cNvSpPr/>
          <p:nvPr/>
        </p:nvSpPr>
        <p:spPr>
          <a:xfrm>
            <a:off x="5831726" y="3595627"/>
            <a:ext cx="789059" cy="377799"/>
          </a:xfrm>
          <a:prstGeom prst="rect">
            <a:avLst/>
          </a:prstGeom>
          <a:solidFill>
            <a:schemeClr val="tx2">
              <a:lumMod val="20000"/>
              <a:lumOff val="80000"/>
            </a:schemeClr>
          </a:solidFill>
          <a:ln w="2857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C122B4A-898A-2E4A-900F-396D0AC24A88}"/>
              </a:ext>
            </a:extLst>
          </p:cNvPr>
          <p:cNvSpPr>
            <a:spLocks noGrp="1"/>
          </p:cNvSpPr>
          <p:nvPr>
            <p:ph type="title"/>
          </p:nvPr>
        </p:nvSpPr>
        <p:spPr/>
        <p:txBody>
          <a:bodyPr/>
          <a:lstStyle/>
          <a:p>
            <a:r>
              <a:rPr lang="en-US" dirty="0"/>
              <a:t>Cisco Core Architecture Play</a:t>
            </a:r>
          </a:p>
        </p:txBody>
      </p:sp>
      <p:sp>
        <p:nvSpPr>
          <p:cNvPr id="111" name="Rectangle 110">
            <a:extLst>
              <a:ext uri="{FF2B5EF4-FFF2-40B4-BE49-F238E27FC236}">
                <a16:creationId xmlns:a16="http://schemas.microsoft.com/office/drawing/2014/main" id="{8A273B57-EB73-694D-B40A-427118A90219}"/>
              </a:ext>
            </a:extLst>
          </p:cNvPr>
          <p:cNvSpPr/>
          <p:nvPr/>
        </p:nvSpPr>
        <p:spPr>
          <a:xfrm>
            <a:off x="7308512" y="1605728"/>
            <a:ext cx="824668" cy="474258"/>
          </a:xfrm>
          <a:prstGeom prst="rect">
            <a:avLst/>
          </a:prstGeom>
          <a:solidFill>
            <a:schemeClr val="tx2">
              <a:lumMod val="20000"/>
              <a:lumOff val="80000"/>
            </a:schemeClr>
          </a:solidFill>
          <a:ln w="2857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2" name="Rectangle 111">
            <a:extLst>
              <a:ext uri="{FF2B5EF4-FFF2-40B4-BE49-F238E27FC236}">
                <a16:creationId xmlns:a16="http://schemas.microsoft.com/office/drawing/2014/main" id="{EABEA096-8648-C84D-9BBA-D4283F0A88F5}"/>
              </a:ext>
            </a:extLst>
          </p:cNvPr>
          <p:cNvSpPr/>
          <p:nvPr/>
        </p:nvSpPr>
        <p:spPr>
          <a:xfrm>
            <a:off x="2399533" y="3870829"/>
            <a:ext cx="1747629" cy="377799"/>
          </a:xfrm>
          <a:prstGeom prst="rect">
            <a:avLst/>
          </a:prstGeom>
          <a:solidFill>
            <a:schemeClr val="tx2">
              <a:lumMod val="20000"/>
              <a:lumOff val="80000"/>
            </a:schemeClr>
          </a:solidFill>
          <a:ln w="2857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3" name="Rectangle 112">
            <a:extLst>
              <a:ext uri="{FF2B5EF4-FFF2-40B4-BE49-F238E27FC236}">
                <a16:creationId xmlns:a16="http://schemas.microsoft.com/office/drawing/2014/main" id="{1DDDA85C-7C12-B84C-A574-5263A3D8DD7B}"/>
              </a:ext>
            </a:extLst>
          </p:cNvPr>
          <p:cNvSpPr/>
          <p:nvPr/>
        </p:nvSpPr>
        <p:spPr>
          <a:xfrm>
            <a:off x="2597690" y="2857680"/>
            <a:ext cx="1549471" cy="474258"/>
          </a:xfrm>
          <a:prstGeom prst="rect">
            <a:avLst/>
          </a:prstGeom>
          <a:solidFill>
            <a:schemeClr val="tx2">
              <a:lumMod val="20000"/>
              <a:lumOff val="80000"/>
            </a:schemeClr>
          </a:solidFill>
          <a:ln w="2857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4" name="Rounded Rectangle 113">
            <a:extLst>
              <a:ext uri="{FF2B5EF4-FFF2-40B4-BE49-F238E27FC236}">
                <a16:creationId xmlns:a16="http://schemas.microsoft.com/office/drawing/2014/main" id="{A8258982-2080-E047-BAFD-B813FAE8D9FA}"/>
              </a:ext>
            </a:extLst>
          </p:cNvPr>
          <p:cNvSpPr/>
          <p:nvPr/>
        </p:nvSpPr>
        <p:spPr>
          <a:xfrm>
            <a:off x="5937257" y="1168262"/>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HSS</a:t>
            </a:r>
          </a:p>
        </p:txBody>
      </p:sp>
      <p:sp>
        <p:nvSpPr>
          <p:cNvPr id="115" name="Rounded Rectangle 114">
            <a:extLst>
              <a:ext uri="{FF2B5EF4-FFF2-40B4-BE49-F238E27FC236}">
                <a16:creationId xmlns:a16="http://schemas.microsoft.com/office/drawing/2014/main" id="{1B5F37D7-5BE5-E94C-9CD2-7AE4BDB89EDF}"/>
              </a:ext>
            </a:extLst>
          </p:cNvPr>
          <p:cNvSpPr/>
          <p:nvPr/>
        </p:nvSpPr>
        <p:spPr>
          <a:xfrm>
            <a:off x="5937257" y="1735087"/>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PCRF</a:t>
            </a:r>
          </a:p>
        </p:txBody>
      </p:sp>
      <p:sp>
        <p:nvSpPr>
          <p:cNvPr id="116" name="Rounded Rectangle 115">
            <a:extLst>
              <a:ext uri="{FF2B5EF4-FFF2-40B4-BE49-F238E27FC236}">
                <a16:creationId xmlns:a16="http://schemas.microsoft.com/office/drawing/2014/main" id="{E4279BEE-CD20-6D4B-8FD1-3BE5C38E634B}"/>
              </a:ext>
            </a:extLst>
          </p:cNvPr>
          <p:cNvSpPr/>
          <p:nvPr/>
        </p:nvSpPr>
        <p:spPr>
          <a:xfrm>
            <a:off x="5936454" y="3641400"/>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AAA</a:t>
            </a:r>
          </a:p>
          <a:p>
            <a:pPr algn="ctr"/>
            <a:r>
              <a:rPr lang="en-US" sz="800" dirty="0">
                <a:solidFill>
                  <a:schemeClr val="bg1">
                    <a:lumMod val="50000"/>
                  </a:schemeClr>
                </a:solidFill>
                <a:latin typeface="Arial" panose="020B0604020202020204" pitchFamily="34" charset="0"/>
                <a:cs typeface="Arial" panose="020B0604020202020204" pitchFamily="34" charset="0"/>
              </a:rPr>
              <a:t>Server</a:t>
            </a:r>
          </a:p>
        </p:txBody>
      </p:sp>
      <p:sp>
        <p:nvSpPr>
          <p:cNvPr id="117" name="Rounded Rectangle 116">
            <a:extLst>
              <a:ext uri="{FF2B5EF4-FFF2-40B4-BE49-F238E27FC236}">
                <a16:creationId xmlns:a16="http://schemas.microsoft.com/office/drawing/2014/main" id="{A58E1815-A388-6849-AB3B-0C9992BA798D}"/>
              </a:ext>
            </a:extLst>
          </p:cNvPr>
          <p:cNvSpPr/>
          <p:nvPr/>
        </p:nvSpPr>
        <p:spPr>
          <a:xfrm>
            <a:off x="2673829" y="2969803"/>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SAE-</a:t>
            </a:r>
            <a:r>
              <a:rPr lang="en-US" sz="800" dirty="0" err="1">
                <a:solidFill>
                  <a:schemeClr val="bg1">
                    <a:lumMod val="50000"/>
                  </a:schemeClr>
                </a:solidFill>
                <a:latin typeface="Arial" panose="020B0604020202020204" pitchFamily="34" charset="0"/>
                <a:cs typeface="Arial" panose="020B0604020202020204" pitchFamily="34" charset="0"/>
              </a:rPr>
              <a:t>GWu</a:t>
            </a:r>
            <a:endParaRPr lang="en-US" sz="800" dirty="0">
              <a:solidFill>
                <a:schemeClr val="bg1">
                  <a:lumMod val="50000"/>
                </a:schemeClr>
              </a:solidFill>
              <a:latin typeface="Arial" panose="020B0604020202020204" pitchFamily="34" charset="0"/>
              <a:cs typeface="Arial" panose="020B0604020202020204" pitchFamily="34" charset="0"/>
            </a:endParaRPr>
          </a:p>
          <a:p>
            <a:pPr algn="ctr"/>
            <a:r>
              <a:rPr lang="en-US" sz="800" dirty="0">
                <a:solidFill>
                  <a:schemeClr val="bg1">
                    <a:lumMod val="50000"/>
                  </a:schemeClr>
                </a:solidFill>
                <a:latin typeface="Arial" panose="020B0604020202020204" pitchFamily="34" charset="0"/>
                <a:cs typeface="Arial" panose="020B0604020202020204" pitchFamily="34" charset="0"/>
              </a:rPr>
              <a:t>ADC &amp; ECS</a:t>
            </a:r>
          </a:p>
        </p:txBody>
      </p:sp>
      <p:sp>
        <p:nvSpPr>
          <p:cNvPr id="118" name="Rounded Rectangle 117">
            <a:extLst>
              <a:ext uri="{FF2B5EF4-FFF2-40B4-BE49-F238E27FC236}">
                <a16:creationId xmlns:a16="http://schemas.microsoft.com/office/drawing/2014/main" id="{5C89E0C8-462A-364E-BE96-5316AF3F4A9C}"/>
              </a:ext>
            </a:extLst>
          </p:cNvPr>
          <p:cNvSpPr/>
          <p:nvPr/>
        </p:nvSpPr>
        <p:spPr>
          <a:xfrm>
            <a:off x="3685016" y="1831543"/>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SGSN/</a:t>
            </a:r>
          </a:p>
          <a:p>
            <a:pPr algn="ctr"/>
            <a:r>
              <a:rPr lang="en-US" sz="800" dirty="0">
                <a:solidFill>
                  <a:schemeClr val="bg1">
                    <a:lumMod val="50000"/>
                  </a:schemeClr>
                </a:solidFill>
                <a:latin typeface="Arial" panose="020B0604020202020204" pitchFamily="34" charset="0"/>
                <a:cs typeface="Arial" panose="020B0604020202020204" pitchFamily="34" charset="0"/>
              </a:rPr>
              <a:t>MME</a:t>
            </a:r>
          </a:p>
        </p:txBody>
      </p:sp>
      <p:sp>
        <p:nvSpPr>
          <p:cNvPr id="119" name="Oval 118">
            <a:extLst>
              <a:ext uri="{FF2B5EF4-FFF2-40B4-BE49-F238E27FC236}">
                <a16:creationId xmlns:a16="http://schemas.microsoft.com/office/drawing/2014/main" id="{82DDE60F-198C-CB49-B232-4A69CCA29C3F}"/>
              </a:ext>
            </a:extLst>
          </p:cNvPr>
          <p:cNvSpPr/>
          <p:nvPr/>
        </p:nvSpPr>
        <p:spPr>
          <a:xfrm>
            <a:off x="1325500" y="2942359"/>
            <a:ext cx="997185" cy="475074"/>
          </a:xfrm>
          <a:prstGeom prst="ellipse">
            <a:avLst/>
          </a:prstGeom>
          <a:solidFill>
            <a:schemeClr val="tx1">
              <a:lumMod val="75000"/>
              <a:lumOff val="2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1" forceAA="0" compatLnSpc="1">
            <a:prstTxWarp prst="textNoShape">
              <a:avLst/>
            </a:prstTxWarp>
            <a:noAutofit/>
          </a:bodyPr>
          <a:lstStyle/>
          <a:p>
            <a:pPr algn="ctr"/>
            <a:r>
              <a:rPr lang="en-US" sz="800" dirty="0">
                <a:solidFill>
                  <a:schemeClr val="bg1">
                    <a:lumMod val="50000"/>
                  </a:schemeClr>
                </a:solidFill>
                <a:latin typeface="Arial" panose="020B0604020202020204" pitchFamily="34" charset="0"/>
                <a:cs typeface="Arial" panose="020B0604020202020204" pitchFamily="34" charset="0"/>
              </a:rPr>
              <a:t>LTE</a:t>
            </a:r>
          </a:p>
        </p:txBody>
      </p:sp>
      <p:pic>
        <p:nvPicPr>
          <p:cNvPr id="120" name="Picture 119">
            <a:extLst>
              <a:ext uri="{FF2B5EF4-FFF2-40B4-BE49-F238E27FC236}">
                <a16:creationId xmlns:a16="http://schemas.microsoft.com/office/drawing/2014/main" id="{44D435F2-B3D5-5647-A7B7-E11378E688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9020" y="2585095"/>
            <a:ext cx="675059" cy="627805"/>
          </a:xfrm>
          <a:prstGeom prst="rect">
            <a:avLst/>
          </a:prstGeom>
        </p:spPr>
      </p:pic>
      <p:sp>
        <p:nvSpPr>
          <p:cNvPr id="121" name="Rounded Rectangle 120">
            <a:extLst>
              <a:ext uri="{FF2B5EF4-FFF2-40B4-BE49-F238E27FC236}">
                <a16:creationId xmlns:a16="http://schemas.microsoft.com/office/drawing/2014/main" id="{E1A1B2FA-AEAF-974E-ACEE-3676C2181094}"/>
              </a:ext>
            </a:extLst>
          </p:cNvPr>
          <p:cNvSpPr/>
          <p:nvPr/>
        </p:nvSpPr>
        <p:spPr>
          <a:xfrm>
            <a:off x="1644410" y="3013078"/>
            <a:ext cx="374415" cy="17215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err="1">
                <a:solidFill>
                  <a:schemeClr val="bg1">
                    <a:lumMod val="50000"/>
                  </a:schemeClr>
                </a:solidFill>
                <a:latin typeface="Arial" panose="020B0604020202020204" pitchFamily="34" charset="0"/>
                <a:cs typeface="Arial" panose="020B0604020202020204" pitchFamily="34" charset="0"/>
              </a:rPr>
              <a:t>eNB</a:t>
            </a:r>
            <a:endParaRPr lang="en-US" sz="800" dirty="0">
              <a:solidFill>
                <a:schemeClr val="bg1">
                  <a:lumMod val="50000"/>
                </a:schemeClr>
              </a:solidFill>
              <a:latin typeface="Arial" panose="020B0604020202020204" pitchFamily="34" charset="0"/>
              <a:cs typeface="Arial" panose="020B0604020202020204" pitchFamily="34" charset="0"/>
            </a:endParaRPr>
          </a:p>
        </p:txBody>
      </p:sp>
      <p:sp>
        <p:nvSpPr>
          <p:cNvPr id="122" name="Oval 121">
            <a:extLst>
              <a:ext uri="{FF2B5EF4-FFF2-40B4-BE49-F238E27FC236}">
                <a16:creationId xmlns:a16="http://schemas.microsoft.com/office/drawing/2014/main" id="{67C89A28-599C-7D49-A0FF-F0EF18C78B4D}"/>
              </a:ext>
            </a:extLst>
          </p:cNvPr>
          <p:cNvSpPr/>
          <p:nvPr/>
        </p:nvSpPr>
        <p:spPr>
          <a:xfrm>
            <a:off x="683232" y="4096175"/>
            <a:ext cx="997185" cy="475074"/>
          </a:xfrm>
          <a:prstGeom prst="ellipse">
            <a:avLst/>
          </a:prstGeom>
          <a:solidFill>
            <a:schemeClr val="tx1">
              <a:lumMod val="50000"/>
              <a:lumOff val="50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sz="800" dirty="0">
                <a:solidFill>
                  <a:schemeClr val="bg1">
                    <a:lumMod val="50000"/>
                  </a:schemeClr>
                </a:solidFill>
                <a:latin typeface="Arial" panose="020B0604020202020204" pitchFamily="34" charset="0"/>
                <a:cs typeface="Arial" panose="020B0604020202020204" pitchFamily="34" charset="0"/>
              </a:rPr>
              <a:t>Un/trusted</a:t>
            </a:r>
          </a:p>
          <a:p>
            <a:pPr algn="ctr"/>
            <a:r>
              <a:rPr lang="en-US" sz="800" dirty="0">
                <a:solidFill>
                  <a:schemeClr val="bg1">
                    <a:lumMod val="50000"/>
                  </a:schemeClr>
                </a:solidFill>
                <a:latin typeface="Arial" panose="020B0604020202020204" pitchFamily="34" charset="0"/>
                <a:cs typeface="Arial" panose="020B0604020202020204" pitchFamily="34" charset="0"/>
              </a:rPr>
              <a:t>Non-3GPP</a:t>
            </a:r>
          </a:p>
        </p:txBody>
      </p:sp>
      <p:pic>
        <p:nvPicPr>
          <p:cNvPr id="123" name="Picture 122">
            <a:extLst>
              <a:ext uri="{FF2B5EF4-FFF2-40B4-BE49-F238E27FC236}">
                <a16:creationId xmlns:a16="http://schemas.microsoft.com/office/drawing/2014/main" id="{7B41AD84-F209-1B4B-9048-8DD7BB8499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7210" y="4067012"/>
            <a:ext cx="357011" cy="357011"/>
          </a:xfrm>
          <a:prstGeom prst="rect">
            <a:avLst/>
          </a:prstGeom>
        </p:spPr>
      </p:pic>
      <p:cxnSp>
        <p:nvCxnSpPr>
          <p:cNvPr id="124" name="Straight Connector 123">
            <a:extLst>
              <a:ext uri="{FF2B5EF4-FFF2-40B4-BE49-F238E27FC236}">
                <a16:creationId xmlns:a16="http://schemas.microsoft.com/office/drawing/2014/main" id="{BB278045-BC0C-2A44-A3E4-9EAD0F3E0657}"/>
              </a:ext>
            </a:extLst>
          </p:cNvPr>
          <p:cNvCxnSpPr>
            <a:stCxn id="121" idx="3"/>
            <a:endCxn id="117" idx="1"/>
          </p:cNvCxnSpPr>
          <p:nvPr/>
        </p:nvCxnSpPr>
        <p:spPr>
          <a:xfrm>
            <a:off x="2018825" y="3099155"/>
            <a:ext cx="65500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1360DE19-47A6-F74C-A2D9-C4E3753DE898}"/>
              </a:ext>
            </a:extLst>
          </p:cNvPr>
          <p:cNvCxnSpPr>
            <a:stCxn id="142" idx="0"/>
            <a:endCxn id="115" idx="2"/>
          </p:cNvCxnSpPr>
          <p:nvPr/>
        </p:nvCxnSpPr>
        <p:spPr>
          <a:xfrm flipV="1">
            <a:off x="6245350" y="1993791"/>
            <a:ext cx="0" cy="365349"/>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526AC737-CEBB-E34B-9633-441B13CF0422}"/>
              </a:ext>
            </a:extLst>
          </p:cNvPr>
          <p:cNvCxnSpPr>
            <a:stCxn id="114" idx="2"/>
            <a:endCxn id="115" idx="0"/>
          </p:cNvCxnSpPr>
          <p:nvPr/>
        </p:nvCxnSpPr>
        <p:spPr>
          <a:xfrm>
            <a:off x="6245350" y="1426966"/>
            <a:ext cx="0" cy="308121"/>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127" name="Elbow Connector 126">
            <a:extLst>
              <a:ext uri="{FF2B5EF4-FFF2-40B4-BE49-F238E27FC236}">
                <a16:creationId xmlns:a16="http://schemas.microsoft.com/office/drawing/2014/main" id="{C6247FD6-F332-1640-A03D-F15A5294BD18}"/>
              </a:ext>
            </a:extLst>
          </p:cNvPr>
          <p:cNvCxnSpPr>
            <a:stCxn id="122" idx="6"/>
            <a:endCxn id="116" idx="2"/>
          </p:cNvCxnSpPr>
          <p:nvPr/>
        </p:nvCxnSpPr>
        <p:spPr>
          <a:xfrm flipV="1">
            <a:off x="1680417" y="3900104"/>
            <a:ext cx="4564130" cy="433608"/>
          </a:xfrm>
          <a:prstGeom prst="bentConnector2">
            <a:avLst/>
          </a:prstGeom>
          <a:ln w="12700" cmpd="sng"/>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7840F4D4-5D4D-CC41-8D69-E40A7F8DE915}"/>
              </a:ext>
            </a:extLst>
          </p:cNvPr>
          <p:cNvCxnSpPr>
            <a:stCxn id="141" idx="1"/>
            <a:endCxn id="117" idx="3"/>
          </p:cNvCxnSpPr>
          <p:nvPr/>
        </p:nvCxnSpPr>
        <p:spPr>
          <a:xfrm flipH="1">
            <a:off x="3290015" y="3099155"/>
            <a:ext cx="4738924" cy="0"/>
          </a:xfrm>
          <a:prstGeom prst="line">
            <a:avLst/>
          </a:prstGeom>
          <a:ln w="12700" cmpd="sng"/>
        </p:spPr>
        <p:style>
          <a:lnRef idx="2">
            <a:schemeClr val="accent1"/>
          </a:lnRef>
          <a:fillRef idx="0">
            <a:schemeClr val="accent1"/>
          </a:fillRef>
          <a:effectRef idx="1">
            <a:schemeClr val="accent1"/>
          </a:effectRef>
          <a:fontRef idx="minor">
            <a:schemeClr val="tx1"/>
          </a:fontRef>
        </p:style>
      </p:cxnSp>
      <p:sp>
        <p:nvSpPr>
          <p:cNvPr id="129" name="TextBox 128">
            <a:extLst>
              <a:ext uri="{FF2B5EF4-FFF2-40B4-BE49-F238E27FC236}">
                <a16:creationId xmlns:a16="http://schemas.microsoft.com/office/drawing/2014/main" id="{E85BDE53-9CD4-F04D-AD7E-5C25388A0CA5}"/>
              </a:ext>
            </a:extLst>
          </p:cNvPr>
          <p:cNvSpPr txBox="1"/>
          <p:nvPr/>
        </p:nvSpPr>
        <p:spPr>
          <a:xfrm>
            <a:off x="3953788" y="1540106"/>
            <a:ext cx="325730" cy="184666"/>
          </a:xfrm>
          <a:prstGeom prst="rect">
            <a:avLst/>
          </a:prstGeom>
          <a:noFill/>
        </p:spPr>
        <p:txBody>
          <a:bodyPr wrap="none" rtlCol="0">
            <a:spAutoFit/>
          </a:bodyPr>
          <a:lstStyle/>
          <a:p>
            <a:r>
              <a:rPr lang="en-US" sz="600" b="1" dirty="0">
                <a:latin typeface="Arial" panose="020B0604020202020204" pitchFamily="34" charset="0"/>
                <a:cs typeface="Arial" panose="020B0604020202020204" pitchFamily="34" charset="0"/>
              </a:rPr>
              <a:t>S6a</a:t>
            </a:r>
          </a:p>
        </p:txBody>
      </p:sp>
      <p:sp>
        <p:nvSpPr>
          <p:cNvPr id="130" name="TextBox 129">
            <a:extLst>
              <a:ext uri="{FF2B5EF4-FFF2-40B4-BE49-F238E27FC236}">
                <a16:creationId xmlns:a16="http://schemas.microsoft.com/office/drawing/2014/main" id="{F65AD9DC-F580-344A-A108-FB13D05B2BD6}"/>
              </a:ext>
            </a:extLst>
          </p:cNvPr>
          <p:cNvSpPr txBox="1"/>
          <p:nvPr/>
        </p:nvSpPr>
        <p:spPr>
          <a:xfrm>
            <a:off x="2403662" y="2132824"/>
            <a:ext cx="483914" cy="184666"/>
          </a:xfrm>
          <a:prstGeom prst="rect">
            <a:avLst/>
          </a:prstGeom>
          <a:noFill/>
        </p:spPr>
        <p:txBody>
          <a:bodyPr wrap="none" rtlCol="0">
            <a:spAutoFit/>
          </a:bodyPr>
          <a:lstStyle/>
          <a:p>
            <a:r>
              <a:rPr lang="en-US" sz="600" b="1" dirty="0">
                <a:latin typeface="Arial" panose="020B0604020202020204" pitchFamily="34" charset="0"/>
                <a:cs typeface="Arial" panose="020B0604020202020204" pitchFamily="34" charset="0"/>
              </a:rPr>
              <a:t>S1-MME</a:t>
            </a:r>
          </a:p>
        </p:txBody>
      </p:sp>
      <p:sp>
        <p:nvSpPr>
          <p:cNvPr id="131" name="TextBox 130">
            <a:extLst>
              <a:ext uri="{FF2B5EF4-FFF2-40B4-BE49-F238E27FC236}">
                <a16:creationId xmlns:a16="http://schemas.microsoft.com/office/drawing/2014/main" id="{3DC3EB20-235A-A940-AD14-88870067CD16}"/>
              </a:ext>
            </a:extLst>
          </p:cNvPr>
          <p:cNvSpPr txBox="1"/>
          <p:nvPr/>
        </p:nvSpPr>
        <p:spPr>
          <a:xfrm>
            <a:off x="2204568" y="2908429"/>
            <a:ext cx="359969" cy="184666"/>
          </a:xfrm>
          <a:prstGeom prst="rect">
            <a:avLst/>
          </a:prstGeom>
          <a:noFill/>
        </p:spPr>
        <p:txBody>
          <a:bodyPr wrap="none" rtlCol="0">
            <a:spAutoFit/>
          </a:bodyPr>
          <a:lstStyle/>
          <a:p>
            <a:r>
              <a:rPr lang="en-US" sz="600" b="1" dirty="0">
                <a:latin typeface="Arial" panose="020B0604020202020204" pitchFamily="34" charset="0"/>
                <a:cs typeface="Arial" panose="020B0604020202020204" pitchFamily="34" charset="0"/>
              </a:rPr>
              <a:t>S1-U</a:t>
            </a:r>
          </a:p>
        </p:txBody>
      </p:sp>
      <p:cxnSp>
        <p:nvCxnSpPr>
          <p:cNvPr id="132" name="Straight Connector 131">
            <a:extLst>
              <a:ext uri="{FF2B5EF4-FFF2-40B4-BE49-F238E27FC236}">
                <a16:creationId xmlns:a16="http://schemas.microsoft.com/office/drawing/2014/main" id="{7BFA3620-8224-324E-AD08-7D7C7E982899}"/>
              </a:ext>
            </a:extLst>
          </p:cNvPr>
          <p:cNvCxnSpPr>
            <a:stCxn id="118" idx="2"/>
            <a:endCxn id="142" idx="1"/>
          </p:cNvCxnSpPr>
          <p:nvPr/>
        </p:nvCxnSpPr>
        <p:spPr>
          <a:xfrm>
            <a:off x="3993109" y="2090247"/>
            <a:ext cx="1944148" cy="398245"/>
          </a:xfrm>
          <a:prstGeom prst="line">
            <a:avLst/>
          </a:prstGeom>
          <a:ln w="12700" cmpd="sng"/>
        </p:spPr>
        <p:style>
          <a:lnRef idx="2">
            <a:schemeClr val="accent1"/>
          </a:lnRef>
          <a:fillRef idx="0">
            <a:schemeClr val="accent1"/>
          </a:fillRef>
          <a:effectRef idx="1">
            <a:schemeClr val="accent1"/>
          </a:effectRef>
          <a:fontRef idx="minor">
            <a:schemeClr val="tx1"/>
          </a:fontRef>
        </p:style>
      </p:cxnSp>
      <p:sp>
        <p:nvSpPr>
          <p:cNvPr id="133" name="TextBox 132">
            <a:extLst>
              <a:ext uri="{FF2B5EF4-FFF2-40B4-BE49-F238E27FC236}">
                <a16:creationId xmlns:a16="http://schemas.microsoft.com/office/drawing/2014/main" id="{0DFDBCE3-6127-CE4F-82FF-7D69C437D8E2}"/>
              </a:ext>
            </a:extLst>
          </p:cNvPr>
          <p:cNvSpPr txBox="1"/>
          <p:nvPr/>
        </p:nvSpPr>
        <p:spPr>
          <a:xfrm>
            <a:off x="4180319" y="2186696"/>
            <a:ext cx="702436" cy="184666"/>
          </a:xfrm>
          <a:prstGeom prst="rect">
            <a:avLst/>
          </a:prstGeom>
          <a:noFill/>
        </p:spPr>
        <p:txBody>
          <a:bodyPr wrap="none" rtlCol="0">
            <a:spAutoFit/>
          </a:bodyPr>
          <a:lstStyle/>
          <a:p>
            <a:r>
              <a:rPr lang="en-US" sz="600" b="1" dirty="0">
                <a:latin typeface="Arial" panose="020B0604020202020204" pitchFamily="34" charset="0"/>
                <a:cs typeface="Arial" panose="020B0604020202020204" pitchFamily="34" charset="0"/>
              </a:rPr>
              <a:t>S4-c/</a:t>
            </a:r>
            <a:r>
              <a:rPr lang="en-US" sz="600" b="1" dirty="0" err="1">
                <a:latin typeface="Arial" panose="020B0604020202020204" pitchFamily="34" charset="0"/>
                <a:cs typeface="Arial" panose="020B0604020202020204" pitchFamily="34" charset="0"/>
              </a:rPr>
              <a:t>Gn</a:t>
            </a:r>
            <a:r>
              <a:rPr lang="en-US" sz="600" b="1" dirty="0">
                <a:latin typeface="Arial" panose="020B0604020202020204" pitchFamily="34" charset="0"/>
                <a:cs typeface="Arial" panose="020B0604020202020204" pitchFamily="34" charset="0"/>
              </a:rPr>
              <a:t>-c/S11</a:t>
            </a:r>
          </a:p>
        </p:txBody>
      </p:sp>
      <p:sp>
        <p:nvSpPr>
          <p:cNvPr id="134" name="TextBox 133">
            <a:extLst>
              <a:ext uri="{FF2B5EF4-FFF2-40B4-BE49-F238E27FC236}">
                <a16:creationId xmlns:a16="http://schemas.microsoft.com/office/drawing/2014/main" id="{9A49F594-1F24-DC41-8AF7-2A1A9BD88DF8}"/>
              </a:ext>
            </a:extLst>
          </p:cNvPr>
          <p:cNvSpPr txBox="1"/>
          <p:nvPr/>
        </p:nvSpPr>
        <p:spPr>
          <a:xfrm>
            <a:off x="5937462" y="2054901"/>
            <a:ext cx="300082" cy="184666"/>
          </a:xfrm>
          <a:prstGeom prst="rect">
            <a:avLst/>
          </a:prstGeom>
          <a:noFill/>
        </p:spPr>
        <p:txBody>
          <a:bodyPr wrap="none" rtlCol="0">
            <a:spAutoFit/>
          </a:bodyPr>
          <a:lstStyle/>
          <a:p>
            <a:r>
              <a:rPr lang="en-US" sz="600" b="1" dirty="0">
                <a:latin typeface="Arial" panose="020B0604020202020204" pitchFamily="34" charset="0"/>
                <a:cs typeface="Arial" panose="020B0604020202020204" pitchFamily="34" charset="0"/>
              </a:rPr>
              <a:t>Gx</a:t>
            </a:r>
          </a:p>
        </p:txBody>
      </p:sp>
      <p:sp>
        <p:nvSpPr>
          <p:cNvPr id="135" name="TextBox 134">
            <a:extLst>
              <a:ext uri="{FF2B5EF4-FFF2-40B4-BE49-F238E27FC236}">
                <a16:creationId xmlns:a16="http://schemas.microsoft.com/office/drawing/2014/main" id="{E35749F4-1049-5E43-A8CF-D944A653789C}"/>
              </a:ext>
            </a:extLst>
          </p:cNvPr>
          <p:cNvSpPr txBox="1"/>
          <p:nvPr/>
        </p:nvSpPr>
        <p:spPr>
          <a:xfrm>
            <a:off x="6333527" y="1515213"/>
            <a:ext cx="287258"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Sp</a:t>
            </a:r>
            <a:endParaRPr lang="en-US" sz="600" b="1" dirty="0">
              <a:latin typeface="Arial" panose="020B0604020202020204" pitchFamily="34" charset="0"/>
              <a:cs typeface="Arial" panose="020B0604020202020204" pitchFamily="34" charset="0"/>
            </a:endParaRPr>
          </a:p>
        </p:txBody>
      </p:sp>
      <p:sp>
        <p:nvSpPr>
          <p:cNvPr id="136" name="TextBox 135">
            <a:extLst>
              <a:ext uri="{FF2B5EF4-FFF2-40B4-BE49-F238E27FC236}">
                <a16:creationId xmlns:a16="http://schemas.microsoft.com/office/drawing/2014/main" id="{9A370AE6-5448-DB4F-A309-1675D85B6DCF}"/>
              </a:ext>
            </a:extLst>
          </p:cNvPr>
          <p:cNvSpPr txBox="1"/>
          <p:nvPr/>
        </p:nvSpPr>
        <p:spPr>
          <a:xfrm>
            <a:off x="6651415" y="2585095"/>
            <a:ext cx="325780" cy="184666"/>
          </a:xfrm>
          <a:prstGeom prst="rect">
            <a:avLst/>
          </a:prstGeom>
          <a:noFill/>
        </p:spPr>
        <p:txBody>
          <a:bodyPr wrap="none" rtlCol="0">
            <a:spAutoFit/>
          </a:bodyPr>
          <a:lstStyle/>
          <a:p>
            <a:r>
              <a:rPr lang="en-US" sz="600" b="1" dirty="0">
                <a:latin typeface="Arial" panose="020B0604020202020204" pitchFamily="34" charset="0"/>
                <a:cs typeface="Arial" panose="020B0604020202020204" pitchFamily="34" charset="0"/>
              </a:rPr>
              <a:t>S6b</a:t>
            </a:r>
          </a:p>
        </p:txBody>
      </p:sp>
      <p:sp>
        <p:nvSpPr>
          <p:cNvPr id="137" name="TextBox 136">
            <a:extLst>
              <a:ext uri="{FF2B5EF4-FFF2-40B4-BE49-F238E27FC236}">
                <a16:creationId xmlns:a16="http://schemas.microsoft.com/office/drawing/2014/main" id="{154BAA94-1972-BB4F-8CDA-2A5D02D0E1DE}"/>
              </a:ext>
            </a:extLst>
          </p:cNvPr>
          <p:cNvSpPr txBox="1"/>
          <p:nvPr/>
        </p:nvSpPr>
        <p:spPr>
          <a:xfrm>
            <a:off x="5490083" y="3760883"/>
            <a:ext cx="364252"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Swm</a:t>
            </a:r>
            <a:endParaRPr lang="en-US" sz="600" b="1" dirty="0">
              <a:latin typeface="Arial" panose="020B0604020202020204" pitchFamily="34" charset="0"/>
              <a:cs typeface="Arial" panose="020B0604020202020204" pitchFamily="34" charset="0"/>
            </a:endParaRPr>
          </a:p>
        </p:txBody>
      </p:sp>
      <p:sp>
        <p:nvSpPr>
          <p:cNvPr id="138" name="TextBox 137">
            <a:extLst>
              <a:ext uri="{FF2B5EF4-FFF2-40B4-BE49-F238E27FC236}">
                <a16:creationId xmlns:a16="http://schemas.microsoft.com/office/drawing/2014/main" id="{3295BF8B-91F4-034F-94C8-4DA3EB397560}"/>
              </a:ext>
            </a:extLst>
          </p:cNvPr>
          <p:cNvSpPr txBox="1"/>
          <p:nvPr/>
        </p:nvSpPr>
        <p:spPr>
          <a:xfrm>
            <a:off x="6200700" y="3893365"/>
            <a:ext cx="351378"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Swa</a:t>
            </a:r>
            <a:endParaRPr lang="en-US" sz="600" b="1" dirty="0">
              <a:latin typeface="Arial" panose="020B0604020202020204" pitchFamily="34" charset="0"/>
              <a:cs typeface="Arial" panose="020B0604020202020204" pitchFamily="34" charset="0"/>
            </a:endParaRPr>
          </a:p>
        </p:txBody>
      </p:sp>
      <p:cxnSp>
        <p:nvCxnSpPr>
          <p:cNvPr id="139" name="Elbow Connector 138">
            <a:extLst>
              <a:ext uri="{FF2B5EF4-FFF2-40B4-BE49-F238E27FC236}">
                <a16:creationId xmlns:a16="http://schemas.microsoft.com/office/drawing/2014/main" id="{4A1F1510-D045-7941-BEBB-7914A5F6CE21}"/>
              </a:ext>
            </a:extLst>
          </p:cNvPr>
          <p:cNvCxnSpPr>
            <a:stCxn id="114" idx="1"/>
            <a:endCxn id="118" idx="0"/>
          </p:cNvCxnSpPr>
          <p:nvPr/>
        </p:nvCxnSpPr>
        <p:spPr>
          <a:xfrm rot="10800000" flipV="1">
            <a:off x="3993109" y="1297613"/>
            <a:ext cx="1944148" cy="533929"/>
          </a:xfrm>
          <a:prstGeom prst="bentConnector2">
            <a:avLst/>
          </a:prstGeom>
          <a:ln w="12700" cmpd="sng"/>
        </p:spPr>
        <p:style>
          <a:lnRef idx="2">
            <a:schemeClr val="accent1"/>
          </a:lnRef>
          <a:fillRef idx="0">
            <a:schemeClr val="accent1"/>
          </a:fillRef>
          <a:effectRef idx="1">
            <a:schemeClr val="accent1"/>
          </a:effectRef>
          <a:fontRef idx="minor">
            <a:schemeClr val="tx1"/>
          </a:fontRef>
        </p:style>
      </p:cxnSp>
      <p:sp>
        <p:nvSpPr>
          <p:cNvPr id="140" name="TextBox 139">
            <a:extLst>
              <a:ext uri="{FF2B5EF4-FFF2-40B4-BE49-F238E27FC236}">
                <a16:creationId xmlns:a16="http://schemas.microsoft.com/office/drawing/2014/main" id="{ED2A02D4-D9CE-8B4F-B26A-116ADE333135}"/>
              </a:ext>
            </a:extLst>
          </p:cNvPr>
          <p:cNvSpPr txBox="1"/>
          <p:nvPr/>
        </p:nvSpPr>
        <p:spPr>
          <a:xfrm>
            <a:off x="2126090" y="3891037"/>
            <a:ext cx="461986" cy="184666"/>
          </a:xfrm>
          <a:prstGeom prst="rect">
            <a:avLst/>
          </a:prstGeom>
          <a:noFill/>
        </p:spPr>
        <p:txBody>
          <a:bodyPr wrap="none" rtlCol="0">
            <a:spAutoFit/>
          </a:bodyPr>
          <a:lstStyle/>
          <a:p>
            <a:r>
              <a:rPr lang="en-US" sz="600" b="1" dirty="0">
                <a:latin typeface="Arial" panose="020B0604020202020204" pitchFamily="34" charset="0"/>
                <a:cs typeface="Arial" panose="020B0604020202020204" pitchFamily="34" charset="0"/>
              </a:rPr>
              <a:t>S2a/b-u</a:t>
            </a:r>
          </a:p>
        </p:txBody>
      </p:sp>
      <p:sp>
        <p:nvSpPr>
          <p:cNvPr id="141" name="TextBox 140">
            <a:extLst>
              <a:ext uri="{FF2B5EF4-FFF2-40B4-BE49-F238E27FC236}">
                <a16:creationId xmlns:a16="http://schemas.microsoft.com/office/drawing/2014/main" id="{BDDC446E-62CF-A24E-A0CC-6834F1C43A29}"/>
              </a:ext>
            </a:extLst>
          </p:cNvPr>
          <p:cNvSpPr txBox="1"/>
          <p:nvPr/>
        </p:nvSpPr>
        <p:spPr>
          <a:xfrm>
            <a:off x="8028939" y="3006822"/>
            <a:ext cx="325730"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SGi</a:t>
            </a:r>
            <a:endParaRPr lang="en-US" sz="600" b="1" dirty="0">
              <a:latin typeface="Arial" panose="020B0604020202020204" pitchFamily="34" charset="0"/>
              <a:cs typeface="Arial" panose="020B0604020202020204" pitchFamily="34" charset="0"/>
            </a:endParaRPr>
          </a:p>
        </p:txBody>
      </p:sp>
      <p:sp>
        <p:nvSpPr>
          <p:cNvPr id="142" name="Rounded Rectangle 141">
            <a:extLst>
              <a:ext uri="{FF2B5EF4-FFF2-40B4-BE49-F238E27FC236}">
                <a16:creationId xmlns:a16="http://schemas.microsoft.com/office/drawing/2014/main" id="{A693ACCD-C179-F043-8665-9A40F3EFDC8C}"/>
              </a:ext>
            </a:extLst>
          </p:cNvPr>
          <p:cNvSpPr/>
          <p:nvPr/>
        </p:nvSpPr>
        <p:spPr>
          <a:xfrm>
            <a:off x="5937257" y="2359140"/>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SAE-</a:t>
            </a:r>
            <a:r>
              <a:rPr lang="en-US" sz="800" dirty="0" err="1">
                <a:solidFill>
                  <a:schemeClr val="bg1">
                    <a:lumMod val="50000"/>
                  </a:schemeClr>
                </a:solidFill>
                <a:latin typeface="Arial" panose="020B0604020202020204" pitchFamily="34" charset="0"/>
                <a:cs typeface="Arial" panose="020B0604020202020204" pitchFamily="34" charset="0"/>
              </a:rPr>
              <a:t>GWc</a:t>
            </a:r>
            <a:endParaRPr lang="en-US" sz="800" dirty="0">
              <a:solidFill>
                <a:schemeClr val="bg1">
                  <a:lumMod val="50000"/>
                </a:schemeClr>
              </a:solidFill>
              <a:latin typeface="Arial" panose="020B0604020202020204" pitchFamily="34" charset="0"/>
              <a:cs typeface="Arial" panose="020B0604020202020204" pitchFamily="34" charset="0"/>
            </a:endParaRPr>
          </a:p>
        </p:txBody>
      </p:sp>
      <p:sp>
        <p:nvSpPr>
          <p:cNvPr id="143" name="TextBox 142">
            <a:extLst>
              <a:ext uri="{FF2B5EF4-FFF2-40B4-BE49-F238E27FC236}">
                <a16:creationId xmlns:a16="http://schemas.microsoft.com/office/drawing/2014/main" id="{A8278489-A651-314D-B6D6-98CD85874A01}"/>
              </a:ext>
            </a:extLst>
          </p:cNvPr>
          <p:cNvSpPr txBox="1"/>
          <p:nvPr/>
        </p:nvSpPr>
        <p:spPr>
          <a:xfrm>
            <a:off x="3373055" y="2496675"/>
            <a:ext cx="279244"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Sx</a:t>
            </a:r>
            <a:endParaRPr lang="en-US" sz="600" b="1" dirty="0">
              <a:latin typeface="Arial" panose="020B0604020202020204" pitchFamily="34" charset="0"/>
              <a:cs typeface="Arial" panose="020B0604020202020204" pitchFamily="34" charset="0"/>
            </a:endParaRPr>
          </a:p>
        </p:txBody>
      </p:sp>
      <p:cxnSp>
        <p:nvCxnSpPr>
          <p:cNvPr id="144" name="Elbow Connector 143">
            <a:extLst>
              <a:ext uri="{FF2B5EF4-FFF2-40B4-BE49-F238E27FC236}">
                <a16:creationId xmlns:a16="http://schemas.microsoft.com/office/drawing/2014/main" id="{76AC5F43-737B-2746-8C40-C71F6360682A}"/>
              </a:ext>
            </a:extLst>
          </p:cNvPr>
          <p:cNvCxnSpPr>
            <a:stCxn id="142" idx="1"/>
            <a:endCxn id="117" idx="0"/>
          </p:cNvCxnSpPr>
          <p:nvPr/>
        </p:nvCxnSpPr>
        <p:spPr>
          <a:xfrm rot="10800000" flipV="1">
            <a:off x="2981923" y="2488491"/>
            <a:ext cx="2955335" cy="481311"/>
          </a:xfrm>
          <a:prstGeom prst="bentConnector2">
            <a:avLst/>
          </a:prstGeom>
          <a:ln w="12700" cmpd="sng"/>
        </p:spPr>
        <p:style>
          <a:lnRef idx="2">
            <a:schemeClr val="accent1"/>
          </a:lnRef>
          <a:fillRef idx="0">
            <a:schemeClr val="accent1"/>
          </a:fillRef>
          <a:effectRef idx="1">
            <a:schemeClr val="accent1"/>
          </a:effectRef>
          <a:fontRef idx="minor">
            <a:schemeClr val="tx1"/>
          </a:fontRef>
        </p:style>
      </p:cxnSp>
      <p:cxnSp>
        <p:nvCxnSpPr>
          <p:cNvPr id="145" name="Elbow Connector 144">
            <a:extLst>
              <a:ext uri="{FF2B5EF4-FFF2-40B4-BE49-F238E27FC236}">
                <a16:creationId xmlns:a16="http://schemas.microsoft.com/office/drawing/2014/main" id="{DF4D2C53-3F91-3440-8705-91A27D15EF26}"/>
              </a:ext>
            </a:extLst>
          </p:cNvPr>
          <p:cNvCxnSpPr>
            <a:stCxn id="118" idx="2"/>
            <a:endCxn id="121" idx="0"/>
          </p:cNvCxnSpPr>
          <p:nvPr/>
        </p:nvCxnSpPr>
        <p:spPr>
          <a:xfrm rot="5400000">
            <a:off x="2450949" y="1470917"/>
            <a:ext cx="922831" cy="2161491"/>
          </a:xfrm>
          <a:prstGeom prst="bentConnector3">
            <a:avLst>
              <a:gd name="adj1" fmla="val 26482"/>
            </a:avLst>
          </a:prstGeom>
          <a:ln w="12700" cmpd="sng"/>
        </p:spPr>
        <p:style>
          <a:lnRef idx="2">
            <a:schemeClr val="accent1"/>
          </a:lnRef>
          <a:fillRef idx="0">
            <a:schemeClr val="accent1"/>
          </a:fillRef>
          <a:effectRef idx="1">
            <a:schemeClr val="accent1"/>
          </a:effectRef>
          <a:fontRef idx="minor">
            <a:schemeClr val="tx1"/>
          </a:fontRef>
        </p:style>
      </p:cxnSp>
      <p:cxnSp>
        <p:nvCxnSpPr>
          <p:cNvPr id="146" name="Elbow Connector 145">
            <a:extLst>
              <a:ext uri="{FF2B5EF4-FFF2-40B4-BE49-F238E27FC236}">
                <a16:creationId xmlns:a16="http://schemas.microsoft.com/office/drawing/2014/main" id="{DA31EEAE-B366-CE42-B2B1-B3E9299D243D}"/>
              </a:ext>
            </a:extLst>
          </p:cNvPr>
          <p:cNvCxnSpPr>
            <a:stCxn id="116" idx="1"/>
            <a:endCxn id="153" idx="0"/>
          </p:cNvCxnSpPr>
          <p:nvPr/>
        </p:nvCxnSpPr>
        <p:spPr>
          <a:xfrm rot="10800000" flipV="1">
            <a:off x="1871078" y="3770751"/>
            <a:ext cx="4065377" cy="175073"/>
          </a:xfrm>
          <a:prstGeom prst="bentConnector2">
            <a:avLst/>
          </a:prstGeom>
          <a:ln w="12700" cmpd="sng"/>
        </p:spPr>
        <p:style>
          <a:lnRef idx="2">
            <a:schemeClr val="accent1"/>
          </a:lnRef>
          <a:fillRef idx="0">
            <a:schemeClr val="accent1"/>
          </a:fillRef>
          <a:effectRef idx="1">
            <a:schemeClr val="accent1"/>
          </a:effectRef>
          <a:fontRef idx="minor">
            <a:schemeClr val="tx1"/>
          </a:fontRef>
        </p:style>
      </p:cxnSp>
      <p:sp>
        <p:nvSpPr>
          <p:cNvPr id="147" name="TextBox 146">
            <a:extLst>
              <a:ext uri="{FF2B5EF4-FFF2-40B4-BE49-F238E27FC236}">
                <a16:creationId xmlns:a16="http://schemas.microsoft.com/office/drawing/2014/main" id="{D5782EF9-4C3C-8B4C-AE46-7BD57C70D291}"/>
              </a:ext>
            </a:extLst>
          </p:cNvPr>
          <p:cNvSpPr txBox="1"/>
          <p:nvPr/>
        </p:nvSpPr>
        <p:spPr>
          <a:xfrm>
            <a:off x="5437181" y="3530051"/>
            <a:ext cx="458780" cy="184666"/>
          </a:xfrm>
          <a:prstGeom prst="rect">
            <a:avLst/>
          </a:prstGeom>
          <a:noFill/>
        </p:spPr>
        <p:txBody>
          <a:bodyPr wrap="none" rtlCol="0">
            <a:spAutoFit/>
          </a:bodyPr>
          <a:lstStyle/>
          <a:p>
            <a:r>
              <a:rPr lang="en-US" sz="600" b="1" dirty="0">
                <a:latin typeface="Arial" panose="020B0604020202020204" pitchFamily="34" charset="0"/>
                <a:cs typeface="Arial" panose="020B0604020202020204" pitchFamily="34" charset="0"/>
              </a:rPr>
              <a:t>S2a/b-c</a:t>
            </a:r>
          </a:p>
        </p:txBody>
      </p:sp>
      <p:cxnSp>
        <p:nvCxnSpPr>
          <p:cNvPr id="148" name="Elbow Connector 147">
            <a:extLst>
              <a:ext uri="{FF2B5EF4-FFF2-40B4-BE49-F238E27FC236}">
                <a16:creationId xmlns:a16="http://schemas.microsoft.com/office/drawing/2014/main" id="{C6E05886-E3FF-DA41-8663-BD7B4A56B624}"/>
              </a:ext>
            </a:extLst>
          </p:cNvPr>
          <p:cNvCxnSpPr/>
          <p:nvPr/>
        </p:nvCxnSpPr>
        <p:spPr>
          <a:xfrm rot="5400000" flipH="1" flipV="1">
            <a:off x="3387919" y="1085083"/>
            <a:ext cx="1327981" cy="4374273"/>
          </a:xfrm>
          <a:prstGeom prst="bentConnector3">
            <a:avLst>
              <a:gd name="adj1" fmla="val 32786"/>
            </a:avLst>
          </a:prstGeom>
          <a:ln w="12700" cmpd="sng"/>
        </p:spPr>
        <p:style>
          <a:lnRef idx="2">
            <a:schemeClr val="accent1"/>
          </a:lnRef>
          <a:fillRef idx="0">
            <a:schemeClr val="accent1"/>
          </a:fillRef>
          <a:effectRef idx="1">
            <a:schemeClr val="accent1"/>
          </a:effectRef>
          <a:fontRef idx="minor">
            <a:schemeClr val="tx1"/>
          </a:fontRef>
        </p:style>
      </p:cxnSp>
      <p:sp>
        <p:nvSpPr>
          <p:cNvPr id="149" name="TextBox 148">
            <a:extLst>
              <a:ext uri="{FF2B5EF4-FFF2-40B4-BE49-F238E27FC236}">
                <a16:creationId xmlns:a16="http://schemas.microsoft.com/office/drawing/2014/main" id="{CE464672-4AC3-6F40-86B6-F2486D5ACA7A}"/>
              </a:ext>
            </a:extLst>
          </p:cNvPr>
          <p:cNvSpPr txBox="1"/>
          <p:nvPr/>
        </p:nvSpPr>
        <p:spPr>
          <a:xfrm>
            <a:off x="4152403" y="4449652"/>
            <a:ext cx="279244"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Sx</a:t>
            </a:r>
            <a:endParaRPr lang="en-US" sz="600" b="1" dirty="0">
              <a:latin typeface="Arial" panose="020B0604020202020204" pitchFamily="34" charset="0"/>
              <a:cs typeface="Arial" panose="020B0604020202020204" pitchFamily="34" charset="0"/>
            </a:endParaRPr>
          </a:p>
        </p:txBody>
      </p:sp>
      <p:cxnSp>
        <p:nvCxnSpPr>
          <p:cNvPr id="150" name="Straight Connector 149">
            <a:extLst>
              <a:ext uri="{FF2B5EF4-FFF2-40B4-BE49-F238E27FC236}">
                <a16:creationId xmlns:a16="http://schemas.microsoft.com/office/drawing/2014/main" id="{FE702000-2DA2-1646-BA3D-EB8309060C4D}"/>
              </a:ext>
            </a:extLst>
          </p:cNvPr>
          <p:cNvCxnSpPr>
            <a:stCxn id="151" idx="1"/>
            <a:endCxn id="153" idx="3"/>
          </p:cNvCxnSpPr>
          <p:nvPr/>
        </p:nvCxnSpPr>
        <p:spPr>
          <a:xfrm flipH="1">
            <a:off x="2179170" y="4071460"/>
            <a:ext cx="5849450" cy="3717"/>
          </a:xfrm>
          <a:prstGeom prst="line">
            <a:avLst/>
          </a:prstGeom>
          <a:ln w="12700" cmpd="sng"/>
        </p:spPr>
        <p:style>
          <a:lnRef idx="2">
            <a:schemeClr val="accent1"/>
          </a:lnRef>
          <a:fillRef idx="0">
            <a:schemeClr val="accent1"/>
          </a:fillRef>
          <a:effectRef idx="1">
            <a:schemeClr val="accent1"/>
          </a:effectRef>
          <a:fontRef idx="minor">
            <a:schemeClr val="tx1"/>
          </a:fontRef>
        </p:style>
      </p:cxnSp>
      <p:sp>
        <p:nvSpPr>
          <p:cNvPr id="151" name="TextBox 150">
            <a:extLst>
              <a:ext uri="{FF2B5EF4-FFF2-40B4-BE49-F238E27FC236}">
                <a16:creationId xmlns:a16="http://schemas.microsoft.com/office/drawing/2014/main" id="{7D4C9A9D-D9AC-A040-AE81-07A18F51F294}"/>
              </a:ext>
            </a:extLst>
          </p:cNvPr>
          <p:cNvSpPr txBox="1"/>
          <p:nvPr/>
        </p:nvSpPr>
        <p:spPr>
          <a:xfrm>
            <a:off x="8028620" y="3979127"/>
            <a:ext cx="325730"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SGi</a:t>
            </a:r>
            <a:endParaRPr lang="en-US" sz="600" b="1" dirty="0">
              <a:latin typeface="Arial" panose="020B0604020202020204" pitchFamily="34" charset="0"/>
              <a:cs typeface="Arial" panose="020B0604020202020204" pitchFamily="34" charset="0"/>
            </a:endParaRPr>
          </a:p>
        </p:txBody>
      </p:sp>
      <p:sp>
        <p:nvSpPr>
          <p:cNvPr id="152" name="Rounded Rectangle 151">
            <a:extLst>
              <a:ext uri="{FF2B5EF4-FFF2-40B4-BE49-F238E27FC236}">
                <a16:creationId xmlns:a16="http://schemas.microsoft.com/office/drawing/2014/main" id="{9A76C99A-7A12-6942-A344-3DC962FC56CC}"/>
              </a:ext>
            </a:extLst>
          </p:cNvPr>
          <p:cNvSpPr/>
          <p:nvPr/>
        </p:nvSpPr>
        <p:spPr>
          <a:xfrm>
            <a:off x="2509417" y="3945825"/>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SAEGW-u</a:t>
            </a:r>
          </a:p>
          <a:p>
            <a:pPr algn="ctr"/>
            <a:r>
              <a:rPr lang="en-US" sz="800" dirty="0">
                <a:solidFill>
                  <a:schemeClr val="bg1">
                    <a:lumMod val="50000"/>
                  </a:schemeClr>
                </a:solidFill>
                <a:latin typeface="Arial" panose="020B0604020202020204" pitchFamily="34" charset="0"/>
                <a:cs typeface="Arial" panose="020B0604020202020204" pitchFamily="34" charset="0"/>
              </a:rPr>
              <a:t>ADC &amp; ECS</a:t>
            </a:r>
          </a:p>
        </p:txBody>
      </p:sp>
      <p:sp>
        <p:nvSpPr>
          <p:cNvPr id="153" name="Rounded Rectangle 152">
            <a:extLst>
              <a:ext uri="{FF2B5EF4-FFF2-40B4-BE49-F238E27FC236}">
                <a16:creationId xmlns:a16="http://schemas.microsoft.com/office/drawing/2014/main" id="{A930D8CE-6FB3-A64B-B0A9-B7DE3569B95B}"/>
              </a:ext>
            </a:extLst>
          </p:cNvPr>
          <p:cNvSpPr/>
          <p:nvPr/>
        </p:nvSpPr>
        <p:spPr>
          <a:xfrm>
            <a:off x="1562984" y="3945825"/>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SaMOG</a:t>
            </a:r>
          </a:p>
          <a:p>
            <a:pPr algn="ctr"/>
            <a:r>
              <a:rPr lang="en-US" sz="800" dirty="0">
                <a:solidFill>
                  <a:schemeClr val="bg1">
                    <a:lumMod val="50000"/>
                  </a:schemeClr>
                </a:solidFill>
                <a:latin typeface="Arial" panose="020B0604020202020204" pitchFamily="34" charset="0"/>
                <a:cs typeface="Arial" panose="020B0604020202020204" pitchFamily="34" charset="0"/>
              </a:rPr>
              <a:t>/ePDG</a:t>
            </a:r>
          </a:p>
        </p:txBody>
      </p:sp>
      <p:cxnSp>
        <p:nvCxnSpPr>
          <p:cNvPr id="154" name="Elbow Connector 153">
            <a:extLst>
              <a:ext uri="{FF2B5EF4-FFF2-40B4-BE49-F238E27FC236}">
                <a16:creationId xmlns:a16="http://schemas.microsoft.com/office/drawing/2014/main" id="{1FDD0FAC-605B-C949-BDC4-2C9D0038514C}"/>
              </a:ext>
            </a:extLst>
          </p:cNvPr>
          <p:cNvCxnSpPr/>
          <p:nvPr/>
        </p:nvCxnSpPr>
        <p:spPr>
          <a:xfrm rot="5400000" flipH="1" flipV="1">
            <a:off x="2701141" y="2589701"/>
            <a:ext cx="1462881" cy="1230142"/>
          </a:xfrm>
          <a:prstGeom prst="bentConnector3">
            <a:avLst>
              <a:gd name="adj1" fmla="val 21247"/>
            </a:avLst>
          </a:prstGeom>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A3928F95-3733-1749-9B1A-73FE2891205C}"/>
              </a:ext>
            </a:extLst>
          </p:cNvPr>
          <p:cNvSpPr txBox="1"/>
          <p:nvPr/>
        </p:nvSpPr>
        <p:spPr>
          <a:xfrm>
            <a:off x="4021382" y="2566836"/>
            <a:ext cx="279244"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Sx</a:t>
            </a:r>
            <a:endParaRPr lang="en-US" sz="600" b="1" dirty="0">
              <a:latin typeface="Arial" panose="020B0604020202020204" pitchFamily="34" charset="0"/>
              <a:cs typeface="Arial" panose="020B0604020202020204" pitchFamily="34" charset="0"/>
            </a:endParaRPr>
          </a:p>
        </p:txBody>
      </p:sp>
      <p:cxnSp>
        <p:nvCxnSpPr>
          <p:cNvPr id="156" name="Elbow Connector 155">
            <a:extLst>
              <a:ext uri="{FF2B5EF4-FFF2-40B4-BE49-F238E27FC236}">
                <a16:creationId xmlns:a16="http://schemas.microsoft.com/office/drawing/2014/main" id="{262A35F1-5FE2-9D49-BB67-D6F0D9D6A1AD}"/>
              </a:ext>
            </a:extLst>
          </p:cNvPr>
          <p:cNvCxnSpPr>
            <a:stCxn id="116" idx="3"/>
          </p:cNvCxnSpPr>
          <p:nvPr/>
        </p:nvCxnSpPr>
        <p:spPr>
          <a:xfrm flipH="1" flipV="1">
            <a:off x="6552078" y="2473331"/>
            <a:ext cx="562" cy="1297421"/>
          </a:xfrm>
          <a:prstGeom prst="bentConnector4">
            <a:avLst>
              <a:gd name="adj1" fmla="val -65081851"/>
              <a:gd name="adj2" fmla="val 97977"/>
            </a:avLst>
          </a:prstGeom>
        </p:spPr>
        <p:style>
          <a:lnRef idx="1">
            <a:schemeClr val="accent1"/>
          </a:lnRef>
          <a:fillRef idx="0">
            <a:schemeClr val="accent1"/>
          </a:fillRef>
          <a:effectRef idx="0">
            <a:schemeClr val="accent1"/>
          </a:effectRef>
          <a:fontRef idx="minor">
            <a:schemeClr val="tx1"/>
          </a:fontRef>
        </p:style>
      </p:cxnSp>
      <p:cxnSp>
        <p:nvCxnSpPr>
          <p:cNvPr id="157" name="Elbow Connector 156">
            <a:extLst>
              <a:ext uri="{FF2B5EF4-FFF2-40B4-BE49-F238E27FC236}">
                <a16:creationId xmlns:a16="http://schemas.microsoft.com/office/drawing/2014/main" id="{1D3826C4-883C-114D-85C4-ED2C041BEEC0}"/>
              </a:ext>
            </a:extLst>
          </p:cNvPr>
          <p:cNvCxnSpPr/>
          <p:nvPr/>
        </p:nvCxnSpPr>
        <p:spPr>
          <a:xfrm rot="10800000" flipV="1">
            <a:off x="2981120" y="2168474"/>
            <a:ext cx="1010650" cy="763082"/>
          </a:xfrm>
          <a:prstGeom prst="bentConnector2">
            <a:avLst/>
          </a:prstGeom>
          <a:ln w="12700" cmpd="sng"/>
        </p:spPr>
        <p:style>
          <a:lnRef idx="2">
            <a:schemeClr val="accent1"/>
          </a:lnRef>
          <a:fillRef idx="0">
            <a:schemeClr val="accent1"/>
          </a:fillRef>
          <a:effectRef idx="1">
            <a:schemeClr val="accent1"/>
          </a:effectRef>
          <a:fontRef idx="minor">
            <a:schemeClr val="tx1"/>
          </a:fontRef>
        </p:style>
      </p:cxnSp>
      <p:sp>
        <p:nvSpPr>
          <p:cNvPr id="158" name="Rectangle 157">
            <a:extLst>
              <a:ext uri="{FF2B5EF4-FFF2-40B4-BE49-F238E27FC236}">
                <a16:creationId xmlns:a16="http://schemas.microsoft.com/office/drawing/2014/main" id="{5598166C-2E71-E14A-A41E-702BE12DBC6C}"/>
              </a:ext>
            </a:extLst>
          </p:cNvPr>
          <p:cNvSpPr/>
          <p:nvPr/>
        </p:nvSpPr>
        <p:spPr>
          <a:xfrm>
            <a:off x="3043464" y="1996086"/>
            <a:ext cx="550151" cy="184666"/>
          </a:xfrm>
          <a:prstGeom prst="rect">
            <a:avLst/>
          </a:prstGeom>
        </p:spPr>
        <p:txBody>
          <a:bodyPr wrap="none">
            <a:spAutoFit/>
          </a:bodyPr>
          <a:lstStyle/>
          <a:p>
            <a:r>
              <a:rPr lang="en-US" sz="600" b="1" dirty="0">
                <a:latin typeface="Arial" panose="020B0604020202020204" pitchFamily="34" charset="0"/>
                <a:cs typeface="Arial" panose="020B0604020202020204" pitchFamily="34" charset="0"/>
              </a:rPr>
              <a:t>S4-u/</a:t>
            </a:r>
            <a:r>
              <a:rPr lang="en-US" sz="600" b="1" dirty="0" err="1">
                <a:latin typeface="Arial" panose="020B0604020202020204" pitchFamily="34" charset="0"/>
                <a:cs typeface="Arial" panose="020B0604020202020204" pitchFamily="34" charset="0"/>
              </a:rPr>
              <a:t>Gn</a:t>
            </a:r>
            <a:r>
              <a:rPr lang="en-US" sz="600" b="1" dirty="0">
                <a:latin typeface="Arial" panose="020B0604020202020204" pitchFamily="34" charset="0"/>
                <a:cs typeface="Arial" panose="020B0604020202020204" pitchFamily="34" charset="0"/>
              </a:rPr>
              <a:t>-u</a:t>
            </a:r>
            <a:endParaRPr lang="en-ZA" sz="1400" dirty="0"/>
          </a:p>
        </p:txBody>
      </p:sp>
      <p:sp>
        <p:nvSpPr>
          <p:cNvPr id="159" name="Rounded Rectangle 158">
            <a:extLst>
              <a:ext uri="{FF2B5EF4-FFF2-40B4-BE49-F238E27FC236}">
                <a16:creationId xmlns:a16="http://schemas.microsoft.com/office/drawing/2014/main" id="{4E144C4D-2494-F446-9C0E-7CE5EB054F70}"/>
              </a:ext>
            </a:extLst>
          </p:cNvPr>
          <p:cNvSpPr/>
          <p:nvPr/>
        </p:nvSpPr>
        <p:spPr>
          <a:xfrm>
            <a:off x="7412753" y="1737382"/>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MURAL</a:t>
            </a:r>
          </a:p>
        </p:txBody>
      </p:sp>
      <p:cxnSp>
        <p:nvCxnSpPr>
          <p:cNvPr id="160" name="Straight Connector 159">
            <a:extLst>
              <a:ext uri="{FF2B5EF4-FFF2-40B4-BE49-F238E27FC236}">
                <a16:creationId xmlns:a16="http://schemas.microsoft.com/office/drawing/2014/main" id="{3A91318D-DD14-3547-8173-744AD10AF693}"/>
              </a:ext>
            </a:extLst>
          </p:cNvPr>
          <p:cNvCxnSpPr>
            <a:stCxn id="142" idx="0"/>
            <a:endCxn id="159" idx="1"/>
          </p:cNvCxnSpPr>
          <p:nvPr/>
        </p:nvCxnSpPr>
        <p:spPr>
          <a:xfrm flipV="1">
            <a:off x="6245350" y="1866734"/>
            <a:ext cx="1167403" cy="492406"/>
          </a:xfrm>
          <a:prstGeom prst="line">
            <a:avLst/>
          </a:prstGeom>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C8CEA23B-C527-A341-AFE2-9330814357F3}"/>
              </a:ext>
            </a:extLst>
          </p:cNvPr>
          <p:cNvSpPr txBox="1"/>
          <p:nvPr/>
        </p:nvSpPr>
        <p:spPr>
          <a:xfrm>
            <a:off x="6659346" y="1941977"/>
            <a:ext cx="372218"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sFTP</a:t>
            </a:r>
            <a:endParaRPr lang="en-US" sz="600" b="1" dirty="0">
              <a:latin typeface="Arial" panose="020B0604020202020204" pitchFamily="34" charset="0"/>
              <a:cs typeface="Arial" panose="020B0604020202020204" pitchFamily="34" charset="0"/>
            </a:endParaRPr>
          </a:p>
        </p:txBody>
      </p:sp>
      <p:sp>
        <p:nvSpPr>
          <p:cNvPr id="162" name="Rounded Rectangle 161">
            <a:extLst>
              <a:ext uri="{FF2B5EF4-FFF2-40B4-BE49-F238E27FC236}">
                <a16:creationId xmlns:a16="http://schemas.microsoft.com/office/drawing/2014/main" id="{544A403C-6B01-D24B-900E-B6CEA55DE7C4}"/>
              </a:ext>
            </a:extLst>
          </p:cNvPr>
          <p:cNvSpPr/>
          <p:nvPr/>
        </p:nvSpPr>
        <p:spPr>
          <a:xfrm>
            <a:off x="3161662" y="3946351"/>
            <a:ext cx="90295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err="1">
                <a:solidFill>
                  <a:schemeClr val="bg1">
                    <a:lumMod val="50000"/>
                  </a:schemeClr>
                </a:solidFill>
              </a:rPr>
              <a:t>GiLAN</a:t>
            </a:r>
            <a:r>
              <a:rPr lang="en-US" sz="800" dirty="0">
                <a:solidFill>
                  <a:schemeClr val="bg1">
                    <a:lumMod val="50000"/>
                  </a:schemeClr>
                </a:solidFill>
              </a:rPr>
              <a:t> </a:t>
            </a:r>
            <a:r>
              <a:rPr lang="en-US" sz="800" dirty="0" err="1">
                <a:solidFill>
                  <a:schemeClr val="bg1">
                    <a:lumMod val="50000"/>
                  </a:schemeClr>
                </a:solidFill>
              </a:rPr>
              <a:t>Svcs</a:t>
            </a:r>
            <a:r>
              <a:rPr lang="en-US" sz="800" dirty="0">
                <a:solidFill>
                  <a:schemeClr val="bg1">
                    <a:lumMod val="50000"/>
                  </a:schemeClr>
                </a:solidFill>
              </a:rPr>
              <a:t>.</a:t>
            </a:r>
          </a:p>
          <a:p>
            <a:pPr algn="ctr"/>
            <a:r>
              <a:rPr lang="en-US" sz="800" dirty="0">
                <a:solidFill>
                  <a:schemeClr val="bg1">
                    <a:lumMod val="50000"/>
                  </a:schemeClr>
                </a:solidFill>
              </a:rPr>
              <a:t>TCP/Video Opt.</a:t>
            </a:r>
          </a:p>
        </p:txBody>
      </p:sp>
      <p:sp>
        <p:nvSpPr>
          <p:cNvPr id="163" name="Rounded Rectangle 162">
            <a:extLst>
              <a:ext uri="{FF2B5EF4-FFF2-40B4-BE49-F238E27FC236}">
                <a16:creationId xmlns:a16="http://schemas.microsoft.com/office/drawing/2014/main" id="{5BE0625B-E9D2-174B-A1FC-E3245B8A44E6}"/>
              </a:ext>
            </a:extLst>
          </p:cNvPr>
          <p:cNvSpPr/>
          <p:nvPr/>
        </p:nvSpPr>
        <p:spPr>
          <a:xfrm>
            <a:off x="3318856" y="2971760"/>
            <a:ext cx="761951"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err="1">
                <a:solidFill>
                  <a:schemeClr val="bg1">
                    <a:lumMod val="50000"/>
                  </a:schemeClr>
                </a:solidFill>
              </a:rPr>
              <a:t>GiLAN</a:t>
            </a:r>
            <a:r>
              <a:rPr lang="en-US" sz="800" dirty="0">
                <a:solidFill>
                  <a:schemeClr val="bg1">
                    <a:lumMod val="50000"/>
                  </a:schemeClr>
                </a:solidFill>
              </a:rPr>
              <a:t> </a:t>
            </a:r>
            <a:r>
              <a:rPr lang="en-US" sz="800" dirty="0" err="1">
                <a:solidFill>
                  <a:schemeClr val="bg1">
                    <a:lumMod val="50000"/>
                  </a:schemeClr>
                </a:solidFill>
              </a:rPr>
              <a:t>Svcs</a:t>
            </a:r>
            <a:r>
              <a:rPr lang="en-US" sz="800" dirty="0">
                <a:solidFill>
                  <a:schemeClr val="bg1">
                    <a:lumMod val="50000"/>
                  </a:schemeClr>
                </a:solidFill>
              </a:rPr>
              <a:t>.</a:t>
            </a:r>
          </a:p>
          <a:p>
            <a:pPr algn="ctr"/>
            <a:r>
              <a:rPr lang="en-US" sz="800" dirty="0">
                <a:solidFill>
                  <a:schemeClr val="bg1">
                    <a:lumMod val="50000"/>
                  </a:schemeClr>
                </a:solidFill>
              </a:rPr>
              <a:t>TCP/Video Opt.</a:t>
            </a:r>
          </a:p>
        </p:txBody>
      </p:sp>
      <p:sp>
        <p:nvSpPr>
          <p:cNvPr id="171" name="Rounded Rectangle 170">
            <a:extLst>
              <a:ext uri="{FF2B5EF4-FFF2-40B4-BE49-F238E27FC236}">
                <a16:creationId xmlns:a16="http://schemas.microsoft.com/office/drawing/2014/main" id="{388C1184-DBEE-A848-AD37-B343DC06974D}"/>
              </a:ext>
            </a:extLst>
          </p:cNvPr>
          <p:cNvSpPr/>
          <p:nvPr/>
        </p:nvSpPr>
        <p:spPr>
          <a:xfrm>
            <a:off x="7408436" y="2223534"/>
            <a:ext cx="616186" cy="258704"/>
          </a:xfrm>
          <a:prstGeom prst="roundRect">
            <a:avLst/>
          </a:prstGeom>
          <a:solidFill>
            <a:schemeClr val="bg2">
              <a:lumMod val="85000"/>
            </a:schemeClr>
          </a:solidFill>
          <a:ln w="12700"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800" dirty="0">
                <a:solidFill>
                  <a:schemeClr val="bg1">
                    <a:lumMod val="50000"/>
                  </a:schemeClr>
                </a:solidFill>
                <a:latin typeface="Arial" panose="020B0604020202020204" pitchFamily="34" charset="0"/>
                <a:cs typeface="Arial" panose="020B0604020202020204" pitchFamily="34" charset="0"/>
              </a:rPr>
              <a:t>OCS</a:t>
            </a:r>
          </a:p>
        </p:txBody>
      </p:sp>
      <p:cxnSp>
        <p:nvCxnSpPr>
          <p:cNvPr id="172" name="Straight Connector 171">
            <a:extLst>
              <a:ext uri="{FF2B5EF4-FFF2-40B4-BE49-F238E27FC236}">
                <a16:creationId xmlns:a16="http://schemas.microsoft.com/office/drawing/2014/main" id="{78290745-7ECD-6946-9764-D65AEC604977}"/>
              </a:ext>
            </a:extLst>
          </p:cNvPr>
          <p:cNvCxnSpPr>
            <a:cxnSpLocks/>
            <a:stCxn id="167" idx="3"/>
            <a:endCxn id="171" idx="1"/>
          </p:cNvCxnSpPr>
          <p:nvPr/>
        </p:nvCxnSpPr>
        <p:spPr>
          <a:xfrm flipV="1">
            <a:off x="6614610" y="2352886"/>
            <a:ext cx="793826" cy="125465"/>
          </a:xfrm>
          <a:prstGeom prst="line">
            <a:avLst/>
          </a:prstGeom>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1C8DE3AD-D8BB-8948-A6BF-9010C93FB4DC}"/>
              </a:ext>
            </a:extLst>
          </p:cNvPr>
          <p:cNvSpPr txBox="1"/>
          <p:nvPr/>
        </p:nvSpPr>
        <p:spPr>
          <a:xfrm>
            <a:off x="6820979" y="2266807"/>
            <a:ext cx="287258" cy="184666"/>
          </a:xfrm>
          <a:prstGeom prst="rect">
            <a:avLst/>
          </a:prstGeom>
          <a:noFill/>
        </p:spPr>
        <p:txBody>
          <a:bodyPr wrap="none" rtlCol="0">
            <a:spAutoFit/>
          </a:bodyPr>
          <a:lstStyle/>
          <a:p>
            <a:r>
              <a:rPr lang="en-US" sz="600" b="1" dirty="0" err="1">
                <a:latin typeface="Arial" panose="020B0604020202020204" pitchFamily="34" charset="0"/>
                <a:cs typeface="Arial" panose="020B0604020202020204" pitchFamily="34" charset="0"/>
              </a:rPr>
              <a:t>Gy</a:t>
            </a:r>
            <a:endParaRPr lang="en-US" sz="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332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7B5EF59-CAB6-40A2-9D3A-8C1A91F24A2F}"/>
              </a:ext>
            </a:extLst>
          </p:cNvPr>
          <p:cNvSpPr/>
          <p:nvPr/>
        </p:nvSpPr>
        <p:spPr>
          <a:xfrm>
            <a:off x="1643264" y="2686136"/>
            <a:ext cx="1779951" cy="328926"/>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ZA" dirty="0"/>
          </a:p>
        </p:txBody>
      </p:sp>
      <p:sp>
        <p:nvSpPr>
          <p:cNvPr id="2" name="Title 1">
            <a:extLst>
              <a:ext uri="{FF2B5EF4-FFF2-40B4-BE49-F238E27FC236}">
                <a16:creationId xmlns:a16="http://schemas.microsoft.com/office/drawing/2014/main" id="{13C3F10F-0BAB-1D4F-8B99-D4F2276679FE}"/>
              </a:ext>
            </a:extLst>
          </p:cNvPr>
          <p:cNvSpPr>
            <a:spLocks noGrp="1"/>
          </p:cNvSpPr>
          <p:nvPr>
            <p:ph type="title"/>
          </p:nvPr>
        </p:nvSpPr>
        <p:spPr/>
        <p:txBody>
          <a:bodyPr/>
          <a:lstStyle/>
          <a:p>
            <a:r>
              <a:rPr lang="en-US" dirty="0"/>
              <a:t>Distributed Architecture for Data Growth</a:t>
            </a:r>
          </a:p>
        </p:txBody>
      </p:sp>
      <p:sp>
        <p:nvSpPr>
          <p:cNvPr id="75" name="Cloud 74">
            <a:extLst>
              <a:ext uri="{FF2B5EF4-FFF2-40B4-BE49-F238E27FC236}">
                <a16:creationId xmlns:a16="http://schemas.microsoft.com/office/drawing/2014/main" id="{437FC67B-53D2-5241-A1CF-F184E0C315C4}"/>
              </a:ext>
            </a:extLst>
          </p:cNvPr>
          <p:cNvSpPr/>
          <p:nvPr/>
        </p:nvSpPr>
        <p:spPr>
          <a:xfrm>
            <a:off x="4892510" y="1141712"/>
            <a:ext cx="2348290" cy="1268493"/>
          </a:xfrm>
          <a:prstGeom prst="cloud">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latin typeface="Arial"/>
              </a:rPr>
              <a:t>IP Core</a:t>
            </a:r>
          </a:p>
        </p:txBody>
      </p:sp>
      <p:sp>
        <p:nvSpPr>
          <p:cNvPr id="95" name="Cloud 94">
            <a:extLst>
              <a:ext uri="{FF2B5EF4-FFF2-40B4-BE49-F238E27FC236}">
                <a16:creationId xmlns:a16="http://schemas.microsoft.com/office/drawing/2014/main" id="{A6D32B4C-814C-DA47-82F7-EE11A6915AF2}"/>
              </a:ext>
            </a:extLst>
          </p:cNvPr>
          <p:cNvSpPr/>
          <p:nvPr/>
        </p:nvSpPr>
        <p:spPr>
          <a:xfrm>
            <a:off x="2425153" y="1141712"/>
            <a:ext cx="2348290" cy="1268493"/>
          </a:xfrm>
          <a:prstGeom prst="cloud">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200" b="1" kern="0" dirty="0">
                <a:solidFill>
                  <a:srgbClr val="002060"/>
                </a:solidFill>
                <a:latin typeface="Arial"/>
              </a:rPr>
              <a:t>Backhaul</a:t>
            </a:r>
            <a:endParaRPr kumimoji="0" lang="en-US" sz="1200" b="1" i="0" u="none" strike="noStrike" kern="0" cap="none" spc="0" normalizeH="0" baseline="0" noProof="0" dirty="0">
              <a:ln>
                <a:noFill/>
              </a:ln>
              <a:solidFill>
                <a:srgbClr val="002060"/>
              </a:solidFill>
              <a:effectLst/>
              <a:uLnTx/>
              <a:uFillTx/>
              <a:latin typeface="Arial"/>
            </a:endParaRPr>
          </a:p>
        </p:txBody>
      </p:sp>
      <p:cxnSp>
        <p:nvCxnSpPr>
          <p:cNvPr id="96" name="Straight Connector 95">
            <a:extLst>
              <a:ext uri="{FF2B5EF4-FFF2-40B4-BE49-F238E27FC236}">
                <a16:creationId xmlns:a16="http://schemas.microsoft.com/office/drawing/2014/main" id="{7865FB17-00AD-6F46-B9E9-EFC5BC2E5A14}"/>
              </a:ext>
            </a:extLst>
          </p:cNvPr>
          <p:cNvCxnSpPr>
            <a:cxnSpLocks/>
            <a:stCxn id="75" idx="2"/>
            <a:endCxn id="95" idx="0"/>
          </p:cNvCxnSpPr>
          <p:nvPr/>
        </p:nvCxnSpPr>
        <p:spPr>
          <a:xfrm flipH="1">
            <a:off x="4771486" y="1775959"/>
            <a:ext cx="128308" cy="0"/>
          </a:xfrm>
          <a:prstGeom prst="line">
            <a:avLst/>
          </a:prstGeom>
        </p:spPr>
        <p:style>
          <a:lnRef idx="1">
            <a:schemeClr val="accent1"/>
          </a:lnRef>
          <a:fillRef idx="0">
            <a:schemeClr val="accent1"/>
          </a:fillRef>
          <a:effectRef idx="0">
            <a:schemeClr val="accent1"/>
          </a:effectRef>
          <a:fontRef idx="minor">
            <a:schemeClr val="tx1"/>
          </a:fontRef>
        </p:style>
      </p:cxnSp>
      <p:sp>
        <p:nvSpPr>
          <p:cNvPr id="114" name="Freeform 113">
            <a:extLst>
              <a:ext uri="{FF2B5EF4-FFF2-40B4-BE49-F238E27FC236}">
                <a16:creationId xmlns:a16="http://schemas.microsoft.com/office/drawing/2014/main" id="{1DFDE8B8-C0A2-DC49-B806-55ADD9BEB935}"/>
              </a:ext>
            </a:extLst>
          </p:cNvPr>
          <p:cNvSpPr>
            <a:spLocks noEditPoints="1"/>
          </p:cNvSpPr>
          <p:nvPr/>
        </p:nvSpPr>
        <p:spPr bwMode="auto">
          <a:xfrm>
            <a:off x="1570406" y="1348707"/>
            <a:ext cx="363029" cy="574390"/>
          </a:xfrm>
          <a:custGeom>
            <a:avLst/>
            <a:gdLst/>
            <a:ahLst/>
            <a:cxnLst>
              <a:cxn ang="0">
                <a:pos x="322" y="319"/>
              </a:cxn>
              <a:cxn ang="0">
                <a:pos x="291" y="73"/>
              </a:cxn>
              <a:cxn ang="0">
                <a:pos x="291" y="565"/>
              </a:cxn>
              <a:cxn ang="0">
                <a:pos x="98" y="319"/>
              </a:cxn>
              <a:cxn ang="0">
                <a:pos x="97" y="0"/>
              </a:cxn>
              <a:cxn ang="0">
                <a:pos x="97" y="638"/>
              </a:cxn>
              <a:cxn ang="0">
                <a:pos x="98" y="319"/>
              </a:cxn>
              <a:cxn ang="0">
                <a:pos x="1056" y="319"/>
              </a:cxn>
              <a:cxn ang="0">
                <a:pos x="887" y="109"/>
              </a:cxn>
              <a:cxn ang="0">
                <a:pos x="887" y="529"/>
              </a:cxn>
              <a:cxn ang="0">
                <a:pos x="759" y="477"/>
              </a:cxn>
              <a:cxn ang="0">
                <a:pos x="636" y="120"/>
              </a:cxn>
              <a:cxn ang="0">
                <a:pos x="514" y="477"/>
              </a:cxn>
              <a:cxn ang="0">
                <a:pos x="164" y="1475"/>
              </a:cxn>
              <a:cxn ang="0">
                <a:pos x="342" y="1315"/>
              </a:cxn>
              <a:cxn ang="0">
                <a:pos x="987" y="1475"/>
              </a:cxn>
              <a:cxn ang="0">
                <a:pos x="807" y="615"/>
              </a:cxn>
              <a:cxn ang="0">
                <a:pos x="621" y="519"/>
              </a:cxn>
              <a:cxn ang="0">
                <a:pos x="652" y="519"/>
              </a:cxn>
              <a:cxn ang="0">
                <a:pos x="589" y="609"/>
              </a:cxn>
              <a:cxn ang="0">
                <a:pos x="547" y="728"/>
              </a:cxn>
              <a:cxn ang="0">
                <a:pos x="569" y="718"/>
              </a:cxn>
              <a:cxn ang="0">
                <a:pos x="753" y="808"/>
              </a:cxn>
              <a:cxn ang="0">
                <a:pos x="547" y="728"/>
              </a:cxn>
              <a:cxn ang="0">
                <a:pos x="380" y="1206"/>
              </a:cxn>
              <a:cxn ang="0">
                <a:pos x="861" y="1116"/>
              </a:cxn>
              <a:cxn ang="0">
                <a:pos x="450" y="1007"/>
              </a:cxn>
              <a:cxn ang="0">
                <a:pos x="792" y="917"/>
              </a:cxn>
              <a:cxn ang="0">
                <a:pos x="450" y="1007"/>
              </a:cxn>
              <a:cxn ang="0">
                <a:pos x="1088" y="33"/>
              </a:cxn>
              <a:cxn ang="0">
                <a:pos x="1114" y="561"/>
              </a:cxn>
              <a:cxn ang="0">
                <a:pos x="1176" y="638"/>
              </a:cxn>
              <a:cxn ang="0">
                <a:pos x="1272" y="319"/>
              </a:cxn>
            </a:cxnLst>
            <a:rect l="0" t="0" r="r" b="b"/>
            <a:pathLst>
              <a:path w="1272" h="1475">
                <a:moveTo>
                  <a:pt x="386" y="529"/>
                </a:moveTo>
                <a:cubicBezTo>
                  <a:pt x="345" y="466"/>
                  <a:pt x="322" y="394"/>
                  <a:pt x="322" y="319"/>
                </a:cubicBezTo>
                <a:cubicBezTo>
                  <a:pt x="322" y="244"/>
                  <a:pt x="345" y="172"/>
                  <a:pt x="386" y="109"/>
                </a:cubicBezTo>
                <a:cubicBezTo>
                  <a:pt x="291" y="73"/>
                  <a:pt x="291" y="73"/>
                  <a:pt x="291" y="73"/>
                </a:cubicBezTo>
                <a:cubicBezTo>
                  <a:pt x="243" y="147"/>
                  <a:pt x="217" y="231"/>
                  <a:pt x="217" y="319"/>
                </a:cubicBezTo>
                <a:cubicBezTo>
                  <a:pt x="217" y="407"/>
                  <a:pt x="243" y="491"/>
                  <a:pt x="291" y="565"/>
                </a:cubicBezTo>
                <a:lnTo>
                  <a:pt x="386" y="529"/>
                </a:lnTo>
                <a:close/>
                <a:moveTo>
                  <a:pt x="98" y="319"/>
                </a:moveTo>
                <a:cubicBezTo>
                  <a:pt x="98" y="217"/>
                  <a:pt x="129" y="119"/>
                  <a:pt x="184" y="33"/>
                </a:cubicBezTo>
                <a:cubicBezTo>
                  <a:pt x="97" y="0"/>
                  <a:pt x="97" y="0"/>
                  <a:pt x="97" y="0"/>
                </a:cubicBezTo>
                <a:cubicBezTo>
                  <a:pt x="35" y="96"/>
                  <a:pt x="0" y="205"/>
                  <a:pt x="0" y="319"/>
                </a:cubicBezTo>
                <a:cubicBezTo>
                  <a:pt x="0" y="433"/>
                  <a:pt x="35" y="542"/>
                  <a:pt x="97" y="638"/>
                </a:cubicBezTo>
                <a:cubicBezTo>
                  <a:pt x="184" y="605"/>
                  <a:pt x="184" y="605"/>
                  <a:pt x="184" y="605"/>
                </a:cubicBezTo>
                <a:cubicBezTo>
                  <a:pt x="129" y="519"/>
                  <a:pt x="98" y="422"/>
                  <a:pt x="98" y="319"/>
                </a:cubicBezTo>
                <a:close/>
                <a:moveTo>
                  <a:pt x="982" y="565"/>
                </a:moveTo>
                <a:cubicBezTo>
                  <a:pt x="1029" y="491"/>
                  <a:pt x="1056" y="407"/>
                  <a:pt x="1056" y="319"/>
                </a:cubicBezTo>
                <a:cubicBezTo>
                  <a:pt x="1056" y="231"/>
                  <a:pt x="1029" y="147"/>
                  <a:pt x="982" y="73"/>
                </a:cubicBezTo>
                <a:cubicBezTo>
                  <a:pt x="887" y="109"/>
                  <a:pt x="887" y="109"/>
                  <a:pt x="887" y="109"/>
                </a:cubicBezTo>
                <a:cubicBezTo>
                  <a:pt x="927" y="172"/>
                  <a:pt x="950" y="244"/>
                  <a:pt x="950" y="319"/>
                </a:cubicBezTo>
                <a:cubicBezTo>
                  <a:pt x="950" y="394"/>
                  <a:pt x="927" y="466"/>
                  <a:pt x="887" y="529"/>
                </a:cubicBezTo>
                <a:lnTo>
                  <a:pt x="982" y="565"/>
                </a:lnTo>
                <a:close/>
                <a:moveTo>
                  <a:pt x="759" y="477"/>
                </a:moveTo>
                <a:cubicBezTo>
                  <a:pt x="806" y="441"/>
                  <a:pt x="836" y="384"/>
                  <a:pt x="836" y="320"/>
                </a:cubicBezTo>
                <a:cubicBezTo>
                  <a:pt x="836" y="210"/>
                  <a:pt x="747" y="120"/>
                  <a:pt x="636" y="120"/>
                </a:cubicBezTo>
                <a:cubicBezTo>
                  <a:pt x="526" y="120"/>
                  <a:pt x="437" y="210"/>
                  <a:pt x="437" y="320"/>
                </a:cubicBezTo>
                <a:cubicBezTo>
                  <a:pt x="437" y="384"/>
                  <a:pt x="467" y="441"/>
                  <a:pt x="514" y="477"/>
                </a:cubicBezTo>
                <a:cubicBezTo>
                  <a:pt x="407" y="783"/>
                  <a:pt x="407" y="783"/>
                  <a:pt x="407" y="783"/>
                </a:cubicBezTo>
                <a:cubicBezTo>
                  <a:pt x="164" y="1475"/>
                  <a:pt x="164" y="1475"/>
                  <a:pt x="164" y="1475"/>
                </a:cubicBezTo>
                <a:cubicBezTo>
                  <a:pt x="286" y="1475"/>
                  <a:pt x="286" y="1475"/>
                  <a:pt x="286" y="1475"/>
                </a:cubicBezTo>
                <a:cubicBezTo>
                  <a:pt x="342" y="1315"/>
                  <a:pt x="342" y="1315"/>
                  <a:pt x="342" y="1315"/>
                </a:cubicBezTo>
                <a:cubicBezTo>
                  <a:pt x="931" y="1315"/>
                  <a:pt x="931" y="1315"/>
                  <a:pt x="931" y="1315"/>
                </a:cubicBezTo>
                <a:cubicBezTo>
                  <a:pt x="987" y="1475"/>
                  <a:pt x="987" y="1475"/>
                  <a:pt x="987" y="1475"/>
                </a:cubicBezTo>
                <a:cubicBezTo>
                  <a:pt x="1109" y="1475"/>
                  <a:pt x="1109" y="1475"/>
                  <a:pt x="1109" y="1475"/>
                </a:cubicBezTo>
                <a:cubicBezTo>
                  <a:pt x="807" y="615"/>
                  <a:pt x="807" y="615"/>
                  <a:pt x="807" y="615"/>
                </a:cubicBezTo>
                <a:lnTo>
                  <a:pt x="759" y="477"/>
                </a:lnTo>
                <a:close/>
                <a:moveTo>
                  <a:pt x="621" y="519"/>
                </a:moveTo>
                <a:cubicBezTo>
                  <a:pt x="626" y="519"/>
                  <a:pt x="631" y="520"/>
                  <a:pt x="636" y="520"/>
                </a:cubicBezTo>
                <a:cubicBezTo>
                  <a:pt x="642" y="520"/>
                  <a:pt x="647" y="519"/>
                  <a:pt x="652" y="519"/>
                </a:cubicBezTo>
                <a:cubicBezTo>
                  <a:pt x="684" y="609"/>
                  <a:pt x="684" y="609"/>
                  <a:pt x="684" y="609"/>
                </a:cubicBezTo>
                <a:cubicBezTo>
                  <a:pt x="589" y="609"/>
                  <a:pt x="589" y="609"/>
                  <a:pt x="589" y="609"/>
                </a:cubicBezTo>
                <a:lnTo>
                  <a:pt x="621" y="519"/>
                </a:lnTo>
                <a:close/>
                <a:moveTo>
                  <a:pt x="547" y="728"/>
                </a:moveTo>
                <a:cubicBezTo>
                  <a:pt x="551" y="718"/>
                  <a:pt x="551" y="718"/>
                  <a:pt x="551" y="718"/>
                </a:cubicBezTo>
                <a:cubicBezTo>
                  <a:pt x="569" y="718"/>
                  <a:pt x="569" y="718"/>
                  <a:pt x="569" y="718"/>
                </a:cubicBezTo>
                <a:cubicBezTo>
                  <a:pt x="722" y="718"/>
                  <a:pt x="722" y="718"/>
                  <a:pt x="722" y="718"/>
                </a:cubicBezTo>
                <a:cubicBezTo>
                  <a:pt x="753" y="808"/>
                  <a:pt x="753" y="808"/>
                  <a:pt x="753" y="808"/>
                </a:cubicBezTo>
                <a:cubicBezTo>
                  <a:pt x="519" y="808"/>
                  <a:pt x="519" y="808"/>
                  <a:pt x="519" y="808"/>
                </a:cubicBezTo>
                <a:lnTo>
                  <a:pt x="547" y="728"/>
                </a:lnTo>
                <a:close/>
                <a:moveTo>
                  <a:pt x="893" y="1206"/>
                </a:moveTo>
                <a:cubicBezTo>
                  <a:pt x="380" y="1206"/>
                  <a:pt x="380" y="1206"/>
                  <a:pt x="380" y="1206"/>
                </a:cubicBezTo>
                <a:cubicBezTo>
                  <a:pt x="411" y="1116"/>
                  <a:pt x="411" y="1116"/>
                  <a:pt x="411" y="1116"/>
                </a:cubicBezTo>
                <a:cubicBezTo>
                  <a:pt x="861" y="1116"/>
                  <a:pt x="861" y="1116"/>
                  <a:pt x="861" y="1116"/>
                </a:cubicBezTo>
                <a:lnTo>
                  <a:pt x="893" y="1206"/>
                </a:lnTo>
                <a:close/>
                <a:moveTo>
                  <a:pt x="450" y="1007"/>
                </a:moveTo>
                <a:cubicBezTo>
                  <a:pt x="481" y="917"/>
                  <a:pt x="481" y="917"/>
                  <a:pt x="481" y="917"/>
                </a:cubicBezTo>
                <a:cubicBezTo>
                  <a:pt x="792" y="917"/>
                  <a:pt x="792" y="917"/>
                  <a:pt x="792" y="917"/>
                </a:cubicBezTo>
                <a:cubicBezTo>
                  <a:pt x="823" y="1007"/>
                  <a:pt x="823" y="1007"/>
                  <a:pt x="823" y="1007"/>
                </a:cubicBezTo>
                <a:lnTo>
                  <a:pt x="450" y="1007"/>
                </a:lnTo>
                <a:close/>
                <a:moveTo>
                  <a:pt x="1176" y="0"/>
                </a:moveTo>
                <a:cubicBezTo>
                  <a:pt x="1088" y="33"/>
                  <a:pt x="1088" y="33"/>
                  <a:pt x="1088" y="33"/>
                </a:cubicBezTo>
                <a:cubicBezTo>
                  <a:pt x="1144" y="119"/>
                  <a:pt x="1175" y="217"/>
                  <a:pt x="1175" y="319"/>
                </a:cubicBezTo>
                <a:cubicBezTo>
                  <a:pt x="1175" y="404"/>
                  <a:pt x="1153" y="486"/>
                  <a:pt x="1114" y="561"/>
                </a:cubicBezTo>
                <a:cubicBezTo>
                  <a:pt x="1106" y="576"/>
                  <a:pt x="1098" y="591"/>
                  <a:pt x="1088" y="605"/>
                </a:cubicBezTo>
                <a:cubicBezTo>
                  <a:pt x="1176" y="638"/>
                  <a:pt x="1176" y="638"/>
                  <a:pt x="1176" y="638"/>
                </a:cubicBezTo>
                <a:cubicBezTo>
                  <a:pt x="1192" y="613"/>
                  <a:pt x="1207" y="586"/>
                  <a:pt x="1219" y="559"/>
                </a:cubicBezTo>
                <a:cubicBezTo>
                  <a:pt x="1253" y="484"/>
                  <a:pt x="1272" y="403"/>
                  <a:pt x="1272" y="319"/>
                </a:cubicBezTo>
                <a:cubicBezTo>
                  <a:pt x="1272" y="205"/>
                  <a:pt x="1238" y="96"/>
                  <a:pt x="1176" y="0"/>
                </a:cubicBezTo>
                <a:close/>
              </a:path>
            </a:pathLst>
          </a:custGeom>
          <a:solidFill>
            <a:srgbClr val="00BCEB"/>
          </a:solidFill>
          <a:ln w="9525">
            <a:noFill/>
            <a:round/>
            <a:headEnd/>
            <a:tailEnd/>
          </a:ln>
          <a:effectLst/>
        </p:spPr>
        <p:txBody>
          <a:bodyPr vert="horz" wrap="square" lIns="68562" tIns="34281" rIns="68562" bIns="34281"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defTabSz="456824"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2060"/>
              </a:solidFill>
              <a:effectLst/>
              <a:uLnTx/>
              <a:uFillTx/>
              <a:latin typeface="Arial"/>
            </a:endParaRPr>
          </a:p>
        </p:txBody>
      </p:sp>
      <p:grpSp>
        <p:nvGrpSpPr>
          <p:cNvPr id="115" name="Group 114">
            <a:extLst>
              <a:ext uri="{FF2B5EF4-FFF2-40B4-BE49-F238E27FC236}">
                <a16:creationId xmlns:a16="http://schemas.microsoft.com/office/drawing/2014/main" id="{B916D365-1E0E-C64A-8BF8-8D0AAB7C3EE9}"/>
              </a:ext>
            </a:extLst>
          </p:cNvPr>
          <p:cNvGrpSpPr/>
          <p:nvPr/>
        </p:nvGrpSpPr>
        <p:grpSpPr>
          <a:xfrm>
            <a:off x="2212762" y="1512741"/>
            <a:ext cx="365663" cy="246321"/>
            <a:chOff x="7359942" y="4198425"/>
            <a:chExt cx="436572" cy="276247"/>
          </a:xfrm>
        </p:grpSpPr>
        <p:pic>
          <p:nvPicPr>
            <p:cNvPr id="119" name="Picture 118">
              <a:extLst>
                <a:ext uri="{FF2B5EF4-FFF2-40B4-BE49-F238E27FC236}">
                  <a16:creationId xmlns:a16="http://schemas.microsoft.com/office/drawing/2014/main" id="{6217443D-17D4-4245-A3B8-ED7880A7A5DD}"/>
                </a:ext>
              </a:extLst>
            </p:cNvPr>
            <p:cNvPicPr>
              <a:picLocks noChangeAspect="1" noChangeArrowheads="1"/>
            </p:cNvPicPr>
            <p:nvPr/>
          </p:nvPicPr>
          <p:blipFill>
            <a:blip r:embed="rId2">
              <a:duotone>
                <a:srgbClr val="F04C37">
                  <a:shade val="45000"/>
                  <a:satMod val="135000"/>
                </a:srgbClr>
                <a:prstClr val="white"/>
              </a:duotone>
            </a:blip>
            <a:srcRect/>
            <a:stretch>
              <a:fillRect/>
            </a:stretch>
          </p:blipFill>
          <p:spPr bwMode="auto">
            <a:xfrm>
              <a:off x="7441134" y="4236549"/>
              <a:ext cx="355380" cy="238123"/>
            </a:xfrm>
            <a:prstGeom prst="rect">
              <a:avLst/>
            </a:prstGeom>
            <a:noFill/>
          </p:spPr>
        </p:pic>
        <p:sp>
          <p:nvSpPr>
            <p:cNvPr id="120" name="TextBox 83">
              <a:extLst>
                <a:ext uri="{FF2B5EF4-FFF2-40B4-BE49-F238E27FC236}">
                  <a16:creationId xmlns:a16="http://schemas.microsoft.com/office/drawing/2014/main" id="{EDA222DF-93A0-5B4A-94B4-EF85C3BDFD34}"/>
                </a:ext>
              </a:extLst>
            </p:cNvPr>
            <p:cNvSpPr txBox="1"/>
            <p:nvPr/>
          </p:nvSpPr>
          <p:spPr>
            <a:xfrm>
              <a:off x="7359942" y="4198425"/>
              <a:ext cx="220554" cy="245933"/>
            </a:xfrm>
            <a:prstGeom prst="rect">
              <a:avLst/>
            </a:prstGeom>
            <a:noFill/>
          </p:spPr>
          <p:txBody>
            <a:bodyPr wrap="non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2060"/>
                </a:solidFill>
                <a:effectLst/>
                <a:uLnTx/>
                <a:uFillTx/>
                <a:latin typeface="Arial"/>
              </a:endParaRPr>
            </a:p>
          </p:txBody>
        </p:sp>
      </p:grpSp>
      <p:cxnSp>
        <p:nvCxnSpPr>
          <p:cNvPr id="116" name="Straight Connector 115">
            <a:extLst>
              <a:ext uri="{FF2B5EF4-FFF2-40B4-BE49-F238E27FC236}">
                <a16:creationId xmlns:a16="http://schemas.microsoft.com/office/drawing/2014/main" id="{FE946B04-12A9-DF4C-87A5-3EFC01698A1A}"/>
              </a:ext>
            </a:extLst>
          </p:cNvPr>
          <p:cNvCxnSpPr/>
          <p:nvPr/>
        </p:nvCxnSpPr>
        <p:spPr>
          <a:xfrm>
            <a:off x="1901977" y="1651974"/>
            <a:ext cx="374550" cy="1"/>
          </a:xfrm>
          <a:prstGeom prst="line">
            <a:avLst/>
          </a:prstGeom>
        </p:spPr>
        <p:style>
          <a:lnRef idx="1">
            <a:schemeClr val="accent1"/>
          </a:lnRef>
          <a:fillRef idx="0">
            <a:schemeClr val="accent1"/>
          </a:fillRef>
          <a:effectRef idx="0">
            <a:schemeClr val="accent1"/>
          </a:effectRef>
          <a:fontRef idx="minor">
            <a:schemeClr val="tx1"/>
          </a:fontRef>
        </p:style>
      </p:cxnSp>
      <p:sp>
        <p:nvSpPr>
          <p:cNvPr id="117" name="TextBox 74">
            <a:extLst>
              <a:ext uri="{FF2B5EF4-FFF2-40B4-BE49-F238E27FC236}">
                <a16:creationId xmlns:a16="http://schemas.microsoft.com/office/drawing/2014/main" id="{3B99291C-8F87-B24A-A857-1A35A47FDAFF}"/>
              </a:ext>
            </a:extLst>
          </p:cNvPr>
          <p:cNvSpPr txBox="1"/>
          <p:nvPr/>
        </p:nvSpPr>
        <p:spPr>
          <a:xfrm>
            <a:off x="2197718" y="1773290"/>
            <a:ext cx="454869" cy="253916"/>
          </a:xfrm>
          <a:prstGeom prst="rect">
            <a:avLst/>
          </a:prstGeom>
          <a:noFill/>
        </p:spPr>
        <p:txBody>
          <a:bodyPr wrap="squar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r>
              <a:rPr lang="en-US" sz="1000" b="1" dirty="0">
                <a:latin typeface="+mn-lt"/>
              </a:rPr>
              <a:t>CSR</a:t>
            </a:r>
            <a:endParaRPr lang="en-ZA" sz="1000" b="1" dirty="0">
              <a:latin typeface="+mn-lt"/>
            </a:endParaRPr>
          </a:p>
        </p:txBody>
      </p:sp>
      <p:sp>
        <p:nvSpPr>
          <p:cNvPr id="118" name="TextBox 75">
            <a:extLst>
              <a:ext uri="{FF2B5EF4-FFF2-40B4-BE49-F238E27FC236}">
                <a16:creationId xmlns:a16="http://schemas.microsoft.com/office/drawing/2014/main" id="{B2331C88-3709-E340-AF00-5C4DC33B7ED5}"/>
              </a:ext>
            </a:extLst>
          </p:cNvPr>
          <p:cNvSpPr txBox="1"/>
          <p:nvPr/>
        </p:nvSpPr>
        <p:spPr>
          <a:xfrm>
            <a:off x="2940335" y="1966793"/>
            <a:ext cx="1501709" cy="246221"/>
          </a:xfrm>
          <a:prstGeom prst="rect">
            <a:avLst/>
          </a:prstGeom>
          <a:noFill/>
        </p:spPr>
        <p:txBody>
          <a:bodyPr wrap="squar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r>
              <a:rPr lang="en-US" sz="1000" b="1" dirty="0">
                <a:latin typeface="+mn-lt"/>
              </a:rPr>
              <a:t>Pre-Agg. Location</a:t>
            </a:r>
            <a:endParaRPr lang="en-ZA" sz="1000" b="1" dirty="0">
              <a:latin typeface="+mn-lt"/>
            </a:endParaRPr>
          </a:p>
        </p:txBody>
      </p:sp>
      <p:grpSp>
        <p:nvGrpSpPr>
          <p:cNvPr id="137" name="Group 136">
            <a:extLst>
              <a:ext uri="{FF2B5EF4-FFF2-40B4-BE49-F238E27FC236}">
                <a16:creationId xmlns:a16="http://schemas.microsoft.com/office/drawing/2014/main" id="{B8F4B1F0-5F8D-4BA2-B87D-6FA0DDBC42D6}"/>
              </a:ext>
            </a:extLst>
          </p:cNvPr>
          <p:cNvGrpSpPr/>
          <p:nvPr/>
        </p:nvGrpSpPr>
        <p:grpSpPr>
          <a:xfrm>
            <a:off x="887872" y="1115869"/>
            <a:ext cx="7368255" cy="1567451"/>
            <a:chOff x="732673" y="1788912"/>
            <a:chExt cx="7368255" cy="1567451"/>
          </a:xfrm>
        </p:grpSpPr>
        <p:sp>
          <p:nvSpPr>
            <p:cNvPr id="138" name="Rectangle: Rounded Corners 152">
              <a:extLst>
                <a:ext uri="{FF2B5EF4-FFF2-40B4-BE49-F238E27FC236}">
                  <a16:creationId xmlns:a16="http://schemas.microsoft.com/office/drawing/2014/main" id="{999446CA-7838-420E-80A4-BFEC32FA472A}"/>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Oval 138">
              <a:extLst>
                <a:ext uri="{FF2B5EF4-FFF2-40B4-BE49-F238E27FC236}">
                  <a16:creationId xmlns:a16="http://schemas.microsoft.com/office/drawing/2014/main" id="{E4CED4D8-1F56-4657-8CB1-B1B21A0DAB3B}"/>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0" name="Group 139">
              <a:extLst>
                <a:ext uri="{FF2B5EF4-FFF2-40B4-BE49-F238E27FC236}">
                  <a16:creationId xmlns:a16="http://schemas.microsoft.com/office/drawing/2014/main" id="{2F30BB44-8F74-450F-B84A-EDB9AEC6BABD}"/>
                </a:ext>
              </a:extLst>
            </p:cNvPr>
            <p:cNvGrpSpPr/>
            <p:nvPr/>
          </p:nvGrpSpPr>
          <p:grpSpPr>
            <a:xfrm rot="16200000">
              <a:off x="1787492" y="2428962"/>
              <a:ext cx="393048" cy="893063"/>
              <a:chOff x="1053576" y="845943"/>
              <a:chExt cx="429692" cy="976323"/>
            </a:xfrm>
          </p:grpSpPr>
          <p:sp>
            <p:nvSpPr>
              <p:cNvPr id="295" name="Arc 294">
                <a:extLst>
                  <a:ext uri="{FF2B5EF4-FFF2-40B4-BE49-F238E27FC236}">
                    <a16:creationId xmlns:a16="http://schemas.microsoft.com/office/drawing/2014/main" id="{1B47E4E3-2BEA-4476-A373-BF03209E828C}"/>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96" name="Straight Connector 295">
                <a:extLst>
                  <a:ext uri="{FF2B5EF4-FFF2-40B4-BE49-F238E27FC236}">
                    <a16:creationId xmlns:a16="http://schemas.microsoft.com/office/drawing/2014/main" id="{C05FB6F4-7BB8-4A16-B84D-962671A63A7C}"/>
                  </a:ext>
                </a:extLst>
              </p:cNvPr>
              <p:cNvCxnSpPr>
                <a:cxnSpLocks/>
                <a:endCxn id="295"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9EFBA2BF-8380-4C87-AF27-89C0C847AFE3}"/>
                  </a:ext>
                </a:extLst>
              </p:cNvPr>
              <p:cNvCxnSpPr>
                <a:cxnSpLocks/>
                <a:stCxn id="295"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A3ACDFA4-F48A-47FF-AA48-BA415ABE8020}"/>
                </a:ext>
              </a:extLst>
            </p:cNvPr>
            <p:cNvGrpSpPr/>
            <p:nvPr/>
          </p:nvGrpSpPr>
          <p:grpSpPr>
            <a:xfrm>
              <a:off x="1139370" y="2057674"/>
              <a:ext cx="874980" cy="214533"/>
              <a:chOff x="1053577" y="1587731"/>
              <a:chExt cx="956555" cy="234534"/>
            </a:xfrm>
          </p:grpSpPr>
          <p:sp>
            <p:nvSpPr>
              <p:cNvPr id="292" name="Arc 291">
                <a:extLst>
                  <a:ext uri="{FF2B5EF4-FFF2-40B4-BE49-F238E27FC236}">
                    <a16:creationId xmlns:a16="http://schemas.microsoft.com/office/drawing/2014/main" id="{FE99B44F-A139-4F7C-8F05-B41E9C028A2C}"/>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93" name="Straight Connector 292">
                <a:extLst>
                  <a:ext uri="{FF2B5EF4-FFF2-40B4-BE49-F238E27FC236}">
                    <a16:creationId xmlns:a16="http://schemas.microsoft.com/office/drawing/2014/main" id="{9F857416-F2BA-4B68-92D5-664CD485BE88}"/>
                  </a:ext>
                </a:extLst>
              </p:cNvPr>
              <p:cNvCxnSpPr>
                <a:cxnSpLocks/>
                <a:endCxn id="292"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34A45A32-32C1-487E-9AF6-8B1FAF560C7F}"/>
                  </a:ext>
                </a:extLst>
              </p:cNvPr>
              <p:cNvCxnSpPr>
                <a:cxnSpLocks/>
                <a:stCxn id="292"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AC08152C-32E3-4A9A-AFB5-7F007F2BE9C3}"/>
                </a:ext>
              </a:extLst>
            </p:cNvPr>
            <p:cNvGrpSpPr/>
            <p:nvPr/>
          </p:nvGrpSpPr>
          <p:grpSpPr>
            <a:xfrm>
              <a:off x="1471454" y="2049161"/>
              <a:ext cx="874980" cy="168558"/>
              <a:chOff x="1416621" y="1599856"/>
              <a:chExt cx="956555" cy="184273"/>
            </a:xfrm>
          </p:grpSpPr>
          <p:sp>
            <p:nvSpPr>
              <p:cNvPr id="289" name="Arc 288">
                <a:extLst>
                  <a:ext uri="{FF2B5EF4-FFF2-40B4-BE49-F238E27FC236}">
                    <a16:creationId xmlns:a16="http://schemas.microsoft.com/office/drawing/2014/main" id="{A0DB589C-AB75-497F-9A33-9170CFEB55DC}"/>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90" name="Straight Connector 289">
                <a:extLst>
                  <a:ext uri="{FF2B5EF4-FFF2-40B4-BE49-F238E27FC236}">
                    <a16:creationId xmlns:a16="http://schemas.microsoft.com/office/drawing/2014/main" id="{91136AB2-E486-4713-8268-C5FE545A14B6}"/>
                  </a:ext>
                </a:extLst>
              </p:cNvPr>
              <p:cNvCxnSpPr>
                <a:cxnSpLocks/>
                <a:endCxn id="289"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D92F96FE-0753-401C-AEC8-750A828AE0CF}"/>
                  </a:ext>
                </a:extLst>
              </p:cNvPr>
              <p:cNvCxnSpPr>
                <a:cxnSpLocks/>
                <a:stCxn id="289"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3" name="Group 142">
              <a:extLst>
                <a:ext uri="{FF2B5EF4-FFF2-40B4-BE49-F238E27FC236}">
                  <a16:creationId xmlns:a16="http://schemas.microsoft.com/office/drawing/2014/main" id="{6CADE8A6-6F53-4B83-8014-8CBCEF4B6D8E}"/>
                </a:ext>
              </a:extLst>
            </p:cNvPr>
            <p:cNvGrpSpPr/>
            <p:nvPr/>
          </p:nvGrpSpPr>
          <p:grpSpPr>
            <a:xfrm>
              <a:off x="1802844" y="1995223"/>
              <a:ext cx="662063" cy="168558"/>
              <a:chOff x="1778907" y="1564701"/>
              <a:chExt cx="723787" cy="184273"/>
            </a:xfrm>
          </p:grpSpPr>
          <p:sp>
            <p:nvSpPr>
              <p:cNvPr id="286" name="Arc 285">
                <a:extLst>
                  <a:ext uri="{FF2B5EF4-FFF2-40B4-BE49-F238E27FC236}">
                    <a16:creationId xmlns:a16="http://schemas.microsoft.com/office/drawing/2014/main" id="{30F2A907-30C7-4102-94A9-134EEC0930BA}"/>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87" name="Straight Connector 286">
                <a:extLst>
                  <a:ext uri="{FF2B5EF4-FFF2-40B4-BE49-F238E27FC236}">
                    <a16:creationId xmlns:a16="http://schemas.microsoft.com/office/drawing/2014/main" id="{66098253-4B3C-44A4-815B-BA5FD2D4B21C}"/>
                  </a:ext>
                </a:extLst>
              </p:cNvPr>
              <p:cNvCxnSpPr>
                <a:cxnSpLocks/>
                <a:endCxn id="286"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90F0DDE8-D258-44A0-8FAB-DBC3779B75EB}"/>
                  </a:ext>
                </a:extLst>
              </p:cNvPr>
              <p:cNvCxnSpPr>
                <a:cxnSpLocks/>
                <a:stCxn id="286"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44" name="Oval 143">
              <a:extLst>
                <a:ext uri="{FF2B5EF4-FFF2-40B4-BE49-F238E27FC236}">
                  <a16:creationId xmlns:a16="http://schemas.microsoft.com/office/drawing/2014/main" id="{19459C3F-2142-4428-905A-5FB1245C5203}"/>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Oval 144">
              <a:extLst>
                <a:ext uri="{FF2B5EF4-FFF2-40B4-BE49-F238E27FC236}">
                  <a16:creationId xmlns:a16="http://schemas.microsoft.com/office/drawing/2014/main" id="{13150F41-5CCF-423A-A9FC-EF46DC7BDEAE}"/>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Oval 145">
              <a:extLst>
                <a:ext uri="{FF2B5EF4-FFF2-40B4-BE49-F238E27FC236}">
                  <a16:creationId xmlns:a16="http://schemas.microsoft.com/office/drawing/2014/main" id="{63842ACE-9759-4041-8423-CA797C23CC2F}"/>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7" name="Straight Connector 146">
              <a:extLst>
                <a:ext uri="{FF2B5EF4-FFF2-40B4-BE49-F238E27FC236}">
                  <a16:creationId xmlns:a16="http://schemas.microsoft.com/office/drawing/2014/main" id="{F141EB84-720F-4FEC-8D2E-328B62E41035}"/>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148" name="Oval 147">
              <a:extLst>
                <a:ext uri="{FF2B5EF4-FFF2-40B4-BE49-F238E27FC236}">
                  <a16:creationId xmlns:a16="http://schemas.microsoft.com/office/drawing/2014/main" id="{4A832C4E-2195-491B-B52C-6B28E6056A3D}"/>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9" name="Group 148">
              <a:extLst>
                <a:ext uri="{FF2B5EF4-FFF2-40B4-BE49-F238E27FC236}">
                  <a16:creationId xmlns:a16="http://schemas.microsoft.com/office/drawing/2014/main" id="{89462051-08ED-41AE-B6C5-74470ED62C10}"/>
                </a:ext>
              </a:extLst>
            </p:cNvPr>
            <p:cNvGrpSpPr/>
            <p:nvPr/>
          </p:nvGrpSpPr>
          <p:grpSpPr>
            <a:xfrm>
              <a:off x="4825353" y="1970648"/>
              <a:ext cx="2313166" cy="911499"/>
              <a:chOff x="6257463" y="1617978"/>
              <a:chExt cx="1576956" cy="996478"/>
            </a:xfrm>
          </p:grpSpPr>
          <p:grpSp>
            <p:nvGrpSpPr>
              <p:cNvPr id="276" name="Group 275">
                <a:extLst>
                  <a:ext uri="{FF2B5EF4-FFF2-40B4-BE49-F238E27FC236}">
                    <a16:creationId xmlns:a16="http://schemas.microsoft.com/office/drawing/2014/main" id="{4BB610B1-2155-4946-90F0-85E1AF13C1AD}"/>
                  </a:ext>
                </a:extLst>
              </p:cNvPr>
              <p:cNvGrpSpPr/>
              <p:nvPr/>
            </p:nvGrpSpPr>
            <p:grpSpPr>
              <a:xfrm>
                <a:off x="6296881" y="2015544"/>
                <a:ext cx="1537538" cy="598912"/>
                <a:chOff x="6652481" y="2039451"/>
                <a:chExt cx="1537538" cy="598912"/>
              </a:xfrm>
              <a:solidFill>
                <a:schemeClr val="bg2">
                  <a:lumMod val="85000"/>
                </a:schemeClr>
              </a:solidFill>
            </p:grpSpPr>
            <p:sp>
              <p:nvSpPr>
                <p:cNvPr id="282" name="Rectangle: Rounded Corners 6">
                  <a:extLst>
                    <a:ext uri="{FF2B5EF4-FFF2-40B4-BE49-F238E27FC236}">
                      <a16:creationId xmlns:a16="http://schemas.microsoft.com/office/drawing/2014/main" id="{FE9AC93A-22CF-44D8-93BF-9F3D2DEEC24E}"/>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3" name="Rectangle: Rounded Corners 140">
                  <a:extLst>
                    <a:ext uri="{FF2B5EF4-FFF2-40B4-BE49-F238E27FC236}">
                      <a16:creationId xmlns:a16="http://schemas.microsoft.com/office/drawing/2014/main" id="{34FCA7B9-46B1-42E5-997C-00AC2DD013BB}"/>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4" name="Rectangle: Rounded Corners 141">
                  <a:extLst>
                    <a:ext uri="{FF2B5EF4-FFF2-40B4-BE49-F238E27FC236}">
                      <a16:creationId xmlns:a16="http://schemas.microsoft.com/office/drawing/2014/main" id="{6EED3C12-6A09-4A92-B0C9-D0E3EEA3879F}"/>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5" name="Rectangle: Rounded Corners 142">
                  <a:extLst>
                    <a:ext uri="{FF2B5EF4-FFF2-40B4-BE49-F238E27FC236}">
                      <a16:creationId xmlns:a16="http://schemas.microsoft.com/office/drawing/2014/main" id="{61CA3DFD-8BDE-48D5-AEEE-3DB562C92011}"/>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7" name="Group 276">
                <a:extLst>
                  <a:ext uri="{FF2B5EF4-FFF2-40B4-BE49-F238E27FC236}">
                    <a16:creationId xmlns:a16="http://schemas.microsoft.com/office/drawing/2014/main" id="{AA512FFB-AFDA-49FE-8D2A-05900BB63FCD}"/>
                  </a:ext>
                </a:extLst>
              </p:cNvPr>
              <p:cNvGrpSpPr/>
              <p:nvPr/>
            </p:nvGrpSpPr>
            <p:grpSpPr>
              <a:xfrm>
                <a:off x="6257463" y="1617978"/>
                <a:ext cx="1553564" cy="594092"/>
                <a:chOff x="6606761" y="1479381"/>
                <a:chExt cx="1566167" cy="598912"/>
              </a:xfrm>
              <a:solidFill>
                <a:schemeClr val="bg2">
                  <a:lumMod val="85000"/>
                </a:schemeClr>
              </a:solidFill>
            </p:grpSpPr>
            <p:sp>
              <p:nvSpPr>
                <p:cNvPr id="278" name="Rectangle: Rounded Corners 148">
                  <a:extLst>
                    <a:ext uri="{FF2B5EF4-FFF2-40B4-BE49-F238E27FC236}">
                      <a16:creationId xmlns:a16="http://schemas.microsoft.com/office/drawing/2014/main" id="{3EE03579-9BCB-4BCA-8ED0-ED9045329082}"/>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9" name="Rectangle: Rounded Corners 149">
                  <a:extLst>
                    <a:ext uri="{FF2B5EF4-FFF2-40B4-BE49-F238E27FC236}">
                      <a16:creationId xmlns:a16="http://schemas.microsoft.com/office/drawing/2014/main" id="{08EA89F1-ABC8-497A-87A5-FF07C9D05B3D}"/>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Rectangle: Rounded Corners 150">
                  <a:extLst>
                    <a:ext uri="{FF2B5EF4-FFF2-40B4-BE49-F238E27FC236}">
                      <a16:creationId xmlns:a16="http://schemas.microsoft.com/office/drawing/2014/main" id="{32A985B2-74ED-44DF-9FF4-0E3FFA773311}"/>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1" name="Rectangle: Rounded Corners 151">
                  <a:extLst>
                    <a:ext uri="{FF2B5EF4-FFF2-40B4-BE49-F238E27FC236}">
                      <a16:creationId xmlns:a16="http://schemas.microsoft.com/office/drawing/2014/main" id="{84AA24D3-194E-4AFB-9BD8-C1301C7BDAD9}"/>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50" name="Group 149">
              <a:extLst>
                <a:ext uri="{FF2B5EF4-FFF2-40B4-BE49-F238E27FC236}">
                  <a16:creationId xmlns:a16="http://schemas.microsoft.com/office/drawing/2014/main" id="{088F0515-0982-41B8-9402-F333ACF7D4EF}"/>
                </a:ext>
              </a:extLst>
            </p:cNvPr>
            <p:cNvGrpSpPr/>
            <p:nvPr/>
          </p:nvGrpSpPr>
          <p:grpSpPr>
            <a:xfrm>
              <a:off x="4495170" y="1970649"/>
              <a:ext cx="1509591" cy="909293"/>
              <a:chOff x="4722239" y="1617979"/>
              <a:chExt cx="1650330" cy="994067"/>
            </a:xfrm>
          </p:grpSpPr>
          <p:grpSp>
            <p:nvGrpSpPr>
              <p:cNvPr id="266" name="Group 265">
                <a:extLst>
                  <a:ext uri="{FF2B5EF4-FFF2-40B4-BE49-F238E27FC236}">
                    <a16:creationId xmlns:a16="http://schemas.microsoft.com/office/drawing/2014/main" id="{A16612F2-B3B4-446A-BB77-069AE249B597}"/>
                  </a:ext>
                </a:extLst>
              </p:cNvPr>
              <p:cNvGrpSpPr/>
              <p:nvPr/>
            </p:nvGrpSpPr>
            <p:grpSpPr>
              <a:xfrm>
                <a:off x="4722239" y="1617979"/>
                <a:ext cx="1604404" cy="594092"/>
                <a:chOff x="5071331" y="1479382"/>
                <a:chExt cx="1617419" cy="598911"/>
              </a:xfrm>
              <a:solidFill>
                <a:schemeClr val="bg2">
                  <a:lumMod val="85000"/>
                </a:schemeClr>
              </a:solidFill>
            </p:grpSpPr>
            <p:sp>
              <p:nvSpPr>
                <p:cNvPr id="272" name="Rectangle: Rounded Corners 161">
                  <a:extLst>
                    <a:ext uri="{FF2B5EF4-FFF2-40B4-BE49-F238E27FC236}">
                      <a16:creationId xmlns:a16="http://schemas.microsoft.com/office/drawing/2014/main" id="{E144599F-EF5F-4B64-B5C9-645D85468A4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Rectangle: Rounded Corners 162">
                  <a:extLst>
                    <a:ext uri="{FF2B5EF4-FFF2-40B4-BE49-F238E27FC236}">
                      <a16:creationId xmlns:a16="http://schemas.microsoft.com/office/drawing/2014/main" id="{CF36CAC2-6073-4953-AFD4-BCB23879DDA0}"/>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4" name="Rectangle: Rounded Corners 163">
                  <a:extLst>
                    <a:ext uri="{FF2B5EF4-FFF2-40B4-BE49-F238E27FC236}">
                      <a16:creationId xmlns:a16="http://schemas.microsoft.com/office/drawing/2014/main" id="{5DAEAD2E-C9D9-469A-8D78-CD8E16ED8D27}"/>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5" name="Rectangle: Rounded Corners 164">
                  <a:extLst>
                    <a:ext uri="{FF2B5EF4-FFF2-40B4-BE49-F238E27FC236}">
                      <a16:creationId xmlns:a16="http://schemas.microsoft.com/office/drawing/2014/main" id="{22665297-1221-495A-B30E-2748F4E4A066}"/>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67" name="Group 266">
                <a:extLst>
                  <a:ext uri="{FF2B5EF4-FFF2-40B4-BE49-F238E27FC236}">
                    <a16:creationId xmlns:a16="http://schemas.microsoft.com/office/drawing/2014/main" id="{077A2DF5-F385-4498-9D1A-AD81F674D06D}"/>
                  </a:ext>
                </a:extLst>
              </p:cNvPr>
              <p:cNvGrpSpPr/>
              <p:nvPr/>
            </p:nvGrpSpPr>
            <p:grpSpPr>
              <a:xfrm>
                <a:off x="4819003" y="2017956"/>
                <a:ext cx="1553566" cy="594090"/>
                <a:chOff x="5168302" y="2039452"/>
                <a:chExt cx="1566168" cy="598911"/>
              </a:xfrm>
              <a:solidFill>
                <a:schemeClr val="bg2">
                  <a:lumMod val="85000"/>
                </a:schemeClr>
              </a:solidFill>
            </p:grpSpPr>
            <p:sp>
              <p:nvSpPr>
                <p:cNvPr id="268" name="Rectangle: Rounded Corners 165">
                  <a:extLst>
                    <a:ext uri="{FF2B5EF4-FFF2-40B4-BE49-F238E27FC236}">
                      <a16:creationId xmlns:a16="http://schemas.microsoft.com/office/drawing/2014/main" id="{A0989E5B-2AA2-44F3-B635-5E3B36AA6DF6}"/>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Rectangle: Rounded Corners 166">
                  <a:extLst>
                    <a:ext uri="{FF2B5EF4-FFF2-40B4-BE49-F238E27FC236}">
                      <a16:creationId xmlns:a16="http://schemas.microsoft.com/office/drawing/2014/main" id="{84540500-3D37-43F2-BB11-3019B2AFFD96}"/>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Rectangle: Rounded Corners 167">
                  <a:extLst>
                    <a:ext uri="{FF2B5EF4-FFF2-40B4-BE49-F238E27FC236}">
                      <a16:creationId xmlns:a16="http://schemas.microsoft.com/office/drawing/2014/main" id="{90170037-3AB0-4EAC-BC33-45F22BC2029C}"/>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Rectangle: Rounded Corners 168">
                  <a:extLst>
                    <a:ext uri="{FF2B5EF4-FFF2-40B4-BE49-F238E27FC236}">
                      <a16:creationId xmlns:a16="http://schemas.microsoft.com/office/drawing/2014/main" id="{494617E4-71C6-42A9-893B-078DBC7292DC}"/>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51" name="Group 150">
              <a:extLst>
                <a:ext uri="{FF2B5EF4-FFF2-40B4-BE49-F238E27FC236}">
                  <a16:creationId xmlns:a16="http://schemas.microsoft.com/office/drawing/2014/main" id="{2C7C53EA-BA19-497E-9DF7-65A6895C4148}"/>
                </a:ext>
              </a:extLst>
            </p:cNvPr>
            <p:cNvGrpSpPr/>
            <p:nvPr/>
          </p:nvGrpSpPr>
          <p:grpSpPr>
            <a:xfrm>
              <a:off x="3086190" y="2006242"/>
              <a:ext cx="1509592" cy="909292"/>
              <a:chOff x="3181899" y="1656890"/>
              <a:chExt cx="1650332" cy="994066"/>
            </a:xfrm>
          </p:grpSpPr>
          <p:grpSp>
            <p:nvGrpSpPr>
              <p:cNvPr id="256" name="Group 255">
                <a:extLst>
                  <a:ext uri="{FF2B5EF4-FFF2-40B4-BE49-F238E27FC236}">
                    <a16:creationId xmlns:a16="http://schemas.microsoft.com/office/drawing/2014/main" id="{A758C995-B5D8-4424-B9EA-93E44E7724D1}"/>
                  </a:ext>
                </a:extLst>
              </p:cNvPr>
              <p:cNvGrpSpPr/>
              <p:nvPr/>
            </p:nvGrpSpPr>
            <p:grpSpPr>
              <a:xfrm>
                <a:off x="3227827" y="2056864"/>
                <a:ext cx="1604404" cy="594092"/>
                <a:chOff x="3576919" y="2078361"/>
                <a:chExt cx="1617419" cy="598911"/>
              </a:xfrm>
              <a:solidFill>
                <a:schemeClr val="bg2">
                  <a:lumMod val="85000"/>
                </a:schemeClr>
              </a:solidFill>
            </p:grpSpPr>
            <p:sp>
              <p:nvSpPr>
                <p:cNvPr id="262" name="Rectangle: Rounded Corners 170">
                  <a:extLst>
                    <a:ext uri="{FF2B5EF4-FFF2-40B4-BE49-F238E27FC236}">
                      <a16:creationId xmlns:a16="http://schemas.microsoft.com/office/drawing/2014/main" id="{97746692-6418-4092-A6C6-A97A119E62B5}"/>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3" name="Rectangle: Rounded Corners 172">
                  <a:extLst>
                    <a:ext uri="{FF2B5EF4-FFF2-40B4-BE49-F238E27FC236}">
                      <a16:creationId xmlns:a16="http://schemas.microsoft.com/office/drawing/2014/main" id="{1398EFA7-FF2F-491A-A324-4EA46E12A263}"/>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4" name="Rectangle: Rounded Corners 173">
                  <a:extLst>
                    <a:ext uri="{FF2B5EF4-FFF2-40B4-BE49-F238E27FC236}">
                      <a16:creationId xmlns:a16="http://schemas.microsoft.com/office/drawing/2014/main" id="{45AF6121-9C6B-4520-A3D0-1508B5B11BC2}"/>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Rectangle: Rounded Corners 174">
                  <a:extLst>
                    <a:ext uri="{FF2B5EF4-FFF2-40B4-BE49-F238E27FC236}">
                      <a16:creationId xmlns:a16="http://schemas.microsoft.com/office/drawing/2014/main" id="{88537523-D296-4387-81BD-23AE06D4E3A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7" name="Group 256">
                <a:extLst>
                  <a:ext uri="{FF2B5EF4-FFF2-40B4-BE49-F238E27FC236}">
                    <a16:creationId xmlns:a16="http://schemas.microsoft.com/office/drawing/2014/main" id="{C46CE8D0-F46C-4150-8F4F-D718BE874850}"/>
                  </a:ext>
                </a:extLst>
              </p:cNvPr>
              <p:cNvGrpSpPr/>
              <p:nvPr/>
            </p:nvGrpSpPr>
            <p:grpSpPr>
              <a:xfrm>
                <a:off x="3181899" y="1656890"/>
                <a:ext cx="1443175" cy="594090"/>
                <a:chOff x="3531199" y="1518292"/>
                <a:chExt cx="1454882" cy="598911"/>
              </a:xfrm>
              <a:solidFill>
                <a:schemeClr val="bg2">
                  <a:lumMod val="85000"/>
                </a:schemeClr>
              </a:solidFill>
            </p:grpSpPr>
            <p:sp>
              <p:nvSpPr>
                <p:cNvPr id="258" name="Rectangle: Rounded Corners 175">
                  <a:extLst>
                    <a:ext uri="{FF2B5EF4-FFF2-40B4-BE49-F238E27FC236}">
                      <a16:creationId xmlns:a16="http://schemas.microsoft.com/office/drawing/2014/main" id="{92ADD7B4-5517-485C-94AA-9781BD6B8B7A}"/>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9" name="Rectangle: Rounded Corners 176">
                  <a:extLst>
                    <a:ext uri="{FF2B5EF4-FFF2-40B4-BE49-F238E27FC236}">
                      <a16:creationId xmlns:a16="http://schemas.microsoft.com/office/drawing/2014/main" id="{CE96F94B-296D-4EE4-9EFE-62EE888AB5B2}"/>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Rectangle: Rounded Corners 177">
                  <a:extLst>
                    <a:ext uri="{FF2B5EF4-FFF2-40B4-BE49-F238E27FC236}">
                      <a16:creationId xmlns:a16="http://schemas.microsoft.com/office/drawing/2014/main" id="{FEBB3A21-3CE1-4312-9840-527D1B11E39A}"/>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Rectangle: Rounded Corners 178">
                  <a:extLst>
                    <a:ext uri="{FF2B5EF4-FFF2-40B4-BE49-F238E27FC236}">
                      <a16:creationId xmlns:a16="http://schemas.microsoft.com/office/drawing/2014/main" id="{3ABEB339-122E-4C28-AFB4-F24F8B312BA4}"/>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52" name="Group 151">
              <a:extLst>
                <a:ext uri="{FF2B5EF4-FFF2-40B4-BE49-F238E27FC236}">
                  <a16:creationId xmlns:a16="http://schemas.microsoft.com/office/drawing/2014/main" id="{E32389C5-753E-487D-BE3B-4AE3FC5D531C}"/>
                </a:ext>
              </a:extLst>
            </p:cNvPr>
            <p:cNvGrpSpPr/>
            <p:nvPr/>
          </p:nvGrpSpPr>
          <p:grpSpPr>
            <a:xfrm>
              <a:off x="1799537" y="2094016"/>
              <a:ext cx="1491424" cy="749099"/>
              <a:chOff x="6621828" y="1373655"/>
              <a:chExt cx="1630470" cy="818938"/>
            </a:xfrm>
            <a:solidFill>
              <a:schemeClr val="bg2">
                <a:lumMod val="85000"/>
              </a:schemeClr>
            </a:solidFill>
          </p:grpSpPr>
          <p:sp>
            <p:nvSpPr>
              <p:cNvPr id="250" name="Rectangle: Rounded Corners 190">
                <a:extLst>
                  <a:ext uri="{FF2B5EF4-FFF2-40B4-BE49-F238E27FC236}">
                    <a16:creationId xmlns:a16="http://schemas.microsoft.com/office/drawing/2014/main" id="{8079DF5E-9DAA-45E4-9AAA-30A009202DD5}"/>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1" name="Rectangle: Rounded Corners 191">
                <a:extLst>
                  <a:ext uri="{FF2B5EF4-FFF2-40B4-BE49-F238E27FC236}">
                    <a16:creationId xmlns:a16="http://schemas.microsoft.com/office/drawing/2014/main" id="{7EA3D841-0D83-434C-AB20-38C9CF3D8529}"/>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2" name="Rectangle: Rounded Corners 192">
                <a:extLst>
                  <a:ext uri="{FF2B5EF4-FFF2-40B4-BE49-F238E27FC236}">
                    <a16:creationId xmlns:a16="http://schemas.microsoft.com/office/drawing/2014/main" id="{143F3270-76D5-41A5-9CA9-44B5F2A4F3ED}"/>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3" name="Rectangle: Rounded Corners 194">
                <a:extLst>
                  <a:ext uri="{FF2B5EF4-FFF2-40B4-BE49-F238E27FC236}">
                    <a16:creationId xmlns:a16="http://schemas.microsoft.com/office/drawing/2014/main" id="{1EFC6E91-367F-4D1E-AEEA-410D165D26C2}"/>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4" name="Rectangle: Rounded Corners 228">
                <a:extLst>
                  <a:ext uri="{FF2B5EF4-FFF2-40B4-BE49-F238E27FC236}">
                    <a16:creationId xmlns:a16="http://schemas.microsoft.com/office/drawing/2014/main" id="{3B454622-3AFB-4FBE-8B81-A4F5B9E2DBB7}"/>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5" name="Rectangle: Rounded Corners 229">
                <a:extLst>
                  <a:ext uri="{FF2B5EF4-FFF2-40B4-BE49-F238E27FC236}">
                    <a16:creationId xmlns:a16="http://schemas.microsoft.com/office/drawing/2014/main" id="{AC855A80-2128-4493-B5B3-3E99217F0A3C}"/>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3" name="TextBox 152">
              <a:extLst>
                <a:ext uri="{FF2B5EF4-FFF2-40B4-BE49-F238E27FC236}">
                  <a16:creationId xmlns:a16="http://schemas.microsoft.com/office/drawing/2014/main" id="{9F43945F-525F-4DFB-868E-E95F5BF78A7C}"/>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54" name="TextBox 153">
              <a:extLst>
                <a:ext uri="{FF2B5EF4-FFF2-40B4-BE49-F238E27FC236}">
                  <a16:creationId xmlns:a16="http://schemas.microsoft.com/office/drawing/2014/main" id="{9419A16B-BAF9-4297-A6BD-EB1F4AD4A326}"/>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55" name="TextBox 154">
              <a:extLst>
                <a:ext uri="{FF2B5EF4-FFF2-40B4-BE49-F238E27FC236}">
                  <a16:creationId xmlns:a16="http://schemas.microsoft.com/office/drawing/2014/main" id="{3ACFA647-8A26-4B67-9D9F-0B10DA43F05B}"/>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56" name="Group 155">
              <a:extLst>
                <a:ext uri="{FF2B5EF4-FFF2-40B4-BE49-F238E27FC236}">
                  <a16:creationId xmlns:a16="http://schemas.microsoft.com/office/drawing/2014/main" id="{72670D90-4455-4625-AF34-B066198B10ED}"/>
                </a:ext>
              </a:extLst>
            </p:cNvPr>
            <p:cNvGrpSpPr/>
            <p:nvPr/>
          </p:nvGrpSpPr>
          <p:grpSpPr>
            <a:xfrm>
              <a:off x="1722376" y="1935055"/>
              <a:ext cx="160263" cy="98451"/>
              <a:chOff x="3221673" y="3946130"/>
              <a:chExt cx="521162" cy="320153"/>
            </a:xfrm>
            <a:solidFill>
              <a:schemeClr val="accent2"/>
            </a:solidFill>
          </p:grpSpPr>
          <p:sp>
            <p:nvSpPr>
              <p:cNvPr id="248" name="Freeform 7">
                <a:extLst>
                  <a:ext uri="{FF2B5EF4-FFF2-40B4-BE49-F238E27FC236}">
                    <a16:creationId xmlns:a16="http://schemas.microsoft.com/office/drawing/2014/main" id="{89C9D017-295C-45D3-8A71-9FFB4D75DCCE}"/>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dirty="0"/>
              </a:p>
            </p:txBody>
          </p:sp>
          <p:sp>
            <p:nvSpPr>
              <p:cNvPr id="249" name="Freeform 23">
                <a:extLst>
                  <a:ext uri="{FF2B5EF4-FFF2-40B4-BE49-F238E27FC236}">
                    <a16:creationId xmlns:a16="http://schemas.microsoft.com/office/drawing/2014/main" id="{CDBE3B29-D5BF-423F-A05A-2233CB68E65F}"/>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157" name="Group 156">
              <a:extLst>
                <a:ext uri="{FF2B5EF4-FFF2-40B4-BE49-F238E27FC236}">
                  <a16:creationId xmlns:a16="http://schemas.microsoft.com/office/drawing/2014/main" id="{E2A154BD-59AF-4718-9564-C2DC362D61B8}"/>
                </a:ext>
              </a:extLst>
            </p:cNvPr>
            <p:cNvGrpSpPr/>
            <p:nvPr/>
          </p:nvGrpSpPr>
          <p:grpSpPr>
            <a:xfrm>
              <a:off x="1388809" y="1934661"/>
              <a:ext cx="166060" cy="99240"/>
              <a:chOff x="3202819" y="3711222"/>
              <a:chExt cx="348044" cy="207998"/>
            </a:xfrm>
            <a:solidFill>
              <a:schemeClr val="accent1"/>
            </a:solidFill>
          </p:grpSpPr>
          <p:sp>
            <p:nvSpPr>
              <p:cNvPr id="246" name="Freeform 77">
                <a:extLst>
                  <a:ext uri="{FF2B5EF4-FFF2-40B4-BE49-F238E27FC236}">
                    <a16:creationId xmlns:a16="http://schemas.microsoft.com/office/drawing/2014/main" id="{578B9A4A-54C7-43AB-90EC-092B8D063612}"/>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dirty="0"/>
              </a:p>
            </p:txBody>
          </p:sp>
          <p:sp>
            <p:nvSpPr>
              <p:cNvPr id="247" name="Freeform 23">
                <a:extLst>
                  <a:ext uri="{FF2B5EF4-FFF2-40B4-BE49-F238E27FC236}">
                    <a16:creationId xmlns:a16="http://schemas.microsoft.com/office/drawing/2014/main" id="{C04DBB3A-0345-4D7A-8E07-0CCECC15280A}"/>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158" name="Group 157">
              <a:extLst>
                <a:ext uri="{FF2B5EF4-FFF2-40B4-BE49-F238E27FC236}">
                  <a16:creationId xmlns:a16="http://schemas.microsoft.com/office/drawing/2014/main" id="{BD7DCB2A-3559-4685-B7DC-4987D6C0B925}"/>
                </a:ext>
              </a:extLst>
            </p:cNvPr>
            <p:cNvGrpSpPr/>
            <p:nvPr/>
          </p:nvGrpSpPr>
          <p:grpSpPr>
            <a:xfrm>
              <a:off x="1061637" y="1935056"/>
              <a:ext cx="159067" cy="98449"/>
              <a:chOff x="974446" y="1475289"/>
              <a:chExt cx="173897" cy="107627"/>
            </a:xfrm>
            <a:solidFill>
              <a:schemeClr val="accent5"/>
            </a:solidFill>
          </p:grpSpPr>
          <p:sp>
            <p:nvSpPr>
              <p:cNvPr id="244" name="Freeform 11">
                <a:extLst>
                  <a:ext uri="{FF2B5EF4-FFF2-40B4-BE49-F238E27FC236}">
                    <a16:creationId xmlns:a16="http://schemas.microsoft.com/office/drawing/2014/main" id="{A89BA7DB-53E6-4409-826A-A5F627750C13}"/>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45" name="Freeform 23">
                <a:extLst>
                  <a:ext uri="{FF2B5EF4-FFF2-40B4-BE49-F238E27FC236}">
                    <a16:creationId xmlns:a16="http://schemas.microsoft.com/office/drawing/2014/main" id="{D05ACEBB-2B32-483C-A036-30E1081A6F65}"/>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159" name="Group 158">
              <a:extLst>
                <a:ext uri="{FF2B5EF4-FFF2-40B4-BE49-F238E27FC236}">
                  <a16:creationId xmlns:a16="http://schemas.microsoft.com/office/drawing/2014/main" id="{92FE34F5-11D0-4B44-8D7B-25CB899AEE89}"/>
                </a:ext>
              </a:extLst>
            </p:cNvPr>
            <p:cNvGrpSpPr/>
            <p:nvPr/>
          </p:nvGrpSpPr>
          <p:grpSpPr>
            <a:xfrm>
              <a:off x="3062826" y="1914581"/>
              <a:ext cx="396817" cy="396817"/>
              <a:chOff x="3119641" y="1416189"/>
              <a:chExt cx="507244" cy="507244"/>
            </a:xfrm>
          </p:grpSpPr>
          <p:sp>
            <p:nvSpPr>
              <p:cNvPr id="237" name="Oval 236">
                <a:extLst>
                  <a:ext uri="{FF2B5EF4-FFF2-40B4-BE49-F238E27FC236}">
                    <a16:creationId xmlns:a16="http://schemas.microsoft.com/office/drawing/2014/main" id="{1CE55FA4-0CB6-40F1-A4FB-3E27AAA67B72}"/>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8" name="Group 237">
                <a:extLst>
                  <a:ext uri="{FF2B5EF4-FFF2-40B4-BE49-F238E27FC236}">
                    <a16:creationId xmlns:a16="http://schemas.microsoft.com/office/drawing/2014/main" id="{0DE03B5A-4C08-42EB-9FB9-8B2E10C116B6}"/>
                  </a:ext>
                </a:extLst>
              </p:cNvPr>
              <p:cNvGrpSpPr/>
              <p:nvPr/>
            </p:nvGrpSpPr>
            <p:grpSpPr>
              <a:xfrm>
                <a:off x="3179583" y="1476131"/>
                <a:ext cx="387360" cy="387360"/>
                <a:chOff x="2652535" y="-3571486"/>
                <a:chExt cx="4882348" cy="4882348"/>
              </a:xfrm>
              <a:solidFill>
                <a:schemeClr val="bg2"/>
              </a:solidFill>
            </p:grpSpPr>
            <p:sp>
              <p:nvSpPr>
                <p:cNvPr id="239" name="Freeform: Shape 298">
                  <a:extLst>
                    <a:ext uri="{FF2B5EF4-FFF2-40B4-BE49-F238E27FC236}">
                      <a16:creationId xmlns:a16="http://schemas.microsoft.com/office/drawing/2014/main" id="{D79CAB1B-2852-4418-B899-C1E3F0DDCCBF}"/>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0" name="Freeform: Shape 299">
                  <a:extLst>
                    <a:ext uri="{FF2B5EF4-FFF2-40B4-BE49-F238E27FC236}">
                      <a16:creationId xmlns:a16="http://schemas.microsoft.com/office/drawing/2014/main" id="{ACC74B3D-3050-4CF2-BB27-F30877392433}"/>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241" name="Group 240">
                  <a:extLst>
                    <a:ext uri="{FF2B5EF4-FFF2-40B4-BE49-F238E27FC236}">
                      <a16:creationId xmlns:a16="http://schemas.microsoft.com/office/drawing/2014/main" id="{14230529-889F-4780-BB3F-362148159553}"/>
                    </a:ext>
                  </a:extLst>
                </p:cNvPr>
                <p:cNvGrpSpPr/>
                <p:nvPr/>
              </p:nvGrpSpPr>
              <p:grpSpPr>
                <a:xfrm rot="5400000">
                  <a:off x="4197485" y="-3571486"/>
                  <a:ext cx="1792447" cy="4882348"/>
                  <a:chOff x="4197485" y="-3571486"/>
                  <a:chExt cx="1792447" cy="4882348"/>
                </a:xfrm>
                <a:grpFill/>
              </p:grpSpPr>
              <p:sp>
                <p:nvSpPr>
                  <p:cNvPr id="242" name="Freeform: Shape 301">
                    <a:extLst>
                      <a:ext uri="{FF2B5EF4-FFF2-40B4-BE49-F238E27FC236}">
                        <a16:creationId xmlns:a16="http://schemas.microsoft.com/office/drawing/2014/main" id="{1DCF4A36-99E5-4F1C-94FE-8979167F2FF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3" name="Freeform: Shape 302">
                    <a:extLst>
                      <a:ext uri="{FF2B5EF4-FFF2-40B4-BE49-F238E27FC236}">
                        <a16:creationId xmlns:a16="http://schemas.microsoft.com/office/drawing/2014/main" id="{048C7EA5-B17A-4383-8AF9-83301A2FCF5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60" name="Group 159">
              <a:extLst>
                <a:ext uri="{FF2B5EF4-FFF2-40B4-BE49-F238E27FC236}">
                  <a16:creationId xmlns:a16="http://schemas.microsoft.com/office/drawing/2014/main" id="{EDD6F3C9-750F-4B2C-A69C-400657B3B763}"/>
                </a:ext>
              </a:extLst>
            </p:cNvPr>
            <p:cNvGrpSpPr/>
            <p:nvPr/>
          </p:nvGrpSpPr>
          <p:grpSpPr>
            <a:xfrm>
              <a:off x="3062825" y="2564264"/>
              <a:ext cx="396817" cy="396817"/>
              <a:chOff x="3119639" y="2126441"/>
              <a:chExt cx="507244" cy="507244"/>
            </a:xfrm>
          </p:grpSpPr>
          <p:sp>
            <p:nvSpPr>
              <p:cNvPr id="230" name="Oval 229">
                <a:extLst>
                  <a:ext uri="{FF2B5EF4-FFF2-40B4-BE49-F238E27FC236}">
                    <a16:creationId xmlns:a16="http://schemas.microsoft.com/office/drawing/2014/main" id="{F3DC5A1A-2D3F-4608-879A-1CEA77CA86C8}"/>
                  </a:ext>
                </a:extLst>
              </p:cNvPr>
              <p:cNvSpPr/>
              <p:nvPr/>
            </p:nvSpPr>
            <p:spPr>
              <a:xfrm>
                <a:off x="3119639" y="2126441"/>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1" name="Group 230">
                <a:extLst>
                  <a:ext uri="{FF2B5EF4-FFF2-40B4-BE49-F238E27FC236}">
                    <a16:creationId xmlns:a16="http://schemas.microsoft.com/office/drawing/2014/main" id="{DD26C18B-6EB8-4157-AECB-3836156F28E7}"/>
                  </a:ext>
                </a:extLst>
              </p:cNvPr>
              <p:cNvGrpSpPr/>
              <p:nvPr/>
            </p:nvGrpSpPr>
            <p:grpSpPr>
              <a:xfrm>
                <a:off x="3179583" y="2186385"/>
                <a:ext cx="387360" cy="387360"/>
                <a:chOff x="2652535" y="-3571486"/>
                <a:chExt cx="4882348" cy="4882348"/>
              </a:xfrm>
              <a:solidFill>
                <a:schemeClr val="bg2"/>
              </a:solidFill>
            </p:grpSpPr>
            <p:sp>
              <p:nvSpPr>
                <p:cNvPr id="232" name="Freeform: Shape 310">
                  <a:extLst>
                    <a:ext uri="{FF2B5EF4-FFF2-40B4-BE49-F238E27FC236}">
                      <a16:creationId xmlns:a16="http://schemas.microsoft.com/office/drawing/2014/main" id="{727A02A4-E759-4DF3-839D-699233D8FCB3}"/>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33" name="Freeform: Shape 311">
                  <a:extLst>
                    <a:ext uri="{FF2B5EF4-FFF2-40B4-BE49-F238E27FC236}">
                      <a16:creationId xmlns:a16="http://schemas.microsoft.com/office/drawing/2014/main" id="{32B788DF-0A00-4893-A5F0-DC9B7E401FBF}"/>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234" name="Group 233">
                  <a:extLst>
                    <a:ext uri="{FF2B5EF4-FFF2-40B4-BE49-F238E27FC236}">
                      <a16:creationId xmlns:a16="http://schemas.microsoft.com/office/drawing/2014/main" id="{04BD2D37-5BC8-4BD8-BC08-329ACC960C25}"/>
                    </a:ext>
                  </a:extLst>
                </p:cNvPr>
                <p:cNvGrpSpPr/>
                <p:nvPr/>
              </p:nvGrpSpPr>
              <p:grpSpPr>
                <a:xfrm rot="5400000">
                  <a:off x="4197485" y="-3571486"/>
                  <a:ext cx="1792447" cy="4882348"/>
                  <a:chOff x="4197485" y="-3571486"/>
                  <a:chExt cx="1792447" cy="4882348"/>
                </a:xfrm>
                <a:grpFill/>
              </p:grpSpPr>
              <p:sp>
                <p:nvSpPr>
                  <p:cNvPr id="235" name="Freeform: Shape 313">
                    <a:extLst>
                      <a:ext uri="{FF2B5EF4-FFF2-40B4-BE49-F238E27FC236}">
                        <a16:creationId xmlns:a16="http://schemas.microsoft.com/office/drawing/2014/main" id="{C3DFC3FF-D199-4AF0-9E3A-AA7D7ADC095A}"/>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36" name="Freeform: Shape 314">
                    <a:extLst>
                      <a:ext uri="{FF2B5EF4-FFF2-40B4-BE49-F238E27FC236}">
                        <a16:creationId xmlns:a16="http://schemas.microsoft.com/office/drawing/2014/main" id="{EA3139C1-055B-42B4-B442-8071BDD449A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61" name="Group 160">
              <a:extLst>
                <a:ext uri="{FF2B5EF4-FFF2-40B4-BE49-F238E27FC236}">
                  <a16:creationId xmlns:a16="http://schemas.microsoft.com/office/drawing/2014/main" id="{6EA6FB03-9DF6-42BA-A8E5-38726990EE6E}"/>
                </a:ext>
              </a:extLst>
            </p:cNvPr>
            <p:cNvGrpSpPr/>
            <p:nvPr/>
          </p:nvGrpSpPr>
          <p:grpSpPr>
            <a:xfrm>
              <a:off x="4413642" y="1914581"/>
              <a:ext cx="396817" cy="396817"/>
              <a:chOff x="4596394" y="1416189"/>
              <a:chExt cx="507244" cy="507244"/>
            </a:xfrm>
          </p:grpSpPr>
          <p:sp>
            <p:nvSpPr>
              <p:cNvPr id="223" name="Oval 222">
                <a:extLst>
                  <a:ext uri="{FF2B5EF4-FFF2-40B4-BE49-F238E27FC236}">
                    <a16:creationId xmlns:a16="http://schemas.microsoft.com/office/drawing/2014/main" id="{B38C67A0-7A73-449F-99B9-C69F7C6024E2}"/>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4" name="Group 223">
                <a:extLst>
                  <a:ext uri="{FF2B5EF4-FFF2-40B4-BE49-F238E27FC236}">
                    <a16:creationId xmlns:a16="http://schemas.microsoft.com/office/drawing/2014/main" id="{DF6BB304-2DA7-4346-932E-7B721B29810E}"/>
                  </a:ext>
                </a:extLst>
              </p:cNvPr>
              <p:cNvGrpSpPr/>
              <p:nvPr/>
            </p:nvGrpSpPr>
            <p:grpSpPr>
              <a:xfrm>
                <a:off x="4656336" y="1476131"/>
                <a:ext cx="387360" cy="387360"/>
                <a:chOff x="2652535" y="-3571486"/>
                <a:chExt cx="4882348" cy="4882348"/>
              </a:xfrm>
              <a:solidFill>
                <a:schemeClr val="bg2"/>
              </a:solidFill>
            </p:grpSpPr>
            <p:sp>
              <p:nvSpPr>
                <p:cNvPr id="225" name="Freeform: Shape 316">
                  <a:extLst>
                    <a:ext uri="{FF2B5EF4-FFF2-40B4-BE49-F238E27FC236}">
                      <a16:creationId xmlns:a16="http://schemas.microsoft.com/office/drawing/2014/main" id="{AAAA778F-7674-4DD8-9ECE-E6BB3858D44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26" name="Freeform: Shape 317">
                  <a:extLst>
                    <a:ext uri="{FF2B5EF4-FFF2-40B4-BE49-F238E27FC236}">
                      <a16:creationId xmlns:a16="http://schemas.microsoft.com/office/drawing/2014/main" id="{9FBEA8C8-1E76-4B6F-8048-E987742D7E97}"/>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227" name="Group 226">
                  <a:extLst>
                    <a:ext uri="{FF2B5EF4-FFF2-40B4-BE49-F238E27FC236}">
                      <a16:creationId xmlns:a16="http://schemas.microsoft.com/office/drawing/2014/main" id="{00797AF9-FD7E-4037-AEA3-3A56F45051C6}"/>
                    </a:ext>
                  </a:extLst>
                </p:cNvPr>
                <p:cNvGrpSpPr/>
                <p:nvPr/>
              </p:nvGrpSpPr>
              <p:grpSpPr>
                <a:xfrm rot="5400000">
                  <a:off x="4197485" y="-3571486"/>
                  <a:ext cx="1792447" cy="4882348"/>
                  <a:chOff x="4197485" y="-3571486"/>
                  <a:chExt cx="1792447" cy="4882348"/>
                </a:xfrm>
                <a:grpFill/>
              </p:grpSpPr>
              <p:sp>
                <p:nvSpPr>
                  <p:cNvPr id="228" name="Freeform: Shape 319">
                    <a:extLst>
                      <a:ext uri="{FF2B5EF4-FFF2-40B4-BE49-F238E27FC236}">
                        <a16:creationId xmlns:a16="http://schemas.microsoft.com/office/drawing/2014/main" id="{76728EFC-70B4-4AC7-B0E6-9176ED2EEF8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29" name="Freeform: Shape 320">
                    <a:extLst>
                      <a:ext uri="{FF2B5EF4-FFF2-40B4-BE49-F238E27FC236}">
                        <a16:creationId xmlns:a16="http://schemas.microsoft.com/office/drawing/2014/main" id="{6733EAA7-8B2B-4BD1-9F1D-B91EBE3380F2}"/>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62" name="Group 161">
              <a:extLst>
                <a:ext uri="{FF2B5EF4-FFF2-40B4-BE49-F238E27FC236}">
                  <a16:creationId xmlns:a16="http://schemas.microsoft.com/office/drawing/2014/main" id="{FBE34D47-C2F6-4188-A018-2B73A4D863D9}"/>
                </a:ext>
              </a:extLst>
            </p:cNvPr>
            <p:cNvGrpSpPr/>
            <p:nvPr/>
          </p:nvGrpSpPr>
          <p:grpSpPr>
            <a:xfrm>
              <a:off x="4413642" y="2564265"/>
              <a:ext cx="396817" cy="396817"/>
              <a:chOff x="4596394" y="2126443"/>
              <a:chExt cx="507244" cy="507244"/>
            </a:xfrm>
          </p:grpSpPr>
          <p:sp>
            <p:nvSpPr>
              <p:cNvPr id="216" name="Oval 215">
                <a:extLst>
                  <a:ext uri="{FF2B5EF4-FFF2-40B4-BE49-F238E27FC236}">
                    <a16:creationId xmlns:a16="http://schemas.microsoft.com/office/drawing/2014/main" id="{49060467-733E-4E01-B80E-059FAC8046BC}"/>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7" name="Group 216">
                <a:extLst>
                  <a:ext uri="{FF2B5EF4-FFF2-40B4-BE49-F238E27FC236}">
                    <a16:creationId xmlns:a16="http://schemas.microsoft.com/office/drawing/2014/main" id="{CDBDF8A6-854C-4A1F-9529-E12C3EC6251C}"/>
                  </a:ext>
                </a:extLst>
              </p:cNvPr>
              <p:cNvGrpSpPr/>
              <p:nvPr/>
            </p:nvGrpSpPr>
            <p:grpSpPr>
              <a:xfrm>
                <a:off x="4656336" y="2186385"/>
                <a:ext cx="387360" cy="387360"/>
                <a:chOff x="2652535" y="-3571486"/>
                <a:chExt cx="4882348" cy="4882348"/>
              </a:xfrm>
              <a:solidFill>
                <a:schemeClr val="bg2"/>
              </a:solidFill>
            </p:grpSpPr>
            <p:sp>
              <p:nvSpPr>
                <p:cNvPr id="218" name="Freeform: Shape 322">
                  <a:extLst>
                    <a:ext uri="{FF2B5EF4-FFF2-40B4-BE49-F238E27FC236}">
                      <a16:creationId xmlns:a16="http://schemas.microsoft.com/office/drawing/2014/main" id="{EE89A146-2330-415D-BF93-A10F9CF1C6A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9" name="Freeform: Shape 323">
                  <a:extLst>
                    <a:ext uri="{FF2B5EF4-FFF2-40B4-BE49-F238E27FC236}">
                      <a16:creationId xmlns:a16="http://schemas.microsoft.com/office/drawing/2014/main" id="{547C92C2-BB6F-4A59-87CA-BF69A3886CF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220" name="Group 219">
                  <a:extLst>
                    <a:ext uri="{FF2B5EF4-FFF2-40B4-BE49-F238E27FC236}">
                      <a16:creationId xmlns:a16="http://schemas.microsoft.com/office/drawing/2014/main" id="{FABFBEB2-AE83-4D5E-A536-BA1FD4E9C9B2}"/>
                    </a:ext>
                  </a:extLst>
                </p:cNvPr>
                <p:cNvGrpSpPr/>
                <p:nvPr/>
              </p:nvGrpSpPr>
              <p:grpSpPr>
                <a:xfrm rot="5400000">
                  <a:off x="4197485" y="-3571486"/>
                  <a:ext cx="1792447" cy="4882348"/>
                  <a:chOff x="4197485" y="-3571486"/>
                  <a:chExt cx="1792447" cy="4882348"/>
                </a:xfrm>
                <a:grpFill/>
              </p:grpSpPr>
              <p:sp>
                <p:nvSpPr>
                  <p:cNvPr id="221" name="Freeform: Shape 325">
                    <a:extLst>
                      <a:ext uri="{FF2B5EF4-FFF2-40B4-BE49-F238E27FC236}">
                        <a16:creationId xmlns:a16="http://schemas.microsoft.com/office/drawing/2014/main" id="{E1A1ECA5-F43F-45E2-B4DE-8A9CC270D33F}"/>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22" name="Freeform: Shape 326">
                    <a:extLst>
                      <a:ext uri="{FF2B5EF4-FFF2-40B4-BE49-F238E27FC236}">
                        <a16:creationId xmlns:a16="http://schemas.microsoft.com/office/drawing/2014/main" id="{04370FF7-734A-461E-9DEC-F67583600487}"/>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63" name="Group 162">
              <a:extLst>
                <a:ext uri="{FF2B5EF4-FFF2-40B4-BE49-F238E27FC236}">
                  <a16:creationId xmlns:a16="http://schemas.microsoft.com/office/drawing/2014/main" id="{8497AB3C-89CD-4E19-8BDA-2CFFBA3275B2}"/>
                </a:ext>
              </a:extLst>
            </p:cNvPr>
            <p:cNvGrpSpPr/>
            <p:nvPr/>
          </p:nvGrpSpPr>
          <p:grpSpPr>
            <a:xfrm>
              <a:off x="6807004" y="1957907"/>
              <a:ext cx="819226" cy="517562"/>
              <a:chOff x="6444145" y="1701124"/>
              <a:chExt cx="1280626" cy="802839"/>
            </a:xfrm>
            <a:solidFill>
              <a:schemeClr val="tx2"/>
            </a:solidFill>
          </p:grpSpPr>
          <p:grpSp>
            <p:nvGrpSpPr>
              <p:cNvPr id="210" name="Group 209">
                <a:extLst>
                  <a:ext uri="{FF2B5EF4-FFF2-40B4-BE49-F238E27FC236}">
                    <a16:creationId xmlns:a16="http://schemas.microsoft.com/office/drawing/2014/main" id="{8BA57624-84C6-4DFE-A703-E6000F105DBA}"/>
                  </a:ext>
                </a:extLst>
              </p:cNvPr>
              <p:cNvGrpSpPr/>
              <p:nvPr/>
            </p:nvGrpSpPr>
            <p:grpSpPr>
              <a:xfrm>
                <a:off x="6444145" y="2041258"/>
                <a:ext cx="1280626" cy="462705"/>
                <a:chOff x="6799745" y="2065165"/>
                <a:chExt cx="1280626" cy="462705"/>
              </a:xfrm>
              <a:grpFill/>
            </p:grpSpPr>
            <p:sp>
              <p:nvSpPr>
                <p:cNvPr id="214" name="Rectangle: Rounded Corners 351">
                  <a:extLst>
                    <a:ext uri="{FF2B5EF4-FFF2-40B4-BE49-F238E27FC236}">
                      <a16:creationId xmlns:a16="http://schemas.microsoft.com/office/drawing/2014/main" id="{85697F67-085D-47EA-B3FD-48B65BFCBE13}"/>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Rectangle: Rounded Corners 353">
                  <a:extLst>
                    <a:ext uri="{FF2B5EF4-FFF2-40B4-BE49-F238E27FC236}">
                      <a16:creationId xmlns:a16="http://schemas.microsoft.com/office/drawing/2014/main" id="{082B2446-BEDE-404A-A7E0-EE577D41369C}"/>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1" name="Group 210">
                <a:extLst>
                  <a:ext uri="{FF2B5EF4-FFF2-40B4-BE49-F238E27FC236}">
                    <a16:creationId xmlns:a16="http://schemas.microsoft.com/office/drawing/2014/main" id="{3EAD7F73-9294-4763-9337-42E177AB4E9E}"/>
                  </a:ext>
                </a:extLst>
              </p:cNvPr>
              <p:cNvGrpSpPr/>
              <p:nvPr/>
            </p:nvGrpSpPr>
            <p:grpSpPr>
              <a:xfrm>
                <a:off x="6691732" y="1701124"/>
                <a:ext cx="956368" cy="458033"/>
                <a:chOff x="7044558" y="1563201"/>
                <a:chExt cx="964127" cy="461749"/>
              </a:xfrm>
              <a:grpFill/>
            </p:grpSpPr>
            <p:sp>
              <p:nvSpPr>
                <p:cNvPr id="212" name="Rectangle: Rounded Corners 347">
                  <a:extLst>
                    <a:ext uri="{FF2B5EF4-FFF2-40B4-BE49-F238E27FC236}">
                      <a16:creationId xmlns:a16="http://schemas.microsoft.com/office/drawing/2014/main" id="{3B077099-DA24-45BD-B8EA-114F51083FF2}"/>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3" name="Rectangle: Rounded Corners 348">
                  <a:extLst>
                    <a:ext uri="{FF2B5EF4-FFF2-40B4-BE49-F238E27FC236}">
                      <a16:creationId xmlns:a16="http://schemas.microsoft.com/office/drawing/2014/main" id="{C27DF1EA-3D7B-4115-AEA7-E71479253C49}"/>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64" name="Group 163">
              <a:extLst>
                <a:ext uri="{FF2B5EF4-FFF2-40B4-BE49-F238E27FC236}">
                  <a16:creationId xmlns:a16="http://schemas.microsoft.com/office/drawing/2014/main" id="{EEA93865-38A8-4CB7-905E-8342D3839218}"/>
                </a:ext>
              </a:extLst>
            </p:cNvPr>
            <p:cNvGrpSpPr/>
            <p:nvPr/>
          </p:nvGrpSpPr>
          <p:grpSpPr>
            <a:xfrm>
              <a:off x="6999001" y="2588405"/>
              <a:ext cx="228070" cy="228070"/>
              <a:chOff x="7547191" y="1416189"/>
              <a:chExt cx="507244" cy="507244"/>
            </a:xfrm>
          </p:grpSpPr>
          <p:sp>
            <p:nvSpPr>
              <p:cNvPr id="208" name="Oval 207">
                <a:extLst>
                  <a:ext uri="{FF2B5EF4-FFF2-40B4-BE49-F238E27FC236}">
                    <a16:creationId xmlns:a16="http://schemas.microsoft.com/office/drawing/2014/main" id="{D7A4C4FE-08D8-40BF-8D34-008988F5E034}"/>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Freeform 594">
                <a:extLst>
                  <a:ext uri="{FF2B5EF4-FFF2-40B4-BE49-F238E27FC236}">
                    <a16:creationId xmlns:a16="http://schemas.microsoft.com/office/drawing/2014/main" id="{3EDA4F48-486B-446B-B16C-B2FC36673507}"/>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5" name="Group 164">
              <a:extLst>
                <a:ext uri="{FF2B5EF4-FFF2-40B4-BE49-F238E27FC236}">
                  <a16:creationId xmlns:a16="http://schemas.microsoft.com/office/drawing/2014/main" id="{52829E4B-6C65-482B-9C6B-7C53A7ECA79A}"/>
                </a:ext>
              </a:extLst>
            </p:cNvPr>
            <p:cNvGrpSpPr/>
            <p:nvPr/>
          </p:nvGrpSpPr>
          <p:grpSpPr>
            <a:xfrm>
              <a:off x="4858902" y="2770027"/>
              <a:ext cx="860793" cy="301990"/>
              <a:chOff x="5119882" y="2533650"/>
              <a:chExt cx="941045" cy="425467"/>
            </a:xfrm>
          </p:grpSpPr>
          <p:sp>
            <p:nvSpPr>
              <p:cNvPr id="204" name="Rounded Rectangle 133">
                <a:extLst>
                  <a:ext uri="{FF2B5EF4-FFF2-40B4-BE49-F238E27FC236}">
                    <a16:creationId xmlns:a16="http://schemas.microsoft.com/office/drawing/2014/main" id="{15CB086E-9411-4E51-BF90-58496C04824C}"/>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205" name="Group 204">
                <a:extLst>
                  <a:ext uri="{FF2B5EF4-FFF2-40B4-BE49-F238E27FC236}">
                    <a16:creationId xmlns:a16="http://schemas.microsoft.com/office/drawing/2014/main" id="{3AA361E7-A740-4BBA-B383-DFBE6AF587F5}"/>
                  </a:ext>
                </a:extLst>
              </p:cNvPr>
              <p:cNvGrpSpPr/>
              <p:nvPr/>
            </p:nvGrpSpPr>
            <p:grpSpPr>
              <a:xfrm>
                <a:off x="5538458" y="2727217"/>
                <a:ext cx="433750" cy="208020"/>
                <a:chOff x="7583358" y="2759986"/>
                <a:chExt cx="552936" cy="265180"/>
              </a:xfrm>
            </p:grpSpPr>
            <p:pic>
              <p:nvPicPr>
                <p:cNvPr id="206" name="Picture 205">
                  <a:extLst>
                    <a:ext uri="{FF2B5EF4-FFF2-40B4-BE49-F238E27FC236}">
                      <a16:creationId xmlns:a16="http://schemas.microsoft.com/office/drawing/2014/main" id="{B68C8DA1-9E48-44E1-9BE1-D4F1E7E9F294}"/>
                    </a:ext>
                  </a:extLst>
                </p:cNvPr>
                <p:cNvPicPr>
                  <a:picLocks noChangeAspect="1"/>
                </p:cNvPicPr>
                <p:nvPr/>
              </p:nvPicPr>
              <p:blipFill rotWithShape="1">
                <a:blip r:embed="rId3"/>
                <a:srcRect l="1971" t="1971" r="1971" b="1971"/>
                <a:stretch/>
              </p:blipFill>
              <p:spPr>
                <a:xfrm>
                  <a:off x="7583358" y="2759986"/>
                  <a:ext cx="265179" cy="265176"/>
                </a:xfrm>
                <a:prstGeom prst="roundRect">
                  <a:avLst>
                    <a:gd name="adj" fmla="val 22436"/>
                  </a:avLst>
                </a:prstGeom>
              </p:spPr>
            </p:pic>
            <p:pic>
              <p:nvPicPr>
                <p:cNvPr id="207" name="Picture 206">
                  <a:extLst>
                    <a:ext uri="{FF2B5EF4-FFF2-40B4-BE49-F238E27FC236}">
                      <a16:creationId xmlns:a16="http://schemas.microsoft.com/office/drawing/2014/main" id="{AEE8C32B-1088-4EAF-B696-F34B2E204B3B}"/>
                    </a:ext>
                  </a:extLst>
                </p:cNvPr>
                <p:cNvPicPr>
                  <a:picLocks noChangeAspect="1"/>
                </p:cNvPicPr>
                <p:nvPr/>
              </p:nvPicPr>
              <p:blipFill>
                <a:blip r:embed="rId4"/>
                <a:stretch>
                  <a:fillRect/>
                </a:stretch>
              </p:blipFill>
              <p:spPr>
                <a:xfrm>
                  <a:off x="7871115" y="2759990"/>
                  <a:ext cx="265179" cy="265176"/>
                </a:xfrm>
                <a:prstGeom prst="roundRect">
                  <a:avLst>
                    <a:gd name="adj" fmla="val 21600"/>
                  </a:avLst>
                </a:prstGeom>
              </p:spPr>
            </p:pic>
          </p:grpSp>
        </p:grpSp>
        <p:grpSp>
          <p:nvGrpSpPr>
            <p:cNvPr id="166" name="Group 165">
              <a:extLst>
                <a:ext uri="{FF2B5EF4-FFF2-40B4-BE49-F238E27FC236}">
                  <a16:creationId xmlns:a16="http://schemas.microsoft.com/office/drawing/2014/main" id="{C67050C7-9503-4D8B-B099-65AF09205B85}"/>
                </a:ext>
              </a:extLst>
            </p:cNvPr>
            <p:cNvGrpSpPr/>
            <p:nvPr/>
          </p:nvGrpSpPr>
          <p:grpSpPr>
            <a:xfrm>
              <a:off x="5413022" y="2657499"/>
              <a:ext cx="228070" cy="228070"/>
              <a:chOff x="7547191" y="1416189"/>
              <a:chExt cx="507244" cy="507244"/>
            </a:xfrm>
          </p:grpSpPr>
          <p:sp>
            <p:nvSpPr>
              <p:cNvPr id="202" name="Oval 201">
                <a:extLst>
                  <a:ext uri="{FF2B5EF4-FFF2-40B4-BE49-F238E27FC236}">
                    <a16:creationId xmlns:a16="http://schemas.microsoft.com/office/drawing/2014/main" id="{5F1D40E7-B2C0-494D-9607-1018F852253A}"/>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3" name="Freeform 594">
                <a:extLst>
                  <a:ext uri="{FF2B5EF4-FFF2-40B4-BE49-F238E27FC236}">
                    <a16:creationId xmlns:a16="http://schemas.microsoft.com/office/drawing/2014/main" id="{6E1A827C-42E2-4B8C-8632-9692FCE8907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7" name="Group 166">
              <a:extLst>
                <a:ext uri="{FF2B5EF4-FFF2-40B4-BE49-F238E27FC236}">
                  <a16:creationId xmlns:a16="http://schemas.microsoft.com/office/drawing/2014/main" id="{9B53F303-2950-48A1-B5AB-9E87B8A7AB08}"/>
                </a:ext>
              </a:extLst>
            </p:cNvPr>
            <p:cNvGrpSpPr/>
            <p:nvPr/>
          </p:nvGrpSpPr>
          <p:grpSpPr>
            <a:xfrm>
              <a:off x="3509160" y="2770027"/>
              <a:ext cx="860793" cy="301990"/>
              <a:chOff x="3644303" y="2533650"/>
              <a:chExt cx="941045" cy="425467"/>
            </a:xfrm>
          </p:grpSpPr>
          <p:sp>
            <p:nvSpPr>
              <p:cNvPr id="198" name="Rounded Rectangle 133">
                <a:extLst>
                  <a:ext uri="{FF2B5EF4-FFF2-40B4-BE49-F238E27FC236}">
                    <a16:creationId xmlns:a16="http://schemas.microsoft.com/office/drawing/2014/main" id="{62D47706-7CC5-46A0-B65D-285B5DA13A57}"/>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9" name="Group 198">
                <a:extLst>
                  <a:ext uri="{FF2B5EF4-FFF2-40B4-BE49-F238E27FC236}">
                    <a16:creationId xmlns:a16="http://schemas.microsoft.com/office/drawing/2014/main" id="{146141E0-C2CE-4A7F-BCC1-F89CFC4AB93D}"/>
                  </a:ext>
                </a:extLst>
              </p:cNvPr>
              <p:cNvGrpSpPr/>
              <p:nvPr/>
            </p:nvGrpSpPr>
            <p:grpSpPr>
              <a:xfrm>
                <a:off x="4086942" y="2727217"/>
                <a:ext cx="433750" cy="208020"/>
                <a:chOff x="7614033" y="2759986"/>
                <a:chExt cx="552936" cy="265180"/>
              </a:xfrm>
            </p:grpSpPr>
            <p:pic>
              <p:nvPicPr>
                <p:cNvPr id="200" name="Picture 199">
                  <a:extLst>
                    <a:ext uri="{FF2B5EF4-FFF2-40B4-BE49-F238E27FC236}">
                      <a16:creationId xmlns:a16="http://schemas.microsoft.com/office/drawing/2014/main" id="{3FEB60E7-F59C-4608-BC3B-90F2BD273E9E}"/>
                    </a:ext>
                  </a:extLst>
                </p:cNvPr>
                <p:cNvPicPr>
                  <a:picLocks noChangeAspect="1"/>
                </p:cNvPicPr>
                <p:nvPr/>
              </p:nvPicPr>
              <p:blipFill rotWithShape="1">
                <a:blip r:embed="rId3"/>
                <a:srcRect l="1971" t="1971" r="1971" b="1971"/>
                <a:stretch/>
              </p:blipFill>
              <p:spPr>
                <a:xfrm>
                  <a:off x="7614033" y="2759986"/>
                  <a:ext cx="265179" cy="265176"/>
                </a:xfrm>
                <a:prstGeom prst="roundRect">
                  <a:avLst>
                    <a:gd name="adj" fmla="val 22436"/>
                  </a:avLst>
                </a:prstGeom>
              </p:spPr>
            </p:pic>
            <p:pic>
              <p:nvPicPr>
                <p:cNvPr id="201" name="Picture 200">
                  <a:extLst>
                    <a:ext uri="{FF2B5EF4-FFF2-40B4-BE49-F238E27FC236}">
                      <a16:creationId xmlns:a16="http://schemas.microsoft.com/office/drawing/2014/main" id="{25B70B63-37C1-4542-A119-C80ACACA05FE}"/>
                    </a:ext>
                  </a:extLst>
                </p:cNvPr>
                <p:cNvPicPr>
                  <a:picLocks noChangeAspect="1"/>
                </p:cNvPicPr>
                <p:nvPr/>
              </p:nvPicPr>
              <p:blipFill>
                <a:blip r:embed="rId4"/>
                <a:stretch>
                  <a:fillRect/>
                </a:stretch>
              </p:blipFill>
              <p:spPr>
                <a:xfrm>
                  <a:off x="7901790" y="2759990"/>
                  <a:ext cx="265179" cy="265176"/>
                </a:xfrm>
                <a:prstGeom prst="roundRect">
                  <a:avLst>
                    <a:gd name="adj" fmla="val 21600"/>
                  </a:avLst>
                </a:prstGeom>
              </p:spPr>
            </p:pic>
          </p:grpSp>
        </p:grpSp>
        <p:grpSp>
          <p:nvGrpSpPr>
            <p:cNvPr id="168" name="Group 167">
              <a:extLst>
                <a:ext uri="{FF2B5EF4-FFF2-40B4-BE49-F238E27FC236}">
                  <a16:creationId xmlns:a16="http://schemas.microsoft.com/office/drawing/2014/main" id="{82936C83-4BA8-4D61-9C6A-9A41058D03CE}"/>
                </a:ext>
              </a:extLst>
            </p:cNvPr>
            <p:cNvGrpSpPr/>
            <p:nvPr/>
          </p:nvGrpSpPr>
          <p:grpSpPr>
            <a:xfrm>
              <a:off x="3939637" y="2657113"/>
              <a:ext cx="228070" cy="228070"/>
              <a:chOff x="7547191" y="1416189"/>
              <a:chExt cx="507244" cy="507244"/>
            </a:xfrm>
          </p:grpSpPr>
          <p:sp>
            <p:nvSpPr>
              <p:cNvPr id="196" name="Oval 195">
                <a:extLst>
                  <a:ext uri="{FF2B5EF4-FFF2-40B4-BE49-F238E27FC236}">
                    <a16:creationId xmlns:a16="http://schemas.microsoft.com/office/drawing/2014/main" id="{370C1659-D8F6-4739-896C-06891D36657E}"/>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Freeform 594">
                <a:extLst>
                  <a:ext uri="{FF2B5EF4-FFF2-40B4-BE49-F238E27FC236}">
                    <a16:creationId xmlns:a16="http://schemas.microsoft.com/office/drawing/2014/main" id="{5F89E112-498E-4F6C-B2CE-7EC3D2881B0E}"/>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9" name="Rectangle: Rounded Corners 692">
              <a:extLst>
                <a:ext uri="{FF2B5EF4-FFF2-40B4-BE49-F238E27FC236}">
                  <a16:creationId xmlns:a16="http://schemas.microsoft.com/office/drawing/2014/main" id="{1844D1D5-D870-4140-88E0-8FEBE5801F02}"/>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170" name="Rectangle: Rounded Corners 705">
              <a:extLst>
                <a:ext uri="{FF2B5EF4-FFF2-40B4-BE49-F238E27FC236}">
                  <a16:creationId xmlns:a16="http://schemas.microsoft.com/office/drawing/2014/main" id="{50B8C5F2-62B2-409E-A7C7-36C77A615185}"/>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171" name="Group 4">
              <a:extLst>
                <a:ext uri="{FF2B5EF4-FFF2-40B4-BE49-F238E27FC236}">
                  <a16:creationId xmlns:a16="http://schemas.microsoft.com/office/drawing/2014/main" id="{6351C747-37A9-4A0A-AD26-372A64583BA2}"/>
                </a:ext>
              </a:extLst>
            </p:cNvPr>
            <p:cNvGrpSpPr>
              <a:grpSpLocks noChangeAspect="1"/>
            </p:cNvGrpSpPr>
            <p:nvPr/>
          </p:nvGrpSpPr>
          <p:grpSpPr bwMode="auto">
            <a:xfrm>
              <a:off x="1353273" y="2463094"/>
              <a:ext cx="248989" cy="188487"/>
              <a:chOff x="740" y="0"/>
              <a:chExt cx="4280" cy="3240"/>
            </a:xfrm>
          </p:grpSpPr>
          <p:sp>
            <p:nvSpPr>
              <p:cNvPr id="192" name="Freeform 5">
                <a:extLst>
                  <a:ext uri="{FF2B5EF4-FFF2-40B4-BE49-F238E27FC236}">
                    <a16:creationId xmlns:a16="http://schemas.microsoft.com/office/drawing/2014/main" id="{ACE330FE-549F-48CD-BB15-ADD9C46B3216}"/>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6">
                <a:extLst>
                  <a:ext uri="{FF2B5EF4-FFF2-40B4-BE49-F238E27FC236}">
                    <a16:creationId xmlns:a16="http://schemas.microsoft.com/office/drawing/2014/main" id="{D495D0F1-0935-4B4D-BB63-456E955AEF10}"/>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7">
                <a:extLst>
                  <a:ext uri="{FF2B5EF4-FFF2-40B4-BE49-F238E27FC236}">
                    <a16:creationId xmlns:a16="http://schemas.microsoft.com/office/drawing/2014/main" id="{0764BC9A-2AC3-42A2-8054-6F6C88298C02}"/>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8">
                <a:extLst>
                  <a:ext uri="{FF2B5EF4-FFF2-40B4-BE49-F238E27FC236}">
                    <a16:creationId xmlns:a16="http://schemas.microsoft.com/office/drawing/2014/main" id="{26EF8592-5FB1-4B8C-9771-39743196C859}"/>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2" name="Group 171">
              <a:extLst>
                <a:ext uri="{FF2B5EF4-FFF2-40B4-BE49-F238E27FC236}">
                  <a16:creationId xmlns:a16="http://schemas.microsoft.com/office/drawing/2014/main" id="{88D49013-9C37-4975-A8B4-69FDF81C835F}"/>
                </a:ext>
              </a:extLst>
            </p:cNvPr>
            <p:cNvGrpSpPr/>
            <p:nvPr/>
          </p:nvGrpSpPr>
          <p:grpSpPr>
            <a:xfrm>
              <a:off x="1390132" y="2956526"/>
              <a:ext cx="167022" cy="230402"/>
              <a:chOff x="858973" y="1403744"/>
              <a:chExt cx="643458" cy="887629"/>
            </a:xfrm>
          </p:grpSpPr>
          <p:grpSp>
            <p:nvGrpSpPr>
              <p:cNvPr id="186" name="Group 185">
                <a:extLst>
                  <a:ext uri="{FF2B5EF4-FFF2-40B4-BE49-F238E27FC236}">
                    <a16:creationId xmlns:a16="http://schemas.microsoft.com/office/drawing/2014/main" id="{4D5CCAFD-A266-43B7-AB76-F7535EC98285}"/>
                  </a:ext>
                </a:extLst>
              </p:cNvPr>
              <p:cNvGrpSpPr/>
              <p:nvPr/>
            </p:nvGrpSpPr>
            <p:grpSpPr>
              <a:xfrm>
                <a:off x="858973" y="1403744"/>
                <a:ext cx="643458" cy="887629"/>
                <a:chOff x="565417" y="1536835"/>
                <a:chExt cx="996124" cy="1374120"/>
              </a:xfrm>
            </p:grpSpPr>
            <p:sp>
              <p:nvSpPr>
                <p:cNvPr id="188" name="Rounded Rectangle 63">
                  <a:extLst>
                    <a:ext uri="{FF2B5EF4-FFF2-40B4-BE49-F238E27FC236}">
                      <a16:creationId xmlns:a16="http://schemas.microsoft.com/office/drawing/2014/main" id="{378BC963-A2BA-479D-9822-9156295876D3}"/>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9" name="Group 188">
                  <a:extLst>
                    <a:ext uri="{FF2B5EF4-FFF2-40B4-BE49-F238E27FC236}">
                      <a16:creationId xmlns:a16="http://schemas.microsoft.com/office/drawing/2014/main" id="{75EE1036-AB86-46F3-A666-0CD7E3BD51E1}"/>
                    </a:ext>
                  </a:extLst>
                </p:cNvPr>
                <p:cNvGrpSpPr/>
                <p:nvPr/>
              </p:nvGrpSpPr>
              <p:grpSpPr>
                <a:xfrm>
                  <a:off x="565417" y="1536835"/>
                  <a:ext cx="996124" cy="1374120"/>
                  <a:chOff x="352800" y="-7200"/>
                  <a:chExt cx="1984680" cy="2737800"/>
                </a:xfrm>
              </p:grpSpPr>
              <p:sp>
                <p:nvSpPr>
                  <p:cNvPr id="190" name="Freeform: Shape 1">
                    <a:extLst>
                      <a:ext uri="{FF2B5EF4-FFF2-40B4-BE49-F238E27FC236}">
                        <a16:creationId xmlns:a16="http://schemas.microsoft.com/office/drawing/2014/main" id="{16177DFA-8931-4D73-ABD0-DCC3A0BB1442}"/>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sp>
                <p:nvSpPr>
                  <p:cNvPr id="191" name="Freeform 57">
                    <a:extLst>
                      <a:ext uri="{FF2B5EF4-FFF2-40B4-BE49-F238E27FC236}">
                        <a16:creationId xmlns:a16="http://schemas.microsoft.com/office/drawing/2014/main" id="{1366292B-C0C3-4B10-98FF-64A4DF7D56AD}"/>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grpSp>
          </p:grpSp>
          <p:sp>
            <p:nvSpPr>
              <p:cNvPr id="187" name="Freeform: Shape 796">
                <a:extLst>
                  <a:ext uri="{FF2B5EF4-FFF2-40B4-BE49-F238E27FC236}">
                    <a16:creationId xmlns:a16="http://schemas.microsoft.com/office/drawing/2014/main" id="{F64C3E69-A263-4E07-9EFA-1815D4EA3A74}"/>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grpSp>
        <p:sp>
          <p:nvSpPr>
            <p:cNvPr id="173" name="TextBox 172">
              <a:extLst>
                <a:ext uri="{FF2B5EF4-FFF2-40B4-BE49-F238E27FC236}">
                  <a16:creationId xmlns:a16="http://schemas.microsoft.com/office/drawing/2014/main" id="{3FBB8F54-46B4-4EA9-95CD-6C741558943C}"/>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174" name="TextBox 173">
              <a:extLst>
                <a:ext uri="{FF2B5EF4-FFF2-40B4-BE49-F238E27FC236}">
                  <a16:creationId xmlns:a16="http://schemas.microsoft.com/office/drawing/2014/main" id="{BAF03712-F056-4366-A45A-0C67575BBDE5}"/>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175" name="Rectangle 174">
              <a:extLst>
                <a:ext uri="{FF2B5EF4-FFF2-40B4-BE49-F238E27FC236}">
                  <a16:creationId xmlns:a16="http://schemas.microsoft.com/office/drawing/2014/main" id="{7CF0BF86-39C4-49F3-8D75-19C7E3327F2F}"/>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176" name="Rectangle 175">
              <a:extLst>
                <a:ext uri="{FF2B5EF4-FFF2-40B4-BE49-F238E27FC236}">
                  <a16:creationId xmlns:a16="http://schemas.microsoft.com/office/drawing/2014/main" id="{800E62DF-4737-4AED-B926-BF5BD26B20F9}"/>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177" name="Picture 176">
              <a:extLst>
                <a:ext uri="{FF2B5EF4-FFF2-40B4-BE49-F238E27FC236}">
                  <a16:creationId xmlns:a16="http://schemas.microsoft.com/office/drawing/2014/main" id="{B203536A-EC6D-4D44-9557-B347E7F1DE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178" name="Picture 177">
              <a:extLst>
                <a:ext uri="{FF2B5EF4-FFF2-40B4-BE49-F238E27FC236}">
                  <a16:creationId xmlns:a16="http://schemas.microsoft.com/office/drawing/2014/main" id="{EE3F0AE1-3DAB-404C-AED4-EBD4AD7B06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179" name="Rectangle: Rounded Corners 178">
              <a:extLst>
                <a:ext uri="{FF2B5EF4-FFF2-40B4-BE49-F238E27FC236}">
                  <a16:creationId xmlns:a16="http://schemas.microsoft.com/office/drawing/2014/main" id="{E9BAC382-6E1C-4D0C-B0D1-A3FF63604DBA}"/>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180" name="Rectangle: Rounded Corners 179">
              <a:extLst>
                <a:ext uri="{FF2B5EF4-FFF2-40B4-BE49-F238E27FC236}">
                  <a16:creationId xmlns:a16="http://schemas.microsoft.com/office/drawing/2014/main" id="{D087FB6D-F28F-429D-AE7B-E34F8A8C29E6}"/>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181" name="Rectangle: Rounded Corners 180">
              <a:extLst>
                <a:ext uri="{FF2B5EF4-FFF2-40B4-BE49-F238E27FC236}">
                  <a16:creationId xmlns:a16="http://schemas.microsoft.com/office/drawing/2014/main" id="{847BDA31-24DE-4B87-8D3B-F0EA4013A281}"/>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182" name="Oval 181">
              <a:extLst>
                <a:ext uri="{FF2B5EF4-FFF2-40B4-BE49-F238E27FC236}">
                  <a16:creationId xmlns:a16="http://schemas.microsoft.com/office/drawing/2014/main" id="{3558F221-299E-4067-8AF8-4BE356F074E8}"/>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23">
              <a:extLst>
                <a:ext uri="{FF2B5EF4-FFF2-40B4-BE49-F238E27FC236}">
                  <a16:creationId xmlns:a16="http://schemas.microsoft.com/office/drawing/2014/main" id="{FD1E3CC4-446D-42AE-85C1-002707C5CFB8}"/>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dirty="0"/>
            </a:p>
          </p:txBody>
        </p:sp>
        <p:sp>
          <p:nvSpPr>
            <p:cNvPr id="184" name="Arc 183">
              <a:extLst>
                <a:ext uri="{FF2B5EF4-FFF2-40B4-BE49-F238E27FC236}">
                  <a16:creationId xmlns:a16="http://schemas.microsoft.com/office/drawing/2014/main" id="{0CBC0238-B773-4D6C-86FF-C6C35D689C02}"/>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85" name="Picture 184">
              <a:extLst>
                <a:ext uri="{FF2B5EF4-FFF2-40B4-BE49-F238E27FC236}">
                  <a16:creationId xmlns:a16="http://schemas.microsoft.com/office/drawing/2014/main" id="{2622A216-B92E-462D-8340-EC6EFCF6DAD0}"/>
                </a:ext>
              </a:extLst>
            </p:cNvPr>
            <p:cNvPicPr>
              <a:picLocks noChangeAspect="1"/>
            </p:cNvPicPr>
            <p:nvPr/>
          </p:nvPicPr>
          <p:blipFill>
            <a:blip r:embed="rId6">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grpSp>
        <p:nvGrpSpPr>
          <p:cNvPr id="3" name="Group 2">
            <a:extLst>
              <a:ext uri="{FF2B5EF4-FFF2-40B4-BE49-F238E27FC236}">
                <a16:creationId xmlns:a16="http://schemas.microsoft.com/office/drawing/2014/main" id="{588F4E9A-AE9C-4A81-AB5D-1C26C1515B09}"/>
              </a:ext>
            </a:extLst>
          </p:cNvPr>
          <p:cNvGrpSpPr/>
          <p:nvPr/>
        </p:nvGrpSpPr>
        <p:grpSpPr>
          <a:xfrm>
            <a:off x="2478479" y="2680040"/>
            <a:ext cx="4954066" cy="2341731"/>
            <a:chOff x="2527163" y="2140348"/>
            <a:chExt cx="4954066" cy="2341731"/>
          </a:xfrm>
        </p:grpSpPr>
        <p:sp>
          <p:nvSpPr>
            <p:cNvPr id="76" name="Rectangle 75">
              <a:extLst>
                <a:ext uri="{FF2B5EF4-FFF2-40B4-BE49-F238E27FC236}">
                  <a16:creationId xmlns:a16="http://schemas.microsoft.com/office/drawing/2014/main" id="{A2F68849-0E85-9D43-BC06-9016C5962114}"/>
                </a:ext>
              </a:extLst>
            </p:cNvPr>
            <p:cNvSpPr/>
            <p:nvPr/>
          </p:nvSpPr>
          <p:spPr>
            <a:xfrm>
              <a:off x="5089061" y="2316169"/>
              <a:ext cx="2097431" cy="2132786"/>
            </a:xfrm>
            <a:prstGeom prst="rect">
              <a:avLst/>
            </a:prstGeom>
            <a:noFill/>
            <a:ln w="12700" cap="flat" cmpd="sng" algn="ctr">
              <a:solidFill>
                <a:srgbClr val="00BCEB">
                  <a:shade val="50000"/>
                </a:srgbClr>
              </a:solidFill>
              <a:prstDash val="dash"/>
            </a:ln>
            <a:effectLst/>
          </p:spPr>
          <p:txBody>
            <a:bodyPr rtlCol="0"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2060"/>
                </a:solidFill>
                <a:effectLst/>
                <a:uLnTx/>
                <a:uFillTx/>
                <a:latin typeface="Arial"/>
              </a:endParaRPr>
            </a:p>
          </p:txBody>
        </p:sp>
        <p:sp>
          <p:nvSpPr>
            <p:cNvPr id="136" name="TextBox 80">
              <a:extLst>
                <a:ext uri="{FF2B5EF4-FFF2-40B4-BE49-F238E27FC236}">
                  <a16:creationId xmlns:a16="http://schemas.microsoft.com/office/drawing/2014/main" id="{52538B11-254D-0048-B40D-B04E34726FCE}"/>
                </a:ext>
              </a:extLst>
            </p:cNvPr>
            <p:cNvSpPr txBox="1"/>
            <p:nvPr/>
          </p:nvSpPr>
          <p:spPr>
            <a:xfrm>
              <a:off x="5596669" y="2140348"/>
              <a:ext cx="184731" cy="219291"/>
            </a:xfrm>
            <a:prstGeom prst="rect">
              <a:avLst/>
            </a:prstGeom>
            <a:noFill/>
          </p:spPr>
          <p:txBody>
            <a:bodyPr wrap="non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2060"/>
                </a:solidFill>
                <a:effectLst/>
                <a:uLnTx/>
                <a:uFillTx/>
                <a:latin typeface="Arial"/>
              </a:endParaRPr>
            </a:p>
          </p:txBody>
        </p:sp>
        <p:sp>
          <p:nvSpPr>
            <p:cNvPr id="134" name="TextBox 83">
              <a:extLst>
                <a:ext uri="{FF2B5EF4-FFF2-40B4-BE49-F238E27FC236}">
                  <a16:creationId xmlns:a16="http://schemas.microsoft.com/office/drawing/2014/main" id="{5995EE0B-B7F2-6E48-832B-BAD504728E76}"/>
                </a:ext>
              </a:extLst>
            </p:cNvPr>
            <p:cNvSpPr txBox="1"/>
            <p:nvPr/>
          </p:nvSpPr>
          <p:spPr>
            <a:xfrm>
              <a:off x="5235976" y="2146444"/>
              <a:ext cx="184731" cy="219291"/>
            </a:xfrm>
            <a:prstGeom prst="rect">
              <a:avLst/>
            </a:prstGeom>
            <a:noFill/>
          </p:spPr>
          <p:txBody>
            <a:bodyPr wrap="non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2060"/>
                </a:solidFill>
                <a:effectLst/>
                <a:uLnTx/>
                <a:uFillTx/>
                <a:latin typeface="Arial"/>
              </a:endParaRPr>
            </a:p>
          </p:txBody>
        </p:sp>
        <p:cxnSp>
          <p:nvCxnSpPr>
            <p:cNvPr id="79" name="Straight Connector 78">
              <a:extLst>
                <a:ext uri="{FF2B5EF4-FFF2-40B4-BE49-F238E27FC236}">
                  <a16:creationId xmlns:a16="http://schemas.microsoft.com/office/drawing/2014/main" id="{81FF9A0E-CBDA-0D4D-8AAE-F20FE1BD4F45}"/>
                </a:ext>
              </a:extLst>
            </p:cNvPr>
            <p:cNvCxnSpPr>
              <a:cxnSpLocks/>
            </p:cNvCxnSpPr>
            <p:nvPr/>
          </p:nvCxnSpPr>
          <p:spPr>
            <a:xfrm flipV="1">
              <a:off x="5628666" y="2386671"/>
              <a:ext cx="184823" cy="84114"/>
            </a:xfrm>
            <a:prstGeom prst="line">
              <a:avLst/>
            </a:prstGeom>
            <a:noFill/>
            <a:ln w="12700" cap="flat" cmpd="sng" algn="ctr">
              <a:solidFill>
                <a:srgbClr val="00B050"/>
              </a:solidFill>
              <a:prstDash val="solid"/>
            </a:ln>
            <a:effectLst/>
          </p:spPr>
        </p:cxnSp>
        <p:cxnSp>
          <p:nvCxnSpPr>
            <p:cNvPr id="80" name="Straight Connector 79">
              <a:extLst>
                <a:ext uri="{FF2B5EF4-FFF2-40B4-BE49-F238E27FC236}">
                  <a16:creationId xmlns:a16="http://schemas.microsoft.com/office/drawing/2014/main" id="{F536916C-4E14-A44B-83F0-1F133396D72E}"/>
                </a:ext>
              </a:extLst>
            </p:cNvPr>
            <p:cNvCxnSpPr>
              <a:cxnSpLocks/>
            </p:cNvCxnSpPr>
            <p:nvPr/>
          </p:nvCxnSpPr>
          <p:spPr>
            <a:xfrm flipH="1" flipV="1">
              <a:off x="5452796" y="2392767"/>
              <a:ext cx="175870" cy="78018"/>
            </a:xfrm>
            <a:prstGeom prst="line">
              <a:avLst/>
            </a:prstGeom>
            <a:noFill/>
            <a:ln w="12700" cap="flat" cmpd="sng" algn="ctr">
              <a:solidFill>
                <a:srgbClr val="00B050"/>
              </a:solidFill>
              <a:prstDash val="solid"/>
            </a:ln>
            <a:effectLst/>
          </p:spPr>
        </p:cxnSp>
        <p:sp>
          <p:nvSpPr>
            <p:cNvPr id="132" name="TextBox 80">
              <a:extLst>
                <a:ext uri="{FF2B5EF4-FFF2-40B4-BE49-F238E27FC236}">
                  <a16:creationId xmlns:a16="http://schemas.microsoft.com/office/drawing/2014/main" id="{B7C2AD42-059F-4944-B0AF-0EB57C05E2D5}"/>
                </a:ext>
              </a:extLst>
            </p:cNvPr>
            <p:cNvSpPr txBox="1"/>
            <p:nvPr/>
          </p:nvSpPr>
          <p:spPr>
            <a:xfrm>
              <a:off x="6480850" y="2151186"/>
              <a:ext cx="184731" cy="219291"/>
            </a:xfrm>
            <a:prstGeom prst="rect">
              <a:avLst/>
            </a:prstGeom>
            <a:noFill/>
          </p:spPr>
          <p:txBody>
            <a:bodyPr wrap="non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2060"/>
                </a:solidFill>
                <a:effectLst/>
                <a:uLnTx/>
                <a:uFillTx/>
                <a:latin typeface="Arial"/>
              </a:endParaRPr>
            </a:p>
          </p:txBody>
        </p:sp>
        <p:sp>
          <p:nvSpPr>
            <p:cNvPr id="130" name="TextBox 83">
              <a:extLst>
                <a:ext uri="{FF2B5EF4-FFF2-40B4-BE49-F238E27FC236}">
                  <a16:creationId xmlns:a16="http://schemas.microsoft.com/office/drawing/2014/main" id="{2B1A4B89-D0EC-4C47-BEC6-09E1D5EF99A3}"/>
                </a:ext>
              </a:extLst>
            </p:cNvPr>
            <p:cNvSpPr txBox="1"/>
            <p:nvPr/>
          </p:nvSpPr>
          <p:spPr>
            <a:xfrm>
              <a:off x="6120157" y="2157282"/>
              <a:ext cx="184731" cy="219291"/>
            </a:xfrm>
            <a:prstGeom prst="rect">
              <a:avLst/>
            </a:prstGeom>
            <a:noFill/>
          </p:spPr>
          <p:txBody>
            <a:bodyPr wrap="non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2060"/>
                </a:solidFill>
                <a:effectLst/>
                <a:uLnTx/>
                <a:uFillTx/>
                <a:latin typeface="Arial"/>
              </a:endParaRPr>
            </a:p>
          </p:txBody>
        </p:sp>
        <p:cxnSp>
          <p:nvCxnSpPr>
            <p:cNvPr id="83" name="Straight Connector 82">
              <a:extLst>
                <a:ext uri="{FF2B5EF4-FFF2-40B4-BE49-F238E27FC236}">
                  <a16:creationId xmlns:a16="http://schemas.microsoft.com/office/drawing/2014/main" id="{6611B45C-9032-8249-9EAF-F70FB92B1F03}"/>
                </a:ext>
              </a:extLst>
            </p:cNvPr>
            <p:cNvCxnSpPr>
              <a:cxnSpLocks/>
            </p:cNvCxnSpPr>
            <p:nvPr/>
          </p:nvCxnSpPr>
          <p:spPr>
            <a:xfrm flipV="1">
              <a:off x="6512847" y="2397509"/>
              <a:ext cx="184823" cy="84114"/>
            </a:xfrm>
            <a:prstGeom prst="line">
              <a:avLst/>
            </a:prstGeom>
            <a:noFill/>
            <a:ln w="12700" cap="flat" cmpd="sng" algn="ctr">
              <a:solidFill>
                <a:srgbClr val="00B050"/>
              </a:solidFill>
              <a:prstDash val="solid"/>
            </a:ln>
            <a:effectLst/>
          </p:spPr>
        </p:cxnSp>
        <p:cxnSp>
          <p:nvCxnSpPr>
            <p:cNvPr id="84" name="Straight Connector 83">
              <a:extLst>
                <a:ext uri="{FF2B5EF4-FFF2-40B4-BE49-F238E27FC236}">
                  <a16:creationId xmlns:a16="http://schemas.microsoft.com/office/drawing/2014/main" id="{DBD86224-EFAD-6841-A9CD-FE23D9C91E57}"/>
                </a:ext>
              </a:extLst>
            </p:cNvPr>
            <p:cNvCxnSpPr>
              <a:cxnSpLocks/>
            </p:cNvCxnSpPr>
            <p:nvPr/>
          </p:nvCxnSpPr>
          <p:spPr>
            <a:xfrm flipH="1" flipV="1">
              <a:off x="6336977" y="2403605"/>
              <a:ext cx="175870" cy="78018"/>
            </a:xfrm>
            <a:prstGeom prst="line">
              <a:avLst/>
            </a:prstGeom>
            <a:noFill/>
            <a:ln w="12700" cap="flat" cmpd="sng" algn="ctr">
              <a:solidFill>
                <a:srgbClr val="00B050"/>
              </a:solidFill>
              <a:prstDash val="solid"/>
            </a:ln>
            <a:effectLst/>
          </p:spPr>
        </p:cxnSp>
        <p:sp>
          <p:nvSpPr>
            <p:cNvPr id="85" name="Rounded Rectangle 84">
              <a:extLst>
                <a:ext uri="{FF2B5EF4-FFF2-40B4-BE49-F238E27FC236}">
                  <a16:creationId xmlns:a16="http://schemas.microsoft.com/office/drawing/2014/main" id="{BAFBA2DD-2EA8-0A48-B6FD-B82775149458}"/>
                </a:ext>
              </a:extLst>
            </p:cNvPr>
            <p:cNvSpPr/>
            <p:nvPr/>
          </p:nvSpPr>
          <p:spPr>
            <a:xfrm>
              <a:off x="5372630" y="2494156"/>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b="1" dirty="0"/>
                <a:t>CF</a:t>
              </a:r>
              <a:endParaRPr lang="en-ZA" sz="1000" b="1" dirty="0"/>
            </a:p>
          </p:txBody>
        </p:sp>
        <p:sp>
          <p:nvSpPr>
            <p:cNvPr id="86" name="Rounded Rectangle 85">
              <a:extLst>
                <a:ext uri="{FF2B5EF4-FFF2-40B4-BE49-F238E27FC236}">
                  <a16:creationId xmlns:a16="http://schemas.microsoft.com/office/drawing/2014/main" id="{C9267792-1D8E-3640-A653-CD8703B048AC}"/>
                </a:ext>
              </a:extLst>
            </p:cNvPr>
            <p:cNvSpPr/>
            <p:nvPr/>
          </p:nvSpPr>
          <p:spPr>
            <a:xfrm>
              <a:off x="5378241" y="2771945"/>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CF</a:t>
              </a:r>
              <a:r>
                <a:rPr lang="en-US" sz="1000" baseline="-25000" dirty="0"/>
                <a:t>s</a:t>
              </a:r>
              <a:endParaRPr lang="en-ZA" sz="1000" dirty="0"/>
            </a:p>
          </p:txBody>
        </p:sp>
        <p:sp>
          <p:nvSpPr>
            <p:cNvPr id="87" name="Rounded Rectangle 86">
              <a:extLst>
                <a:ext uri="{FF2B5EF4-FFF2-40B4-BE49-F238E27FC236}">
                  <a16:creationId xmlns:a16="http://schemas.microsoft.com/office/drawing/2014/main" id="{856560A1-3BA2-BE4A-8CA4-00919634269C}"/>
                </a:ext>
              </a:extLst>
            </p:cNvPr>
            <p:cNvSpPr/>
            <p:nvPr/>
          </p:nvSpPr>
          <p:spPr>
            <a:xfrm>
              <a:off x="5393620" y="3059054"/>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b="1" dirty="0"/>
                <a:t>SF</a:t>
              </a:r>
              <a:r>
                <a:rPr lang="en-US" sz="1000" b="1" baseline="-25000" dirty="0"/>
                <a:t>1</a:t>
              </a:r>
              <a:endParaRPr lang="en-ZA" sz="1000" b="1" dirty="0"/>
            </a:p>
          </p:txBody>
        </p:sp>
        <p:sp>
          <p:nvSpPr>
            <p:cNvPr id="88" name="Rounded Rectangle 87">
              <a:extLst>
                <a:ext uri="{FF2B5EF4-FFF2-40B4-BE49-F238E27FC236}">
                  <a16:creationId xmlns:a16="http://schemas.microsoft.com/office/drawing/2014/main" id="{0C320E3A-BDB9-B647-83E4-88889EC99F57}"/>
                </a:ext>
              </a:extLst>
            </p:cNvPr>
            <p:cNvSpPr/>
            <p:nvPr/>
          </p:nvSpPr>
          <p:spPr>
            <a:xfrm>
              <a:off x="5390511" y="3338043"/>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SF</a:t>
              </a:r>
              <a:r>
                <a:rPr lang="en-US" sz="1000" baseline="-25000" dirty="0"/>
                <a:t>2</a:t>
              </a:r>
              <a:endParaRPr lang="en-ZA" sz="1000" dirty="0"/>
            </a:p>
          </p:txBody>
        </p:sp>
        <p:sp>
          <p:nvSpPr>
            <p:cNvPr id="89" name="Rounded Rectangle 88">
              <a:extLst>
                <a:ext uri="{FF2B5EF4-FFF2-40B4-BE49-F238E27FC236}">
                  <a16:creationId xmlns:a16="http://schemas.microsoft.com/office/drawing/2014/main" id="{1F2E1365-0CAC-4341-8C12-9BB52A3FC8FB}"/>
                </a:ext>
              </a:extLst>
            </p:cNvPr>
            <p:cNvSpPr/>
            <p:nvPr/>
          </p:nvSpPr>
          <p:spPr>
            <a:xfrm>
              <a:off x="5396122" y="3615832"/>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SF</a:t>
              </a:r>
              <a:r>
                <a:rPr lang="en-US" sz="1000" baseline="-25000" dirty="0"/>
                <a:t>n</a:t>
              </a:r>
              <a:endParaRPr lang="en-ZA" sz="1000" dirty="0"/>
            </a:p>
          </p:txBody>
        </p:sp>
        <p:sp>
          <p:nvSpPr>
            <p:cNvPr id="90" name="Rounded Rectangle 89">
              <a:extLst>
                <a:ext uri="{FF2B5EF4-FFF2-40B4-BE49-F238E27FC236}">
                  <a16:creationId xmlns:a16="http://schemas.microsoft.com/office/drawing/2014/main" id="{8D344EA0-2933-6940-80A5-6AB0CB1538AB}"/>
                </a:ext>
              </a:extLst>
            </p:cNvPr>
            <p:cNvSpPr/>
            <p:nvPr/>
          </p:nvSpPr>
          <p:spPr>
            <a:xfrm>
              <a:off x="5396990" y="3906035"/>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UP</a:t>
              </a:r>
              <a:r>
                <a:rPr lang="en-US" sz="1000" baseline="-25000" dirty="0"/>
                <a:t>1</a:t>
              </a:r>
              <a:endParaRPr lang="en-ZA" sz="1000" dirty="0"/>
            </a:p>
          </p:txBody>
        </p:sp>
        <p:sp>
          <p:nvSpPr>
            <p:cNvPr id="91" name="Rounded Rectangle 90">
              <a:extLst>
                <a:ext uri="{FF2B5EF4-FFF2-40B4-BE49-F238E27FC236}">
                  <a16:creationId xmlns:a16="http://schemas.microsoft.com/office/drawing/2014/main" id="{D593FB5F-C916-3841-BC1D-47113AD84DD2}"/>
                </a:ext>
              </a:extLst>
            </p:cNvPr>
            <p:cNvSpPr/>
            <p:nvPr/>
          </p:nvSpPr>
          <p:spPr>
            <a:xfrm>
              <a:off x="5394881" y="4166309"/>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UP</a:t>
              </a:r>
              <a:r>
                <a:rPr lang="en-US" sz="1000" baseline="-25000" dirty="0"/>
                <a:t>n</a:t>
              </a:r>
              <a:endParaRPr lang="en-ZA" sz="1000" dirty="0"/>
            </a:p>
          </p:txBody>
        </p:sp>
        <p:sp>
          <p:nvSpPr>
            <p:cNvPr id="92" name="Rounded Rectangle 91">
              <a:extLst>
                <a:ext uri="{FF2B5EF4-FFF2-40B4-BE49-F238E27FC236}">
                  <a16:creationId xmlns:a16="http://schemas.microsoft.com/office/drawing/2014/main" id="{0AD78755-4B57-E047-81F8-3E1E66D8728B}"/>
                </a:ext>
              </a:extLst>
            </p:cNvPr>
            <p:cNvSpPr/>
            <p:nvPr/>
          </p:nvSpPr>
          <p:spPr>
            <a:xfrm>
              <a:off x="6235436" y="2562490"/>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MSP</a:t>
              </a:r>
              <a:r>
                <a:rPr lang="en-US" sz="1000" baseline="-25000" dirty="0"/>
                <a:t>1</a:t>
              </a:r>
              <a:endParaRPr lang="en-ZA" sz="1000" dirty="0"/>
            </a:p>
          </p:txBody>
        </p:sp>
        <p:sp>
          <p:nvSpPr>
            <p:cNvPr id="93" name="Rounded Rectangle 92">
              <a:extLst>
                <a:ext uri="{FF2B5EF4-FFF2-40B4-BE49-F238E27FC236}">
                  <a16:creationId xmlns:a16="http://schemas.microsoft.com/office/drawing/2014/main" id="{709F1B36-FD9C-CC4D-9AAA-E68F72CC173B}"/>
                </a:ext>
              </a:extLst>
            </p:cNvPr>
            <p:cNvSpPr/>
            <p:nvPr/>
          </p:nvSpPr>
          <p:spPr>
            <a:xfrm>
              <a:off x="6246831" y="2860460"/>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MSP</a:t>
              </a:r>
              <a:r>
                <a:rPr lang="en-US" sz="1000" baseline="-25000" dirty="0"/>
                <a:t>2</a:t>
              </a:r>
              <a:endParaRPr lang="en-ZA" sz="1000" dirty="0"/>
            </a:p>
          </p:txBody>
        </p:sp>
        <p:sp>
          <p:nvSpPr>
            <p:cNvPr id="94" name="Cloud 93">
              <a:extLst>
                <a:ext uri="{FF2B5EF4-FFF2-40B4-BE49-F238E27FC236}">
                  <a16:creationId xmlns:a16="http://schemas.microsoft.com/office/drawing/2014/main" id="{317F7E74-9E66-8940-B39A-C34246791168}"/>
                </a:ext>
              </a:extLst>
            </p:cNvPr>
            <p:cNvSpPr/>
            <p:nvPr/>
          </p:nvSpPr>
          <p:spPr>
            <a:xfrm>
              <a:off x="6158785" y="3865099"/>
              <a:ext cx="828865" cy="381289"/>
            </a:xfrm>
            <a:prstGeom prst="cloud">
              <a:avLst/>
            </a:prstGeom>
            <a:solidFill>
              <a:srgbClr val="00BCEB"/>
            </a:solidFill>
            <a:ln w="127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2060"/>
                  </a:solidFill>
                  <a:effectLst/>
                  <a:uLnTx/>
                  <a:uFillTx/>
                  <a:latin typeface="Arial"/>
                </a:rPr>
                <a:t>Internet</a:t>
              </a:r>
            </a:p>
          </p:txBody>
        </p:sp>
        <p:sp>
          <p:nvSpPr>
            <p:cNvPr id="99" name="Rectangle 98">
              <a:extLst>
                <a:ext uri="{FF2B5EF4-FFF2-40B4-BE49-F238E27FC236}">
                  <a16:creationId xmlns:a16="http://schemas.microsoft.com/office/drawing/2014/main" id="{0839D51F-16DD-0C4F-8A4F-1B0CB10FCC7B}"/>
                </a:ext>
              </a:extLst>
            </p:cNvPr>
            <p:cNvSpPr/>
            <p:nvPr/>
          </p:nvSpPr>
          <p:spPr>
            <a:xfrm>
              <a:off x="2527163" y="2332611"/>
              <a:ext cx="1990672" cy="1573424"/>
            </a:xfrm>
            <a:prstGeom prst="rect">
              <a:avLst/>
            </a:prstGeom>
            <a:noFill/>
            <a:ln w="12700" cap="flat" cmpd="sng" algn="ctr">
              <a:solidFill>
                <a:srgbClr val="00BCEB">
                  <a:shade val="50000"/>
                </a:srgbClr>
              </a:solidFill>
              <a:prstDash val="dash"/>
            </a:ln>
            <a:effectLst/>
          </p:spPr>
          <p:txBody>
            <a:bodyPr rtlCol="0"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2060"/>
                </a:solidFill>
                <a:effectLst/>
                <a:uLnTx/>
                <a:uFillTx/>
                <a:latin typeface="Arial"/>
              </a:endParaRPr>
            </a:p>
          </p:txBody>
        </p:sp>
        <p:sp>
          <p:nvSpPr>
            <p:cNvPr id="126" name="TextBox 83">
              <a:extLst>
                <a:ext uri="{FF2B5EF4-FFF2-40B4-BE49-F238E27FC236}">
                  <a16:creationId xmlns:a16="http://schemas.microsoft.com/office/drawing/2014/main" id="{03F439B4-D89B-A842-ADAD-22229709FC04}"/>
                </a:ext>
              </a:extLst>
            </p:cNvPr>
            <p:cNvSpPr txBox="1"/>
            <p:nvPr/>
          </p:nvSpPr>
          <p:spPr>
            <a:xfrm>
              <a:off x="2618621" y="2162886"/>
              <a:ext cx="184731" cy="219291"/>
            </a:xfrm>
            <a:prstGeom prst="rect">
              <a:avLst/>
            </a:prstGeom>
            <a:noFill/>
          </p:spPr>
          <p:txBody>
            <a:bodyPr wrap="non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2060"/>
                </a:solidFill>
                <a:effectLst/>
                <a:uLnTx/>
                <a:uFillTx/>
                <a:latin typeface="Arial"/>
              </a:endParaRPr>
            </a:p>
          </p:txBody>
        </p:sp>
        <p:cxnSp>
          <p:nvCxnSpPr>
            <p:cNvPr id="102" name="Straight Connector 101">
              <a:extLst>
                <a:ext uri="{FF2B5EF4-FFF2-40B4-BE49-F238E27FC236}">
                  <a16:creationId xmlns:a16="http://schemas.microsoft.com/office/drawing/2014/main" id="{B63200AC-F04F-034F-8237-1D34797114FE}"/>
                </a:ext>
              </a:extLst>
            </p:cNvPr>
            <p:cNvCxnSpPr>
              <a:cxnSpLocks/>
            </p:cNvCxnSpPr>
            <p:nvPr/>
          </p:nvCxnSpPr>
          <p:spPr>
            <a:xfrm flipV="1">
              <a:off x="3011311" y="2403113"/>
              <a:ext cx="184823" cy="84114"/>
            </a:xfrm>
            <a:prstGeom prst="line">
              <a:avLst/>
            </a:prstGeom>
            <a:noFill/>
            <a:ln w="12700" cap="flat" cmpd="sng" algn="ctr">
              <a:solidFill>
                <a:srgbClr val="00B050"/>
              </a:solidFill>
              <a:prstDash val="solid"/>
            </a:ln>
            <a:effectLst/>
          </p:spPr>
        </p:cxnSp>
        <p:cxnSp>
          <p:nvCxnSpPr>
            <p:cNvPr id="103" name="Straight Connector 102">
              <a:extLst>
                <a:ext uri="{FF2B5EF4-FFF2-40B4-BE49-F238E27FC236}">
                  <a16:creationId xmlns:a16="http://schemas.microsoft.com/office/drawing/2014/main" id="{259546CC-BDCB-A845-8B35-C70512499445}"/>
                </a:ext>
              </a:extLst>
            </p:cNvPr>
            <p:cNvCxnSpPr>
              <a:cxnSpLocks/>
            </p:cNvCxnSpPr>
            <p:nvPr/>
          </p:nvCxnSpPr>
          <p:spPr>
            <a:xfrm flipH="1" flipV="1">
              <a:off x="2835441" y="2409209"/>
              <a:ext cx="175870" cy="78018"/>
            </a:xfrm>
            <a:prstGeom prst="line">
              <a:avLst/>
            </a:prstGeom>
            <a:noFill/>
            <a:ln w="12700" cap="flat" cmpd="sng" algn="ctr">
              <a:solidFill>
                <a:srgbClr val="00B050"/>
              </a:solidFill>
              <a:prstDash val="solid"/>
            </a:ln>
            <a:effectLst/>
          </p:spPr>
        </p:cxnSp>
        <p:sp>
          <p:nvSpPr>
            <p:cNvPr id="124" name="TextBox 80">
              <a:extLst>
                <a:ext uri="{FF2B5EF4-FFF2-40B4-BE49-F238E27FC236}">
                  <a16:creationId xmlns:a16="http://schemas.microsoft.com/office/drawing/2014/main" id="{7182D383-D7BD-9F45-B9E8-1D75E3751E6C}"/>
                </a:ext>
              </a:extLst>
            </p:cNvPr>
            <p:cNvSpPr txBox="1"/>
            <p:nvPr/>
          </p:nvSpPr>
          <p:spPr>
            <a:xfrm>
              <a:off x="3863495" y="2167628"/>
              <a:ext cx="184731" cy="219291"/>
            </a:xfrm>
            <a:prstGeom prst="rect">
              <a:avLst/>
            </a:prstGeom>
            <a:noFill/>
          </p:spPr>
          <p:txBody>
            <a:bodyPr wrap="non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2060"/>
                </a:solidFill>
                <a:effectLst/>
                <a:uLnTx/>
                <a:uFillTx/>
                <a:latin typeface="Arial"/>
              </a:endParaRPr>
            </a:p>
          </p:txBody>
        </p:sp>
        <p:sp>
          <p:nvSpPr>
            <p:cNvPr id="122" name="TextBox 83">
              <a:extLst>
                <a:ext uri="{FF2B5EF4-FFF2-40B4-BE49-F238E27FC236}">
                  <a16:creationId xmlns:a16="http://schemas.microsoft.com/office/drawing/2014/main" id="{C27FC2B1-33A7-5C46-859A-8312E6369BB1}"/>
                </a:ext>
              </a:extLst>
            </p:cNvPr>
            <p:cNvSpPr txBox="1"/>
            <p:nvPr/>
          </p:nvSpPr>
          <p:spPr>
            <a:xfrm>
              <a:off x="3502802" y="2173724"/>
              <a:ext cx="184731" cy="219291"/>
            </a:xfrm>
            <a:prstGeom prst="rect">
              <a:avLst/>
            </a:prstGeom>
            <a:noFill/>
          </p:spPr>
          <p:txBody>
            <a:bodyPr wrap="non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2060"/>
                </a:solidFill>
                <a:effectLst/>
                <a:uLnTx/>
                <a:uFillTx/>
                <a:latin typeface="Arial"/>
              </a:endParaRPr>
            </a:p>
          </p:txBody>
        </p:sp>
        <p:cxnSp>
          <p:nvCxnSpPr>
            <p:cNvPr id="106" name="Straight Connector 105">
              <a:extLst>
                <a:ext uri="{FF2B5EF4-FFF2-40B4-BE49-F238E27FC236}">
                  <a16:creationId xmlns:a16="http://schemas.microsoft.com/office/drawing/2014/main" id="{0EE90A5D-1AFB-124F-8ABA-45CB42139391}"/>
                </a:ext>
              </a:extLst>
            </p:cNvPr>
            <p:cNvCxnSpPr>
              <a:cxnSpLocks/>
            </p:cNvCxnSpPr>
            <p:nvPr/>
          </p:nvCxnSpPr>
          <p:spPr>
            <a:xfrm flipV="1">
              <a:off x="3895492" y="2413951"/>
              <a:ext cx="184823" cy="84114"/>
            </a:xfrm>
            <a:prstGeom prst="line">
              <a:avLst/>
            </a:prstGeom>
            <a:noFill/>
            <a:ln w="12700" cap="flat" cmpd="sng" algn="ctr">
              <a:solidFill>
                <a:srgbClr val="00B050"/>
              </a:solidFill>
              <a:prstDash val="solid"/>
            </a:ln>
            <a:effectLst/>
          </p:spPr>
        </p:cxnSp>
        <p:cxnSp>
          <p:nvCxnSpPr>
            <p:cNvPr id="107" name="Straight Connector 106">
              <a:extLst>
                <a:ext uri="{FF2B5EF4-FFF2-40B4-BE49-F238E27FC236}">
                  <a16:creationId xmlns:a16="http://schemas.microsoft.com/office/drawing/2014/main" id="{307CD3E4-C0C8-E849-974E-035D9B8C0FDA}"/>
                </a:ext>
              </a:extLst>
            </p:cNvPr>
            <p:cNvCxnSpPr>
              <a:cxnSpLocks/>
            </p:cNvCxnSpPr>
            <p:nvPr/>
          </p:nvCxnSpPr>
          <p:spPr>
            <a:xfrm flipH="1" flipV="1">
              <a:off x="3719622" y="2420047"/>
              <a:ext cx="175870" cy="78018"/>
            </a:xfrm>
            <a:prstGeom prst="line">
              <a:avLst/>
            </a:prstGeom>
            <a:noFill/>
            <a:ln w="12700" cap="flat" cmpd="sng" algn="ctr">
              <a:solidFill>
                <a:srgbClr val="00B050"/>
              </a:solidFill>
              <a:prstDash val="solid"/>
            </a:ln>
            <a:effectLst/>
          </p:spPr>
        </p:cxnSp>
        <p:sp>
          <p:nvSpPr>
            <p:cNvPr id="108" name="Rounded Rectangle 107">
              <a:extLst>
                <a:ext uri="{FF2B5EF4-FFF2-40B4-BE49-F238E27FC236}">
                  <a16:creationId xmlns:a16="http://schemas.microsoft.com/office/drawing/2014/main" id="{CA6DDC55-E156-FF4A-B5F6-7FEDA700BAC5}"/>
                </a:ext>
              </a:extLst>
            </p:cNvPr>
            <p:cNvSpPr/>
            <p:nvPr/>
          </p:nvSpPr>
          <p:spPr>
            <a:xfrm>
              <a:off x="2724082" y="2500144"/>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b="1" dirty="0"/>
                <a:t>UP</a:t>
              </a:r>
              <a:r>
                <a:rPr lang="en-US" sz="1000" b="1" baseline="-25000" dirty="0"/>
                <a:t>1</a:t>
              </a:r>
              <a:endParaRPr lang="en-ZA" sz="1000" b="1" dirty="0"/>
            </a:p>
          </p:txBody>
        </p:sp>
        <p:sp>
          <p:nvSpPr>
            <p:cNvPr id="109" name="Rounded Rectangle 108">
              <a:extLst>
                <a:ext uri="{FF2B5EF4-FFF2-40B4-BE49-F238E27FC236}">
                  <a16:creationId xmlns:a16="http://schemas.microsoft.com/office/drawing/2014/main" id="{5FD0FD9D-A988-AB47-A262-AF4CAE2AC1FE}"/>
                </a:ext>
              </a:extLst>
            </p:cNvPr>
            <p:cNvSpPr/>
            <p:nvPr/>
          </p:nvSpPr>
          <p:spPr>
            <a:xfrm>
              <a:off x="2720973" y="2779133"/>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UP</a:t>
              </a:r>
              <a:r>
                <a:rPr lang="en-US" sz="1000" baseline="-25000" dirty="0"/>
                <a:t>2</a:t>
              </a:r>
              <a:endParaRPr lang="en-ZA" sz="1000" dirty="0"/>
            </a:p>
          </p:txBody>
        </p:sp>
        <p:sp>
          <p:nvSpPr>
            <p:cNvPr id="110" name="Rounded Rectangle 109">
              <a:extLst>
                <a:ext uri="{FF2B5EF4-FFF2-40B4-BE49-F238E27FC236}">
                  <a16:creationId xmlns:a16="http://schemas.microsoft.com/office/drawing/2014/main" id="{DEB9E727-0AF1-724C-86C9-38FA781F36B5}"/>
                </a:ext>
              </a:extLst>
            </p:cNvPr>
            <p:cNvSpPr/>
            <p:nvPr/>
          </p:nvSpPr>
          <p:spPr>
            <a:xfrm>
              <a:off x="2726584" y="3056922"/>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UP</a:t>
              </a:r>
              <a:r>
                <a:rPr lang="en-US" sz="1000" baseline="-25000" dirty="0"/>
                <a:t>3</a:t>
              </a:r>
              <a:endParaRPr lang="en-ZA" sz="1000" dirty="0"/>
            </a:p>
          </p:txBody>
        </p:sp>
        <p:sp>
          <p:nvSpPr>
            <p:cNvPr id="111" name="Rounded Rectangle 110">
              <a:extLst>
                <a:ext uri="{FF2B5EF4-FFF2-40B4-BE49-F238E27FC236}">
                  <a16:creationId xmlns:a16="http://schemas.microsoft.com/office/drawing/2014/main" id="{CFAAE833-64B9-2E42-B409-4C1854DD0C12}"/>
                </a:ext>
              </a:extLst>
            </p:cNvPr>
            <p:cNvSpPr/>
            <p:nvPr/>
          </p:nvSpPr>
          <p:spPr>
            <a:xfrm>
              <a:off x="2727452" y="3347125"/>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UP</a:t>
              </a:r>
              <a:r>
                <a:rPr lang="en-US" sz="1000" baseline="-25000" dirty="0"/>
                <a:t>4</a:t>
              </a:r>
              <a:endParaRPr lang="en-ZA" sz="1000" dirty="0"/>
            </a:p>
          </p:txBody>
        </p:sp>
        <p:sp>
          <p:nvSpPr>
            <p:cNvPr id="112" name="Rounded Rectangle 111">
              <a:extLst>
                <a:ext uri="{FF2B5EF4-FFF2-40B4-BE49-F238E27FC236}">
                  <a16:creationId xmlns:a16="http://schemas.microsoft.com/office/drawing/2014/main" id="{82BCCADC-C6CB-AE43-8F08-0BC692D420D6}"/>
                </a:ext>
              </a:extLst>
            </p:cNvPr>
            <p:cNvSpPr/>
            <p:nvPr/>
          </p:nvSpPr>
          <p:spPr>
            <a:xfrm>
              <a:off x="2725343" y="3607399"/>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UP</a:t>
              </a:r>
              <a:r>
                <a:rPr lang="en-US" sz="1000" baseline="-25000" dirty="0"/>
                <a:t>n</a:t>
              </a:r>
              <a:endParaRPr lang="en-ZA" sz="1000" dirty="0"/>
            </a:p>
          </p:txBody>
        </p:sp>
        <p:sp>
          <p:nvSpPr>
            <p:cNvPr id="113" name="Cloud 112">
              <a:extLst>
                <a:ext uri="{FF2B5EF4-FFF2-40B4-BE49-F238E27FC236}">
                  <a16:creationId xmlns:a16="http://schemas.microsoft.com/office/drawing/2014/main" id="{284AA3A0-6534-C54C-8B58-66092E6D34F7}"/>
                </a:ext>
              </a:extLst>
            </p:cNvPr>
            <p:cNvSpPr/>
            <p:nvPr/>
          </p:nvSpPr>
          <p:spPr>
            <a:xfrm>
              <a:off x="3522287" y="2502981"/>
              <a:ext cx="828865" cy="381289"/>
            </a:xfrm>
            <a:prstGeom prst="cloud">
              <a:avLst/>
            </a:prstGeom>
            <a:solidFill>
              <a:srgbClr val="00BCEB"/>
            </a:solidFill>
            <a:ln w="127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2060"/>
                  </a:solidFill>
                  <a:effectLst/>
                  <a:uLnTx/>
                  <a:uFillTx/>
                  <a:latin typeface="Arial"/>
                </a:rPr>
                <a:t>Internet</a:t>
              </a:r>
            </a:p>
          </p:txBody>
        </p:sp>
        <p:sp>
          <p:nvSpPr>
            <p:cNvPr id="71" name="TextBox 1">
              <a:extLst>
                <a:ext uri="{FF2B5EF4-FFF2-40B4-BE49-F238E27FC236}">
                  <a16:creationId xmlns:a16="http://schemas.microsoft.com/office/drawing/2014/main" id="{114491DB-2DEF-034A-AA4C-10E97BB703ED}"/>
                </a:ext>
              </a:extLst>
            </p:cNvPr>
            <p:cNvSpPr txBox="1"/>
            <p:nvPr/>
          </p:nvSpPr>
          <p:spPr>
            <a:xfrm>
              <a:off x="5956724" y="4228163"/>
              <a:ext cx="1524505" cy="253916"/>
            </a:xfrm>
            <a:prstGeom prst="rect">
              <a:avLst/>
            </a:prstGeom>
            <a:noFill/>
          </p:spPr>
          <p:txBody>
            <a:bodyPr wrap="squar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r>
                <a:rPr lang="en-US" sz="1050" dirty="0">
                  <a:latin typeface="+mn-lt"/>
                </a:rPr>
                <a:t>NDC</a:t>
              </a:r>
              <a:endParaRPr lang="en-ZA" sz="1050" dirty="0">
                <a:latin typeface="+mn-lt"/>
              </a:endParaRPr>
            </a:p>
          </p:txBody>
        </p:sp>
        <p:sp>
          <p:nvSpPr>
            <p:cNvPr id="72" name="TextBox 94">
              <a:extLst>
                <a:ext uri="{FF2B5EF4-FFF2-40B4-BE49-F238E27FC236}">
                  <a16:creationId xmlns:a16="http://schemas.microsoft.com/office/drawing/2014/main" id="{45ABEE4A-E7DB-9949-B78D-536F7DB3E1F5}"/>
                </a:ext>
              </a:extLst>
            </p:cNvPr>
            <p:cNvSpPr txBox="1"/>
            <p:nvPr/>
          </p:nvSpPr>
          <p:spPr>
            <a:xfrm>
              <a:off x="3564409" y="3658570"/>
              <a:ext cx="1524505" cy="253916"/>
            </a:xfrm>
            <a:prstGeom prst="rect">
              <a:avLst/>
            </a:prstGeom>
            <a:noFill/>
          </p:spPr>
          <p:txBody>
            <a:bodyPr wrap="squar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r>
                <a:rPr lang="en-US" sz="1050" dirty="0">
                  <a:latin typeface="+mn-lt"/>
                </a:rPr>
                <a:t>RDC</a:t>
              </a:r>
              <a:endParaRPr lang="en-ZA" sz="1050" dirty="0">
                <a:latin typeface="+mn-lt"/>
              </a:endParaRPr>
            </a:p>
          </p:txBody>
        </p:sp>
        <p:sp>
          <p:nvSpPr>
            <p:cNvPr id="73" name="Rounded Rectangle 72">
              <a:extLst>
                <a:ext uri="{FF2B5EF4-FFF2-40B4-BE49-F238E27FC236}">
                  <a16:creationId xmlns:a16="http://schemas.microsoft.com/office/drawing/2014/main" id="{1453D6BF-130A-C94F-8613-E3F86BA7C352}"/>
                </a:ext>
              </a:extLst>
            </p:cNvPr>
            <p:cNvSpPr/>
            <p:nvPr/>
          </p:nvSpPr>
          <p:spPr>
            <a:xfrm>
              <a:off x="3635819" y="2967145"/>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MSP</a:t>
              </a:r>
              <a:r>
                <a:rPr lang="en-US" sz="1000" baseline="-25000" dirty="0"/>
                <a:t>1</a:t>
              </a:r>
              <a:endParaRPr lang="en-ZA" sz="1000" dirty="0"/>
            </a:p>
          </p:txBody>
        </p:sp>
        <p:sp>
          <p:nvSpPr>
            <p:cNvPr id="74" name="Rounded Rectangle 73">
              <a:extLst>
                <a:ext uri="{FF2B5EF4-FFF2-40B4-BE49-F238E27FC236}">
                  <a16:creationId xmlns:a16="http://schemas.microsoft.com/office/drawing/2014/main" id="{EE238818-CA25-B441-A853-02FDFAE4400D}"/>
                </a:ext>
              </a:extLst>
            </p:cNvPr>
            <p:cNvSpPr/>
            <p:nvPr/>
          </p:nvSpPr>
          <p:spPr>
            <a:xfrm>
              <a:off x="3647214" y="3265115"/>
              <a:ext cx="584094" cy="208193"/>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US" sz="1000" dirty="0"/>
                <a:t>MSP</a:t>
              </a:r>
              <a:r>
                <a:rPr lang="en-US" sz="1000" baseline="-25000" dirty="0"/>
                <a:t>2</a:t>
              </a:r>
              <a:endParaRPr lang="en-ZA" sz="1000" dirty="0"/>
            </a:p>
          </p:txBody>
        </p:sp>
      </p:grpSp>
      <p:grpSp>
        <p:nvGrpSpPr>
          <p:cNvPr id="4" name="Group 3">
            <a:extLst>
              <a:ext uri="{FF2B5EF4-FFF2-40B4-BE49-F238E27FC236}">
                <a16:creationId xmlns:a16="http://schemas.microsoft.com/office/drawing/2014/main" id="{93389960-41E2-4A83-9DEB-825FE3B26EC1}"/>
              </a:ext>
            </a:extLst>
          </p:cNvPr>
          <p:cNvGrpSpPr/>
          <p:nvPr/>
        </p:nvGrpSpPr>
        <p:grpSpPr>
          <a:xfrm>
            <a:off x="2645500" y="2686136"/>
            <a:ext cx="316450" cy="316450"/>
            <a:chOff x="3370424" y="2043621"/>
            <a:chExt cx="396817" cy="396817"/>
          </a:xfrm>
        </p:grpSpPr>
        <p:sp>
          <p:nvSpPr>
            <p:cNvPr id="298" name="Oval 297">
              <a:extLst>
                <a:ext uri="{FF2B5EF4-FFF2-40B4-BE49-F238E27FC236}">
                  <a16:creationId xmlns:a16="http://schemas.microsoft.com/office/drawing/2014/main" id="{274901B7-440E-42AC-8610-345E89372397}"/>
                </a:ext>
              </a:extLst>
            </p:cNvPr>
            <p:cNvSpPr/>
            <p:nvPr/>
          </p:nvSpPr>
          <p:spPr>
            <a:xfrm>
              <a:off x="3370424" y="2043621"/>
              <a:ext cx="396817" cy="39681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9" name="Freeform: Shape 310">
              <a:extLst>
                <a:ext uri="{FF2B5EF4-FFF2-40B4-BE49-F238E27FC236}">
                  <a16:creationId xmlns:a16="http://schemas.microsoft.com/office/drawing/2014/main" id="{B7650843-1558-4493-BA89-9D37E0A53722}"/>
                </a:ext>
              </a:extLst>
            </p:cNvPr>
            <p:cNvSpPr/>
            <p:nvPr/>
          </p:nvSpPr>
          <p:spPr>
            <a:xfrm rot="16200000">
              <a:off x="3502015" y="210170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0" name="Freeform: Shape 311">
              <a:extLst>
                <a:ext uri="{FF2B5EF4-FFF2-40B4-BE49-F238E27FC236}">
                  <a16:creationId xmlns:a16="http://schemas.microsoft.com/office/drawing/2014/main" id="{7B1781E5-F144-478E-B49E-CDFF4B79694C}"/>
                </a:ext>
              </a:extLst>
            </p:cNvPr>
            <p:cNvSpPr/>
            <p:nvPr/>
          </p:nvSpPr>
          <p:spPr>
            <a:xfrm rot="5400000">
              <a:off x="3502015" y="227110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1" name="Freeform: Shape 313">
              <a:extLst>
                <a:ext uri="{FF2B5EF4-FFF2-40B4-BE49-F238E27FC236}">
                  <a16:creationId xmlns:a16="http://schemas.microsoft.com/office/drawing/2014/main" id="{65AA4124-4A7F-4500-8EBE-5DF79A7D0D1C}"/>
                </a:ext>
              </a:extLst>
            </p:cNvPr>
            <p:cNvSpPr/>
            <p:nvPr/>
          </p:nvSpPr>
          <p:spPr>
            <a:xfrm rot="10800000">
              <a:off x="3586711"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2" name="Freeform: Shape 314">
              <a:extLst>
                <a:ext uri="{FF2B5EF4-FFF2-40B4-BE49-F238E27FC236}">
                  <a16:creationId xmlns:a16="http://schemas.microsoft.com/office/drawing/2014/main" id="{30064A23-06B5-4FEA-897F-B9DE1896BB65}"/>
                </a:ext>
              </a:extLst>
            </p:cNvPr>
            <p:cNvSpPr/>
            <p:nvPr/>
          </p:nvSpPr>
          <p:spPr>
            <a:xfrm>
              <a:off x="3417318"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303" name="Group 302">
            <a:extLst>
              <a:ext uri="{FF2B5EF4-FFF2-40B4-BE49-F238E27FC236}">
                <a16:creationId xmlns:a16="http://schemas.microsoft.com/office/drawing/2014/main" id="{EAD80C4A-C766-4940-9FD5-47F50448F91F}"/>
              </a:ext>
            </a:extLst>
          </p:cNvPr>
          <p:cNvGrpSpPr/>
          <p:nvPr/>
        </p:nvGrpSpPr>
        <p:grpSpPr>
          <a:xfrm>
            <a:off x="3023053" y="2686136"/>
            <a:ext cx="316450" cy="316450"/>
            <a:chOff x="3370424" y="2043621"/>
            <a:chExt cx="396817" cy="396817"/>
          </a:xfrm>
        </p:grpSpPr>
        <p:sp>
          <p:nvSpPr>
            <p:cNvPr id="304" name="Oval 303">
              <a:extLst>
                <a:ext uri="{FF2B5EF4-FFF2-40B4-BE49-F238E27FC236}">
                  <a16:creationId xmlns:a16="http://schemas.microsoft.com/office/drawing/2014/main" id="{4EE6D918-5772-4B62-BD3E-D087DF6227CE}"/>
                </a:ext>
              </a:extLst>
            </p:cNvPr>
            <p:cNvSpPr/>
            <p:nvPr/>
          </p:nvSpPr>
          <p:spPr>
            <a:xfrm>
              <a:off x="3370424" y="2043621"/>
              <a:ext cx="396817" cy="39681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Freeform: Shape 310">
              <a:extLst>
                <a:ext uri="{FF2B5EF4-FFF2-40B4-BE49-F238E27FC236}">
                  <a16:creationId xmlns:a16="http://schemas.microsoft.com/office/drawing/2014/main" id="{9DF7FAAA-98FA-4A51-A3E8-D4A78AD4FE3D}"/>
                </a:ext>
              </a:extLst>
            </p:cNvPr>
            <p:cNvSpPr/>
            <p:nvPr/>
          </p:nvSpPr>
          <p:spPr>
            <a:xfrm rot="16200000">
              <a:off x="3502015" y="210170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6" name="Freeform: Shape 311">
              <a:extLst>
                <a:ext uri="{FF2B5EF4-FFF2-40B4-BE49-F238E27FC236}">
                  <a16:creationId xmlns:a16="http://schemas.microsoft.com/office/drawing/2014/main" id="{3BB6BAC7-1638-48FA-A957-733B19D3D5E6}"/>
                </a:ext>
              </a:extLst>
            </p:cNvPr>
            <p:cNvSpPr/>
            <p:nvPr/>
          </p:nvSpPr>
          <p:spPr>
            <a:xfrm rot="5400000">
              <a:off x="3502015" y="227110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7" name="Freeform: Shape 313">
              <a:extLst>
                <a:ext uri="{FF2B5EF4-FFF2-40B4-BE49-F238E27FC236}">
                  <a16:creationId xmlns:a16="http://schemas.microsoft.com/office/drawing/2014/main" id="{69ADD41E-7B8A-4412-BB8E-598E41655B07}"/>
                </a:ext>
              </a:extLst>
            </p:cNvPr>
            <p:cNvSpPr/>
            <p:nvPr/>
          </p:nvSpPr>
          <p:spPr>
            <a:xfrm rot="10800000">
              <a:off x="3586711"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8" name="Freeform: Shape 314">
              <a:extLst>
                <a:ext uri="{FF2B5EF4-FFF2-40B4-BE49-F238E27FC236}">
                  <a16:creationId xmlns:a16="http://schemas.microsoft.com/office/drawing/2014/main" id="{9D98660E-F1DD-4332-8743-10D468CE9263}"/>
                </a:ext>
              </a:extLst>
            </p:cNvPr>
            <p:cNvSpPr/>
            <p:nvPr/>
          </p:nvSpPr>
          <p:spPr>
            <a:xfrm>
              <a:off x="3417318"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309" name="Group 308">
            <a:extLst>
              <a:ext uri="{FF2B5EF4-FFF2-40B4-BE49-F238E27FC236}">
                <a16:creationId xmlns:a16="http://schemas.microsoft.com/office/drawing/2014/main" id="{F8E8D62F-BFE3-4A64-A7A1-0606011E3FBA}"/>
              </a:ext>
            </a:extLst>
          </p:cNvPr>
          <p:cNvGrpSpPr/>
          <p:nvPr/>
        </p:nvGrpSpPr>
        <p:grpSpPr>
          <a:xfrm>
            <a:off x="3501779" y="2688837"/>
            <a:ext cx="316450" cy="316450"/>
            <a:chOff x="3370424" y="2043621"/>
            <a:chExt cx="396817" cy="396817"/>
          </a:xfrm>
        </p:grpSpPr>
        <p:sp>
          <p:nvSpPr>
            <p:cNvPr id="310" name="Oval 309">
              <a:extLst>
                <a:ext uri="{FF2B5EF4-FFF2-40B4-BE49-F238E27FC236}">
                  <a16:creationId xmlns:a16="http://schemas.microsoft.com/office/drawing/2014/main" id="{46F19262-FE27-4107-A6B6-CC6F5702E798}"/>
                </a:ext>
              </a:extLst>
            </p:cNvPr>
            <p:cNvSpPr/>
            <p:nvPr/>
          </p:nvSpPr>
          <p:spPr>
            <a:xfrm>
              <a:off x="3370424" y="2043621"/>
              <a:ext cx="396817" cy="39681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Freeform: Shape 310">
              <a:extLst>
                <a:ext uri="{FF2B5EF4-FFF2-40B4-BE49-F238E27FC236}">
                  <a16:creationId xmlns:a16="http://schemas.microsoft.com/office/drawing/2014/main" id="{E0AEFB31-9876-4908-BD58-B39CFD1F14C6}"/>
                </a:ext>
              </a:extLst>
            </p:cNvPr>
            <p:cNvSpPr/>
            <p:nvPr/>
          </p:nvSpPr>
          <p:spPr>
            <a:xfrm rot="16200000">
              <a:off x="3502015" y="210170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2" name="Freeform: Shape 311">
              <a:extLst>
                <a:ext uri="{FF2B5EF4-FFF2-40B4-BE49-F238E27FC236}">
                  <a16:creationId xmlns:a16="http://schemas.microsoft.com/office/drawing/2014/main" id="{3C526585-8936-49C4-8588-E72A3BB60718}"/>
                </a:ext>
              </a:extLst>
            </p:cNvPr>
            <p:cNvSpPr/>
            <p:nvPr/>
          </p:nvSpPr>
          <p:spPr>
            <a:xfrm rot="5400000">
              <a:off x="3502015" y="227110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3" name="Freeform: Shape 313">
              <a:extLst>
                <a:ext uri="{FF2B5EF4-FFF2-40B4-BE49-F238E27FC236}">
                  <a16:creationId xmlns:a16="http://schemas.microsoft.com/office/drawing/2014/main" id="{930A5038-D27F-4B65-8779-F863FCBC042A}"/>
                </a:ext>
              </a:extLst>
            </p:cNvPr>
            <p:cNvSpPr/>
            <p:nvPr/>
          </p:nvSpPr>
          <p:spPr>
            <a:xfrm rot="10800000">
              <a:off x="3586711"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4" name="Freeform: Shape 314">
              <a:extLst>
                <a:ext uri="{FF2B5EF4-FFF2-40B4-BE49-F238E27FC236}">
                  <a16:creationId xmlns:a16="http://schemas.microsoft.com/office/drawing/2014/main" id="{33EDCAB1-52D1-400D-A0D6-B399BD179D43}"/>
                </a:ext>
              </a:extLst>
            </p:cNvPr>
            <p:cNvSpPr/>
            <p:nvPr/>
          </p:nvSpPr>
          <p:spPr>
            <a:xfrm>
              <a:off x="3417318"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315" name="Group 314">
            <a:extLst>
              <a:ext uri="{FF2B5EF4-FFF2-40B4-BE49-F238E27FC236}">
                <a16:creationId xmlns:a16="http://schemas.microsoft.com/office/drawing/2014/main" id="{086226AF-E0CA-4861-8735-4A45705BACB3}"/>
              </a:ext>
            </a:extLst>
          </p:cNvPr>
          <p:cNvGrpSpPr/>
          <p:nvPr/>
        </p:nvGrpSpPr>
        <p:grpSpPr>
          <a:xfrm>
            <a:off x="3886475" y="2688837"/>
            <a:ext cx="316450" cy="316450"/>
            <a:chOff x="3370424" y="2043621"/>
            <a:chExt cx="396817" cy="396817"/>
          </a:xfrm>
        </p:grpSpPr>
        <p:sp>
          <p:nvSpPr>
            <p:cNvPr id="316" name="Oval 315">
              <a:extLst>
                <a:ext uri="{FF2B5EF4-FFF2-40B4-BE49-F238E27FC236}">
                  <a16:creationId xmlns:a16="http://schemas.microsoft.com/office/drawing/2014/main" id="{C2AFB81E-6062-425B-B1C2-C87F43F3C00B}"/>
                </a:ext>
              </a:extLst>
            </p:cNvPr>
            <p:cNvSpPr/>
            <p:nvPr/>
          </p:nvSpPr>
          <p:spPr>
            <a:xfrm>
              <a:off x="3370424" y="2043621"/>
              <a:ext cx="396817" cy="39681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Freeform: Shape 310">
              <a:extLst>
                <a:ext uri="{FF2B5EF4-FFF2-40B4-BE49-F238E27FC236}">
                  <a16:creationId xmlns:a16="http://schemas.microsoft.com/office/drawing/2014/main" id="{9EAD1084-F532-49B9-A3FB-1ED552FABFA3}"/>
                </a:ext>
              </a:extLst>
            </p:cNvPr>
            <p:cNvSpPr/>
            <p:nvPr/>
          </p:nvSpPr>
          <p:spPr>
            <a:xfrm rot="16200000">
              <a:off x="3502015" y="210170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8" name="Freeform: Shape 311">
              <a:extLst>
                <a:ext uri="{FF2B5EF4-FFF2-40B4-BE49-F238E27FC236}">
                  <a16:creationId xmlns:a16="http://schemas.microsoft.com/office/drawing/2014/main" id="{AF831617-3134-47BE-8CAE-810A90BB0ED5}"/>
                </a:ext>
              </a:extLst>
            </p:cNvPr>
            <p:cNvSpPr/>
            <p:nvPr/>
          </p:nvSpPr>
          <p:spPr>
            <a:xfrm rot="5400000">
              <a:off x="3502015" y="227110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9" name="Freeform: Shape 313">
              <a:extLst>
                <a:ext uri="{FF2B5EF4-FFF2-40B4-BE49-F238E27FC236}">
                  <a16:creationId xmlns:a16="http://schemas.microsoft.com/office/drawing/2014/main" id="{53CDFE09-6648-4900-ADB0-1805F4627D20}"/>
                </a:ext>
              </a:extLst>
            </p:cNvPr>
            <p:cNvSpPr/>
            <p:nvPr/>
          </p:nvSpPr>
          <p:spPr>
            <a:xfrm rot="10800000">
              <a:off x="3586711"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0" name="Freeform: Shape 314">
              <a:extLst>
                <a:ext uri="{FF2B5EF4-FFF2-40B4-BE49-F238E27FC236}">
                  <a16:creationId xmlns:a16="http://schemas.microsoft.com/office/drawing/2014/main" id="{AD5BC972-749D-45B5-B686-5701E371F73D}"/>
                </a:ext>
              </a:extLst>
            </p:cNvPr>
            <p:cNvSpPr/>
            <p:nvPr/>
          </p:nvSpPr>
          <p:spPr>
            <a:xfrm>
              <a:off x="3417318"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321" name="Group 320">
            <a:extLst>
              <a:ext uri="{FF2B5EF4-FFF2-40B4-BE49-F238E27FC236}">
                <a16:creationId xmlns:a16="http://schemas.microsoft.com/office/drawing/2014/main" id="{55FEDDC1-B814-4646-A473-27B152C2CAB2}"/>
              </a:ext>
            </a:extLst>
          </p:cNvPr>
          <p:cNvGrpSpPr/>
          <p:nvPr/>
        </p:nvGrpSpPr>
        <p:grpSpPr>
          <a:xfrm>
            <a:off x="5249613" y="2687469"/>
            <a:ext cx="316450" cy="316450"/>
            <a:chOff x="3370424" y="2043621"/>
            <a:chExt cx="396817" cy="396817"/>
          </a:xfrm>
        </p:grpSpPr>
        <p:sp>
          <p:nvSpPr>
            <p:cNvPr id="322" name="Oval 321">
              <a:extLst>
                <a:ext uri="{FF2B5EF4-FFF2-40B4-BE49-F238E27FC236}">
                  <a16:creationId xmlns:a16="http://schemas.microsoft.com/office/drawing/2014/main" id="{119AC092-92B7-4185-B7AC-6E16AE96F1DD}"/>
                </a:ext>
              </a:extLst>
            </p:cNvPr>
            <p:cNvSpPr/>
            <p:nvPr/>
          </p:nvSpPr>
          <p:spPr>
            <a:xfrm>
              <a:off x="3370424" y="2043621"/>
              <a:ext cx="396817" cy="39681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Freeform: Shape 310">
              <a:extLst>
                <a:ext uri="{FF2B5EF4-FFF2-40B4-BE49-F238E27FC236}">
                  <a16:creationId xmlns:a16="http://schemas.microsoft.com/office/drawing/2014/main" id="{B6353737-4A56-4888-AC39-0BAE9C91A180}"/>
                </a:ext>
              </a:extLst>
            </p:cNvPr>
            <p:cNvSpPr/>
            <p:nvPr/>
          </p:nvSpPr>
          <p:spPr>
            <a:xfrm rot="16200000">
              <a:off x="3502015" y="210170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4" name="Freeform: Shape 311">
              <a:extLst>
                <a:ext uri="{FF2B5EF4-FFF2-40B4-BE49-F238E27FC236}">
                  <a16:creationId xmlns:a16="http://schemas.microsoft.com/office/drawing/2014/main" id="{17C40A84-02E6-4D94-8E4C-9CDFA8EA82FF}"/>
                </a:ext>
              </a:extLst>
            </p:cNvPr>
            <p:cNvSpPr/>
            <p:nvPr/>
          </p:nvSpPr>
          <p:spPr>
            <a:xfrm rot="5400000">
              <a:off x="3502015" y="227110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5" name="Freeform: Shape 313">
              <a:extLst>
                <a:ext uri="{FF2B5EF4-FFF2-40B4-BE49-F238E27FC236}">
                  <a16:creationId xmlns:a16="http://schemas.microsoft.com/office/drawing/2014/main" id="{834ED80E-6201-4A6E-AB80-E7E4DF1970BA}"/>
                </a:ext>
              </a:extLst>
            </p:cNvPr>
            <p:cNvSpPr/>
            <p:nvPr/>
          </p:nvSpPr>
          <p:spPr>
            <a:xfrm rot="10800000">
              <a:off x="3586711"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6" name="Freeform: Shape 314">
              <a:extLst>
                <a:ext uri="{FF2B5EF4-FFF2-40B4-BE49-F238E27FC236}">
                  <a16:creationId xmlns:a16="http://schemas.microsoft.com/office/drawing/2014/main" id="{B5D6E5AC-1E28-4BC0-BA45-81846FBED25B}"/>
                </a:ext>
              </a:extLst>
            </p:cNvPr>
            <p:cNvSpPr/>
            <p:nvPr/>
          </p:nvSpPr>
          <p:spPr>
            <a:xfrm>
              <a:off x="3417318"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327" name="Group 326">
            <a:extLst>
              <a:ext uri="{FF2B5EF4-FFF2-40B4-BE49-F238E27FC236}">
                <a16:creationId xmlns:a16="http://schemas.microsoft.com/office/drawing/2014/main" id="{C26FFCAC-7AB1-4968-82FA-A1BD1C115A1F}"/>
              </a:ext>
            </a:extLst>
          </p:cNvPr>
          <p:cNvGrpSpPr/>
          <p:nvPr/>
        </p:nvGrpSpPr>
        <p:grpSpPr>
          <a:xfrm>
            <a:off x="5617642" y="2687469"/>
            <a:ext cx="316450" cy="316450"/>
            <a:chOff x="3370424" y="2043621"/>
            <a:chExt cx="396817" cy="396817"/>
          </a:xfrm>
        </p:grpSpPr>
        <p:sp>
          <p:nvSpPr>
            <p:cNvPr id="328" name="Oval 327">
              <a:extLst>
                <a:ext uri="{FF2B5EF4-FFF2-40B4-BE49-F238E27FC236}">
                  <a16:creationId xmlns:a16="http://schemas.microsoft.com/office/drawing/2014/main" id="{C341B5AE-5EF1-45C6-9CFA-1D77F993B46E}"/>
                </a:ext>
              </a:extLst>
            </p:cNvPr>
            <p:cNvSpPr/>
            <p:nvPr/>
          </p:nvSpPr>
          <p:spPr>
            <a:xfrm>
              <a:off x="3370424" y="2043621"/>
              <a:ext cx="396817" cy="39681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Freeform: Shape 310">
              <a:extLst>
                <a:ext uri="{FF2B5EF4-FFF2-40B4-BE49-F238E27FC236}">
                  <a16:creationId xmlns:a16="http://schemas.microsoft.com/office/drawing/2014/main" id="{62976B43-F742-44D2-B69C-E97318FCC4C1}"/>
                </a:ext>
              </a:extLst>
            </p:cNvPr>
            <p:cNvSpPr/>
            <p:nvPr/>
          </p:nvSpPr>
          <p:spPr>
            <a:xfrm rot="16200000">
              <a:off x="3502015" y="210170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0" name="Freeform: Shape 311">
              <a:extLst>
                <a:ext uri="{FF2B5EF4-FFF2-40B4-BE49-F238E27FC236}">
                  <a16:creationId xmlns:a16="http://schemas.microsoft.com/office/drawing/2014/main" id="{7B6EA712-4015-45E7-B7D1-149FB53D15D4}"/>
                </a:ext>
              </a:extLst>
            </p:cNvPr>
            <p:cNvSpPr/>
            <p:nvPr/>
          </p:nvSpPr>
          <p:spPr>
            <a:xfrm rot="5400000">
              <a:off x="3502015" y="227110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1" name="Freeform: Shape 313">
              <a:extLst>
                <a:ext uri="{FF2B5EF4-FFF2-40B4-BE49-F238E27FC236}">
                  <a16:creationId xmlns:a16="http://schemas.microsoft.com/office/drawing/2014/main" id="{B28DABC1-8E1C-42ED-AC99-21F43429A3E5}"/>
                </a:ext>
              </a:extLst>
            </p:cNvPr>
            <p:cNvSpPr/>
            <p:nvPr/>
          </p:nvSpPr>
          <p:spPr>
            <a:xfrm rot="10800000">
              <a:off x="3586711"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2" name="Freeform: Shape 314">
              <a:extLst>
                <a:ext uri="{FF2B5EF4-FFF2-40B4-BE49-F238E27FC236}">
                  <a16:creationId xmlns:a16="http://schemas.microsoft.com/office/drawing/2014/main" id="{4987E2FA-E94F-4E87-B8B3-6F9E071C814C}"/>
                </a:ext>
              </a:extLst>
            </p:cNvPr>
            <p:cNvSpPr/>
            <p:nvPr/>
          </p:nvSpPr>
          <p:spPr>
            <a:xfrm>
              <a:off x="3417318"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333" name="Group 332">
            <a:extLst>
              <a:ext uri="{FF2B5EF4-FFF2-40B4-BE49-F238E27FC236}">
                <a16:creationId xmlns:a16="http://schemas.microsoft.com/office/drawing/2014/main" id="{8AD44F46-5E5A-41A4-A07A-228BE4D17EEF}"/>
              </a:ext>
            </a:extLst>
          </p:cNvPr>
          <p:cNvGrpSpPr/>
          <p:nvPr/>
        </p:nvGrpSpPr>
        <p:grpSpPr>
          <a:xfrm>
            <a:off x="6101125" y="2690170"/>
            <a:ext cx="316450" cy="316450"/>
            <a:chOff x="3370424" y="2043621"/>
            <a:chExt cx="396817" cy="396817"/>
          </a:xfrm>
        </p:grpSpPr>
        <p:sp>
          <p:nvSpPr>
            <p:cNvPr id="334" name="Oval 333">
              <a:extLst>
                <a:ext uri="{FF2B5EF4-FFF2-40B4-BE49-F238E27FC236}">
                  <a16:creationId xmlns:a16="http://schemas.microsoft.com/office/drawing/2014/main" id="{D409DC09-6F14-4C03-BE5F-1ABF3DF225BD}"/>
                </a:ext>
              </a:extLst>
            </p:cNvPr>
            <p:cNvSpPr/>
            <p:nvPr/>
          </p:nvSpPr>
          <p:spPr>
            <a:xfrm>
              <a:off x="3370424" y="2043621"/>
              <a:ext cx="396817" cy="39681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Freeform: Shape 334">
              <a:extLst>
                <a:ext uri="{FF2B5EF4-FFF2-40B4-BE49-F238E27FC236}">
                  <a16:creationId xmlns:a16="http://schemas.microsoft.com/office/drawing/2014/main" id="{363204ED-4628-4730-8643-17C7B07F5880}"/>
                </a:ext>
              </a:extLst>
            </p:cNvPr>
            <p:cNvSpPr/>
            <p:nvPr/>
          </p:nvSpPr>
          <p:spPr>
            <a:xfrm rot="16200000">
              <a:off x="3502015" y="210170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6" name="Freeform: Shape 335">
              <a:extLst>
                <a:ext uri="{FF2B5EF4-FFF2-40B4-BE49-F238E27FC236}">
                  <a16:creationId xmlns:a16="http://schemas.microsoft.com/office/drawing/2014/main" id="{6137161F-4B0D-482A-9B84-0C505FB96AE2}"/>
                </a:ext>
              </a:extLst>
            </p:cNvPr>
            <p:cNvSpPr/>
            <p:nvPr/>
          </p:nvSpPr>
          <p:spPr>
            <a:xfrm rot="5400000">
              <a:off x="3502015" y="227110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7" name="Freeform: Shape 313">
              <a:extLst>
                <a:ext uri="{FF2B5EF4-FFF2-40B4-BE49-F238E27FC236}">
                  <a16:creationId xmlns:a16="http://schemas.microsoft.com/office/drawing/2014/main" id="{F63C52C2-FC82-409B-9C64-738F32D38314}"/>
                </a:ext>
              </a:extLst>
            </p:cNvPr>
            <p:cNvSpPr/>
            <p:nvPr/>
          </p:nvSpPr>
          <p:spPr>
            <a:xfrm rot="10800000">
              <a:off x="3586711"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8" name="Freeform: Shape 314">
              <a:extLst>
                <a:ext uri="{FF2B5EF4-FFF2-40B4-BE49-F238E27FC236}">
                  <a16:creationId xmlns:a16="http://schemas.microsoft.com/office/drawing/2014/main" id="{39764EFF-AC56-4188-B1EF-634B38631FF1}"/>
                </a:ext>
              </a:extLst>
            </p:cNvPr>
            <p:cNvSpPr/>
            <p:nvPr/>
          </p:nvSpPr>
          <p:spPr>
            <a:xfrm>
              <a:off x="3417318"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339" name="Group 338">
            <a:extLst>
              <a:ext uri="{FF2B5EF4-FFF2-40B4-BE49-F238E27FC236}">
                <a16:creationId xmlns:a16="http://schemas.microsoft.com/office/drawing/2014/main" id="{84BB186C-2E50-408A-88AA-7EF32191EBE8}"/>
              </a:ext>
            </a:extLst>
          </p:cNvPr>
          <p:cNvGrpSpPr/>
          <p:nvPr/>
        </p:nvGrpSpPr>
        <p:grpSpPr>
          <a:xfrm>
            <a:off x="6469154" y="2690170"/>
            <a:ext cx="316450" cy="316450"/>
            <a:chOff x="3370424" y="2043621"/>
            <a:chExt cx="396817" cy="396817"/>
          </a:xfrm>
        </p:grpSpPr>
        <p:sp>
          <p:nvSpPr>
            <p:cNvPr id="340" name="Oval 339">
              <a:extLst>
                <a:ext uri="{FF2B5EF4-FFF2-40B4-BE49-F238E27FC236}">
                  <a16:creationId xmlns:a16="http://schemas.microsoft.com/office/drawing/2014/main" id="{92BF3385-D9BB-4230-ACF3-F12C6985BE46}"/>
                </a:ext>
              </a:extLst>
            </p:cNvPr>
            <p:cNvSpPr/>
            <p:nvPr/>
          </p:nvSpPr>
          <p:spPr>
            <a:xfrm>
              <a:off x="3370424" y="2043621"/>
              <a:ext cx="396817" cy="39681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1" name="Freeform: Shape 310">
              <a:extLst>
                <a:ext uri="{FF2B5EF4-FFF2-40B4-BE49-F238E27FC236}">
                  <a16:creationId xmlns:a16="http://schemas.microsoft.com/office/drawing/2014/main" id="{6D62BE47-66CC-4ADB-BFE1-C03FD6913A0C}"/>
                </a:ext>
              </a:extLst>
            </p:cNvPr>
            <p:cNvSpPr/>
            <p:nvPr/>
          </p:nvSpPr>
          <p:spPr>
            <a:xfrm rot="16200000">
              <a:off x="3502015" y="210170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42" name="Freeform: Shape 311">
              <a:extLst>
                <a:ext uri="{FF2B5EF4-FFF2-40B4-BE49-F238E27FC236}">
                  <a16:creationId xmlns:a16="http://schemas.microsoft.com/office/drawing/2014/main" id="{9F4AD22A-7431-4C89-B195-85A5F2E9F896}"/>
                </a:ext>
              </a:extLst>
            </p:cNvPr>
            <p:cNvSpPr/>
            <p:nvPr/>
          </p:nvSpPr>
          <p:spPr>
            <a:xfrm rot="5400000">
              <a:off x="3502015" y="227110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43" name="Freeform: Shape 313">
              <a:extLst>
                <a:ext uri="{FF2B5EF4-FFF2-40B4-BE49-F238E27FC236}">
                  <a16:creationId xmlns:a16="http://schemas.microsoft.com/office/drawing/2014/main" id="{2F1C79E9-5519-4B7C-8662-7EE594AAE3E4}"/>
                </a:ext>
              </a:extLst>
            </p:cNvPr>
            <p:cNvSpPr/>
            <p:nvPr/>
          </p:nvSpPr>
          <p:spPr>
            <a:xfrm rot="10800000">
              <a:off x="3586711"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44" name="Freeform: Shape 314">
              <a:extLst>
                <a:ext uri="{FF2B5EF4-FFF2-40B4-BE49-F238E27FC236}">
                  <a16:creationId xmlns:a16="http://schemas.microsoft.com/office/drawing/2014/main" id="{816F7F40-C647-47BF-9412-FB12B99BA25A}"/>
                </a:ext>
              </a:extLst>
            </p:cNvPr>
            <p:cNvSpPr/>
            <p:nvPr/>
          </p:nvSpPr>
          <p:spPr>
            <a:xfrm>
              <a:off x="3417318" y="218640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sp>
        <p:nvSpPr>
          <p:cNvPr id="345" name="Rectangle: Rounded Corners 344">
            <a:extLst>
              <a:ext uri="{FF2B5EF4-FFF2-40B4-BE49-F238E27FC236}">
                <a16:creationId xmlns:a16="http://schemas.microsoft.com/office/drawing/2014/main" id="{8C216FDB-8BF7-4C38-9B35-582B86B29DB8}"/>
              </a:ext>
            </a:extLst>
          </p:cNvPr>
          <p:cNvSpPr/>
          <p:nvPr/>
        </p:nvSpPr>
        <p:spPr>
          <a:xfrm>
            <a:off x="6047959" y="2686136"/>
            <a:ext cx="1964978" cy="328926"/>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ZA" dirty="0"/>
          </a:p>
        </p:txBody>
      </p:sp>
      <p:sp>
        <p:nvSpPr>
          <p:cNvPr id="6" name="Rectangle: Rounded Corners 5">
            <a:extLst>
              <a:ext uri="{FF2B5EF4-FFF2-40B4-BE49-F238E27FC236}">
                <a16:creationId xmlns:a16="http://schemas.microsoft.com/office/drawing/2014/main" id="{485C937D-F5CC-45AD-A63F-4D4894CAF793}"/>
              </a:ext>
            </a:extLst>
          </p:cNvPr>
          <p:cNvSpPr/>
          <p:nvPr/>
        </p:nvSpPr>
        <p:spPr>
          <a:xfrm>
            <a:off x="1691267" y="2727565"/>
            <a:ext cx="699691" cy="24166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solidFill>
                  <a:schemeClr val="bg2"/>
                </a:solidFill>
              </a:rPr>
              <a:t>PE</a:t>
            </a:r>
          </a:p>
        </p:txBody>
      </p:sp>
      <p:sp>
        <p:nvSpPr>
          <p:cNvPr id="346" name="Rectangle: Rounded Corners 345">
            <a:extLst>
              <a:ext uri="{FF2B5EF4-FFF2-40B4-BE49-F238E27FC236}">
                <a16:creationId xmlns:a16="http://schemas.microsoft.com/office/drawing/2014/main" id="{B573D519-FA48-4323-B2BC-C48886FCC841}"/>
              </a:ext>
            </a:extLst>
          </p:cNvPr>
          <p:cNvSpPr/>
          <p:nvPr/>
        </p:nvSpPr>
        <p:spPr>
          <a:xfrm>
            <a:off x="7252219" y="2727565"/>
            <a:ext cx="699691" cy="24166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solidFill>
                  <a:schemeClr val="bg2"/>
                </a:solidFill>
              </a:rPr>
              <a:t>BG</a:t>
            </a:r>
          </a:p>
        </p:txBody>
      </p:sp>
    </p:spTree>
    <p:extLst>
      <p:ext uri="{BB962C8B-B14F-4D97-AF65-F5344CB8AC3E}">
        <p14:creationId xmlns:p14="http://schemas.microsoft.com/office/powerpoint/2010/main" val="264613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6AC5C-06F8-6C44-B73F-2E03F4A4D1FD}"/>
              </a:ext>
            </a:extLst>
          </p:cNvPr>
          <p:cNvSpPr>
            <a:spLocks noGrp="1"/>
          </p:cNvSpPr>
          <p:nvPr>
            <p:ph type="title"/>
          </p:nvPr>
        </p:nvSpPr>
        <p:spPr/>
        <p:txBody>
          <a:bodyPr/>
          <a:lstStyle/>
          <a:p>
            <a:r>
              <a:rPr lang="en-US" dirty="0"/>
              <a:t>Solution Stack </a:t>
            </a:r>
          </a:p>
        </p:txBody>
      </p:sp>
      <p:pic>
        <p:nvPicPr>
          <p:cNvPr id="3" name="Picture 2">
            <a:extLst>
              <a:ext uri="{FF2B5EF4-FFF2-40B4-BE49-F238E27FC236}">
                <a16:creationId xmlns:a16="http://schemas.microsoft.com/office/drawing/2014/main" id="{7D86D794-25BD-0C4C-8C5F-226E52111817}"/>
              </a:ext>
            </a:extLst>
          </p:cNvPr>
          <p:cNvPicPr>
            <a:picLocks noChangeAspect="1"/>
          </p:cNvPicPr>
          <p:nvPr/>
        </p:nvPicPr>
        <p:blipFill>
          <a:blip r:embed="rId2"/>
          <a:stretch>
            <a:fillRect/>
          </a:stretch>
        </p:blipFill>
        <p:spPr>
          <a:xfrm>
            <a:off x="2235200" y="1147600"/>
            <a:ext cx="4363175" cy="3564950"/>
          </a:xfrm>
          <a:prstGeom prst="rect">
            <a:avLst/>
          </a:prstGeom>
        </p:spPr>
      </p:pic>
    </p:spTree>
    <p:extLst>
      <p:ext uri="{BB962C8B-B14F-4D97-AF65-F5344CB8AC3E}">
        <p14:creationId xmlns:p14="http://schemas.microsoft.com/office/powerpoint/2010/main" val="75942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FA982-0986-4B67-ACB9-95BA45754083}"/>
              </a:ext>
            </a:extLst>
          </p:cNvPr>
          <p:cNvSpPr>
            <a:spLocks noGrp="1"/>
          </p:cNvSpPr>
          <p:nvPr>
            <p:ph type="ctrTitle"/>
          </p:nvPr>
        </p:nvSpPr>
        <p:spPr/>
        <p:txBody>
          <a:bodyPr/>
          <a:lstStyle/>
          <a:p>
            <a:r>
              <a:rPr lang="en-ZA" dirty="0"/>
              <a:t>Security</a:t>
            </a:r>
          </a:p>
        </p:txBody>
      </p:sp>
    </p:spTree>
    <p:extLst>
      <p:ext uri="{BB962C8B-B14F-4D97-AF65-F5344CB8AC3E}">
        <p14:creationId xmlns:p14="http://schemas.microsoft.com/office/powerpoint/2010/main" val="184928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Data Center</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1"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7"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grpSp>
        <p:nvGrpSpPr>
          <p:cNvPr id="957" name="Group 956">
            <a:extLst>
              <a:ext uri="{FF2B5EF4-FFF2-40B4-BE49-F238E27FC236}">
                <a16:creationId xmlns:a16="http://schemas.microsoft.com/office/drawing/2014/main" id="{64452086-9719-44DE-8388-739CF1B77595}"/>
              </a:ext>
            </a:extLst>
          </p:cNvPr>
          <p:cNvGrpSpPr/>
          <p:nvPr/>
        </p:nvGrpSpPr>
        <p:grpSpPr>
          <a:xfrm>
            <a:off x="732673" y="1788912"/>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
        <p:nvSpPr>
          <p:cNvPr id="222" name="Rectangle 221">
            <a:extLst>
              <a:ext uri="{FF2B5EF4-FFF2-40B4-BE49-F238E27FC236}">
                <a16:creationId xmlns:a16="http://schemas.microsoft.com/office/drawing/2014/main" id="{552D17C2-84BE-4ED5-8817-DA6FE9CFEF2C}"/>
              </a:ext>
            </a:extLst>
          </p:cNvPr>
          <p:cNvSpPr/>
          <p:nvPr/>
        </p:nvSpPr>
        <p:spPr>
          <a:xfrm>
            <a:off x="1789987" y="1242865"/>
            <a:ext cx="5945724" cy="488854"/>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5" name="Rectangle 224">
            <a:extLst>
              <a:ext uri="{FF2B5EF4-FFF2-40B4-BE49-F238E27FC236}">
                <a16:creationId xmlns:a16="http://schemas.microsoft.com/office/drawing/2014/main" id="{2F514811-788C-4F3A-AB1C-331E11EC0303}"/>
              </a:ext>
            </a:extLst>
          </p:cNvPr>
          <p:cNvSpPr/>
          <p:nvPr/>
        </p:nvSpPr>
        <p:spPr>
          <a:xfrm>
            <a:off x="1828713" y="3414006"/>
            <a:ext cx="5906997" cy="762602"/>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Tree>
    <p:extLst>
      <p:ext uri="{BB962C8B-B14F-4D97-AF65-F5344CB8AC3E}">
        <p14:creationId xmlns:p14="http://schemas.microsoft.com/office/powerpoint/2010/main" val="9083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500"/>
                                        <p:tgtEl>
                                          <p:spTgt spid="2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2"/>
                                        </p:tgtEl>
                                        <p:attrNameLst>
                                          <p:attrName>style.visibility</p:attrName>
                                        </p:attrNameLst>
                                      </p:cBhvr>
                                      <p:to>
                                        <p:strVal val="visible"/>
                                      </p:to>
                                    </p:set>
                                    <p:animEffect transition="in" filter="fade">
                                      <p:cBhvr>
                                        <p:cTn id="10" dur="500"/>
                                        <p:tgtEl>
                                          <p:spTgt spid="2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2" grpId="0" animBg="1"/>
      <p:bldP spid="225" grpId="0" animBg="1"/>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4772180" y="1305942"/>
            <a:ext cx="4331643" cy="4059237"/>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000" b="1" dirty="0"/>
              <a:t>Cisco Security</a:t>
            </a:r>
          </a:p>
          <a:p>
            <a:pPr marL="346075" lvl="1" indent="-171450">
              <a:lnSpc>
                <a:spcPct val="110000"/>
              </a:lnSpc>
              <a:buClr>
                <a:schemeClr val="tx1"/>
              </a:buClr>
              <a:buSzPct val="60000"/>
              <a:buFont typeface="Arial" panose="020B0604020202020204" pitchFamily="34" charset="0"/>
              <a:buChar char="•"/>
            </a:pPr>
            <a:r>
              <a:rPr lang="en-US" sz="1800" dirty="0"/>
              <a:t>Industry’s most advanced and complete Security architecture</a:t>
            </a:r>
          </a:p>
          <a:p>
            <a:pPr marL="346075" lvl="1" indent="-171450">
              <a:lnSpc>
                <a:spcPct val="110000"/>
              </a:lnSpc>
              <a:buClr>
                <a:schemeClr val="tx1"/>
              </a:buClr>
              <a:buSzPct val="60000"/>
              <a:buFont typeface="Arial" panose="020B0604020202020204" pitchFamily="34" charset="0"/>
              <a:buChar char="•"/>
            </a:pPr>
            <a:r>
              <a:rPr lang="en-US" sz="1800" dirty="0"/>
              <a:t>Orchestrated security solutions</a:t>
            </a:r>
          </a:p>
          <a:p>
            <a:pPr marL="346075" lvl="1" indent="-171450">
              <a:lnSpc>
                <a:spcPct val="110000"/>
              </a:lnSpc>
              <a:buClr>
                <a:schemeClr val="tx1"/>
              </a:buClr>
              <a:buSzPct val="60000"/>
              <a:buFont typeface="Arial" panose="020B0604020202020204" pitchFamily="34" charset="0"/>
              <a:buChar char="•"/>
            </a:pPr>
            <a:r>
              <a:rPr lang="en-US" sz="1800" dirty="0"/>
              <a:t>Threat / Dark Threat Mitigation</a:t>
            </a:r>
          </a:p>
          <a:p>
            <a:pPr marL="346075" lvl="1" indent="-171450">
              <a:lnSpc>
                <a:spcPct val="110000"/>
              </a:lnSpc>
              <a:buClr>
                <a:schemeClr val="tx1"/>
              </a:buClr>
              <a:buSzPct val="60000"/>
              <a:buFont typeface="Arial" panose="020B0604020202020204" pitchFamily="34" charset="0"/>
              <a:buChar char="•"/>
            </a:pPr>
            <a:r>
              <a:rPr lang="en-US" sz="1800" dirty="0"/>
              <a:t>Unmatched visibility at scale</a:t>
            </a:r>
          </a:p>
          <a:p>
            <a:pPr marL="490538" lvl="3" indent="-171450">
              <a:lnSpc>
                <a:spcPct val="110000"/>
              </a:lnSpc>
              <a:buClr>
                <a:schemeClr val="tx1"/>
              </a:buClr>
              <a:buSzPct val="60000"/>
              <a:buFont typeface="Arial" panose="020B0604020202020204" pitchFamily="34" charset="0"/>
              <a:buChar char="•"/>
            </a:pPr>
            <a:r>
              <a:rPr lang="en-US" sz="1500" dirty="0"/>
              <a:t>Including 3rd party apps, and services</a:t>
            </a:r>
          </a:p>
          <a:p>
            <a:pPr marL="346075" lvl="1" indent="-171450">
              <a:lnSpc>
                <a:spcPct val="110000"/>
              </a:lnSpc>
              <a:buClr>
                <a:schemeClr val="tx1"/>
              </a:buClr>
              <a:buSzPct val="60000"/>
              <a:buFont typeface="Arial" panose="020B0604020202020204" pitchFamily="34" charset="0"/>
              <a:buChar char="•"/>
            </a:pPr>
            <a:r>
              <a:rPr lang="en-US" sz="1800" dirty="0"/>
              <a:t>Virtualized - Distributed</a:t>
            </a:r>
          </a:p>
          <a:p>
            <a:pPr marL="0" indent="0">
              <a:buNone/>
            </a:pPr>
            <a:r>
              <a:rPr lang="en-US" sz="2000" dirty="0"/>
              <a:t>Because you can’t protect </a:t>
            </a:r>
            <a:br>
              <a:rPr lang="en-US" sz="2000" dirty="0"/>
            </a:br>
            <a:r>
              <a:rPr lang="en-US" sz="2000" dirty="0"/>
              <a:t>what you can’t see.</a:t>
            </a:r>
          </a:p>
          <a:p>
            <a:endParaRPr lang="en-US" sz="2000" dirty="0"/>
          </a:p>
        </p:txBody>
      </p:sp>
      <p:pic>
        <p:nvPicPr>
          <p:cNvPr id="7" name="Picture 6">
            <a:extLst>
              <a:ext uri="{FF2B5EF4-FFF2-40B4-BE49-F238E27FC236}">
                <a16:creationId xmlns:a16="http://schemas.microsoft.com/office/drawing/2014/main" id="{CC863E2A-2D3D-5C45-8D65-CE300C7B6D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22852" y="272299"/>
            <a:ext cx="454460" cy="454460"/>
          </a:xfrm>
          <a:prstGeom prst="rect">
            <a:avLst/>
          </a:prstGeom>
        </p:spPr>
      </p:pic>
      <p:sp>
        <p:nvSpPr>
          <p:cNvPr id="10" name="TextBox 9">
            <a:extLst>
              <a:ext uri="{FF2B5EF4-FFF2-40B4-BE49-F238E27FC236}">
                <a16:creationId xmlns:a16="http://schemas.microsoft.com/office/drawing/2014/main" id="{05A49F45-17E1-8D4C-84DF-AF587C6CE8AC}"/>
              </a:ext>
            </a:extLst>
          </p:cNvPr>
          <p:cNvSpPr txBox="1"/>
          <p:nvPr/>
        </p:nvSpPr>
        <p:spPr>
          <a:xfrm>
            <a:off x="6393077" y="780352"/>
            <a:ext cx="914011" cy="230832"/>
          </a:xfrm>
          <a:prstGeom prst="rect">
            <a:avLst/>
          </a:prstGeom>
          <a:noFill/>
        </p:spPr>
        <p:txBody>
          <a:bodyPr wrap="square" rtlCol="0">
            <a:spAutoFit/>
          </a:bodyPr>
          <a:lstStyle/>
          <a:p>
            <a:pPr algn="ctr"/>
            <a:r>
              <a:rPr lang="en-US" sz="900" dirty="0">
                <a:solidFill>
                  <a:schemeClr val="bg1"/>
                </a:solidFill>
                <a:latin typeface="+mn-lt"/>
              </a:rPr>
              <a:t>Security</a:t>
            </a:r>
          </a:p>
        </p:txBody>
      </p:sp>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l="27547" t="15942" r="24707" b="43338"/>
          <a:stretch/>
        </p:blipFill>
        <p:spPr>
          <a:xfrm>
            <a:off x="675734" y="392412"/>
            <a:ext cx="3144981" cy="3322537"/>
          </a:xfrm>
          <a:prstGeom prst="rect">
            <a:avLst/>
          </a:prstGeom>
        </p:spPr>
      </p:pic>
      <p:sp>
        <p:nvSpPr>
          <p:cNvPr id="12" name="Title 84">
            <a:extLst>
              <a:ext uri="{FF2B5EF4-FFF2-40B4-BE49-F238E27FC236}">
                <a16:creationId xmlns:a16="http://schemas.microsoft.com/office/drawing/2014/main" id="{43A2435E-571E-824A-BC4B-27FF88C6D8D0}"/>
              </a:ext>
            </a:extLst>
          </p:cNvPr>
          <p:cNvSpPr txBox="1">
            <a:spLocks/>
          </p:cNvSpPr>
          <p:nvPr/>
        </p:nvSpPr>
        <p:spPr bwMode="auto">
          <a:xfrm>
            <a:off x="362204" y="3255590"/>
            <a:ext cx="3827463" cy="18288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a:t>Security</a:t>
            </a:r>
          </a:p>
        </p:txBody>
      </p:sp>
    </p:spTree>
    <p:extLst>
      <p:ext uri="{BB962C8B-B14F-4D97-AF65-F5344CB8AC3E}">
        <p14:creationId xmlns:p14="http://schemas.microsoft.com/office/powerpoint/2010/main" val="413601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55739-0A3C-4EB1-AECF-1E8978EB7F42}"/>
              </a:ext>
            </a:extLst>
          </p:cNvPr>
          <p:cNvSpPr>
            <a:spLocks noGrp="1"/>
          </p:cNvSpPr>
          <p:nvPr>
            <p:ph type="title"/>
          </p:nvPr>
        </p:nvSpPr>
        <p:spPr/>
        <p:txBody>
          <a:bodyPr/>
          <a:lstStyle/>
          <a:p>
            <a:r>
              <a:rPr lang="en-ZA" dirty="0"/>
              <a:t>Security Portfolio for Mobile SP</a:t>
            </a:r>
          </a:p>
        </p:txBody>
      </p:sp>
      <p:pic>
        <p:nvPicPr>
          <p:cNvPr id="4" name="Picture 3">
            <a:extLst>
              <a:ext uri="{FF2B5EF4-FFF2-40B4-BE49-F238E27FC236}">
                <a16:creationId xmlns:a16="http://schemas.microsoft.com/office/drawing/2014/main" id="{38EAFCB2-15BF-40FA-8319-B06BB913E6D7}"/>
              </a:ext>
            </a:extLst>
          </p:cNvPr>
          <p:cNvPicPr>
            <a:picLocks noChangeAspect="1"/>
          </p:cNvPicPr>
          <p:nvPr/>
        </p:nvPicPr>
        <p:blipFill>
          <a:blip r:embed="rId2"/>
          <a:stretch>
            <a:fillRect/>
          </a:stretch>
        </p:blipFill>
        <p:spPr>
          <a:xfrm>
            <a:off x="437766" y="929426"/>
            <a:ext cx="8075981" cy="3872761"/>
          </a:xfrm>
          <a:prstGeom prst="rect">
            <a:avLst/>
          </a:prstGeom>
        </p:spPr>
      </p:pic>
      <p:sp>
        <p:nvSpPr>
          <p:cNvPr id="6" name="Rectangle 5">
            <a:extLst>
              <a:ext uri="{FF2B5EF4-FFF2-40B4-BE49-F238E27FC236}">
                <a16:creationId xmlns:a16="http://schemas.microsoft.com/office/drawing/2014/main" id="{3303BDD4-38E2-43A6-93F2-DAA06934F0D8}"/>
              </a:ext>
            </a:extLst>
          </p:cNvPr>
          <p:cNvSpPr/>
          <p:nvPr/>
        </p:nvSpPr>
        <p:spPr>
          <a:xfrm>
            <a:off x="5852160" y="3306470"/>
            <a:ext cx="263347" cy="21214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149594891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AD7B19B-EA77-4E3C-88B2-2AA83F79B78C}"/>
              </a:ext>
            </a:extLst>
          </p:cNvPr>
          <p:cNvPicPr>
            <a:picLocks noChangeAspect="1"/>
          </p:cNvPicPr>
          <p:nvPr/>
        </p:nvPicPr>
        <p:blipFill>
          <a:blip r:embed="rId3"/>
          <a:stretch>
            <a:fillRect/>
          </a:stretch>
        </p:blipFill>
        <p:spPr>
          <a:xfrm>
            <a:off x="473009" y="0"/>
            <a:ext cx="8197982" cy="5143500"/>
          </a:xfrm>
          <a:prstGeom prst="rect">
            <a:avLst/>
          </a:prstGeom>
        </p:spPr>
      </p:pic>
    </p:spTree>
    <p:extLst>
      <p:ext uri="{BB962C8B-B14F-4D97-AF65-F5344CB8AC3E}">
        <p14:creationId xmlns:p14="http://schemas.microsoft.com/office/powerpoint/2010/main" val="170013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a:extLst>
              <a:ext uri="{FF2B5EF4-FFF2-40B4-BE49-F238E27FC236}">
                <a16:creationId xmlns:a16="http://schemas.microsoft.com/office/drawing/2014/main" id="{7FAFDD59-C58D-5742-BD96-C1920BDC30A6}"/>
              </a:ext>
            </a:extLst>
          </p:cNvPr>
          <p:cNvSpPr>
            <a:spLocks noGrp="1"/>
          </p:cNvSpPr>
          <p:nvPr>
            <p:ph type="title"/>
          </p:nvPr>
        </p:nvSpPr>
        <p:spPr/>
        <p:txBody>
          <a:bodyPr/>
          <a:lstStyle/>
          <a:p>
            <a:r>
              <a:rPr lang="en-US" dirty="0">
                <a:solidFill>
                  <a:srgbClr val="005073"/>
                </a:solidFill>
                <a:sym typeface="Arial"/>
              </a:rPr>
              <a:t>Distributed Denial of Service (DDoS) </a:t>
            </a:r>
            <a:br>
              <a:rPr lang="en-US" dirty="0">
                <a:solidFill>
                  <a:srgbClr val="005073"/>
                </a:solidFill>
                <a:sym typeface="Arial"/>
              </a:rPr>
            </a:br>
            <a:r>
              <a:rPr lang="en-US" dirty="0">
                <a:solidFill>
                  <a:srgbClr val="005073"/>
                </a:solidFill>
                <a:sym typeface="Arial"/>
              </a:rPr>
              <a:t>for Peering Solutions</a:t>
            </a:r>
          </a:p>
        </p:txBody>
      </p:sp>
      <p:sp>
        <p:nvSpPr>
          <p:cNvPr id="73" name="TextBox 72">
            <a:extLst>
              <a:ext uri="{FF2B5EF4-FFF2-40B4-BE49-F238E27FC236}">
                <a16:creationId xmlns:a16="http://schemas.microsoft.com/office/drawing/2014/main" id="{CBE4B82F-BD55-4843-A46F-DA395E424B7C}"/>
              </a:ext>
            </a:extLst>
          </p:cNvPr>
          <p:cNvSpPr txBox="1"/>
          <p:nvPr/>
        </p:nvSpPr>
        <p:spPr>
          <a:xfrm>
            <a:off x="2422070" y="2940474"/>
            <a:ext cx="3611595" cy="461665"/>
          </a:xfrm>
          <a:prstGeom prst="rect">
            <a:avLst/>
          </a:prstGeom>
          <a:noFill/>
        </p:spPr>
        <p:txBody>
          <a:bodyPr wrap="square" rtlCol="0" anchor="ctr">
            <a:spAutoFit/>
          </a:bodyPr>
          <a:lstStyle/>
          <a:p>
            <a:pPr algn="ctr" defTabSz="685800" fontAlgn="auto">
              <a:spcBef>
                <a:spcPts val="0"/>
              </a:spcBef>
              <a:spcAft>
                <a:spcPts val="0"/>
              </a:spcAft>
            </a:pPr>
            <a:r>
              <a:rPr lang="en-US" sz="1200" dirty="0">
                <a:latin typeface="+mn-lt"/>
                <a:cs typeface="+mn-cs"/>
              </a:rPr>
              <a:t>Automated mitigation using </a:t>
            </a:r>
            <a:br>
              <a:rPr lang="en-US" sz="1200" dirty="0">
                <a:latin typeface="+mn-lt"/>
                <a:cs typeface="+mn-cs"/>
              </a:rPr>
            </a:br>
            <a:r>
              <a:rPr lang="en-US" sz="1200" dirty="0">
                <a:latin typeface="+mn-lt"/>
                <a:cs typeface="+mn-cs"/>
              </a:rPr>
              <a:t>high-scale ACL and BGP Flowspec</a:t>
            </a:r>
          </a:p>
        </p:txBody>
      </p:sp>
      <p:sp>
        <p:nvSpPr>
          <p:cNvPr id="75" name="TextBox 74">
            <a:extLst>
              <a:ext uri="{FF2B5EF4-FFF2-40B4-BE49-F238E27FC236}">
                <a16:creationId xmlns:a16="http://schemas.microsoft.com/office/drawing/2014/main" id="{48944BA7-4B49-7D46-86D2-9676296F39D9}"/>
              </a:ext>
            </a:extLst>
          </p:cNvPr>
          <p:cNvSpPr txBox="1"/>
          <p:nvPr/>
        </p:nvSpPr>
        <p:spPr>
          <a:xfrm>
            <a:off x="2334689" y="2283730"/>
            <a:ext cx="3786356" cy="276999"/>
          </a:xfrm>
          <a:prstGeom prst="rect">
            <a:avLst/>
          </a:prstGeom>
          <a:noFill/>
        </p:spPr>
        <p:txBody>
          <a:bodyPr wrap="square" rtlCol="0" anchor="ctr">
            <a:spAutoFit/>
          </a:bodyPr>
          <a:lstStyle/>
          <a:p>
            <a:pPr algn="ctr" defTabSz="685800" fontAlgn="auto">
              <a:spcBef>
                <a:spcPts val="0"/>
              </a:spcBef>
              <a:spcAft>
                <a:spcPts val="0"/>
              </a:spcAft>
            </a:pPr>
            <a:r>
              <a:rPr lang="en-US" sz="1200" dirty="0">
                <a:latin typeface="+mn-lt"/>
                <a:cs typeface="+mn-cs"/>
              </a:rPr>
              <a:t>Real Time Telemetry with Netflow</a:t>
            </a:r>
          </a:p>
        </p:txBody>
      </p:sp>
      <p:grpSp>
        <p:nvGrpSpPr>
          <p:cNvPr id="51" name="Group 50">
            <a:extLst>
              <a:ext uri="{FF2B5EF4-FFF2-40B4-BE49-F238E27FC236}">
                <a16:creationId xmlns:a16="http://schemas.microsoft.com/office/drawing/2014/main" id="{DD331834-1B06-7746-9232-B069055B9352}"/>
              </a:ext>
            </a:extLst>
          </p:cNvPr>
          <p:cNvGrpSpPr/>
          <p:nvPr/>
        </p:nvGrpSpPr>
        <p:grpSpPr>
          <a:xfrm>
            <a:off x="1310946" y="2494161"/>
            <a:ext cx="4736403" cy="364249"/>
            <a:chOff x="1714600" y="2440051"/>
            <a:chExt cx="4736403" cy="364249"/>
          </a:xfrm>
        </p:grpSpPr>
        <p:sp>
          <p:nvSpPr>
            <p:cNvPr id="95" name="Rounded Rectangle 94">
              <a:extLst>
                <a:ext uri="{FF2B5EF4-FFF2-40B4-BE49-F238E27FC236}">
                  <a16:creationId xmlns:a16="http://schemas.microsoft.com/office/drawing/2014/main" id="{38719A42-D745-7948-A936-3D155E12945B}"/>
                </a:ext>
              </a:extLst>
            </p:cNvPr>
            <p:cNvSpPr/>
            <p:nvPr/>
          </p:nvSpPr>
          <p:spPr>
            <a:xfrm flipH="1">
              <a:off x="1714600" y="2568174"/>
              <a:ext cx="4643613" cy="9693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6" name="Group 95">
              <a:extLst>
                <a:ext uri="{FF2B5EF4-FFF2-40B4-BE49-F238E27FC236}">
                  <a16:creationId xmlns:a16="http://schemas.microsoft.com/office/drawing/2014/main" id="{D1B06372-A39F-6C44-AB28-E3A23238AA26}"/>
                </a:ext>
              </a:extLst>
            </p:cNvPr>
            <p:cNvGrpSpPr/>
            <p:nvPr/>
          </p:nvGrpSpPr>
          <p:grpSpPr>
            <a:xfrm flipH="1">
              <a:off x="6222465" y="2440051"/>
              <a:ext cx="228538" cy="364249"/>
              <a:chOff x="1347021" y="2998423"/>
              <a:chExt cx="367270" cy="585359"/>
            </a:xfrm>
          </p:grpSpPr>
          <p:sp>
            <p:nvSpPr>
              <p:cNvPr id="97" name="Freeform 6">
                <a:extLst>
                  <a:ext uri="{FF2B5EF4-FFF2-40B4-BE49-F238E27FC236}">
                    <a16:creationId xmlns:a16="http://schemas.microsoft.com/office/drawing/2014/main" id="{8B09C4F6-FF08-7547-96A6-2CF252949466}"/>
                  </a:ext>
                </a:extLst>
              </p:cNvPr>
              <p:cNvSpPr>
                <a:spLocks/>
              </p:cNvSpPr>
              <p:nvPr/>
            </p:nvSpPr>
            <p:spPr bwMode="auto">
              <a:xfrm flipH="1">
                <a:off x="1371872" y="2998423"/>
                <a:ext cx="342414" cy="248553"/>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98" name="Freeform 7">
                <a:extLst>
                  <a:ext uri="{FF2B5EF4-FFF2-40B4-BE49-F238E27FC236}">
                    <a16:creationId xmlns:a16="http://schemas.microsoft.com/office/drawing/2014/main" id="{BA73E5A8-BBFC-FF49-912D-ECBA9FDC08E5}"/>
                  </a:ext>
                </a:extLst>
              </p:cNvPr>
              <p:cNvSpPr>
                <a:spLocks noEditPoints="1"/>
              </p:cNvSpPr>
              <p:nvPr/>
            </p:nvSpPr>
            <p:spPr bwMode="auto">
              <a:xfrm flipH="1">
                <a:off x="1397649" y="3213810"/>
                <a:ext cx="196980" cy="77072"/>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99" name="Freeform 8">
                <a:extLst>
                  <a:ext uri="{FF2B5EF4-FFF2-40B4-BE49-F238E27FC236}">
                    <a16:creationId xmlns:a16="http://schemas.microsoft.com/office/drawing/2014/main" id="{58EFFAEA-2610-1545-91D2-D1877AA81D30}"/>
                  </a:ext>
                </a:extLst>
              </p:cNvPr>
              <p:cNvSpPr>
                <a:spLocks/>
              </p:cNvSpPr>
              <p:nvPr/>
            </p:nvSpPr>
            <p:spPr bwMode="auto">
              <a:xfrm flipH="1">
                <a:off x="1371876" y="3337156"/>
                <a:ext cx="342415" cy="246626"/>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9">
                <a:extLst>
                  <a:ext uri="{FF2B5EF4-FFF2-40B4-BE49-F238E27FC236}">
                    <a16:creationId xmlns:a16="http://schemas.microsoft.com/office/drawing/2014/main" id="{3F6A8DC5-03E9-4744-B0FE-50059555F8C5}"/>
                  </a:ext>
                </a:extLst>
              </p:cNvPr>
              <p:cNvSpPr>
                <a:spLocks noEditPoints="1"/>
              </p:cNvSpPr>
              <p:nvPr/>
            </p:nvSpPr>
            <p:spPr bwMode="auto">
              <a:xfrm flipH="1">
                <a:off x="1371874" y="3287451"/>
                <a:ext cx="222754" cy="73218"/>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11">
                <a:extLst>
                  <a:ext uri="{FF2B5EF4-FFF2-40B4-BE49-F238E27FC236}">
                    <a16:creationId xmlns:a16="http://schemas.microsoft.com/office/drawing/2014/main" id="{43486F4F-0524-D846-81AA-50C053F418B7}"/>
                  </a:ext>
                </a:extLst>
              </p:cNvPr>
              <p:cNvSpPr>
                <a:spLocks/>
              </p:cNvSpPr>
              <p:nvPr/>
            </p:nvSpPr>
            <p:spPr bwMode="auto">
              <a:xfrm flipH="1">
                <a:off x="1347021" y="3213823"/>
                <a:ext cx="174888" cy="150288"/>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20" name="Group 219">
            <a:extLst>
              <a:ext uri="{FF2B5EF4-FFF2-40B4-BE49-F238E27FC236}">
                <a16:creationId xmlns:a16="http://schemas.microsoft.com/office/drawing/2014/main" id="{91F50901-49DA-C44C-B954-BCA206CEAEDD}"/>
              </a:ext>
            </a:extLst>
          </p:cNvPr>
          <p:cNvGrpSpPr/>
          <p:nvPr/>
        </p:nvGrpSpPr>
        <p:grpSpPr>
          <a:xfrm flipH="1">
            <a:off x="2579948" y="3240675"/>
            <a:ext cx="4736403" cy="364249"/>
            <a:chOff x="1714600" y="2440051"/>
            <a:chExt cx="4736403" cy="364249"/>
          </a:xfrm>
        </p:grpSpPr>
        <p:sp>
          <p:nvSpPr>
            <p:cNvPr id="221" name="Rounded Rectangle 220">
              <a:extLst>
                <a:ext uri="{FF2B5EF4-FFF2-40B4-BE49-F238E27FC236}">
                  <a16:creationId xmlns:a16="http://schemas.microsoft.com/office/drawing/2014/main" id="{7A91C9DF-538E-734E-8C7A-D7EF828AE248}"/>
                </a:ext>
              </a:extLst>
            </p:cNvPr>
            <p:cNvSpPr/>
            <p:nvPr/>
          </p:nvSpPr>
          <p:spPr>
            <a:xfrm flipH="1">
              <a:off x="1714600" y="2568174"/>
              <a:ext cx="4643613" cy="9693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2" name="Group 221">
              <a:extLst>
                <a:ext uri="{FF2B5EF4-FFF2-40B4-BE49-F238E27FC236}">
                  <a16:creationId xmlns:a16="http://schemas.microsoft.com/office/drawing/2014/main" id="{5EDD37F8-AA9C-8046-9E22-02B1F1A42EEF}"/>
                </a:ext>
              </a:extLst>
            </p:cNvPr>
            <p:cNvGrpSpPr/>
            <p:nvPr/>
          </p:nvGrpSpPr>
          <p:grpSpPr>
            <a:xfrm flipH="1">
              <a:off x="6222465" y="2440051"/>
              <a:ext cx="228538" cy="364249"/>
              <a:chOff x="1347021" y="2998423"/>
              <a:chExt cx="367270" cy="585359"/>
            </a:xfrm>
          </p:grpSpPr>
          <p:sp>
            <p:nvSpPr>
              <p:cNvPr id="223" name="Freeform 6">
                <a:extLst>
                  <a:ext uri="{FF2B5EF4-FFF2-40B4-BE49-F238E27FC236}">
                    <a16:creationId xmlns:a16="http://schemas.microsoft.com/office/drawing/2014/main" id="{CBFB0EB8-54F4-1F44-BC53-7AF904F99204}"/>
                  </a:ext>
                </a:extLst>
              </p:cNvPr>
              <p:cNvSpPr>
                <a:spLocks/>
              </p:cNvSpPr>
              <p:nvPr/>
            </p:nvSpPr>
            <p:spPr bwMode="auto">
              <a:xfrm flipH="1">
                <a:off x="1371872" y="2998423"/>
                <a:ext cx="342414" cy="248553"/>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24" name="Freeform 7">
                <a:extLst>
                  <a:ext uri="{FF2B5EF4-FFF2-40B4-BE49-F238E27FC236}">
                    <a16:creationId xmlns:a16="http://schemas.microsoft.com/office/drawing/2014/main" id="{379D2EB5-47A4-1042-ADE7-3A44C78BF6CA}"/>
                  </a:ext>
                </a:extLst>
              </p:cNvPr>
              <p:cNvSpPr>
                <a:spLocks noEditPoints="1"/>
              </p:cNvSpPr>
              <p:nvPr/>
            </p:nvSpPr>
            <p:spPr bwMode="auto">
              <a:xfrm flipH="1">
                <a:off x="1397649" y="3213810"/>
                <a:ext cx="196980" cy="77072"/>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225" name="Freeform 8">
                <a:extLst>
                  <a:ext uri="{FF2B5EF4-FFF2-40B4-BE49-F238E27FC236}">
                    <a16:creationId xmlns:a16="http://schemas.microsoft.com/office/drawing/2014/main" id="{C733A299-8C07-CD4F-B8B5-C0C6C353AA52}"/>
                  </a:ext>
                </a:extLst>
              </p:cNvPr>
              <p:cNvSpPr>
                <a:spLocks/>
              </p:cNvSpPr>
              <p:nvPr/>
            </p:nvSpPr>
            <p:spPr bwMode="auto">
              <a:xfrm flipH="1">
                <a:off x="1371876" y="3337156"/>
                <a:ext cx="342415" cy="246626"/>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26" name="Freeform 9">
                <a:extLst>
                  <a:ext uri="{FF2B5EF4-FFF2-40B4-BE49-F238E27FC236}">
                    <a16:creationId xmlns:a16="http://schemas.microsoft.com/office/drawing/2014/main" id="{3D9EDD1B-A52B-C441-BDA2-EC4E9387325E}"/>
                  </a:ext>
                </a:extLst>
              </p:cNvPr>
              <p:cNvSpPr>
                <a:spLocks noEditPoints="1"/>
              </p:cNvSpPr>
              <p:nvPr/>
            </p:nvSpPr>
            <p:spPr bwMode="auto">
              <a:xfrm flipH="1">
                <a:off x="1371874" y="3287451"/>
                <a:ext cx="222754" cy="73218"/>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227" name="Freeform 11">
                <a:extLst>
                  <a:ext uri="{FF2B5EF4-FFF2-40B4-BE49-F238E27FC236}">
                    <a16:creationId xmlns:a16="http://schemas.microsoft.com/office/drawing/2014/main" id="{D64E94D0-7F0D-C14B-BB4F-07B9F229CCE9}"/>
                  </a:ext>
                </a:extLst>
              </p:cNvPr>
              <p:cNvSpPr>
                <a:spLocks/>
              </p:cNvSpPr>
              <p:nvPr/>
            </p:nvSpPr>
            <p:spPr bwMode="auto">
              <a:xfrm flipH="1">
                <a:off x="1347021" y="3213823"/>
                <a:ext cx="174888" cy="150288"/>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32" name="Group 31">
            <a:extLst>
              <a:ext uri="{FF2B5EF4-FFF2-40B4-BE49-F238E27FC236}">
                <a16:creationId xmlns:a16="http://schemas.microsoft.com/office/drawing/2014/main" id="{B824A57A-E525-0A41-83B9-470BFCE289A4}"/>
              </a:ext>
            </a:extLst>
          </p:cNvPr>
          <p:cNvGrpSpPr/>
          <p:nvPr/>
        </p:nvGrpSpPr>
        <p:grpSpPr>
          <a:xfrm>
            <a:off x="622506" y="1892012"/>
            <a:ext cx="2310068" cy="2316080"/>
            <a:chOff x="3355133" y="1362078"/>
            <a:chExt cx="2432694" cy="2439027"/>
          </a:xfrm>
        </p:grpSpPr>
        <p:grpSp>
          <p:nvGrpSpPr>
            <p:cNvPr id="28" name="Group 27">
              <a:extLst>
                <a:ext uri="{FF2B5EF4-FFF2-40B4-BE49-F238E27FC236}">
                  <a16:creationId xmlns:a16="http://schemas.microsoft.com/office/drawing/2014/main" id="{DBB6B8CD-2378-EA4A-93F2-39A6293F6011}"/>
                </a:ext>
              </a:extLst>
            </p:cNvPr>
            <p:cNvGrpSpPr/>
            <p:nvPr/>
          </p:nvGrpSpPr>
          <p:grpSpPr>
            <a:xfrm>
              <a:off x="3356173" y="2463512"/>
              <a:ext cx="2431654" cy="216473"/>
              <a:chOff x="3351647" y="2463512"/>
              <a:chExt cx="2431654" cy="216473"/>
            </a:xfrm>
          </p:grpSpPr>
          <p:grpSp>
            <p:nvGrpSpPr>
              <p:cNvPr id="128" name="Group 127">
                <a:extLst>
                  <a:ext uri="{FF2B5EF4-FFF2-40B4-BE49-F238E27FC236}">
                    <a16:creationId xmlns:a16="http://schemas.microsoft.com/office/drawing/2014/main" id="{D7EF22A3-8FBD-9A41-978C-D6261B69E72E}"/>
                  </a:ext>
                </a:extLst>
              </p:cNvPr>
              <p:cNvGrpSpPr>
                <a:grpSpLocks noChangeAspect="1"/>
              </p:cNvGrpSpPr>
              <p:nvPr/>
            </p:nvGrpSpPr>
            <p:grpSpPr>
              <a:xfrm>
                <a:off x="5272866" y="2463512"/>
                <a:ext cx="510435" cy="216473"/>
                <a:chOff x="7413625" y="908050"/>
                <a:chExt cx="1167897" cy="495300"/>
              </a:xfrm>
            </p:grpSpPr>
            <p:sp>
              <p:nvSpPr>
                <p:cNvPr id="129" name="Freeform 60">
                  <a:extLst>
                    <a:ext uri="{FF2B5EF4-FFF2-40B4-BE49-F238E27FC236}">
                      <a16:creationId xmlns:a16="http://schemas.microsoft.com/office/drawing/2014/main" id="{D68E6DEF-FB93-E346-8035-CA4B0E2FB886}"/>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61">
                  <a:extLst>
                    <a:ext uri="{FF2B5EF4-FFF2-40B4-BE49-F238E27FC236}">
                      <a16:creationId xmlns:a16="http://schemas.microsoft.com/office/drawing/2014/main" id="{C3D1B492-5E81-304F-95DB-BAAD6BD95F6E}"/>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62">
                  <a:extLst>
                    <a:ext uri="{FF2B5EF4-FFF2-40B4-BE49-F238E27FC236}">
                      <a16:creationId xmlns:a16="http://schemas.microsoft.com/office/drawing/2014/main" id="{9103CB29-8B28-FF47-A0A5-0A8ED4B656C1}"/>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32" name="Freeform 63">
                  <a:extLst>
                    <a:ext uri="{FF2B5EF4-FFF2-40B4-BE49-F238E27FC236}">
                      <a16:creationId xmlns:a16="http://schemas.microsoft.com/office/drawing/2014/main" id="{2F0AC4BD-C4E7-E84C-8353-958F445646D7}"/>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33" name="Freeform 64">
                  <a:extLst>
                    <a:ext uri="{FF2B5EF4-FFF2-40B4-BE49-F238E27FC236}">
                      <a16:creationId xmlns:a16="http://schemas.microsoft.com/office/drawing/2014/main" id="{AA2E45AA-1822-6A4D-80B6-1F110FE49BAC}"/>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65">
                  <a:extLst>
                    <a:ext uri="{FF2B5EF4-FFF2-40B4-BE49-F238E27FC236}">
                      <a16:creationId xmlns:a16="http://schemas.microsoft.com/office/drawing/2014/main" id="{5D3F6217-2C46-B045-9510-9C25AB27B33D}"/>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66">
                  <a:extLst>
                    <a:ext uri="{FF2B5EF4-FFF2-40B4-BE49-F238E27FC236}">
                      <a16:creationId xmlns:a16="http://schemas.microsoft.com/office/drawing/2014/main" id="{8FB018AF-25F5-6E41-B935-7586141D622C}"/>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136" name="Group 135">
                <a:extLst>
                  <a:ext uri="{FF2B5EF4-FFF2-40B4-BE49-F238E27FC236}">
                    <a16:creationId xmlns:a16="http://schemas.microsoft.com/office/drawing/2014/main" id="{C96EFC8A-8EEA-A446-8964-3168AC2EFA66}"/>
                  </a:ext>
                </a:extLst>
              </p:cNvPr>
              <p:cNvGrpSpPr>
                <a:grpSpLocks noChangeAspect="1"/>
              </p:cNvGrpSpPr>
              <p:nvPr/>
            </p:nvGrpSpPr>
            <p:grpSpPr>
              <a:xfrm flipH="1">
                <a:off x="3351647" y="2463512"/>
                <a:ext cx="510435" cy="216473"/>
                <a:chOff x="7413625" y="908050"/>
                <a:chExt cx="1167897" cy="495300"/>
              </a:xfrm>
            </p:grpSpPr>
            <p:sp>
              <p:nvSpPr>
                <p:cNvPr id="137" name="Freeform 60">
                  <a:extLst>
                    <a:ext uri="{FF2B5EF4-FFF2-40B4-BE49-F238E27FC236}">
                      <a16:creationId xmlns:a16="http://schemas.microsoft.com/office/drawing/2014/main" id="{4A533444-4BB4-FF4B-A59C-C8E1FEF7A837}"/>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38" name="Freeform 61">
                  <a:extLst>
                    <a:ext uri="{FF2B5EF4-FFF2-40B4-BE49-F238E27FC236}">
                      <a16:creationId xmlns:a16="http://schemas.microsoft.com/office/drawing/2014/main" id="{4134C450-716F-B545-ACEA-A97F838C1DE1}"/>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39" name="Freeform 62">
                  <a:extLst>
                    <a:ext uri="{FF2B5EF4-FFF2-40B4-BE49-F238E27FC236}">
                      <a16:creationId xmlns:a16="http://schemas.microsoft.com/office/drawing/2014/main" id="{872B25DE-72DA-F74D-A9C6-B7CA2B74DC58}"/>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40" name="Freeform 63">
                  <a:extLst>
                    <a:ext uri="{FF2B5EF4-FFF2-40B4-BE49-F238E27FC236}">
                      <a16:creationId xmlns:a16="http://schemas.microsoft.com/office/drawing/2014/main" id="{5207B626-6517-7543-86D6-5FCF74211EC1}"/>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41" name="Freeform 64">
                  <a:extLst>
                    <a:ext uri="{FF2B5EF4-FFF2-40B4-BE49-F238E27FC236}">
                      <a16:creationId xmlns:a16="http://schemas.microsoft.com/office/drawing/2014/main" id="{E8480273-7731-4F47-8E83-A354A46FC0BA}"/>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42" name="Freeform 65">
                  <a:extLst>
                    <a:ext uri="{FF2B5EF4-FFF2-40B4-BE49-F238E27FC236}">
                      <a16:creationId xmlns:a16="http://schemas.microsoft.com/office/drawing/2014/main" id="{1B0222A4-2E49-C743-9105-EC2E0E9C8CCE}"/>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66">
                  <a:extLst>
                    <a:ext uri="{FF2B5EF4-FFF2-40B4-BE49-F238E27FC236}">
                      <a16:creationId xmlns:a16="http://schemas.microsoft.com/office/drawing/2014/main" id="{AF13579B-8FD5-254C-92D9-E13BBF0EE856}"/>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44" name="Group 143">
              <a:extLst>
                <a:ext uri="{FF2B5EF4-FFF2-40B4-BE49-F238E27FC236}">
                  <a16:creationId xmlns:a16="http://schemas.microsoft.com/office/drawing/2014/main" id="{54C88FC5-B4E0-A446-B2FD-3D371EFFDEA2}"/>
                </a:ext>
              </a:extLst>
            </p:cNvPr>
            <p:cNvGrpSpPr/>
            <p:nvPr/>
          </p:nvGrpSpPr>
          <p:grpSpPr>
            <a:xfrm rot="16200000">
              <a:off x="3356173" y="2469668"/>
              <a:ext cx="2431654" cy="216473"/>
              <a:chOff x="3351647" y="2463512"/>
              <a:chExt cx="2431654" cy="216473"/>
            </a:xfrm>
          </p:grpSpPr>
          <p:grpSp>
            <p:nvGrpSpPr>
              <p:cNvPr id="145" name="Group 144">
                <a:extLst>
                  <a:ext uri="{FF2B5EF4-FFF2-40B4-BE49-F238E27FC236}">
                    <a16:creationId xmlns:a16="http://schemas.microsoft.com/office/drawing/2014/main" id="{A6323FC0-FAE2-C642-9A5E-5FF37E58B64E}"/>
                  </a:ext>
                </a:extLst>
              </p:cNvPr>
              <p:cNvGrpSpPr>
                <a:grpSpLocks noChangeAspect="1"/>
              </p:cNvGrpSpPr>
              <p:nvPr/>
            </p:nvGrpSpPr>
            <p:grpSpPr>
              <a:xfrm>
                <a:off x="5272866" y="2463512"/>
                <a:ext cx="510435" cy="216473"/>
                <a:chOff x="7413625" y="908050"/>
                <a:chExt cx="1167897" cy="495300"/>
              </a:xfrm>
            </p:grpSpPr>
            <p:sp>
              <p:nvSpPr>
                <p:cNvPr id="154" name="Freeform 60">
                  <a:extLst>
                    <a:ext uri="{FF2B5EF4-FFF2-40B4-BE49-F238E27FC236}">
                      <a16:creationId xmlns:a16="http://schemas.microsoft.com/office/drawing/2014/main" id="{A7DDDBB9-94B4-3C40-8AC3-5A92540D7D1D}"/>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55" name="Freeform 61">
                  <a:extLst>
                    <a:ext uri="{FF2B5EF4-FFF2-40B4-BE49-F238E27FC236}">
                      <a16:creationId xmlns:a16="http://schemas.microsoft.com/office/drawing/2014/main" id="{3E03E1DB-BCE7-C348-B5FD-9F552952E00E}"/>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56" name="Freeform 62">
                  <a:extLst>
                    <a:ext uri="{FF2B5EF4-FFF2-40B4-BE49-F238E27FC236}">
                      <a16:creationId xmlns:a16="http://schemas.microsoft.com/office/drawing/2014/main" id="{C7B4F480-7CC2-BA40-AC60-2EA4AAF8CE10}"/>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57" name="Freeform 63">
                  <a:extLst>
                    <a:ext uri="{FF2B5EF4-FFF2-40B4-BE49-F238E27FC236}">
                      <a16:creationId xmlns:a16="http://schemas.microsoft.com/office/drawing/2014/main" id="{83D8B727-049D-A742-9DA1-49438F5F25FF}"/>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58" name="Freeform 64">
                  <a:extLst>
                    <a:ext uri="{FF2B5EF4-FFF2-40B4-BE49-F238E27FC236}">
                      <a16:creationId xmlns:a16="http://schemas.microsoft.com/office/drawing/2014/main" id="{7242706B-DC35-1647-8B80-50C95F7115EA}"/>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59" name="Freeform 65">
                  <a:extLst>
                    <a:ext uri="{FF2B5EF4-FFF2-40B4-BE49-F238E27FC236}">
                      <a16:creationId xmlns:a16="http://schemas.microsoft.com/office/drawing/2014/main" id="{A8A92CD9-FBD4-884D-8DFF-F7E2CEB08E64}"/>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66">
                  <a:extLst>
                    <a:ext uri="{FF2B5EF4-FFF2-40B4-BE49-F238E27FC236}">
                      <a16:creationId xmlns:a16="http://schemas.microsoft.com/office/drawing/2014/main" id="{BDBA290D-3FBB-2B46-B006-A21136C0CE8A}"/>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146" name="Group 145">
                <a:extLst>
                  <a:ext uri="{FF2B5EF4-FFF2-40B4-BE49-F238E27FC236}">
                    <a16:creationId xmlns:a16="http://schemas.microsoft.com/office/drawing/2014/main" id="{C7233A0F-F167-4849-94D2-04972570442B}"/>
                  </a:ext>
                </a:extLst>
              </p:cNvPr>
              <p:cNvGrpSpPr>
                <a:grpSpLocks noChangeAspect="1"/>
              </p:cNvGrpSpPr>
              <p:nvPr/>
            </p:nvGrpSpPr>
            <p:grpSpPr>
              <a:xfrm flipH="1">
                <a:off x="3351647" y="2463512"/>
                <a:ext cx="510435" cy="216473"/>
                <a:chOff x="7413625" y="908050"/>
                <a:chExt cx="1167897" cy="495300"/>
              </a:xfrm>
            </p:grpSpPr>
            <p:sp>
              <p:nvSpPr>
                <p:cNvPr id="147" name="Freeform 60">
                  <a:extLst>
                    <a:ext uri="{FF2B5EF4-FFF2-40B4-BE49-F238E27FC236}">
                      <a16:creationId xmlns:a16="http://schemas.microsoft.com/office/drawing/2014/main" id="{FFE7BB6C-3C94-D146-983E-0F9761989C5A}"/>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61">
                  <a:extLst>
                    <a:ext uri="{FF2B5EF4-FFF2-40B4-BE49-F238E27FC236}">
                      <a16:creationId xmlns:a16="http://schemas.microsoft.com/office/drawing/2014/main" id="{8EB68058-C6CE-E646-AFFF-4B714DA3B7E5}"/>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49" name="Freeform 62">
                  <a:extLst>
                    <a:ext uri="{FF2B5EF4-FFF2-40B4-BE49-F238E27FC236}">
                      <a16:creationId xmlns:a16="http://schemas.microsoft.com/office/drawing/2014/main" id="{CEE45810-28F2-C141-8EC4-73092078DF32}"/>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50" name="Freeform 63">
                  <a:extLst>
                    <a:ext uri="{FF2B5EF4-FFF2-40B4-BE49-F238E27FC236}">
                      <a16:creationId xmlns:a16="http://schemas.microsoft.com/office/drawing/2014/main" id="{F867DFF8-D2D0-6B4A-88F5-7015D1B21F47}"/>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51" name="Freeform 64">
                  <a:extLst>
                    <a:ext uri="{FF2B5EF4-FFF2-40B4-BE49-F238E27FC236}">
                      <a16:creationId xmlns:a16="http://schemas.microsoft.com/office/drawing/2014/main" id="{155D2CBC-8344-4545-87AE-70AD8A253EE8}"/>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52" name="Freeform 65">
                  <a:extLst>
                    <a:ext uri="{FF2B5EF4-FFF2-40B4-BE49-F238E27FC236}">
                      <a16:creationId xmlns:a16="http://schemas.microsoft.com/office/drawing/2014/main" id="{0350F209-47AF-8A4B-A39B-2EEB053AA201}"/>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66">
                  <a:extLst>
                    <a:ext uri="{FF2B5EF4-FFF2-40B4-BE49-F238E27FC236}">
                      <a16:creationId xmlns:a16="http://schemas.microsoft.com/office/drawing/2014/main" id="{F21679DF-5114-7547-A3F2-D4EC87CE27A6}"/>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61" name="Group 160">
              <a:extLst>
                <a:ext uri="{FF2B5EF4-FFF2-40B4-BE49-F238E27FC236}">
                  <a16:creationId xmlns:a16="http://schemas.microsoft.com/office/drawing/2014/main" id="{404D9059-EE2C-F545-B52B-B85AC3831CBA}"/>
                </a:ext>
              </a:extLst>
            </p:cNvPr>
            <p:cNvGrpSpPr/>
            <p:nvPr/>
          </p:nvGrpSpPr>
          <p:grpSpPr>
            <a:xfrm rot="13500000">
              <a:off x="3356174" y="2477041"/>
              <a:ext cx="2431654" cy="216473"/>
              <a:chOff x="3351647" y="2463512"/>
              <a:chExt cx="2431654" cy="216473"/>
            </a:xfrm>
          </p:grpSpPr>
          <p:grpSp>
            <p:nvGrpSpPr>
              <p:cNvPr id="162" name="Group 161">
                <a:extLst>
                  <a:ext uri="{FF2B5EF4-FFF2-40B4-BE49-F238E27FC236}">
                    <a16:creationId xmlns:a16="http://schemas.microsoft.com/office/drawing/2014/main" id="{E5941BA9-048C-1648-B085-AE1D02476B8F}"/>
                  </a:ext>
                </a:extLst>
              </p:cNvPr>
              <p:cNvGrpSpPr>
                <a:grpSpLocks noChangeAspect="1"/>
              </p:cNvGrpSpPr>
              <p:nvPr/>
            </p:nvGrpSpPr>
            <p:grpSpPr>
              <a:xfrm>
                <a:off x="5272866" y="2463512"/>
                <a:ext cx="510435" cy="216473"/>
                <a:chOff x="7413625" y="908050"/>
                <a:chExt cx="1167897" cy="495300"/>
              </a:xfrm>
            </p:grpSpPr>
            <p:sp>
              <p:nvSpPr>
                <p:cNvPr id="171" name="Freeform 60">
                  <a:extLst>
                    <a:ext uri="{FF2B5EF4-FFF2-40B4-BE49-F238E27FC236}">
                      <a16:creationId xmlns:a16="http://schemas.microsoft.com/office/drawing/2014/main" id="{322509E4-EC47-074C-A2DE-B80EEA24690C}"/>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72" name="Freeform 61">
                  <a:extLst>
                    <a:ext uri="{FF2B5EF4-FFF2-40B4-BE49-F238E27FC236}">
                      <a16:creationId xmlns:a16="http://schemas.microsoft.com/office/drawing/2014/main" id="{87F61298-4CF8-384B-AB0C-3E858174351F}"/>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73" name="Freeform 62">
                  <a:extLst>
                    <a:ext uri="{FF2B5EF4-FFF2-40B4-BE49-F238E27FC236}">
                      <a16:creationId xmlns:a16="http://schemas.microsoft.com/office/drawing/2014/main" id="{CBE13745-E348-684A-A9E0-EF572F9287E4}"/>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74" name="Freeform 63">
                  <a:extLst>
                    <a:ext uri="{FF2B5EF4-FFF2-40B4-BE49-F238E27FC236}">
                      <a16:creationId xmlns:a16="http://schemas.microsoft.com/office/drawing/2014/main" id="{F333B299-BBF2-4C41-90BB-1AC0325698C4}"/>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75" name="Freeform 64">
                  <a:extLst>
                    <a:ext uri="{FF2B5EF4-FFF2-40B4-BE49-F238E27FC236}">
                      <a16:creationId xmlns:a16="http://schemas.microsoft.com/office/drawing/2014/main" id="{D0645ABD-24E3-0543-943E-7F9BB63ECD2B}"/>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76" name="Freeform 65">
                  <a:extLst>
                    <a:ext uri="{FF2B5EF4-FFF2-40B4-BE49-F238E27FC236}">
                      <a16:creationId xmlns:a16="http://schemas.microsoft.com/office/drawing/2014/main" id="{7BE556C6-B858-9F40-98A7-18C5BEB0FA80}"/>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66">
                  <a:extLst>
                    <a:ext uri="{FF2B5EF4-FFF2-40B4-BE49-F238E27FC236}">
                      <a16:creationId xmlns:a16="http://schemas.microsoft.com/office/drawing/2014/main" id="{18BC91D2-64D4-4B42-BCD6-EC134CA1982D}"/>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163" name="Group 162">
                <a:extLst>
                  <a:ext uri="{FF2B5EF4-FFF2-40B4-BE49-F238E27FC236}">
                    <a16:creationId xmlns:a16="http://schemas.microsoft.com/office/drawing/2014/main" id="{410BD17E-1213-AD43-9479-D5BB757B5C25}"/>
                  </a:ext>
                </a:extLst>
              </p:cNvPr>
              <p:cNvGrpSpPr>
                <a:grpSpLocks noChangeAspect="1"/>
              </p:cNvGrpSpPr>
              <p:nvPr/>
            </p:nvGrpSpPr>
            <p:grpSpPr>
              <a:xfrm flipH="1">
                <a:off x="3351647" y="2463512"/>
                <a:ext cx="510435" cy="216473"/>
                <a:chOff x="7413625" y="908050"/>
                <a:chExt cx="1167897" cy="495300"/>
              </a:xfrm>
            </p:grpSpPr>
            <p:sp>
              <p:nvSpPr>
                <p:cNvPr id="164" name="Freeform 60">
                  <a:extLst>
                    <a:ext uri="{FF2B5EF4-FFF2-40B4-BE49-F238E27FC236}">
                      <a16:creationId xmlns:a16="http://schemas.microsoft.com/office/drawing/2014/main" id="{19179F09-119F-034B-AE64-91A08A7D273C}"/>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65" name="Freeform 61">
                  <a:extLst>
                    <a:ext uri="{FF2B5EF4-FFF2-40B4-BE49-F238E27FC236}">
                      <a16:creationId xmlns:a16="http://schemas.microsoft.com/office/drawing/2014/main" id="{1086C418-5DC7-2C4B-B021-A561F389ACD5}"/>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66" name="Freeform 62">
                  <a:extLst>
                    <a:ext uri="{FF2B5EF4-FFF2-40B4-BE49-F238E27FC236}">
                      <a16:creationId xmlns:a16="http://schemas.microsoft.com/office/drawing/2014/main" id="{6BEB78F5-3CAA-CD48-B5F5-55971587B88F}"/>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67" name="Freeform 63">
                  <a:extLst>
                    <a:ext uri="{FF2B5EF4-FFF2-40B4-BE49-F238E27FC236}">
                      <a16:creationId xmlns:a16="http://schemas.microsoft.com/office/drawing/2014/main" id="{BAF6370A-AB94-7A40-A325-F27319B4E777}"/>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68" name="Freeform 64">
                  <a:extLst>
                    <a:ext uri="{FF2B5EF4-FFF2-40B4-BE49-F238E27FC236}">
                      <a16:creationId xmlns:a16="http://schemas.microsoft.com/office/drawing/2014/main" id="{EA8B9EC5-0402-1148-9AD0-395ED146F18A}"/>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169" name="Freeform 65">
                  <a:extLst>
                    <a:ext uri="{FF2B5EF4-FFF2-40B4-BE49-F238E27FC236}">
                      <a16:creationId xmlns:a16="http://schemas.microsoft.com/office/drawing/2014/main" id="{3644E5DC-5997-744B-90A8-327A5ECA6990}"/>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66">
                  <a:extLst>
                    <a:ext uri="{FF2B5EF4-FFF2-40B4-BE49-F238E27FC236}">
                      <a16:creationId xmlns:a16="http://schemas.microsoft.com/office/drawing/2014/main" id="{5AFC40DE-BA41-AB4E-90BC-4FEA1F6792E1}"/>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95" name="Group 194">
              <a:extLst>
                <a:ext uri="{FF2B5EF4-FFF2-40B4-BE49-F238E27FC236}">
                  <a16:creationId xmlns:a16="http://schemas.microsoft.com/office/drawing/2014/main" id="{E9096AEB-4265-584D-98A8-88A0BFD51116}"/>
                </a:ext>
              </a:extLst>
            </p:cNvPr>
            <p:cNvGrpSpPr/>
            <p:nvPr/>
          </p:nvGrpSpPr>
          <p:grpSpPr>
            <a:xfrm rot="18900000">
              <a:off x="3355133" y="2466418"/>
              <a:ext cx="2431654" cy="216473"/>
              <a:chOff x="3351647" y="2463512"/>
              <a:chExt cx="2431654" cy="216473"/>
            </a:xfrm>
          </p:grpSpPr>
          <p:grpSp>
            <p:nvGrpSpPr>
              <p:cNvPr id="196" name="Group 195">
                <a:extLst>
                  <a:ext uri="{FF2B5EF4-FFF2-40B4-BE49-F238E27FC236}">
                    <a16:creationId xmlns:a16="http://schemas.microsoft.com/office/drawing/2014/main" id="{82FAC34F-36C0-5E4D-A53D-C36DA48D7D44}"/>
                  </a:ext>
                </a:extLst>
              </p:cNvPr>
              <p:cNvGrpSpPr>
                <a:grpSpLocks noChangeAspect="1"/>
              </p:cNvGrpSpPr>
              <p:nvPr/>
            </p:nvGrpSpPr>
            <p:grpSpPr>
              <a:xfrm>
                <a:off x="5272866" y="2463512"/>
                <a:ext cx="510435" cy="216473"/>
                <a:chOff x="7413625" y="908050"/>
                <a:chExt cx="1167897" cy="495300"/>
              </a:xfrm>
            </p:grpSpPr>
            <p:sp>
              <p:nvSpPr>
                <p:cNvPr id="205" name="Freeform 60">
                  <a:extLst>
                    <a:ext uri="{FF2B5EF4-FFF2-40B4-BE49-F238E27FC236}">
                      <a16:creationId xmlns:a16="http://schemas.microsoft.com/office/drawing/2014/main" id="{63AC986F-B980-3A43-B34A-12242EBEF0BD}"/>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206" name="Freeform 61">
                  <a:extLst>
                    <a:ext uri="{FF2B5EF4-FFF2-40B4-BE49-F238E27FC236}">
                      <a16:creationId xmlns:a16="http://schemas.microsoft.com/office/drawing/2014/main" id="{C86FC716-B734-3742-9ED7-9F9DCEA0BC19}"/>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207" name="Freeform 62">
                  <a:extLst>
                    <a:ext uri="{FF2B5EF4-FFF2-40B4-BE49-F238E27FC236}">
                      <a16:creationId xmlns:a16="http://schemas.microsoft.com/office/drawing/2014/main" id="{DDF64D64-D428-4C4B-9CEE-530F16353B13}"/>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208" name="Freeform 63">
                  <a:extLst>
                    <a:ext uri="{FF2B5EF4-FFF2-40B4-BE49-F238E27FC236}">
                      <a16:creationId xmlns:a16="http://schemas.microsoft.com/office/drawing/2014/main" id="{CC057377-E393-DD4C-8363-B87BBAB11846}"/>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209" name="Freeform 64">
                  <a:extLst>
                    <a:ext uri="{FF2B5EF4-FFF2-40B4-BE49-F238E27FC236}">
                      <a16:creationId xmlns:a16="http://schemas.microsoft.com/office/drawing/2014/main" id="{32678B8A-C0A3-E14B-9B47-66A72BBECEB0}"/>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210" name="Freeform 65">
                  <a:extLst>
                    <a:ext uri="{FF2B5EF4-FFF2-40B4-BE49-F238E27FC236}">
                      <a16:creationId xmlns:a16="http://schemas.microsoft.com/office/drawing/2014/main" id="{63B0F94D-8F3E-BA44-9D28-986B1773AFAD}"/>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66">
                  <a:extLst>
                    <a:ext uri="{FF2B5EF4-FFF2-40B4-BE49-F238E27FC236}">
                      <a16:creationId xmlns:a16="http://schemas.microsoft.com/office/drawing/2014/main" id="{1203BDC1-5CC8-F346-AB1B-BF9B3BD3D0A7}"/>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197" name="Group 196">
                <a:extLst>
                  <a:ext uri="{FF2B5EF4-FFF2-40B4-BE49-F238E27FC236}">
                    <a16:creationId xmlns:a16="http://schemas.microsoft.com/office/drawing/2014/main" id="{4C69262D-9466-1949-AE8E-FECF25AB3B00}"/>
                  </a:ext>
                </a:extLst>
              </p:cNvPr>
              <p:cNvGrpSpPr>
                <a:grpSpLocks noChangeAspect="1"/>
              </p:cNvGrpSpPr>
              <p:nvPr/>
            </p:nvGrpSpPr>
            <p:grpSpPr>
              <a:xfrm flipH="1">
                <a:off x="3351647" y="2463512"/>
                <a:ext cx="510435" cy="216473"/>
                <a:chOff x="7413625" y="908050"/>
                <a:chExt cx="1167897" cy="495300"/>
              </a:xfrm>
            </p:grpSpPr>
            <p:sp>
              <p:nvSpPr>
                <p:cNvPr id="198" name="Freeform 60">
                  <a:extLst>
                    <a:ext uri="{FF2B5EF4-FFF2-40B4-BE49-F238E27FC236}">
                      <a16:creationId xmlns:a16="http://schemas.microsoft.com/office/drawing/2014/main" id="{AD61D873-96C4-AB46-B039-B2BA9C929E52}"/>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199" name="Freeform 61">
                  <a:extLst>
                    <a:ext uri="{FF2B5EF4-FFF2-40B4-BE49-F238E27FC236}">
                      <a16:creationId xmlns:a16="http://schemas.microsoft.com/office/drawing/2014/main" id="{C311A9EA-095E-8349-8255-6237A697F0D2}"/>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200" name="Freeform 62">
                  <a:extLst>
                    <a:ext uri="{FF2B5EF4-FFF2-40B4-BE49-F238E27FC236}">
                      <a16:creationId xmlns:a16="http://schemas.microsoft.com/office/drawing/2014/main" id="{47CE830D-6142-F94A-A078-7DA7FC2EDCDB}"/>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201" name="Freeform 63">
                  <a:extLst>
                    <a:ext uri="{FF2B5EF4-FFF2-40B4-BE49-F238E27FC236}">
                      <a16:creationId xmlns:a16="http://schemas.microsoft.com/office/drawing/2014/main" id="{2F35F4B5-4C37-BE42-B802-3FFE5714D7CA}"/>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202" name="Freeform 64">
                  <a:extLst>
                    <a:ext uri="{FF2B5EF4-FFF2-40B4-BE49-F238E27FC236}">
                      <a16:creationId xmlns:a16="http://schemas.microsoft.com/office/drawing/2014/main" id="{2EFC335A-8DCE-454E-84B7-FF5365D45053}"/>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203" name="Freeform 65">
                  <a:extLst>
                    <a:ext uri="{FF2B5EF4-FFF2-40B4-BE49-F238E27FC236}">
                      <a16:creationId xmlns:a16="http://schemas.microsoft.com/office/drawing/2014/main" id="{EB50F7DF-5D17-B44E-8351-DF309E31E460}"/>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66">
                  <a:extLst>
                    <a:ext uri="{FF2B5EF4-FFF2-40B4-BE49-F238E27FC236}">
                      <a16:creationId xmlns:a16="http://schemas.microsoft.com/office/drawing/2014/main" id="{1AA23F88-201F-9440-828D-E625E041F7A1}"/>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5" name="Group 104">
              <a:extLst>
                <a:ext uri="{FF2B5EF4-FFF2-40B4-BE49-F238E27FC236}">
                  <a16:creationId xmlns:a16="http://schemas.microsoft.com/office/drawing/2014/main" id="{8352A6F7-74DE-244D-9FF6-766092AFB593}"/>
                </a:ext>
              </a:extLst>
            </p:cNvPr>
            <p:cNvGrpSpPr/>
            <p:nvPr/>
          </p:nvGrpSpPr>
          <p:grpSpPr>
            <a:xfrm>
              <a:off x="3668625" y="1668371"/>
              <a:ext cx="1806752" cy="1806758"/>
              <a:chOff x="3119641" y="1416189"/>
              <a:chExt cx="507244" cy="507244"/>
            </a:xfrm>
          </p:grpSpPr>
          <p:sp>
            <p:nvSpPr>
              <p:cNvPr id="121" name="Oval 120">
                <a:extLst>
                  <a:ext uri="{FF2B5EF4-FFF2-40B4-BE49-F238E27FC236}">
                    <a16:creationId xmlns:a16="http://schemas.microsoft.com/office/drawing/2014/main" id="{1E537C20-D4E3-D140-A9A9-906C42FB40B1}"/>
                  </a:ext>
                </a:extLst>
              </p:cNvPr>
              <p:cNvSpPr/>
              <p:nvPr/>
            </p:nvSpPr>
            <p:spPr>
              <a:xfrm>
                <a:off x="3119641" y="1416189"/>
                <a:ext cx="507244" cy="50724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2" name="Group 121">
                <a:extLst>
                  <a:ext uri="{FF2B5EF4-FFF2-40B4-BE49-F238E27FC236}">
                    <a16:creationId xmlns:a16="http://schemas.microsoft.com/office/drawing/2014/main" id="{B192634D-9B34-D645-9AC0-0A4C9210404C}"/>
                  </a:ext>
                </a:extLst>
              </p:cNvPr>
              <p:cNvGrpSpPr/>
              <p:nvPr/>
            </p:nvGrpSpPr>
            <p:grpSpPr>
              <a:xfrm>
                <a:off x="3179583" y="1476131"/>
                <a:ext cx="387360" cy="387360"/>
                <a:chOff x="2652535" y="-3571486"/>
                <a:chExt cx="4882348" cy="4882348"/>
              </a:xfrm>
              <a:solidFill>
                <a:schemeClr val="bg2"/>
              </a:solidFill>
            </p:grpSpPr>
            <p:sp>
              <p:nvSpPr>
                <p:cNvPr id="123" name="Freeform: Shape 17">
                  <a:extLst>
                    <a:ext uri="{FF2B5EF4-FFF2-40B4-BE49-F238E27FC236}">
                      <a16:creationId xmlns:a16="http://schemas.microsoft.com/office/drawing/2014/main" id="{841F2FD5-A49A-1D43-9850-48EF05890F70}"/>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24" name="Freeform: Shape 18">
                  <a:extLst>
                    <a:ext uri="{FF2B5EF4-FFF2-40B4-BE49-F238E27FC236}">
                      <a16:creationId xmlns:a16="http://schemas.microsoft.com/office/drawing/2014/main" id="{00418B04-AF96-6548-8C0E-689D6D5E8F7A}"/>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25" name="Group 124">
                  <a:extLst>
                    <a:ext uri="{FF2B5EF4-FFF2-40B4-BE49-F238E27FC236}">
                      <a16:creationId xmlns:a16="http://schemas.microsoft.com/office/drawing/2014/main" id="{E874AB3A-F39A-774F-B906-E8C2D6E3556D}"/>
                    </a:ext>
                  </a:extLst>
                </p:cNvPr>
                <p:cNvGrpSpPr/>
                <p:nvPr/>
              </p:nvGrpSpPr>
              <p:grpSpPr>
                <a:xfrm rot="5400000">
                  <a:off x="4197485" y="-3571486"/>
                  <a:ext cx="1792447" cy="4882348"/>
                  <a:chOff x="4197485" y="-3571486"/>
                  <a:chExt cx="1792447" cy="4882348"/>
                </a:xfrm>
                <a:grpFill/>
              </p:grpSpPr>
              <p:sp>
                <p:nvSpPr>
                  <p:cNvPr id="126" name="Freeform: Shape 20">
                    <a:extLst>
                      <a:ext uri="{FF2B5EF4-FFF2-40B4-BE49-F238E27FC236}">
                        <a16:creationId xmlns:a16="http://schemas.microsoft.com/office/drawing/2014/main" id="{4D623DB8-FDB2-244E-A6E0-E24939E6D72A}"/>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27" name="Freeform: Shape 21">
                    <a:extLst>
                      <a:ext uri="{FF2B5EF4-FFF2-40B4-BE49-F238E27FC236}">
                        <a16:creationId xmlns:a16="http://schemas.microsoft.com/office/drawing/2014/main" id="{A5DB5EFA-B3C3-6B44-9E94-28EE3CDFD83E}"/>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grpSp>
        <p:nvGrpSpPr>
          <p:cNvPr id="7" name="Group 6">
            <a:extLst>
              <a:ext uri="{FF2B5EF4-FFF2-40B4-BE49-F238E27FC236}">
                <a16:creationId xmlns:a16="http://schemas.microsoft.com/office/drawing/2014/main" id="{E47DA04E-96E5-2743-93D6-F815EAF12562}"/>
              </a:ext>
            </a:extLst>
          </p:cNvPr>
          <p:cNvGrpSpPr/>
          <p:nvPr/>
        </p:nvGrpSpPr>
        <p:grpSpPr>
          <a:xfrm>
            <a:off x="6167061" y="2059023"/>
            <a:ext cx="2216720" cy="1927785"/>
            <a:chOff x="5726555" y="2059865"/>
            <a:chExt cx="2216720" cy="1927785"/>
          </a:xfrm>
        </p:grpSpPr>
        <p:sp>
          <p:nvSpPr>
            <p:cNvPr id="53" name="Rectangle: Rounded Corners 3">
              <a:extLst>
                <a:ext uri="{FF2B5EF4-FFF2-40B4-BE49-F238E27FC236}">
                  <a16:creationId xmlns:a16="http://schemas.microsoft.com/office/drawing/2014/main" id="{394C1E63-74DB-8D46-8479-D751A3CD6220}"/>
                </a:ext>
              </a:extLst>
            </p:cNvPr>
            <p:cNvSpPr/>
            <p:nvPr/>
          </p:nvSpPr>
          <p:spPr>
            <a:xfrm>
              <a:off x="5726555" y="2290298"/>
              <a:ext cx="2216720" cy="1697352"/>
            </a:xfrm>
            <a:prstGeom prst="roundRect">
              <a:avLst>
                <a:gd name="adj" fmla="val 6017"/>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44000" rIns="0" bIns="46800" rtlCol="0" anchor="t" anchorCtr="0"/>
            <a:lstStyle/>
            <a:p>
              <a:pPr>
                <a:spcAft>
                  <a:spcPts val="600"/>
                </a:spcAft>
              </a:pPr>
              <a:endParaRPr lang="en-US" sz="1000" dirty="0">
                <a:solidFill>
                  <a:schemeClr val="tx1"/>
                </a:solidFill>
                <a:ea typeface="ＭＳ Ｐゴシック" charset="0"/>
              </a:endParaRPr>
            </a:p>
          </p:txBody>
        </p:sp>
        <p:sp>
          <p:nvSpPr>
            <p:cNvPr id="55" name="Rectangle: Rounded Corners 3">
              <a:extLst>
                <a:ext uri="{FF2B5EF4-FFF2-40B4-BE49-F238E27FC236}">
                  <a16:creationId xmlns:a16="http://schemas.microsoft.com/office/drawing/2014/main" id="{014EF302-113E-5642-8819-68D120A8CF79}"/>
                </a:ext>
              </a:extLst>
            </p:cNvPr>
            <p:cNvSpPr/>
            <p:nvPr/>
          </p:nvSpPr>
          <p:spPr>
            <a:xfrm>
              <a:off x="5726555" y="2059865"/>
              <a:ext cx="2216720" cy="303028"/>
            </a:xfrm>
            <a:prstGeom prst="round2SameRect">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dirty="0">
                  <a:solidFill>
                    <a:schemeClr val="tx1"/>
                  </a:solidFill>
                  <a:ea typeface="ＭＳ Ｐゴシック" charset="0"/>
                </a:rPr>
                <a:t>DDoS Solution Partners</a:t>
              </a:r>
            </a:p>
          </p:txBody>
        </p:sp>
        <p:pic>
          <p:nvPicPr>
            <p:cNvPr id="6" name="Picture 5">
              <a:extLst>
                <a:ext uri="{FF2B5EF4-FFF2-40B4-BE49-F238E27FC236}">
                  <a16:creationId xmlns:a16="http://schemas.microsoft.com/office/drawing/2014/main" id="{57E664FF-BE7D-0A49-B1F0-F71161CB89C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882640" y="2803631"/>
              <a:ext cx="1863287" cy="1103513"/>
            </a:xfrm>
            <a:prstGeom prst="rect">
              <a:avLst/>
            </a:prstGeom>
          </p:spPr>
        </p:pic>
      </p:grpSp>
      <p:grpSp>
        <p:nvGrpSpPr>
          <p:cNvPr id="110" name="Group 109">
            <a:extLst>
              <a:ext uri="{FF2B5EF4-FFF2-40B4-BE49-F238E27FC236}">
                <a16:creationId xmlns:a16="http://schemas.microsoft.com/office/drawing/2014/main" id="{5D5C032C-B677-714D-9F64-2FBF96A346B3}"/>
              </a:ext>
            </a:extLst>
          </p:cNvPr>
          <p:cNvGrpSpPr/>
          <p:nvPr/>
        </p:nvGrpSpPr>
        <p:grpSpPr>
          <a:xfrm>
            <a:off x="1364666" y="3553356"/>
            <a:ext cx="823061" cy="690384"/>
            <a:chOff x="204332" y="2984658"/>
            <a:chExt cx="823061" cy="690384"/>
          </a:xfrm>
        </p:grpSpPr>
        <p:sp>
          <p:nvSpPr>
            <p:cNvPr id="111" name="Freeform 25">
              <a:extLst>
                <a:ext uri="{FF2B5EF4-FFF2-40B4-BE49-F238E27FC236}">
                  <a16:creationId xmlns:a16="http://schemas.microsoft.com/office/drawing/2014/main" id="{AF261797-D7FB-9F46-9807-86A8212C73D0}"/>
                </a:ext>
              </a:extLst>
            </p:cNvPr>
            <p:cNvSpPr>
              <a:spLocks/>
            </p:cNvSpPr>
            <p:nvPr/>
          </p:nvSpPr>
          <p:spPr bwMode="auto">
            <a:xfrm>
              <a:off x="204332" y="2984658"/>
              <a:ext cx="823061" cy="690384"/>
            </a:xfrm>
            <a:custGeom>
              <a:avLst/>
              <a:gdLst>
                <a:gd name="T0" fmla="*/ 19769 w 21912"/>
                <a:gd name="T1" fmla="*/ 18405 h 18405"/>
                <a:gd name="T2" fmla="*/ 21129 w 21912"/>
                <a:gd name="T3" fmla="*/ 16013 h 18405"/>
                <a:gd name="T4" fmla="*/ 12380 w 21912"/>
                <a:gd name="T5" fmla="*/ 1315 h 18405"/>
                <a:gd name="T6" fmla="*/ 9533 w 21912"/>
                <a:gd name="T7" fmla="*/ 1315 h 18405"/>
                <a:gd name="T8" fmla="*/ 783 w 21912"/>
                <a:gd name="T9" fmla="*/ 16013 h 18405"/>
                <a:gd name="T10" fmla="*/ 2143 w 21912"/>
                <a:gd name="T11" fmla="*/ 18405 h 18405"/>
                <a:gd name="T12" fmla="*/ 19769 w 21912"/>
                <a:gd name="T13" fmla="*/ 18405 h 18405"/>
              </a:gdLst>
              <a:ahLst/>
              <a:cxnLst>
                <a:cxn ang="0">
                  <a:pos x="T0" y="T1"/>
                </a:cxn>
                <a:cxn ang="0">
                  <a:pos x="T2" y="T3"/>
                </a:cxn>
                <a:cxn ang="0">
                  <a:pos x="T4" y="T5"/>
                </a:cxn>
                <a:cxn ang="0">
                  <a:pos x="T6" y="T7"/>
                </a:cxn>
                <a:cxn ang="0">
                  <a:pos x="T8" y="T9"/>
                </a:cxn>
                <a:cxn ang="0">
                  <a:pos x="T10" y="T11"/>
                </a:cxn>
                <a:cxn ang="0">
                  <a:pos x="T12" y="T13"/>
                </a:cxn>
              </a:cxnLst>
              <a:rect l="0" t="0" r="r" b="b"/>
              <a:pathLst>
                <a:path w="21912" h="18405">
                  <a:moveTo>
                    <a:pt x="19769" y="18405"/>
                  </a:moveTo>
                  <a:cubicBezTo>
                    <a:pt x="21300" y="18405"/>
                    <a:pt x="21912" y="17329"/>
                    <a:pt x="21129" y="16013"/>
                  </a:cubicBezTo>
                  <a:cubicBezTo>
                    <a:pt x="12380" y="1315"/>
                    <a:pt x="12380" y="1315"/>
                    <a:pt x="12380" y="1315"/>
                  </a:cubicBezTo>
                  <a:cubicBezTo>
                    <a:pt x="11597" y="0"/>
                    <a:pt x="10316" y="0"/>
                    <a:pt x="9533" y="1315"/>
                  </a:cubicBezTo>
                  <a:cubicBezTo>
                    <a:pt x="783" y="16013"/>
                    <a:pt x="783" y="16013"/>
                    <a:pt x="783" y="16013"/>
                  </a:cubicBezTo>
                  <a:cubicBezTo>
                    <a:pt x="0" y="17329"/>
                    <a:pt x="612" y="18405"/>
                    <a:pt x="2143" y="18405"/>
                  </a:cubicBezTo>
                  <a:lnTo>
                    <a:pt x="19769" y="18405"/>
                  </a:lnTo>
                  <a:close/>
                </a:path>
              </a:pathLst>
            </a:custGeom>
            <a:solidFill>
              <a:srgbClr val="FBAB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7">
              <a:extLst>
                <a:ext uri="{FF2B5EF4-FFF2-40B4-BE49-F238E27FC236}">
                  <a16:creationId xmlns:a16="http://schemas.microsoft.com/office/drawing/2014/main" id="{20E723C1-E5A8-134C-8F5B-F1C1712B2CE9}"/>
                </a:ext>
              </a:extLst>
            </p:cNvPr>
            <p:cNvSpPr>
              <a:spLocks noEditPoints="1"/>
            </p:cNvSpPr>
            <p:nvPr/>
          </p:nvSpPr>
          <p:spPr bwMode="auto">
            <a:xfrm>
              <a:off x="583613" y="3184923"/>
              <a:ext cx="64498" cy="412724"/>
            </a:xfrm>
            <a:custGeom>
              <a:avLst/>
              <a:gdLst>
                <a:gd name="T0" fmla="*/ 926 w 926"/>
                <a:gd name="T1" fmla="*/ 462 h 5926"/>
                <a:gd name="T2" fmla="*/ 926 w 926"/>
                <a:gd name="T3" fmla="*/ 4166 h 5926"/>
                <a:gd name="T4" fmla="*/ 463 w 926"/>
                <a:gd name="T5" fmla="*/ 4629 h 5926"/>
                <a:gd name="T6" fmla="*/ 0 w 926"/>
                <a:gd name="T7" fmla="*/ 4166 h 5926"/>
                <a:gd name="T8" fmla="*/ 0 w 926"/>
                <a:gd name="T9" fmla="*/ 462 h 5926"/>
                <a:gd name="T10" fmla="*/ 463 w 926"/>
                <a:gd name="T11" fmla="*/ 0 h 5926"/>
                <a:gd name="T12" fmla="*/ 926 w 926"/>
                <a:gd name="T13" fmla="*/ 462 h 5926"/>
                <a:gd name="T14" fmla="*/ 463 w 926"/>
                <a:gd name="T15" fmla="*/ 5020 h 5926"/>
                <a:gd name="T16" fmla="*/ 10 w 926"/>
                <a:gd name="T17" fmla="*/ 5473 h 5926"/>
                <a:gd name="T18" fmla="*/ 463 w 926"/>
                <a:gd name="T19" fmla="*/ 5926 h 5926"/>
                <a:gd name="T20" fmla="*/ 915 w 926"/>
                <a:gd name="T21" fmla="*/ 5473 h 5926"/>
                <a:gd name="T22" fmla="*/ 463 w 926"/>
                <a:gd name="T23" fmla="*/ 5020 h 5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6" h="5926">
                  <a:moveTo>
                    <a:pt x="926" y="462"/>
                  </a:moveTo>
                  <a:cubicBezTo>
                    <a:pt x="926" y="4166"/>
                    <a:pt x="926" y="4166"/>
                    <a:pt x="926" y="4166"/>
                  </a:cubicBezTo>
                  <a:cubicBezTo>
                    <a:pt x="926" y="4430"/>
                    <a:pt x="727" y="4629"/>
                    <a:pt x="463" y="4629"/>
                  </a:cubicBezTo>
                  <a:cubicBezTo>
                    <a:pt x="198" y="4629"/>
                    <a:pt x="0" y="4430"/>
                    <a:pt x="0" y="4166"/>
                  </a:cubicBezTo>
                  <a:cubicBezTo>
                    <a:pt x="0" y="462"/>
                    <a:pt x="0" y="462"/>
                    <a:pt x="0" y="462"/>
                  </a:cubicBezTo>
                  <a:cubicBezTo>
                    <a:pt x="0" y="198"/>
                    <a:pt x="198" y="0"/>
                    <a:pt x="463" y="0"/>
                  </a:cubicBezTo>
                  <a:cubicBezTo>
                    <a:pt x="727" y="0"/>
                    <a:pt x="926" y="198"/>
                    <a:pt x="926" y="462"/>
                  </a:cubicBezTo>
                  <a:close/>
                  <a:moveTo>
                    <a:pt x="463" y="5020"/>
                  </a:moveTo>
                  <a:cubicBezTo>
                    <a:pt x="213" y="5020"/>
                    <a:pt x="10" y="5223"/>
                    <a:pt x="10" y="5473"/>
                  </a:cubicBezTo>
                  <a:cubicBezTo>
                    <a:pt x="10" y="5723"/>
                    <a:pt x="213" y="5926"/>
                    <a:pt x="463" y="5926"/>
                  </a:cubicBezTo>
                  <a:cubicBezTo>
                    <a:pt x="713" y="5926"/>
                    <a:pt x="915" y="5723"/>
                    <a:pt x="915" y="5473"/>
                  </a:cubicBezTo>
                  <a:cubicBezTo>
                    <a:pt x="915" y="5223"/>
                    <a:pt x="713" y="5020"/>
                    <a:pt x="463" y="5020"/>
                  </a:cubicBezTo>
                  <a:close/>
                </a:path>
              </a:pathLst>
            </a:custGeom>
            <a:solidFill>
              <a:srgbClr val="E21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Picture 2">
            <a:extLst>
              <a:ext uri="{FF2B5EF4-FFF2-40B4-BE49-F238E27FC236}">
                <a16:creationId xmlns:a16="http://schemas.microsoft.com/office/drawing/2014/main" id="{918E580C-79D6-1546-8128-97362F1A7FF8}"/>
              </a:ext>
            </a:extLst>
          </p:cNvPr>
          <p:cNvPicPr>
            <a:picLocks noChangeAspect="1"/>
          </p:cNvPicPr>
          <p:nvPr/>
        </p:nvPicPr>
        <p:blipFill>
          <a:blip r:embed="rId4"/>
          <a:stretch>
            <a:fillRect/>
          </a:stretch>
        </p:blipFill>
        <p:spPr>
          <a:xfrm>
            <a:off x="6359841" y="2572060"/>
            <a:ext cx="1838496" cy="257389"/>
          </a:xfrm>
          <a:prstGeom prst="rect">
            <a:avLst/>
          </a:prstGeom>
        </p:spPr>
      </p:pic>
    </p:spTree>
    <p:extLst>
      <p:ext uri="{BB962C8B-B14F-4D97-AF65-F5344CB8AC3E}">
        <p14:creationId xmlns:p14="http://schemas.microsoft.com/office/powerpoint/2010/main" val="345146750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18A023-8554-47B8-9ECC-7073DF84AA50}"/>
              </a:ext>
            </a:extLst>
          </p:cNvPr>
          <p:cNvSpPr>
            <a:spLocks noGrp="1"/>
          </p:cNvSpPr>
          <p:nvPr>
            <p:ph type="ctrTitle"/>
          </p:nvPr>
        </p:nvSpPr>
        <p:spPr/>
        <p:txBody>
          <a:bodyPr/>
          <a:lstStyle/>
          <a:p>
            <a:r>
              <a:rPr lang="en-ZA" dirty="0"/>
              <a:t>Automation and Programmability</a:t>
            </a:r>
          </a:p>
        </p:txBody>
      </p:sp>
    </p:spTree>
    <p:extLst>
      <p:ext uri="{BB962C8B-B14F-4D97-AF65-F5344CB8AC3E}">
        <p14:creationId xmlns:p14="http://schemas.microsoft.com/office/powerpoint/2010/main" val="3498298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F80624A-4B1A-444E-818A-7D5CADCC729B}"/>
              </a:ext>
            </a:extLst>
          </p:cNvPr>
          <p:cNvSpPr/>
          <p:nvPr/>
        </p:nvSpPr>
        <p:spPr>
          <a:xfrm>
            <a:off x="4478708" y="2272625"/>
            <a:ext cx="867941"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Addis Ababa </a:t>
            </a:r>
          </a:p>
        </p:txBody>
      </p:sp>
      <p:sp>
        <p:nvSpPr>
          <p:cNvPr id="7" name="Rectangle 6">
            <a:extLst>
              <a:ext uri="{FF2B5EF4-FFF2-40B4-BE49-F238E27FC236}">
                <a16:creationId xmlns:a16="http://schemas.microsoft.com/office/drawing/2014/main" id="{DF55452B-D7BA-4BB3-A000-D55EBC01BBFC}"/>
              </a:ext>
            </a:extLst>
          </p:cNvPr>
          <p:cNvSpPr/>
          <p:nvPr/>
        </p:nvSpPr>
        <p:spPr>
          <a:xfrm>
            <a:off x="5808405" y="2029228"/>
            <a:ext cx="1216025"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a:solidFill>
                  <a:srgbClr val="000000"/>
                </a:solidFill>
                <a:latin typeface="Calibri" panose="020F0502020204030204" pitchFamily="34" charset="0"/>
              </a:rPr>
              <a:t>Dire Dawa</a:t>
            </a:r>
            <a:r>
              <a:rPr lang="en-GB" sz="1050" dirty="0">
                <a:solidFill>
                  <a:srgbClr val="000000"/>
                </a:solidFill>
                <a:latin typeface="Calibri" panose="020F0502020204030204" pitchFamily="34" charset="0"/>
              </a:rPr>
              <a:t> </a:t>
            </a:r>
          </a:p>
        </p:txBody>
      </p:sp>
      <p:sp>
        <p:nvSpPr>
          <p:cNvPr id="8" name="Rectangle 7">
            <a:extLst>
              <a:ext uri="{FF2B5EF4-FFF2-40B4-BE49-F238E27FC236}">
                <a16:creationId xmlns:a16="http://schemas.microsoft.com/office/drawing/2014/main" id="{11927037-9BC8-47E1-9F7E-08B2C747887F}"/>
              </a:ext>
            </a:extLst>
          </p:cNvPr>
          <p:cNvSpPr/>
          <p:nvPr/>
        </p:nvSpPr>
        <p:spPr>
          <a:xfrm>
            <a:off x="5068232" y="359238"/>
            <a:ext cx="652449"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err="1">
                <a:solidFill>
                  <a:srgbClr val="000000"/>
                </a:solidFill>
                <a:latin typeface="Calibri" panose="020F0502020204030204" pitchFamily="34" charset="0"/>
              </a:rPr>
              <a:t>Mek'ele</a:t>
            </a:r>
            <a:r>
              <a:rPr lang="en-GB" sz="1050" dirty="0">
                <a:solidFill>
                  <a:srgbClr val="000000"/>
                </a:solidFill>
                <a:latin typeface="Calibri" panose="020F0502020204030204" pitchFamily="34" charset="0"/>
              </a:rPr>
              <a:t> </a:t>
            </a:r>
          </a:p>
        </p:txBody>
      </p:sp>
      <p:sp>
        <p:nvSpPr>
          <p:cNvPr id="27" name="Rectangle 26">
            <a:extLst>
              <a:ext uri="{FF2B5EF4-FFF2-40B4-BE49-F238E27FC236}">
                <a16:creationId xmlns:a16="http://schemas.microsoft.com/office/drawing/2014/main" id="{0C61A233-2B3C-455D-8B63-70F452E0589B}"/>
              </a:ext>
            </a:extLst>
          </p:cNvPr>
          <p:cNvSpPr/>
          <p:nvPr/>
        </p:nvSpPr>
        <p:spPr>
          <a:xfrm>
            <a:off x="5353566" y="2743887"/>
            <a:ext cx="577402"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err="1">
                <a:solidFill>
                  <a:srgbClr val="000000"/>
                </a:solidFill>
                <a:latin typeface="Calibri" panose="020F0502020204030204" pitchFamily="34" charset="0"/>
              </a:rPr>
              <a:t>Nazret</a:t>
            </a:r>
            <a:r>
              <a:rPr lang="en-GB" sz="1050" dirty="0">
                <a:solidFill>
                  <a:srgbClr val="000000"/>
                </a:solidFill>
                <a:latin typeface="Calibri" panose="020F0502020204030204" pitchFamily="34" charset="0"/>
              </a:rPr>
              <a:t> </a:t>
            </a:r>
          </a:p>
        </p:txBody>
      </p:sp>
      <p:sp>
        <p:nvSpPr>
          <p:cNvPr id="28" name="Rectangle 27">
            <a:extLst>
              <a:ext uri="{FF2B5EF4-FFF2-40B4-BE49-F238E27FC236}">
                <a16:creationId xmlns:a16="http://schemas.microsoft.com/office/drawing/2014/main" id="{76034224-0BA5-45B0-8A9D-D3B23B4D1D2C}"/>
              </a:ext>
            </a:extLst>
          </p:cNvPr>
          <p:cNvSpPr/>
          <p:nvPr/>
        </p:nvSpPr>
        <p:spPr>
          <a:xfrm>
            <a:off x="3534307" y="1341566"/>
            <a:ext cx="724878"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Bahir Dar </a:t>
            </a:r>
          </a:p>
        </p:txBody>
      </p:sp>
      <p:sp>
        <p:nvSpPr>
          <p:cNvPr id="29" name="Rectangle 28">
            <a:extLst>
              <a:ext uri="{FF2B5EF4-FFF2-40B4-BE49-F238E27FC236}">
                <a16:creationId xmlns:a16="http://schemas.microsoft.com/office/drawing/2014/main" id="{0F38E72C-B268-48FB-BC4F-36F07D08C1D4}"/>
              </a:ext>
            </a:extLst>
          </p:cNvPr>
          <p:cNvSpPr/>
          <p:nvPr/>
        </p:nvSpPr>
        <p:spPr>
          <a:xfrm>
            <a:off x="4099944" y="696748"/>
            <a:ext cx="622286"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Gondar </a:t>
            </a:r>
          </a:p>
        </p:txBody>
      </p:sp>
      <p:sp>
        <p:nvSpPr>
          <p:cNvPr id="31" name="Rectangle 30">
            <a:extLst>
              <a:ext uri="{FF2B5EF4-FFF2-40B4-BE49-F238E27FC236}">
                <a16:creationId xmlns:a16="http://schemas.microsoft.com/office/drawing/2014/main" id="{4C596F25-66A0-49FF-9F1B-2F16E29050E4}"/>
              </a:ext>
            </a:extLst>
          </p:cNvPr>
          <p:cNvSpPr/>
          <p:nvPr/>
        </p:nvSpPr>
        <p:spPr>
          <a:xfrm>
            <a:off x="5123396" y="1244251"/>
            <a:ext cx="486030"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Dese </a:t>
            </a:r>
          </a:p>
        </p:txBody>
      </p:sp>
      <p:sp>
        <p:nvSpPr>
          <p:cNvPr id="32" name="Rectangle 31">
            <a:extLst>
              <a:ext uri="{FF2B5EF4-FFF2-40B4-BE49-F238E27FC236}">
                <a16:creationId xmlns:a16="http://schemas.microsoft.com/office/drawing/2014/main" id="{6BA796C8-B618-40E9-BE69-642429974DE7}"/>
              </a:ext>
            </a:extLst>
          </p:cNvPr>
          <p:cNvSpPr/>
          <p:nvPr/>
        </p:nvSpPr>
        <p:spPr>
          <a:xfrm>
            <a:off x="3813639" y="2820044"/>
            <a:ext cx="567784"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err="1">
                <a:solidFill>
                  <a:srgbClr val="000000"/>
                </a:solidFill>
                <a:latin typeface="Calibri" panose="020F0502020204030204" pitchFamily="34" charset="0"/>
              </a:rPr>
              <a:t>Jimma</a:t>
            </a:r>
            <a:r>
              <a:rPr lang="en-GB" sz="1050" dirty="0">
                <a:solidFill>
                  <a:srgbClr val="000000"/>
                </a:solidFill>
                <a:latin typeface="Calibri" panose="020F0502020204030204" pitchFamily="34" charset="0"/>
              </a:rPr>
              <a:t> </a:t>
            </a:r>
          </a:p>
        </p:txBody>
      </p:sp>
      <p:sp>
        <p:nvSpPr>
          <p:cNvPr id="103" name="Rectangle 102">
            <a:extLst>
              <a:ext uri="{FF2B5EF4-FFF2-40B4-BE49-F238E27FC236}">
                <a16:creationId xmlns:a16="http://schemas.microsoft.com/office/drawing/2014/main" id="{E8C1B8B6-973C-4436-9D0E-12A7E8E5334C}"/>
              </a:ext>
            </a:extLst>
          </p:cNvPr>
          <p:cNvSpPr/>
          <p:nvPr/>
        </p:nvSpPr>
        <p:spPr>
          <a:xfrm>
            <a:off x="4559687" y="3592681"/>
            <a:ext cx="805345"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Hawassa  </a:t>
            </a:r>
          </a:p>
        </p:txBody>
      </p:sp>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0" name="Straight Connector 69">
            <a:extLst>
              <a:ext uri="{FF2B5EF4-FFF2-40B4-BE49-F238E27FC236}">
                <a16:creationId xmlns:a16="http://schemas.microsoft.com/office/drawing/2014/main" id="{D4A24A53-B2EB-47AB-8B65-7FA696E71C17}"/>
              </a:ext>
            </a:extLst>
          </p:cNvPr>
          <p:cNvCxnSpPr>
            <a:cxnSpLocks/>
            <a:stCxn id="22" idx="7"/>
            <a:endCxn id="10" idx="3"/>
          </p:cNvCxnSpPr>
          <p:nvPr/>
        </p:nvCxnSpPr>
        <p:spPr>
          <a:xfrm flipV="1">
            <a:off x="4243053" y="2785929"/>
            <a:ext cx="579821" cy="346457"/>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46BEEA4-E590-4F0D-B2B8-67AACAF840DB}"/>
              </a:ext>
            </a:extLst>
          </p:cNvPr>
          <p:cNvCxnSpPr>
            <a:cxnSpLocks/>
            <a:stCxn id="22" idx="5"/>
          </p:cNvCxnSpPr>
          <p:nvPr/>
        </p:nvCxnSpPr>
        <p:spPr>
          <a:xfrm>
            <a:off x="4243052" y="3347904"/>
            <a:ext cx="524211" cy="61612"/>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33F771E-C15C-448C-BA95-423F68A3E711}"/>
              </a:ext>
            </a:extLst>
          </p:cNvPr>
          <p:cNvCxnSpPr>
            <a:cxnSpLocks/>
            <a:endCxn id="16" idx="3"/>
          </p:cNvCxnSpPr>
          <p:nvPr/>
        </p:nvCxnSpPr>
        <p:spPr>
          <a:xfrm flipV="1">
            <a:off x="4919657" y="2981047"/>
            <a:ext cx="172873" cy="276074"/>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FC1C440-84F5-4B62-8E10-2DFF912095C8}"/>
              </a:ext>
            </a:extLst>
          </p:cNvPr>
          <p:cNvCxnSpPr>
            <a:cxnSpLocks/>
            <a:stCxn id="10" idx="5"/>
            <a:endCxn id="16" idx="1"/>
          </p:cNvCxnSpPr>
          <p:nvPr/>
        </p:nvCxnSpPr>
        <p:spPr>
          <a:xfrm flipV="1">
            <a:off x="5038390" y="2765530"/>
            <a:ext cx="54140" cy="20399"/>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50442DB-1A5D-47C8-AF91-3F6A3EE43A93}"/>
              </a:ext>
            </a:extLst>
          </p:cNvPr>
          <p:cNvCxnSpPr>
            <a:stCxn id="16" idx="7"/>
            <a:endCxn id="46" idx="2"/>
          </p:cNvCxnSpPr>
          <p:nvPr/>
        </p:nvCxnSpPr>
        <p:spPr>
          <a:xfrm flipV="1">
            <a:off x="5308045" y="2441775"/>
            <a:ext cx="871956" cy="323755"/>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726C3B4-A885-430D-A16A-E1C897EB226D}"/>
              </a:ext>
            </a:extLst>
          </p:cNvPr>
          <p:cNvCxnSpPr>
            <a:cxnSpLocks/>
            <a:stCxn id="46" idx="1"/>
            <a:endCxn id="64" idx="5"/>
          </p:cNvCxnSpPr>
          <p:nvPr/>
        </p:nvCxnSpPr>
        <p:spPr>
          <a:xfrm flipH="1" flipV="1">
            <a:off x="5489432" y="1764183"/>
            <a:ext cx="735205" cy="569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56E31A6-3818-4C29-8A4F-8F444882FEDF}"/>
              </a:ext>
            </a:extLst>
          </p:cNvPr>
          <p:cNvCxnSpPr>
            <a:cxnSpLocks/>
            <a:stCxn id="10" idx="7"/>
            <a:endCxn id="64" idx="4"/>
          </p:cNvCxnSpPr>
          <p:nvPr/>
        </p:nvCxnSpPr>
        <p:spPr>
          <a:xfrm flipV="1">
            <a:off x="5038389" y="1808818"/>
            <a:ext cx="343284" cy="761592"/>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370C539-EE39-4C21-82A7-91B819DB103F}"/>
              </a:ext>
            </a:extLst>
          </p:cNvPr>
          <p:cNvCxnSpPr>
            <a:stCxn id="64" idx="0"/>
            <a:endCxn id="40" idx="4"/>
          </p:cNvCxnSpPr>
          <p:nvPr/>
        </p:nvCxnSpPr>
        <p:spPr>
          <a:xfrm flipH="1" flipV="1">
            <a:off x="5352681" y="859576"/>
            <a:ext cx="28993" cy="644454"/>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EF95468-861D-47D5-86B4-DEA83CACDE92}"/>
              </a:ext>
            </a:extLst>
          </p:cNvPr>
          <p:cNvCxnSpPr>
            <a:stCxn id="40" idx="2"/>
            <a:endCxn id="34" idx="7"/>
          </p:cNvCxnSpPr>
          <p:nvPr/>
        </p:nvCxnSpPr>
        <p:spPr>
          <a:xfrm flipH="1">
            <a:off x="4547839" y="707183"/>
            <a:ext cx="652449" cy="253503"/>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C0BC7CC-F767-403A-BD0F-DF021632AF99}"/>
              </a:ext>
            </a:extLst>
          </p:cNvPr>
          <p:cNvCxnSpPr>
            <a:cxnSpLocks/>
            <a:stCxn id="34" idx="5"/>
            <a:endCxn id="52" idx="7"/>
          </p:cNvCxnSpPr>
          <p:nvPr/>
        </p:nvCxnSpPr>
        <p:spPr>
          <a:xfrm flipH="1">
            <a:off x="4505114" y="1176204"/>
            <a:ext cx="42725" cy="228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D14AC26-5713-4E54-B075-D75B92C36E4C}"/>
              </a:ext>
            </a:extLst>
          </p:cNvPr>
          <p:cNvCxnSpPr>
            <a:stCxn id="52" idx="4"/>
            <a:endCxn id="22" idx="0"/>
          </p:cNvCxnSpPr>
          <p:nvPr/>
        </p:nvCxnSpPr>
        <p:spPr>
          <a:xfrm flipH="1">
            <a:off x="4135295" y="1665339"/>
            <a:ext cx="262061" cy="1422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35936A4F-B2DE-407C-9D21-75185C4ACE48}"/>
              </a:ext>
            </a:extLst>
          </p:cNvPr>
          <p:cNvCxnSpPr>
            <a:stCxn id="52" idx="5"/>
            <a:endCxn id="10" idx="0"/>
          </p:cNvCxnSpPr>
          <p:nvPr/>
        </p:nvCxnSpPr>
        <p:spPr>
          <a:xfrm>
            <a:off x="4505114" y="1620703"/>
            <a:ext cx="425518" cy="90507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88E75DB-D5C5-4949-80D4-D2B475995266}"/>
              </a:ext>
            </a:extLst>
          </p:cNvPr>
          <p:cNvCxnSpPr>
            <a:stCxn id="52" idx="6"/>
            <a:endCxn id="64" idx="2"/>
          </p:cNvCxnSpPr>
          <p:nvPr/>
        </p:nvCxnSpPr>
        <p:spPr>
          <a:xfrm>
            <a:off x="4549749" y="1512945"/>
            <a:ext cx="679532" cy="1434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F7C84E5F-5741-4DD2-AF29-5E97705917D8}"/>
              </a:ext>
            </a:extLst>
          </p:cNvPr>
          <p:cNvGrpSpPr/>
          <p:nvPr/>
        </p:nvGrpSpPr>
        <p:grpSpPr>
          <a:xfrm>
            <a:off x="4771530" y="3257444"/>
            <a:ext cx="304786" cy="304788"/>
            <a:chOff x="4083769" y="2552776"/>
            <a:chExt cx="529089" cy="529089"/>
          </a:xfrm>
        </p:grpSpPr>
        <p:sp>
          <p:nvSpPr>
            <p:cNvPr id="138" name="Oval 137">
              <a:extLst>
                <a:ext uri="{FF2B5EF4-FFF2-40B4-BE49-F238E27FC236}">
                  <a16:creationId xmlns:a16="http://schemas.microsoft.com/office/drawing/2014/main" id="{047E33BD-90DC-4CDA-8A6D-1051BB6A32FA}"/>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9" name="Freeform: Shape 298">
              <a:extLst>
                <a:ext uri="{FF2B5EF4-FFF2-40B4-BE49-F238E27FC236}">
                  <a16:creationId xmlns:a16="http://schemas.microsoft.com/office/drawing/2014/main" id="{1AC6E427-0AF6-4872-A876-B14AF1E2EBB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0" name="Freeform: Shape 299">
              <a:extLst>
                <a:ext uri="{FF2B5EF4-FFF2-40B4-BE49-F238E27FC236}">
                  <a16:creationId xmlns:a16="http://schemas.microsoft.com/office/drawing/2014/main" id="{B6DD2470-252A-498C-9FD1-C8C2DC1733A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301">
              <a:extLst>
                <a:ext uri="{FF2B5EF4-FFF2-40B4-BE49-F238E27FC236}">
                  <a16:creationId xmlns:a16="http://schemas.microsoft.com/office/drawing/2014/main" id="{441E03F0-F4EE-49BB-9534-F66557781AE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2">
              <a:extLst>
                <a:ext uri="{FF2B5EF4-FFF2-40B4-BE49-F238E27FC236}">
                  <a16:creationId xmlns:a16="http://schemas.microsoft.com/office/drawing/2014/main" id="{111DC9F5-4EC2-4D0B-9AF9-FDBDE96A0E7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Tree>
    <p:extLst>
      <p:ext uri="{BB962C8B-B14F-4D97-AF65-F5344CB8AC3E}">
        <p14:creationId xmlns:p14="http://schemas.microsoft.com/office/powerpoint/2010/main" val="373036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Solution Positioning</a:t>
            </a:r>
            <a:endParaRPr lang="en-US" dirty="0">
              <a:solidFill>
                <a:srgbClr val="FF0000"/>
              </a:solidFill>
            </a:endParaRPr>
          </a:p>
        </p:txBody>
      </p:sp>
      <p:grpSp>
        <p:nvGrpSpPr>
          <p:cNvPr id="3" name="Group 2">
            <a:extLst>
              <a:ext uri="{FF2B5EF4-FFF2-40B4-BE49-F238E27FC236}">
                <a16:creationId xmlns:a16="http://schemas.microsoft.com/office/drawing/2014/main" id="{14B171A3-DE7C-4969-A919-FA2A017E1134}"/>
              </a:ext>
            </a:extLst>
          </p:cNvPr>
          <p:cNvGrpSpPr/>
          <p:nvPr/>
        </p:nvGrpSpPr>
        <p:grpSpPr>
          <a:xfrm>
            <a:off x="2239219" y="3481267"/>
            <a:ext cx="1260000" cy="924333"/>
            <a:chOff x="2239219" y="3481266"/>
            <a:chExt cx="1260000" cy="924333"/>
          </a:xfrm>
        </p:grpSpPr>
        <p:sp>
          <p:nvSpPr>
            <p:cNvPr id="201" name="Rectangle 200">
              <a:extLst>
                <a:ext uri="{FF2B5EF4-FFF2-40B4-BE49-F238E27FC236}">
                  <a16:creationId xmlns:a16="http://schemas.microsoft.com/office/drawing/2014/main" id="{3EF047EF-11D1-41B6-821C-C8ECA589C835}"/>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ACCESS</a:t>
              </a:r>
            </a:p>
          </p:txBody>
        </p:sp>
        <p:sp>
          <p:nvSpPr>
            <p:cNvPr id="221" name="Rectangle 220">
              <a:extLst>
                <a:ext uri="{FF2B5EF4-FFF2-40B4-BE49-F238E27FC236}">
                  <a16:creationId xmlns:a16="http://schemas.microsoft.com/office/drawing/2014/main" id="{FFC6004D-6F68-45EC-9B4F-319DF8A980D0}"/>
                </a:ext>
              </a:extLst>
            </p:cNvPr>
            <p:cNvSpPr/>
            <p:nvPr/>
          </p:nvSpPr>
          <p:spPr>
            <a:xfrm>
              <a:off x="2239219"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xx</a:t>
              </a:r>
            </a:p>
          </p:txBody>
        </p:sp>
      </p:grpSp>
      <p:grpSp>
        <p:nvGrpSpPr>
          <p:cNvPr id="5" name="Group 4">
            <a:extLst>
              <a:ext uri="{FF2B5EF4-FFF2-40B4-BE49-F238E27FC236}">
                <a16:creationId xmlns:a16="http://schemas.microsoft.com/office/drawing/2014/main" id="{AD2CD189-A6AB-4309-9975-3451F0F33CBC}"/>
              </a:ext>
            </a:extLst>
          </p:cNvPr>
          <p:cNvGrpSpPr/>
          <p:nvPr/>
        </p:nvGrpSpPr>
        <p:grpSpPr>
          <a:xfrm>
            <a:off x="3745220" y="3481267"/>
            <a:ext cx="1260000" cy="924333"/>
            <a:chOff x="3745220" y="3481266"/>
            <a:chExt cx="1260000" cy="924333"/>
          </a:xfrm>
        </p:grpSpPr>
        <p:sp>
          <p:nvSpPr>
            <p:cNvPr id="225" name="Rectangle 224">
              <a:extLst>
                <a:ext uri="{FF2B5EF4-FFF2-40B4-BE49-F238E27FC236}">
                  <a16:creationId xmlns:a16="http://schemas.microsoft.com/office/drawing/2014/main" id="{9549725F-1DCD-4054-A384-BEAD5555E153}"/>
                </a:ext>
              </a:extLst>
            </p:cNvPr>
            <p:cNvSpPr/>
            <p:nvPr/>
          </p:nvSpPr>
          <p:spPr>
            <a:xfrm>
              <a:off x="3768442"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PRE-AGG</a:t>
              </a:r>
            </a:p>
          </p:txBody>
        </p:sp>
        <p:sp>
          <p:nvSpPr>
            <p:cNvPr id="226" name="Rectangle 225">
              <a:extLst>
                <a:ext uri="{FF2B5EF4-FFF2-40B4-BE49-F238E27FC236}">
                  <a16:creationId xmlns:a16="http://schemas.microsoft.com/office/drawing/2014/main" id="{90B8F912-2C94-466B-AA10-D7D51A80AA7D}"/>
                </a:ext>
              </a:extLst>
            </p:cNvPr>
            <p:cNvSpPr/>
            <p:nvPr/>
          </p:nvSpPr>
          <p:spPr>
            <a:xfrm>
              <a:off x="3745220"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xx</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5xx</a:t>
              </a:r>
            </a:p>
          </p:txBody>
        </p:sp>
      </p:grpSp>
      <p:grpSp>
        <p:nvGrpSpPr>
          <p:cNvPr id="6" name="Group 5">
            <a:extLst>
              <a:ext uri="{FF2B5EF4-FFF2-40B4-BE49-F238E27FC236}">
                <a16:creationId xmlns:a16="http://schemas.microsoft.com/office/drawing/2014/main" id="{3A9B98AA-0052-4BE2-8635-250E89A90826}"/>
              </a:ext>
            </a:extLst>
          </p:cNvPr>
          <p:cNvGrpSpPr/>
          <p:nvPr/>
        </p:nvGrpSpPr>
        <p:grpSpPr>
          <a:xfrm>
            <a:off x="5251221" y="3481267"/>
            <a:ext cx="1260000" cy="924333"/>
            <a:chOff x="5251221" y="3481266"/>
            <a:chExt cx="1260000" cy="924333"/>
          </a:xfrm>
        </p:grpSpPr>
        <p:sp>
          <p:nvSpPr>
            <p:cNvPr id="227" name="Rectangle 226">
              <a:extLst>
                <a:ext uri="{FF2B5EF4-FFF2-40B4-BE49-F238E27FC236}">
                  <a16:creationId xmlns:a16="http://schemas.microsoft.com/office/drawing/2014/main" id="{2EC7F1FD-2F4E-4C38-BC4B-99C3574F471B}"/>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IP Core</a:t>
              </a:r>
            </a:p>
          </p:txBody>
        </p:sp>
        <p:sp>
          <p:nvSpPr>
            <p:cNvPr id="228" name="Rectangle 227">
              <a:extLst>
                <a:ext uri="{FF2B5EF4-FFF2-40B4-BE49-F238E27FC236}">
                  <a16:creationId xmlns:a16="http://schemas.microsoft.com/office/drawing/2014/main" id="{EF3A3F2A-E60E-43F0-ABFB-48DBCA1F5F2E}"/>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5xx</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ASR9k</a:t>
              </a:r>
            </a:p>
          </p:txBody>
        </p:sp>
      </p:grpSp>
      <p:grpSp>
        <p:nvGrpSpPr>
          <p:cNvPr id="2" name="Group 1">
            <a:extLst>
              <a:ext uri="{FF2B5EF4-FFF2-40B4-BE49-F238E27FC236}">
                <a16:creationId xmlns:a16="http://schemas.microsoft.com/office/drawing/2014/main" id="{C1DC86CA-08CD-4826-94F1-5C8EB42EFC67}"/>
              </a:ext>
            </a:extLst>
          </p:cNvPr>
          <p:cNvGrpSpPr/>
          <p:nvPr/>
        </p:nvGrpSpPr>
        <p:grpSpPr>
          <a:xfrm>
            <a:off x="733218" y="3481267"/>
            <a:ext cx="1260000" cy="924333"/>
            <a:chOff x="733218" y="3481266"/>
            <a:chExt cx="1260000" cy="924333"/>
          </a:xfrm>
        </p:grpSpPr>
        <p:sp>
          <p:nvSpPr>
            <p:cNvPr id="229" name="Rectangle 228">
              <a:extLst>
                <a:ext uri="{FF2B5EF4-FFF2-40B4-BE49-F238E27FC236}">
                  <a16:creationId xmlns:a16="http://schemas.microsoft.com/office/drawing/2014/main" id="{A075285E-91AD-4310-8CDC-10DBD109C30B}"/>
                </a:ext>
              </a:extLst>
            </p:cNvPr>
            <p:cNvSpPr/>
            <p:nvPr/>
          </p:nvSpPr>
          <p:spPr>
            <a:xfrm>
              <a:off x="733218"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VRAN</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xx</a:t>
              </a:r>
            </a:p>
          </p:txBody>
        </p:sp>
        <p:sp>
          <p:nvSpPr>
            <p:cNvPr id="230" name="Rectangle 229">
              <a:extLst>
                <a:ext uri="{FF2B5EF4-FFF2-40B4-BE49-F238E27FC236}">
                  <a16:creationId xmlns:a16="http://schemas.microsoft.com/office/drawing/2014/main" id="{7A1264B6-D59E-4D6B-989E-30EEC84CA26C}"/>
                </a:ext>
              </a:extLst>
            </p:cNvPr>
            <p:cNvSpPr/>
            <p:nvPr/>
          </p:nvSpPr>
          <p:spPr>
            <a:xfrm>
              <a:off x="752600"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bg2"/>
                  </a:solidFill>
                  <a:latin typeface="CiscoSansTT" panose="020B0503020201020303" pitchFamily="34" charset="0"/>
                  <a:cs typeface="CiscoSansTT" panose="020B0503020201020303" pitchFamily="34" charset="0"/>
                </a:rPr>
                <a:t>RAN / Cell Rx</a:t>
              </a:r>
            </a:p>
          </p:txBody>
        </p:sp>
      </p:grpSp>
      <p:grpSp>
        <p:nvGrpSpPr>
          <p:cNvPr id="414" name="Group 413">
            <a:extLst>
              <a:ext uri="{FF2B5EF4-FFF2-40B4-BE49-F238E27FC236}">
                <a16:creationId xmlns:a16="http://schemas.microsoft.com/office/drawing/2014/main" id="{071CB512-0945-485F-ADA9-5E97A8D50389}"/>
              </a:ext>
            </a:extLst>
          </p:cNvPr>
          <p:cNvGrpSpPr/>
          <p:nvPr/>
        </p:nvGrpSpPr>
        <p:grpSpPr>
          <a:xfrm>
            <a:off x="732674" y="1788913"/>
            <a:ext cx="7368255" cy="1567451"/>
            <a:chOff x="732673" y="1788912"/>
            <a:chExt cx="7368255" cy="1567451"/>
          </a:xfrm>
        </p:grpSpPr>
        <p:sp>
          <p:nvSpPr>
            <p:cNvPr id="415" name="Rectangle: Rounded Corners 152">
              <a:extLst>
                <a:ext uri="{FF2B5EF4-FFF2-40B4-BE49-F238E27FC236}">
                  <a16:creationId xmlns:a16="http://schemas.microsoft.com/office/drawing/2014/main" id="{66433419-550A-47AB-8785-816C2443B4E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6" name="Oval 415">
              <a:extLst>
                <a:ext uri="{FF2B5EF4-FFF2-40B4-BE49-F238E27FC236}">
                  <a16:creationId xmlns:a16="http://schemas.microsoft.com/office/drawing/2014/main" id="{A682726D-FB62-4139-A8B8-CE14DC4CFDE3}"/>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7" name="Group 416">
              <a:extLst>
                <a:ext uri="{FF2B5EF4-FFF2-40B4-BE49-F238E27FC236}">
                  <a16:creationId xmlns:a16="http://schemas.microsoft.com/office/drawing/2014/main" id="{2A30886C-70E2-4EE4-B625-E1429A1E714D}"/>
                </a:ext>
              </a:extLst>
            </p:cNvPr>
            <p:cNvGrpSpPr/>
            <p:nvPr/>
          </p:nvGrpSpPr>
          <p:grpSpPr>
            <a:xfrm rot="16200000">
              <a:off x="1787492" y="2428962"/>
              <a:ext cx="393048" cy="893063"/>
              <a:chOff x="1053576" y="845943"/>
              <a:chExt cx="429692" cy="976323"/>
            </a:xfrm>
          </p:grpSpPr>
          <p:sp>
            <p:nvSpPr>
              <p:cNvPr id="580" name="Arc 579">
                <a:extLst>
                  <a:ext uri="{FF2B5EF4-FFF2-40B4-BE49-F238E27FC236}">
                    <a16:creationId xmlns:a16="http://schemas.microsoft.com/office/drawing/2014/main" id="{A16FAA23-EE7E-48E5-AAED-0EB383EE5810}"/>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81" name="Straight Connector 580">
                <a:extLst>
                  <a:ext uri="{FF2B5EF4-FFF2-40B4-BE49-F238E27FC236}">
                    <a16:creationId xmlns:a16="http://schemas.microsoft.com/office/drawing/2014/main" id="{C5D63DF3-6922-4184-9AC5-A69A8D20FC96}"/>
                  </a:ext>
                </a:extLst>
              </p:cNvPr>
              <p:cNvCxnSpPr>
                <a:cxnSpLocks/>
                <a:endCxn id="580"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9D43D8EF-F1D0-4356-8F95-EEFDDD5F1CD0}"/>
                  </a:ext>
                </a:extLst>
              </p:cNvPr>
              <p:cNvCxnSpPr>
                <a:cxnSpLocks/>
                <a:stCxn id="580"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8" name="Group 417">
              <a:extLst>
                <a:ext uri="{FF2B5EF4-FFF2-40B4-BE49-F238E27FC236}">
                  <a16:creationId xmlns:a16="http://schemas.microsoft.com/office/drawing/2014/main" id="{432B770E-B2CA-47A6-B185-F021B746C2E4}"/>
                </a:ext>
              </a:extLst>
            </p:cNvPr>
            <p:cNvGrpSpPr/>
            <p:nvPr/>
          </p:nvGrpSpPr>
          <p:grpSpPr>
            <a:xfrm>
              <a:off x="1139370" y="2057674"/>
              <a:ext cx="874980" cy="214533"/>
              <a:chOff x="1053577" y="1587731"/>
              <a:chExt cx="956555" cy="234534"/>
            </a:xfrm>
          </p:grpSpPr>
          <p:sp>
            <p:nvSpPr>
              <p:cNvPr id="577" name="Arc 576">
                <a:extLst>
                  <a:ext uri="{FF2B5EF4-FFF2-40B4-BE49-F238E27FC236}">
                    <a16:creationId xmlns:a16="http://schemas.microsoft.com/office/drawing/2014/main" id="{57C513BC-7515-47A3-9E87-79DB1B11B8BA}"/>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8" name="Straight Connector 577">
                <a:extLst>
                  <a:ext uri="{FF2B5EF4-FFF2-40B4-BE49-F238E27FC236}">
                    <a16:creationId xmlns:a16="http://schemas.microsoft.com/office/drawing/2014/main" id="{CDC375ED-E430-4E96-8678-10DB5A94CFCC}"/>
                  </a:ext>
                </a:extLst>
              </p:cNvPr>
              <p:cNvCxnSpPr>
                <a:cxnSpLocks/>
                <a:endCxn id="577"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7CA68352-600C-49C4-A8BE-4AF25C2746F1}"/>
                  </a:ext>
                </a:extLst>
              </p:cNvPr>
              <p:cNvCxnSpPr>
                <a:cxnSpLocks/>
                <a:stCxn id="577"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77484D01-673D-4BCA-9347-47C4749CDD1D}"/>
                </a:ext>
              </a:extLst>
            </p:cNvPr>
            <p:cNvGrpSpPr/>
            <p:nvPr/>
          </p:nvGrpSpPr>
          <p:grpSpPr>
            <a:xfrm>
              <a:off x="1471454" y="2049161"/>
              <a:ext cx="874980" cy="168558"/>
              <a:chOff x="1416621" y="1599856"/>
              <a:chExt cx="956555" cy="184273"/>
            </a:xfrm>
          </p:grpSpPr>
          <p:sp>
            <p:nvSpPr>
              <p:cNvPr id="574" name="Arc 573">
                <a:extLst>
                  <a:ext uri="{FF2B5EF4-FFF2-40B4-BE49-F238E27FC236}">
                    <a16:creationId xmlns:a16="http://schemas.microsoft.com/office/drawing/2014/main" id="{84F879B2-C39C-4576-BADF-40F022935540}"/>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5" name="Straight Connector 574">
                <a:extLst>
                  <a:ext uri="{FF2B5EF4-FFF2-40B4-BE49-F238E27FC236}">
                    <a16:creationId xmlns:a16="http://schemas.microsoft.com/office/drawing/2014/main" id="{3C895289-37F1-4AB2-89A8-F3D013BD1C05}"/>
                  </a:ext>
                </a:extLst>
              </p:cNvPr>
              <p:cNvCxnSpPr>
                <a:cxnSpLocks/>
                <a:endCxn id="574"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27FF5772-7A24-4D80-883A-3CD3BCDD08A5}"/>
                  </a:ext>
                </a:extLst>
              </p:cNvPr>
              <p:cNvCxnSpPr>
                <a:cxnSpLocks/>
                <a:stCxn id="574"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0" name="Group 419">
              <a:extLst>
                <a:ext uri="{FF2B5EF4-FFF2-40B4-BE49-F238E27FC236}">
                  <a16:creationId xmlns:a16="http://schemas.microsoft.com/office/drawing/2014/main" id="{4D1338F0-ADE4-4547-AB21-D99037D0EB08}"/>
                </a:ext>
              </a:extLst>
            </p:cNvPr>
            <p:cNvGrpSpPr/>
            <p:nvPr/>
          </p:nvGrpSpPr>
          <p:grpSpPr>
            <a:xfrm>
              <a:off x="1802844" y="1995223"/>
              <a:ext cx="662063" cy="168558"/>
              <a:chOff x="1778907" y="1564701"/>
              <a:chExt cx="723787" cy="184273"/>
            </a:xfrm>
          </p:grpSpPr>
          <p:sp>
            <p:nvSpPr>
              <p:cNvPr id="571" name="Arc 570">
                <a:extLst>
                  <a:ext uri="{FF2B5EF4-FFF2-40B4-BE49-F238E27FC236}">
                    <a16:creationId xmlns:a16="http://schemas.microsoft.com/office/drawing/2014/main" id="{AA310D21-499B-4346-BAE9-91B856CC3103}"/>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2" name="Straight Connector 571">
                <a:extLst>
                  <a:ext uri="{FF2B5EF4-FFF2-40B4-BE49-F238E27FC236}">
                    <a16:creationId xmlns:a16="http://schemas.microsoft.com/office/drawing/2014/main" id="{9B9B4120-F430-432E-A23B-D11A96DEC292}"/>
                  </a:ext>
                </a:extLst>
              </p:cNvPr>
              <p:cNvCxnSpPr>
                <a:cxnSpLocks/>
                <a:endCxn id="57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83857221-5A81-4E04-8751-2A3018CEBC97}"/>
                  </a:ext>
                </a:extLst>
              </p:cNvPr>
              <p:cNvCxnSpPr>
                <a:cxnSpLocks/>
                <a:stCxn id="57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21" name="Oval 420">
              <a:extLst>
                <a:ext uri="{FF2B5EF4-FFF2-40B4-BE49-F238E27FC236}">
                  <a16:creationId xmlns:a16="http://schemas.microsoft.com/office/drawing/2014/main" id="{0BEF32C6-12FD-4C09-8875-5F0D7F7769F8}"/>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2" name="Oval 421">
              <a:extLst>
                <a:ext uri="{FF2B5EF4-FFF2-40B4-BE49-F238E27FC236}">
                  <a16:creationId xmlns:a16="http://schemas.microsoft.com/office/drawing/2014/main" id="{0AF9A0BF-9022-4B92-B184-D9FCF1D8C408}"/>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3" name="Oval 422">
              <a:extLst>
                <a:ext uri="{FF2B5EF4-FFF2-40B4-BE49-F238E27FC236}">
                  <a16:creationId xmlns:a16="http://schemas.microsoft.com/office/drawing/2014/main" id="{0CC49AC7-A33D-4FEF-ACF5-AD3D023C8AE7}"/>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4" name="Straight Connector 423">
              <a:extLst>
                <a:ext uri="{FF2B5EF4-FFF2-40B4-BE49-F238E27FC236}">
                  <a16:creationId xmlns:a16="http://schemas.microsoft.com/office/drawing/2014/main" id="{995F8BA5-9E35-4B52-879A-2548EB66172C}"/>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425" name="Oval 424">
              <a:extLst>
                <a:ext uri="{FF2B5EF4-FFF2-40B4-BE49-F238E27FC236}">
                  <a16:creationId xmlns:a16="http://schemas.microsoft.com/office/drawing/2014/main" id="{90632BCF-B697-4128-9C32-5C01C39BF526}"/>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6" name="Group 425">
              <a:extLst>
                <a:ext uri="{FF2B5EF4-FFF2-40B4-BE49-F238E27FC236}">
                  <a16:creationId xmlns:a16="http://schemas.microsoft.com/office/drawing/2014/main" id="{5C4445D5-41F3-463F-A207-EDE6BE4BE80C}"/>
                </a:ext>
              </a:extLst>
            </p:cNvPr>
            <p:cNvGrpSpPr/>
            <p:nvPr/>
          </p:nvGrpSpPr>
          <p:grpSpPr>
            <a:xfrm>
              <a:off x="4825353" y="1970648"/>
              <a:ext cx="2313166" cy="911499"/>
              <a:chOff x="6257463" y="1617978"/>
              <a:chExt cx="1576956" cy="996478"/>
            </a:xfrm>
          </p:grpSpPr>
          <p:grpSp>
            <p:nvGrpSpPr>
              <p:cNvPr id="561" name="Group 560">
                <a:extLst>
                  <a:ext uri="{FF2B5EF4-FFF2-40B4-BE49-F238E27FC236}">
                    <a16:creationId xmlns:a16="http://schemas.microsoft.com/office/drawing/2014/main" id="{956CA148-D73E-49CB-A1BF-0C90FB1DEEF1}"/>
                  </a:ext>
                </a:extLst>
              </p:cNvPr>
              <p:cNvGrpSpPr/>
              <p:nvPr/>
            </p:nvGrpSpPr>
            <p:grpSpPr>
              <a:xfrm>
                <a:off x="6296881" y="2015544"/>
                <a:ext cx="1537538" cy="598912"/>
                <a:chOff x="6652481" y="2039451"/>
                <a:chExt cx="1537538" cy="598912"/>
              </a:xfrm>
              <a:solidFill>
                <a:schemeClr val="bg2">
                  <a:lumMod val="85000"/>
                </a:schemeClr>
              </a:solidFill>
            </p:grpSpPr>
            <p:sp>
              <p:nvSpPr>
                <p:cNvPr id="567" name="Rectangle: Rounded Corners 6">
                  <a:extLst>
                    <a:ext uri="{FF2B5EF4-FFF2-40B4-BE49-F238E27FC236}">
                      <a16:creationId xmlns:a16="http://schemas.microsoft.com/office/drawing/2014/main" id="{01501ED8-E98F-4EE4-9F45-325F9DBC10DF}"/>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8" name="Rectangle: Rounded Corners 140">
                  <a:extLst>
                    <a:ext uri="{FF2B5EF4-FFF2-40B4-BE49-F238E27FC236}">
                      <a16:creationId xmlns:a16="http://schemas.microsoft.com/office/drawing/2014/main" id="{93E4A046-27AC-43C4-B0DF-F87ED4B5DA9F}"/>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9" name="Rectangle: Rounded Corners 141">
                  <a:extLst>
                    <a:ext uri="{FF2B5EF4-FFF2-40B4-BE49-F238E27FC236}">
                      <a16:creationId xmlns:a16="http://schemas.microsoft.com/office/drawing/2014/main" id="{9616CBC8-9838-4315-89D8-127ABE451E7D}"/>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0" name="Rectangle: Rounded Corners 142">
                  <a:extLst>
                    <a:ext uri="{FF2B5EF4-FFF2-40B4-BE49-F238E27FC236}">
                      <a16:creationId xmlns:a16="http://schemas.microsoft.com/office/drawing/2014/main" id="{30554F36-9E80-4563-9646-709761B1BDB3}"/>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62" name="Group 561">
                <a:extLst>
                  <a:ext uri="{FF2B5EF4-FFF2-40B4-BE49-F238E27FC236}">
                    <a16:creationId xmlns:a16="http://schemas.microsoft.com/office/drawing/2014/main" id="{811F7F10-406B-42FA-B163-018089FC37E8}"/>
                  </a:ext>
                </a:extLst>
              </p:cNvPr>
              <p:cNvGrpSpPr/>
              <p:nvPr/>
            </p:nvGrpSpPr>
            <p:grpSpPr>
              <a:xfrm>
                <a:off x="6257463" y="1617978"/>
                <a:ext cx="1553564" cy="594092"/>
                <a:chOff x="6606761" y="1479381"/>
                <a:chExt cx="1566167" cy="598912"/>
              </a:xfrm>
              <a:solidFill>
                <a:schemeClr val="bg2">
                  <a:lumMod val="85000"/>
                </a:schemeClr>
              </a:solidFill>
            </p:grpSpPr>
            <p:sp>
              <p:nvSpPr>
                <p:cNvPr id="563" name="Rectangle: Rounded Corners 148">
                  <a:extLst>
                    <a:ext uri="{FF2B5EF4-FFF2-40B4-BE49-F238E27FC236}">
                      <a16:creationId xmlns:a16="http://schemas.microsoft.com/office/drawing/2014/main" id="{0AB7D6CD-102A-4040-A63B-D37FFF75E6A6}"/>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4" name="Rectangle: Rounded Corners 149">
                  <a:extLst>
                    <a:ext uri="{FF2B5EF4-FFF2-40B4-BE49-F238E27FC236}">
                      <a16:creationId xmlns:a16="http://schemas.microsoft.com/office/drawing/2014/main" id="{0996C544-FC8C-4FE2-97AD-33EFC3A5162A}"/>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5" name="Rectangle: Rounded Corners 150">
                  <a:extLst>
                    <a:ext uri="{FF2B5EF4-FFF2-40B4-BE49-F238E27FC236}">
                      <a16:creationId xmlns:a16="http://schemas.microsoft.com/office/drawing/2014/main" id="{C7F8E6C2-C791-4A6A-A317-19977F4D3B57}"/>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6" name="Rectangle: Rounded Corners 151">
                  <a:extLst>
                    <a:ext uri="{FF2B5EF4-FFF2-40B4-BE49-F238E27FC236}">
                      <a16:creationId xmlns:a16="http://schemas.microsoft.com/office/drawing/2014/main" id="{616874A7-B343-466F-BD95-6C7CE7FCFC3C}"/>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7" name="Group 426">
              <a:extLst>
                <a:ext uri="{FF2B5EF4-FFF2-40B4-BE49-F238E27FC236}">
                  <a16:creationId xmlns:a16="http://schemas.microsoft.com/office/drawing/2014/main" id="{5D80F346-7841-4064-8F45-5080D7E9DC1B}"/>
                </a:ext>
              </a:extLst>
            </p:cNvPr>
            <p:cNvGrpSpPr/>
            <p:nvPr/>
          </p:nvGrpSpPr>
          <p:grpSpPr>
            <a:xfrm>
              <a:off x="4495170" y="1970649"/>
              <a:ext cx="1509591" cy="909293"/>
              <a:chOff x="4722239" y="1617979"/>
              <a:chExt cx="1650330" cy="994067"/>
            </a:xfrm>
          </p:grpSpPr>
          <p:grpSp>
            <p:nvGrpSpPr>
              <p:cNvPr id="551" name="Group 550">
                <a:extLst>
                  <a:ext uri="{FF2B5EF4-FFF2-40B4-BE49-F238E27FC236}">
                    <a16:creationId xmlns:a16="http://schemas.microsoft.com/office/drawing/2014/main" id="{70735880-CB88-4F6E-BE49-E2C976899E04}"/>
                  </a:ext>
                </a:extLst>
              </p:cNvPr>
              <p:cNvGrpSpPr/>
              <p:nvPr/>
            </p:nvGrpSpPr>
            <p:grpSpPr>
              <a:xfrm>
                <a:off x="4722239" y="1617979"/>
                <a:ext cx="1604404" cy="594092"/>
                <a:chOff x="5071331" y="1479382"/>
                <a:chExt cx="1617419" cy="598911"/>
              </a:xfrm>
              <a:solidFill>
                <a:schemeClr val="bg2">
                  <a:lumMod val="85000"/>
                </a:schemeClr>
              </a:solidFill>
            </p:grpSpPr>
            <p:sp>
              <p:nvSpPr>
                <p:cNvPr id="557" name="Rectangle: Rounded Corners 161">
                  <a:extLst>
                    <a:ext uri="{FF2B5EF4-FFF2-40B4-BE49-F238E27FC236}">
                      <a16:creationId xmlns:a16="http://schemas.microsoft.com/office/drawing/2014/main" id="{C9FB7876-AFB3-44DE-A594-5F9585F63CE2}"/>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8" name="Rectangle: Rounded Corners 162">
                  <a:extLst>
                    <a:ext uri="{FF2B5EF4-FFF2-40B4-BE49-F238E27FC236}">
                      <a16:creationId xmlns:a16="http://schemas.microsoft.com/office/drawing/2014/main" id="{9069F53D-7B23-4895-AB98-F502C3135F7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9" name="Rectangle: Rounded Corners 163">
                  <a:extLst>
                    <a:ext uri="{FF2B5EF4-FFF2-40B4-BE49-F238E27FC236}">
                      <a16:creationId xmlns:a16="http://schemas.microsoft.com/office/drawing/2014/main" id="{0FEC1854-4A88-4E22-85E7-6AFA65819298}"/>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0" name="Rectangle: Rounded Corners 164">
                  <a:extLst>
                    <a:ext uri="{FF2B5EF4-FFF2-40B4-BE49-F238E27FC236}">
                      <a16:creationId xmlns:a16="http://schemas.microsoft.com/office/drawing/2014/main" id="{59DDFF06-7989-4A31-ACE7-E67617574590}"/>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52" name="Group 551">
                <a:extLst>
                  <a:ext uri="{FF2B5EF4-FFF2-40B4-BE49-F238E27FC236}">
                    <a16:creationId xmlns:a16="http://schemas.microsoft.com/office/drawing/2014/main" id="{432A5446-55DA-4B1F-9D75-58015CAB0B7C}"/>
                  </a:ext>
                </a:extLst>
              </p:cNvPr>
              <p:cNvGrpSpPr/>
              <p:nvPr/>
            </p:nvGrpSpPr>
            <p:grpSpPr>
              <a:xfrm>
                <a:off x="4819003" y="2017956"/>
                <a:ext cx="1553566" cy="594090"/>
                <a:chOff x="5168302" y="2039452"/>
                <a:chExt cx="1566168" cy="598911"/>
              </a:xfrm>
              <a:solidFill>
                <a:schemeClr val="bg2">
                  <a:lumMod val="85000"/>
                </a:schemeClr>
              </a:solidFill>
            </p:grpSpPr>
            <p:sp>
              <p:nvSpPr>
                <p:cNvPr id="553" name="Rectangle: Rounded Corners 165">
                  <a:extLst>
                    <a:ext uri="{FF2B5EF4-FFF2-40B4-BE49-F238E27FC236}">
                      <a16:creationId xmlns:a16="http://schemas.microsoft.com/office/drawing/2014/main" id="{795B5F93-BF38-4327-877F-C2259E566CDF}"/>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4" name="Rectangle: Rounded Corners 166">
                  <a:extLst>
                    <a:ext uri="{FF2B5EF4-FFF2-40B4-BE49-F238E27FC236}">
                      <a16:creationId xmlns:a16="http://schemas.microsoft.com/office/drawing/2014/main" id="{C231098D-D5A5-42B1-8C77-6AEF5CD87E24}"/>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5" name="Rectangle: Rounded Corners 167">
                  <a:extLst>
                    <a:ext uri="{FF2B5EF4-FFF2-40B4-BE49-F238E27FC236}">
                      <a16:creationId xmlns:a16="http://schemas.microsoft.com/office/drawing/2014/main" id="{2F367DA3-71AA-4057-9384-191AD63633BC}"/>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6" name="Rectangle: Rounded Corners 168">
                  <a:extLst>
                    <a:ext uri="{FF2B5EF4-FFF2-40B4-BE49-F238E27FC236}">
                      <a16:creationId xmlns:a16="http://schemas.microsoft.com/office/drawing/2014/main" id="{E3577BD0-241E-4838-96E2-43B3BB637DB5}"/>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8" name="Group 427">
              <a:extLst>
                <a:ext uri="{FF2B5EF4-FFF2-40B4-BE49-F238E27FC236}">
                  <a16:creationId xmlns:a16="http://schemas.microsoft.com/office/drawing/2014/main" id="{D50D2B2A-A262-4F70-B228-744CCEC7EFBE}"/>
                </a:ext>
              </a:extLst>
            </p:cNvPr>
            <p:cNvGrpSpPr/>
            <p:nvPr/>
          </p:nvGrpSpPr>
          <p:grpSpPr>
            <a:xfrm>
              <a:off x="3086190" y="2006242"/>
              <a:ext cx="1509592" cy="909292"/>
              <a:chOff x="3181899" y="1656890"/>
              <a:chExt cx="1650332" cy="994066"/>
            </a:xfrm>
          </p:grpSpPr>
          <p:grpSp>
            <p:nvGrpSpPr>
              <p:cNvPr id="541" name="Group 540">
                <a:extLst>
                  <a:ext uri="{FF2B5EF4-FFF2-40B4-BE49-F238E27FC236}">
                    <a16:creationId xmlns:a16="http://schemas.microsoft.com/office/drawing/2014/main" id="{68CA2F72-0AB6-43B0-94D7-A2D2A5BE7D50}"/>
                  </a:ext>
                </a:extLst>
              </p:cNvPr>
              <p:cNvGrpSpPr/>
              <p:nvPr/>
            </p:nvGrpSpPr>
            <p:grpSpPr>
              <a:xfrm>
                <a:off x="3227827" y="2056864"/>
                <a:ext cx="1604404" cy="594092"/>
                <a:chOff x="3576919" y="2078361"/>
                <a:chExt cx="1617419" cy="598911"/>
              </a:xfrm>
              <a:solidFill>
                <a:schemeClr val="bg2">
                  <a:lumMod val="85000"/>
                </a:schemeClr>
              </a:solidFill>
            </p:grpSpPr>
            <p:sp>
              <p:nvSpPr>
                <p:cNvPr id="547" name="Rectangle: Rounded Corners 170">
                  <a:extLst>
                    <a:ext uri="{FF2B5EF4-FFF2-40B4-BE49-F238E27FC236}">
                      <a16:creationId xmlns:a16="http://schemas.microsoft.com/office/drawing/2014/main" id="{7EDED468-34A3-4D1E-8BE3-BCA9B4BD62C5}"/>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8" name="Rectangle: Rounded Corners 172">
                  <a:extLst>
                    <a:ext uri="{FF2B5EF4-FFF2-40B4-BE49-F238E27FC236}">
                      <a16:creationId xmlns:a16="http://schemas.microsoft.com/office/drawing/2014/main" id="{A6569433-62FA-47AC-99A0-0166244F2536}"/>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9" name="Rectangle: Rounded Corners 173">
                  <a:extLst>
                    <a:ext uri="{FF2B5EF4-FFF2-40B4-BE49-F238E27FC236}">
                      <a16:creationId xmlns:a16="http://schemas.microsoft.com/office/drawing/2014/main" id="{4247FAD5-D390-4BAA-8759-658E0BD2B186}"/>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0" name="Rectangle: Rounded Corners 174">
                  <a:extLst>
                    <a:ext uri="{FF2B5EF4-FFF2-40B4-BE49-F238E27FC236}">
                      <a16:creationId xmlns:a16="http://schemas.microsoft.com/office/drawing/2014/main" id="{2A335CB2-F045-45B1-9CD5-1AF09C775DED}"/>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42" name="Group 541">
                <a:extLst>
                  <a:ext uri="{FF2B5EF4-FFF2-40B4-BE49-F238E27FC236}">
                    <a16:creationId xmlns:a16="http://schemas.microsoft.com/office/drawing/2014/main" id="{3A809CAC-23C7-49B0-BFDB-739FA295FF08}"/>
                  </a:ext>
                </a:extLst>
              </p:cNvPr>
              <p:cNvGrpSpPr/>
              <p:nvPr/>
            </p:nvGrpSpPr>
            <p:grpSpPr>
              <a:xfrm>
                <a:off x="3181899" y="1656890"/>
                <a:ext cx="1443175" cy="594090"/>
                <a:chOff x="3531199" y="1518292"/>
                <a:chExt cx="1454882" cy="598911"/>
              </a:xfrm>
              <a:solidFill>
                <a:schemeClr val="bg2">
                  <a:lumMod val="85000"/>
                </a:schemeClr>
              </a:solidFill>
            </p:grpSpPr>
            <p:sp>
              <p:nvSpPr>
                <p:cNvPr id="543" name="Rectangle: Rounded Corners 175">
                  <a:extLst>
                    <a:ext uri="{FF2B5EF4-FFF2-40B4-BE49-F238E27FC236}">
                      <a16:creationId xmlns:a16="http://schemas.microsoft.com/office/drawing/2014/main" id="{6689CB55-9603-45FA-95EF-8EC89E5AD3C8}"/>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4" name="Rectangle: Rounded Corners 176">
                  <a:extLst>
                    <a:ext uri="{FF2B5EF4-FFF2-40B4-BE49-F238E27FC236}">
                      <a16:creationId xmlns:a16="http://schemas.microsoft.com/office/drawing/2014/main" id="{AA44B59E-9EC7-420C-95B2-504B3077B974}"/>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5" name="Rectangle: Rounded Corners 177">
                  <a:extLst>
                    <a:ext uri="{FF2B5EF4-FFF2-40B4-BE49-F238E27FC236}">
                      <a16:creationId xmlns:a16="http://schemas.microsoft.com/office/drawing/2014/main" id="{0F584308-9C74-4352-8591-A7AD5261180D}"/>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6" name="Rectangle: Rounded Corners 178">
                  <a:extLst>
                    <a:ext uri="{FF2B5EF4-FFF2-40B4-BE49-F238E27FC236}">
                      <a16:creationId xmlns:a16="http://schemas.microsoft.com/office/drawing/2014/main" id="{B913CE34-C127-47F2-9AC9-5CF9EABCAC94}"/>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9" name="Group 428">
              <a:extLst>
                <a:ext uri="{FF2B5EF4-FFF2-40B4-BE49-F238E27FC236}">
                  <a16:creationId xmlns:a16="http://schemas.microsoft.com/office/drawing/2014/main" id="{586E91CF-9E4A-45D6-A583-6EA74A7E2649}"/>
                </a:ext>
              </a:extLst>
            </p:cNvPr>
            <p:cNvGrpSpPr/>
            <p:nvPr/>
          </p:nvGrpSpPr>
          <p:grpSpPr>
            <a:xfrm>
              <a:off x="1799537" y="2094016"/>
              <a:ext cx="1491424" cy="749099"/>
              <a:chOff x="6621828" y="1373655"/>
              <a:chExt cx="1630470" cy="818938"/>
            </a:xfrm>
            <a:solidFill>
              <a:schemeClr val="bg2">
                <a:lumMod val="85000"/>
              </a:schemeClr>
            </a:solidFill>
          </p:grpSpPr>
          <p:sp>
            <p:nvSpPr>
              <p:cNvPr id="535" name="Rectangle: Rounded Corners 190">
                <a:extLst>
                  <a:ext uri="{FF2B5EF4-FFF2-40B4-BE49-F238E27FC236}">
                    <a16:creationId xmlns:a16="http://schemas.microsoft.com/office/drawing/2014/main" id="{948E9081-CD96-436A-AC4B-6F72F056F6F8}"/>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6" name="Rectangle: Rounded Corners 191">
                <a:extLst>
                  <a:ext uri="{FF2B5EF4-FFF2-40B4-BE49-F238E27FC236}">
                    <a16:creationId xmlns:a16="http://schemas.microsoft.com/office/drawing/2014/main" id="{A81A9705-D467-46F0-82B8-A01D92179FFE}"/>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7" name="Rectangle: Rounded Corners 192">
                <a:extLst>
                  <a:ext uri="{FF2B5EF4-FFF2-40B4-BE49-F238E27FC236}">
                    <a16:creationId xmlns:a16="http://schemas.microsoft.com/office/drawing/2014/main" id="{4B0F9048-BE28-43F0-96E5-4D865F5ECDC0}"/>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8" name="Rectangle: Rounded Corners 194">
                <a:extLst>
                  <a:ext uri="{FF2B5EF4-FFF2-40B4-BE49-F238E27FC236}">
                    <a16:creationId xmlns:a16="http://schemas.microsoft.com/office/drawing/2014/main" id="{B8646E8C-09E9-438A-9ADC-920A0A4C960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9" name="Rectangle: Rounded Corners 228">
                <a:extLst>
                  <a:ext uri="{FF2B5EF4-FFF2-40B4-BE49-F238E27FC236}">
                    <a16:creationId xmlns:a16="http://schemas.microsoft.com/office/drawing/2014/main" id="{ABFE1E99-17E1-4515-9676-CFBB2B12E140}"/>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0" name="Rectangle: Rounded Corners 229">
                <a:extLst>
                  <a:ext uri="{FF2B5EF4-FFF2-40B4-BE49-F238E27FC236}">
                    <a16:creationId xmlns:a16="http://schemas.microsoft.com/office/drawing/2014/main" id="{345A3AA8-488D-4048-847B-D088EF17E615}"/>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30" name="TextBox 429">
              <a:extLst>
                <a:ext uri="{FF2B5EF4-FFF2-40B4-BE49-F238E27FC236}">
                  <a16:creationId xmlns:a16="http://schemas.microsoft.com/office/drawing/2014/main" id="{DD827FBC-E349-4877-AEDA-0A05594455BB}"/>
                </a:ext>
              </a:extLst>
            </p:cNvPr>
            <p:cNvSpPr txBox="1"/>
            <p:nvPr/>
          </p:nvSpPr>
          <p:spPr>
            <a:xfrm>
              <a:off x="2162365" y="2322454"/>
              <a:ext cx="588624" cy="230832"/>
            </a:xfrm>
            <a:prstGeom prst="rect">
              <a:avLst/>
            </a:prstGeom>
            <a:noFill/>
          </p:spPr>
          <p:txBody>
            <a:bodyPr wrap="none" rtlCol="0">
              <a:spAutoFit/>
            </a:bodyPr>
            <a:lstStyle/>
            <a:p>
              <a:pPr algn="ctr"/>
              <a:r>
                <a:rPr lang="en-US" sz="900" b="1" dirty="0"/>
                <a:t>Access</a:t>
              </a:r>
            </a:p>
          </p:txBody>
        </p:sp>
        <p:sp>
          <p:nvSpPr>
            <p:cNvPr id="431" name="TextBox 430">
              <a:extLst>
                <a:ext uri="{FF2B5EF4-FFF2-40B4-BE49-F238E27FC236}">
                  <a16:creationId xmlns:a16="http://schemas.microsoft.com/office/drawing/2014/main" id="{0D38132E-92B8-46F3-8471-C7B7E4004432}"/>
                </a:ext>
              </a:extLst>
            </p:cNvPr>
            <p:cNvSpPr txBox="1"/>
            <p:nvPr/>
          </p:nvSpPr>
          <p:spPr>
            <a:xfrm>
              <a:off x="3399904" y="2322454"/>
              <a:ext cx="1069525" cy="230832"/>
            </a:xfrm>
            <a:prstGeom prst="rect">
              <a:avLst/>
            </a:prstGeom>
            <a:noFill/>
          </p:spPr>
          <p:txBody>
            <a:bodyPr wrap="none" rtlCol="0">
              <a:spAutoFit/>
            </a:bodyPr>
            <a:lstStyle/>
            <a:p>
              <a:pPr algn="ctr"/>
              <a:r>
                <a:rPr lang="en-US" sz="900" b="1" dirty="0"/>
                <a:t>Pre-aggregation</a:t>
              </a:r>
            </a:p>
          </p:txBody>
        </p:sp>
        <p:sp>
          <p:nvSpPr>
            <p:cNvPr id="432" name="TextBox 431">
              <a:extLst>
                <a:ext uri="{FF2B5EF4-FFF2-40B4-BE49-F238E27FC236}">
                  <a16:creationId xmlns:a16="http://schemas.microsoft.com/office/drawing/2014/main" id="{DD953ADC-8E6E-40DA-94CD-7FEB9B7597A5}"/>
                </a:ext>
              </a:extLst>
            </p:cNvPr>
            <p:cNvSpPr txBox="1"/>
            <p:nvPr/>
          </p:nvSpPr>
          <p:spPr>
            <a:xfrm>
              <a:off x="5827401" y="2334311"/>
              <a:ext cx="447558" cy="230832"/>
            </a:xfrm>
            <a:prstGeom prst="rect">
              <a:avLst/>
            </a:prstGeom>
            <a:noFill/>
          </p:spPr>
          <p:txBody>
            <a:bodyPr wrap="none" rtlCol="0">
              <a:spAutoFit/>
            </a:bodyPr>
            <a:lstStyle/>
            <a:p>
              <a:pPr algn="ctr"/>
              <a:r>
                <a:rPr lang="en-US" sz="900" b="1" dirty="0"/>
                <a:t>Core</a:t>
              </a:r>
            </a:p>
          </p:txBody>
        </p:sp>
        <p:grpSp>
          <p:nvGrpSpPr>
            <p:cNvPr id="433" name="Group 432">
              <a:extLst>
                <a:ext uri="{FF2B5EF4-FFF2-40B4-BE49-F238E27FC236}">
                  <a16:creationId xmlns:a16="http://schemas.microsoft.com/office/drawing/2014/main" id="{87602542-FAC5-4BDF-A4A8-E22544CC64CA}"/>
                </a:ext>
              </a:extLst>
            </p:cNvPr>
            <p:cNvGrpSpPr/>
            <p:nvPr/>
          </p:nvGrpSpPr>
          <p:grpSpPr>
            <a:xfrm>
              <a:off x="1722376" y="1935055"/>
              <a:ext cx="160263" cy="98451"/>
              <a:chOff x="3221673" y="3946130"/>
              <a:chExt cx="521162" cy="320153"/>
            </a:xfrm>
            <a:solidFill>
              <a:schemeClr val="accent2"/>
            </a:solidFill>
          </p:grpSpPr>
          <p:sp>
            <p:nvSpPr>
              <p:cNvPr id="533" name="Freeform 7">
                <a:extLst>
                  <a:ext uri="{FF2B5EF4-FFF2-40B4-BE49-F238E27FC236}">
                    <a16:creationId xmlns:a16="http://schemas.microsoft.com/office/drawing/2014/main" id="{44606877-F029-42A7-A114-540FC6D2EB8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dirty="0"/>
              </a:p>
            </p:txBody>
          </p:sp>
          <p:sp>
            <p:nvSpPr>
              <p:cNvPr id="534" name="Freeform 23">
                <a:extLst>
                  <a:ext uri="{FF2B5EF4-FFF2-40B4-BE49-F238E27FC236}">
                    <a16:creationId xmlns:a16="http://schemas.microsoft.com/office/drawing/2014/main" id="{1EFE0505-9F96-469E-9392-1786AC943DE9}"/>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4" name="Group 433">
              <a:extLst>
                <a:ext uri="{FF2B5EF4-FFF2-40B4-BE49-F238E27FC236}">
                  <a16:creationId xmlns:a16="http://schemas.microsoft.com/office/drawing/2014/main" id="{C28A7165-8CA8-44C4-8A59-A7D8E81FF47B}"/>
                </a:ext>
              </a:extLst>
            </p:cNvPr>
            <p:cNvGrpSpPr/>
            <p:nvPr/>
          </p:nvGrpSpPr>
          <p:grpSpPr>
            <a:xfrm>
              <a:off x="1388809" y="1934661"/>
              <a:ext cx="166060" cy="99240"/>
              <a:chOff x="3202819" y="3711222"/>
              <a:chExt cx="348044" cy="207998"/>
            </a:xfrm>
            <a:solidFill>
              <a:schemeClr val="accent1"/>
            </a:solidFill>
          </p:grpSpPr>
          <p:sp>
            <p:nvSpPr>
              <p:cNvPr id="531" name="Freeform 77">
                <a:extLst>
                  <a:ext uri="{FF2B5EF4-FFF2-40B4-BE49-F238E27FC236}">
                    <a16:creationId xmlns:a16="http://schemas.microsoft.com/office/drawing/2014/main" id="{0D888EA3-13EC-45DB-AAE2-A56AD4DD2DE8}"/>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dirty="0"/>
              </a:p>
            </p:txBody>
          </p:sp>
          <p:sp>
            <p:nvSpPr>
              <p:cNvPr id="532" name="Freeform 23">
                <a:extLst>
                  <a:ext uri="{FF2B5EF4-FFF2-40B4-BE49-F238E27FC236}">
                    <a16:creationId xmlns:a16="http://schemas.microsoft.com/office/drawing/2014/main" id="{6624EDAD-8189-4B6B-8442-6C185C3DD7C9}"/>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5" name="Group 434">
              <a:extLst>
                <a:ext uri="{FF2B5EF4-FFF2-40B4-BE49-F238E27FC236}">
                  <a16:creationId xmlns:a16="http://schemas.microsoft.com/office/drawing/2014/main" id="{D2919D61-9C74-4C04-BFD5-01A8206B7D7B}"/>
                </a:ext>
              </a:extLst>
            </p:cNvPr>
            <p:cNvGrpSpPr/>
            <p:nvPr/>
          </p:nvGrpSpPr>
          <p:grpSpPr>
            <a:xfrm>
              <a:off x="1061637" y="1935056"/>
              <a:ext cx="159067" cy="98449"/>
              <a:chOff x="974446" y="1475289"/>
              <a:chExt cx="173897" cy="107627"/>
            </a:xfrm>
            <a:solidFill>
              <a:schemeClr val="accent5"/>
            </a:solidFill>
          </p:grpSpPr>
          <p:sp>
            <p:nvSpPr>
              <p:cNvPr id="529" name="Freeform 11">
                <a:extLst>
                  <a:ext uri="{FF2B5EF4-FFF2-40B4-BE49-F238E27FC236}">
                    <a16:creationId xmlns:a16="http://schemas.microsoft.com/office/drawing/2014/main" id="{4E9113F6-2F11-4E76-B340-4B987A625CA1}"/>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530" name="Freeform 23">
                <a:extLst>
                  <a:ext uri="{FF2B5EF4-FFF2-40B4-BE49-F238E27FC236}">
                    <a16:creationId xmlns:a16="http://schemas.microsoft.com/office/drawing/2014/main" id="{682E4B11-CF1B-4398-A5E4-8C26E5DBD780}"/>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6" name="Group 435">
              <a:extLst>
                <a:ext uri="{FF2B5EF4-FFF2-40B4-BE49-F238E27FC236}">
                  <a16:creationId xmlns:a16="http://schemas.microsoft.com/office/drawing/2014/main" id="{112D7826-9847-4F1D-93C1-BCC449056B80}"/>
                </a:ext>
              </a:extLst>
            </p:cNvPr>
            <p:cNvGrpSpPr/>
            <p:nvPr/>
          </p:nvGrpSpPr>
          <p:grpSpPr>
            <a:xfrm>
              <a:off x="3062826" y="1914581"/>
              <a:ext cx="396817" cy="396817"/>
              <a:chOff x="3119641" y="1416189"/>
              <a:chExt cx="507244" cy="507244"/>
            </a:xfrm>
          </p:grpSpPr>
          <p:sp>
            <p:nvSpPr>
              <p:cNvPr id="522" name="Oval 521">
                <a:extLst>
                  <a:ext uri="{FF2B5EF4-FFF2-40B4-BE49-F238E27FC236}">
                    <a16:creationId xmlns:a16="http://schemas.microsoft.com/office/drawing/2014/main" id="{FAF32BE9-140A-40B9-A600-1739866C6B11}"/>
                  </a:ext>
                </a:extLst>
              </p:cNvPr>
              <p:cNvSpPr/>
              <p:nvPr/>
            </p:nvSpPr>
            <p:spPr>
              <a:xfrm>
                <a:off x="3119641" y="1416189"/>
                <a:ext cx="507244" cy="507244"/>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23" name="Group 522">
                <a:extLst>
                  <a:ext uri="{FF2B5EF4-FFF2-40B4-BE49-F238E27FC236}">
                    <a16:creationId xmlns:a16="http://schemas.microsoft.com/office/drawing/2014/main" id="{0794BBE5-51EE-4FA6-A7BC-B40A0815E5B2}"/>
                  </a:ext>
                </a:extLst>
              </p:cNvPr>
              <p:cNvGrpSpPr/>
              <p:nvPr/>
            </p:nvGrpSpPr>
            <p:grpSpPr>
              <a:xfrm>
                <a:off x="3179583" y="1476131"/>
                <a:ext cx="387360" cy="387360"/>
                <a:chOff x="2652535" y="-3571486"/>
                <a:chExt cx="4882348" cy="4882348"/>
              </a:xfrm>
              <a:solidFill>
                <a:schemeClr val="bg2"/>
              </a:solidFill>
            </p:grpSpPr>
            <p:sp>
              <p:nvSpPr>
                <p:cNvPr id="524" name="Freeform: Shape 298">
                  <a:extLst>
                    <a:ext uri="{FF2B5EF4-FFF2-40B4-BE49-F238E27FC236}">
                      <a16:creationId xmlns:a16="http://schemas.microsoft.com/office/drawing/2014/main" id="{B6D34471-2586-44CC-A072-68C45F52015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5" name="Freeform: Shape 299">
                  <a:extLst>
                    <a:ext uri="{FF2B5EF4-FFF2-40B4-BE49-F238E27FC236}">
                      <a16:creationId xmlns:a16="http://schemas.microsoft.com/office/drawing/2014/main" id="{87998161-2C76-4547-A932-04AF8E27D76C}"/>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26" name="Group 525">
                  <a:extLst>
                    <a:ext uri="{FF2B5EF4-FFF2-40B4-BE49-F238E27FC236}">
                      <a16:creationId xmlns:a16="http://schemas.microsoft.com/office/drawing/2014/main" id="{5E05D5C0-0427-4C95-ABA5-718A3BDFEFF0}"/>
                    </a:ext>
                  </a:extLst>
                </p:cNvPr>
                <p:cNvGrpSpPr/>
                <p:nvPr/>
              </p:nvGrpSpPr>
              <p:grpSpPr>
                <a:xfrm rot="5400000">
                  <a:off x="4197485" y="-3571486"/>
                  <a:ext cx="1792447" cy="4882348"/>
                  <a:chOff x="4197485" y="-3571486"/>
                  <a:chExt cx="1792447" cy="4882348"/>
                </a:xfrm>
                <a:grpFill/>
              </p:grpSpPr>
              <p:sp>
                <p:nvSpPr>
                  <p:cNvPr id="527" name="Freeform: Shape 301">
                    <a:extLst>
                      <a:ext uri="{FF2B5EF4-FFF2-40B4-BE49-F238E27FC236}">
                        <a16:creationId xmlns:a16="http://schemas.microsoft.com/office/drawing/2014/main" id="{61C0F6FB-D11D-4480-AF46-C2AC70CFD4DB}"/>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8" name="Freeform: Shape 302">
                    <a:extLst>
                      <a:ext uri="{FF2B5EF4-FFF2-40B4-BE49-F238E27FC236}">
                        <a16:creationId xmlns:a16="http://schemas.microsoft.com/office/drawing/2014/main" id="{8DAF4521-520B-4B6E-953E-E2D93606A29D}"/>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7" name="Group 436">
              <a:extLst>
                <a:ext uri="{FF2B5EF4-FFF2-40B4-BE49-F238E27FC236}">
                  <a16:creationId xmlns:a16="http://schemas.microsoft.com/office/drawing/2014/main" id="{6DC4E5BB-A596-442A-BFD2-D6A06384EB94}"/>
                </a:ext>
              </a:extLst>
            </p:cNvPr>
            <p:cNvGrpSpPr/>
            <p:nvPr/>
          </p:nvGrpSpPr>
          <p:grpSpPr>
            <a:xfrm>
              <a:off x="3062826" y="2564265"/>
              <a:ext cx="396817" cy="396817"/>
              <a:chOff x="3119641" y="2126443"/>
              <a:chExt cx="507244" cy="507244"/>
            </a:xfrm>
          </p:grpSpPr>
          <p:sp>
            <p:nvSpPr>
              <p:cNvPr id="515" name="Oval 514">
                <a:extLst>
                  <a:ext uri="{FF2B5EF4-FFF2-40B4-BE49-F238E27FC236}">
                    <a16:creationId xmlns:a16="http://schemas.microsoft.com/office/drawing/2014/main" id="{EE2A51AF-E4F4-49EF-9844-407D862CF805}"/>
                  </a:ext>
                </a:extLst>
              </p:cNvPr>
              <p:cNvSpPr/>
              <p:nvPr/>
            </p:nvSpPr>
            <p:spPr>
              <a:xfrm>
                <a:off x="3119641" y="2126443"/>
                <a:ext cx="507244" cy="507244"/>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16" name="Group 515">
                <a:extLst>
                  <a:ext uri="{FF2B5EF4-FFF2-40B4-BE49-F238E27FC236}">
                    <a16:creationId xmlns:a16="http://schemas.microsoft.com/office/drawing/2014/main" id="{C65B9FD2-2960-4082-98DD-139CA43AC038}"/>
                  </a:ext>
                </a:extLst>
              </p:cNvPr>
              <p:cNvGrpSpPr/>
              <p:nvPr/>
            </p:nvGrpSpPr>
            <p:grpSpPr>
              <a:xfrm>
                <a:off x="3179583" y="2186385"/>
                <a:ext cx="387360" cy="387360"/>
                <a:chOff x="2652535" y="-3571486"/>
                <a:chExt cx="4882348" cy="4882348"/>
              </a:xfrm>
              <a:solidFill>
                <a:schemeClr val="bg2"/>
              </a:solidFill>
            </p:grpSpPr>
            <p:sp>
              <p:nvSpPr>
                <p:cNvPr id="517" name="Freeform: Shape 310">
                  <a:extLst>
                    <a:ext uri="{FF2B5EF4-FFF2-40B4-BE49-F238E27FC236}">
                      <a16:creationId xmlns:a16="http://schemas.microsoft.com/office/drawing/2014/main" id="{D911AB50-D703-4670-9C78-6D9D3D91590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8" name="Freeform: Shape 311">
                  <a:extLst>
                    <a:ext uri="{FF2B5EF4-FFF2-40B4-BE49-F238E27FC236}">
                      <a16:creationId xmlns:a16="http://schemas.microsoft.com/office/drawing/2014/main" id="{A2876FE9-9C7B-4FB4-8267-F695D2D54A0F}"/>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9" name="Group 518">
                  <a:extLst>
                    <a:ext uri="{FF2B5EF4-FFF2-40B4-BE49-F238E27FC236}">
                      <a16:creationId xmlns:a16="http://schemas.microsoft.com/office/drawing/2014/main" id="{D557623F-B3D1-4FE9-84DE-9A42F1E60D9C}"/>
                    </a:ext>
                  </a:extLst>
                </p:cNvPr>
                <p:cNvGrpSpPr/>
                <p:nvPr/>
              </p:nvGrpSpPr>
              <p:grpSpPr>
                <a:xfrm rot="5400000">
                  <a:off x="4197485" y="-3571486"/>
                  <a:ext cx="1792447" cy="4882348"/>
                  <a:chOff x="4197485" y="-3571486"/>
                  <a:chExt cx="1792447" cy="4882348"/>
                </a:xfrm>
                <a:grpFill/>
              </p:grpSpPr>
              <p:sp>
                <p:nvSpPr>
                  <p:cNvPr id="520" name="Freeform: Shape 313">
                    <a:extLst>
                      <a:ext uri="{FF2B5EF4-FFF2-40B4-BE49-F238E27FC236}">
                        <a16:creationId xmlns:a16="http://schemas.microsoft.com/office/drawing/2014/main" id="{18AACA6B-044E-4DE0-A1B0-8AEAB855435C}"/>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1" name="Freeform: Shape 314">
                    <a:extLst>
                      <a:ext uri="{FF2B5EF4-FFF2-40B4-BE49-F238E27FC236}">
                        <a16:creationId xmlns:a16="http://schemas.microsoft.com/office/drawing/2014/main" id="{C27F08E9-BE5C-4412-8720-129DB0A0FA70}"/>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8" name="Group 437">
              <a:extLst>
                <a:ext uri="{FF2B5EF4-FFF2-40B4-BE49-F238E27FC236}">
                  <a16:creationId xmlns:a16="http://schemas.microsoft.com/office/drawing/2014/main" id="{70890142-3569-473A-832F-558767F2DD9B}"/>
                </a:ext>
              </a:extLst>
            </p:cNvPr>
            <p:cNvGrpSpPr/>
            <p:nvPr/>
          </p:nvGrpSpPr>
          <p:grpSpPr>
            <a:xfrm>
              <a:off x="4413642" y="1914581"/>
              <a:ext cx="396817" cy="396817"/>
              <a:chOff x="4596394" y="1416189"/>
              <a:chExt cx="507244" cy="507244"/>
            </a:xfrm>
          </p:grpSpPr>
          <p:sp>
            <p:nvSpPr>
              <p:cNvPr id="508" name="Oval 507">
                <a:extLst>
                  <a:ext uri="{FF2B5EF4-FFF2-40B4-BE49-F238E27FC236}">
                    <a16:creationId xmlns:a16="http://schemas.microsoft.com/office/drawing/2014/main" id="{A9CE2AC4-C299-4E2F-9222-25489092AFE9}"/>
                  </a:ext>
                </a:extLst>
              </p:cNvPr>
              <p:cNvSpPr/>
              <p:nvPr/>
            </p:nvSpPr>
            <p:spPr>
              <a:xfrm>
                <a:off x="4596394" y="1416189"/>
                <a:ext cx="507244" cy="507244"/>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09" name="Group 508">
                <a:extLst>
                  <a:ext uri="{FF2B5EF4-FFF2-40B4-BE49-F238E27FC236}">
                    <a16:creationId xmlns:a16="http://schemas.microsoft.com/office/drawing/2014/main" id="{BD680461-FA82-4D8F-8BD5-7A40D4367162}"/>
                  </a:ext>
                </a:extLst>
              </p:cNvPr>
              <p:cNvGrpSpPr/>
              <p:nvPr/>
            </p:nvGrpSpPr>
            <p:grpSpPr>
              <a:xfrm>
                <a:off x="4656336" y="1476131"/>
                <a:ext cx="387360" cy="387360"/>
                <a:chOff x="2652535" y="-3571486"/>
                <a:chExt cx="4882348" cy="4882348"/>
              </a:xfrm>
              <a:solidFill>
                <a:schemeClr val="bg2"/>
              </a:solidFill>
            </p:grpSpPr>
            <p:sp>
              <p:nvSpPr>
                <p:cNvPr id="510" name="Freeform: Shape 316">
                  <a:extLst>
                    <a:ext uri="{FF2B5EF4-FFF2-40B4-BE49-F238E27FC236}">
                      <a16:creationId xmlns:a16="http://schemas.microsoft.com/office/drawing/2014/main" id="{31E69456-1D42-4E0A-85FB-8A5C250668B9}"/>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1" name="Freeform: Shape 317">
                  <a:extLst>
                    <a:ext uri="{FF2B5EF4-FFF2-40B4-BE49-F238E27FC236}">
                      <a16:creationId xmlns:a16="http://schemas.microsoft.com/office/drawing/2014/main" id="{94BFB5DF-AE4C-4465-B5FD-F5FB87FECA12}"/>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2" name="Group 511">
                  <a:extLst>
                    <a:ext uri="{FF2B5EF4-FFF2-40B4-BE49-F238E27FC236}">
                      <a16:creationId xmlns:a16="http://schemas.microsoft.com/office/drawing/2014/main" id="{7719C80D-DADA-487F-B8E3-6DEF17D8FE48}"/>
                    </a:ext>
                  </a:extLst>
                </p:cNvPr>
                <p:cNvGrpSpPr/>
                <p:nvPr/>
              </p:nvGrpSpPr>
              <p:grpSpPr>
                <a:xfrm rot="5400000">
                  <a:off x="4197485" y="-3571486"/>
                  <a:ext cx="1792447" cy="4882348"/>
                  <a:chOff x="4197485" y="-3571486"/>
                  <a:chExt cx="1792447" cy="4882348"/>
                </a:xfrm>
                <a:grpFill/>
              </p:grpSpPr>
              <p:sp>
                <p:nvSpPr>
                  <p:cNvPr id="513" name="Freeform: Shape 319">
                    <a:extLst>
                      <a:ext uri="{FF2B5EF4-FFF2-40B4-BE49-F238E27FC236}">
                        <a16:creationId xmlns:a16="http://schemas.microsoft.com/office/drawing/2014/main" id="{71D479D3-E51E-4A38-ABDE-0A071DF8575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4" name="Freeform: Shape 320">
                    <a:extLst>
                      <a:ext uri="{FF2B5EF4-FFF2-40B4-BE49-F238E27FC236}">
                        <a16:creationId xmlns:a16="http://schemas.microsoft.com/office/drawing/2014/main" id="{E735D331-70C1-400C-9326-EA4D68024BFB}"/>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9" name="Group 438">
              <a:extLst>
                <a:ext uri="{FF2B5EF4-FFF2-40B4-BE49-F238E27FC236}">
                  <a16:creationId xmlns:a16="http://schemas.microsoft.com/office/drawing/2014/main" id="{89B6FE3C-095B-4EC4-B9F3-08B8797C98F4}"/>
                </a:ext>
              </a:extLst>
            </p:cNvPr>
            <p:cNvGrpSpPr/>
            <p:nvPr/>
          </p:nvGrpSpPr>
          <p:grpSpPr>
            <a:xfrm>
              <a:off x="4413642" y="2564265"/>
              <a:ext cx="396817" cy="396817"/>
              <a:chOff x="4596394" y="2126443"/>
              <a:chExt cx="507244" cy="507244"/>
            </a:xfrm>
          </p:grpSpPr>
          <p:sp>
            <p:nvSpPr>
              <p:cNvPr id="501" name="Oval 500">
                <a:extLst>
                  <a:ext uri="{FF2B5EF4-FFF2-40B4-BE49-F238E27FC236}">
                    <a16:creationId xmlns:a16="http://schemas.microsoft.com/office/drawing/2014/main" id="{5777650D-9B57-4CFA-B6CF-DF3651C58B11}"/>
                  </a:ext>
                </a:extLst>
              </p:cNvPr>
              <p:cNvSpPr/>
              <p:nvPr/>
            </p:nvSpPr>
            <p:spPr>
              <a:xfrm>
                <a:off x="4596394" y="2126443"/>
                <a:ext cx="507244" cy="507244"/>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02" name="Group 501">
                <a:extLst>
                  <a:ext uri="{FF2B5EF4-FFF2-40B4-BE49-F238E27FC236}">
                    <a16:creationId xmlns:a16="http://schemas.microsoft.com/office/drawing/2014/main" id="{5D20FC79-6FBB-4967-8601-ED6181D5FB9D}"/>
                  </a:ext>
                </a:extLst>
              </p:cNvPr>
              <p:cNvGrpSpPr/>
              <p:nvPr/>
            </p:nvGrpSpPr>
            <p:grpSpPr>
              <a:xfrm>
                <a:off x="4656336" y="2186385"/>
                <a:ext cx="387360" cy="387360"/>
                <a:chOff x="2652535" y="-3571486"/>
                <a:chExt cx="4882348" cy="4882348"/>
              </a:xfrm>
              <a:solidFill>
                <a:schemeClr val="bg2"/>
              </a:solidFill>
            </p:grpSpPr>
            <p:sp>
              <p:nvSpPr>
                <p:cNvPr id="503" name="Freeform: Shape 322">
                  <a:extLst>
                    <a:ext uri="{FF2B5EF4-FFF2-40B4-BE49-F238E27FC236}">
                      <a16:creationId xmlns:a16="http://schemas.microsoft.com/office/drawing/2014/main" id="{043DE606-CE78-4762-85B6-66ED2DA9C2AB}"/>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4" name="Freeform: Shape 323">
                  <a:extLst>
                    <a:ext uri="{FF2B5EF4-FFF2-40B4-BE49-F238E27FC236}">
                      <a16:creationId xmlns:a16="http://schemas.microsoft.com/office/drawing/2014/main" id="{499FDDB3-6530-4BC4-9CA3-03400FBE9DB1}"/>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05" name="Group 504">
                  <a:extLst>
                    <a:ext uri="{FF2B5EF4-FFF2-40B4-BE49-F238E27FC236}">
                      <a16:creationId xmlns:a16="http://schemas.microsoft.com/office/drawing/2014/main" id="{C0FC8086-3DF7-4B20-972E-26389864236B}"/>
                    </a:ext>
                  </a:extLst>
                </p:cNvPr>
                <p:cNvGrpSpPr/>
                <p:nvPr/>
              </p:nvGrpSpPr>
              <p:grpSpPr>
                <a:xfrm rot="5400000">
                  <a:off x="4197485" y="-3571486"/>
                  <a:ext cx="1792447" cy="4882348"/>
                  <a:chOff x="4197485" y="-3571486"/>
                  <a:chExt cx="1792447" cy="4882348"/>
                </a:xfrm>
                <a:grpFill/>
              </p:grpSpPr>
              <p:sp>
                <p:nvSpPr>
                  <p:cNvPr id="506" name="Freeform: Shape 325">
                    <a:extLst>
                      <a:ext uri="{FF2B5EF4-FFF2-40B4-BE49-F238E27FC236}">
                        <a16:creationId xmlns:a16="http://schemas.microsoft.com/office/drawing/2014/main" id="{3990668B-3509-4E04-8CFA-E231CDD396D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7" name="Freeform: Shape 326">
                    <a:extLst>
                      <a:ext uri="{FF2B5EF4-FFF2-40B4-BE49-F238E27FC236}">
                        <a16:creationId xmlns:a16="http://schemas.microsoft.com/office/drawing/2014/main" id="{2D720520-3E98-408A-A376-D3A8BFDAD44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40" name="Group 439">
              <a:extLst>
                <a:ext uri="{FF2B5EF4-FFF2-40B4-BE49-F238E27FC236}">
                  <a16:creationId xmlns:a16="http://schemas.microsoft.com/office/drawing/2014/main" id="{543B5AFA-85EF-4554-B3B0-24715B822CE9}"/>
                </a:ext>
              </a:extLst>
            </p:cNvPr>
            <p:cNvGrpSpPr/>
            <p:nvPr/>
          </p:nvGrpSpPr>
          <p:grpSpPr>
            <a:xfrm>
              <a:off x="6807004" y="1957907"/>
              <a:ext cx="819226" cy="517562"/>
              <a:chOff x="6444145" y="1701124"/>
              <a:chExt cx="1280626" cy="802839"/>
            </a:xfrm>
            <a:solidFill>
              <a:schemeClr val="tx2"/>
            </a:solidFill>
          </p:grpSpPr>
          <p:grpSp>
            <p:nvGrpSpPr>
              <p:cNvPr id="495" name="Group 494">
                <a:extLst>
                  <a:ext uri="{FF2B5EF4-FFF2-40B4-BE49-F238E27FC236}">
                    <a16:creationId xmlns:a16="http://schemas.microsoft.com/office/drawing/2014/main" id="{0ABED0C7-E167-4BEE-8EA8-2A7D0265C401}"/>
                  </a:ext>
                </a:extLst>
              </p:cNvPr>
              <p:cNvGrpSpPr/>
              <p:nvPr/>
            </p:nvGrpSpPr>
            <p:grpSpPr>
              <a:xfrm>
                <a:off x="6444145" y="2041258"/>
                <a:ext cx="1280626" cy="462705"/>
                <a:chOff x="6799745" y="2065165"/>
                <a:chExt cx="1280626" cy="462705"/>
              </a:xfrm>
              <a:grpFill/>
            </p:grpSpPr>
            <p:sp>
              <p:nvSpPr>
                <p:cNvPr id="499" name="Rectangle: Rounded Corners 351">
                  <a:extLst>
                    <a:ext uri="{FF2B5EF4-FFF2-40B4-BE49-F238E27FC236}">
                      <a16:creationId xmlns:a16="http://schemas.microsoft.com/office/drawing/2014/main" id="{6EEE55C2-2F45-4B6B-8105-24BF4D96233B}"/>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0" name="Rectangle: Rounded Corners 353">
                  <a:extLst>
                    <a:ext uri="{FF2B5EF4-FFF2-40B4-BE49-F238E27FC236}">
                      <a16:creationId xmlns:a16="http://schemas.microsoft.com/office/drawing/2014/main" id="{9B14800E-E859-446E-9997-E3531B0CAB75}"/>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6" name="Group 495">
                <a:extLst>
                  <a:ext uri="{FF2B5EF4-FFF2-40B4-BE49-F238E27FC236}">
                    <a16:creationId xmlns:a16="http://schemas.microsoft.com/office/drawing/2014/main" id="{7E1C808C-1610-4066-A009-E0F824BEC39C}"/>
                  </a:ext>
                </a:extLst>
              </p:cNvPr>
              <p:cNvGrpSpPr/>
              <p:nvPr/>
            </p:nvGrpSpPr>
            <p:grpSpPr>
              <a:xfrm>
                <a:off x="6691732" y="1701124"/>
                <a:ext cx="956368" cy="458033"/>
                <a:chOff x="7044558" y="1563201"/>
                <a:chExt cx="964127" cy="461749"/>
              </a:xfrm>
              <a:grpFill/>
            </p:grpSpPr>
            <p:sp>
              <p:nvSpPr>
                <p:cNvPr id="497" name="Rectangle: Rounded Corners 347">
                  <a:extLst>
                    <a:ext uri="{FF2B5EF4-FFF2-40B4-BE49-F238E27FC236}">
                      <a16:creationId xmlns:a16="http://schemas.microsoft.com/office/drawing/2014/main" id="{E8AC8778-54B5-47A9-8B25-EF1E3C9D77EC}"/>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8" name="Rectangle: Rounded Corners 348">
                  <a:extLst>
                    <a:ext uri="{FF2B5EF4-FFF2-40B4-BE49-F238E27FC236}">
                      <a16:creationId xmlns:a16="http://schemas.microsoft.com/office/drawing/2014/main" id="{EC798BCC-6951-4246-A2C7-FCF9DF9CEDC4}"/>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41" name="Group 440">
              <a:extLst>
                <a:ext uri="{FF2B5EF4-FFF2-40B4-BE49-F238E27FC236}">
                  <a16:creationId xmlns:a16="http://schemas.microsoft.com/office/drawing/2014/main" id="{C63B6FA3-3978-4224-AD05-93C4EADB2523}"/>
                </a:ext>
              </a:extLst>
            </p:cNvPr>
            <p:cNvGrpSpPr/>
            <p:nvPr/>
          </p:nvGrpSpPr>
          <p:grpSpPr>
            <a:xfrm>
              <a:off x="6999001" y="2588405"/>
              <a:ext cx="228070" cy="228070"/>
              <a:chOff x="7547191" y="1416189"/>
              <a:chExt cx="507244" cy="507244"/>
            </a:xfrm>
          </p:grpSpPr>
          <p:sp>
            <p:nvSpPr>
              <p:cNvPr id="493" name="Oval 492">
                <a:extLst>
                  <a:ext uri="{FF2B5EF4-FFF2-40B4-BE49-F238E27FC236}">
                    <a16:creationId xmlns:a16="http://schemas.microsoft.com/office/drawing/2014/main" id="{4723C510-30DA-4862-A533-8D77660422C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4" name="Freeform 594">
                <a:extLst>
                  <a:ext uri="{FF2B5EF4-FFF2-40B4-BE49-F238E27FC236}">
                    <a16:creationId xmlns:a16="http://schemas.microsoft.com/office/drawing/2014/main" id="{C0FC5380-4990-4834-BC3B-B2289600229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2" name="Group 441">
              <a:extLst>
                <a:ext uri="{FF2B5EF4-FFF2-40B4-BE49-F238E27FC236}">
                  <a16:creationId xmlns:a16="http://schemas.microsoft.com/office/drawing/2014/main" id="{8D925D69-8DBE-4ABE-B9FB-BED633744961}"/>
                </a:ext>
              </a:extLst>
            </p:cNvPr>
            <p:cNvGrpSpPr/>
            <p:nvPr/>
          </p:nvGrpSpPr>
          <p:grpSpPr>
            <a:xfrm>
              <a:off x="4858902" y="2770027"/>
              <a:ext cx="860793" cy="301990"/>
              <a:chOff x="5119882" y="2533650"/>
              <a:chExt cx="941045" cy="425467"/>
            </a:xfrm>
          </p:grpSpPr>
          <p:sp>
            <p:nvSpPr>
              <p:cNvPr id="489" name="Rounded Rectangle 133">
                <a:extLst>
                  <a:ext uri="{FF2B5EF4-FFF2-40B4-BE49-F238E27FC236}">
                    <a16:creationId xmlns:a16="http://schemas.microsoft.com/office/drawing/2014/main" id="{FF2DD8BC-42E6-42F8-BD2C-DD9034706B27}"/>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490" name="Group 489">
                <a:extLst>
                  <a:ext uri="{FF2B5EF4-FFF2-40B4-BE49-F238E27FC236}">
                    <a16:creationId xmlns:a16="http://schemas.microsoft.com/office/drawing/2014/main" id="{A8192E02-DE98-4FB6-9D91-6DE3385CA2D3}"/>
                  </a:ext>
                </a:extLst>
              </p:cNvPr>
              <p:cNvGrpSpPr/>
              <p:nvPr/>
            </p:nvGrpSpPr>
            <p:grpSpPr>
              <a:xfrm>
                <a:off x="5538458" y="2727217"/>
                <a:ext cx="433750" cy="208020"/>
                <a:chOff x="7583358" y="2759986"/>
                <a:chExt cx="552936" cy="265180"/>
              </a:xfrm>
            </p:grpSpPr>
            <p:pic>
              <p:nvPicPr>
                <p:cNvPr id="491" name="Picture 490">
                  <a:extLst>
                    <a:ext uri="{FF2B5EF4-FFF2-40B4-BE49-F238E27FC236}">
                      <a16:creationId xmlns:a16="http://schemas.microsoft.com/office/drawing/2014/main" id="{76ED62FA-AA91-4E80-81FA-57B33408FE59}"/>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492" name="Picture 491">
                  <a:extLst>
                    <a:ext uri="{FF2B5EF4-FFF2-40B4-BE49-F238E27FC236}">
                      <a16:creationId xmlns:a16="http://schemas.microsoft.com/office/drawing/2014/main" id="{76458EF2-0644-4E3C-B36E-FA2C76D5C060}"/>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443" name="Group 442">
              <a:extLst>
                <a:ext uri="{FF2B5EF4-FFF2-40B4-BE49-F238E27FC236}">
                  <a16:creationId xmlns:a16="http://schemas.microsoft.com/office/drawing/2014/main" id="{773CAD21-9D91-4880-91CB-8632888BA955}"/>
                </a:ext>
              </a:extLst>
            </p:cNvPr>
            <p:cNvGrpSpPr/>
            <p:nvPr/>
          </p:nvGrpSpPr>
          <p:grpSpPr>
            <a:xfrm>
              <a:off x="5413022" y="2657499"/>
              <a:ext cx="228070" cy="228070"/>
              <a:chOff x="7547191" y="1416189"/>
              <a:chExt cx="507244" cy="507244"/>
            </a:xfrm>
          </p:grpSpPr>
          <p:sp>
            <p:nvSpPr>
              <p:cNvPr id="487" name="Oval 486">
                <a:extLst>
                  <a:ext uri="{FF2B5EF4-FFF2-40B4-BE49-F238E27FC236}">
                    <a16:creationId xmlns:a16="http://schemas.microsoft.com/office/drawing/2014/main" id="{848492BE-6AEE-4DE7-8E55-00931E25FB1D}"/>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8" name="Freeform 594">
                <a:extLst>
                  <a:ext uri="{FF2B5EF4-FFF2-40B4-BE49-F238E27FC236}">
                    <a16:creationId xmlns:a16="http://schemas.microsoft.com/office/drawing/2014/main" id="{1B9253D0-2887-4A95-903A-E786E5E94DA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4" name="Group 443">
              <a:extLst>
                <a:ext uri="{FF2B5EF4-FFF2-40B4-BE49-F238E27FC236}">
                  <a16:creationId xmlns:a16="http://schemas.microsoft.com/office/drawing/2014/main" id="{6001D150-F09C-4497-89A7-52FD55C916C5}"/>
                </a:ext>
              </a:extLst>
            </p:cNvPr>
            <p:cNvGrpSpPr/>
            <p:nvPr/>
          </p:nvGrpSpPr>
          <p:grpSpPr>
            <a:xfrm>
              <a:off x="3509160" y="2770027"/>
              <a:ext cx="860793" cy="301990"/>
              <a:chOff x="3644303" y="2533650"/>
              <a:chExt cx="941045" cy="425467"/>
            </a:xfrm>
          </p:grpSpPr>
          <p:sp>
            <p:nvSpPr>
              <p:cNvPr id="483" name="Rounded Rectangle 133">
                <a:extLst>
                  <a:ext uri="{FF2B5EF4-FFF2-40B4-BE49-F238E27FC236}">
                    <a16:creationId xmlns:a16="http://schemas.microsoft.com/office/drawing/2014/main" id="{2E40B311-4BDC-456D-A766-0699C4C3786F}"/>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484" name="Group 483">
                <a:extLst>
                  <a:ext uri="{FF2B5EF4-FFF2-40B4-BE49-F238E27FC236}">
                    <a16:creationId xmlns:a16="http://schemas.microsoft.com/office/drawing/2014/main" id="{248947A1-0973-4E24-9CED-8E13F2C8499B}"/>
                  </a:ext>
                </a:extLst>
              </p:cNvPr>
              <p:cNvGrpSpPr/>
              <p:nvPr/>
            </p:nvGrpSpPr>
            <p:grpSpPr>
              <a:xfrm>
                <a:off x="4086942" y="2727217"/>
                <a:ext cx="433750" cy="208020"/>
                <a:chOff x="7614033" y="2759986"/>
                <a:chExt cx="552936" cy="265180"/>
              </a:xfrm>
            </p:grpSpPr>
            <p:pic>
              <p:nvPicPr>
                <p:cNvPr id="485" name="Picture 484">
                  <a:extLst>
                    <a:ext uri="{FF2B5EF4-FFF2-40B4-BE49-F238E27FC236}">
                      <a16:creationId xmlns:a16="http://schemas.microsoft.com/office/drawing/2014/main" id="{452152A9-8B77-4A34-9E6E-F0601FD50502}"/>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486" name="Picture 485">
                  <a:extLst>
                    <a:ext uri="{FF2B5EF4-FFF2-40B4-BE49-F238E27FC236}">
                      <a16:creationId xmlns:a16="http://schemas.microsoft.com/office/drawing/2014/main" id="{4A0C2DC7-B41E-408C-A6CD-6DAD568A99EC}"/>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445" name="Group 444">
              <a:extLst>
                <a:ext uri="{FF2B5EF4-FFF2-40B4-BE49-F238E27FC236}">
                  <a16:creationId xmlns:a16="http://schemas.microsoft.com/office/drawing/2014/main" id="{C1CB96D0-DEE8-435B-A0A1-FE7D1B35E27F}"/>
                </a:ext>
              </a:extLst>
            </p:cNvPr>
            <p:cNvGrpSpPr/>
            <p:nvPr/>
          </p:nvGrpSpPr>
          <p:grpSpPr>
            <a:xfrm>
              <a:off x="3939637" y="2657113"/>
              <a:ext cx="228070" cy="228070"/>
              <a:chOff x="7547191" y="1416189"/>
              <a:chExt cx="507244" cy="507244"/>
            </a:xfrm>
          </p:grpSpPr>
          <p:sp>
            <p:nvSpPr>
              <p:cNvPr id="481" name="Oval 480">
                <a:extLst>
                  <a:ext uri="{FF2B5EF4-FFF2-40B4-BE49-F238E27FC236}">
                    <a16:creationId xmlns:a16="http://schemas.microsoft.com/office/drawing/2014/main" id="{29746104-574E-4466-A23F-772ECD9FE040}"/>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2" name="Freeform 594">
                <a:extLst>
                  <a:ext uri="{FF2B5EF4-FFF2-40B4-BE49-F238E27FC236}">
                    <a16:creationId xmlns:a16="http://schemas.microsoft.com/office/drawing/2014/main" id="{F5129EEF-8AAC-4651-8416-2BA909CF281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6" name="Rectangle: Rounded Corners 692">
              <a:extLst>
                <a:ext uri="{FF2B5EF4-FFF2-40B4-BE49-F238E27FC236}">
                  <a16:creationId xmlns:a16="http://schemas.microsoft.com/office/drawing/2014/main" id="{FC092C90-E2BA-467F-8EE9-3E251A0DF86A}"/>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447" name="Rectangle: Rounded Corners 705">
              <a:extLst>
                <a:ext uri="{FF2B5EF4-FFF2-40B4-BE49-F238E27FC236}">
                  <a16:creationId xmlns:a16="http://schemas.microsoft.com/office/drawing/2014/main" id="{5CB2C742-01C6-4857-B3D8-C772FCA5A06F}"/>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448" name="Group 4">
              <a:extLst>
                <a:ext uri="{FF2B5EF4-FFF2-40B4-BE49-F238E27FC236}">
                  <a16:creationId xmlns:a16="http://schemas.microsoft.com/office/drawing/2014/main" id="{15D18056-467A-4FA9-8D1A-A5AF6F7C41E9}"/>
                </a:ext>
              </a:extLst>
            </p:cNvPr>
            <p:cNvGrpSpPr>
              <a:grpSpLocks noChangeAspect="1"/>
            </p:cNvGrpSpPr>
            <p:nvPr/>
          </p:nvGrpSpPr>
          <p:grpSpPr bwMode="auto">
            <a:xfrm>
              <a:off x="1353273" y="2463094"/>
              <a:ext cx="248989" cy="188487"/>
              <a:chOff x="740" y="0"/>
              <a:chExt cx="4280" cy="3240"/>
            </a:xfrm>
          </p:grpSpPr>
          <p:sp>
            <p:nvSpPr>
              <p:cNvPr id="477" name="Freeform 5">
                <a:extLst>
                  <a:ext uri="{FF2B5EF4-FFF2-40B4-BE49-F238E27FC236}">
                    <a16:creationId xmlns:a16="http://schemas.microsoft.com/office/drawing/2014/main" id="{65FC7727-8A13-40AE-8AC1-88633514B97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6">
                <a:extLst>
                  <a:ext uri="{FF2B5EF4-FFF2-40B4-BE49-F238E27FC236}">
                    <a16:creationId xmlns:a16="http://schemas.microsoft.com/office/drawing/2014/main" id="{DDF17004-0224-41C3-B951-97523F5150B9}"/>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7">
                <a:extLst>
                  <a:ext uri="{FF2B5EF4-FFF2-40B4-BE49-F238E27FC236}">
                    <a16:creationId xmlns:a16="http://schemas.microsoft.com/office/drawing/2014/main" id="{FDF2E347-99FE-4824-9A46-C403D8281700}"/>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8">
                <a:extLst>
                  <a:ext uri="{FF2B5EF4-FFF2-40B4-BE49-F238E27FC236}">
                    <a16:creationId xmlns:a16="http://schemas.microsoft.com/office/drawing/2014/main" id="{74D41575-10D5-489D-B28B-9CBA612FEE8B}"/>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9" name="Group 448">
              <a:extLst>
                <a:ext uri="{FF2B5EF4-FFF2-40B4-BE49-F238E27FC236}">
                  <a16:creationId xmlns:a16="http://schemas.microsoft.com/office/drawing/2014/main" id="{FA1AF6D8-447B-40BB-9B3D-6F08C9B648EC}"/>
                </a:ext>
              </a:extLst>
            </p:cNvPr>
            <p:cNvGrpSpPr/>
            <p:nvPr/>
          </p:nvGrpSpPr>
          <p:grpSpPr>
            <a:xfrm>
              <a:off x="1390132" y="2956526"/>
              <a:ext cx="167022" cy="230402"/>
              <a:chOff x="858973" y="1403744"/>
              <a:chExt cx="643458" cy="887629"/>
            </a:xfrm>
          </p:grpSpPr>
          <p:grpSp>
            <p:nvGrpSpPr>
              <p:cNvPr id="471" name="Group 470">
                <a:extLst>
                  <a:ext uri="{FF2B5EF4-FFF2-40B4-BE49-F238E27FC236}">
                    <a16:creationId xmlns:a16="http://schemas.microsoft.com/office/drawing/2014/main" id="{F6A03258-BC60-41B2-A973-45E038DB28AB}"/>
                  </a:ext>
                </a:extLst>
              </p:cNvPr>
              <p:cNvGrpSpPr/>
              <p:nvPr/>
            </p:nvGrpSpPr>
            <p:grpSpPr>
              <a:xfrm>
                <a:off x="858973" y="1403744"/>
                <a:ext cx="643458" cy="887629"/>
                <a:chOff x="565417" y="1536835"/>
                <a:chExt cx="996124" cy="1374120"/>
              </a:xfrm>
            </p:grpSpPr>
            <p:sp>
              <p:nvSpPr>
                <p:cNvPr id="473" name="Rounded Rectangle 63">
                  <a:extLst>
                    <a:ext uri="{FF2B5EF4-FFF2-40B4-BE49-F238E27FC236}">
                      <a16:creationId xmlns:a16="http://schemas.microsoft.com/office/drawing/2014/main" id="{1D11127F-F274-4A31-86A0-A6F597D58337}"/>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4" name="Group 473">
                  <a:extLst>
                    <a:ext uri="{FF2B5EF4-FFF2-40B4-BE49-F238E27FC236}">
                      <a16:creationId xmlns:a16="http://schemas.microsoft.com/office/drawing/2014/main" id="{73E11985-FBC5-4740-83CE-CC1E583D5B18}"/>
                    </a:ext>
                  </a:extLst>
                </p:cNvPr>
                <p:cNvGrpSpPr/>
                <p:nvPr/>
              </p:nvGrpSpPr>
              <p:grpSpPr>
                <a:xfrm>
                  <a:off x="565417" y="1536835"/>
                  <a:ext cx="996124" cy="1374120"/>
                  <a:chOff x="352800" y="-7200"/>
                  <a:chExt cx="1984680" cy="2737800"/>
                </a:xfrm>
              </p:grpSpPr>
              <p:sp>
                <p:nvSpPr>
                  <p:cNvPr id="475" name="Freeform: Shape 1">
                    <a:extLst>
                      <a:ext uri="{FF2B5EF4-FFF2-40B4-BE49-F238E27FC236}">
                        <a16:creationId xmlns:a16="http://schemas.microsoft.com/office/drawing/2014/main" id="{6B3412FA-3465-4711-ACEE-DE88DE2B421F}"/>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hangingPunct="0"/>
                    <a:endParaRPr lang="en-US" dirty="0">
                      <a:latin typeface="Arial" pitchFamily="18"/>
                      <a:ea typeface="Arial Unicode MS" pitchFamily="2"/>
                      <a:cs typeface="Arial Unicode MS" pitchFamily="2"/>
                    </a:endParaRPr>
                  </a:p>
                </p:txBody>
              </p:sp>
              <p:sp>
                <p:nvSpPr>
                  <p:cNvPr id="476" name="Freeform 57">
                    <a:extLst>
                      <a:ext uri="{FF2B5EF4-FFF2-40B4-BE49-F238E27FC236}">
                        <a16:creationId xmlns:a16="http://schemas.microsoft.com/office/drawing/2014/main" id="{BAEF2B69-C195-44BF-A5CC-738163E396BC}"/>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hangingPunct="0"/>
                    <a:endParaRPr lang="en-US" dirty="0">
                      <a:latin typeface="Arial" pitchFamily="18"/>
                      <a:ea typeface="Arial Unicode MS" pitchFamily="2"/>
                      <a:cs typeface="Arial Unicode MS" pitchFamily="2"/>
                    </a:endParaRPr>
                  </a:p>
                </p:txBody>
              </p:sp>
            </p:grpSp>
          </p:grpSp>
          <p:sp>
            <p:nvSpPr>
              <p:cNvPr id="472" name="Freeform: Shape 796">
                <a:extLst>
                  <a:ext uri="{FF2B5EF4-FFF2-40B4-BE49-F238E27FC236}">
                    <a16:creationId xmlns:a16="http://schemas.microsoft.com/office/drawing/2014/main" id="{4948C2C3-C430-4A7E-8724-49E422E04777}"/>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hangingPunct="0"/>
                <a:endParaRPr lang="en-US" dirty="0">
                  <a:latin typeface="Arial" pitchFamily="18"/>
                  <a:ea typeface="Arial Unicode MS" pitchFamily="2"/>
                  <a:cs typeface="Arial Unicode MS" pitchFamily="2"/>
                </a:endParaRPr>
              </a:p>
            </p:txBody>
          </p:sp>
        </p:grpSp>
        <p:sp>
          <p:nvSpPr>
            <p:cNvPr id="450" name="TextBox 449">
              <a:extLst>
                <a:ext uri="{FF2B5EF4-FFF2-40B4-BE49-F238E27FC236}">
                  <a16:creationId xmlns:a16="http://schemas.microsoft.com/office/drawing/2014/main" id="{E20BCDB2-51AF-4798-BCD7-35E56E0D843F}"/>
                </a:ext>
              </a:extLst>
            </p:cNvPr>
            <p:cNvSpPr txBox="1"/>
            <p:nvPr/>
          </p:nvSpPr>
          <p:spPr>
            <a:xfrm>
              <a:off x="6892483" y="2117447"/>
              <a:ext cx="800220" cy="369332"/>
            </a:xfrm>
            <a:prstGeom prst="rect">
              <a:avLst/>
            </a:prstGeom>
            <a:noFill/>
          </p:spPr>
          <p:txBody>
            <a:bodyPr wrap="none" rtlCol="0">
              <a:spAutoFit/>
            </a:bodyPr>
            <a:lstStyle/>
            <a:p>
              <a:pPr algn="ctr"/>
              <a:r>
                <a:rPr lang="en-US" sz="900" dirty="0">
                  <a:solidFill>
                    <a:schemeClr val="bg2"/>
                  </a:solidFill>
                </a:rPr>
                <a:t>Centralized </a:t>
              </a:r>
            </a:p>
            <a:p>
              <a:pPr algn="ctr"/>
              <a:r>
                <a:rPr lang="en-US" sz="900" dirty="0">
                  <a:solidFill>
                    <a:schemeClr val="bg2"/>
                  </a:solidFill>
                </a:rPr>
                <a:t>DC</a:t>
              </a:r>
            </a:p>
          </p:txBody>
        </p:sp>
        <p:sp>
          <p:nvSpPr>
            <p:cNvPr id="451" name="TextBox 450">
              <a:extLst>
                <a:ext uri="{FF2B5EF4-FFF2-40B4-BE49-F238E27FC236}">
                  <a16:creationId xmlns:a16="http://schemas.microsoft.com/office/drawing/2014/main" id="{46D7D0DF-4CA4-4B79-AAC1-B1ECA893DB8A}"/>
                </a:ext>
              </a:extLst>
            </p:cNvPr>
            <p:cNvSpPr txBox="1"/>
            <p:nvPr/>
          </p:nvSpPr>
          <p:spPr>
            <a:xfrm>
              <a:off x="6610334" y="2808832"/>
              <a:ext cx="1005404" cy="230832"/>
            </a:xfrm>
            <a:prstGeom prst="rect">
              <a:avLst/>
            </a:prstGeom>
            <a:noFill/>
          </p:spPr>
          <p:txBody>
            <a:bodyPr wrap="none" rtlCol="0">
              <a:spAutoFit/>
            </a:bodyPr>
            <a:lstStyle/>
            <a:p>
              <a:pPr algn="ctr"/>
              <a:r>
                <a:rPr lang="en-US" sz="900" dirty="0"/>
                <a:t>Peering/Internet</a:t>
              </a:r>
            </a:p>
          </p:txBody>
        </p:sp>
        <p:sp>
          <p:nvSpPr>
            <p:cNvPr id="452" name="Rectangle 451">
              <a:extLst>
                <a:ext uri="{FF2B5EF4-FFF2-40B4-BE49-F238E27FC236}">
                  <a16:creationId xmlns:a16="http://schemas.microsoft.com/office/drawing/2014/main" id="{686BF0DC-3F10-4B8E-B886-26575645F808}"/>
                </a:ext>
              </a:extLst>
            </p:cNvPr>
            <p:cNvSpPr/>
            <p:nvPr/>
          </p:nvSpPr>
          <p:spPr>
            <a:xfrm>
              <a:off x="4825353" y="3037150"/>
              <a:ext cx="1001422" cy="184666"/>
            </a:xfrm>
            <a:prstGeom prst="rect">
              <a:avLst/>
            </a:prstGeom>
          </p:spPr>
          <p:txBody>
            <a:bodyPr wrap="square">
              <a:spAutoFit/>
            </a:bodyPr>
            <a:lstStyle/>
            <a:p>
              <a:pPr algn="ctr" defTabSz="457178">
                <a:defRPr/>
              </a:pPr>
              <a:r>
                <a:rPr lang="en-US" sz="600" dirty="0">
                  <a:solidFill>
                    <a:srgbClr val="282828"/>
                  </a:solidFill>
                  <a:latin typeface="+mj-lt"/>
                </a:rPr>
                <a:t>Regional DC</a:t>
              </a:r>
            </a:p>
          </p:txBody>
        </p:sp>
        <p:sp>
          <p:nvSpPr>
            <p:cNvPr id="453" name="Rectangle 452">
              <a:extLst>
                <a:ext uri="{FF2B5EF4-FFF2-40B4-BE49-F238E27FC236}">
                  <a16:creationId xmlns:a16="http://schemas.microsoft.com/office/drawing/2014/main" id="{748048A7-1FF7-444C-AF54-075CB5B0BEEE}"/>
                </a:ext>
              </a:extLst>
            </p:cNvPr>
            <p:cNvSpPr/>
            <p:nvPr/>
          </p:nvSpPr>
          <p:spPr>
            <a:xfrm>
              <a:off x="3470824" y="3037150"/>
              <a:ext cx="1001422" cy="184666"/>
            </a:xfrm>
            <a:prstGeom prst="rect">
              <a:avLst/>
            </a:prstGeom>
          </p:spPr>
          <p:txBody>
            <a:bodyPr wrap="square">
              <a:spAutoFit/>
            </a:bodyPr>
            <a:lstStyle/>
            <a:p>
              <a:pPr algn="ctr" defTabSz="457178">
                <a:defRPr/>
              </a:pPr>
              <a:r>
                <a:rPr lang="en-US" sz="600" dirty="0">
                  <a:solidFill>
                    <a:srgbClr val="282828"/>
                  </a:solidFill>
                  <a:latin typeface="+mj-lt"/>
                </a:rPr>
                <a:t>MEC/CRAN Hub</a:t>
              </a:r>
            </a:p>
          </p:txBody>
        </p:sp>
        <p:pic>
          <p:nvPicPr>
            <p:cNvPr id="454" name="Picture 453">
              <a:extLst>
                <a:ext uri="{FF2B5EF4-FFF2-40B4-BE49-F238E27FC236}">
                  <a16:creationId xmlns:a16="http://schemas.microsoft.com/office/drawing/2014/main" id="{CD6C2954-35B0-4CAE-9435-003A578CEB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455" name="Picture 454">
              <a:extLst>
                <a:ext uri="{FF2B5EF4-FFF2-40B4-BE49-F238E27FC236}">
                  <a16:creationId xmlns:a16="http://schemas.microsoft.com/office/drawing/2014/main" id="{644629DF-F9F5-4492-A6BB-CCD66F0919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56" name="Rectangle: Rounded Corners 455">
              <a:extLst>
                <a:ext uri="{FF2B5EF4-FFF2-40B4-BE49-F238E27FC236}">
                  <a16:creationId xmlns:a16="http://schemas.microsoft.com/office/drawing/2014/main" id="{54AA5980-04C4-492F-8621-45F327D2CBBF}"/>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57" name="Rectangle: Rounded Corners 456">
              <a:extLst>
                <a:ext uri="{FF2B5EF4-FFF2-40B4-BE49-F238E27FC236}">
                  <a16:creationId xmlns:a16="http://schemas.microsoft.com/office/drawing/2014/main" id="{0A090C3F-D22A-4AB5-B59E-A26979BECA42}"/>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58" name="Rectangle: Rounded Corners 457">
              <a:extLst>
                <a:ext uri="{FF2B5EF4-FFF2-40B4-BE49-F238E27FC236}">
                  <a16:creationId xmlns:a16="http://schemas.microsoft.com/office/drawing/2014/main" id="{10921F29-01AD-498D-8D44-C3CC5FB48C8A}"/>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63" name="Oval 462">
              <a:extLst>
                <a:ext uri="{FF2B5EF4-FFF2-40B4-BE49-F238E27FC236}">
                  <a16:creationId xmlns:a16="http://schemas.microsoft.com/office/drawing/2014/main" id="{B08A8156-EFAE-4CAF-8437-5538E20D9E07}"/>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8" name="Freeform 23">
              <a:extLst>
                <a:ext uri="{FF2B5EF4-FFF2-40B4-BE49-F238E27FC236}">
                  <a16:creationId xmlns:a16="http://schemas.microsoft.com/office/drawing/2014/main" id="{8BFA84BE-30F8-4169-82FD-46C3C576A35B}"/>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dirty="0"/>
            </a:p>
          </p:txBody>
        </p:sp>
        <p:sp>
          <p:nvSpPr>
            <p:cNvPr id="469" name="Arc 468">
              <a:extLst>
                <a:ext uri="{FF2B5EF4-FFF2-40B4-BE49-F238E27FC236}">
                  <a16:creationId xmlns:a16="http://schemas.microsoft.com/office/drawing/2014/main" id="{3DD8EC98-66B9-48C2-BCDD-3FB8AEC873C6}"/>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470" name="Picture 469">
              <a:extLst>
                <a:ext uri="{FF2B5EF4-FFF2-40B4-BE49-F238E27FC236}">
                  <a16:creationId xmlns:a16="http://schemas.microsoft.com/office/drawing/2014/main" id="{97701729-C8EF-4672-A468-288A3BBCBAB7}"/>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grpSp>
        <p:nvGrpSpPr>
          <p:cNvPr id="180" name="Group 179">
            <a:extLst>
              <a:ext uri="{FF2B5EF4-FFF2-40B4-BE49-F238E27FC236}">
                <a16:creationId xmlns:a16="http://schemas.microsoft.com/office/drawing/2014/main" id="{129D7A5A-8E3E-4FD2-B0FB-47C49F615B78}"/>
              </a:ext>
            </a:extLst>
          </p:cNvPr>
          <p:cNvGrpSpPr/>
          <p:nvPr/>
        </p:nvGrpSpPr>
        <p:grpSpPr>
          <a:xfrm>
            <a:off x="2085125" y="1138670"/>
            <a:ext cx="5019081" cy="556743"/>
            <a:chOff x="2239219" y="3481266"/>
            <a:chExt cx="1260000" cy="556743"/>
          </a:xfrm>
        </p:grpSpPr>
        <p:sp>
          <p:nvSpPr>
            <p:cNvPr id="181" name="Rectangle 180">
              <a:extLst>
                <a:ext uri="{FF2B5EF4-FFF2-40B4-BE49-F238E27FC236}">
                  <a16:creationId xmlns:a16="http://schemas.microsoft.com/office/drawing/2014/main" id="{FBADDD96-E7B0-4E66-9B4A-0F1F5FC7527D}"/>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Automation</a:t>
              </a:r>
            </a:p>
          </p:txBody>
        </p:sp>
        <p:sp>
          <p:nvSpPr>
            <p:cNvPr id="182" name="Rectangle 181">
              <a:extLst>
                <a:ext uri="{FF2B5EF4-FFF2-40B4-BE49-F238E27FC236}">
                  <a16:creationId xmlns:a16="http://schemas.microsoft.com/office/drawing/2014/main" id="{709758CA-A3A5-4E35-A024-3AEB70BEC6E8}"/>
                </a:ext>
              </a:extLst>
            </p:cNvPr>
            <p:cNvSpPr/>
            <p:nvPr/>
          </p:nvSpPr>
          <p:spPr>
            <a:xfrm>
              <a:off x="2239219" y="3865599"/>
              <a:ext cx="1260000" cy="17241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SO/SR-PCE + Crosswork + WAE + XRv9000 + EPN-M</a:t>
              </a:r>
            </a:p>
          </p:txBody>
        </p:sp>
      </p:grpSp>
      <p:grpSp>
        <p:nvGrpSpPr>
          <p:cNvPr id="184" name="Group 183">
            <a:extLst>
              <a:ext uri="{FF2B5EF4-FFF2-40B4-BE49-F238E27FC236}">
                <a16:creationId xmlns:a16="http://schemas.microsoft.com/office/drawing/2014/main" id="{B955982E-0C5C-462C-9CBE-54EA46E48CCA}"/>
              </a:ext>
            </a:extLst>
          </p:cNvPr>
          <p:cNvGrpSpPr/>
          <p:nvPr/>
        </p:nvGrpSpPr>
        <p:grpSpPr>
          <a:xfrm>
            <a:off x="2085125" y="4523816"/>
            <a:ext cx="5019081" cy="391643"/>
            <a:chOff x="2239219" y="3481266"/>
            <a:chExt cx="1260000" cy="391643"/>
          </a:xfrm>
        </p:grpSpPr>
        <p:sp>
          <p:nvSpPr>
            <p:cNvPr id="185" name="Rectangle 184">
              <a:extLst>
                <a:ext uri="{FF2B5EF4-FFF2-40B4-BE49-F238E27FC236}">
                  <a16:creationId xmlns:a16="http://schemas.microsoft.com/office/drawing/2014/main" id="{DFD20DB4-55DD-40EF-A1E4-CB7954644276}"/>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Security</a:t>
              </a:r>
            </a:p>
          </p:txBody>
        </p:sp>
        <p:sp>
          <p:nvSpPr>
            <p:cNvPr id="186" name="Rectangle 185">
              <a:extLst>
                <a:ext uri="{FF2B5EF4-FFF2-40B4-BE49-F238E27FC236}">
                  <a16:creationId xmlns:a16="http://schemas.microsoft.com/office/drawing/2014/main" id="{9DE1876F-72DF-45BA-BC8F-B2823BFDA594}"/>
                </a:ext>
              </a:extLst>
            </p:cNvPr>
            <p:cNvSpPr/>
            <p:nvPr/>
          </p:nvSpPr>
          <p:spPr>
            <a:xfrm>
              <a:off x="2239219" y="3700499"/>
              <a:ext cx="1260000" cy="17241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Stealthwatch + Umbrella + ISE + Firepower Threat Defense + DDOS</a:t>
              </a:r>
            </a:p>
          </p:txBody>
        </p:sp>
      </p:grpSp>
      <p:grpSp>
        <p:nvGrpSpPr>
          <p:cNvPr id="187" name="Group 186">
            <a:extLst>
              <a:ext uri="{FF2B5EF4-FFF2-40B4-BE49-F238E27FC236}">
                <a16:creationId xmlns:a16="http://schemas.microsoft.com/office/drawing/2014/main" id="{A231DD56-C36A-4147-A502-8CAAD6A60A13}"/>
              </a:ext>
            </a:extLst>
          </p:cNvPr>
          <p:cNvGrpSpPr/>
          <p:nvPr/>
        </p:nvGrpSpPr>
        <p:grpSpPr>
          <a:xfrm>
            <a:off x="7780136" y="1518463"/>
            <a:ext cx="1260000" cy="950912"/>
            <a:chOff x="6757222" y="3481266"/>
            <a:chExt cx="1260000" cy="950912"/>
          </a:xfrm>
        </p:grpSpPr>
        <p:sp>
          <p:nvSpPr>
            <p:cNvPr id="188" name="Rectangle 187">
              <a:extLst>
                <a:ext uri="{FF2B5EF4-FFF2-40B4-BE49-F238E27FC236}">
                  <a16:creationId xmlns:a16="http://schemas.microsoft.com/office/drawing/2014/main" id="{079599D5-E1E3-441E-AC5B-BBCE39211D5C}"/>
                </a:ext>
              </a:extLst>
            </p:cNvPr>
            <p:cNvSpPr/>
            <p:nvPr/>
          </p:nvSpPr>
          <p:spPr>
            <a:xfrm>
              <a:off x="6784284"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Mobile Core</a:t>
              </a:r>
            </a:p>
          </p:txBody>
        </p:sp>
        <p:sp>
          <p:nvSpPr>
            <p:cNvPr id="189" name="Rectangle 188">
              <a:extLst>
                <a:ext uri="{FF2B5EF4-FFF2-40B4-BE49-F238E27FC236}">
                  <a16:creationId xmlns:a16="http://schemas.microsoft.com/office/drawing/2014/main" id="{7D07819D-3977-4333-87B4-B1D5A26B109B}"/>
                </a:ext>
              </a:extLst>
            </p:cNvPr>
            <p:cNvSpPr/>
            <p:nvPr/>
          </p:nvSpPr>
          <p:spPr>
            <a:xfrm>
              <a:off x="6757222" y="3865599"/>
              <a:ext cx="1260000" cy="56657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EPC</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PCRF</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CVIM</a:t>
              </a:r>
            </a:p>
          </p:txBody>
        </p:sp>
      </p:grpSp>
      <p:grpSp>
        <p:nvGrpSpPr>
          <p:cNvPr id="8" name="Group 7">
            <a:extLst>
              <a:ext uri="{FF2B5EF4-FFF2-40B4-BE49-F238E27FC236}">
                <a16:creationId xmlns:a16="http://schemas.microsoft.com/office/drawing/2014/main" id="{72A656B9-A884-404B-8BC7-A6288FB730AA}"/>
              </a:ext>
            </a:extLst>
          </p:cNvPr>
          <p:cNvGrpSpPr/>
          <p:nvPr/>
        </p:nvGrpSpPr>
        <p:grpSpPr>
          <a:xfrm>
            <a:off x="7771198" y="2518232"/>
            <a:ext cx="1260000" cy="924333"/>
            <a:chOff x="6757222" y="3481266"/>
            <a:chExt cx="1260000" cy="924333"/>
          </a:xfrm>
        </p:grpSpPr>
        <p:sp>
          <p:nvSpPr>
            <p:cNvPr id="231" name="Rectangle 230">
              <a:extLst>
                <a:ext uri="{FF2B5EF4-FFF2-40B4-BE49-F238E27FC236}">
                  <a16:creationId xmlns:a16="http://schemas.microsoft.com/office/drawing/2014/main" id="{A2A014CF-975E-4E76-BB56-7E9A6CFEE298}"/>
                </a:ext>
              </a:extLst>
            </p:cNvPr>
            <p:cNvSpPr/>
            <p:nvPr/>
          </p:nvSpPr>
          <p:spPr>
            <a:xfrm>
              <a:off x="6784284"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DC / MEC</a:t>
              </a:r>
            </a:p>
          </p:txBody>
        </p:sp>
        <p:sp>
          <p:nvSpPr>
            <p:cNvPr id="232" name="Rectangle 231">
              <a:extLst>
                <a:ext uri="{FF2B5EF4-FFF2-40B4-BE49-F238E27FC236}">
                  <a16:creationId xmlns:a16="http://schemas.microsoft.com/office/drawing/2014/main" id="{36DDCDAC-63F4-43A9-8B80-441C7CD785B8}"/>
                </a:ext>
              </a:extLst>
            </p:cNvPr>
            <p:cNvSpPr/>
            <p:nvPr/>
          </p:nvSpPr>
          <p:spPr>
            <a:xfrm>
              <a:off x="6757222"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ACI (N9xxx)</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UCS Compute</a:t>
              </a:r>
            </a:p>
          </p:txBody>
        </p:sp>
      </p:grpSp>
      <p:grpSp>
        <p:nvGrpSpPr>
          <p:cNvPr id="193" name="Group 192">
            <a:extLst>
              <a:ext uri="{FF2B5EF4-FFF2-40B4-BE49-F238E27FC236}">
                <a16:creationId xmlns:a16="http://schemas.microsoft.com/office/drawing/2014/main" id="{667774C5-AFC3-4638-AA1F-0BCD5BA03097}"/>
              </a:ext>
            </a:extLst>
          </p:cNvPr>
          <p:cNvGrpSpPr/>
          <p:nvPr/>
        </p:nvGrpSpPr>
        <p:grpSpPr>
          <a:xfrm>
            <a:off x="6748582" y="3483065"/>
            <a:ext cx="1260000" cy="924333"/>
            <a:chOff x="5251221" y="3481266"/>
            <a:chExt cx="1260000" cy="924333"/>
          </a:xfrm>
        </p:grpSpPr>
        <p:sp>
          <p:nvSpPr>
            <p:cNvPr id="194" name="Rectangle 193">
              <a:extLst>
                <a:ext uri="{FF2B5EF4-FFF2-40B4-BE49-F238E27FC236}">
                  <a16:creationId xmlns:a16="http://schemas.microsoft.com/office/drawing/2014/main" id="{2300343D-DF9C-46A9-9B39-90C0E774B11B}"/>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Optical</a:t>
              </a:r>
            </a:p>
          </p:txBody>
        </p:sp>
        <p:sp>
          <p:nvSpPr>
            <p:cNvPr id="195" name="Rectangle 194">
              <a:extLst>
                <a:ext uri="{FF2B5EF4-FFF2-40B4-BE49-F238E27FC236}">
                  <a16:creationId xmlns:a16="http://schemas.microsoft.com/office/drawing/2014/main" id="{F41F4217-B825-4C80-BB08-6B0BC28AF475}"/>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1k</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2k</a:t>
              </a:r>
            </a:p>
          </p:txBody>
        </p:sp>
      </p:grpSp>
      <p:sp>
        <p:nvSpPr>
          <p:cNvPr id="213" name="Oval 212">
            <a:extLst>
              <a:ext uri="{FF2B5EF4-FFF2-40B4-BE49-F238E27FC236}">
                <a16:creationId xmlns:a16="http://schemas.microsoft.com/office/drawing/2014/main" id="{CA73C6C7-658F-4678-BE10-779231116155}"/>
              </a:ext>
            </a:extLst>
          </p:cNvPr>
          <p:cNvSpPr/>
          <p:nvPr/>
        </p:nvSpPr>
        <p:spPr>
          <a:xfrm flipV="1">
            <a:off x="5544508" y="2125376"/>
            <a:ext cx="965383" cy="566121"/>
          </a:xfrm>
          <a:prstGeom prst="ellipse">
            <a:avLst/>
          </a:prstGeom>
          <a:noFill/>
          <a:ln w="25400" cap="flat" cmpd="sng" algn="ctr">
            <a:gradFill>
              <a:gsLst>
                <a:gs pos="0">
                  <a:srgbClr val="C00000"/>
                </a:gs>
                <a:gs pos="20000">
                  <a:srgbClr val="FFC000"/>
                </a:gs>
                <a:gs pos="10000">
                  <a:srgbClr val="FF0000"/>
                </a:gs>
                <a:gs pos="31000">
                  <a:srgbClr val="FFFF00"/>
                </a:gs>
                <a:gs pos="99115">
                  <a:srgbClr val="7030A0"/>
                </a:gs>
                <a:gs pos="89000">
                  <a:srgbClr val="002060"/>
                </a:gs>
                <a:gs pos="78000">
                  <a:srgbClr val="0070C0"/>
                </a:gs>
                <a:gs pos="68000">
                  <a:srgbClr val="00B0F0"/>
                </a:gs>
                <a:gs pos="56000">
                  <a:srgbClr val="00B050"/>
                </a:gs>
                <a:gs pos="45000">
                  <a:srgbClr val="92D050"/>
                </a:gs>
              </a:gsLst>
              <a:lin ang="5400000" scaled="1"/>
            </a:gradFill>
            <a:prstDash val="solid"/>
          </a:ln>
          <a:effectLst/>
        </p:spPr>
        <p:txBody>
          <a:bodyPr rtlCol="0" anchor="ctr"/>
          <a:lstStyle/>
          <a:p>
            <a:pPr algn="ctr" defTabSz="914378">
              <a:defRPr/>
            </a:pPr>
            <a:endParaRPr lang="en-US" kern="0" dirty="0">
              <a:solidFill>
                <a:srgbClr val="005073"/>
              </a:solidFill>
              <a:latin typeface="CiscoSansTT ExtraLight"/>
            </a:endParaRPr>
          </a:p>
        </p:txBody>
      </p:sp>
      <p:grpSp>
        <p:nvGrpSpPr>
          <p:cNvPr id="191" name="Group 190">
            <a:extLst>
              <a:ext uri="{FF2B5EF4-FFF2-40B4-BE49-F238E27FC236}">
                <a16:creationId xmlns:a16="http://schemas.microsoft.com/office/drawing/2014/main" id="{C4263389-1BF3-440F-B9BD-435AC43434A1}"/>
              </a:ext>
            </a:extLst>
          </p:cNvPr>
          <p:cNvGrpSpPr/>
          <p:nvPr/>
        </p:nvGrpSpPr>
        <p:grpSpPr>
          <a:xfrm>
            <a:off x="5457146" y="2103801"/>
            <a:ext cx="299337" cy="299339"/>
            <a:chOff x="4083769" y="2552776"/>
            <a:chExt cx="529089" cy="529089"/>
          </a:xfrm>
        </p:grpSpPr>
        <p:sp>
          <p:nvSpPr>
            <p:cNvPr id="192" name="Oval 191">
              <a:extLst>
                <a:ext uri="{FF2B5EF4-FFF2-40B4-BE49-F238E27FC236}">
                  <a16:creationId xmlns:a16="http://schemas.microsoft.com/office/drawing/2014/main" id="{338C5387-1AF4-421E-8F5B-D2D137376CCA}"/>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6" name="Freeform: Shape 298">
              <a:extLst>
                <a:ext uri="{FF2B5EF4-FFF2-40B4-BE49-F238E27FC236}">
                  <a16:creationId xmlns:a16="http://schemas.microsoft.com/office/drawing/2014/main" id="{7F4DA408-21D8-4E72-A284-363B3DE13A8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97" name="Freeform: Shape 299">
              <a:extLst>
                <a:ext uri="{FF2B5EF4-FFF2-40B4-BE49-F238E27FC236}">
                  <a16:creationId xmlns:a16="http://schemas.microsoft.com/office/drawing/2014/main" id="{B59423DD-5E07-4B5C-A1B7-0EA39EA34A5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98" name="Freeform: Shape 301">
              <a:extLst>
                <a:ext uri="{FF2B5EF4-FFF2-40B4-BE49-F238E27FC236}">
                  <a16:creationId xmlns:a16="http://schemas.microsoft.com/office/drawing/2014/main" id="{FFBAE51F-D623-4337-9A4B-935F540E3B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99" name="Freeform: Shape 302">
              <a:extLst>
                <a:ext uri="{FF2B5EF4-FFF2-40B4-BE49-F238E27FC236}">
                  <a16:creationId xmlns:a16="http://schemas.microsoft.com/office/drawing/2014/main" id="{8E01DF41-7F0D-43E3-925D-A904AFFDA4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00" name="Group 199">
            <a:extLst>
              <a:ext uri="{FF2B5EF4-FFF2-40B4-BE49-F238E27FC236}">
                <a16:creationId xmlns:a16="http://schemas.microsoft.com/office/drawing/2014/main" id="{DA7F1DCA-C426-4186-A053-9FDE4E7C1AEA}"/>
              </a:ext>
            </a:extLst>
          </p:cNvPr>
          <p:cNvGrpSpPr/>
          <p:nvPr/>
        </p:nvGrpSpPr>
        <p:grpSpPr>
          <a:xfrm>
            <a:off x="5889962" y="2579731"/>
            <a:ext cx="299337" cy="299339"/>
            <a:chOff x="4083769" y="2552776"/>
            <a:chExt cx="529089" cy="529089"/>
          </a:xfrm>
        </p:grpSpPr>
        <p:sp>
          <p:nvSpPr>
            <p:cNvPr id="202" name="Oval 201">
              <a:extLst>
                <a:ext uri="{FF2B5EF4-FFF2-40B4-BE49-F238E27FC236}">
                  <a16:creationId xmlns:a16="http://schemas.microsoft.com/office/drawing/2014/main" id="{92FC66C8-6242-4AB0-AE31-3895605CD65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3" name="Freeform: Shape 298">
              <a:extLst>
                <a:ext uri="{FF2B5EF4-FFF2-40B4-BE49-F238E27FC236}">
                  <a16:creationId xmlns:a16="http://schemas.microsoft.com/office/drawing/2014/main" id="{725B9FAE-A8C0-4025-8953-40ABC11CBB7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04" name="Freeform: Shape 299">
              <a:extLst>
                <a:ext uri="{FF2B5EF4-FFF2-40B4-BE49-F238E27FC236}">
                  <a16:creationId xmlns:a16="http://schemas.microsoft.com/office/drawing/2014/main" id="{7DA1F382-1A3C-4CEF-935D-A76155FE72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05" name="Freeform: Shape 301">
              <a:extLst>
                <a:ext uri="{FF2B5EF4-FFF2-40B4-BE49-F238E27FC236}">
                  <a16:creationId xmlns:a16="http://schemas.microsoft.com/office/drawing/2014/main" id="{C9EB153C-274F-4E00-A6B5-41A34B4D925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06" name="Freeform: Shape 302">
              <a:extLst>
                <a:ext uri="{FF2B5EF4-FFF2-40B4-BE49-F238E27FC236}">
                  <a16:creationId xmlns:a16="http://schemas.microsoft.com/office/drawing/2014/main" id="{1D0331D3-22C6-46A0-800E-FAC5A2988FE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07" name="Group 206">
            <a:extLst>
              <a:ext uri="{FF2B5EF4-FFF2-40B4-BE49-F238E27FC236}">
                <a16:creationId xmlns:a16="http://schemas.microsoft.com/office/drawing/2014/main" id="{44197B3F-C853-4D7E-B1FE-FD5C7CE1D883}"/>
              </a:ext>
            </a:extLst>
          </p:cNvPr>
          <p:cNvGrpSpPr/>
          <p:nvPr/>
        </p:nvGrpSpPr>
        <p:grpSpPr>
          <a:xfrm>
            <a:off x="6285455" y="2103504"/>
            <a:ext cx="299337" cy="299339"/>
            <a:chOff x="4083769" y="2552776"/>
            <a:chExt cx="529089" cy="529089"/>
          </a:xfrm>
        </p:grpSpPr>
        <p:sp>
          <p:nvSpPr>
            <p:cNvPr id="208" name="Oval 207">
              <a:extLst>
                <a:ext uri="{FF2B5EF4-FFF2-40B4-BE49-F238E27FC236}">
                  <a16:creationId xmlns:a16="http://schemas.microsoft.com/office/drawing/2014/main" id="{35FB6A0B-1BF0-4EC7-88EC-64C88C8D2FA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Freeform: Shape 298">
              <a:extLst>
                <a:ext uri="{FF2B5EF4-FFF2-40B4-BE49-F238E27FC236}">
                  <a16:creationId xmlns:a16="http://schemas.microsoft.com/office/drawing/2014/main" id="{789B635D-19E5-4D77-8230-CC0C92AC013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0" name="Freeform: Shape 299">
              <a:extLst>
                <a:ext uri="{FF2B5EF4-FFF2-40B4-BE49-F238E27FC236}">
                  <a16:creationId xmlns:a16="http://schemas.microsoft.com/office/drawing/2014/main" id="{6FB8B786-1C19-4C1C-9259-55602A75F05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1" name="Freeform: Shape 301">
              <a:extLst>
                <a:ext uri="{FF2B5EF4-FFF2-40B4-BE49-F238E27FC236}">
                  <a16:creationId xmlns:a16="http://schemas.microsoft.com/office/drawing/2014/main" id="{37423115-8B68-40A8-82F9-1F4B6B698A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2" name="Freeform: Shape 302">
              <a:extLst>
                <a:ext uri="{FF2B5EF4-FFF2-40B4-BE49-F238E27FC236}">
                  <a16:creationId xmlns:a16="http://schemas.microsoft.com/office/drawing/2014/main" id="{0C8F8C26-1A68-4D12-96EA-2E88A8F07B1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14" name="Group 213">
            <a:extLst>
              <a:ext uri="{FF2B5EF4-FFF2-40B4-BE49-F238E27FC236}">
                <a16:creationId xmlns:a16="http://schemas.microsoft.com/office/drawing/2014/main" id="{0C331C78-5CA6-4AD5-97C9-A0DD5D3FE457}"/>
              </a:ext>
            </a:extLst>
          </p:cNvPr>
          <p:cNvGrpSpPr/>
          <p:nvPr/>
        </p:nvGrpSpPr>
        <p:grpSpPr>
          <a:xfrm>
            <a:off x="6694657" y="2585845"/>
            <a:ext cx="299337" cy="299339"/>
            <a:chOff x="4083769" y="2552776"/>
            <a:chExt cx="529089" cy="529089"/>
          </a:xfrm>
        </p:grpSpPr>
        <p:sp>
          <p:nvSpPr>
            <p:cNvPr id="215" name="Oval 214">
              <a:extLst>
                <a:ext uri="{FF2B5EF4-FFF2-40B4-BE49-F238E27FC236}">
                  <a16:creationId xmlns:a16="http://schemas.microsoft.com/office/drawing/2014/main" id="{57B611A5-3413-4292-80D0-736340C5CD36}"/>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16" name="Freeform: Shape 298">
              <a:extLst>
                <a:ext uri="{FF2B5EF4-FFF2-40B4-BE49-F238E27FC236}">
                  <a16:creationId xmlns:a16="http://schemas.microsoft.com/office/drawing/2014/main" id="{25C60DD7-4458-4071-85B0-8EBFC59872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7" name="Freeform: Shape 299">
              <a:extLst>
                <a:ext uri="{FF2B5EF4-FFF2-40B4-BE49-F238E27FC236}">
                  <a16:creationId xmlns:a16="http://schemas.microsoft.com/office/drawing/2014/main" id="{29229958-9C60-4625-8BF7-DF1673DDCB5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8" name="Freeform: Shape 301">
              <a:extLst>
                <a:ext uri="{FF2B5EF4-FFF2-40B4-BE49-F238E27FC236}">
                  <a16:creationId xmlns:a16="http://schemas.microsoft.com/office/drawing/2014/main" id="{499C5114-1EF1-499D-B6D4-6FF2DFDC925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9" name="Freeform: Shape 302">
              <a:extLst>
                <a:ext uri="{FF2B5EF4-FFF2-40B4-BE49-F238E27FC236}">
                  <a16:creationId xmlns:a16="http://schemas.microsoft.com/office/drawing/2014/main" id="{55ADF633-7A9A-45CC-8A65-858B953BF9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72" name="Group 271">
            <a:extLst>
              <a:ext uri="{FF2B5EF4-FFF2-40B4-BE49-F238E27FC236}">
                <a16:creationId xmlns:a16="http://schemas.microsoft.com/office/drawing/2014/main" id="{D63E5332-89D9-402F-908A-113748847085}"/>
              </a:ext>
            </a:extLst>
          </p:cNvPr>
          <p:cNvGrpSpPr/>
          <p:nvPr/>
        </p:nvGrpSpPr>
        <p:grpSpPr>
          <a:xfrm>
            <a:off x="1805698" y="2192502"/>
            <a:ext cx="485160" cy="541185"/>
            <a:chOff x="1888588" y="1025862"/>
            <a:chExt cx="485160" cy="541185"/>
          </a:xfrm>
        </p:grpSpPr>
        <p:grpSp>
          <p:nvGrpSpPr>
            <p:cNvPr id="273" name="Group 272">
              <a:extLst>
                <a:ext uri="{FF2B5EF4-FFF2-40B4-BE49-F238E27FC236}">
                  <a16:creationId xmlns:a16="http://schemas.microsoft.com/office/drawing/2014/main" id="{CF137B19-CCE8-405B-8796-A549CA4B122F}"/>
                </a:ext>
              </a:extLst>
            </p:cNvPr>
            <p:cNvGrpSpPr/>
            <p:nvPr/>
          </p:nvGrpSpPr>
          <p:grpSpPr>
            <a:xfrm>
              <a:off x="1888588" y="1025862"/>
              <a:ext cx="269059" cy="273863"/>
              <a:chOff x="3215227" y="2066982"/>
              <a:chExt cx="396817" cy="396817"/>
            </a:xfrm>
          </p:grpSpPr>
          <p:sp>
            <p:nvSpPr>
              <p:cNvPr id="286" name="Oval 285">
                <a:extLst>
                  <a:ext uri="{FF2B5EF4-FFF2-40B4-BE49-F238E27FC236}">
                    <a16:creationId xmlns:a16="http://schemas.microsoft.com/office/drawing/2014/main" id="{2C9F328D-FE43-418C-853C-C4F910BDA5BA}"/>
                  </a:ext>
                </a:extLst>
              </p:cNvPr>
              <p:cNvSpPr/>
              <p:nvPr/>
            </p:nvSpPr>
            <p:spPr>
              <a:xfrm>
                <a:off x="3215227" y="2066982"/>
                <a:ext cx="396817" cy="39681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87" name="Freeform: Shape 298">
                <a:extLst>
                  <a:ext uri="{FF2B5EF4-FFF2-40B4-BE49-F238E27FC236}">
                    <a16:creationId xmlns:a16="http://schemas.microsoft.com/office/drawing/2014/main" id="{23016752-9502-44F2-BAAB-43EFB9EE513B}"/>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88" name="Freeform: Shape 299">
                <a:extLst>
                  <a:ext uri="{FF2B5EF4-FFF2-40B4-BE49-F238E27FC236}">
                    <a16:creationId xmlns:a16="http://schemas.microsoft.com/office/drawing/2014/main" id="{24B1E44A-E48E-4CCE-982C-5F2F96C31190}"/>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89" name="Freeform: Shape 301">
                <a:extLst>
                  <a:ext uri="{FF2B5EF4-FFF2-40B4-BE49-F238E27FC236}">
                    <a16:creationId xmlns:a16="http://schemas.microsoft.com/office/drawing/2014/main" id="{CAC00012-D58F-4466-85D9-53061BF41F27}"/>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90" name="Freeform: Shape 302">
                <a:extLst>
                  <a:ext uri="{FF2B5EF4-FFF2-40B4-BE49-F238E27FC236}">
                    <a16:creationId xmlns:a16="http://schemas.microsoft.com/office/drawing/2014/main" id="{BAD70A49-8F97-40F8-8B86-B66458360198}"/>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74" name="Group 273">
              <a:extLst>
                <a:ext uri="{FF2B5EF4-FFF2-40B4-BE49-F238E27FC236}">
                  <a16:creationId xmlns:a16="http://schemas.microsoft.com/office/drawing/2014/main" id="{57E43213-A397-43FF-8C24-6C8E02B7AE04}"/>
                </a:ext>
              </a:extLst>
            </p:cNvPr>
            <p:cNvGrpSpPr/>
            <p:nvPr/>
          </p:nvGrpSpPr>
          <p:grpSpPr>
            <a:xfrm>
              <a:off x="1996638" y="1159523"/>
              <a:ext cx="269059" cy="273863"/>
              <a:chOff x="3215227" y="2066982"/>
              <a:chExt cx="396817" cy="396817"/>
            </a:xfrm>
          </p:grpSpPr>
          <p:sp>
            <p:nvSpPr>
              <p:cNvPr id="281" name="Oval 280">
                <a:extLst>
                  <a:ext uri="{FF2B5EF4-FFF2-40B4-BE49-F238E27FC236}">
                    <a16:creationId xmlns:a16="http://schemas.microsoft.com/office/drawing/2014/main" id="{3C4ADF2D-1CBD-455B-9D6D-9209DD70C435}"/>
                  </a:ext>
                </a:extLst>
              </p:cNvPr>
              <p:cNvSpPr/>
              <p:nvPr/>
            </p:nvSpPr>
            <p:spPr>
              <a:xfrm>
                <a:off x="3215227" y="2066982"/>
                <a:ext cx="396817" cy="39681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82" name="Freeform: Shape 298">
                <a:extLst>
                  <a:ext uri="{FF2B5EF4-FFF2-40B4-BE49-F238E27FC236}">
                    <a16:creationId xmlns:a16="http://schemas.microsoft.com/office/drawing/2014/main" id="{EE872D4F-F29E-496F-AE85-A5173CA83741}"/>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83" name="Freeform: Shape 299">
                <a:extLst>
                  <a:ext uri="{FF2B5EF4-FFF2-40B4-BE49-F238E27FC236}">
                    <a16:creationId xmlns:a16="http://schemas.microsoft.com/office/drawing/2014/main" id="{09E62D18-4519-419B-BB51-D8B0767B293B}"/>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84" name="Freeform: Shape 301">
                <a:extLst>
                  <a:ext uri="{FF2B5EF4-FFF2-40B4-BE49-F238E27FC236}">
                    <a16:creationId xmlns:a16="http://schemas.microsoft.com/office/drawing/2014/main" id="{8A84D20D-D36A-4286-BFC0-A0BC8E33B05B}"/>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85" name="Freeform: Shape 302">
                <a:extLst>
                  <a:ext uri="{FF2B5EF4-FFF2-40B4-BE49-F238E27FC236}">
                    <a16:creationId xmlns:a16="http://schemas.microsoft.com/office/drawing/2014/main" id="{F5278E15-3D2D-4F55-BC06-59383A53414B}"/>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75" name="Group 274">
              <a:extLst>
                <a:ext uri="{FF2B5EF4-FFF2-40B4-BE49-F238E27FC236}">
                  <a16:creationId xmlns:a16="http://schemas.microsoft.com/office/drawing/2014/main" id="{95976EEA-1BCD-4671-9B59-FB586039CCE0}"/>
                </a:ext>
              </a:extLst>
            </p:cNvPr>
            <p:cNvGrpSpPr/>
            <p:nvPr/>
          </p:nvGrpSpPr>
          <p:grpSpPr>
            <a:xfrm>
              <a:off x="2104689" y="1293184"/>
              <a:ext cx="269059" cy="273863"/>
              <a:chOff x="3215227" y="2066982"/>
              <a:chExt cx="396817" cy="396817"/>
            </a:xfrm>
          </p:grpSpPr>
          <p:sp>
            <p:nvSpPr>
              <p:cNvPr id="276" name="Oval 275">
                <a:extLst>
                  <a:ext uri="{FF2B5EF4-FFF2-40B4-BE49-F238E27FC236}">
                    <a16:creationId xmlns:a16="http://schemas.microsoft.com/office/drawing/2014/main" id="{9801C5CD-487A-4E0B-871A-F193B4BB625A}"/>
                  </a:ext>
                </a:extLst>
              </p:cNvPr>
              <p:cNvSpPr/>
              <p:nvPr/>
            </p:nvSpPr>
            <p:spPr>
              <a:xfrm>
                <a:off x="3215227" y="2066982"/>
                <a:ext cx="396817" cy="39681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77" name="Freeform: Shape 298">
                <a:extLst>
                  <a:ext uri="{FF2B5EF4-FFF2-40B4-BE49-F238E27FC236}">
                    <a16:creationId xmlns:a16="http://schemas.microsoft.com/office/drawing/2014/main" id="{BCB3F872-8579-46C9-B2DF-22FE84A3F79F}"/>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78" name="Freeform: Shape 299">
                <a:extLst>
                  <a:ext uri="{FF2B5EF4-FFF2-40B4-BE49-F238E27FC236}">
                    <a16:creationId xmlns:a16="http://schemas.microsoft.com/office/drawing/2014/main" id="{A470E3B5-4B6E-46D5-8E2B-1ECFC6E59890}"/>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79" name="Freeform: Shape 301">
                <a:extLst>
                  <a:ext uri="{FF2B5EF4-FFF2-40B4-BE49-F238E27FC236}">
                    <a16:creationId xmlns:a16="http://schemas.microsoft.com/office/drawing/2014/main" id="{4123C1A0-5028-414C-899A-48DE4EAD1B6E}"/>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80" name="Freeform: Shape 302">
                <a:extLst>
                  <a:ext uri="{FF2B5EF4-FFF2-40B4-BE49-F238E27FC236}">
                    <a16:creationId xmlns:a16="http://schemas.microsoft.com/office/drawing/2014/main" id="{9BB78BB7-1149-4CDB-9466-106AAFC0F448}"/>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spTree>
    <p:extLst>
      <p:ext uri="{BB962C8B-B14F-4D97-AF65-F5344CB8AC3E}">
        <p14:creationId xmlns:p14="http://schemas.microsoft.com/office/powerpoint/2010/main" val="211197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3"/>
                                        </p:tgtEl>
                                        <p:attrNameLst>
                                          <p:attrName>style.visibility</p:attrName>
                                        </p:attrNameLst>
                                      </p:cBhvr>
                                      <p:to>
                                        <p:strVal val="visible"/>
                                      </p:to>
                                    </p:set>
                                    <p:animEffect transition="in" filter="fade">
                                      <p:cBhvr>
                                        <p:cTn id="27" dur="500"/>
                                        <p:tgtEl>
                                          <p:spTgt spid="19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80"/>
                                        </p:tgtEl>
                                        <p:attrNameLst>
                                          <p:attrName>style.visibility</p:attrName>
                                        </p:attrNameLst>
                                      </p:cBhvr>
                                      <p:to>
                                        <p:strVal val="visible"/>
                                      </p:to>
                                    </p:set>
                                    <p:animEffect transition="in" filter="fade">
                                      <p:cBhvr>
                                        <p:cTn id="42" dur="500"/>
                                        <p:tgtEl>
                                          <p:spTgt spid="18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84"/>
                                        </p:tgtEl>
                                        <p:attrNameLst>
                                          <p:attrName>style.visibility</p:attrName>
                                        </p:attrNameLst>
                                      </p:cBhvr>
                                      <p:to>
                                        <p:strVal val="visible"/>
                                      </p:to>
                                    </p:set>
                                    <p:animEffect transition="in" filter="fade">
                                      <p:cBhvr>
                                        <p:cTn id="47" dur="500"/>
                                        <p:tgtEl>
                                          <p:spTgt spid="1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4B171A3-DE7C-4969-A919-FA2A017E1134}"/>
              </a:ext>
            </a:extLst>
          </p:cNvPr>
          <p:cNvGrpSpPr/>
          <p:nvPr/>
        </p:nvGrpSpPr>
        <p:grpSpPr>
          <a:xfrm>
            <a:off x="2239219" y="3481267"/>
            <a:ext cx="1260000" cy="924333"/>
            <a:chOff x="2239219" y="3481266"/>
            <a:chExt cx="1260000" cy="924333"/>
          </a:xfrm>
        </p:grpSpPr>
        <p:sp>
          <p:nvSpPr>
            <p:cNvPr id="201" name="Rectangle 200">
              <a:extLst>
                <a:ext uri="{FF2B5EF4-FFF2-40B4-BE49-F238E27FC236}">
                  <a16:creationId xmlns:a16="http://schemas.microsoft.com/office/drawing/2014/main" id="{3EF047EF-11D1-41B6-821C-C8ECA589C835}"/>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ACCESS</a:t>
              </a:r>
            </a:p>
          </p:txBody>
        </p:sp>
        <p:sp>
          <p:nvSpPr>
            <p:cNvPr id="221" name="Rectangle 220">
              <a:extLst>
                <a:ext uri="{FF2B5EF4-FFF2-40B4-BE49-F238E27FC236}">
                  <a16:creationId xmlns:a16="http://schemas.microsoft.com/office/drawing/2014/main" id="{FFC6004D-6F68-45EC-9B4F-319DF8A980D0}"/>
                </a:ext>
              </a:extLst>
            </p:cNvPr>
            <p:cNvSpPr/>
            <p:nvPr/>
          </p:nvSpPr>
          <p:spPr>
            <a:xfrm>
              <a:off x="2239219"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xx</a:t>
              </a:r>
            </a:p>
          </p:txBody>
        </p:sp>
      </p:grpSp>
      <p:grpSp>
        <p:nvGrpSpPr>
          <p:cNvPr id="5" name="Group 4">
            <a:extLst>
              <a:ext uri="{FF2B5EF4-FFF2-40B4-BE49-F238E27FC236}">
                <a16:creationId xmlns:a16="http://schemas.microsoft.com/office/drawing/2014/main" id="{AD2CD189-A6AB-4309-9975-3451F0F33CBC}"/>
              </a:ext>
            </a:extLst>
          </p:cNvPr>
          <p:cNvGrpSpPr/>
          <p:nvPr/>
        </p:nvGrpSpPr>
        <p:grpSpPr>
          <a:xfrm>
            <a:off x="3745220" y="3481267"/>
            <a:ext cx="1260000" cy="924333"/>
            <a:chOff x="3745220" y="3481266"/>
            <a:chExt cx="1260000" cy="924333"/>
          </a:xfrm>
        </p:grpSpPr>
        <p:sp>
          <p:nvSpPr>
            <p:cNvPr id="225" name="Rectangle 224">
              <a:extLst>
                <a:ext uri="{FF2B5EF4-FFF2-40B4-BE49-F238E27FC236}">
                  <a16:creationId xmlns:a16="http://schemas.microsoft.com/office/drawing/2014/main" id="{9549725F-1DCD-4054-A384-BEAD5555E153}"/>
                </a:ext>
              </a:extLst>
            </p:cNvPr>
            <p:cNvSpPr/>
            <p:nvPr/>
          </p:nvSpPr>
          <p:spPr>
            <a:xfrm>
              <a:off x="3768442"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PRE-AGG</a:t>
              </a:r>
            </a:p>
          </p:txBody>
        </p:sp>
        <p:sp>
          <p:nvSpPr>
            <p:cNvPr id="226" name="Rectangle 225">
              <a:extLst>
                <a:ext uri="{FF2B5EF4-FFF2-40B4-BE49-F238E27FC236}">
                  <a16:creationId xmlns:a16="http://schemas.microsoft.com/office/drawing/2014/main" id="{90B8F912-2C94-466B-AA10-D7D51A80AA7D}"/>
                </a:ext>
              </a:extLst>
            </p:cNvPr>
            <p:cNvSpPr/>
            <p:nvPr/>
          </p:nvSpPr>
          <p:spPr>
            <a:xfrm>
              <a:off x="3745220"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xx</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5xx</a:t>
              </a:r>
            </a:p>
          </p:txBody>
        </p:sp>
      </p:grpSp>
      <p:grpSp>
        <p:nvGrpSpPr>
          <p:cNvPr id="6" name="Group 5">
            <a:extLst>
              <a:ext uri="{FF2B5EF4-FFF2-40B4-BE49-F238E27FC236}">
                <a16:creationId xmlns:a16="http://schemas.microsoft.com/office/drawing/2014/main" id="{3A9B98AA-0052-4BE2-8635-250E89A90826}"/>
              </a:ext>
            </a:extLst>
          </p:cNvPr>
          <p:cNvGrpSpPr/>
          <p:nvPr/>
        </p:nvGrpSpPr>
        <p:grpSpPr>
          <a:xfrm>
            <a:off x="5251221" y="3481267"/>
            <a:ext cx="1260000" cy="924333"/>
            <a:chOff x="5251221" y="3481266"/>
            <a:chExt cx="1260000" cy="924333"/>
          </a:xfrm>
        </p:grpSpPr>
        <p:sp>
          <p:nvSpPr>
            <p:cNvPr id="227" name="Rectangle 226">
              <a:extLst>
                <a:ext uri="{FF2B5EF4-FFF2-40B4-BE49-F238E27FC236}">
                  <a16:creationId xmlns:a16="http://schemas.microsoft.com/office/drawing/2014/main" id="{2EC7F1FD-2F4E-4C38-BC4B-99C3574F471B}"/>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IP Core</a:t>
              </a:r>
            </a:p>
          </p:txBody>
        </p:sp>
        <p:sp>
          <p:nvSpPr>
            <p:cNvPr id="228" name="Rectangle 227">
              <a:extLst>
                <a:ext uri="{FF2B5EF4-FFF2-40B4-BE49-F238E27FC236}">
                  <a16:creationId xmlns:a16="http://schemas.microsoft.com/office/drawing/2014/main" id="{EF3A3F2A-E60E-43F0-ABFB-48DBCA1F5F2E}"/>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5xx</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ASR9k</a:t>
              </a:r>
            </a:p>
          </p:txBody>
        </p:sp>
      </p:grpSp>
      <p:grpSp>
        <p:nvGrpSpPr>
          <p:cNvPr id="2" name="Group 1">
            <a:extLst>
              <a:ext uri="{FF2B5EF4-FFF2-40B4-BE49-F238E27FC236}">
                <a16:creationId xmlns:a16="http://schemas.microsoft.com/office/drawing/2014/main" id="{C1DC86CA-08CD-4826-94F1-5C8EB42EFC67}"/>
              </a:ext>
            </a:extLst>
          </p:cNvPr>
          <p:cNvGrpSpPr/>
          <p:nvPr/>
        </p:nvGrpSpPr>
        <p:grpSpPr>
          <a:xfrm>
            <a:off x="733218" y="3481267"/>
            <a:ext cx="1260000" cy="924333"/>
            <a:chOff x="733218" y="3481266"/>
            <a:chExt cx="1260000" cy="924333"/>
          </a:xfrm>
        </p:grpSpPr>
        <p:sp>
          <p:nvSpPr>
            <p:cNvPr id="229" name="Rectangle 228">
              <a:extLst>
                <a:ext uri="{FF2B5EF4-FFF2-40B4-BE49-F238E27FC236}">
                  <a16:creationId xmlns:a16="http://schemas.microsoft.com/office/drawing/2014/main" id="{A075285E-91AD-4310-8CDC-10DBD109C30B}"/>
                </a:ext>
              </a:extLst>
            </p:cNvPr>
            <p:cNvSpPr/>
            <p:nvPr/>
          </p:nvSpPr>
          <p:spPr>
            <a:xfrm>
              <a:off x="733218"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VRAN</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5xx</a:t>
              </a:r>
            </a:p>
          </p:txBody>
        </p:sp>
        <p:sp>
          <p:nvSpPr>
            <p:cNvPr id="230" name="Rectangle 229">
              <a:extLst>
                <a:ext uri="{FF2B5EF4-FFF2-40B4-BE49-F238E27FC236}">
                  <a16:creationId xmlns:a16="http://schemas.microsoft.com/office/drawing/2014/main" id="{7A1264B6-D59E-4D6B-989E-30EEC84CA26C}"/>
                </a:ext>
              </a:extLst>
            </p:cNvPr>
            <p:cNvSpPr/>
            <p:nvPr/>
          </p:nvSpPr>
          <p:spPr>
            <a:xfrm>
              <a:off x="752600"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b="1" dirty="0">
                  <a:solidFill>
                    <a:schemeClr val="bg2"/>
                  </a:solidFill>
                  <a:latin typeface="CiscoSansTT" panose="020B0503020201020303" pitchFamily="34" charset="0"/>
                  <a:cs typeface="CiscoSansTT" panose="020B0503020201020303" pitchFamily="34" charset="0"/>
                </a:rPr>
                <a:t>RAN / Cell Rx</a:t>
              </a:r>
            </a:p>
          </p:txBody>
        </p:sp>
      </p:grpSp>
      <p:grpSp>
        <p:nvGrpSpPr>
          <p:cNvPr id="184" name="Group 183">
            <a:extLst>
              <a:ext uri="{FF2B5EF4-FFF2-40B4-BE49-F238E27FC236}">
                <a16:creationId xmlns:a16="http://schemas.microsoft.com/office/drawing/2014/main" id="{B955982E-0C5C-462C-9CBE-54EA46E48CCA}"/>
              </a:ext>
            </a:extLst>
          </p:cNvPr>
          <p:cNvGrpSpPr/>
          <p:nvPr/>
        </p:nvGrpSpPr>
        <p:grpSpPr>
          <a:xfrm>
            <a:off x="2085125" y="4523816"/>
            <a:ext cx="5019081" cy="391643"/>
            <a:chOff x="2239219" y="3481266"/>
            <a:chExt cx="1260000" cy="391643"/>
          </a:xfrm>
        </p:grpSpPr>
        <p:sp>
          <p:nvSpPr>
            <p:cNvPr id="185" name="Rectangle 184">
              <a:extLst>
                <a:ext uri="{FF2B5EF4-FFF2-40B4-BE49-F238E27FC236}">
                  <a16:creationId xmlns:a16="http://schemas.microsoft.com/office/drawing/2014/main" id="{DFD20DB4-55DD-40EF-A1E4-CB7954644276}"/>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Security</a:t>
              </a:r>
            </a:p>
          </p:txBody>
        </p:sp>
        <p:sp>
          <p:nvSpPr>
            <p:cNvPr id="186" name="Rectangle 185">
              <a:extLst>
                <a:ext uri="{FF2B5EF4-FFF2-40B4-BE49-F238E27FC236}">
                  <a16:creationId xmlns:a16="http://schemas.microsoft.com/office/drawing/2014/main" id="{9DE1876F-72DF-45BA-BC8F-B2823BFDA594}"/>
                </a:ext>
              </a:extLst>
            </p:cNvPr>
            <p:cNvSpPr/>
            <p:nvPr/>
          </p:nvSpPr>
          <p:spPr>
            <a:xfrm>
              <a:off x="2239219" y="3700499"/>
              <a:ext cx="1260000" cy="17241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Stealthwatch + Umbrella + ISE + Firepower Threat Defense + DDOS</a:t>
              </a:r>
            </a:p>
          </p:txBody>
        </p:sp>
      </p:grpSp>
      <p:grpSp>
        <p:nvGrpSpPr>
          <p:cNvPr id="187" name="Group 186">
            <a:extLst>
              <a:ext uri="{FF2B5EF4-FFF2-40B4-BE49-F238E27FC236}">
                <a16:creationId xmlns:a16="http://schemas.microsoft.com/office/drawing/2014/main" id="{A231DD56-C36A-4147-A502-8CAAD6A60A13}"/>
              </a:ext>
            </a:extLst>
          </p:cNvPr>
          <p:cNvGrpSpPr/>
          <p:nvPr/>
        </p:nvGrpSpPr>
        <p:grpSpPr>
          <a:xfrm>
            <a:off x="7780136" y="1518463"/>
            <a:ext cx="1260000" cy="950912"/>
            <a:chOff x="6757222" y="3481266"/>
            <a:chExt cx="1260000" cy="950912"/>
          </a:xfrm>
        </p:grpSpPr>
        <p:sp>
          <p:nvSpPr>
            <p:cNvPr id="188" name="Rectangle 187">
              <a:extLst>
                <a:ext uri="{FF2B5EF4-FFF2-40B4-BE49-F238E27FC236}">
                  <a16:creationId xmlns:a16="http://schemas.microsoft.com/office/drawing/2014/main" id="{079599D5-E1E3-441E-AC5B-BBCE39211D5C}"/>
                </a:ext>
              </a:extLst>
            </p:cNvPr>
            <p:cNvSpPr/>
            <p:nvPr/>
          </p:nvSpPr>
          <p:spPr>
            <a:xfrm>
              <a:off x="6784284"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Mobile Core</a:t>
              </a:r>
            </a:p>
          </p:txBody>
        </p:sp>
        <p:sp>
          <p:nvSpPr>
            <p:cNvPr id="189" name="Rectangle 188">
              <a:extLst>
                <a:ext uri="{FF2B5EF4-FFF2-40B4-BE49-F238E27FC236}">
                  <a16:creationId xmlns:a16="http://schemas.microsoft.com/office/drawing/2014/main" id="{7D07819D-3977-4333-87B4-B1D5A26B109B}"/>
                </a:ext>
              </a:extLst>
            </p:cNvPr>
            <p:cNvSpPr/>
            <p:nvPr/>
          </p:nvSpPr>
          <p:spPr>
            <a:xfrm>
              <a:off x="6757222" y="3865599"/>
              <a:ext cx="1260000" cy="56657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EPC</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PCRF</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CVIM</a:t>
              </a:r>
            </a:p>
          </p:txBody>
        </p:sp>
      </p:grpSp>
      <p:grpSp>
        <p:nvGrpSpPr>
          <p:cNvPr id="8" name="Group 7">
            <a:extLst>
              <a:ext uri="{FF2B5EF4-FFF2-40B4-BE49-F238E27FC236}">
                <a16:creationId xmlns:a16="http://schemas.microsoft.com/office/drawing/2014/main" id="{72A656B9-A884-404B-8BC7-A6288FB730AA}"/>
              </a:ext>
            </a:extLst>
          </p:cNvPr>
          <p:cNvGrpSpPr/>
          <p:nvPr/>
        </p:nvGrpSpPr>
        <p:grpSpPr>
          <a:xfrm>
            <a:off x="7771198" y="2518232"/>
            <a:ext cx="1260000" cy="924333"/>
            <a:chOff x="6757222" y="3481266"/>
            <a:chExt cx="1260000" cy="924333"/>
          </a:xfrm>
        </p:grpSpPr>
        <p:sp>
          <p:nvSpPr>
            <p:cNvPr id="231" name="Rectangle 230">
              <a:extLst>
                <a:ext uri="{FF2B5EF4-FFF2-40B4-BE49-F238E27FC236}">
                  <a16:creationId xmlns:a16="http://schemas.microsoft.com/office/drawing/2014/main" id="{A2A014CF-975E-4E76-BB56-7E9A6CFEE298}"/>
                </a:ext>
              </a:extLst>
            </p:cNvPr>
            <p:cNvSpPr/>
            <p:nvPr/>
          </p:nvSpPr>
          <p:spPr>
            <a:xfrm>
              <a:off x="6784284"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DC / MEC</a:t>
              </a:r>
            </a:p>
          </p:txBody>
        </p:sp>
        <p:sp>
          <p:nvSpPr>
            <p:cNvPr id="232" name="Rectangle 231">
              <a:extLst>
                <a:ext uri="{FF2B5EF4-FFF2-40B4-BE49-F238E27FC236}">
                  <a16:creationId xmlns:a16="http://schemas.microsoft.com/office/drawing/2014/main" id="{36DDCDAC-63F4-43A9-8B80-441C7CD785B8}"/>
                </a:ext>
              </a:extLst>
            </p:cNvPr>
            <p:cNvSpPr/>
            <p:nvPr/>
          </p:nvSpPr>
          <p:spPr>
            <a:xfrm>
              <a:off x="6757222"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ACI (N9xxx)</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UCS Compute</a:t>
              </a:r>
            </a:p>
          </p:txBody>
        </p:sp>
      </p:grpSp>
      <p:grpSp>
        <p:nvGrpSpPr>
          <p:cNvPr id="193" name="Group 192">
            <a:extLst>
              <a:ext uri="{FF2B5EF4-FFF2-40B4-BE49-F238E27FC236}">
                <a16:creationId xmlns:a16="http://schemas.microsoft.com/office/drawing/2014/main" id="{667774C5-AFC3-4638-AA1F-0BCD5BA03097}"/>
              </a:ext>
            </a:extLst>
          </p:cNvPr>
          <p:cNvGrpSpPr/>
          <p:nvPr/>
        </p:nvGrpSpPr>
        <p:grpSpPr>
          <a:xfrm>
            <a:off x="6748582" y="3483065"/>
            <a:ext cx="1260000" cy="924333"/>
            <a:chOff x="5251221" y="3481266"/>
            <a:chExt cx="1260000" cy="924333"/>
          </a:xfrm>
        </p:grpSpPr>
        <p:sp>
          <p:nvSpPr>
            <p:cNvPr id="194" name="Rectangle 193">
              <a:extLst>
                <a:ext uri="{FF2B5EF4-FFF2-40B4-BE49-F238E27FC236}">
                  <a16:creationId xmlns:a16="http://schemas.microsoft.com/office/drawing/2014/main" id="{2300343D-DF9C-46A9-9B39-90C0E774B11B}"/>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000" b="1" dirty="0">
                  <a:solidFill>
                    <a:schemeClr val="bg2"/>
                  </a:solidFill>
                  <a:latin typeface="CiscoSansTT" panose="020B0503020201020303" pitchFamily="34" charset="0"/>
                  <a:cs typeface="CiscoSansTT" panose="020B0503020201020303" pitchFamily="34" charset="0"/>
                </a:rPr>
                <a:t>Optical</a:t>
              </a:r>
            </a:p>
          </p:txBody>
        </p:sp>
        <p:sp>
          <p:nvSpPr>
            <p:cNvPr id="195" name="Rectangle 194">
              <a:extLst>
                <a:ext uri="{FF2B5EF4-FFF2-40B4-BE49-F238E27FC236}">
                  <a16:creationId xmlns:a16="http://schemas.microsoft.com/office/drawing/2014/main" id="{F41F4217-B825-4C80-BB08-6B0BC28AF475}"/>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1k</a:t>
              </a:r>
            </a:p>
            <a:p>
              <a:pPr marL="171446" indent="-171446" defTabSz="457189">
                <a:buFont typeface="Arial" panose="020B0604020202020204" pitchFamily="34" charset="0"/>
                <a:buChar char="•"/>
                <a:defRPr/>
              </a:pPr>
              <a:r>
                <a:rPr lang="en-US" sz="1000" dirty="0">
                  <a:solidFill>
                    <a:srgbClr val="005073"/>
                  </a:solidFill>
                  <a:latin typeface="CiscoSansTT" panose="020B0503020201020303" pitchFamily="34" charset="0"/>
                  <a:cs typeface="CiscoSansTT" panose="020B0503020201020303" pitchFamily="34" charset="0"/>
                </a:rPr>
                <a:t>NCS2k</a:t>
              </a:r>
            </a:p>
          </p:txBody>
        </p:sp>
      </p:grpSp>
      <p:grpSp>
        <p:nvGrpSpPr>
          <p:cNvPr id="13" name="Group 12">
            <a:extLst>
              <a:ext uri="{FF2B5EF4-FFF2-40B4-BE49-F238E27FC236}">
                <a16:creationId xmlns:a16="http://schemas.microsoft.com/office/drawing/2014/main" id="{9592EC3F-C317-4C9F-A9E4-F9CBAE31BB57}"/>
              </a:ext>
            </a:extLst>
          </p:cNvPr>
          <p:cNvGrpSpPr/>
          <p:nvPr/>
        </p:nvGrpSpPr>
        <p:grpSpPr>
          <a:xfrm>
            <a:off x="732674" y="180202"/>
            <a:ext cx="7748642" cy="3176162"/>
            <a:chOff x="732674" y="180202"/>
            <a:chExt cx="7748642" cy="3176162"/>
          </a:xfrm>
        </p:grpSpPr>
        <p:sp>
          <p:nvSpPr>
            <p:cNvPr id="593" name="TextBox 592">
              <a:extLst>
                <a:ext uri="{FF2B5EF4-FFF2-40B4-BE49-F238E27FC236}">
                  <a16:creationId xmlns:a16="http://schemas.microsoft.com/office/drawing/2014/main" id="{C7CCC15D-292F-4AF5-9AC1-B1E5854C2626}"/>
                </a:ext>
              </a:extLst>
            </p:cNvPr>
            <p:cNvSpPr txBox="1"/>
            <p:nvPr/>
          </p:nvSpPr>
          <p:spPr>
            <a:xfrm>
              <a:off x="7663463" y="261570"/>
              <a:ext cx="441146" cy="246221"/>
            </a:xfrm>
            <a:prstGeom prst="rect">
              <a:avLst/>
            </a:prstGeom>
            <a:noFill/>
          </p:spPr>
          <p:txBody>
            <a:bodyPr wrap="none" rtlCol="0">
              <a:spAutoFit/>
            </a:bodyPr>
            <a:lstStyle/>
            <a:p>
              <a:r>
                <a:rPr lang="en-ZA" sz="1000" dirty="0">
                  <a:latin typeface="+mn-lt"/>
                </a:rPr>
                <a:t>Rest</a:t>
              </a:r>
              <a:endParaRPr lang="en-GB" sz="1000" dirty="0">
                <a:latin typeface="+mn-lt"/>
              </a:endParaRPr>
            </a:p>
          </p:txBody>
        </p:sp>
        <p:sp>
          <p:nvSpPr>
            <p:cNvPr id="354" name="TextBox 353">
              <a:extLst>
                <a:ext uri="{FF2B5EF4-FFF2-40B4-BE49-F238E27FC236}">
                  <a16:creationId xmlns:a16="http://schemas.microsoft.com/office/drawing/2014/main" id="{366174BD-E329-4B48-BE5E-37D4382DDC25}"/>
                </a:ext>
              </a:extLst>
            </p:cNvPr>
            <p:cNvSpPr txBox="1"/>
            <p:nvPr/>
          </p:nvSpPr>
          <p:spPr>
            <a:xfrm>
              <a:off x="7663463" y="497506"/>
              <a:ext cx="510076" cy="246221"/>
            </a:xfrm>
            <a:prstGeom prst="rect">
              <a:avLst/>
            </a:prstGeom>
            <a:noFill/>
          </p:spPr>
          <p:txBody>
            <a:bodyPr wrap="none" rtlCol="0">
              <a:spAutoFit/>
            </a:bodyPr>
            <a:lstStyle/>
            <a:p>
              <a:r>
                <a:rPr lang="en-ZA" sz="1000" dirty="0">
                  <a:latin typeface="+mn-lt"/>
                </a:rPr>
                <a:t>PCEP</a:t>
              </a:r>
              <a:endParaRPr lang="en-GB" sz="1000" dirty="0">
                <a:latin typeface="+mn-lt"/>
              </a:endParaRPr>
            </a:p>
          </p:txBody>
        </p:sp>
        <p:sp>
          <p:nvSpPr>
            <p:cNvPr id="355" name="TextBox 354">
              <a:extLst>
                <a:ext uri="{FF2B5EF4-FFF2-40B4-BE49-F238E27FC236}">
                  <a16:creationId xmlns:a16="http://schemas.microsoft.com/office/drawing/2014/main" id="{764433B6-7CC6-4166-BB5F-C3D2DD56D34E}"/>
                </a:ext>
              </a:extLst>
            </p:cNvPr>
            <p:cNvSpPr txBox="1"/>
            <p:nvPr/>
          </p:nvSpPr>
          <p:spPr>
            <a:xfrm>
              <a:off x="7663463" y="738883"/>
              <a:ext cx="662361" cy="246221"/>
            </a:xfrm>
            <a:prstGeom prst="rect">
              <a:avLst/>
            </a:prstGeom>
            <a:noFill/>
          </p:spPr>
          <p:txBody>
            <a:bodyPr wrap="none" rtlCol="0">
              <a:spAutoFit/>
            </a:bodyPr>
            <a:lstStyle/>
            <a:p>
              <a:r>
                <a:rPr lang="en-ZA" sz="1000" dirty="0">
                  <a:latin typeface="+mn-lt"/>
                </a:rPr>
                <a:t>BGP-LS</a:t>
              </a:r>
              <a:endParaRPr lang="en-GB" sz="1000" dirty="0">
                <a:latin typeface="+mn-lt"/>
              </a:endParaRPr>
            </a:p>
          </p:txBody>
        </p:sp>
        <p:sp>
          <p:nvSpPr>
            <p:cNvPr id="357" name="TextBox 356">
              <a:extLst>
                <a:ext uri="{FF2B5EF4-FFF2-40B4-BE49-F238E27FC236}">
                  <a16:creationId xmlns:a16="http://schemas.microsoft.com/office/drawing/2014/main" id="{9944824E-7FC3-4782-AE0F-1E5D7DF47E42}"/>
                </a:ext>
              </a:extLst>
            </p:cNvPr>
            <p:cNvSpPr txBox="1"/>
            <p:nvPr/>
          </p:nvSpPr>
          <p:spPr>
            <a:xfrm>
              <a:off x="7663463" y="974819"/>
              <a:ext cx="817853" cy="246221"/>
            </a:xfrm>
            <a:prstGeom prst="rect">
              <a:avLst/>
            </a:prstGeom>
            <a:noFill/>
          </p:spPr>
          <p:txBody>
            <a:bodyPr wrap="none" rtlCol="0">
              <a:spAutoFit/>
            </a:bodyPr>
            <a:lstStyle/>
            <a:p>
              <a:r>
                <a:rPr lang="en-ZA" sz="1000" dirty="0">
                  <a:latin typeface="+mn-lt"/>
                </a:rPr>
                <a:t>BGP-SRTE</a:t>
              </a:r>
              <a:endParaRPr lang="en-GB" sz="1000" dirty="0">
                <a:latin typeface="+mn-lt"/>
              </a:endParaRPr>
            </a:p>
          </p:txBody>
        </p:sp>
        <p:grpSp>
          <p:nvGrpSpPr>
            <p:cNvPr id="11" name="Group 10">
              <a:extLst>
                <a:ext uri="{FF2B5EF4-FFF2-40B4-BE49-F238E27FC236}">
                  <a16:creationId xmlns:a16="http://schemas.microsoft.com/office/drawing/2014/main" id="{CBFDF978-24E1-444B-9A0E-C8B2AC33A42D}"/>
                </a:ext>
              </a:extLst>
            </p:cNvPr>
            <p:cNvGrpSpPr/>
            <p:nvPr/>
          </p:nvGrpSpPr>
          <p:grpSpPr>
            <a:xfrm>
              <a:off x="732674" y="180202"/>
              <a:ext cx="7368255" cy="3176162"/>
              <a:chOff x="732674" y="180202"/>
              <a:chExt cx="7368255" cy="3176162"/>
            </a:xfrm>
          </p:grpSpPr>
          <p:grpSp>
            <p:nvGrpSpPr>
              <p:cNvPr id="414" name="Group 413">
                <a:extLst>
                  <a:ext uri="{FF2B5EF4-FFF2-40B4-BE49-F238E27FC236}">
                    <a16:creationId xmlns:a16="http://schemas.microsoft.com/office/drawing/2014/main" id="{071CB512-0945-485F-ADA9-5E97A8D50389}"/>
                  </a:ext>
                </a:extLst>
              </p:cNvPr>
              <p:cNvGrpSpPr/>
              <p:nvPr/>
            </p:nvGrpSpPr>
            <p:grpSpPr>
              <a:xfrm>
                <a:off x="732674" y="1788913"/>
                <a:ext cx="7368255" cy="1567451"/>
                <a:chOff x="732673" y="1788912"/>
                <a:chExt cx="7368255" cy="1567451"/>
              </a:xfrm>
            </p:grpSpPr>
            <p:sp>
              <p:nvSpPr>
                <p:cNvPr id="415" name="Rectangle: Rounded Corners 152">
                  <a:extLst>
                    <a:ext uri="{FF2B5EF4-FFF2-40B4-BE49-F238E27FC236}">
                      <a16:creationId xmlns:a16="http://schemas.microsoft.com/office/drawing/2014/main" id="{66433419-550A-47AB-8785-816C2443B4E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6" name="Oval 415">
                  <a:extLst>
                    <a:ext uri="{FF2B5EF4-FFF2-40B4-BE49-F238E27FC236}">
                      <a16:creationId xmlns:a16="http://schemas.microsoft.com/office/drawing/2014/main" id="{A682726D-FB62-4139-A8B8-CE14DC4CFDE3}"/>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7" name="Group 416">
                  <a:extLst>
                    <a:ext uri="{FF2B5EF4-FFF2-40B4-BE49-F238E27FC236}">
                      <a16:creationId xmlns:a16="http://schemas.microsoft.com/office/drawing/2014/main" id="{2A30886C-70E2-4EE4-B625-E1429A1E714D}"/>
                    </a:ext>
                  </a:extLst>
                </p:cNvPr>
                <p:cNvGrpSpPr/>
                <p:nvPr/>
              </p:nvGrpSpPr>
              <p:grpSpPr>
                <a:xfrm rot="16200000">
                  <a:off x="1787492" y="2428962"/>
                  <a:ext cx="393048" cy="893063"/>
                  <a:chOff x="1053576" y="845943"/>
                  <a:chExt cx="429692" cy="976323"/>
                </a:xfrm>
              </p:grpSpPr>
              <p:sp>
                <p:nvSpPr>
                  <p:cNvPr id="580" name="Arc 579">
                    <a:extLst>
                      <a:ext uri="{FF2B5EF4-FFF2-40B4-BE49-F238E27FC236}">
                        <a16:creationId xmlns:a16="http://schemas.microsoft.com/office/drawing/2014/main" id="{A16FAA23-EE7E-48E5-AAED-0EB383EE5810}"/>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81" name="Straight Connector 580">
                    <a:extLst>
                      <a:ext uri="{FF2B5EF4-FFF2-40B4-BE49-F238E27FC236}">
                        <a16:creationId xmlns:a16="http://schemas.microsoft.com/office/drawing/2014/main" id="{C5D63DF3-6922-4184-9AC5-A69A8D20FC96}"/>
                      </a:ext>
                    </a:extLst>
                  </p:cNvPr>
                  <p:cNvCxnSpPr>
                    <a:cxnSpLocks/>
                    <a:endCxn id="580"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9D43D8EF-F1D0-4356-8F95-EEFDDD5F1CD0}"/>
                      </a:ext>
                    </a:extLst>
                  </p:cNvPr>
                  <p:cNvCxnSpPr>
                    <a:cxnSpLocks/>
                    <a:stCxn id="580"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8" name="Group 417">
                  <a:extLst>
                    <a:ext uri="{FF2B5EF4-FFF2-40B4-BE49-F238E27FC236}">
                      <a16:creationId xmlns:a16="http://schemas.microsoft.com/office/drawing/2014/main" id="{432B770E-B2CA-47A6-B185-F021B746C2E4}"/>
                    </a:ext>
                  </a:extLst>
                </p:cNvPr>
                <p:cNvGrpSpPr/>
                <p:nvPr/>
              </p:nvGrpSpPr>
              <p:grpSpPr>
                <a:xfrm>
                  <a:off x="1139370" y="2057674"/>
                  <a:ext cx="874980" cy="214533"/>
                  <a:chOff x="1053577" y="1587731"/>
                  <a:chExt cx="956555" cy="234534"/>
                </a:xfrm>
              </p:grpSpPr>
              <p:sp>
                <p:nvSpPr>
                  <p:cNvPr id="577" name="Arc 576">
                    <a:extLst>
                      <a:ext uri="{FF2B5EF4-FFF2-40B4-BE49-F238E27FC236}">
                        <a16:creationId xmlns:a16="http://schemas.microsoft.com/office/drawing/2014/main" id="{57C513BC-7515-47A3-9E87-79DB1B11B8BA}"/>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8" name="Straight Connector 577">
                    <a:extLst>
                      <a:ext uri="{FF2B5EF4-FFF2-40B4-BE49-F238E27FC236}">
                        <a16:creationId xmlns:a16="http://schemas.microsoft.com/office/drawing/2014/main" id="{CDC375ED-E430-4E96-8678-10DB5A94CFCC}"/>
                      </a:ext>
                    </a:extLst>
                  </p:cNvPr>
                  <p:cNvCxnSpPr>
                    <a:cxnSpLocks/>
                    <a:endCxn id="577"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7CA68352-600C-49C4-A8BE-4AF25C2746F1}"/>
                      </a:ext>
                    </a:extLst>
                  </p:cNvPr>
                  <p:cNvCxnSpPr>
                    <a:cxnSpLocks/>
                    <a:stCxn id="577"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77484D01-673D-4BCA-9347-47C4749CDD1D}"/>
                    </a:ext>
                  </a:extLst>
                </p:cNvPr>
                <p:cNvGrpSpPr/>
                <p:nvPr/>
              </p:nvGrpSpPr>
              <p:grpSpPr>
                <a:xfrm>
                  <a:off x="1471454" y="2049161"/>
                  <a:ext cx="874980" cy="168558"/>
                  <a:chOff x="1416621" y="1599856"/>
                  <a:chExt cx="956555" cy="184273"/>
                </a:xfrm>
              </p:grpSpPr>
              <p:sp>
                <p:nvSpPr>
                  <p:cNvPr id="574" name="Arc 573">
                    <a:extLst>
                      <a:ext uri="{FF2B5EF4-FFF2-40B4-BE49-F238E27FC236}">
                        <a16:creationId xmlns:a16="http://schemas.microsoft.com/office/drawing/2014/main" id="{84F879B2-C39C-4576-BADF-40F022935540}"/>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5" name="Straight Connector 574">
                    <a:extLst>
                      <a:ext uri="{FF2B5EF4-FFF2-40B4-BE49-F238E27FC236}">
                        <a16:creationId xmlns:a16="http://schemas.microsoft.com/office/drawing/2014/main" id="{3C895289-37F1-4AB2-89A8-F3D013BD1C05}"/>
                      </a:ext>
                    </a:extLst>
                  </p:cNvPr>
                  <p:cNvCxnSpPr>
                    <a:cxnSpLocks/>
                    <a:endCxn id="574"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27FF5772-7A24-4D80-883A-3CD3BCDD08A5}"/>
                      </a:ext>
                    </a:extLst>
                  </p:cNvPr>
                  <p:cNvCxnSpPr>
                    <a:cxnSpLocks/>
                    <a:stCxn id="574"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0" name="Group 419">
                  <a:extLst>
                    <a:ext uri="{FF2B5EF4-FFF2-40B4-BE49-F238E27FC236}">
                      <a16:creationId xmlns:a16="http://schemas.microsoft.com/office/drawing/2014/main" id="{4D1338F0-ADE4-4547-AB21-D99037D0EB08}"/>
                    </a:ext>
                  </a:extLst>
                </p:cNvPr>
                <p:cNvGrpSpPr/>
                <p:nvPr/>
              </p:nvGrpSpPr>
              <p:grpSpPr>
                <a:xfrm>
                  <a:off x="1802844" y="1995223"/>
                  <a:ext cx="662063" cy="168558"/>
                  <a:chOff x="1778907" y="1564701"/>
                  <a:chExt cx="723787" cy="184273"/>
                </a:xfrm>
              </p:grpSpPr>
              <p:sp>
                <p:nvSpPr>
                  <p:cNvPr id="571" name="Arc 570">
                    <a:extLst>
                      <a:ext uri="{FF2B5EF4-FFF2-40B4-BE49-F238E27FC236}">
                        <a16:creationId xmlns:a16="http://schemas.microsoft.com/office/drawing/2014/main" id="{AA310D21-499B-4346-BAE9-91B856CC3103}"/>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72" name="Straight Connector 571">
                    <a:extLst>
                      <a:ext uri="{FF2B5EF4-FFF2-40B4-BE49-F238E27FC236}">
                        <a16:creationId xmlns:a16="http://schemas.microsoft.com/office/drawing/2014/main" id="{9B9B4120-F430-432E-A23B-D11A96DEC292}"/>
                      </a:ext>
                    </a:extLst>
                  </p:cNvPr>
                  <p:cNvCxnSpPr>
                    <a:cxnSpLocks/>
                    <a:endCxn id="57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83857221-5A81-4E04-8751-2A3018CEBC97}"/>
                      </a:ext>
                    </a:extLst>
                  </p:cNvPr>
                  <p:cNvCxnSpPr>
                    <a:cxnSpLocks/>
                    <a:stCxn id="57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21" name="Oval 420">
                  <a:extLst>
                    <a:ext uri="{FF2B5EF4-FFF2-40B4-BE49-F238E27FC236}">
                      <a16:creationId xmlns:a16="http://schemas.microsoft.com/office/drawing/2014/main" id="{0BEF32C6-12FD-4C09-8875-5F0D7F7769F8}"/>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2" name="Oval 421">
                  <a:extLst>
                    <a:ext uri="{FF2B5EF4-FFF2-40B4-BE49-F238E27FC236}">
                      <a16:creationId xmlns:a16="http://schemas.microsoft.com/office/drawing/2014/main" id="{0AF9A0BF-9022-4B92-B184-D9FCF1D8C408}"/>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3" name="Oval 422">
                  <a:extLst>
                    <a:ext uri="{FF2B5EF4-FFF2-40B4-BE49-F238E27FC236}">
                      <a16:creationId xmlns:a16="http://schemas.microsoft.com/office/drawing/2014/main" id="{0CC49AC7-A33D-4FEF-ACF5-AD3D023C8AE7}"/>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4" name="Straight Connector 423">
                  <a:extLst>
                    <a:ext uri="{FF2B5EF4-FFF2-40B4-BE49-F238E27FC236}">
                      <a16:creationId xmlns:a16="http://schemas.microsoft.com/office/drawing/2014/main" id="{995F8BA5-9E35-4B52-879A-2548EB66172C}"/>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425" name="Oval 424">
                  <a:extLst>
                    <a:ext uri="{FF2B5EF4-FFF2-40B4-BE49-F238E27FC236}">
                      <a16:creationId xmlns:a16="http://schemas.microsoft.com/office/drawing/2014/main" id="{90632BCF-B697-4128-9C32-5C01C39BF526}"/>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6" name="Group 425">
                  <a:extLst>
                    <a:ext uri="{FF2B5EF4-FFF2-40B4-BE49-F238E27FC236}">
                      <a16:creationId xmlns:a16="http://schemas.microsoft.com/office/drawing/2014/main" id="{5C4445D5-41F3-463F-A207-EDE6BE4BE80C}"/>
                    </a:ext>
                  </a:extLst>
                </p:cNvPr>
                <p:cNvGrpSpPr/>
                <p:nvPr/>
              </p:nvGrpSpPr>
              <p:grpSpPr>
                <a:xfrm>
                  <a:off x="4825353" y="1970648"/>
                  <a:ext cx="2313166" cy="911499"/>
                  <a:chOff x="6257463" y="1617978"/>
                  <a:chExt cx="1576956" cy="996478"/>
                </a:xfrm>
              </p:grpSpPr>
              <p:grpSp>
                <p:nvGrpSpPr>
                  <p:cNvPr id="561" name="Group 560">
                    <a:extLst>
                      <a:ext uri="{FF2B5EF4-FFF2-40B4-BE49-F238E27FC236}">
                        <a16:creationId xmlns:a16="http://schemas.microsoft.com/office/drawing/2014/main" id="{956CA148-D73E-49CB-A1BF-0C90FB1DEEF1}"/>
                      </a:ext>
                    </a:extLst>
                  </p:cNvPr>
                  <p:cNvGrpSpPr/>
                  <p:nvPr/>
                </p:nvGrpSpPr>
                <p:grpSpPr>
                  <a:xfrm>
                    <a:off x="6296881" y="2015544"/>
                    <a:ext cx="1537538" cy="598912"/>
                    <a:chOff x="6652481" y="2039451"/>
                    <a:chExt cx="1537538" cy="598912"/>
                  </a:xfrm>
                  <a:solidFill>
                    <a:schemeClr val="bg2">
                      <a:lumMod val="85000"/>
                    </a:schemeClr>
                  </a:solidFill>
                </p:grpSpPr>
                <p:sp>
                  <p:nvSpPr>
                    <p:cNvPr id="567" name="Rectangle: Rounded Corners 6">
                      <a:extLst>
                        <a:ext uri="{FF2B5EF4-FFF2-40B4-BE49-F238E27FC236}">
                          <a16:creationId xmlns:a16="http://schemas.microsoft.com/office/drawing/2014/main" id="{01501ED8-E98F-4EE4-9F45-325F9DBC10DF}"/>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8" name="Rectangle: Rounded Corners 140">
                      <a:extLst>
                        <a:ext uri="{FF2B5EF4-FFF2-40B4-BE49-F238E27FC236}">
                          <a16:creationId xmlns:a16="http://schemas.microsoft.com/office/drawing/2014/main" id="{93E4A046-27AC-43C4-B0DF-F87ED4B5DA9F}"/>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9" name="Rectangle: Rounded Corners 141">
                      <a:extLst>
                        <a:ext uri="{FF2B5EF4-FFF2-40B4-BE49-F238E27FC236}">
                          <a16:creationId xmlns:a16="http://schemas.microsoft.com/office/drawing/2014/main" id="{9616CBC8-9838-4315-89D8-127ABE451E7D}"/>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0" name="Rectangle: Rounded Corners 142">
                      <a:extLst>
                        <a:ext uri="{FF2B5EF4-FFF2-40B4-BE49-F238E27FC236}">
                          <a16:creationId xmlns:a16="http://schemas.microsoft.com/office/drawing/2014/main" id="{30554F36-9E80-4563-9646-709761B1BDB3}"/>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62" name="Group 561">
                    <a:extLst>
                      <a:ext uri="{FF2B5EF4-FFF2-40B4-BE49-F238E27FC236}">
                        <a16:creationId xmlns:a16="http://schemas.microsoft.com/office/drawing/2014/main" id="{811F7F10-406B-42FA-B163-018089FC37E8}"/>
                      </a:ext>
                    </a:extLst>
                  </p:cNvPr>
                  <p:cNvGrpSpPr/>
                  <p:nvPr/>
                </p:nvGrpSpPr>
                <p:grpSpPr>
                  <a:xfrm>
                    <a:off x="6257463" y="1617978"/>
                    <a:ext cx="1553564" cy="594092"/>
                    <a:chOff x="6606761" y="1479381"/>
                    <a:chExt cx="1566167" cy="598912"/>
                  </a:xfrm>
                  <a:solidFill>
                    <a:schemeClr val="bg2">
                      <a:lumMod val="85000"/>
                    </a:schemeClr>
                  </a:solidFill>
                </p:grpSpPr>
                <p:sp>
                  <p:nvSpPr>
                    <p:cNvPr id="563" name="Rectangle: Rounded Corners 148">
                      <a:extLst>
                        <a:ext uri="{FF2B5EF4-FFF2-40B4-BE49-F238E27FC236}">
                          <a16:creationId xmlns:a16="http://schemas.microsoft.com/office/drawing/2014/main" id="{0AB7D6CD-102A-4040-A63B-D37FFF75E6A6}"/>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4" name="Rectangle: Rounded Corners 149">
                      <a:extLst>
                        <a:ext uri="{FF2B5EF4-FFF2-40B4-BE49-F238E27FC236}">
                          <a16:creationId xmlns:a16="http://schemas.microsoft.com/office/drawing/2014/main" id="{0996C544-FC8C-4FE2-97AD-33EFC3A5162A}"/>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5" name="Rectangle: Rounded Corners 150">
                      <a:extLst>
                        <a:ext uri="{FF2B5EF4-FFF2-40B4-BE49-F238E27FC236}">
                          <a16:creationId xmlns:a16="http://schemas.microsoft.com/office/drawing/2014/main" id="{C7F8E6C2-C791-4A6A-A317-19977F4D3B57}"/>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6" name="Rectangle: Rounded Corners 151">
                      <a:extLst>
                        <a:ext uri="{FF2B5EF4-FFF2-40B4-BE49-F238E27FC236}">
                          <a16:creationId xmlns:a16="http://schemas.microsoft.com/office/drawing/2014/main" id="{616874A7-B343-466F-BD95-6C7CE7FCFC3C}"/>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7" name="Group 426">
                  <a:extLst>
                    <a:ext uri="{FF2B5EF4-FFF2-40B4-BE49-F238E27FC236}">
                      <a16:creationId xmlns:a16="http://schemas.microsoft.com/office/drawing/2014/main" id="{5D80F346-7841-4064-8F45-5080D7E9DC1B}"/>
                    </a:ext>
                  </a:extLst>
                </p:cNvPr>
                <p:cNvGrpSpPr/>
                <p:nvPr/>
              </p:nvGrpSpPr>
              <p:grpSpPr>
                <a:xfrm>
                  <a:off x="4495170" y="1970649"/>
                  <a:ext cx="1509591" cy="909293"/>
                  <a:chOff x="4722239" y="1617979"/>
                  <a:chExt cx="1650330" cy="994067"/>
                </a:xfrm>
              </p:grpSpPr>
              <p:grpSp>
                <p:nvGrpSpPr>
                  <p:cNvPr id="551" name="Group 550">
                    <a:extLst>
                      <a:ext uri="{FF2B5EF4-FFF2-40B4-BE49-F238E27FC236}">
                        <a16:creationId xmlns:a16="http://schemas.microsoft.com/office/drawing/2014/main" id="{70735880-CB88-4F6E-BE49-E2C976899E04}"/>
                      </a:ext>
                    </a:extLst>
                  </p:cNvPr>
                  <p:cNvGrpSpPr/>
                  <p:nvPr/>
                </p:nvGrpSpPr>
                <p:grpSpPr>
                  <a:xfrm>
                    <a:off x="4722239" y="1617979"/>
                    <a:ext cx="1604404" cy="594092"/>
                    <a:chOff x="5071331" y="1479382"/>
                    <a:chExt cx="1617419" cy="598911"/>
                  </a:xfrm>
                  <a:solidFill>
                    <a:schemeClr val="bg2">
                      <a:lumMod val="85000"/>
                    </a:schemeClr>
                  </a:solidFill>
                </p:grpSpPr>
                <p:sp>
                  <p:nvSpPr>
                    <p:cNvPr id="557" name="Rectangle: Rounded Corners 161">
                      <a:extLst>
                        <a:ext uri="{FF2B5EF4-FFF2-40B4-BE49-F238E27FC236}">
                          <a16:creationId xmlns:a16="http://schemas.microsoft.com/office/drawing/2014/main" id="{C9FB7876-AFB3-44DE-A594-5F9585F63CE2}"/>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8" name="Rectangle: Rounded Corners 162">
                      <a:extLst>
                        <a:ext uri="{FF2B5EF4-FFF2-40B4-BE49-F238E27FC236}">
                          <a16:creationId xmlns:a16="http://schemas.microsoft.com/office/drawing/2014/main" id="{9069F53D-7B23-4895-AB98-F502C3135F7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9" name="Rectangle: Rounded Corners 163">
                      <a:extLst>
                        <a:ext uri="{FF2B5EF4-FFF2-40B4-BE49-F238E27FC236}">
                          <a16:creationId xmlns:a16="http://schemas.microsoft.com/office/drawing/2014/main" id="{0FEC1854-4A88-4E22-85E7-6AFA65819298}"/>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0" name="Rectangle: Rounded Corners 164">
                      <a:extLst>
                        <a:ext uri="{FF2B5EF4-FFF2-40B4-BE49-F238E27FC236}">
                          <a16:creationId xmlns:a16="http://schemas.microsoft.com/office/drawing/2014/main" id="{59DDFF06-7989-4A31-ACE7-E67617574590}"/>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52" name="Group 551">
                    <a:extLst>
                      <a:ext uri="{FF2B5EF4-FFF2-40B4-BE49-F238E27FC236}">
                        <a16:creationId xmlns:a16="http://schemas.microsoft.com/office/drawing/2014/main" id="{432A5446-55DA-4B1F-9D75-58015CAB0B7C}"/>
                      </a:ext>
                    </a:extLst>
                  </p:cNvPr>
                  <p:cNvGrpSpPr/>
                  <p:nvPr/>
                </p:nvGrpSpPr>
                <p:grpSpPr>
                  <a:xfrm>
                    <a:off x="4819003" y="2017956"/>
                    <a:ext cx="1553566" cy="594090"/>
                    <a:chOff x="5168302" y="2039452"/>
                    <a:chExt cx="1566168" cy="598911"/>
                  </a:xfrm>
                  <a:solidFill>
                    <a:schemeClr val="bg2">
                      <a:lumMod val="85000"/>
                    </a:schemeClr>
                  </a:solidFill>
                </p:grpSpPr>
                <p:sp>
                  <p:nvSpPr>
                    <p:cNvPr id="553" name="Rectangle: Rounded Corners 165">
                      <a:extLst>
                        <a:ext uri="{FF2B5EF4-FFF2-40B4-BE49-F238E27FC236}">
                          <a16:creationId xmlns:a16="http://schemas.microsoft.com/office/drawing/2014/main" id="{795B5F93-BF38-4327-877F-C2259E566CDF}"/>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4" name="Rectangle: Rounded Corners 166">
                      <a:extLst>
                        <a:ext uri="{FF2B5EF4-FFF2-40B4-BE49-F238E27FC236}">
                          <a16:creationId xmlns:a16="http://schemas.microsoft.com/office/drawing/2014/main" id="{C231098D-D5A5-42B1-8C77-6AEF5CD87E24}"/>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5" name="Rectangle: Rounded Corners 167">
                      <a:extLst>
                        <a:ext uri="{FF2B5EF4-FFF2-40B4-BE49-F238E27FC236}">
                          <a16:creationId xmlns:a16="http://schemas.microsoft.com/office/drawing/2014/main" id="{2F367DA3-71AA-4057-9384-191AD63633BC}"/>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6" name="Rectangle: Rounded Corners 168">
                      <a:extLst>
                        <a:ext uri="{FF2B5EF4-FFF2-40B4-BE49-F238E27FC236}">
                          <a16:creationId xmlns:a16="http://schemas.microsoft.com/office/drawing/2014/main" id="{E3577BD0-241E-4838-96E2-43B3BB637DB5}"/>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8" name="Group 427">
                  <a:extLst>
                    <a:ext uri="{FF2B5EF4-FFF2-40B4-BE49-F238E27FC236}">
                      <a16:creationId xmlns:a16="http://schemas.microsoft.com/office/drawing/2014/main" id="{D50D2B2A-A262-4F70-B228-744CCEC7EFBE}"/>
                    </a:ext>
                  </a:extLst>
                </p:cNvPr>
                <p:cNvGrpSpPr/>
                <p:nvPr/>
              </p:nvGrpSpPr>
              <p:grpSpPr>
                <a:xfrm>
                  <a:off x="3086190" y="2006242"/>
                  <a:ext cx="1509592" cy="909292"/>
                  <a:chOff x="3181899" y="1656890"/>
                  <a:chExt cx="1650332" cy="994066"/>
                </a:xfrm>
              </p:grpSpPr>
              <p:grpSp>
                <p:nvGrpSpPr>
                  <p:cNvPr id="541" name="Group 540">
                    <a:extLst>
                      <a:ext uri="{FF2B5EF4-FFF2-40B4-BE49-F238E27FC236}">
                        <a16:creationId xmlns:a16="http://schemas.microsoft.com/office/drawing/2014/main" id="{68CA2F72-0AB6-43B0-94D7-A2D2A5BE7D50}"/>
                      </a:ext>
                    </a:extLst>
                  </p:cNvPr>
                  <p:cNvGrpSpPr/>
                  <p:nvPr/>
                </p:nvGrpSpPr>
                <p:grpSpPr>
                  <a:xfrm>
                    <a:off x="3227827" y="2056864"/>
                    <a:ext cx="1604404" cy="594092"/>
                    <a:chOff x="3576919" y="2078361"/>
                    <a:chExt cx="1617419" cy="598911"/>
                  </a:xfrm>
                  <a:solidFill>
                    <a:schemeClr val="bg2">
                      <a:lumMod val="85000"/>
                    </a:schemeClr>
                  </a:solidFill>
                </p:grpSpPr>
                <p:sp>
                  <p:nvSpPr>
                    <p:cNvPr id="547" name="Rectangle: Rounded Corners 170">
                      <a:extLst>
                        <a:ext uri="{FF2B5EF4-FFF2-40B4-BE49-F238E27FC236}">
                          <a16:creationId xmlns:a16="http://schemas.microsoft.com/office/drawing/2014/main" id="{7EDED468-34A3-4D1E-8BE3-BCA9B4BD62C5}"/>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8" name="Rectangle: Rounded Corners 172">
                      <a:extLst>
                        <a:ext uri="{FF2B5EF4-FFF2-40B4-BE49-F238E27FC236}">
                          <a16:creationId xmlns:a16="http://schemas.microsoft.com/office/drawing/2014/main" id="{A6569433-62FA-47AC-99A0-0166244F2536}"/>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9" name="Rectangle: Rounded Corners 173">
                      <a:extLst>
                        <a:ext uri="{FF2B5EF4-FFF2-40B4-BE49-F238E27FC236}">
                          <a16:creationId xmlns:a16="http://schemas.microsoft.com/office/drawing/2014/main" id="{4247FAD5-D390-4BAA-8759-658E0BD2B186}"/>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0" name="Rectangle: Rounded Corners 174">
                      <a:extLst>
                        <a:ext uri="{FF2B5EF4-FFF2-40B4-BE49-F238E27FC236}">
                          <a16:creationId xmlns:a16="http://schemas.microsoft.com/office/drawing/2014/main" id="{2A335CB2-F045-45B1-9CD5-1AF09C775DED}"/>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42" name="Group 541">
                    <a:extLst>
                      <a:ext uri="{FF2B5EF4-FFF2-40B4-BE49-F238E27FC236}">
                        <a16:creationId xmlns:a16="http://schemas.microsoft.com/office/drawing/2014/main" id="{3A809CAC-23C7-49B0-BFDB-739FA295FF08}"/>
                      </a:ext>
                    </a:extLst>
                  </p:cNvPr>
                  <p:cNvGrpSpPr/>
                  <p:nvPr/>
                </p:nvGrpSpPr>
                <p:grpSpPr>
                  <a:xfrm>
                    <a:off x="3181899" y="1656890"/>
                    <a:ext cx="1443175" cy="594090"/>
                    <a:chOff x="3531199" y="1518292"/>
                    <a:chExt cx="1454882" cy="598911"/>
                  </a:xfrm>
                  <a:solidFill>
                    <a:schemeClr val="bg2">
                      <a:lumMod val="85000"/>
                    </a:schemeClr>
                  </a:solidFill>
                </p:grpSpPr>
                <p:sp>
                  <p:nvSpPr>
                    <p:cNvPr id="543" name="Rectangle: Rounded Corners 175">
                      <a:extLst>
                        <a:ext uri="{FF2B5EF4-FFF2-40B4-BE49-F238E27FC236}">
                          <a16:creationId xmlns:a16="http://schemas.microsoft.com/office/drawing/2014/main" id="{6689CB55-9603-45FA-95EF-8EC89E5AD3C8}"/>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4" name="Rectangle: Rounded Corners 176">
                      <a:extLst>
                        <a:ext uri="{FF2B5EF4-FFF2-40B4-BE49-F238E27FC236}">
                          <a16:creationId xmlns:a16="http://schemas.microsoft.com/office/drawing/2014/main" id="{AA44B59E-9EC7-420C-95B2-504B3077B974}"/>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5" name="Rectangle: Rounded Corners 177">
                      <a:extLst>
                        <a:ext uri="{FF2B5EF4-FFF2-40B4-BE49-F238E27FC236}">
                          <a16:creationId xmlns:a16="http://schemas.microsoft.com/office/drawing/2014/main" id="{0F584308-9C74-4352-8591-A7AD5261180D}"/>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6" name="Rectangle: Rounded Corners 178">
                      <a:extLst>
                        <a:ext uri="{FF2B5EF4-FFF2-40B4-BE49-F238E27FC236}">
                          <a16:creationId xmlns:a16="http://schemas.microsoft.com/office/drawing/2014/main" id="{B913CE34-C127-47F2-9AC9-5CF9EABCAC94}"/>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9" name="Group 428">
                  <a:extLst>
                    <a:ext uri="{FF2B5EF4-FFF2-40B4-BE49-F238E27FC236}">
                      <a16:creationId xmlns:a16="http://schemas.microsoft.com/office/drawing/2014/main" id="{586E91CF-9E4A-45D6-A583-6EA74A7E2649}"/>
                    </a:ext>
                  </a:extLst>
                </p:cNvPr>
                <p:cNvGrpSpPr/>
                <p:nvPr/>
              </p:nvGrpSpPr>
              <p:grpSpPr>
                <a:xfrm>
                  <a:off x="1799537" y="2094016"/>
                  <a:ext cx="1491424" cy="749099"/>
                  <a:chOff x="6621828" y="1373655"/>
                  <a:chExt cx="1630470" cy="818938"/>
                </a:xfrm>
                <a:solidFill>
                  <a:schemeClr val="bg2">
                    <a:lumMod val="85000"/>
                  </a:schemeClr>
                </a:solidFill>
              </p:grpSpPr>
              <p:sp>
                <p:nvSpPr>
                  <p:cNvPr id="535" name="Rectangle: Rounded Corners 190">
                    <a:extLst>
                      <a:ext uri="{FF2B5EF4-FFF2-40B4-BE49-F238E27FC236}">
                        <a16:creationId xmlns:a16="http://schemas.microsoft.com/office/drawing/2014/main" id="{948E9081-CD96-436A-AC4B-6F72F056F6F8}"/>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6" name="Rectangle: Rounded Corners 191">
                    <a:extLst>
                      <a:ext uri="{FF2B5EF4-FFF2-40B4-BE49-F238E27FC236}">
                        <a16:creationId xmlns:a16="http://schemas.microsoft.com/office/drawing/2014/main" id="{A81A9705-D467-46F0-82B8-A01D92179FFE}"/>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7" name="Rectangle: Rounded Corners 192">
                    <a:extLst>
                      <a:ext uri="{FF2B5EF4-FFF2-40B4-BE49-F238E27FC236}">
                        <a16:creationId xmlns:a16="http://schemas.microsoft.com/office/drawing/2014/main" id="{4B0F9048-BE28-43F0-96E5-4D865F5ECDC0}"/>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8" name="Rectangle: Rounded Corners 194">
                    <a:extLst>
                      <a:ext uri="{FF2B5EF4-FFF2-40B4-BE49-F238E27FC236}">
                        <a16:creationId xmlns:a16="http://schemas.microsoft.com/office/drawing/2014/main" id="{B8646E8C-09E9-438A-9ADC-920A0A4C960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9" name="Rectangle: Rounded Corners 228">
                    <a:extLst>
                      <a:ext uri="{FF2B5EF4-FFF2-40B4-BE49-F238E27FC236}">
                        <a16:creationId xmlns:a16="http://schemas.microsoft.com/office/drawing/2014/main" id="{ABFE1E99-17E1-4515-9676-CFBB2B12E140}"/>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0" name="Rectangle: Rounded Corners 229">
                    <a:extLst>
                      <a:ext uri="{FF2B5EF4-FFF2-40B4-BE49-F238E27FC236}">
                        <a16:creationId xmlns:a16="http://schemas.microsoft.com/office/drawing/2014/main" id="{345A3AA8-488D-4048-847B-D088EF17E615}"/>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30" name="TextBox 429">
                  <a:extLst>
                    <a:ext uri="{FF2B5EF4-FFF2-40B4-BE49-F238E27FC236}">
                      <a16:creationId xmlns:a16="http://schemas.microsoft.com/office/drawing/2014/main" id="{DD827FBC-E349-4877-AEDA-0A05594455BB}"/>
                    </a:ext>
                  </a:extLst>
                </p:cNvPr>
                <p:cNvSpPr txBox="1"/>
                <p:nvPr/>
              </p:nvSpPr>
              <p:spPr>
                <a:xfrm>
                  <a:off x="2162365" y="2322454"/>
                  <a:ext cx="588624" cy="230832"/>
                </a:xfrm>
                <a:prstGeom prst="rect">
                  <a:avLst/>
                </a:prstGeom>
                <a:noFill/>
              </p:spPr>
              <p:txBody>
                <a:bodyPr wrap="none" rtlCol="0">
                  <a:spAutoFit/>
                </a:bodyPr>
                <a:lstStyle/>
                <a:p>
                  <a:pPr algn="ctr"/>
                  <a:r>
                    <a:rPr lang="en-US" sz="900" b="1" dirty="0"/>
                    <a:t>Access</a:t>
                  </a:r>
                </a:p>
              </p:txBody>
            </p:sp>
            <p:sp>
              <p:nvSpPr>
                <p:cNvPr id="431" name="TextBox 430">
                  <a:extLst>
                    <a:ext uri="{FF2B5EF4-FFF2-40B4-BE49-F238E27FC236}">
                      <a16:creationId xmlns:a16="http://schemas.microsoft.com/office/drawing/2014/main" id="{0D38132E-92B8-46F3-8471-C7B7E4004432}"/>
                    </a:ext>
                  </a:extLst>
                </p:cNvPr>
                <p:cNvSpPr txBox="1"/>
                <p:nvPr/>
              </p:nvSpPr>
              <p:spPr>
                <a:xfrm>
                  <a:off x="3399904" y="2322454"/>
                  <a:ext cx="1069525" cy="230832"/>
                </a:xfrm>
                <a:prstGeom prst="rect">
                  <a:avLst/>
                </a:prstGeom>
                <a:noFill/>
              </p:spPr>
              <p:txBody>
                <a:bodyPr wrap="none" rtlCol="0">
                  <a:spAutoFit/>
                </a:bodyPr>
                <a:lstStyle/>
                <a:p>
                  <a:pPr algn="ctr"/>
                  <a:r>
                    <a:rPr lang="en-US" sz="900" b="1" dirty="0"/>
                    <a:t>Pre-aggregation</a:t>
                  </a:r>
                </a:p>
              </p:txBody>
            </p:sp>
            <p:sp>
              <p:nvSpPr>
                <p:cNvPr id="432" name="TextBox 431">
                  <a:extLst>
                    <a:ext uri="{FF2B5EF4-FFF2-40B4-BE49-F238E27FC236}">
                      <a16:creationId xmlns:a16="http://schemas.microsoft.com/office/drawing/2014/main" id="{DD953ADC-8E6E-40DA-94CD-7FEB9B7597A5}"/>
                    </a:ext>
                  </a:extLst>
                </p:cNvPr>
                <p:cNvSpPr txBox="1"/>
                <p:nvPr/>
              </p:nvSpPr>
              <p:spPr>
                <a:xfrm>
                  <a:off x="5827401" y="2334311"/>
                  <a:ext cx="447558" cy="230832"/>
                </a:xfrm>
                <a:prstGeom prst="rect">
                  <a:avLst/>
                </a:prstGeom>
                <a:noFill/>
              </p:spPr>
              <p:txBody>
                <a:bodyPr wrap="none" rtlCol="0">
                  <a:spAutoFit/>
                </a:bodyPr>
                <a:lstStyle/>
                <a:p>
                  <a:pPr algn="ctr"/>
                  <a:r>
                    <a:rPr lang="en-US" sz="900" b="1" dirty="0"/>
                    <a:t>Core</a:t>
                  </a:r>
                </a:p>
              </p:txBody>
            </p:sp>
            <p:grpSp>
              <p:nvGrpSpPr>
                <p:cNvPr id="433" name="Group 432">
                  <a:extLst>
                    <a:ext uri="{FF2B5EF4-FFF2-40B4-BE49-F238E27FC236}">
                      <a16:creationId xmlns:a16="http://schemas.microsoft.com/office/drawing/2014/main" id="{87602542-FAC5-4BDF-A4A8-E22544CC64CA}"/>
                    </a:ext>
                  </a:extLst>
                </p:cNvPr>
                <p:cNvGrpSpPr/>
                <p:nvPr/>
              </p:nvGrpSpPr>
              <p:grpSpPr>
                <a:xfrm>
                  <a:off x="1722376" y="1935055"/>
                  <a:ext cx="160263" cy="98451"/>
                  <a:chOff x="3221673" y="3946130"/>
                  <a:chExt cx="521162" cy="320153"/>
                </a:xfrm>
                <a:solidFill>
                  <a:schemeClr val="accent2"/>
                </a:solidFill>
              </p:grpSpPr>
              <p:sp>
                <p:nvSpPr>
                  <p:cNvPr id="533" name="Freeform 7">
                    <a:extLst>
                      <a:ext uri="{FF2B5EF4-FFF2-40B4-BE49-F238E27FC236}">
                        <a16:creationId xmlns:a16="http://schemas.microsoft.com/office/drawing/2014/main" id="{44606877-F029-42A7-A114-540FC6D2EB8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dirty="0"/>
                  </a:p>
                </p:txBody>
              </p:sp>
              <p:sp>
                <p:nvSpPr>
                  <p:cNvPr id="534" name="Freeform 23">
                    <a:extLst>
                      <a:ext uri="{FF2B5EF4-FFF2-40B4-BE49-F238E27FC236}">
                        <a16:creationId xmlns:a16="http://schemas.microsoft.com/office/drawing/2014/main" id="{1EFE0505-9F96-469E-9392-1786AC943DE9}"/>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4" name="Group 433">
                  <a:extLst>
                    <a:ext uri="{FF2B5EF4-FFF2-40B4-BE49-F238E27FC236}">
                      <a16:creationId xmlns:a16="http://schemas.microsoft.com/office/drawing/2014/main" id="{C28A7165-8CA8-44C4-8A59-A7D8E81FF47B}"/>
                    </a:ext>
                  </a:extLst>
                </p:cNvPr>
                <p:cNvGrpSpPr/>
                <p:nvPr/>
              </p:nvGrpSpPr>
              <p:grpSpPr>
                <a:xfrm>
                  <a:off x="1388809" y="1934661"/>
                  <a:ext cx="166060" cy="99240"/>
                  <a:chOff x="3202819" y="3711222"/>
                  <a:chExt cx="348044" cy="207998"/>
                </a:xfrm>
                <a:solidFill>
                  <a:schemeClr val="accent1"/>
                </a:solidFill>
              </p:grpSpPr>
              <p:sp>
                <p:nvSpPr>
                  <p:cNvPr id="531" name="Freeform 77">
                    <a:extLst>
                      <a:ext uri="{FF2B5EF4-FFF2-40B4-BE49-F238E27FC236}">
                        <a16:creationId xmlns:a16="http://schemas.microsoft.com/office/drawing/2014/main" id="{0D888EA3-13EC-45DB-AAE2-A56AD4DD2DE8}"/>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dirty="0"/>
                  </a:p>
                </p:txBody>
              </p:sp>
              <p:sp>
                <p:nvSpPr>
                  <p:cNvPr id="532" name="Freeform 23">
                    <a:extLst>
                      <a:ext uri="{FF2B5EF4-FFF2-40B4-BE49-F238E27FC236}">
                        <a16:creationId xmlns:a16="http://schemas.microsoft.com/office/drawing/2014/main" id="{6624EDAD-8189-4B6B-8442-6C185C3DD7C9}"/>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5" name="Group 434">
                  <a:extLst>
                    <a:ext uri="{FF2B5EF4-FFF2-40B4-BE49-F238E27FC236}">
                      <a16:creationId xmlns:a16="http://schemas.microsoft.com/office/drawing/2014/main" id="{D2919D61-9C74-4C04-BFD5-01A8206B7D7B}"/>
                    </a:ext>
                  </a:extLst>
                </p:cNvPr>
                <p:cNvGrpSpPr/>
                <p:nvPr/>
              </p:nvGrpSpPr>
              <p:grpSpPr>
                <a:xfrm>
                  <a:off x="1061637" y="1935056"/>
                  <a:ext cx="159067" cy="98449"/>
                  <a:chOff x="974446" y="1475289"/>
                  <a:chExt cx="173897" cy="107627"/>
                </a:xfrm>
                <a:solidFill>
                  <a:schemeClr val="accent5"/>
                </a:solidFill>
              </p:grpSpPr>
              <p:sp>
                <p:nvSpPr>
                  <p:cNvPr id="529" name="Freeform 11">
                    <a:extLst>
                      <a:ext uri="{FF2B5EF4-FFF2-40B4-BE49-F238E27FC236}">
                        <a16:creationId xmlns:a16="http://schemas.microsoft.com/office/drawing/2014/main" id="{4E9113F6-2F11-4E76-B340-4B987A625CA1}"/>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530" name="Freeform 23">
                    <a:extLst>
                      <a:ext uri="{FF2B5EF4-FFF2-40B4-BE49-F238E27FC236}">
                        <a16:creationId xmlns:a16="http://schemas.microsoft.com/office/drawing/2014/main" id="{682E4B11-CF1B-4398-A5E4-8C26E5DBD780}"/>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436" name="Group 435">
                  <a:extLst>
                    <a:ext uri="{FF2B5EF4-FFF2-40B4-BE49-F238E27FC236}">
                      <a16:creationId xmlns:a16="http://schemas.microsoft.com/office/drawing/2014/main" id="{112D7826-9847-4F1D-93C1-BCC449056B80}"/>
                    </a:ext>
                  </a:extLst>
                </p:cNvPr>
                <p:cNvGrpSpPr/>
                <p:nvPr/>
              </p:nvGrpSpPr>
              <p:grpSpPr>
                <a:xfrm>
                  <a:off x="3062826" y="1914581"/>
                  <a:ext cx="396817" cy="396817"/>
                  <a:chOff x="3119641" y="1416189"/>
                  <a:chExt cx="507244" cy="507244"/>
                </a:xfrm>
              </p:grpSpPr>
              <p:sp>
                <p:nvSpPr>
                  <p:cNvPr id="522" name="Oval 521">
                    <a:extLst>
                      <a:ext uri="{FF2B5EF4-FFF2-40B4-BE49-F238E27FC236}">
                        <a16:creationId xmlns:a16="http://schemas.microsoft.com/office/drawing/2014/main" id="{FAF32BE9-140A-40B9-A600-1739866C6B11}"/>
                      </a:ext>
                    </a:extLst>
                  </p:cNvPr>
                  <p:cNvSpPr/>
                  <p:nvPr/>
                </p:nvSpPr>
                <p:spPr>
                  <a:xfrm>
                    <a:off x="3119641" y="1416189"/>
                    <a:ext cx="507244" cy="507244"/>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23" name="Group 522">
                    <a:extLst>
                      <a:ext uri="{FF2B5EF4-FFF2-40B4-BE49-F238E27FC236}">
                        <a16:creationId xmlns:a16="http://schemas.microsoft.com/office/drawing/2014/main" id="{0794BBE5-51EE-4FA6-A7BC-B40A0815E5B2}"/>
                      </a:ext>
                    </a:extLst>
                  </p:cNvPr>
                  <p:cNvGrpSpPr/>
                  <p:nvPr/>
                </p:nvGrpSpPr>
                <p:grpSpPr>
                  <a:xfrm>
                    <a:off x="3179583" y="1476131"/>
                    <a:ext cx="387360" cy="387360"/>
                    <a:chOff x="2652535" y="-3571486"/>
                    <a:chExt cx="4882348" cy="4882348"/>
                  </a:xfrm>
                  <a:solidFill>
                    <a:schemeClr val="bg2"/>
                  </a:solidFill>
                </p:grpSpPr>
                <p:sp>
                  <p:nvSpPr>
                    <p:cNvPr id="524" name="Freeform: Shape 298">
                      <a:extLst>
                        <a:ext uri="{FF2B5EF4-FFF2-40B4-BE49-F238E27FC236}">
                          <a16:creationId xmlns:a16="http://schemas.microsoft.com/office/drawing/2014/main" id="{B6D34471-2586-44CC-A072-68C45F52015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5" name="Freeform: Shape 299">
                      <a:extLst>
                        <a:ext uri="{FF2B5EF4-FFF2-40B4-BE49-F238E27FC236}">
                          <a16:creationId xmlns:a16="http://schemas.microsoft.com/office/drawing/2014/main" id="{87998161-2C76-4547-A932-04AF8E27D76C}"/>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26" name="Group 525">
                      <a:extLst>
                        <a:ext uri="{FF2B5EF4-FFF2-40B4-BE49-F238E27FC236}">
                          <a16:creationId xmlns:a16="http://schemas.microsoft.com/office/drawing/2014/main" id="{5E05D5C0-0427-4C95-ABA5-718A3BDFEFF0}"/>
                        </a:ext>
                      </a:extLst>
                    </p:cNvPr>
                    <p:cNvGrpSpPr/>
                    <p:nvPr/>
                  </p:nvGrpSpPr>
                  <p:grpSpPr>
                    <a:xfrm rot="5400000">
                      <a:off x="4197485" y="-3571486"/>
                      <a:ext cx="1792447" cy="4882348"/>
                      <a:chOff x="4197485" y="-3571486"/>
                      <a:chExt cx="1792447" cy="4882348"/>
                    </a:xfrm>
                    <a:grpFill/>
                  </p:grpSpPr>
                  <p:sp>
                    <p:nvSpPr>
                      <p:cNvPr id="527" name="Freeform: Shape 301">
                        <a:extLst>
                          <a:ext uri="{FF2B5EF4-FFF2-40B4-BE49-F238E27FC236}">
                            <a16:creationId xmlns:a16="http://schemas.microsoft.com/office/drawing/2014/main" id="{61C0F6FB-D11D-4480-AF46-C2AC70CFD4DB}"/>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8" name="Freeform: Shape 302">
                        <a:extLst>
                          <a:ext uri="{FF2B5EF4-FFF2-40B4-BE49-F238E27FC236}">
                            <a16:creationId xmlns:a16="http://schemas.microsoft.com/office/drawing/2014/main" id="{8DAF4521-520B-4B6E-953E-E2D93606A29D}"/>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7" name="Group 436">
                  <a:extLst>
                    <a:ext uri="{FF2B5EF4-FFF2-40B4-BE49-F238E27FC236}">
                      <a16:creationId xmlns:a16="http://schemas.microsoft.com/office/drawing/2014/main" id="{6DC4E5BB-A596-442A-BFD2-D6A06384EB94}"/>
                    </a:ext>
                  </a:extLst>
                </p:cNvPr>
                <p:cNvGrpSpPr/>
                <p:nvPr/>
              </p:nvGrpSpPr>
              <p:grpSpPr>
                <a:xfrm>
                  <a:off x="3062826" y="2564265"/>
                  <a:ext cx="396817" cy="396817"/>
                  <a:chOff x="3119641" y="2126443"/>
                  <a:chExt cx="507244" cy="507244"/>
                </a:xfrm>
              </p:grpSpPr>
              <p:sp>
                <p:nvSpPr>
                  <p:cNvPr id="515" name="Oval 514">
                    <a:extLst>
                      <a:ext uri="{FF2B5EF4-FFF2-40B4-BE49-F238E27FC236}">
                        <a16:creationId xmlns:a16="http://schemas.microsoft.com/office/drawing/2014/main" id="{EE2A51AF-E4F4-49EF-9844-407D862CF805}"/>
                      </a:ext>
                    </a:extLst>
                  </p:cNvPr>
                  <p:cNvSpPr/>
                  <p:nvPr/>
                </p:nvSpPr>
                <p:spPr>
                  <a:xfrm>
                    <a:off x="3119641" y="2126443"/>
                    <a:ext cx="507244" cy="507244"/>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16" name="Group 515">
                    <a:extLst>
                      <a:ext uri="{FF2B5EF4-FFF2-40B4-BE49-F238E27FC236}">
                        <a16:creationId xmlns:a16="http://schemas.microsoft.com/office/drawing/2014/main" id="{C65B9FD2-2960-4082-98DD-139CA43AC038}"/>
                      </a:ext>
                    </a:extLst>
                  </p:cNvPr>
                  <p:cNvGrpSpPr/>
                  <p:nvPr/>
                </p:nvGrpSpPr>
                <p:grpSpPr>
                  <a:xfrm>
                    <a:off x="3179583" y="2186385"/>
                    <a:ext cx="387360" cy="387360"/>
                    <a:chOff x="2652535" y="-3571486"/>
                    <a:chExt cx="4882348" cy="4882348"/>
                  </a:xfrm>
                  <a:solidFill>
                    <a:schemeClr val="bg2"/>
                  </a:solidFill>
                </p:grpSpPr>
                <p:sp>
                  <p:nvSpPr>
                    <p:cNvPr id="517" name="Freeform: Shape 310">
                      <a:extLst>
                        <a:ext uri="{FF2B5EF4-FFF2-40B4-BE49-F238E27FC236}">
                          <a16:creationId xmlns:a16="http://schemas.microsoft.com/office/drawing/2014/main" id="{D911AB50-D703-4670-9C78-6D9D3D91590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8" name="Freeform: Shape 311">
                      <a:extLst>
                        <a:ext uri="{FF2B5EF4-FFF2-40B4-BE49-F238E27FC236}">
                          <a16:creationId xmlns:a16="http://schemas.microsoft.com/office/drawing/2014/main" id="{A2876FE9-9C7B-4FB4-8267-F695D2D54A0F}"/>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9" name="Group 518">
                      <a:extLst>
                        <a:ext uri="{FF2B5EF4-FFF2-40B4-BE49-F238E27FC236}">
                          <a16:creationId xmlns:a16="http://schemas.microsoft.com/office/drawing/2014/main" id="{D557623F-B3D1-4FE9-84DE-9A42F1E60D9C}"/>
                        </a:ext>
                      </a:extLst>
                    </p:cNvPr>
                    <p:cNvGrpSpPr/>
                    <p:nvPr/>
                  </p:nvGrpSpPr>
                  <p:grpSpPr>
                    <a:xfrm rot="5400000">
                      <a:off x="4197485" y="-3571486"/>
                      <a:ext cx="1792447" cy="4882348"/>
                      <a:chOff x="4197485" y="-3571486"/>
                      <a:chExt cx="1792447" cy="4882348"/>
                    </a:xfrm>
                    <a:grpFill/>
                  </p:grpSpPr>
                  <p:sp>
                    <p:nvSpPr>
                      <p:cNvPr id="520" name="Freeform: Shape 313">
                        <a:extLst>
                          <a:ext uri="{FF2B5EF4-FFF2-40B4-BE49-F238E27FC236}">
                            <a16:creationId xmlns:a16="http://schemas.microsoft.com/office/drawing/2014/main" id="{18AACA6B-044E-4DE0-A1B0-8AEAB855435C}"/>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1" name="Freeform: Shape 314">
                        <a:extLst>
                          <a:ext uri="{FF2B5EF4-FFF2-40B4-BE49-F238E27FC236}">
                            <a16:creationId xmlns:a16="http://schemas.microsoft.com/office/drawing/2014/main" id="{C27F08E9-BE5C-4412-8720-129DB0A0FA70}"/>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8" name="Group 437">
                  <a:extLst>
                    <a:ext uri="{FF2B5EF4-FFF2-40B4-BE49-F238E27FC236}">
                      <a16:creationId xmlns:a16="http://schemas.microsoft.com/office/drawing/2014/main" id="{70890142-3569-473A-832F-558767F2DD9B}"/>
                    </a:ext>
                  </a:extLst>
                </p:cNvPr>
                <p:cNvGrpSpPr/>
                <p:nvPr/>
              </p:nvGrpSpPr>
              <p:grpSpPr>
                <a:xfrm>
                  <a:off x="4413642" y="1914581"/>
                  <a:ext cx="396817" cy="396817"/>
                  <a:chOff x="4596394" y="1416189"/>
                  <a:chExt cx="507244" cy="507244"/>
                </a:xfrm>
              </p:grpSpPr>
              <p:sp>
                <p:nvSpPr>
                  <p:cNvPr id="508" name="Oval 507">
                    <a:extLst>
                      <a:ext uri="{FF2B5EF4-FFF2-40B4-BE49-F238E27FC236}">
                        <a16:creationId xmlns:a16="http://schemas.microsoft.com/office/drawing/2014/main" id="{A9CE2AC4-C299-4E2F-9222-25489092AFE9}"/>
                      </a:ext>
                    </a:extLst>
                  </p:cNvPr>
                  <p:cNvSpPr/>
                  <p:nvPr/>
                </p:nvSpPr>
                <p:spPr>
                  <a:xfrm>
                    <a:off x="4596394" y="1416189"/>
                    <a:ext cx="507244" cy="507244"/>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09" name="Group 508">
                    <a:extLst>
                      <a:ext uri="{FF2B5EF4-FFF2-40B4-BE49-F238E27FC236}">
                        <a16:creationId xmlns:a16="http://schemas.microsoft.com/office/drawing/2014/main" id="{BD680461-FA82-4D8F-8BD5-7A40D4367162}"/>
                      </a:ext>
                    </a:extLst>
                  </p:cNvPr>
                  <p:cNvGrpSpPr/>
                  <p:nvPr/>
                </p:nvGrpSpPr>
                <p:grpSpPr>
                  <a:xfrm>
                    <a:off x="4656336" y="1476131"/>
                    <a:ext cx="387360" cy="387360"/>
                    <a:chOff x="2652535" y="-3571486"/>
                    <a:chExt cx="4882348" cy="4882348"/>
                  </a:xfrm>
                  <a:solidFill>
                    <a:schemeClr val="bg2"/>
                  </a:solidFill>
                </p:grpSpPr>
                <p:sp>
                  <p:nvSpPr>
                    <p:cNvPr id="510" name="Freeform: Shape 316">
                      <a:extLst>
                        <a:ext uri="{FF2B5EF4-FFF2-40B4-BE49-F238E27FC236}">
                          <a16:creationId xmlns:a16="http://schemas.microsoft.com/office/drawing/2014/main" id="{31E69456-1D42-4E0A-85FB-8A5C250668B9}"/>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1" name="Freeform: Shape 317">
                      <a:extLst>
                        <a:ext uri="{FF2B5EF4-FFF2-40B4-BE49-F238E27FC236}">
                          <a16:creationId xmlns:a16="http://schemas.microsoft.com/office/drawing/2014/main" id="{94BFB5DF-AE4C-4465-B5FD-F5FB87FECA12}"/>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2" name="Group 511">
                      <a:extLst>
                        <a:ext uri="{FF2B5EF4-FFF2-40B4-BE49-F238E27FC236}">
                          <a16:creationId xmlns:a16="http://schemas.microsoft.com/office/drawing/2014/main" id="{7719C80D-DADA-487F-B8E3-6DEF17D8FE48}"/>
                        </a:ext>
                      </a:extLst>
                    </p:cNvPr>
                    <p:cNvGrpSpPr/>
                    <p:nvPr/>
                  </p:nvGrpSpPr>
                  <p:grpSpPr>
                    <a:xfrm rot="5400000">
                      <a:off x="4197485" y="-3571486"/>
                      <a:ext cx="1792447" cy="4882348"/>
                      <a:chOff x="4197485" y="-3571486"/>
                      <a:chExt cx="1792447" cy="4882348"/>
                    </a:xfrm>
                    <a:grpFill/>
                  </p:grpSpPr>
                  <p:sp>
                    <p:nvSpPr>
                      <p:cNvPr id="513" name="Freeform: Shape 319">
                        <a:extLst>
                          <a:ext uri="{FF2B5EF4-FFF2-40B4-BE49-F238E27FC236}">
                            <a16:creationId xmlns:a16="http://schemas.microsoft.com/office/drawing/2014/main" id="{71D479D3-E51E-4A38-ABDE-0A071DF8575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4" name="Freeform: Shape 320">
                        <a:extLst>
                          <a:ext uri="{FF2B5EF4-FFF2-40B4-BE49-F238E27FC236}">
                            <a16:creationId xmlns:a16="http://schemas.microsoft.com/office/drawing/2014/main" id="{E735D331-70C1-400C-9326-EA4D68024BFB}"/>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9" name="Group 438">
                  <a:extLst>
                    <a:ext uri="{FF2B5EF4-FFF2-40B4-BE49-F238E27FC236}">
                      <a16:creationId xmlns:a16="http://schemas.microsoft.com/office/drawing/2014/main" id="{89B6FE3C-095B-4EC4-B9F3-08B8797C98F4}"/>
                    </a:ext>
                  </a:extLst>
                </p:cNvPr>
                <p:cNvGrpSpPr/>
                <p:nvPr/>
              </p:nvGrpSpPr>
              <p:grpSpPr>
                <a:xfrm>
                  <a:off x="4413642" y="2564265"/>
                  <a:ext cx="396817" cy="396817"/>
                  <a:chOff x="4596394" y="2126443"/>
                  <a:chExt cx="507244" cy="507244"/>
                </a:xfrm>
              </p:grpSpPr>
              <p:sp>
                <p:nvSpPr>
                  <p:cNvPr id="501" name="Oval 500">
                    <a:extLst>
                      <a:ext uri="{FF2B5EF4-FFF2-40B4-BE49-F238E27FC236}">
                        <a16:creationId xmlns:a16="http://schemas.microsoft.com/office/drawing/2014/main" id="{5777650D-9B57-4CFA-B6CF-DF3651C58B11}"/>
                      </a:ext>
                    </a:extLst>
                  </p:cNvPr>
                  <p:cNvSpPr/>
                  <p:nvPr/>
                </p:nvSpPr>
                <p:spPr>
                  <a:xfrm>
                    <a:off x="4596394" y="2126443"/>
                    <a:ext cx="507244" cy="507244"/>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nvGrpSpPr>
                  <p:cNvPr id="502" name="Group 501">
                    <a:extLst>
                      <a:ext uri="{FF2B5EF4-FFF2-40B4-BE49-F238E27FC236}">
                        <a16:creationId xmlns:a16="http://schemas.microsoft.com/office/drawing/2014/main" id="{5D20FC79-6FBB-4967-8601-ED6181D5FB9D}"/>
                      </a:ext>
                    </a:extLst>
                  </p:cNvPr>
                  <p:cNvGrpSpPr/>
                  <p:nvPr/>
                </p:nvGrpSpPr>
                <p:grpSpPr>
                  <a:xfrm>
                    <a:off x="4656336" y="2186385"/>
                    <a:ext cx="387360" cy="387360"/>
                    <a:chOff x="2652535" y="-3571486"/>
                    <a:chExt cx="4882348" cy="4882348"/>
                  </a:xfrm>
                  <a:solidFill>
                    <a:schemeClr val="bg2"/>
                  </a:solidFill>
                </p:grpSpPr>
                <p:sp>
                  <p:nvSpPr>
                    <p:cNvPr id="503" name="Freeform: Shape 322">
                      <a:extLst>
                        <a:ext uri="{FF2B5EF4-FFF2-40B4-BE49-F238E27FC236}">
                          <a16:creationId xmlns:a16="http://schemas.microsoft.com/office/drawing/2014/main" id="{043DE606-CE78-4762-85B6-66ED2DA9C2AB}"/>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4" name="Freeform: Shape 323">
                      <a:extLst>
                        <a:ext uri="{FF2B5EF4-FFF2-40B4-BE49-F238E27FC236}">
                          <a16:creationId xmlns:a16="http://schemas.microsoft.com/office/drawing/2014/main" id="{499FDDB3-6530-4BC4-9CA3-03400FBE9DB1}"/>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05" name="Group 504">
                      <a:extLst>
                        <a:ext uri="{FF2B5EF4-FFF2-40B4-BE49-F238E27FC236}">
                          <a16:creationId xmlns:a16="http://schemas.microsoft.com/office/drawing/2014/main" id="{C0FC8086-3DF7-4B20-972E-26389864236B}"/>
                        </a:ext>
                      </a:extLst>
                    </p:cNvPr>
                    <p:cNvGrpSpPr/>
                    <p:nvPr/>
                  </p:nvGrpSpPr>
                  <p:grpSpPr>
                    <a:xfrm rot="5400000">
                      <a:off x="4197485" y="-3571486"/>
                      <a:ext cx="1792447" cy="4882348"/>
                      <a:chOff x="4197485" y="-3571486"/>
                      <a:chExt cx="1792447" cy="4882348"/>
                    </a:xfrm>
                    <a:grpFill/>
                  </p:grpSpPr>
                  <p:sp>
                    <p:nvSpPr>
                      <p:cNvPr id="506" name="Freeform: Shape 325">
                        <a:extLst>
                          <a:ext uri="{FF2B5EF4-FFF2-40B4-BE49-F238E27FC236}">
                            <a16:creationId xmlns:a16="http://schemas.microsoft.com/office/drawing/2014/main" id="{3990668B-3509-4E04-8CFA-E231CDD396D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7" name="Freeform: Shape 326">
                        <a:extLst>
                          <a:ext uri="{FF2B5EF4-FFF2-40B4-BE49-F238E27FC236}">
                            <a16:creationId xmlns:a16="http://schemas.microsoft.com/office/drawing/2014/main" id="{2D720520-3E98-408A-A376-D3A8BFDAD44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40" name="Group 439">
                  <a:extLst>
                    <a:ext uri="{FF2B5EF4-FFF2-40B4-BE49-F238E27FC236}">
                      <a16:creationId xmlns:a16="http://schemas.microsoft.com/office/drawing/2014/main" id="{543B5AFA-85EF-4554-B3B0-24715B822CE9}"/>
                    </a:ext>
                  </a:extLst>
                </p:cNvPr>
                <p:cNvGrpSpPr/>
                <p:nvPr/>
              </p:nvGrpSpPr>
              <p:grpSpPr>
                <a:xfrm>
                  <a:off x="6807004" y="1957907"/>
                  <a:ext cx="819226" cy="517562"/>
                  <a:chOff x="6444145" y="1701124"/>
                  <a:chExt cx="1280626" cy="802839"/>
                </a:xfrm>
                <a:solidFill>
                  <a:schemeClr val="tx2"/>
                </a:solidFill>
              </p:grpSpPr>
              <p:grpSp>
                <p:nvGrpSpPr>
                  <p:cNvPr id="495" name="Group 494">
                    <a:extLst>
                      <a:ext uri="{FF2B5EF4-FFF2-40B4-BE49-F238E27FC236}">
                        <a16:creationId xmlns:a16="http://schemas.microsoft.com/office/drawing/2014/main" id="{0ABED0C7-E167-4BEE-8EA8-2A7D0265C401}"/>
                      </a:ext>
                    </a:extLst>
                  </p:cNvPr>
                  <p:cNvGrpSpPr/>
                  <p:nvPr/>
                </p:nvGrpSpPr>
                <p:grpSpPr>
                  <a:xfrm>
                    <a:off x="6444145" y="2041258"/>
                    <a:ext cx="1280626" cy="462705"/>
                    <a:chOff x="6799745" y="2065165"/>
                    <a:chExt cx="1280626" cy="462705"/>
                  </a:xfrm>
                  <a:grpFill/>
                </p:grpSpPr>
                <p:sp>
                  <p:nvSpPr>
                    <p:cNvPr id="499" name="Rectangle: Rounded Corners 351">
                      <a:extLst>
                        <a:ext uri="{FF2B5EF4-FFF2-40B4-BE49-F238E27FC236}">
                          <a16:creationId xmlns:a16="http://schemas.microsoft.com/office/drawing/2014/main" id="{6EEE55C2-2F45-4B6B-8105-24BF4D96233B}"/>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0" name="Rectangle: Rounded Corners 353">
                      <a:extLst>
                        <a:ext uri="{FF2B5EF4-FFF2-40B4-BE49-F238E27FC236}">
                          <a16:creationId xmlns:a16="http://schemas.microsoft.com/office/drawing/2014/main" id="{9B14800E-E859-446E-9997-E3531B0CAB75}"/>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6" name="Group 495">
                    <a:extLst>
                      <a:ext uri="{FF2B5EF4-FFF2-40B4-BE49-F238E27FC236}">
                        <a16:creationId xmlns:a16="http://schemas.microsoft.com/office/drawing/2014/main" id="{7E1C808C-1610-4066-A009-E0F824BEC39C}"/>
                      </a:ext>
                    </a:extLst>
                  </p:cNvPr>
                  <p:cNvGrpSpPr/>
                  <p:nvPr/>
                </p:nvGrpSpPr>
                <p:grpSpPr>
                  <a:xfrm>
                    <a:off x="6691732" y="1701124"/>
                    <a:ext cx="956368" cy="458033"/>
                    <a:chOff x="7044558" y="1563201"/>
                    <a:chExt cx="964127" cy="461749"/>
                  </a:xfrm>
                  <a:grpFill/>
                </p:grpSpPr>
                <p:sp>
                  <p:nvSpPr>
                    <p:cNvPr id="497" name="Rectangle: Rounded Corners 347">
                      <a:extLst>
                        <a:ext uri="{FF2B5EF4-FFF2-40B4-BE49-F238E27FC236}">
                          <a16:creationId xmlns:a16="http://schemas.microsoft.com/office/drawing/2014/main" id="{E8AC8778-54B5-47A9-8B25-EF1E3C9D77EC}"/>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8" name="Rectangle: Rounded Corners 348">
                      <a:extLst>
                        <a:ext uri="{FF2B5EF4-FFF2-40B4-BE49-F238E27FC236}">
                          <a16:creationId xmlns:a16="http://schemas.microsoft.com/office/drawing/2014/main" id="{EC798BCC-6951-4246-A2C7-FCF9DF9CEDC4}"/>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41" name="Group 440">
                  <a:extLst>
                    <a:ext uri="{FF2B5EF4-FFF2-40B4-BE49-F238E27FC236}">
                      <a16:creationId xmlns:a16="http://schemas.microsoft.com/office/drawing/2014/main" id="{C63B6FA3-3978-4224-AD05-93C4EADB2523}"/>
                    </a:ext>
                  </a:extLst>
                </p:cNvPr>
                <p:cNvGrpSpPr/>
                <p:nvPr/>
              </p:nvGrpSpPr>
              <p:grpSpPr>
                <a:xfrm>
                  <a:off x="6999001" y="2588405"/>
                  <a:ext cx="228070" cy="228070"/>
                  <a:chOff x="7547191" y="1416189"/>
                  <a:chExt cx="507244" cy="507244"/>
                </a:xfrm>
              </p:grpSpPr>
              <p:sp>
                <p:nvSpPr>
                  <p:cNvPr id="493" name="Oval 492">
                    <a:extLst>
                      <a:ext uri="{FF2B5EF4-FFF2-40B4-BE49-F238E27FC236}">
                        <a16:creationId xmlns:a16="http://schemas.microsoft.com/office/drawing/2014/main" id="{4723C510-30DA-4862-A533-8D77660422C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4" name="Freeform 594">
                    <a:extLst>
                      <a:ext uri="{FF2B5EF4-FFF2-40B4-BE49-F238E27FC236}">
                        <a16:creationId xmlns:a16="http://schemas.microsoft.com/office/drawing/2014/main" id="{C0FC5380-4990-4834-BC3B-B2289600229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2" name="Group 441">
                  <a:extLst>
                    <a:ext uri="{FF2B5EF4-FFF2-40B4-BE49-F238E27FC236}">
                      <a16:creationId xmlns:a16="http://schemas.microsoft.com/office/drawing/2014/main" id="{8D925D69-8DBE-4ABE-B9FB-BED633744961}"/>
                    </a:ext>
                  </a:extLst>
                </p:cNvPr>
                <p:cNvGrpSpPr/>
                <p:nvPr/>
              </p:nvGrpSpPr>
              <p:grpSpPr>
                <a:xfrm>
                  <a:off x="4858902" y="2770027"/>
                  <a:ext cx="860793" cy="301990"/>
                  <a:chOff x="5119882" y="2533650"/>
                  <a:chExt cx="941045" cy="425467"/>
                </a:xfrm>
              </p:grpSpPr>
              <p:sp>
                <p:nvSpPr>
                  <p:cNvPr id="489" name="Rounded Rectangle 133">
                    <a:extLst>
                      <a:ext uri="{FF2B5EF4-FFF2-40B4-BE49-F238E27FC236}">
                        <a16:creationId xmlns:a16="http://schemas.microsoft.com/office/drawing/2014/main" id="{FF2DD8BC-42E6-42F8-BD2C-DD9034706B27}"/>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490" name="Group 489">
                    <a:extLst>
                      <a:ext uri="{FF2B5EF4-FFF2-40B4-BE49-F238E27FC236}">
                        <a16:creationId xmlns:a16="http://schemas.microsoft.com/office/drawing/2014/main" id="{A8192E02-DE98-4FB6-9D91-6DE3385CA2D3}"/>
                      </a:ext>
                    </a:extLst>
                  </p:cNvPr>
                  <p:cNvGrpSpPr/>
                  <p:nvPr/>
                </p:nvGrpSpPr>
                <p:grpSpPr>
                  <a:xfrm>
                    <a:off x="5538458" y="2727217"/>
                    <a:ext cx="433750" cy="208020"/>
                    <a:chOff x="7583358" y="2759986"/>
                    <a:chExt cx="552936" cy="265180"/>
                  </a:xfrm>
                </p:grpSpPr>
                <p:pic>
                  <p:nvPicPr>
                    <p:cNvPr id="491" name="Picture 490">
                      <a:extLst>
                        <a:ext uri="{FF2B5EF4-FFF2-40B4-BE49-F238E27FC236}">
                          <a16:creationId xmlns:a16="http://schemas.microsoft.com/office/drawing/2014/main" id="{76ED62FA-AA91-4E80-81FA-57B33408FE59}"/>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492" name="Picture 491">
                      <a:extLst>
                        <a:ext uri="{FF2B5EF4-FFF2-40B4-BE49-F238E27FC236}">
                          <a16:creationId xmlns:a16="http://schemas.microsoft.com/office/drawing/2014/main" id="{76458EF2-0644-4E3C-B36E-FA2C76D5C060}"/>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443" name="Group 442">
                  <a:extLst>
                    <a:ext uri="{FF2B5EF4-FFF2-40B4-BE49-F238E27FC236}">
                      <a16:creationId xmlns:a16="http://schemas.microsoft.com/office/drawing/2014/main" id="{773CAD21-9D91-4880-91CB-8632888BA955}"/>
                    </a:ext>
                  </a:extLst>
                </p:cNvPr>
                <p:cNvGrpSpPr/>
                <p:nvPr/>
              </p:nvGrpSpPr>
              <p:grpSpPr>
                <a:xfrm>
                  <a:off x="5413022" y="2657499"/>
                  <a:ext cx="228070" cy="228070"/>
                  <a:chOff x="7547191" y="1416189"/>
                  <a:chExt cx="507244" cy="507244"/>
                </a:xfrm>
              </p:grpSpPr>
              <p:sp>
                <p:nvSpPr>
                  <p:cNvPr id="487" name="Oval 486">
                    <a:extLst>
                      <a:ext uri="{FF2B5EF4-FFF2-40B4-BE49-F238E27FC236}">
                        <a16:creationId xmlns:a16="http://schemas.microsoft.com/office/drawing/2014/main" id="{848492BE-6AEE-4DE7-8E55-00931E25FB1D}"/>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8" name="Freeform 594">
                    <a:extLst>
                      <a:ext uri="{FF2B5EF4-FFF2-40B4-BE49-F238E27FC236}">
                        <a16:creationId xmlns:a16="http://schemas.microsoft.com/office/drawing/2014/main" id="{1B9253D0-2887-4A95-903A-E786E5E94DA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4" name="Group 443">
                  <a:extLst>
                    <a:ext uri="{FF2B5EF4-FFF2-40B4-BE49-F238E27FC236}">
                      <a16:creationId xmlns:a16="http://schemas.microsoft.com/office/drawing/2014/main" id="{6001D150-F09C-4497-89A7-52FD55C916C5}"/>
                    </a:ext>
                  </a:extLst>
                </p:cNvPr>
                <p:cNvGrpSpPr/>
                <p:nvPr/>
              </p:nvGrpSpPr>
              <p:grpSpPr>
                <a:xfrm>
                  <a:off x="3509160" y="2770027"/>
                  <a:ext cx="860793" cy="301990"/>
                  <a:chOff x="3644303" y="2533650"/>
                  <a:chExt cx="941045" cy="425467"/>
                </a:xfrm>
              </p:grpSpPr>
              <p:sp>
                <p:nvSpPr>
                  <p:cNvPr id="483" name="Rounded Rectangle 133">
                    <a:extLst>
                      <a:ext uri="{FF2B5EF4-FFF2-40B4-BE49-F238E27FC236}">
                        <a16:creationId xmlns:a16="http://schemas.microsoft.com/office/drawing/2014/main" id="{2E40B311-4BDC-456D-A766-0699C4C3786F}"/>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484" name="Group 483">
                    <a:extLst>
                      <a:ext uri="{FF2B5EF4-FFF2-40B4-BE49-F238E27FC236}">
                        <a16:creationId xmlns:a16="http://schemas.microsoft.com/office/drawing/2014/main" id="{248947A1-0973-4E24-9CED-8E13F2C8499B}"/>
                      </a:ext>
                    </a:extLst>
                  </p:cNvPr>
                  <p:cNvGrpSpPr/>
                  <p:nvPr/>
                </p:nvGrpSpPr>
                <p:grpSpPr>
                  <a:xfrm>
                    <a:off x="4086942" y="2727217"/>
                    <a:ext cx="433750" cy="208020"/>
                    <a:chOff x="7614033" y="2759986"/>
                    <a:chExt cx="552936" cy="265180"/>
                  </a:xfrm>
                </p:grpSpPr>
                <p:pic>
                  <p:nvPicPr>
                    <p:cNvPr id="485" name="Picture 484">
                      <a:extLst>
                        <a:ext uri="{FF2B5EF4-FFF2-40B4-BE49-F238E27FC236}">
                          <a16:creationId xmlns:a16="http://schemas.microsoft.com/office/drawing/2014/main" id="{452152A9-8B77-4A34-9E6E-F0601FD50502}"/>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486" name="Picture 485">
                      <a:extLst>
                        <a:ext uri="{FF2B5EF4-FFF2-40B4-BE49-F238E27FC236}">
                          <a16:creationId xmlns:a16="http://schemas.microsoft.com/office/drawing/2014/main" id="{4A0C2DC7-B41E-408C-A6CD-6DAD568A99EC}"/>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445" name="Group 444">
                  <a:extLst>
                    <a:ext uri="{FF2B5EF4-FFF2-40B4-BE49-F238E27FC236}">
                      <a16:creationId xmlns:a16="http://schemas.microsoft.com/office/drawing/2014/main" id="{C1CB96D0-DEE8-435B-A0A1-FE7D1B35E27F}"/>
                    </a:ext>
                  </a:extLst>
                </p:cNvPr>
                <p:cNvGrpSpPr/>
                <p:nvPr/>
              </p:nvGrpSpPr>
              <p:grpSpPr>
                <a:xfrm>
                  <a:off x="3939637" y="2657113"/>
                  <a:ext cx="228070" cy="228070"/>
                  <a:chOff x="7547191" y="1416189"/>
                  <a:chExt cx="507244" cy="507244"/>
                </a:xfrm>
              </p:grpSpPr>
              <p:sp>
                <p:nvSpPr>
                  <p:cNvPr id="481" name="Oval 480">
                    <a:extLst>
                      <a:ext uri="{FF2B5EF4-FFF2-40B4-BE49-F238E27FC236}">
                        <a16:creationId xmlns:a16="http://schemas.microsoft.com/office/drawing/2014/main" id="{29746104-574E-4466-A23F-772ECD9FE040}"/>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2" name="Freeform 594">
                    <a:extLst>
                      <a:ext uri="{FF2B5EF4-FFF2-40B4-BE49-F238E27FC236}">
                        <a16:creationId xmlns:a16="http://schemas.microsoft.com/office/drawing/2014/main" id="{F5129EEF-8AAC-4651-8416-2BA909CF281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6" name="Rectangle: Rounded Corners 692">
                  <a:extLst>
                    <a:ext uri="{FF2B5EF4-FFF2-40B4-BE49-F238E27FC236}">
                      <a16:creationId xmlns:a16="http://schemas.microsoft.com/office/drawing/2014/main" id="{FC092C90-E2BA-467F-8EE9-3E251A0DF86A}"/>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447" name="Rectangle: Rounded Corners 705">
                  <a:extLst>
                    <a:ext uri="{FF2B5EF4-FFF2-40B4-BE49-F238E27FC236}">
                      <a16:creationId xmlns:a16="http://schemas.microsoft.com/office/drawing/2014/main" id="{5CB2C742-01C6-4857-B3D8-C772FCA5A06F}"/>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448" name="Group 4">
                  <a:extLst>
                    <a:ext uri="{FF2B5EF4-FFF2-40B4-BE49-F238E27FC236}">
                      <a16:creationId xmlns:a16="http://schemas.microsoft.com/office/drawing/2014/main" id="{15D18056-467A-4FA9-8D1A-A5AF6F7C41E9}"/>
                    </a:ext>
                  </a:extLst>
                </p:cNvPr>
                <p:cNvGrpSpPr>
                  <a:grpSpLocks noChangeAspect="1"/>
                </p:cNvGrpSpPr>
                <p:nvPr/>
              </p:nvGrpSpPr>
              <p:grpSpPr bwMode="auto">
                <a:xfrm>
                  <a:off x="1353273" y="2463094"/>
                  <a:ext cx="248989" cy="188487"/>
                  <a:chOff x="740" y="0"/>
                  <a:chExt cx="4280" cy="3240"/>
                </a:xfrm>
              </p:grpSpPr>
              <p:sp>
                <p:nvSpPr>
                  <p:cNvPr id="477" name="Freeform 5">
                    <a:extLst>
                      <a:ext uri="{FF2B5EF4-FFF2-40B4-BE49-F238E27FC236}">
                        <a16:creationId xmlns:a16="http://schemas.microsoft.com/office/drawing/2014/main" id="{65FC7727-8A13-40AE-8AC1-88633514B97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6">
                    <a:extLst>
                      <a:ext uri="{FF2B5EF4-FFF2-40B4-BE49-F238E27FC236}">
                        <a16:creationId xmlns:a16="http://schemas.microsoft.com/office/drawing/2014/main" id="{DDF17004-0224-41C3-B951-97523F5150B9}"/>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7">
                    <a:extLst>
                      <a:ext uri="{FF2B5EF4-FFF2-40B4-BE49-F238E27FC236}">
                        <a16:creationId xmlns:a16="http://schemas.microsoft.com/office/drawing/2014/main" id="{FDF2E347-99FE-4824-9A46-C403D8281700}"/>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8">
                    <a:extLst>
                      <a:ext uri="{FF2B5EF4-FFF2-40B4-BE49-F238E27FC236}">
                        <a16:creationId xmlns:a16="http://schemas.microsoft.com/office/drawing/2014/main" id="{74D41575-10D5-489D-B28B-9CBA612FEE8B}"/>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9" name="Group 448">
                  <a:extLst>
                    <a:ext uri="{FF2B5EF4-FFF2-40B4-BE49-F238E27FC236}">
                      <a16:creationId xmlns:a16="http://schemas.microsoft.com/office/drawing/2014/main" id="{FA1AF6D8-447B-40BB-9B3D-6F08C9B648EC}"/>
                    </a:ext>
                  </a:extLst>
                </p:cNvPr>
                <p:cNvGrpSpPr/>
                <p:nvPr/>
              </p:nvGrpSpPr>
              <p:grpSpPr>
                <a:xfrm>
                  <a:off x="1390132" y="2956526"/>
                  <a:ext cx="167022" cy="230402"/>
                  <a:chOff x="858973" y="1403744"/>
                  <a:chExt cx="643458" cy="887629"/>
                </a:xfrm>
              </p:grpSpPr>
              <p:grpSp>
                <p:nvGrpSpPr>
                  <p:cNvPr id="471" name="Group 470">
                    <a:extLst>
                      <a:ext uri="{FF2B5EF4-FFF2-40B4-BE49-F238E27FC236}">
                        <a16:creationId xmlns:a16="http://schemas.microsoft.com/office/drawing/2014/main" id="{F6A03258-BC60-41B2-A973-45E038DB28AB}"/>
                      </a:ext>
                    </a:extLst>
                  </p:cNvPr>
                  <p:cNvGrpSpPr/>
                  <p:nvPr/>
                </p:nvGrpSpPr>
                <p:grpSpPr>
                  <a:xfrm>
                    <a:off x="858973" y="1403744"/>
                    <a:ext cx="643458" cy="887629"/>
                    <a:chOff x="565417" y="1536835"/>
                    <a:chExt cx="996124" cy="1374120"/>
                  </a:xfrm>
                </p:grpSpPr>
                <p:sp>
                  <p:nvSpPr>
                    <p:cNvPr id="473" name="Rounded Rectangle 63">
                      <a:extLst>
                        <a:ext uri="{FF2B5EF4-FFF2-40B4-BE49-F238E27FC236}">
                          <a16:creationId xmlns:a16="http://schemas.microsoft.com/office/drawing/2014/main" id="{1D11127F-F274-4A31-86A0-A6F597D58337}"/>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4" name="Group 473">
                      <a:extLst>
                        <a:ext uri="{FF2B5EF4-FFF2-40B4-BE49-F238E27FC236}">
                          <a16:creationId xmlns:a16="http://schemas.microsoft.com/office/drawing/2014/main" id="{73E11985-FBC5-4740-83CE-CC1E583D5B18}"/>
                        </a:ext>
                      </a:extLst>
                    </p:cNvPr>
                    <p:cNvGrpSpPr/>
                    <p:nvPr/>
                  </p:nvGrpSpPr>
                  <p:grpSpPr>
                    <a:xfrm>
                      <a:off x="565417" y="1536835"/>
                      <a:ext cx="996124" cy="1374120"/>
                      <a:chOff x="352800" y="-7200"/>
                      <a:chExt cx="1984680" cy="2737800"/>
                    </a:xfrm>
                  </p:grpSpPr>
                  <p:sp>
                    <p:nvSpPr>
                      <p:cNvPr id="475" name="Freeform: Shape 1">
                        <a:extLst>
                          <a:ext uri="{FF2B5EF4-FFF2-40B4-BE49-F238E27FC236}">
                            <a16:creationId xmlns:a16="http://schemas.microsoft.com/office/drawing/2014/main" id="{6B3412FA-3465-4711-ACEE-DE88DE2B421F}"/>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hangingPunct="0"/>
                        <a:endParaRPr lang="en-US" dirty="0">
                          <a:latin typeface="Arial" pitchFamily="18"/>
                          <a:ea typeface="Arial Unicode MS" pitchFamily="2"/>
                          <a:cs typeface="Arial Unicode MS" pitchFamily="2"/>
                        </a:endParaRPr>
                      </a:p>
                    </p:txBody>
                  </p:sp>
                  <p:sp>
                    <p:nvSpPr>
                      <p:cNvPr id="476" name="Freeform 57">
                        <a:extLst>
                          <a:ext uri="{FF2B5EF4-FFF2-40B4-BE49-F238E27FC236}">
                            <a16:creationId xmlns:a16="http://schemas.microsoft.com/office/drawing/2014/main" id="{BAEF2B69-C195-44BF-A5CC-738163E396BC}"/>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hangingPunct="0"/>
                        <a:endParaRPr lang="en-US" dirty="0">
                          <a:latin typeface="Arial" pitchFamily="18"/>
                          <a:ea typeface="Arial Unicode MS" pitchFamily="2"/>
                          <a:cs typeface="Arial Unicode MS" pitchFamily="2"/>
                        </a:endParaRPr>
                      </a:p>
                    </p:txBody>
                  </p:sp>
                </p:grpSp>
              </p:grpSp>
              <p:sp>
                <p:nvSpPr>
                  <p:cNvPr id="472" name="Freeform: Shape 796">
                    <a:extLst>
                      <a:ext uri="{FF2B5EF4-FFF2-40B4-BE49-F238E27FC236}">
                        <a16:creationId xmlns:a16="http://schemas.microsoft.com/office/drawing/2014/main" id="{4948C2C3-C430-4A7E-8724-49E422E04777}"/>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hangingPunct="0"/>
                    <a:endParaRPr lang="en-US" dirty="0">
                      <a:latin typeface="Arial" pitchFamily="18"/>
                      <a:ea typeface="Arial Unicode MS" pitchFamily="2"/>
                      <a:cs typeface="Arial Unicode MS" pitchFamily="2"/>
                    </a:endParaRPr>
                  </a:p>
                </p:txBody>
              </p:sp>
            </p:grpSp>
            <p:sp>
              <p:nvSpPr>
                <p:cNvPr id="450" name="TextBox 449">
                  <a:extLst>
                    <a:ext uri="{FF2B5EF4-FFF2-40B4-BE49-F238E27FC236}">
                      <a16:creationId xmlns:a16="http://schemas.microsoft.com/office/drawing/2014/main" id="{E20BCDB2-51AF-4798-BCD7-35E56E0D843F}"/>
                    </a:ext>
                  </a:extLst>
                </p:cNvPr>
                <p:cNvSpPr txBox="1"/>
                <p:nvPr/>
              </p:nvSpPr>
              <p:spPr>
                <a:xfrm>
                  <a:off x="6892483" y="2117447"/>
                  <a:ext cx="800220" cy="369332"/>
                </a:xfrm>
                <a:prstGeom prst="rect">
                  <a:avLst/>
                </a:prstGeom>
                <a:noFill/>
              </p:spPr>
              <p:txBody>
                <a:bodyPr wrap="none" rtlCol="0">
                  <a:spAutoFit/>
                </a:bodyPr>
                <a:lstStyle/>
                <a:p>
                  <a:pPr algn="ctr"/>
                  <a:r>
                    <a:rPr lang="en-US" sz="900" dirty="0">
                      <a:solidFill>
                        <a:schemeClr val="bg2"/>
                      </a:solidFill>
                    </a:rPr>
                    <a:t>Centralized </a:t>
                  </a:r>
                </a:p>
                <a:p>
                  <a:pPr algn="ctr"/>
                  <a:r>
                    <a:rPr lang="en-US" sz="900" dirty="0">
                      <a:solidFill>
                        <a:schemeClr val="bg2"/>
                      </a:solidFill>
                    </a:rPr>
                    <a:t>DC</a:t>
                  </a:r>
                </a:p>
              </p:txBody>
            </p:sp>
            <p:sp>
              <p:nvSpPr>
                <p:cNvPr id="451" name="TextBox 450">
                  <a:extLst>
                    <a:ext uri="{FF2B5EF4-FFF2-40B4-BE49-F238E27FC236}">
                      <a16:creationId xmlns:a16="http://schemas.microsoft.com/office/drawing/2014/main" id="{46D7D0DF-4CA4-4B79-AAC1-B1ECA893DB8A}"/>
                    </a:ext>
                  </a:extLst>
                </p:cNvPr>
                <p:cNvSpPr txBox="1"/>
                <p:nvPr/>
              </p:nvSpPr>
              <p:spPr>
                <a:xfrm>
                  <a:off x="6610334" y="2808832"/>
                  <a:ext cx="1005404" cy="230832"/>
                </a:xfrm>
                <a:prstGeom prst="rect">
                  <a:avLst/>
                </a:prstGeom>
                <a:noFill/>
              </p:spPr>
              <p:txBody>
                <a:bodyPr wrap="none" rtlCol="0">
                  <a:spAutoFit/>
                </a:bodyPr>
                <a:lstStyle/>
                <a:p>
                  <a:pPr algn="ctr"/>
                  <a:r>
                    <a:rPr lang="en-US" sz="900" dirty="0"/>
                    <a:t>Peering/Internet</a:t>
                  </a:r>
                </a:p>
              </p:txBody>
            </p:sp>
            <p:sp>
              <p:nvSpPr>
                <p:cNvPr id="452" name="Rectangle 451">
                  <a:extLst>
                    <a:ext uri="{FF2B5EF4-FFF2-40B4-BE49-F238E27FC236}">
                      <a16:creationId xmlns:a16="http://schemas.microsoft.com/office/drawing/2014/main" id="{686BF0DC-3F10-4B8E-B886-26575645F808}"/>
                    </a:ext>
                  </a:extLst>
                </p:cNvPr>
                <p:cNvSpPr/>
                <p:nvPr/>
              </p:nvSpPr>
              <p:spPr>
                <a:xfrm>
                  <a:off x="4825353" y="3037150"/>
                  <a:ext cx="1001422" cy="184666"/>
                </a:xfrm>
                <a:prstGeom prst="rect">
                  <a:avLst/>
                </a:prstGeom>
              </p:spPr>
              <p:txBody>
                <a:bodyPr wrap="square">
                  <a:spAutoFit/>
                </a:bodyPr>
                <a:lstStyle/>
                <a:p>
                  <a:pPr algn="ctr" defTabSz="457178">
                    <a:defRPr/>
                  </a:pPr>
                  <a:r>
                    <a:rPr lang="en-US" sz="600" dirty="0">
                      <a:solidFill>
                        <a:srgbClr val="282828"/>
                      </a:solidFill>
                      <a:latin typeface="+mj-lt"/>
                    </a:rPr>
                    <a:t>Regional DC</a:t>
                  </a:r>
                </a:p>
              </p:txBody>
            </p:sp>
            <p:sp>
              <p:nvSpPr>
                <p:cNvPr id="453" name="Rectangle 452">
                  <a:extLst>
                    <a:ext uri="{FF2B5EF4-FFF2-40B4-BE49-F238E27FC236}">
                      <a16:creationId xmlns:a16="http://schemas.microsoft.com/office/drawing/2014/main" id="{748048A7-1FF7-444C-AF54-075CB5B0BEEE}"/>
                    </a:ext>
                  </a:extLst>
                </p:cNvPr>
                <p:cNvSpPr/>
                <p:nvPr/>
              </p:nvSpPr>
              <p:spPr>
                <a:xfrm>
                  <a:off x="3470824" y="3037150"/>
                  <a:ext cx="1001422" cy="184666"/>
                </a:xfrm>
                <a:prstGeom prst="rect">
                  <a:avLst/>
                </a:prstGeom>
              </p:spPr>
              <p:txBody>
                <a:bodyPr wrap="square">
                  <a:spAutoFit/>
                </a:bodyPr>
                <a:lstStyle/>
                <a:p>
                  <a:pPr algn="ctr" defTabSz="457178">
                    <a:defRPr/>
                  </a:pPr>
                  <a:r>
                    <a:rPr lang="en-US" sz="600" dirty="0">
                      <a:solidFill>
                        <a:srgbClr val="282828"/>
                      </a:solidFill>
                      <a:latin typeface="+mj-lt"/>
                    </a:rPr>
                    <a:t>MEC/CRAN Hub</a:t>
                  </a:r>
                </a:p>
              </p:txBody>
            </p:sp>
            <p:pic>
              <p:nvPicPr>
                <p:cNvPr id="454" name="Picture 453">
                  <a:extLst>
                    <a:ext uri="{FF2B5EF4-FFF2-40B4-BE49-F238E27FC236}">
                      <a16:creationId xmlns:a16="http://schemas.microsoft.com/office/drawing/2014/main" id="{CD6C2954-35B0-4CAE-9435-003A578CEB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455" name="Picture 454">
                  <a:extLst>
                    <a:ext uri="{FF2B5EF4-FFF2-40B4-BE49-F238E27FC236}">
                      <a16:creationId xmlns:a16="http://schemas.microsoft.com/office/drawing/2014/main" id="{644629DF-F9F5-4492-A6BB-CCD66F0919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56" name="Rectangle: Rounded Corners 455">
                  <a:extLst>
                    <a:ext uri="{FF2B5EF4-FFF2-40B4-BE49-F238E27FC236}">
                      <a16:creationId xmlns:a16="http://schemas.microsoft.com/office/drawing/2014/main" id="{54AA5980-04C4-492F-8621-45F327D2CBBF}"/>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57" name="Rectangle: Rounded Corners 456">
                  <a:extLst>
                    <a:ext uri="{FF2B5EF4-FFF2-40B4-BE49-F238E27FC236}">
                      <a16:creationId xmlns:a16="http://schemas.microsoft.com/office/drawing/2014/main" id="{0A090C3F-D22A-4AB5-B59E-A26979BECA42}"/>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58" name="Rectangle: Rounded Corners 457">
                  <a:extLst>
                    <a:ext uri="{FF2B5EF4-FFF2-40B4-BE49-F238E27FC236}">
                      <a16:creationId xmlns:a16="http://schemas.microsoft.com/office/drawing/2014/main" id="{10921F29-01AD-498D-8D44-C3CC5FB48C8A}"/>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63" name="Oval 462">
                  <a:extLst>
                    <a:ext uri="{FF2B5EF4-FFF2-40B4-BE49-F238E27FC236}">
                      <a16:creationId xmlns:a16="http://schemas.microsoft.com/office/drawing/2014/main" id="{B08A8156-EFAE-4CAF-8437-5538E20D9E07}"/>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8" name="Freeform 23">
                  <a:extLst>
                    <a:ext uri="{FF2B5EF4-FFF2-40B4-BE49-F238E27FC236}">
                      <a16:creationId xmlns:a16="http://schemas.microsoft.com/office/drawing/2014/main" id="{8BFA84BE-30F8-4169-82FD-46C3C576A35B}"/>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dirty="0"/>
                </a:p>
              </p:txBody>
            </p:sp>
            <p:sp>
              <p:nvSpPr>
                <p:cNvPr id="469" name="Arc 468">
                  <a:extLst>
                    <a:ext uri="{FF2B5EF4-FFF2-40B4-BE49-F238E27FC236}">
                      <a16:creationId xmlns:a16="http://schemas.microsoft.com/office/drawing/2014/main" id="{3DD8EC98-66B9-48C2-BCDD-3FB8AEC873C6}"/>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470" name="Picture 469">
                  <a:extLst>
                    <a:ext uri="{FF2B5EF4-FFF2-40B4-BE49-F238E27FC236}">
                      <a16:creationId xmlns:a16="http://schemas.microsoft.com/office/drawing/2014/main" id="{97701729-C8EF-4672-A468-288A3BBCBAB7}"/>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
            <p:nvSpPr>
              <p:cNvPr id="213" name="Oval 212">
                <a:extLst>
                  <a:ext uri="{FF2B5EF4-FFF2-40B4-BE49-F238E27FC236}">
                    <a16:creationId xmlns:a16="http://schemas.microsoft.com/office/drawing/2014/main" id="{CA73C6C7-658F-4678-BE10-779231116155}"/>
                  </a:ext>
                </a:extLst>
              </p:cNvPr>
              <p:cNvSpPr/>
              <p:nvPr/>
            </p:nvSpPr>
            <p:spPr>
              <a:xfrm flipV="1">
                <a:off x="5544508" y="2125376"/>
                <a:ext cx="965383" cy="566121"/>
              </a:xfrm>
              <a:prstGeom prst="ellipse">
                <a:avLst/>
              </a:prstGeom>
              <a:noFill/>
              <a:ln w="25400" cap="flat" cmpd="sng" algn="ctr">
                <a:gradFill>
                  <a:gsLst>
                    <a:gs pos="0">
                      <a:srgbClr val="C00000"/>
                    </a:gs>
                    <a:gs pos="20000">
                      <a:srgbClr val="FFC000"/>
                    </a:gs>
                    <a:gs pos="10000">
                      <a:srgbClr val="FF0000"/>
                    </a:gs>
                    <a:gs pos="31000">
                      <a:srgbClr val="FFFF00"/>
                    </a:gs>
                    <a:gs pos="99115">
                      <a:srgbClr val="7030A0"/>
                    </a:gs>
                    <a:gs pos="89000">
                      <a:srgbClr val="002060"/>
                    </a:gs>
                    <a:gs pos="78000">
                      <a:srgbClr val="0070C0"/>
                    </a:gs>
                    <a:gs pos="68000">
                      <a:srgbClr val="00B0F0"/>
                    </a:gs>
                    <a:gs pos="56000">
                      <a:srgbClr val="00B050"/>
                    </a:gs>
                    <a:gs pos="45000">
                      <a:srgbClr val="92D050"/>
                    </a:gs>
                  </a:gsLst>
                  <a:lin ang="5400000" scaled="1"/>
                </a:gradFill>
                <a:prstDash val="solid"/>
              </a:ln>
              <a:effectLst/>
            </p:spPr>
            <p:txBody>
              <a:bodyPr rtlCol="0" anchor="ctr"/>
              <a:lstStyle/>
              <a:p>
                <a:pPr algn="ctr" defTabSz="914378">
                  <a:defRPr/>
                </a:pPr>
                <a:endParaRPr lang="en-US" kern="0" dirty="0">
                  <a:solidFill>
                    <a:srgbClr val="005073"/>
                  </a:solidFill>
                  <a:latin typeface="CiscoSansTT ExtraLight"/>
                </a:endParaRPr>
              </a:p>
            </p:txBody>
          </p:sp>
          <p:grpSp>
            <p:nvGrpSpPr>
              <p:cNvPr id="191" name="Group 190">
                <a:extLst>
                  <a:ext uri="{FF2B5EF4-FFF2-40B4-BE49-F238E27FC236}">
                    <a16:creationId xmlns:a16="http://schemas.microsoft.com/office/drawing/2014/main" id="{C4263389-1BF3-440F-B9BD-435AC43434A1}"/>
                  </a:ext>
                </a:extLst>
              </p:cNvPr>
              <p:cNvGrpSpPr/>
              <p:nvPr/>
            </p:nvGrpSpPr>
            <p:grpSpPr>
              <a:xfrm>
                <a:off x="5457146" y="2103801"/>
                <a:ext cx="299337" cy="299339"/>
                <a:chOff x="4083769" y="2552776"/>
                <a:chExt cx="529089" cy="529089"/>
              </a:xfrm>
            </p:grpSpPr>
            <p:sp>
              <p:nvSpPr>
                <p:cNvPr id="192" name="Oval 191">
                  <a:extLst>
                    <a:ext uri="{FF2B5EF4-FFF2-40B4-BE49-F238E27FC236}">
                      <a16:creationId xmlns:a16="http://schemas.microsoft.com/office/drawing/2014/main" id="{338C5387-1AF4-421E-8F5B-D2D137376CCA}"/>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6" name="Freeform: Shape 298">
                  <a:extLst>
                    <a:ext uri="{FF2B5EF4-FFF2-40B4-BE49-F238E27FC236}">
                      <a16:creationId xmlns:a16="http://schemas.microsoft.com/office/drawing/2014/main" id="{7F4DA408-21D8-4E72-A284-363B3DE13A8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97" name="Freeform: Shape 299">
                  <a:extLst>
                    <a:ext uri="{FF2B5EF4-FFF2-40B4-BE49-F238E27FC236}">
                      <a16:creationId xmlns:a16="http://schemas.microsoft.com/office/drawing/2014/main" id="{B59423DD-5E07-4B5C-A1B7-0EA39EA34A5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98" name="Freeform: Shape 301">
                  <a:extLst>
                    <a:ext uri="{FF2B5EF4-FFF2-40B4-BE49-F238E27FC236}">
                      <a16:creationId xmlns:a16="http://schemas.microsoft.com/office/drawing/2014/main" id="{FFBAE51F-D623-4337-9A4B-935F540E3B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99" name="Freeform: Shape 302">
                  <a:extLst>
                    <a:ext uri="{FF2B5EF4-FFF2-40B4-BE49-F238E27FC236}">
                      <a16:creationId xmlns:a16="http://schemas.microsoft.com/office/drawing/2014/main" id="{8E01DF41-7F0D-43E3-925D-A904AFFDA4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00" name="Group 199">
                <a:extLst>
                  <a:ext uri="{FF2B5EF4-FFF2-40B4-BE49-F238E27FC236}">
                    <a16:creationId xmlns:a16="http://schemas.microsoft.com/office/drawing/2014/main" id="{DA7F1DCA-C426-4186-A053-9FDE4E7C1AEA}"/>
                  </a:ext>
                </a:extLst>
              </p:cNvPr>
              <p:cNvGrpSpPr/>
              <p:nvPr/>
            </p:nvGrpSpPr>
            <p:grpSpPr>
              <a:xfrm>
                <a:off x="5889962" y="2579731"/>
                <a:ext cx="299337" cy="299339"/>
                <a:chOff x="4083769" y="2552776"/>
                <a:chExt cx="529089" cy="529089"/>
              </a:xfrm>
            </p:grpSpPr>
            <p:sp>
              <p:nvSpPr>
                <p:cNvPr id="202" name="Oval 201">
                  <a:extLst>
                    <a:ext uri="{FF2B5EF4-FFF2-40B4-BE49-F238E27FC236}">
                      <a16:creationId xmlns:a16="http://schemas.microsoft.com/office/drawing/2014/main" id="{92FC66C8-6242-4AB0-AE31-3895605CD65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3" name="Freeform: Shape 298">
                  <a:extLst>
                    <a:ext uri="{FF2B5EF4-FFF2-40B4-BE49-F238E27FC236}">
                      <a16:creationId xmlns:a16="http://schemas.microsoft.com/office/drawing/2014/main" id="{725B9FAE-A8C0-4025-8953-40ABC11CBB7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04" name="Freeform: Shape 299">
                  <a:extLst>
                    <a:ext uri="{FF2B5EF4-FFF2-40B4-BE49-F238E27FC236}">
                      <a16:creationId xmlns:a16="http://schemas.microsoft.com/office/drawing/2014/main" id="{7DA1F382-1A3C-4CEF-935D-A76155FE72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05" name="Freeform: Shape 301">
                  <a:extLst>
                    <a:ext uri="{FF2B5EF4-FFF2-40B4-BE49-F238E27FC236}">
                      <a16:creationId xmlns:a16="http://schemas.microsoft.com/office/drawing/2014/main" id="{C9EB153C-274F-4E00-A6B5-41A34B4D925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06" name="Freeform: Shape 302">
                  <a:extLst>
                    <a:ext uri="{FF2B5EF4-FFF2-40B4-BE49-F238E27FC236}">
                      <a16:creationId xmlns:a16="http://schemas.microsoft.com/office/drawing/2014/main" id="{1D0331D3-22C6-46A0-800E-FAC5A2988FE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07" name="Group 206">
                <a:extLst>
                  <a:ext uri="{FF2B5EF4-FFF2-40B4-BE49-F238E27FC236}">
                    <a16:creationId xmlns:a16="http://schemas.microsoft.com/office/drawing/2014/main" id="{44197B3F-C853-4D7E-B1FE-FD5C7CE1D883}"/>
                  </a:ext>
                </a:extLst>
              </p:cNvPr>
              <p:cNvGrpSpPr/>
              <p:nvPr/>
            </p:nvGrpSpPr>
            <p:grpSpPr>
              <a:xfrm>
                <a:off x="6285455" y="2103504"/>
                <a:ext cx="299337" cy="299339"/>
                <a:chOff x="4083769" y="2552776"/>
                <a:chExt cx="529089" cy="529089"/>
              </a:xfrm>
            </p:grpSpPr>
            <p:sp>
              <p:nvSpPr>
                <p:cNvPr id="208" name="Oval 207">
                  <a:extLst>
                    <a:ext uri="{FF2B5EF4-FFF2-40B4-BE49-F238E27FC236}">
                      <a16:creationId xmlns:a16="http://schemas.microsoft.com/office/drawing/2014/main" id="{35FB6A0B-1BF0-4EC7-88EC-64C88C8D2FA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Freeform: Shape 298">
                  <a:extLst>
                    <a:ext uri="{FF2B5EF4-FFF2-40B4-BE49-F238E27FC236}">
                      <a16:creationId xmlns:a16="http://schemas.microsoft.com/office/drawing/2014/main" id="{789B635D-19E5-4D77-8230-CC0C92AC013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0" name="Freeform: Shape 299">
                  <a:extLst>
                    <a:ext uri="{FF2B5EF4-FFF2-40B4-BE49-F238E27FC236}">
                      <a16:creationId xmlns:a16="http://schemas.microsoft.com/office/drawing/2014/main" id="{6FB8B786-1C19-4C1C-9259-55602A75F05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1" name="Freeform: Shape 301">
                  <a:extLst>
                    <a:ext uri="{FF2B5EF4-FFF2-40B4-BE49-F238E27FC236}">
                      <a16:creationId xmlns:a16="http://schemas.microsoft.com/office/drawing/2014/main" id="{37423115-8B68-40A8-82F9-1F4B6B698A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2" name="Freeform: Shape 302">
                  <a:extLst>
                    <a:ext uri="{FF2B5EF4-FFF2-40B4-BE49-F238E27FC236}">
                      <a16:creationId xmlns:a16="http://schemas.microsoft.com/office/drawing/2014/main" id="{0C8F8C26-1A68-4D12-96EA-2E88A8F07B1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14" name="Group 213">
                <a:extLst>
                  <a:ext uri="{FF2B5EF4-FFF2-40B4-BE49-F238E27FC236}">
                    <a16:creationId xmlns:a16="http://schemas.microsoft.com/office/drawing/2014/main" id="{0C331C78-5CA6-4AD5-97C9-A0DD5D3FE457}"/>
                  </a:ext>
                </a:extLst>
              </p:cNvPr>
              <p:cNvGrpSpPr/>
              <p:nvPr/>
            </p:nvGrpSpPr>
            <p:grpSpPr>
              <a:xfrm>
                <a:off x="6694657" y="2585845"/>
                <a:ext cx="299337" cy="299339"/>
                <a:chOff x="4083769" y="2552776"/>
                <a:chExt cx="529089" cy="529089"/>
              </a:xfrm>
            </p:grpSpPr>
            <p:sp>
              <p:nvSpPr>
                <p:cNvPr id="215" name="Oval 214">
                  <a:extLst>
                    <a:ext uri="{FF2B5EF4-FFF2-40B4-BE49-F238E27FC236}">
                      <a16:creationId xmlns:a16="http://schemas.microsoft.com/office/drawing/2014/main" id="{57B611A5-3413-4292-80D0-736340C5CD36}"/>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16" name="Freeform: Shape 298">
                  <a:extLst>
                    <a:ext uri="{FF2B5EF4-FFF2-40B4-BE49-F238E27FC236}">
                      <a16:creationId xmlns:a16="http://schemas.microsoft.com/office/drawing/2014/main" id="{25C60DD7-4458-4071-85B0-8EBFC59872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7" name="Freeform: Shape 299">
                  <a:extLst>
                    <a:ext uri="{FF2B5EF4-FFF2-40B4-BE49-F238E27FC236}">
                      <a16:creationId xmlns:a16="http://schemas.microsoft.com/office/drawing/2014/main" id="{29229958-9C60-4625-8BF7-DF1673DDCB5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8" name="Freeform: Shape 301">
                  <a:extLst>
                    <a:ext uri="{FF2B5EF4-FFF2-40B4-BE49-F238E27FC236}">
                      <a16:creationId xmlns:a16="http://schemas.microsoft.com/office/drawing/2014/main" id="{499C5114-1EF1-499D-B6D4-6FF2DFDC925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19" name="Freeform: Shape 302">
                  <a:extLst>
                    <a:ext uri="{FF2B5EF4-FFF2-40B4-BE49-F238E27FC236}">
                      <a16:creationId xmlns:a16="http://schemas.microsoft.com/office/drawing/2014/main" id="{55ADF633-7A9A-45CC-8A65-858B953BF9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7" name="Group 6">
                <a:extLst>
                  <a:ext uri="{FF2B5EF4-FFF2-40B4-BE49-F238E27FC236}">
                    <a16:creationId xmlns:a16="http://schemas.microsoft.com/office/drawing/2014/main" id="{A32999A8-6B68-41DD-87AE-E8CB613CB100}"/>
                  </a:ext>
                </a:extLst>
              </p:cNvPr>
              <p:cNvGrpSpPr/>
              <p:nvPr/>
            </p:nvGrpSpPr>
            <p:grpSpPr>
              <a:xfrm>
                <a:off x="3060817" y="1183298"/>
                <a:ext cx="396817" cy="396817"/>
                <a:chOff x="3215227" y="2066982"/>
                <a:chExt cx="396817" cy="396817"/>
              </a:xfrm>
            </p:grpSpPr>
            <p:sp>
              <p:nvSpPr>
                <p:cNvPr id="222" name="Oval 221">
                  <a:extLst>
                    <a:ext uri="{FF2B5EF4-FFF2-40B4-BE49-F238E27FC236}">
                      <a16:creationId xmlns:a16="http://schemas.microsoft.com/office/drawing/2014/main" id="{E6907305-D949-43EB-96F8-C379F66EF9F2}"/>
                    </a:ext>
                  </a:extLst>
                </p:cNvPr>
                <p:cNvSpPr/>
                <p:nvPr/>
              </p:nvSpPr>
              <p:spPr>
                <a:xfrm>
                  <a:off x="3215227" y="2066982"/>
                  <a:ext cx="396817" cy="396817"/>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23" name="Freeform: Shape 298">
                  <a:extLst>
                    <a:ext uri="{FF2B5EF4-FFF2-40B4-BE49-F238E27FC236}">
                      <a16:creationId xmlns:a16="http://schemas.microsoft.com/office/drawing/2014/main" id="{5350E907-B4C8-4832-8257-497F9077A760}"/>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24" name="Freeform: Shape 299">
                  <a:extLst>
                    <a:ext uri="{FF2B5EF4-FFF2-40B4-BE49-F238E27FC236}">
                      <a16:creationId xmlns:a16="http://schemas.microsoft.com/office/drawing/2014/main" id="{801B67CF-91EB-46F2-972F-ED3E5699ACE4}"/>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33" name="Freeform: Shape 301">
                  <a:extLst>
                    <a:ext uri="{FF2B5EF4-FFF2-40B4-BE49-F238E27FC236}">
                      <a16:creationId xmlns:a16="http://schemas.microsoft.com/office/drawing/2014/main" id="{C31B7B4D-BAA5-4FA2-9DDE-D59D27096BF6}"/>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34" name="Freeform: Shape 302">
                  <a:extLst>
                    <a:ext uri="{FF2B5EF4-FFF2-40B4-BE49-F238E27FC236}">
                      <a16:creationId xmlns:a16="http://schemas.microsoft.com/office/drawing/2014/main" id="{0E35B953-75A5-4354-95AA-AB36EF16F7F4}"/>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35" name="Group 234">
                <a:extLst>
                  <a:ext uri="{FF2B5EF4-FFF2-40B4-BE49-F238E27FC236}">
                    <a16:creationId xmlns:a16="http://schemas.microsoft.com/office/drawing/2014/main" id="{78322479-FA17-4199-88A4-81585279D377}"/>
                  </a:ext>
                </a:extLst>
              </p:cNvPr>
              <p:cNvGrpSpPr/>
              <p:nvPr/>
            </p:nvGrpSpPr>
            <p:grpSpPr>
              <a:xfrm>
                <a:off x="4409437" y="1183298"/>
                <a:ext cx="396817" cy="396817"/>
                <a:chOff x="3215227" y="2066982"/>
                <a:chExt cx="396817" cy="396817"/>
              </a:xfrm>
            </p:grpSpPr>
            <p:sp>
              <p:nvSpPr>
                <p:cNvPr id="236" name="Oval 235">
                  <a:extLst>
                    <a:ext uri="{FF2B5EF4-FFF2-40B4-BE49-F238E27FC236}">
                      <a16:creationId xmlns:a16="http://schemas.microsoft.com/office/drawing/2014/main" id="{AD7174C2-64ED-4BAF-B272-9D8207E5E307}"/>
                    </a:ext>
                  </a:extLst>
                </p:cNvPr>
                <p:cNvSpPr/>
                <p:nvPr/>
              </p:nvSpPr>
              <p:spPr>
                <a:xfrm>
                  <a:off x="3215227" y="2066982"/>
                  <a:ext cx="396817" cy="396817"/>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37" name="Freeform: Shape 298">
                  <a:extLst>
                    <a:ext uri="{FF2B5EF4-FFF2-40B4-BE49-F238E27FC236}">
                      <a16:creationId xmlns:a16="http://schemas.microsoft.com/office/drawing/2014/main" id="{5AA9FDC2-7183-4051-9682-836F3EAB409D}"/>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38" name="Freeform: Shape 299">
                  <a:extLst>
                    <a:ext uri="{FF2B5EF4-FFF2-40B4-BE49-F238E27FC236}">
                      <a16:creationId xmlns:a16="http://schemas.microsoft.com/office/drawing/2014/main" id="{C2C807E0-0A24-49CC-BEF0-AFC102049D9D}"/>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39" name="Freeform: Shape 301">
                  <a:extLst>
                    <a:ext uri="{FF2B5EF4-FFF2-40B4-BE49-F238E27FC236}">
                      <a16:creationId xmlns:a16="http://schemas.microsoft.com/office/drawing/2014/main" id="{EC57A151-677D-489D-BF69-26513C36DA52}"/>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0" name="Freeform: Shape 302">
                  <a:extLst>
                    <a:ext uri="{FF2B5EF4-FFF2-40B4-BE49-F238E27FC236}">
                      <a16:creationId xmlns:a16="http://schemas.microsoft.com/office/drawing/2014/main" id="{4B314970-9D47-4CAB-8DD1-B893F172D92E}"/>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41" name="Group 240">
                <a:extLst>
                  <a:ext uri="{FF2B5EF4-FFF2-40B4-BE49-F238E27FC236}">
                    <a16:creationId xmlns:a16="http://schemas.microsoft.com/office/drawing/2014/main" id="{49FFCDF8-7EA8-48AD-BDA5-CCF9C07F17B8}"/>
                  </a:ext>
                </a:extLst>
              </p:cNvPr>
              <p:cNvGrpSpPr/>
              <p:nvPr/>
            </p:nvGrpSpPr>
            <p:grpSpPr>
              <a:xfrm>
                <a:off x="5835667" y="1183298"/>
                <a:ext cx="396817" cy="396817"/>
                <a:chOff x="3215227" y="2066982"/>
                <a:chExt cx="396817" cy="396817"/>
              </a:xfrm>
            </p:grpSpPr>
            <p:sp>
              <p:nvSpPr>
                <p:cNvPr id="242" name="Oval 241">
                  <a:extLst>
                    <a:ext uri="{FF2B5EF4-FFF2-40B4-BE49-F238E27FC236}">
                      <a16:creationId xmlns:a16="http://schemas.microsoft.com/office/drawing/2014/main" id="{A99F52C6-C0CD-4E63-81E9-BBBBEA41D2C3}"/>
                    </a:ext>
                  </a:extLst>
                </p:cNvPr>
                <p:cNvSpPr/>
                <p:nvPr/>
              </p:nvSpPr>
              <p:spPr>
                <a:xfrm>
                  <a:off x="3215227" y="2066982"/>
                  <a:ext cx="396817" cy="396817"/>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43" name="Freeform: Shape 298">
                  <a:extLst>
                    <a:ext uri="{FF2B5EF4-FFF2-40B4-BE49-F238E27FC236}">
                      <a16:creationId xmlns:a16="http://schemas.microsoft.com/office/drawing/2014/main" id="{D548B0BD-B234-454A-ACA2-71736AC90B33}"/>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4" name="Freeform: Shape 299">
                  <a:extLst>
                    <a:ext uri="{FF2B5EF4-FFF2-40B4-BE49-F238E27FC236}">
                      <a16:creationId xmlns:a16="http://schemas.microsoft.com/office/drawing/2014/main" id="{1220563F-6BE2-4A8B-BCDB-D1D4E6ABA1EB}"/>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5" name="Freeform: Shape 301">
                  <a:extLst>
                    <a:ext uri="{FF2B5EF4-FFF2-40B4-BE49-F238E27FC236}">
                      <a16:creationId xmlns:a16="http://schemas.microsoft.com/office/drawing/2014/main" id="{E580FBF5-91DD-4C4E-B51E-C6DE7B961F13}"/>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46" name="Freeform: Shape 302">
                  <a:extLst>
                    <a:ext uri="{FF2B5EF4-FFF2-40B4-BE49-F238E27FC236}">
                      <a16:creationId xmlns:a16="http://schemas.microsoft.com/office/drawing/2014/main" id="{2043C88F-795A-4F96-9FC4-5B2CC12983AE}"/>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9" name="Group 8">
                <a:extLst>
                  <a:ext uri="{FF2B5EF4-FFF2-40B4-BE49-F238E27FC236}">
                    <a16:creationId xmlns:a16="http://schemas.microsoft.com/office/drawing/2014/main" id="{D8015B32-B67B-457A-8CF9-C01B899F291E}"/>
                  </a:ext>
                </a:extLst>
              </p:cNvPr>
              <p:cNvGrpSpPr/>
              <p:nvPr/>
            </p:nvGrpSpPr>
            <p:grpSpPr>
              <a:xfrm>
                <a:off x="1805698" y="2192502"/>
                <a:ext cx="485160" cy="541185"/>
                <a:chOff x="1888588" y="1025862"/>
                <a:chExt cx="485160" cy="541185"/>
              </a:xfrm>
            </p:grpSpPr>
            <p:grpSp>
              <p:nvGrpSpPr>
                <p:cNvPr id="247" name="Group 246">
                  <a:extLst>
                    <a:ext uri="{FF2B5EF4-FFF2-40B4-BE49-F238E27FC236}">
                      <a16:creationId xmlns:a16="http://schemas.microsoft.com/office/drawing/2014/main" id="{BE3F041B-EB84-4205-9505-75D763A38B6C}"/>
                    </a:ext>
                  </a:extLst>
                </p:cNvPr>
                <p:cNvGrpSpPr/>
                <p:nvPr/>
              </p:nvGrpSpPr>
              <p:grpSpPr>
                <a:xfrm>
                  <a:off x="1888588" y="1025862"/>
                  <a:ext cx="269059" cy="273863"/>
                  <a:chOff x="3215227" y="2066982"/>
                  <a:chExt cx="396817" cy="396817"/>
                </a:xfrm>
              </p:grpSpPr>
              <p:sp>
                <p:nvSpPr>
                  <p:cNvPr id="248" name="Oval 247">
                    <a:extLst>
                      <a:ext uri="{FF2B5EF4-FFF2-40B4-BE49-F238E27FC236}">
                        <a16:creationId xmlns:a16="http://schemas.microsoft.com/office/drawing/2014/main" id="{9D96F73A-DD38-4F17-99D3-AA147AEB87EC}"/>
                      </a:ext>
                    </a:extLst>
                  </p:cNvPr>
                  <p:cNvSpPr/>
                  <p:nvPr/>
                </p:nvSpPr>
                <p:spPr>
                  <a:xfrm>
                    <a:off x="3215227" y="2066982"/>
                    <a:ext cx="396817" cy="39681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49" name="Freeform: Shape 298">
                    <a:extLst>
                      <a:ext uri="{FF2B5EF4-FFF2-40B4-BE49-F238E27FC236}">
                        <a16:creationId xmlns:a16="http://schemas.microsoft.com/office/drawing/2014/main" id="{70F70502-67C7-442F-BE84-B1F8420B428A}"/>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50" name="Freeform: Shape 299">
                    <a:extLst>
                      <a:ext uri="{FF2B5EF4-FFF2-40B4-BE49-F238E27FC236}">
                        <a16:creationId xmlns:a16="http://schemas.microsoft.com/office/drawing/2014/main" id="{CE151AED-A8C0-450D-AC14-97551052055D}"/>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51" name="Freeform: Shape 301">
                    <a:extLst>
                      <a:ext uri="{FF2B5EF4-FFF2-40B4-BE49-F238E27FC236}">
                        <a16:creationId xmlns:a16="http://schemas.microsoft.com/office/drawing/2014/main" id="{8A2EC692-D2E1-4D68-8A39-CB41A839F0C8}"/>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52" name="Freeform: Shape 302">
                    <a:extLst>
                      <a:ext uri="{FF2B5EF4-FFF2-40B4-BE49-F238E27FC236}">
                        <a16:creationId xmlns:a16="http://schemas.microsoft.com/office/drawing/2014/main" id="{0A49F382-EE49-4C3F-A664-CD66D42323A5}"/>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65" name="Group 264">
                  <a:extLst>
                    <a:ext uri="{FF2B5EF4-FFF2-40B4-BE49-F238E27FC236}">
                      <a16:creationId xmlns:a16="http://schemas.microsoft.com/office/drawing/2014/main" id="{F6B14415-9797-4AAF-A0A2-204940894D41}"/>
                    </a:ext>
                  </a:extLst>
                </p:cNvPr>
                <p:cNvGrpSpPr/>
                <p:nvPr/>
              </p:nvGrpSpPr>
              <p:grpSpPr>
                <a:xfrm>
                  <a:off x="1996638" y="1159523"/>
                  <a:ext cx="269059" cy="273863"/>
                  <a:chOff x="3215227" y="2066982"/>
                  <a:chExt cx="396817" cy="396817"/>
                </a:xfrm>
              </p:grpSpPr>
              <p:sp>
                <p:nvSpPr>
                  <p:cNvPr id="266" name="Oval 265">
                    <a:extLst>
                      <a:ext uri="{FF2B5EF4-FFF2-40B4-BE49-F238E27FC236}">
                        <a16:creationId xmlns:a16="http://schemas.microsoft.com/office/drawing/2014/main" id="{3B81F60B-BDE5-4F6B-9DA7-509EED992ED8}"/>
                      </a:ext>
                    </a:extLst>
                  </p:cNvPr>
                  <p:cNvSpPr/>
                  <p:nvPr/>
                </p:nvSpPr>
                <p:spPr>
                  <a:xfrm>
                    <a:off x="3215227" y="2066982"/>
                    <a:ext cx="396817" cy="39681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67" name="Freeform: Shape 298">
                    <a:extLst>
                      <a:ext uri="{FF2B5EF4-FFF2-40B4-BE49-F238E27FC236}">
                        <a16:creationId xmlns:a16="http://schemas.microsoft.com/office/drawing/2014/main" id="{D4BD8F06-4EE6-45C6-B820-16410A911FF5}"/>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68" name="Freeform: Shape 299">
                    <a:extLst>
                      <a:ext uri="{FF2B5EF4-FFF2-40B4-BE49-F238E27FC236}">
                        <a16:creationId xmlns:a16="http://schemas.microsoft.com/office/drawing/2014/main" id="{31E64D08-E3C8-48B7-BE11-3A237A685441}"/>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69" name="Freeform: Shape 301">
                    <a:extLst>
                      <a:ext uri="{FF2B5EF4-FFF2-40B4-BE49-F238E27FC236}">
                        <a16:creationId xmlns:a16="http://schemas.microsoft.com/office/drawing/2014/main" id="{B2A8FB6F-86DC-40EE-8DF4-B141F7145E48}"/>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70" name="Freeform: Shape 302">
                    <a:extLst>
                      <a:ext uri="{FF2B5EF4-FFF2-40B4-BE49-F238E27FC236}">
                        <a16:creationId xmlns:a16="http://schemas.microsoft.com/office/drawing/2014/main" id="{9049152B-4BF7-4E90-9E4C-86D02C081F90}"/>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nvGrpSpPr>
                <p:cNvPr id="271" name="Group 270">
                  <a:extLst>
                    <a:ext uri="{FF2B5EF4-FFF2-40B4-BE49-F238E27FC236}">
                      <a16:creationId xmlns:a16="http://schemas.microsoft.com/office/drawing/2014/main" id="{BDBE6F11-0417-4D94-8163-BE7F17CAED63}"/>
                    </a:ext>
                  </a:extLst>
                </p:cNvPr>
                <p:cNvGrpSpPr/>
                <p:nvPr/>
              </p:nvGrpSpPr>
              <p:grpSpPr>
                <a:xfrm>
                  <a:off x="2104689" y="1293184"/>
                  <a:ext cx="269059" cy="273863"/>
                  <a:chOff x="3215227" y="2066982"/>
                  <a:chExt cx="396817" cy="396817"/>
                </a:xfrm>
              </p:grpSpPr>
              <p:sp>
                <p:nvSpPr>
                  <p:cNvPr id="272" name="Oval 271">
                    <a:extLst>
                      <a:ext uri="{FF2B5EF4-FFF2-40B4-BE49-F238E27FC236}">
                        <a16:creationId xmlns:a16="http://schemas.microsoft.com/office/drawing/2014/main" id="{D0850841-E57C-4F9B-B609-CDF8C9EE15CC}"/>
                      </a:ext>
                    </a:extLst>
                  </p:cNvPr>
                  <p:cNvSpPr/>
                  <p:nvPr/>
                </p:nvSpPr>
                <p:spPr>
                  <a:xfrm>
                    <a:off x="3215227" y="2066982"/>
                    <a:ext cx="396817" cy="39681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73" name="Freeform: Shape 298">
                    <a:extLst>
                      <a:ext uri="{FF2B5EF4-FFF2-40B4-BE49-F238E27FC236}">
                        <a16:creationId xmlns:a16="http://schemas.microsoft.com/office/drawing/2014/main" id="{60501EC2-238C-40DB-B824-0256D70869D5}"/>
                      </a:ext>
                    </a:extLst>
                  </p:cNvPr>
                  <p:cNvSpPr/>
                  <p:nvPr/>
                </p:nvSpPr>
                <p:spPr>
                  <a:xfrm rot="16200000">
                    <a:off x="3346817" y="2125069"/>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74" name="Freeform: Shape 299">
                    <a:extLst>
                      <a:ext uri="{FF2B5EF4-FFF2-40B4-BE49-F238E27FC236}">
                        <a16:creationId xmlns:a16="http://schemas.microsoft.com/office/drawing/2014/main" id="{E8907A08-665C-4818-ABFD-9245EF507E5C}"/>
                      </a:ext>
                    </a:extLst>
                  </p:cNvPr>
                  <p:cNvSpPr/>
                  <p:nvPr/>
                </p:nvSpPr>
                <p:spPr>
                  <a:xfrm rot="5400000">
                    <a:off x="3346817" y="2294462"/>
                    <a:ext cx="133639" cy="111251"/>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75" name="Freeform: Shape 301">
                    <a:extLst>
                      <a:ext uri="{FF2B5EF4-FFF2-40B4-BE49-F238E27FC236}">
                        <a16:creationId xmlns:a16="http://schemas.microsoft.com/office/drawing/2014/main" id="{35809C4F-5D02-485F-B095-0F020EA38ADD}"/>
                      </a:ext>
                    </a:extLst>
                  </p:cNvPr>
                  <p:cNvSpPr/>
                  <p:nvPr/>
                </p:nvSpPr>
                <p:spPr>
                  <a:xfrm rot="10800000">
                    <a:off x="3431513"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276" name="Freeform: Shape 302">
                    <a:extLst>
                      <a:ext uri="{FF2B5EF4-FFF2-40B4-BE49-F238E27FC236}">
                        <a16:creationId xmlns:a16="http://schemas.microsoft.com/office/drawing/2014/main" id="{1AC6CA51-786F-4054-9D1E-31628017A6BC}"/>
                      </a:ext>
                    </a:extLst>
                  </p:cNvPr>
                  <p:cNvSpPr/>
                  <p:nvPr/>
                </p:nvSpPr>
                <p:spPr>
                  <a:xfrm>
                    <a:off x="3262120" y="2209765"/>
                    <a:ext cx="133639" cy="111252"/>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sp>
            <p:nvSpPr>
              <p:cNvPr id="10" name="Rectangle 9">
                <a:extLst>
                  <a:ext uri="{FF2B5EF4-FFF2-40B4-BE49-F238E27FC236}">
                    <a16:creationId xmlns:a16="http://schemas.microsoft.com/office/drawing/2014/main" id="{96F82E94-9263-41E2-9BAF-0268ED253B26}"/>
                  </a:ext>
                </a:extLst>
              </p:cNvPr>
              <p:cNvSpPr/>
              <p:nvPr/>
            </p:nvSpPr>
            <p:spPr>
              <a:xfrm>
                <a:off x="2896198" y="722599"/>
                <a:ext cx="725746" cy="2727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050" dirty="0"/>
                  <a:t>SR-PCE</a:t>
                </a:r>
                <a:endParaRPr lang="en-GB" sz="1050" dirty="0"/>
              </a:p>
            </p:txBody>
          </p:sp>
          <p:sp>
            <p:nvSpPr>
              <p:cNvPr id="283" name="Rectangle 282">
                <a:extLst>
                  <a:ext uri="{FF2B5EF4-FFF2-40B4-BE49-F238E27FC236}">
                    <a16:creationId xmlns:a16="http://schemas.microsoft.com/office/drawing/2014/main" id="{3901022C-15FD-4C14-82BB-CB585BC1C10C}"/>
                  </a:ext>
                </a:extLst>
              </p:cNvPr>
              <p:cNvSpPr/>
              <p:nvPr/>
            </p:nvSpPr>
            <p:spPr>
              <a:xfrm>
                <a:off x="4245511" y="722599"/>
                <a:ext cx="725746" cy="2727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050" dirty="0"/>
                  <a:t>SR-PCE</a:t>
                </a:r>
                <a:endParaRPr lang="en-GB" sz="1050" dirty="0"/>
              </a:p>
            </p:txBody>
          </p:sp>
          <p:sp>
            <p:nvSpPr>
              <p:cNvPr id="284" name="Rectangle 283">
                <a:extLst>
                  <a:ext uri="{FF2B5EF4-FFF2-40B4-BE49-F238E27FC236}">
                    <a16:creationId xmlns:a16="http://schemas.microsoft.com/office/drawing/2014/main" id="{02E01D4D-5E36-48B6-87F3-1B1C9CA6F96B}"/>
                  </a:ext>
                </a:extLst>
              </p:cNvPr>
              <p:cNvSpPr/>
              <p:nvPr/>
            </p:nvSpPr>
            <p:spPr>
              <a:xfrm>
                <a:off x="5671203" y="722599"/>
                <a:ext cx="725746" cy="2727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050" dirty="0"/>
                  <a:t>SR-PCE</a:t>
                </a:r>
                <a:endParaRPr lang="en-GB" sz="1050" dirty="0"/>
              </a:p>
            </p:txBody>
          </p:sp>
          <p:sp>
            <p:nvSpPr>
              <p:cNvPr id="285" name="Rectangle 284">
                <a:extLst>
                  <a:ext uri="{FF2B5EF4-FFF2-40B4-BE49-F238E27FC236}">
                    <a16:creationId xmlns:a16="http://schemas.microsoft.com/office/drawing/2014/main" id="{61E2EB8E-795C-4B00-9D9B-4D7C763B01EE}"/>
                  </a:ext>
                </a:extLst>
              </p:cNvPr>
              <p:cNvSpPr/>
              <p:nvPr/>
            </p:nvSpPr>
            <p:spPr>
              <a:xfrm>
                <a:off x="3769921" y="180202"/>
                <a:ext cx="1676926" cy="33843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050" dirty="0" err="1"/>
                  <a:t>Crosswork</a:t>
                </a:r>
                <a:r>
                  <a:rPr lang="en-ZA" sz="1050" dirty="0"/>
                  <a:t> Optimization Engine</a:t>
                </a:r>
                <a:endParaRPr lang="en-GB" sz="1050" dirty="0"/>
              </a:p>
            </p:txBody>
          </p:sp>
          <p:cxnSp>
            <p:nvCxnSpPr>
              <p:cNvPr id="12" name="Straight Arrow Connector 11">
                <a:extLst>
                  <a:ext uri="{FF2B5EF4-FFF2-40B4-BE49-F238E27FC236}">
                    <a16:creationId xmlns:a16="http://schemas.microsoft.com/office/drawing/2014/main" id="{B906D25E-CD02-44DF-BF53-38813B36F59D}"/>
                  </a:ext>
                </a:extLst>
              </p:cNvPr>
              <p:cNvCxnSpPr>
                <a:stCxn id="248" idx="7"/>
                <a:endCxn id="10" idx="1"/>
              </p:cNvCxnSpPr>
              <p:nvPr/>
            </p:nvCxnSpPr>
            <p:spPr>
              <a:xfrm flipV="1">
                <a:off x="2035354" y="858991"/>
                <a:ext cx="860844" cy="1373617"/>
              </a:xfrm>
              <a:prstGeom prst="straightConnector1">
                <a:avLst/>
              </a:prstGeom>
              <a:ln>
                <a:solidFill>
                  <a:srgbClr val="7030A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0076E45-4665-4498-A8D6-12DB27D28A50}"/>
                  </a:ext>
                </a:extLst>
              </p:cNvPr>
              <p:cNvCxnSpPr>
                <a:stCxn id="248" idx="7"/>
                <a:endCxn id="222" idx="2"/>
              </p:cNvCxnSpPr>
              <p:nvPr/>
            </p:nvCxnSpPr>
            <p:spPr>
              <a:xfrm flipV="1">
                <a:off x="2035354" y="1381707"/>
                <a:ext cx="1025463" cy="850901"/>
              </a:xfrm>
              <a:prstGeom prst="straightConnector1">
                <a:avLst/>
              </a:prstGeom>
              <a:ln>
                <a:solidFill>
                  <a:schemeClr val="accent4"/>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1837AA9-2990-434D-A668-37B209A97DAC}"/>
                  </a:ext>
                </a:extLst>
              </p:cNvPr>
              <p:cNvCxnSpPr>
                <a:cxnSpLocks/>
                <a:stCxn id="522" idx="0"/>
                <a:endCxn id="222" idx="4"/>
              </p:cNvCxnSpPr>
              <p:nvPr/>
            </p:nvCxnSpPr>
            <p:spPr>
              <a:xfrm flipH="1" flipV="1">
                <a:off x="3259226" y="1580115"/>
                <a:ext cx="2010" cy="334467"/>
              </a:xfrm>
              <a:prstGeom prst="straightConnector1">
                <a:avLst/>
              </a:prstGeom>
              <a:ln>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2162BECE-B4F4-4144-9D6F-443C0DA2DB3E}"/>
                  </a:ext>
                </a:extLst>
              </p:cNvPr>
              <p:cNvCxnSpPr>
                <a:stCxn id="236" idx="4"/>
                <a:endCxn id="508" idx="0"/>
              </p:cNvCxnSpPr>
              <p:nvPr/>
            </p:nvCxnSpPr>
            <p:spPr>
              <a:xfrm>
                <a:off x="4607846" y="1580115"/>
                <a:ext cx="4206" cy="334467"/>
              </a:xfrm>
              <a:prstGeom prst="straightConnector1">
                <a:avLst/>
              </a:prstGeom>
              <a:ln>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EE0F0D4-780B-48A1-AECC-2BD15B15F233}"/>
                  </a:ext>
                </a:extLst>
              </p:cNvPr>
              <p:cNvCxnSpPr>
                <a:stCxn id="242" idx="4"/>
                <a:endCxn id="192" idx="0"/>
              </p:cNvCxnSpPr>
              <p:nvPr/>
            </p:nvCxnSpPr>
            <p:spPr>
              <a:xfrm flipH="1">
                <a:off x="5606815" y="1580115"/>
                <a:ext cx="427261" cy="523686"/>
              </a:xfrm>
              <a:prstGeom prst="straightConnector1">
                <a:avLst/>
              </a:prstGeom>
              <a:ln>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84F07D6-22F2-4634-9A48-99FAAAE37FEA}"/>
                  </a:ext>
                </a:extLst>
              </p:cNvPr>
              <p:cNvCxnSpPr>
                <a:cxnSpLocks/>
                <a:stCxn id="242" idx="4"/>
                <a:endCxn id="208" idx="0"/>
              </p:cNvCxnSpPr>
              <p:nvPr/>
            </p:nvCxnSpPr>
            <p:spPr>
              <a:xfrm>
                <a:off x="6034076" y="1580115"/>
                <a:ext cx="401048" cy="523389"/>
              </a:xfrm>
              <a:prstGeom prst="straightConnector1">
                <a:avLst/>
              </a:prstGeom>
              <a:ln>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1732132-4480-4E33-B75A-8C7E91145F27}"/>
                  </a:ext>
                </a:extLst>
              </p:cNvPr>
              <p:cNvCxnSpPr>
                <a:stCxn id="222" idx="0"/>
                <a:endCxn id="10" idx="2"/>
              </p:cNvCxnSpPr>
              <p:nvPr/>
            </p:nvCxnSpPr>
            <p:spPr>
              <a:xfrm flipH="1" flipV="1">
                <a:off x="3259071" y="995382"/>
                <a:ext cx="155" cy="187916"/>
              </a:xfrm>
              <a:prstGeom prst="straightConnector1">
                <a:avLst/>
              </a:prstGeom>
              <a:ln>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E7AC7F5-92D8-40ED-9112-EABC07B8920B}"/>
                  </a:ext>
                </a:extLst>
              </p:cNvPr>
              <p:cNvCxnSpPr>
                <a:stCxn id="236" idx="0"/>
                <a:endCxn id="283" idx="2"/>
              </p:cNvCxnSpPr>
              <p:nvPr/>
            </p:nvCxnSpPr>
            <p:spPr>
              <a:xfrm flipV="1">
                <a:off x="4607846" y="995382"/>
                <a:ext cx="538" cy="187916"/>
              </a:xfrm>
              <a:prstGeom prst="straightConnector1">
                <a:avLst/>
              </a:prstGeom>
              <a:ln>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0DB3E3FD-724F-4094-B34D-AB54F95D1303}"/>
                  </a:ext>
                </a:extLst>
              </p:cNvPr>
              <p:cNvCxnSpPr>
                <a:stCxn id="242" idx="0"/>
                <a:endCxn id="284" idx="2"/>
              </p:cNvCxnSpPr>
              <p:nvPr/>
            </p:nvCxnSpPr>
            <p:spPr>
              <a:xfrm flipV="1">
                <a:off x="6034076" y="995382"/>
                <a:ext cx="0" cy="187916"/>
              </a:xfrm>
              <a:prstGeom prst="straightConnector1">
                <a:avLst/>
              </a:prstGeom>
              <a:ln>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A6B29300-3F41-462E-B950-3C3B855216AF}"/>
                  </a:ext>
                </a:extLst>
              </p:cNvPr>
              <p:cNvCxnSpPr>
                <a:cxnSpLocks/>
                <a:stCxn id="522" idx="2"/>
              </p:cNvCxnSpPr>
              <p:nvPr/>
            </p:nvCxnSpPr>
            <p:spPr>
              <a:xfrm rot="10800000">
                <a:off x="2951535" y="984327"/>
                <a:ext cx="111293" cy="1128665"/>
              </a:xfrm>
              <a:prstGeom prst="bentConnector2">
                <a:avLst/>
              </a:prstGeom>
              <a:ln>
                <a:solidFill>
                  <a:srgbClr val="7030A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6" name="Connector: Elbow 315">
                <a:extLst>
                  <a:ext uri="{FF2B5EF4-FFF2-40B4-BE49-F238E27FC236}">
                    <a16:creationId xmlns:a16="http://schemas.microsoft.com/office/drawing/2014/main" id="{9E0E58ED-B047-462E-9542-68241D16F7E4}"/>
                  </a:ext>
                </a:extLst>
              </p:cNvPr>
              <p:cNvCxnSpPr>
                <a:cxnSpLocks/>
                <a:stCxn id="508" idx="2"/>
              </p:cNvCxnSpPr>
              <p:nvPr/>
            </p:nvCxnSpPr>
            <p:spPr>
              <a:xfrm rot="10800000">
                <a:off x="4278867" y="984331"/>
                <a:ext cx="134777" cy="1128661"/>
              </a:xfrm>
              <a:prstGeom prst="bentConnector2">
                <a:avLst/>
              </a:prstGeom>
              <a:ln>
                <a:solidFill>
                  <a:srgbClr val="7030A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8" name="Connector: Elbow 317">
                <a:extLst>
                  <a:ext uri="{FF2B5EF4-FFF2-40B4-BE49-F238E27FC236}">
                    <a16:creationId xmlns:a16="http://schemas.microsoft.com/office/drawing/2014/main" id="{1D0B6E57-9BEB-4EBE-9FE1-8AAF6581A8D7}"/>
                  </a:ext>
                </a:extLst>
              </p:cNvPr>
              <p:cNvCxnSpPr>
                <a:cxnSpLocks/>
                <a:stCxn id="192" idx="0"/>
              </p:cNvCxnSpPr>
              <p:nvPr/>
            </p:nvCxnSpPr>
            <p:spPr>
              <a:xfrm rot="5400000" flipH="1" flipV="1">
                <a:off x="5118082" y="1500774"/>
                <a:ext cx="1091761" cy="114294"/>
              </a:xfrm>
              <a:prstGeom prst="bentConnector3">
                <a:avLst>
                  <a:gd name="adj1" fmla="val 50000"/>
                </a:avLst>
              </a:prstGeom>
              <a:ln>
                <a:solidFill>
                  <a:srgbClr val="7030A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3" name="Connector: Elbow 322">
                <a:extLst>
                  <a:ext uri="{FF2B5EF4-FFF2-40B4-BE49-F238E27FC236}">
                    <a16:creationId xmlns:a16="http://schemas.microsoft.com/office/drawing/2014/main" id="{2E3ABF70-688A-4978-A3E1-3CC8ABACA15D}"/>
                  </a:ext>
                </a:extLst>
              </p:cNvPr>
              <p:cNvCxnSpPr>
                <a:cxnSpLocks/>
                <a:stCxn id="208" idx="0"/>
              </p:cNvCxnSpPr>
              <p:nvPr/>
            </p:nvCxnSpPr>
            <p:spPr>
              <a:xfrm rot="16200000" flipV="1">
                <a:off x="5832953" y="1501332"/>
                <a:ext cx="1108122" cy="96221"/>
              </a:xfrm>
              <a:prstGeom prst="bentConnector3">
                <a:avLst>
                  <a:gd name="adj1" fmla="val 50000"/>
                </a:avLst>
              </a:prstGeom>
              <a:ln>
                <a:solidFill>
                  <a:srgbClr val="7030A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E0E8A8F5-F790-437C-AAA7-DBC20B82D038}"/>
                  </a:ext>
                </a:extLst>
              </p:cNvPr>
              <p:cNvCxnSpPr>
                <a:cxnSpLocks/>
                <a:stCxn id="236" idx="6"/>
                <a:endCxn id="242" idx="2"/>
              </p:cNvCxnSpPr>
              <p:nvPr/>
            </p:nvCxnSpPr>
            <p:spPr>
              <a:xfrm>
                <a:off x="4806254" y="1381707"/>
                <a:ext cx="1029413" cy="0"/>
              </a:xfrm>
              <a:prstGeom prst="straightConnector1">
                <a:avLst/>
              </a:prstGeom>
              <a:ln>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FB04A4C-210B-4D83-B00A-3DD961FC620F}"/>
                  </a:ext>
                </a:extLst>
              </p:cNvPr>
              <p:cNvCxnSpPr>
                <a:stCxn id="222" idx="6"/>
                <a:endCxn id="236" idx="2"/>
              </p:cNvCxnSpPr>
              <p:nvPr/>
            </p:nvCxnSpPr>
            <p:spPr>
              <a:xfrm>
                <a:off x="3457634" y="1381707"/>
                <a:ext cx="951803" cy="0"/>
              </a:xfrm>
              <a:prstGeom prst="straightConnector1">
                <a:avLst/>
              </a:prstGeom>
              <a:ln>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0" name="Straight Arrow Connector 459">
                <a:extLst>
                  <a:ext uri="{FF2B5EF4-FFF2-40B4-BE49-F238E27FC236}">
                    <a16:creationId xmlns:a16="http://schemas.microsoft.com/office/drawing/2014/main" id="{6FD2BF6D-C9F8-499C-B782-914494D9D127}"/>
                  </a:ext>
                </a:extLst>
              </p:cNvPr>
              <p:cNvCxnSpPr>
                <a:stCxn id="10" idx="0"/>
                <a:endCxn id="285" idx="1"/>
              </p:cNvCxnSpPr>
              <p:nvPr/>
            </p:nvCxnSpPr>
            <p:spPr>
              <a:xfrm flipV="1">
                <a:off x="3259071" y="349419"/>
                <a:ext cx="510850" cy="373180"/>
              </a:xfrm>
              <a:prstGeom prst="straightConnector1">
                <a:avLst/>
              </a:prstGeom>
              <a:ln w="9525" cap="flat" cmpd="sng" algn="ctr">
                <a:solidFill>
                  <a:schemeClr val="accent6"/>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462" name="Straight Arrow Connector 461">
                <a:extLst>
                  <a:ext uri="{FF2B5EF4-FFF2-40B4-BE49-F238E27FC236}">
                    <a16:creationId xmlns:a16="http://schemas.microsoft.com/office/drawing/2014/main" id="{95107479-DD4B-4DCC-A3CA-61C251793E58}"/>
                  </a:ext>
                </a:extLst>
              </p:cNvPr>
              <p:cNvCxnSpPr>
                <a:stCxn id="283" idx="0"/>
                <a:endCxn id="285" idx="2"/>
              </p:cNvCxnSpPr>
              <p:nvPr/>
            </p:nvCxnSpPr>
            <p:spPr>
              <a:xfrm flipV="1">
                <a:off x="4608384" y="518635"/>
                <a:ext cx="0" cy="203964"/>
              </a:xfrm>
              <a:prstGeom prst="straightConnector1">
                <a:avLst/>
              </a:prstGeom>
              <a:ln w="9525" cap="flat" cmpd="sng" algn="ctr">
                <a:solidFill>
                  <a:schemeClr val="accent6"/>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467" name="Straight Arrow Connector 466">
                <a:extLst>
                  <a:ext uri="{FF2B5EF4-FFF2-40B4-BE49-F238E27FC236}">
                    <a16:creationId xmlns:a16="http://schemas.microsoft.com/office/drawing/2014/main" id="{C8BD9DC1-FD5F-4E1D-AC84-913A6CA61662}"/>
                  </a:ext>
                </a:extLst>
              </p:cNvPr>
              <p:cNvCxnSpPr>
                <a:stCxn id="284" idx="0"/>
                <a:endCxn id="285" idx="3"/>
              </p:cNvCxnSpPr>
              <p:nvPr/>
            </p:nvCxnSpPr>
            <p:spPr>
              <a:xfrm flipH="1" flipV="1">
                <a:off x="5446847" y="349419"/>
                <a:ext cx="587229" cy="373180"/>
              </a:xfrm>
              <a:prstGeom prst="straightConnector1">
                <a:avLst/>
              </a:prstGeom>
              <a:ln w="9525" cap="flat" cmpd="sng" algn="ctr">
                <a:solidFill>
                  <a:schemeClr val="accent6"/>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340" name="Straight Arrow Connector 339">
                <a:extLst>
                  <a:ext uri="{FF2B5EF4-FFF2-40B4-BE49-F238E27FC236}">
                    <a16:creationId xmlns:a16="http://schemas.microsoft.com/office/drawing/2014/main" id="{AC0EAB82-0316-4D25-9707-F86395812C22}"/>
                  </a:ext>
                </a:extLst>
              </p:cNvPr>
              <p:cNvCxnSpPr>
                <a:cxnSpLocks/>
              </p:cNvCxnSpPr>
              <p:nvPr/>
            </p:nvCxnSpPr>
            <p:spPr>
              <a:xfrm flipH="1">
                <a:off x="7168935" y="384801"/>
                <a:ext cx="360000" cy="0"/>
              </a:xfrm>
              <a:prstGeom prst="straightConnector1">
                <a:avLst/>
              </a:prstGeom>
              <a:ln w="9525" cap="flat" cmpd="sng" algn="ctr">
                <a:solidFill>
                  <a:schemeClr val="accent6"/>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341" name="Straight Arrow Connector 340">
                <a:extLst>
                  <a:ext uri="{FF2B5EF4-FFF2-40B4-BE49-F238E27FC236}">
                    <a16:creationId xmlns:a16="http://schemas.microsoft.com/office/drawing/2014/main" id="{7228D56E-B631-4A28-8728-8C33CCC0B601}"/>
                  </a:ext>
                </a:extLst>
              </p:cNvPr>
              <p:cNvCxnSpPr>
                <a:cxnSpLocks/>
              </p:cNvCxnSpPr>
              <p:nvPr/>
            </p:nvCxnSpPr>
            <p:spPr>
              <a:xfrm>
                <a:off x="7168934" y="620617"/>
                <a:ext cx="360000" cy="0"/>
              </a:xfrm>
              <a:prstGeom prst="straightConnector1">
                <a:avLst/>
              </a:prstGeom>
              <a:ln>
                <a:solidFill>
                  <a:srgbClr val="7030A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2" name="Straight Arrow Connector 351">
                <a:extLst>
                  <a:ext uri="{FF2B5EF4-FFF2-40B4-BE49-F238E27FC236}">
                    <a16:creationId xmlns:a16="http://schemas.microsoft.com/office/drawing/2014/main" id="{1BD18D72-FA7D-4B1B-AAB5-649DF208A92B}"/>
                  </a:ext>
                </a:extLst>
              </p:cNvPr>
              <p:cNvCxnSpPr>
                <a:cxnSpLocks/>
              </p:cNvCxnSpPr>
              <p:nvPr/>
            </p:nvCxnSpPr>
            <p:spPr>
              <a:xfrm>
                <a:off x="7168934" y="858990"/>
                <a:ext cx="360000" cy="0"/>
              </a:xfrm>
              <a:prstGeom prst="straightConnector1">
                <a:avLst/>
              </a:prstGeom>
              <a:ln w="9525" cap="flat" cmpd="sng" algn="ctr">
                <a:solidFill>
                  <a:schemeClr val="accent5"/>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356" name="Straight Arrow Connector 355">
                <a:extLst>
                  <a:ext uri="{FF2B5EF4-FFF2-40B4-BE49-F238E27FC236}">
                    <a16:creationId xmlns:a16="http://schemas.microsoft.com/office/drawing/2014/main" id="{7C6EEAF1-E40F-4DF9-8D60-6E2EC9913CBB}"/>
                  </a:ext>
                </a:extLst>
              </p:cNvPr>
              <p:cNvCxnSpPr>
                <a:cxnSpLocks/>
              </p:cNvCxnSpPr>
              <p:nvPr/>
            </p:nvCxnSpPr>
            <p:spPr>
              <a:xfrm>
                <a:off x="7168934" y="1094926"/>
                <a:ext cx="360000" cy="0"/>
              </a:xfrm>
              <a:prstGeom prst="straightConnector1">
                <a:avLst/>
              </a:prstGeom>
              <a:ln w="9525" cap="flat" cmpd="sng" algn="ctr">
                <a:solidFill>
                  <a:schemeClr val="accent4"/>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358" name="Straight Arrow Connector 357">
                <a:extLst>
                  <a:ext uri="{FF2B5EF4-FFF2-40B4-BE49-F238E27FC236}">
                    <a16:creationId xmlns:a16="http://schemas.microsoft.com/office/drawing/2014/main" id="{4493B899-CC6E-460D-92F6-AB3CA7D63649}"/>
                  </a:ext>
                </a:extLst>
              </p:cNvPr>
              <p:cNvCxnSpPr/>
              <p:nvPr/>
            </p:nvCxnSpPr>
            <p:spPr>
              <a:xfrm flipH="1" flipV="1">
                <a:off x="3333137" y="995382"/>
                <a:ext cx="155" cy="187916"/>
              </a:xfrm>
              <a:prstGeom prst="straightConnector1">
                <a:avLst/>
              </a:prstGeom>
              <a:ln>
                <a:solidFill>
                  <a:schemeClr val="accent4"/>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9" name="Straight Arrow Connector 358">
                <a:extLst>
                  <a:ext uri="{FF2B5EF4-FFF2-40B4-BE49-F238E27FC236}">
                    <a16:creationId xmlns:a16="http://schemas.microsoft.com/office/drawing/2014/main" id="{3EFD56BF-EEBE-4F5B-A9FE-5FC5D082254D}"/>
                  </a:ext>
                </a:extLst>
              </p:cNvPr>
              <p:cNvCxnSpPr/>
              <p:nvPr/>
            </p:nvCxnSpPr>
            <p:spPr>
              <a:xfrm flipV="1">
                <a:off x="4690497" y="995382"/>
                <a:ext cx="538" cy="187916"/>
              </a:xfrm>
              <a:prstGeom prst="straightConnector1">
                <a:avLst/>
              </a:prstGeom>
              <a:ln>
                <a:solidFill>
                  <a:schemeClr val="accent4"/>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0" name="Straight Arrow Connector 359">
                <a:extLst>
                  <a:ext uri="{FF2B5EF4-FFF2-40B4-BE49-F238E27FC236}">
                    <a16:creationId xmlns:a16="http://schemas.microsoft.com/office/drawing/2014/main" id="{7B257E18-BEAF-4FD3-A222-212EA496BA35}"/>
                  </a:ext>
                </a:extLst>
              </p:cNvPr>
              <p:cNvCxnSpPr/>
              <p:nvPr/>
            </p:nvCxnSpPr>
            <p:spPr>
              <a:xfrm flipV="1">
                <a:off x="6110609" y="995382"/>
                <a:ext cx="538" cy="187916"/>
              </a:xfrm>
              <a:prstGeom prst="straightConnector1">
                <a:avLst/>
              </a:prstGeom>
              <a:ln>
                <a:solidFill>
                  <a:schemeClr val="accent4"/>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1" name="Straight Arrow Connector 360">
                <a:extLst>
                  <a:ext uri="{FF2B5EF4-FFF2-40B4-BE49-F238E27FC236}">
                    <a16:creationId xmlns:a16="http://schemas.microsoft.com/office/drawing/2014/main" id="{75BF84EC-9733-437C-A83F-EFD142FDD0E3}"/>
                  </a:ext>
                </a:extLst>
              </p:cNvPr>
              <p:cNvCxnSpPr>
                <a:cxnSpLocks/>
              </p:cNvCxnSpPr>
              <p:nvPr/>
            </p:nvCxnSpPr>
            <p:spPr>
              <a:xfrm flipH="1" flipV="1">
                <a:off x="3341863" y="1580115"/>
                <a:ext cx="2010" cy="334467"/>
              </a:xfrm>
              <a:prstGeom prst="straightConnector1">
                <a:avLst/>
              </a:prstGeom>
              <a:ln>
                <a:solidFill>
                  <a:schemeClr val="accent4"/>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04B63BAB-5CB0-4904-A904-842B526B8D7F}"/>
                  </a:ext>
                </a:extLst>
              </p:cNvPr>
              <p:cNvCxnSpPr/>
              <p:nvPr/>
            </p:nvCxnSpPr>
            <p:spPr>
              <a:xfrm>
                <a:off x="4683381" y="1580115"/>
                <a:ext cx="4206" cy="334467"/>
              </a:xfrm>
              <a:prstGeom prst="straightConnector1">
                <a:avLst/>
              </a:prstGeom>
              <a:ln>
                <a:solidFill>
                  <a:schemeClr val="accent4"/>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3" name="Straight Arrow Connector 362">
                <a:extLst>
                  <a:ext uri="{FF2B5EF4-FFF2-40B4-BE49-F238E27FC236}">
                    <a16:creationId xmlns:a16="http://schemas.microsoft.com/office/drawing/2014/main" id="{74785601-78DF-4FB8-BCE1-42FFCB02B3AE}"/>
                  </a:ext>
                </a:extLst>
              </p:cNvPr>
              <p:cNvCxnSpPr>
                <a:cxnSpLocks/>
                <a:stCxn id="192" idx="7"/>
                <a:endCxn id="242" idx="4"/>
              </p:cNvCxnSpPr>
              <p:nvPr/>
            </p:nvCxnSpPr>
            <p:spPr>
              <a:xfrm flipV="1">
                <a:off x="5712646" y="1580115"/>
                <a:ext cx="321430" cy="567523"/>
              </a:xfrm>
              <a:prstGeom prst="straightConnector1">
                <a:avLst/>
              </a:prstGeom>
              <a:ln>
                <a:solidFill>
                  <a:schemeClr val="accent4"/>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6" name="Straight Arrow Connector 365">
                <a:extLst>
                  <a:ext uri="{FF2B5EF4-FFF2-40B4-BE49-F238E27FC236}">
                    <a16:creationId xmlns:a16="http://schemas.microsoft.com/office/drawing/2014/main" id="{126C8DFA-1620-481C-80A6-905BE1FD6BED}"/>
                  </a:ext>
                </a:extLst>
              </p:cNvPr>
              <p:cNvCxnSpPr>
                <a:cxnSpLocks/>
                <a:stCxn id="208" idx="1"/>
                <a:endCxn id="242" idx="4"/>
              </p:cNvCxnSpPr>
              <p:nvPr/>
            </p:nvCxnSpPr>
            <p:spPr>
              <a:xfrm flipH="1" flipV="1">
                <a:off x="6034076" y="1580115"/>
                <a:ext cx="295216" cy="567226"/>
              </a:xfrm>
              <a:prstGeom prst="straightConnector1">
                <a:avLst/>
              </a:prstGeom>
              <a:ln>
                <a:solidFill>
                  <a:schemeClr val="accent4"/>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6351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Automation and Programmability</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1"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7"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grpSp>
        <p:nvGrpSpPr>
          <p:cNvPr id="957" name="Group 956">
            <a:extLst>
              <a:ext uri="{FF2B5EF4-FFF2-40B4-BE49-F238E27FC236}">
                <a16:creationId xmlns:a16="http://schemas.microsoft.com/office/drawing/2014/main" id="{64452086-9719-44DE-8388-739CF1B77595}"/>
              </a:ext>
            </a:extLst>
          </p:cNvPr>
          <p:cNvGrpSpPr/>
          <p:nvPr/>
        </p:nvGrpSpPr>
        <p:grpSpPr>
          <a:xfrm>
            <a:off x="732673" y="1788912"/>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
        <p:nvSpPr>
          <p:cNvPr id="225" name="Rectangle 224">
            <a:extLst>
              <a:ext uri="{FF2B5EF4-FFF2-40B4-BE49-F238E27FC236}">
                <a16:creationId xmlns:a16="http://schemas.microsoft.com/office/drawing/2014/main" id="{2F514811-788C-4F3A-AB1C-331E11EC0303}"/>
              </a:ext>
            </a:extLst>
          </p:cNvPr>
          <p:cNvSpPr/>
          <p:nvPr/>
        </p:nvSpPr>
        <p:spPr>
          <a:xfrm>
            <a:off x="1828713" y="3414006"/>
            <a:ext cx="5906997" cy="1106788"/>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Tree>
    <p:extLst>
      <p:ext uri="{BB962C8B-B14F-4D97-AF65-F5344CB8AC3E}">
        <p14:creationId xmlns:p14="http://schemas.microsoft.com/office/powerpoint/2010/main" val="217014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50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animBg="1"/>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3577" y="795518"/>
            <a:ext cx="2653318" cy="2653318"/>
          </a:xfrm>
          <a:prstGeom prst="rect">
            <a:avLst/>
          </a:prstGeom>
        </p:spPr>
      </p:pic>
      <p:sp>
        <p:nvSpPr>
          <p:cNvPr id="12" name="Title 84"/>
          <p:cNvSpPr txBox="1">
            <a:spLocks/>
          </p:cNvSpPr>
          <p:nvPr/>
        </p:nvSpPr>
        <p:spPr bwMode="auto">
          <a:xfrm>
            <a:off x="362204" y="3255590"/>
            <a:ext cx="3827463" cy="18288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a:t>SP Network Automation</a:t>
            </a:r>
          </a:p>
        </p:txBody>
      </p:sp>
      <p:sp>
        <p:nvSpPr>
          <p:cNvPr id="21" name="Rounded Rectangle 20">
            <a:extLst>
              <a:ext uri="{FF2B5EF4-FFF2-40B4-BE49-F238E27FC236}">
                <a16:creationId xmlns:a16="http://schemas.microsoft.com/office/drawing/2014/main" id="{523A71BC-D47B-BE47-86BA-D7CEFADF370C}"/>
              </a:ext>
            </a:extLst>
          </p:cNvPr>
          <p:cNvSpPr/>
          <p:nvPr/>
        </p:nvSpPr>
        <p:spPr>
          <a:xfrm>
            <a:off x="4762981" y="2363021"/>
            <a:ext cx="4180868" cy="584775"/>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Text Placeholder 2"/>
          <p:cNvSpPr txBox="1">
            <a:spLocks/>
          </p:cNvSpPr>
          <p:nvPr/>
        </p:nvSpPr>
        <p:spPr>
          <a:xfrm>
            <a:off x="4914178" y="1307939"/>
            <a:ext cx="3789984" cy="3560902"/>
          </a:xfrm>
          <a:prstGeom prst="rect">
            <a:avLst/>
          </a:prstGeom>
        </p:spPr>
        <p:txBody>
          <a:bodyPr lIns="0" rIns="0" anchor="t" anchorCtr="0"/>
          <a:lstStyle>
            <a:lvl1pPr marL="169863" indent="-169863" algn="l" defTabSz="684213" rtl="0" eaLnBrk="1" fontAlgn="base" hangingPunct="1">
              <a:lnSpc>
                <a:spcPct val="100000"/>
              </a:lnSpc>
              <a:spcBef>
                <a:spcPts val="1075"/>
              </a:spcBef>
              <a:spcAft>
                <a:spcPct val="0"/>
              </a:spcAft>
              <a:buClr>
                <a:schemeClr val="tx1"/>
              </a:buClr>
              <a:buSzPct val="60000"/>
              <a:buFont typeface="Arial" panose="020B0604020202020204" pitchFamily="34" charset="0"/>
              <a:buChar char="•"/>
              <a:tabLst>
                <a:tab pos="228600" algn="l"/>
              </a:tabLst>
              <a:defRPr lang="en-US" sz="2400" kern="1200">
                <a:solidFill>
                  <a:schemeClr val="tx1"/>
                </a:solidFill>
                <a:latin typeface="+mn-lt"/>
                <a:ea typeface="ＭＳ Ｐゴシック" charset="0"/>
                <a:cs typeface="CiscoSans"/>
              </a:defRPr>
            </a:lvl1pPr>
            <a:lvl2pPr marL="346075" indent="-171450" algn="l" defTabSz="684213" rtl="0" eaLnBrk="1" fontAlgn="base" hangingPunct="1">
              <a:lnSpc>
                <a:spcPct val="100000"/>
              </a:lnSpc>
              <a:spcBef>
                <a:spcPts val="600"/>
              </a:spcBef>
              <a:spcAft>
                <a:spcPct val="0"/>
              </a:spcAft>
              <a:buClr>
                <a:schemeClr val="tx1"/>
              </a:buClr>
              <a:buSzPct val="60000"/>
              <a:buFont typeface="Arial" panose="020B0604020202020204" pitchFamily="34" charset="0"/>
              <a:buChar char="•"/>
              <a:defRPr lang="en-US" sz="2400" kern="1200">
                <a:solidFill>
                  <a:schemeClr val="tx1"/>
                </a:solidFill>
                <a:latin typeface="+mn-lt"/>
                <a:ea typeface="ＭＳ Ｐゴシック" charset="0"/>
                <a:cs typeface="CiscoSans"/>
              </a:defRPr>
            </a:lvl2pPr>
            <a:lvl3pPr marL="457200"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2000" kern="1200">
                <a:solidFill>
                  <a:schemeClr val="tx1"/>
                </a:solidFill>
                <a:latin typeface="+mn-lt"/>
                <a:ea typeface="ＭＳ Ｐゴシック" charset="0"/>
                <a:cs typeface="CiscoSans"/>
              </a:defRPr>
            </a:lvl3pPr>
            <a:lvl4pPr marL="574675"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tabLst/>
              <a:defRPr lang="en-US" sz="1800" kern="1200">
                <a:solidFill>
                  <a:schemeClr val="tx1"/>
                </a:solidFill>
                <a:latin typeface="+mn-lt"/>
                <a:ea typeface="ＭＳ Ｐゴシック" charset="0"/>
                <a:cs typeface="CiscoSans"/>
              </a:defRPr>
            </a:lvl4pPr>
            <a:lvl5pPr marL="744538" indent="-112713"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1800" kern="120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sz="2000" b="1" dirty="0"/>
              <a:t>Cisco SP Network Automation</a:t>
            </a:r>
          </a:p>
          <a:p>
            <a:pPr lvl="1">
              <a:lnSpc>
                <a:spcPct val="110000"/>
              </a:lnSpc>
            </a:pPr>
            <a:r>
              <a:rPr lang="en-US" sz="1800" dirty="0"/>
              <a:t>Change Automation</a:t>
            </a:r>
          </a:p>
          <a:p>
            <a:pPr lvl="1">
              <a:lnSpc>
                <a:spcPct val="110000"/>
              </a:lnSpc>
            </a:pPr>
            <a:r>
              <a:rPr lang="en-US" sz="1800" dirty="0"/>
              <a:t>Health Insights</a:t>
            </a:r>
          </a:p>
          <a:p>
            <a:pPr lvl="1">
              <a:lnSpc>
                <a:spcPct val="110000"/>
              </a:lnSpc>
            </a:pPr>
            <a:r>
              <a:rPr lang="en-US" sz="1800" dirty="0"/>
              <a:t>Network Insights SaaS</a:t>
            </a:r>
          </a:p>
          <a:p>
            <a:pPr lvl="1">
              <a:lnSpc>
                <a:spcPct val="110000"/>
              </a:lnSpc>
            </a:pPr>
            <a:r>
              <a:rPr lang="en-US" sz="1800" dirty="0"/>
              <a:t>Situation Manager</a:t>
            </a:r>
          </a:p>
          <a:p>
            <a:pPr lvl="1">
              <a:lnSpc>
                <a:spcPct val="110000"/>
              </a:lnSpc>
            </a:pPr>
            <a:r>
              <a:rPr lang="en-US" sz="1800" dirty="0"/>
              <a:t>Data Platform</a:t>
            </a:r>
          </a:p>
          <a:p>
            <a:pPr lvl="1">
              <a:lnSpc>
                <a:spcPct val="110000"/>
              </a:lnSpc>
            </a:pPr>
            <a:r>
              <a:rPr lang="en-US" sz="1800" dirty="0"/>
              <a:t>Cisco NSO</a:t>
            </a:r>
          </a:p>
          <a:p>
            <a:pPr lvl="1">
              <a:lnSpc>
                <a:spcPct val="110000"/>
              </a:lnSpc>
            </a:pPr>
            <a:r>
              <a:rPr lang="en-US" sz="1800" dirty="0"/>
              <a:t>Cisco WAE</a:t>
            </a:r>
          </a:p>
        </p:txBody>
      </p:sp>
      <p:grpSp>
        <p:nvGrpSpPr>
          <p:cNvPr id="9" name="Group 8">
            <a:extLst>
              <a:ext uri="{FF2B5EF4-FFF2-40B4-BE49-F238E27FC236}">
                <a16:creationId xmlns:a16="http://schemas.microsoft.com/office/drawing/2014/main" id="{6B25617F-29E7-B44F-A35F-FCD069B18CC8}"/>
              </a:ext>
            </a:extLst>
          </p:cNvPr>
          <p:cNvGrpSpPr/>
          <p:nvPr/>
        </p:nvGrpSpPr>
        <p:grpSpPr>
          <a:xfrm>
            <a:off x="6393077" y="302107"/>
            <a:ext cx="914011" cy="819869"/>
            <a:chOff x="6394577" y="267381"/>
            <a:chExt cx="914011" cy="819869"/>
          </a:xfrm>
        </p:grpSpPr>
        <p:pic>
          <p:nvPicPr>
            <p:cNvPr id="10" name="Picture 9">
              <a:extLst>
                <a:ext uri="{FF2B5EF4-FFF2-40B4-BE49-F238E27FC236}">
                  <a16:creationId xmlns:a16="http://schemas.microsoft.com/office/drawing/2014/main" id="{2B82B0F8-B19D-FE4A-8F40-93A5C87636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17700" y="267381"/>
              <a:ext cx="454460" cy="454460"/>
            </a:xfrm>
            <a:prstGeom prst="rect">
              <a:avLst/>
            </a:prstGeom>
          </p:spPr>
        </p:pic>
        <p:sp>
          <p:nvSpPr>
            <p:cNvPr id="11" name="TextBox 10">
              <a:extLst>
                <a:ext uri="{FF2B5EF4-FFF2-40B4-BE49-F238E27FC236}">
                  <a16:creationId xmlns:a16="http://schemas.microsoft.com/office/drawing/2014/main" id="{D088EBCC-4A95-FF49-B4DD-353F8BCD2571}"/>
                </a:ext>
              </a:extLst>
            </p:cNvPr>
            <p:cNvSpPr txBox="1"/>
            <p:nvPr/>
          </p:nvSpPr>
          <p:spPr>
            <a:xfrm>
              <a:off x="6394577" y="717918"/>
              <a:ext cx="914011" cy="369332"/>
            </a:xfrm>
            <a:prstGeom prst="rect">
              <a:avLst/>
            </a:prstGeom>
            <a:noFill/>
          </p:spPr>
          <p:txBody>
            <a:bodyPr wrap="square" rtlCol="0">
              <a:spAutoFit/>
            </a:bodyPr>
            <a:lstStyle/>
            <a:p>
              <a:pPr algn="ctr"/>
              <a:r>
                <a:rPr lang="en-US" sz="900" dirty="0">
                  <a:solidFill>
                    <a:schemeClr val="bg1"/>
                  </a:solidFill>
                  <a:latin typeface="+mn-lt"/>
                </a:rPr>
                <a:t>Service</a:t>
              </a:r>
            </a:p>
            <a:p>
              <a:pPr algn="ctr"/>
              <a:r>
                <a:rPr lang="en-US" sz="900" dirty="0">
                  <a:solidFill>
                    <a:schemeClr val="bg1"/>
                  </a:solidFill>
                  <a:latin typeface="+mn-lt"/>
                </a:rPr>
                <a:t>Automation</a:t>
              </a:r>
            </a:p>
          </p:txBody>
        </p:sp>
      </p:grpSp>
    </p:spTree>
    <p:extLst>
      <p:ext uri="{BB962C8B-B14F-4D97-AF65-F5344CB8AC3E}">
        <p14:creationId xmlns:p14="http://schemas.microsoft.com/office/powerpoint/2010/main" val="133553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err="1">
                <a:cs typeface="CiscoSansTT Light" panose="020B0503020201020303" pitchFamily="34" charset="0"/>
              </a:rPr>
              <a:t>Crosswork</a:t>
            </a:r>
            <a:r>
              <a:rPr lang="en-US" dirty="0">
                <a:cs typeface="CiscoSansTT Light" panose="020B0503020201020303" pitchFamily="34" charset="0"/>
              </a:rPr>
              <a:t> Network Automation</a:t>
            </a:r>
            <a:endParaRPr lang="en-US" dirty="0">
              <a:solidFill>
                <a:srgbClr val="FF0000"/>
              </a:solidFill>
            </a:endParaRPr>
          </a:p>
        </p:txBody>
      </p:sp>
      <p:grpSp>
        <p:nvGrpSpPr>
          <p:cNvPr id="2" name="Group 1">
            <a:extLst>
              <a:ext uri="{FF2B5EF4-FFF2-40B4-BE49-F238E27FC236}">
                <a16:creationId xmlns:a16="http://schemas.microsoft.com/office/drawing/2014/main" id="{114D0166-43DE-4BB2-8305-BC6AF058E9B0}"/>
              </a:ext>
            </a:extLst>
          </p:cNvPr>
          <p:cNvGrpSpPr/>
          <p:nvPr/>
        </p:nvGrpSpPr>
        <p:grpSpPr>
          <a:xfrm>
            <a:off x="732673" y="1221403"/>
            <a:ext cx="7368255" cy="2134960"/>
            <a:chOff x="732673" y="1221403"/>
            <a:chExt cx="7368255" cy="2134960"/>
          </a:xfrm>
        </p:grpSpPr>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1"/>
              <a:ext cx="5887501" cy="276998"/>
              <a:chOff x="1796604" y="1015595"/>
              <a:chExt cx="5505197" cy="207749"/>
            </a:xfrm>
          </p:grpSpPr>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grpSp>
        <p:grpSp>
          <p:nvGrpSpPr>
            <p:cNvPr id="957" name="Group 956">
              <a:extLst>
                <a:ext uri="{FF2B5EF4-FFF2-40B4-BE49-F238E27FC236}">
                  <a16:creationId xmlns:a16="http://schemas.microsoft.com/office/drawing/2014/main" id="{64452086-9719-44DE-8388-739CF1B77595}"/>
                </a:ext>
              </a:extLst>
            </p:cNvPr>
            <p:cNvGrpSpPr/>
            <p:nvPr/>
          </p:nvGrpSpPr>
          <p:grpSpPr>
            <a:xfrm>
              <a:off x="732673" y="1788912"/>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grpSp>
    </p:spTree>
    <p:extLst>
      <p:ext uri="{BB962C8B-B14F-4D97-AF65-F5344CB8AC3E}">
        <p14:creationId xmlns:p14="http://schemas.microsoft.com/office/powerpoint/2010/main" val="51969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2"/>
                                        </p:tgtEl>
                                      </p:cBhvr>
                                      <p:by x="50000" y="50000"/>
                                    </p:animScale>
                                  </p:childTnLst>
                                </p:cTn>
                              </p:par>
                              <p:par>
                                <p:cTn id="7" presetID="42" presetClass="path" presetSubtype="0" accel="50000" decel="50000" fill="hold" nodeType="withEffect">
                                  <p:stCondLst>
                                    <p:cond delay="0"/>
                                  </p:stCondLst>
                                  <p:childTnLst>
                                    <p:animMotion origin="layout" path="M 3.88889E-6 -3.08642E-6 L 3.88889E-6 0.36667 " pathEditMode="relative" rAng="0" ptsTypes="AA">
                                      <p:cBhvr>
                                        <p:cTn id="8" dur="2000" fill="hold"/>
                                        <p:tgtEl>
                                          <p:spTgt spid="2"/>
                                        </p:tgtEl>
                                        <p:attrNameLst>
                                          <p:attrName>ppt_x</p:attrName>
                                          <p:attrName>ppt_y</p:attrName>
                                        </p:attrNameLst>
                                      </p:cBhvr>
                                      <p:rCtr x="0" y="183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 name="Shape 825">
            <a:extLst>
              <a:ext uri="{FF2B5EF4-FFF2-40B4-BE49-F238E27FC236}">
                <a16:creationId xmlns:a16="http://schemas.microsoft.com/office/drawing/2014/main" id="{ADA1B9C9-6685-D247-B287-B46A297A9D75}"/>
              </a:ext>
            </a:extLst>
          </p:cNvPr>
          <p:cNvSpPr txBox="1"/>
          <p:nvPr/>
        </p:nvSpPr>
        <p:spPr>
          <a:xfrm>
            <a:off x="3811679" y="2483186"/>
            <a:ext cx="1940670" cy="416400"/>
          </a:xfrm>
          <a:prstGeom prst="rect">
            <a:avLst/>
          </a:prstGeom>
          <a:noFill/>
          <a:ln>
            <a:noFill/>
          </a:ln>
        </p:spPr>
        <p:txBody>
          <a:bodyPr spcFirstLastPara="1" wrap="square" lIns="91425" tIns="91425" rIns="91425" bIns="91425" anchor="ctr" anchorCtr="0">
            <a:noAutofit/>
          </a:bodyPr>
          <a:lstStyle/>
          <a:p>
            <a:pPr algn="ctr"/>
            <a:r>
              <a:rPr lang="en-US" sz="1200" dirty="0">
                <a:latin typeface="CiscoSansTT Light" panose="020B0503020201020303" pitchFamily="34" charset="0"/>
                <a:ea typeface="Calibri" charset="0"/>
                <a:cs typeface="CiscoSansTT Light" panose="020B0503020201020303" pitchFamily="34" charset="0"/>
                <a:sym typeface="Oxygen"/>
              </a:rPr>
              <a:t>SON</a:t>
            </a:r>
          </a:p>
          <a:p>
            <a:pPr algn="ctr"/>
            <a:r>
              <a:rPr lang="en-US" sz="825" dirty="0">
                <a:solidFill>
                  <a:schemeClr val="accent4"/>
                </a:solidFill>
                <a:latin typeface="CiscoSansTT Light" panose="020B0503020201020303" pitchFamily="34" charset="0"/>
                <a:ea typeface="Calibri" charset="0"/>
                <a:cs typeface="CiscoSansTT Light" panose="020B0503020201020303" pitchFamily="34" charset="0"/>
                <a:sym typeface="Oxygen"/>
              </a:rPr>
              <a:t>intent based automation for RAN</a:t>
            </a:r>
          </a:p>
        </p:txBody>
      </p:sp>
      <p:sp>
        <p:nvSpPr>
          <p:cNvPr id="2" name="Title 1"/>
          <p:cNvSpPr>
            <a:spLocks noGrp="1"/>
          </p:cNvSpPr>
          <p:nvPr>
            <p:ph type="title"/>
          </p:nvPr>
        </p:nvSpPr>
        <p:spPr/>
        <p:txBody>
          <a:bodyPr>
            <a:normAutofit/>
          </a:bodyPr>
          <a:lstStyle/>
          <a:p>
            <a:r>
              <a:rPr lang="en-US" sz="3000" dirty="0">
                <a:cs typeface="CiscoSansTT Light" panose="020B0503020201020303" pitchFamily="34" charset="0"/>
              </a:rPr>
              <a:t>Crosswork Network Automation</a:t>
            </a:r>
            <a:endParaRPr lang="en-US" dirty="0"/>
          </a:p>
        </p:txBody>
      </p:sp>
      <p:sp>
        <p:nvSpPr>
          <p:cNvPr id="395" name="Rounded Rectangle 5">
            <a:extLst>
              <a:ext uri="{FF2B5EF4-FFF2-40B4-BE49-F238E27FC236}">
                <a16:creationId xmlns:a16="http://schemas.microsoft.com/office/drawing/2014/main" id="{FD26C8AC-0B02-F440-9E87-797B21B0C689}"/>
              </a:ext>
            </a:extLst>
          </p:cNvPr>
          <p:cNvSpPr/>
          <p:nvPr/>
        </p:nvSpPr>
        <p:spPr>
          <a:xfrm>
            <a:off x="2047179" y="707967"/>
            <a:ext cx="5225034" cy="614195"/>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bg1"/>
              </a:solidFill>
            </a:endParaRPr>
          </a:p>
        </p:txBody>
      </p:sp>
      <p:sp>
        <p:nvSpPr>
          <p:cNvPr id="455" name="Shape 825">
            <a:extLst>
              <a:ext uri="{FF2B5EF4-FFF2-40B4-BE49-F238E27FC236}">
                <a16:creationId xmlns:a16="http://schemas.microsoft.com/office/drawing/2014/main" id="{743E04A2-B41E-8842-8D47-FC4C22706A21}"/>
              </a:ext>
            </a:extLst>
          </p:cNvPr>
          <p:cNvSpPr txBox="1"/>
          <p:nvPr/>
        </p:nvSpPr>
        <p:spPr>
          <a:xfrm>
            <a:off x="1925532" y="2529602"/>
            <a:ext cx="1940670" cy="416400"/>
          </a:xfrm>
          <a:prstGeom prst="rect">
            <a:avLst/>
          </a:prstGeom>
          <a:noFill/>
          <a:ln>
            <a:noFill/>
          </a:ln>
        </p:spPr>
        <p:txBody>
          <a:bodyPr spcFirstLastPara="1" wrap="square" lIns="91425" tIns="91425" rIns="91425" bIns="91425" anchor="ctr" anchorCtr="0">
            <a:noAutofit/>
          </a:bodyPr>
          <a:lstStyle/>
          <a:p>
            <a:pPr algn="ctr"/>
            <a:r>
              <a:rPr lang="en-US" sz="1200" dirty="0">
                <a:latin typeface="CiscoSansTT Light" panose="020B0503020201020303" pitchFamily="34" charset="0"/>
                <a:ea typeface="Calibri" charset="0"/>
                <a:cs typeface="CiscoSansTT Light" panose="020B0503020201020303" pitchFamily="34" charset="0"/>
                <a:sym typeface="Oxygen"/>
              </a:rPr>
              <a:t>Change Automation</a:t>
            </a:r>
          </a:p>
          <a:p>
            <a:pPr algn="ctr"/>
            <a:r>
              <a:rPr lang="en-US" sz="825" dirty="0">
                <a:solidFill>
                  <a:schemeClr val="accent4"/>
                </a:solidFill>
                <a:latin typeface="CiscoSansTT Light" panose="020B0503020201020303" pitchFamily="34" charset="0"/>
                <a:ea typeface="Calibri" charset="0"/>
                <a:cs typeface="CiscoSansTT Light" panose="020B0503020201020303" pitchFamily="34" charset="0"/>
                <a:sym typeface="Oxygen"/>
              </a:rPr>
              <a:t>safely execute operational tasks with structured workflows.</a:t>
            </a:r>
            <a:endParaRPr sz="825" dirty="0">
              <a:solidFill>
                <a:schemeClr val="accent4"/>
              </a:solidFill>
              <a:latin typeface="CiscoSansTT Light" panose="020B0503020201020303" pitchFamily="34" charset="0"/>
              <a:ea typeface="Calibri" charset="0"/>
              <a:cs typeface="CiscoSansTT Light" panose="020B0503020201020303" pitchFamily="34" charset="0"/>
              <a:sym typeface="Oxygen"/>
            </a:endParaRPr>
          </a:p>
        </p:txBody>
      </p:sp>
      <p:sp>
        <p:nvSpPr>
          <p:cNvPr id="457" name="Shape 820">
            <a:extLst>
              <a:ext uri="{FF2B5EF4-FFF2-40B4-BE49-F238E27FC236}">
                <a16:creationId xmlns:a16="http://schemas.microsoft.com/office/drawing/2014/main" id="{C5642FBA-4E1F-014D-9131-FEBC60E45292}"/>
              </a:ext>
            </a:extLst>
          </p:cNvPr>
          <p:cNvSpPr txBox="1"/>
          <p:nvPr/>
        </p:nvSpPr>
        <p:spPr>
          <a:xfrm>
            <a:off x="2219388" y="1000796"/>
            <a:ext cx="2886464" cy="796571"/>
          </a:xfrm>
          <a:prstGeom prst="rect">
            <a:avLst/>
          </a:prstGeom>
          <a:noFill/>
          <a:ln>
            <a:noFill/>
          </a:ln>
        </p:spPr>
        <p:txBody>
          <a:bodyPr spcFirstLastPara="1" wrap="square" lIns="91425" tIns="91425" rIns="91425" bIns="91425" anchor="t" anchorCtr="0">
            <a:noAutofit/>
          </a:bodyPr>
          <a:lstStyle/>
          <a:p>
            <a:r>
              <a:rPr lang="en-US" sz="1200" dirty="0">
                <a:latin typeface="CiscoSansTT Light" panose="020B0503020201020303" pitchFamily="34" charset="0"/>
                <a:ea typeface="Calibri" charset="0"/>
                <a:cs typeface="CiscoSansTT Light" panose="020B0503020201020303" pitchFamily="34" charset="0"/>
                <a:sym typeface="Oxygen"/>
              </a:rPr>
              <a:t>Situation Manager</a:t>
            </a:r>
          </a:p>
          <a:p>
            <a:r>
              <a:rPr lang="en-US" sz="825" dirty="0">
                <a:solidFill>
                  <a:schemeClr val="accent4"/>
                </a:solidFill>
                <a:latin typeface="CiscoSansTT Light" panose="020B0503020201020303" pitchFamily="34" charset="0"/>
                <a:ea typeface="Calibri" charset="0"/>
                <a:cs typeface="CiscoSansTT Light" panose="020B0503020201020303" pitchFamily="34" charset="0"/>
                <a:sym typeface="Oxygen"/>
              </a:rPr>
              <a:t>connect events from multiple sources together and provide root cause analysis. Collaborate on events for resolution.</a:t>
            </a:r>
            <a:endParaRPr sz="825" dirty="0">
              <a:solidFill>
                <a:schemeClr val="accent4"/>
              </a:solidFill>
              <a:latin typeface="CiscoSansTT Light" panose="020B0503020201020303" pitchFamily="34" charset="0"/>
              <a:ea typeface="Calibri" charset="0"/>
              <a:cs typeface="CiscoSansTT Light" panose="020B0503020201020303" pitchFamily="34" charset="0"/>
              <a:sym typeface="Oxygen"/>
            </a:endParaRPr>
          </a:p>
        </p:txBody>
      </p:sp>
      <p:cxnSp>
        <p:nvCxnSpPr>
          <p:cNvPr id="460" name="Straight Arrow Connector 459">
            <a:extLst>
              <a:ext uri="{FF2B5EF4-FFF2-40B4-BE49-F238E27FC236}">
                <a16:creationId xmlns:a16="http://schemas.microsoft.com/office/drawing/2014/main" id="{AFEFB231-D9D1-6743-ADB4-6FAE893C45AB}"/>
              </a:ext>
            </a:extLst>
          </p:cNvPr>
          <p:cNvCxnSpPr>
            <a:cxnSpLocks/>
          </p:cNvCxnSpPr>
          <p:nvPr/>
        </p:nvCxnSpPr>
        <p:spPr>
          <a:xfrm flipV="1">
            <a:off x="1286026" y="1637021"/>
            <a:ext cx="615173" cy="503003"/>
          </a:xfrm>
          <a:prstGeom prst="straightConnector1">
            <a:avLst/>
          </a:prstGeom>
          <a:ln w="25400">
            <a:solidFill>
              <a:schemeClr val="accent4">
                <a:lumMod val="40000"/>
                <a:lumOff val="60000"/>
              </a:schemeClr>
            </a:solidFill>
            <a:prstDash val="sysDot"/>
            <a:headEnd type="triangle"/>
            <a:tailEnd type="triangle"/>
          </a:ln>
          <a:effectLst/>
        </p:spPr>
        <p:style>
          <a:lnRef idx="1">
            <a:schemeClr val="accent1"/>
          </a:lnRef>
          <a:fillRef idx="0">
            <a:schemeClr val="accent1"/>
          </a:fillRef>
          <a:effectRef idx="0">
            <a:schemeClr val="accent1"/>
          </a:effectRef>
          <a:fontRef idx="minor">
            <a:schemeClr val="tx1"/>
          </a:fontRef>
        </p:style>
      </p:cxnSp>
      <p:sp>
        <p:nvSpPr>
          <p:cNvPr id="624" name="Cloud 623">
            <a:extLst>
              <a:ext uri="{FF2B5EF4-FFF2-40B4-BE49-F238E27FC236}">
                <a16:creationId xmlns:a16="http://schemas.microsoft.com/office/drawing/2014/main" id="{42A4660F-32D2-E149-BA74-E8F67E6C2FFF}"/>
              </a:ext>
            </a:extLst>
          </p:cNvPr>
          <p:cNvSpPr/>
          <p:nvPr/>
        </p:nvSpPr>
        <p:spPr>
          <a:xfrm>
            <a:off x="6072202" y="485590"/>
            <a:ext cx="2879927" cy="1585602"/>
          </a:xfrm>
          <a:prstGeom prst="cloud">
            <a:avLst/>
          </a:prstGeom>
          <a:noFill/>
          <a:ln>
            <a:solidFill>
              <a:schemeClr val="tx1">
                <a:lumMod val="10000"/>
                <a:lumOff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solidFill>
                <a:schemeClr val="bg2"/>
              </a:solidFill>
              <a:latin typeface="CiscoSansTT Light" panose="020B0503020201020303" pitchFamily="34" charset="0"/>
              <a:ea typeface="Calibri" charset="0"/>
              <a:cs typeface="CiscoSansTT Light" panose="020B0503020201020303" pitchFamily="34" charset="0"/>
            </a:endParaRPr>
          </a:p>
        </p:txBody>
      </p:sp>
      <p:sp>
        <p:nvSpPr>
          <p:cNvPr id="632" name="Oval 631">
            <a:extLst>
              <a:ext uri="{FF2B5EF4-FFF2-40B4-BE49-F238E27FC236}">
                <a16:creationId xmlns:a16="http://schemas.microsoft.com/office/drawing/2014/main" id="{447B9923-54CC-7844-8FD0-DA656AC4FA28}"/>
              </a:ext>
            </a:extLst>
          </p:cNvPr>
          <p:cNvSpPr/>
          <p:nvPr/>
        </p:nvSpPr>
        <p:spPr>
          <a:xfrm>
            <a:off x="7705615" y="1053052"/>
            <a:ext cx="433460" cy="38755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TT Light" panose="020B0503020201020303" pitchFamily="34" charset="0"/>
              <a:cs typeface="CiscoSansTT Light" panose="020B0503020201020303" pitchFamily="34" charset="0"/>
            </a:endParaRPr>
          </a:p>
        </p:txBody>
      </p:sp>
      <p:sp>
        <p:nvSpPr>
          <p:cNvPr id="626" name="Shape 820">
            <a:extLst>
              <a:ext uri="{FF2B5EF4-FFF2-40B4-BE49-F238E27FC236}">
                <a16:creationId xmlns:a16="http://schemas.microsoft.com/office/drawing/2014/main" id="{EB306FCD-7C1B-5944-B824-40B97152B3BD}"/>
              </a:ext>
            </a:extLst>
          </p:cNvPr>
          <p:cNvSpPr txBox="1"/>
          <p:nvPr/>
        </p:nvSpPr>
        <p:spPr>
          <a:xfrm>
            <a:off x="7492395" y="1315585"/>
            <a:ext cx="1127406" cy="407755"/>
          </a:xfrm>
          <a:prstGeom prst="rect">
            <a:avLst/>
          </a:prstGeom>
          <a:solidFill>
            <a:schemeClr val="bg2"/>
          </a:solidFill>
          <a:ln>
            <a:noFill/>
          </a:ln>
        </p:spPr>
        <p:txBody>
          <a:bodyPr spcFirstLastPara="1" wrap="square" lIns="0" tIns="0" rIns="0" bIns="0" anchor="t" anchorCtr="0">
            <a:noAutofit/>
          </a:bodyPr>
          <a:lstStyle/>
          <a:p>
            <a:pPr algn="ctr"/>
            <a:r>
              <a:rPr lang="en-US" sz="825" dirty="0">
                <a:solidFill>
                  <a:schemeClr val="accent4"/>
                </a:solidFill>
                <a:latin typeface="CiscoSansTT Light" panose="020B0503020201020303" pitchFamily="34" charset="0"/>
                <a:ea typeface="Calibri" charset="0"/>
                <a:cs typeface="CiscoSansTT Light" panose="020B0503020201020303" pitchFamily="34" charset="0"/>
                <a:sym typeface="Oxygen"/>
              </a:rPr>
              <a:t>analyze and </a:t>
            </a:r>
            <a:r>
              <a:rPr lang="en-US" sz="825" dirty="0">
                <a:solidFill>
                  <a:schemeClr val="accent4"/>
                </a:solidFill>
                <a:latin typeface="CiscoSansTT Light" panose="020B0503020201020303" pitchFamily="34" charset="0"/>
                <a:ea typeface="Calibri" charset="0"/>
                <a:cs typeface="CiscoSansTT Light" panose="020B0503020201020303" pitchFamily="34" charset="0"/>
              </a:rPr>
              <a:t>identify the source of routing anomalies</a:t>
            </a:r>
            <a:endParaRPr sz="825" dirty="0">
              <a:solidFill>
                <a:schemeClr val="accent4"/>
              </a:solidFill>
              <a:latin typeface="CiscoSansTT Light" panose="020B0503020201020303" pitchFamily="34" charset="0"/>
              <a:ea typeface="Calibri" charset="0"/>
              <a:cs typeface="CiscoSansTT Light" panose="020B0503020201020303" pitchFamily="34" charset="0"/>
              <a:sym typeface="Oxygen"/>
            </a:endParaRPr>
          </a:p>
        </p:txBody>
      </p:sp>
      <p:sp>
        <p:nvSpPr>
          <p:cNvPr id="628" name="TextBox 627">
            <a:extLst>
              <a:ext uri="{FF2B5EF4-FFF2-40B4-BE49-F238E27FC236}">
                <a16:creationId xmlns:a16="http://schemas.microsoft.com/office/drawing/2014/main" id="{D8F64F30-1B72-0047-9783-4DB93FA16BE3}"/>
              </a:ext>
            </a:extLst>
          </p:cNvPr>
          <p:cNvSpPr txBox="1"/>
          <p:nvPr/>
        </p:nvSpPr>
        <p:spPr>
          <a:xfrm>
            <a:off x="7762471" y="866576"/>
            <a:ext cx="857330" cy="461665"/>
          </a:xfrm>
          <a:prstGeom prst="rect">
            <a:avLst/>
          </a:prstGeom>
          <a:noFill/>
        </p:spPr>
        <p:txBody>
          <a:bodyPr wrap="square" rtlCol="0">
            <a:spAutoFit/>
          </a:bodyPr>
          <a:lstStyle/>
          <a:p>
            <a:pPr algn="ctr"/>
            <a:r>
              <a:rPr lang="en-US" sz="1200" dirty="0">
                <a:latin typeface="CiscoSansTT Light" panose="020B0503020201020303" pitchFamily="34" charset="0"/>
                <a:cs typeface="CiscoSansTT Light" panose="020B0503020201020303" pitchFamily="34" charset="0"/>
              </a:rPr>
              <a:t>Network</a:t>
            </a:r>
          </a:p>
          <a:p>
            <a:pPr algn="ctr"/>
            <a:r>
              <a:rPr lang="en-US" sz="1200" dirty="0">
                <a:latin typeface="CiscoSansTT Light" panose="020B0503020201020303" pitchFamily="34" charset="0"/>
                <a:cs typeface="CiscoSansTT Light" panose="020B0503020201020303" pitchFamily="34" charset="0"/>
              </a:rPr>
              <a:t>Insights</a:t>
            </a:r>
          </a:p>
        </p:txBody>
      </p:sp>
      <p:sp>
        <p:nvSpPr>
          <p:cNvPr id="630" name="TextBox 629">
            <a:extLst>
              <a:ext uri="{FF2B5EF4-FFF2-40B4-BE49-F238E27FC236}">
                <a16:creationId xmlns:a16="http://schemas.microsoft.com/office/drawing/2014/main" id="{1A147613-1F88-D94C-B1E3-9633D04E0DDD}"/>
              </a:ext>
            </a:extLst>
          </p:cNvPr>
          <p:cNvSpPr txBox="1"/>
          <p:nvPr/>
        </p:nvSpPr>
        <p:spPr>
          <a:xfrm>
            <a:off x="6631696" y="1013294"/>
            <a:ext cx="1199987" cy="461665"/>
          </a:xfrm>
          <a:prstGeom prst="rect">
            <a:avLst/>
          </a:prstGeom>
          <a:noFill/>
        </p:spPr>
        <p:txBody>
          <a:bodyPr wrap="square" rtlCol="0">
            <a:spAutoFit/>
          </a:bodyPr>
          <a:lstStyle/>
          <a:p>
            <a:r>
              <a:rPr lang="en-US" sz="1200" dirty="0">
                <a:latin typeface="CiscoSansTT Light" panose="020B0503020201020303" pitchFamily="34" charset="0"/>
                <a:cs typeface="CiscoSansTT Light" panose="020B0503020201020303" pitchFamily="34" charset="0"/>
              </a:rPr>
              <a:t>Trust  </a:t>
            </a:r>
          </a:p>
          <a:p>
            <a:r>
              <a:rPr lang="en-US" sz="1200" dirty="0">
                <a:latin typeface="CiscoSansTT Light" panose="020B0503020201020303" pitchFamily="34" charset="0"/>
                <a:cs typeface="CiscoSansTT Light" panose="020B0503020201020303" pitchFamily="34" charset="0"/>
              </a:rPr>
              <a:t>Insights</a:t>
            </a:r>
          </a:p>
        </p:txBody>
      </p:sp>
      <p:sp>
        <p:nvSpPr>
          <p:cNvPr id="631" name="Shape 820">
            <a:extLst>
              <a:ext uri="{FF2B5EF4-FFF2-40B4-BE49-F238E27FC236}">
                <a16:creationId xmlns:a16="http://schemas.microsoft.com/office/drawing/2014/main" id="{173C9D6F-A533-394D-A4FD-B838F7ED3E65}"/>
              </a:ext>
            </a:extLst>
          </p:cNvPr>
          <p:cNvSpPr txBox="1"/>
          <p:nvPr/>
        </p:nvSpPr>
        <p:spPr>
          <a:xfrm>
            <a:off x="6208527" y="1378978"/>
            <a:ext cx="1263185" cy="606443"/>
          </a:xfrm>
          <a:prstGeom prst="rect">
            <a:avLst/>
          </a:prstGeom>
          <a:noFill/>
          <a:ln>
            <a:noFill/>
          </a:ln>
        </p:spPr>
        <p:txBody>
          <a:bodyPr spcFirstLastPara="1" wrap="square" lIns="91425" tIns="91425" rIns="91425" bIns="91425" anchor="t" anchorCtr="0">
            <a:noAutofit/>
          </a:bodyPr>
          <a:lstStyle/>
          <a:p>
            <a:pPr algn="ctr"/>
            <a:r>
              <a:rPr lang="en-US" sz="825" dirty="0">
                <a:solidFill>
                  <a:schemeClr val="accent4"/>
                </a:solidFill>
                <a:latin typeface="CiscoSansTT Light" panose="020B0503020201020303" pitchFamily="34" charset="0"/>
                <a:ea typeface="Calibri" charset="0"/>
                <a:cs typeface="CiscoSansTT Light" panose="020B0503020201020303" pitchFamily="34" charset="0"/>
                <a:sym typeface="Oxygen"/>
              </a:rPr>
              <a:t>determine integrity of infrastructure</a:t>
            </a:r>
            <a:endParaRPr sz="825" dirty="0">
              <a:solidFill>
                <a:schemeClr val="accent4"/>
              </a:solidFill>
              <a:latin typeface="CiscoSansTT Light" panose="020B0503020201020303" pitchFamily="34" charset="0"/>
              <a:ea typeface="Calibri" charset="0"/>
              <a:cs typeface="CiscoSansTT Light" panose="020B0503020201020303" pitchFamily="34" charset="0"/>
              <a:sym typeface="Oxygen"/>
            </a:endParaRPr>
          </a:p>
        </p:txBody>
      </p:sp>
      <p:sp>
        <p:nvSpPr>
          <p:cNvPr id="613" name="TextBox 612">
            <a:extLst>
              <a:ext uri="{FF2B5EF4-FFF2-40B4-BE49-F238E27FC236}">
                <a16:creationId xmlns:a16="http://schemas.microsoft.com/office/drawing/2014/main" id="{C2DE6E3E-2AC0-2642-821E-D65C46147B5B}"/>
              </a:ext>
            </a:extLst>
          </p:cNvPr>
          <p:cNvSpPr txBox="1"/>
          <p:nvPr/>
        </p:nvSpPr>
        <p:spPr>
          <a:xfrm>
            <a:off x="6565234" y="209314"/>
            <a:ext cx="1893863" cy="276999"/>
          </a:xfrm>
          <a:prstGeom prst="rect">
            <a:avLst/>
          </a:prstGeom>
          <a:noFill/>
        </p:spPr>
        <p:txBody>
          <a:bodyPr wrap="square" rtlCol="0">
            <a:spAutoFit/>
          </a:bodyPr>
          <a:lstStyle/>
          <a:p>
            <a:pPr algn="ctr"/>
            <a:r>
              <a:rPr lang="en-US" sz="1200" dirty="0">
                <a:latin typeface="CiscoSansTT Light" panose="020B0503020201020303" pitchFamily="34" charset="0"/>
                <a:ea typeface="Calibri" charset="0"/>
                <a:cs typeface="CiscoSansTT Light" panose="020B0503020201020303" pitchFamily="34" charset="0"/>
              </a:rPr>
              <a:t>Cisco Crosswork Cloud</a:t>
            </a:r>
          </a:p>
        </p:txBody>
      </p:sp>
      <p:grpSp>
        <p:nvGrpSpPr>
          <p:cNvPr id="641" name="Group 640">
            <a:extLst>
              <a:ext uri="{FF2B5EF4-FFF2-40B4-BE49-F238E27FC236}">
                <a16:creationId xmlns:a16="http://schemas.microsoft.com/office/drawing/2014/main" id="{324CDB61-716E-A842-88FA-4B470059D1F3}"/>
              </a:ext>
            </a:extLst>
          </p:cNvPr>
          <p:cNvGrpSpPr>
            <a:grpSpLocks noChangeAspect="1"/>
          </p:cNvGrpSpPr>
          <p:nvPr/>
        </p:nvGrpSpPr>
        <p:grpSpPr>
          <a:xfrm>
            <a:off x="1875366" y="1053052"/>
            <a:ext cx="343626" cy="342900"/>
            <a:chOff x="7354888" y="768350"/>
            <a:chExt cx="750887" cy="749300"/>
          </a:xfrm>
        </p:grpSpPr>
        <p:sp>
          <p:nvSpPr>
            <p:cNvPr id="646" name="Oval 136">
              <a:extLst>
                <a:ext uri="{FF2B5EF4-FFF2-40B4-BE49-F238E27FC236}">
                  <a16:creationId xmlns:a16="http://schemas.microsoft.com/office/drawing/2014/main" id="{AAA30822-AD1A-084B-90A5-2C643F76FDB8}"/>
                </a:ext>
              </a:extLst>
            </p:cNvPr>
            <p:cNvSpPr>
              <a:spLocks noChangeArrowheads="1"/>
            </p:cNvSpPr>
            <p:nvPr/>
          </p:nvSpPr>
          <p:spPr bwMode="auto">
            <a:xfrm>
              <a:off x="7354888" y="768350"/>
              <a:ext cx="750887" cy="749300"/>
            </a:xfrm>
            <a:prstGeom prst="ellipse">
              <a:avLst/>
            </a:pr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47" name="Freeform 137">
              <a:extLst>
                <a:ext uri="{FF2B5EF4-FFF2-40B4-BE49-F238E27FC236}">
                  <a16:creationId xmlns:a16="http://schemas.microsoft.com/office/drawing/2014/main" id="{E670FDBC-EA51-144E-846D-EE7A5C608249}"/>
                </a:ext>
              </a:extLst>
            </p:cNvPr>
            <p:cNvSpPr>
              <a:spLocks/>
            </p:cNvSpPr>
            <p:nvPr/>
          </p:nvSpPr>
          <p:spPr bwMode="auto">
            <a:xfrm>
              <a:off x="7699375" y="1317625"/>
              <a:ext cx="223837" cy="200025"/>
            </a:xfrm>
            <a:custGeom>
              <a:avLst/>
              <a:gdLst>
                <a:gd name="T0" fmla="*/ 404 w 557"/>
                <a:gd name="T1" fmla="*/ 0 h 498"/>
                <a:gd name="T2" fmla="*/ 153 w 557"/>
                <a:gd name="T3" fmla="*/ 0 h 498"/>
                <a:gd name="T4" fmla="*/ 0 w 557"/>
                <a:gd name="T5" fmla="*/ 153 h 498"/>
                <a:gd name="T6" fmla="*/ 0 w 557"/>
                <a:gd name="T7" fmla="*/ 495 h 498"/>
                <a:gd name="T8" fmla="*/ 77 w 557"/>
                <a:gd name="T9" fmla="*/ 498 h 498"/>
                <a:gd name="T10" fmla="*/ 557 w 557"/>
                <a:gd name="T11" fmla="*/ 365 h 498"/>
                <a:gd name="T12" fmla="*/ 557 w 557"/>
                <a:gd name="T13" fmla="*/ 153 h 498"/>
                <a:gd name="T14" fmla="*/ 404 w 557"/>
                <a:gd name="T15" fmla="*/ 0 h 4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7" h="498">
                  <a:moveTo>
                    <a:pt x="404" y="0"/>
                  </a:moveTo>
                  <a:cubicBezTo>
                    <a:pt x="153" y="0"/>
                    <a:pt x="153" y="0"/>
                    <a:pt x="153" y="0"/>
                  </a:cubicBezTo>
                  <a:cubicBezTo>
                    <a:pt x="69" y="0"/>
                    <a:pt x="0" y="69"/>
                    <a:pt x="0" y="153"/>
                  </a:cubicBezTo>
                  <a:cubicBezTo>
                    <a:pt x="0" y="495"/>
                    <a:pt x="0" y="495"/>
                    <a:pt x="0" y="495"/>
                  </a:cubicBezTo>
                  <a:cubicBezTo>
                    <a:pt x="25" y="497"/>
                    <a:pt x="51" y="498"/>
                    <a:pt x="77" y="498"/>
                  </a:cubicBezTo>
                  <a:cubicBezTo>
                    <a:pt x="252" y="498"/>
                    <a:pt x="417" y="450"/>
                    <a:pt x="557" y="365"/>
                  </a:cubicBezTo>
                  <a:cubicBezTo>
                    <a:pt x="557" y="153"/>
                    <a:pt x="557" y="153"/>
                    <a:pt x="557" y="153"/>
                  </a:cubicBezTo>
                  <a:cubicBezTo>
                    <a:pt x="557" y="69"/>
                    <a:pt x="489" y="0"/>
                    <a:pt x="404" y="0"/>
                  </a:cubicBezTo>
                  <a:close/>
                </a:path>
              </a:pathLst>
            </a:custGeom>
            <a:solidFill>
              <a:srgbClr val="6F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48" name="Oval 138">
              <a:extLst>
                <a:ext uri="{FF2B5EF4-FFF2-40B4-BE49-F238E27FC236}">
                  <a16:creationId xmlns:a16="http://schemas.microsoft.com/office/drawing/2014/main" id="{F93316AE-ED2F-504D-8FC7-F3596E658B4E}"/>
                </a:ext>
              </a:extLst>
            </p:cNvPr>
            <p:cNvSpPr>
              <a:spLocks noChangeArrowheads="1"/>
            </p:cNvSpPr>
            <p:nvPr/>
          </p:nvSpPr>
          <p:spPr bwMode="auto">
            <a:xfrm>
              <a:off x="7743825" y="1147763"/>
              <a:ext cx="134937" cy="136525"/>
            </a:xfrm>
            <a:prstGeom prst="ellipse">
              <a:avLst/>
            </a:prstGeom>
            <a:solidFill>
              <a:srgbClr val="6F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49" name="Line 139">
              <a:extLst>
                <a:ext uri="{FF2B5EF4-FFF2-40B4-BE49-F238E27FC236}">
                  <a16:creationId xmlns:a16="http://schemas.microsoft.com/office/drawing/2014/main" id="{A0E464EE-427D-FE41-9DD7-6F587A97C0F5}"/>
                </a:ext>
              </a:extLst>
            </p:cNvPr>
            <p:cNvSpPr>
              <a:spLocks noChangeShapeType="1"/>
            </p:cNvSpPr>
            <p:nvPr/>
          </p:nvSpPr>
          <p:spPr bwMode="auto">
            <a:xfrm>
              <a:off x="7807325" y="1041400"/>
              <a:ext cx="155575" cy="0"/>
            </a:xfrm>
            <a:prstGeom prst="line">
              <a:avLst/>
            </a:prstGeom>
            <a:noFill/>
            <a:ln w="46038" cap="rnd">
              <a:solidFill>
                <a:srgbClr val="6FBF4A"/>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a:p>
          </p:txBody>
        </p:sp>
        <p:sp>
          <p:nvSpPr>
            <p:cNvPr id="650" name="Freeform 140">
              <a:extLst>
                <a:ext uri="{FF2B5EF4-FFF2-40B4-BE49-F238E27FC236}">
                  <a16:creationId xmlns:a16="http://schemas.microsoft.com/office/drawing/2014/main" id="{3F2553F2-F546-8B4F-985E-5BAB2D6B94A3}"/>
                </a:ext>
              </a:extLst>
            </p:cNvPr>
            <p:cNvSpPr>
              <a:spLocks/>
            </p:cNvSpPr>
            <p:nvPr/>
          </p:nvSpPr>
          <p:spPr bwMode="auto">
            <a:xfrm>
              <a:off x="7934325" y="974725"/>
              <a:ext cx="65087" cy="133350"/>
            </a:xfrm>
            <a:custGeom>
              <a:avLst/>
              <a:gdLst>
                <a:gd name="T0" fmla="*/ 0 w 41"/>
                <a:gd name="T1" fmla="*/ 0 h 84"/>
                <a:gd name="T2" fmla="*/ 41 w 41"/>
                <a:gd name="T3" fmla="*/ 42 h 84"/>
                <a:gd name="T4" fmla="*/ 0 w 41"/>
                <a:gd name="T5" fmla="*/ 84 h 84"/>
              </a:gdLst>
              <a:ahLst/>
              <a:cxnLst>
                <a:cxn ang="0">
                  <a:pos x="T0" y="T1"/>
                </a:cxn>
                <a:cxn ang="0">
                  <a:pos x="T2" y="T3"/>
                </a:cxn>
                <a:cxn ang="0">
                  <a:pos x="T4" y="T5"/>
                </a:cxn>
              </a:cxnLst>
              <a:rect l="0" t="0" r="r" b="b"/>
              <a:pathLst>
                <a:path w="41" h="84">
                  <a:moveTo>
                    <a:pt x="0" y="0"/>
                  </a:moveTo>
                  <a:lnTo>
                    <a:pt x="41" y="42"/>
                  </a:lnTo>
                  <a:lnTo>
                    <a:pt x="0" y="84"/>
                  </a:lnTo>
                </a:path>
              </a:pathLst>
            </a:custGeom>
            <a:noFill/>
            <a:ln w="46038" cap="rnd">
              <a:solidFill>
                <a:srgbClr val="6FBF4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a:p>
          </p:txBody>
        </p:sp>
        <p:sp>
          <p:nvSpPr>
            <p:cNvPr id="651" name="Line 141">
              <a:extLst>
                <a:ext uri="{FF2B5EF4-FFF2-40B4-BE49-F238E27FC236}">
                  <a16:creationId xmlns:a16="http://schemas.microsoft.com/office/drawing/2014/main" id="{562F118D-5423-0240-8339-A445C063EBE0}"/>
                </a:ext>
              </a:extLst>
            </p:cNvPr>
            <p:cNvSpPr>
              <a:spLocks noChangeShapeType="1"/>
            </p:cNvSpPr>
            <p:nvPr/>
          </p:nvSpPr>
          <p:spPr bwMode="auto">
            <a:xfrm flipH="1">
              <a:off x="7693025" y="949325"/>
              <a:ext cx="152400" cy="0"/>
            </a:xfrm>
            <a:prstGeom prst="line">
              <a:avLst/>
            </a:prstGeom>
            <a:noFill/>
            <a:ln w="46038" cap="rnd">
              <a:solidFill>
                <a:srgbClr val="FBAB1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a:p>
          </p:txBody>
        </p:sp>
        <p:sp>
          <p:nvSpPr>
            <p:cNvPr id="652" name="Freeform 142">
              <a:extLst>
                <a:ext uri="{FF2B5EF4-FFF2-40B4-BE49-F238E27FC236}">
                  <a16:creationId xmlns:a16="http://schemas.microsoft.com/office/drawing/2014/main" id="{B966C934-38C2-F140-BD95-A7BEEEF22E8D}"/>
                </a:ext>
              </a:extLst>
            </p:cNvPr>
            <p:cNvSpPr>
              <a:spLocks/>
            </p:cNvSpPr>
            <p:nvPr/>
          </p:nvSpPr>
          <p:spPr bwMode="auto">
            <a:xfrm>
              <a:off x="7654925" y="884238"/>
              <a:ext cx="66675" cy="131763"/>
            </a:xfrm>
            <a:custGeom>
              <a:avLst/>
              <a:gdLst>
                <a:gd name="T0" fmla="*/ 42 w 42"/>
                <a:gd name="T1" fmla="*/ 83 h 83"/>
                <a:gd name="T2" fmla="*/ 0 w 42"/>
                <a:gd name="T3" fmla="*/ 41 h 83"/>
                <a:gd name="T4" fmla="*/ 42 w 42"/>
                <a:gd name="T5" fmla="*/ 0 h 83"/>
              </a:gdLst>
              <a:ahLst/>
              <a:cxnLst>
                <a:cxn ang="0">
                  <a:pos x="T0" y="T1"/>
                </a:cxn>
                <a:cxn ang="0">
                  <a:pos x="T2" y="T3"/>
                </a:cxn>
                <a:cxn ang="0">
                  <a:pos x="T4" y="T5"/>
                </a:cxn>
              </a:cxnLst>
              <a:rect l="0" t="0" r="r" b="b"/>
              <a:pathLst>
                <a:path w="42" h="83">
                  <a:moveTo>
                    <a:pt x="42" y="83"/>
                  </a:moveTo>
                  <a:lnTo>
                    <a:pt x="0" y="41"/>
                  </a:lnTo>
                  <a:lnTo>
                    <a:pt x="42" y="0"/>
                  </a:lnTo>
                </a:path>
              </a:pathLst>
            </a:custGeom>
            <a:noFill/>
            <a:ln w="46038" cap="rnd">
              <a:solidFill>
                <a:srgbClr val="FBAB1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a:p>
          </p:txBody>
        </p:sp>
        <p:sp>
          <p:nvSpPr>
            <p:cNvPr id="653" name="Freeform 143">
              <a:extLst>
                <a:ext uri="{FF2B5EF4-FFF2-40B4-BE49-F238E27FC236}">
                  <a16:creationId xmlns:a16="http://schemas.microsoft.com/office/drawing/2014/main" id="{E1F517FE-416A-234B-813A-BE130778A577}"/>
                </a:ext>
              </a:extLst>
            </p:cNvPr>
            <p:cNvSpPr>
              <a:spLocks/>
            </p:cNvSpPr>
            <p:nvPr/>
          </p:nvSpPr>
          <p:spPr bwMode="auto">
            <a:xfrm>
              <a:off x="7459663" y="1254125"/>
              <a:ext cx="279400" cy="263525"/>
            </a:xfrm>
            <a:custGeom>
              <a:avLst/>
              <a:gdLst>
                <a:gd name="T0" fmla="*/ 540 w 693"/>
                <a:gd name="T1" fmla="*/ 0 h 654"/>
                <a:gd name="T2" fmla="*/ 153 w 693"/>
                <a:gd name="T3" fmla="*/ 0 h 654"/>
                <a:gd name="T4" fmla="*/ 0 w 693"/>
                <a:gd name="T5" fmla="*/ 153 h 654"/>
                <a:gd name="T6" fmla="*/ 0 w 693"/>
                <a:gd name="T7" fmla="*/ 367 h 654"/>
                <a:gd name="T8" fmla="*/ 673 w 693"/>
                <a:gd name="T9" fmla="*/ 654 h 654"/>
                <a:gd name="T10" fmla="*/ 693 w 693"/>
                <a:gd name="T11" fmla="*/ 654 h 654"/>
                <a:gd name="T12" fmla="*/ 693 w 693"/>
                <a:gd name="T13" fmla="*/ 153 h 654"/>
                <a:gd name="T14" fmla="*/ 540 w 693"/>
                <a:gd name="T15" fmla="*/ 0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3" h="654">
                  <a:moveTo>
                    <a:pt x="540" y="0"/>
                  </a:moveTo>
                  <a:cubicBezTo>
                    <a:pt x="153" y="0"/>
                    <a:pt x="153" y="0"/>
                    <a:pt x="153" y="0"/>
                  </a:cubicBezTo>
                  <a:cubicBezTo>
                    <a:pt x="69" y="0"/>
                    <a:pt x="0" y="69"/>
                    <a:pt x="0" y="153"/>
                  </a:cubicBezTo>
                  <a:cubicBezTo>
                    <a:pt x="0" y="367"/>
                    <a:pt x="0" y="367"/>
                    <a:pt x="0" y="367"/>
                  </a:cubicBezTo>
                  <a:cubicBezTo>
                    <a:pt x="170" y="544"/>
                    <a:pt x="408" y="654"/>
                    <a:pt x="673" y="654"/>
                  </a:cubicBezTo>
                  <a:cubicBezTo>
                    <a:pt x="680" y="654"/>
                    <a:pt x="686" y="654"/>
                    <a:pt x="693" y="654"/>
                  </a:cubicBezTo>
                  <a:cubicBezTo>
                    <a:pt x="693" y="153"/>
                    <a:pt x="693" y="153"/>
                    <a:pt x="693" y="153"/>
                  </a:cubicBezTo>
                  <a:cubicBezTo>
                    <a:pt x="693" y="69"/>
                    <a:pt x="625" y="0"/>
                    <a:pt x="54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54" name="Oval 144">
              <a:extLst>
                <a:ext uri="{FF2B5EF4-FFF2-40B4-BE49-F238E27FC236}">
                  <a16:creationId xmlns:a16="http://schemas.microsoft.com/office/drawing/2014/main" id="{6CE78769-44B6-E242-8EA8-67D513350E82}"/>
                </a:ext>
              </a:extLst>
            </p:cNvPr>
            <p:cNvSpPr>
              <a:spLocks noChangeArrowheads="1"/>
            </p:cNvSpPr>
            <p:nvPr/>
          </p:nvSpPr>
          <p:spPr bwMode="auto">
            <a:xfrm>
              <a:off x="7515225" y="1044575"/>
              <a:ext cx="168275" cy="168275"/>
            </a:xfrm>
            <a:prstGeom prst="ellipse">
              <a:avLst/>
            </a:pr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pic>
        <p:nvPicPr>
          <p:cNvPr id="662" name="Picture 661">
            <a:extLst>
              <a:ext uri="{FF2B5EF4-FFF2-40B4-BE49-F238E27FC236}">
                <a16:creationId xmlns:a16="http://schemas.microsoft.com/office/drawing/2014/main" id="{924EA90A-A17B-114C-BD69-84F7B57D2722}"/>
              </a:ext>
            </a:extLst>
          </p:cNvPr>
          <p:cNvPicPr>
            <a:picLocks noChangeAspect="1"/>
          </p:cNvPicPr>
          <p:nvPr/>
        </p:nvPicPr>
        <p:blipFill>
          <a:blip r:embed="rId3"/>
          <a:stretch>
            <a:fillRect/>
          </a:stretch>
        </p:blipFill>
        <p:spPr>
          <a:xfrm>
            <a:off x="2668465" y="2078544"/>
            <a:ext cx="342531" cy="342900"/>
          </a:xfrm>
          <a:prstGeom prst="rect">
            <a:avLst/>
          </a:prstGeom>
        </p:spPr>
      </p:pic>
      <p:cxnSp>
        <p:nvCxnSpPr>
          <p:cNvPr id="700" name="Straight Arrow Connector 699">
            <a:extLst>
              <a:ext uri="{FF2B5EF4-FFF2-40B4-BE49-F238E27FC236}">
                <a16:creationId xmlns:a16="http://schemas.microsoft.com/office/drawing/2014/main" id="{1CD078E9-A534-384B-BCFD-9A7B67FC6D02}"/>
              </a:ext>
            </a:extLst>
          </p:cNvPr>
          <p:cNvCxnSpPr>
            <a:cxnSpLocks/>
          </p:cNvCxnSpPr>
          <p:nvPr/>
        </p:nvCxnSpPr>
        <p:spPr>
          <a:xfrm flipH="1" flipV="1">
            <a:off x="2101276" y="1637021"/>
            <a:ext cx="563619" cy="519854"/>
          </a:xfrm>
          <a:prstGeom prst="straightConnector1">
            <a:avLst/>
          </a:prstGeom>
          <a:ln w="25400">
            <a:solidFill>
              <a:schemeClr val="accent4">
                <a:lumMod val="40000"/>
                <a:lumOff val="60000"/>
              </a:schemeClr>
            </a:solidFill>
            <a:prstDash val="sysDot"/>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701" name="Straight Arrow Connector 700">
            <a:extLst>
              <a:ext uri="{FF2B5EF4-FFF2-40B4-BE49-F238E27FC236}">
                <a16:creationId xmlns:a16="http://schemas.microsoft.com/office/drawing/2014/main" id="{FA9680CA-43CE-2C4D-9097-4F235239C9DF}"/>
              </a:ext>
            </a:extLst>
          </p:cNvPr>
          <p:cNvCxnSpPr>
            <a:cxnSpLocks/>
          </p:cNvCxnSpPr>
          <p:nvPr/>
        </p:nvCxnSpPr>
        <p:spPr>
          <a:xfrm flipH="1" flipV="1">
            <a:off x="4387945" y="1597826"/>
            <a:ext cx="1607673" cy="599108"/>
          </a:xfrm>
          <a:prstGeom prst="straightConnector1">
            <a:avLst/>
          </a:prstGeom>
          <a:ln w="25400">
            <a:solidFill>
              <a:schemeClr val="accent4">
                <a:lumMod val="40000"/>
                <a:lumOff val="60000"/>
              </a:schemeClr>
            </a:solidFill>
            <a:prstDash val="sysDot"/>
            <a:headEnd type="triangle"/>
            <a:tailEnd type="triangle"/>
          </a:ln>
          <a:effectLst/>
        </p:spPr>
        <p:style>
          <a:lnRef idx="1">
            <a:schemeClr val="accent1"/>
          </a:lnRef>
          <a:fillRef idx="0">
            <a:schemeClr val="accent1"/>
          </a:fillRef>
          <a:effectRef idx="0">
            <a:schemeClr val="accent1"/>
          </a:effectRef>
          <a:fontRef idx="minor">
            <a:schemeClr val="tx1"/>
          </a:fontRef>
        </p:style>
      </p:cxnSp>
      <p:pic>
        <p:nvPicPr>
          <p:cNvPr id="702" name="Picture 701">
            <a:extLst>
              <a:ext uri="{FF2B5EF4-FFF2-40B4-BE49-F238E27FC236}">
                <a16:creationId xmlns:a16="http://schemas.microsoft.com/office/drawing/2014/main" id="{3C9369A4-725B-9E42-98B0-9749D0E6BB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279" y="3191541"/>
            <a:ext cx="342900" cy="342900"/>
          </a:xfrm>
          <a:prstGeom prst="rect">
            <a:avLst/>
          </a:prstGeom>
        </p:spPr>
      </p:pic>
      <p:sp>
        <p:nvSpPr>
          <p:cNvPr id="246" name="Shape 827">
            <a:extLst>
              <a:ext uri="{FF2B5EF4-FFF2-40B4-BE49-F238E27FC236}">
                <a16:creationId xmlns:a16="http://schemas.microsoft.com/office/drawing/2014/main" id="{7C544257-DE21-2E47-A449-B8767C2092D6}"/>
              </a:ext>
            </a:extLst>
          </p:cNvPr>
          <p:cNvSpPr txBox="1"/>
          <p:nvPr/>
        </p:nvSpPr>
        <p:spPr>
          <a:xfrm>
            <a:off x="1231859" y="3191541"/>
            <a:ext cx="2579820" cy="416400"/>
          </a:xfrm>
          <a:prstGeom prst="rect">
            <a:avLst/>
          </a:prstGeom>
          <a:noFill/>
          <a:ln>
            <a:noFill/>
          </a:ln>
        </p:spPr>
        <p:txBody>
          <a:bodyPr spcFirstLastPara="1" wrap="square" lIns="91425" tIns="91425" rIns="91425" bIns="91425" anchor="ctr" anchorCtr="0">
            <a:noAutofit/>
          </a:bodyPr>
          <a:lstStyle/>
          <a:p>
            <a:pPr algn="ctr"/>
            <a:r>
              <a:rPr lang="en-US" sz="1200" dirty="0">
                <a:latin typeface="CiscoSansTT Light" panose="020B0503020201020303" pitchFamily="34" charset="0"/>
                <a:ea typeface="CiscoSans" charset="0"/>
                <a:cs typeface="CiscoSansTT Light" panose="020B0503020201020303" pitchFamily="34" charset="0"/>
              </a:rPr>
              <a:t>Network Service Orchestrator 5.0</a:t>
            </a:r>
          </a:p>
          <a:p>
            <a:pPr algn="ctr"/>
            <a:r>
              <a:rPr lang="en-US" sz="825" dirty="0">
                <a:solidFill>
                  <a:schemeClr val="accent4"/>
                </a:solidFill>
                <a:latin typeface="CiscoSansTT Light" panose="020B0503020201020303" pitchFamily="34" charset="0"/>
                <a:ea typeface="CiscoSans" charset="0"/>
                <a:cs typeface="CiscoSansTT Light" panose="020B0503020201020303" pitchFamily="34" charset="0"/>
              </a:rPr>
              <a:t>mass scale intent-based configuration across multi-vendor</a:t>
            </a:r>
          </a:p>
        </p:txBody>
      </p:sp>
      <p:cxnSp>
        <p:nvCxnSpPr>
          <p:cNvPr id="13" name="Straight Connector 12">
            <a:extLst>
              <a:ext uri="{FF2B5EF4-FFF2-40B4-BE49-F238E27FC236}">
                <a16:creationId xmlns:a16="http://schemas.microsoft.com/office/drawing/2014/main" id="{C923DEC5-5C9D-0241-97B4-EBC2F71DBB0E}"/>
              </a:ext>
            </a:extLst>
          </p:cNvPr>
          <p:cNvCxnSpPr>
            <a:cxnSpLocks/>
          </p:cNvCxnSpPr>
          <p:nvPr/>
        </p:nvCxnSpPr>
        <p:spPr>
          <a:xfrm flipV="1">
            <a:off x="280189" y="3067895"/>
            <a:ext cx="7658651" cy="10052"/>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703" name="Group 702">
            <a:extLst>
              <a:ext uri="{FF2B5EF4-FFF2-40B4-BE49-F238E27FC236}">
                <a16:creationId xmlns:a16="http://schemas.microsoft.com/office/drawing/2014/main" id="{DF7804B3-5C69-1E48-8D58-1F0ABE9946BC}"/>
              </a:ext>
            </a:extLst>
          </p:cNvPr>
          <p:cNvGrpSpPr>
            <a:grpSpLocks noChangeAspect="1"/>
          </p:cNvGrpSpPr>
          <p:nvPr/>
        </p:nvGrpSpPr>
        <p:grpSpPr>
          <a:xfrm>
            <a:off x="4724585" y="3202270"/>
            <a:ext cx="342175" cy="342900"/>
            <a:chOff x="7399338" y="1955800"/>
            <a:chExt cx="747713" cy="749300"/>
          </a:xfrm>
        </p:grpSpPr>
        <p:sp>
          <p:nvSpPr>
            <p:cNvPr id="704" name="Oval 22">
              <a:extLst>
                <a:ext uri="{FF2B5EF4-FFF2-40B4-BE49-F238E27FC236}">
                  <a16:creationId xmlns:a16="http://schemas.microsoft.com/office/drawing/2014/main" id="{48284AE1-76AE-1645-88BA-2A252370B636}"/>
                </a:ext>
              </a:extLst>
            </p:cNvPr>
            <p:cNvSpPr>
              <a:spLocks noChangeArrowheads="1"/>
            </p:cNvSpPr>
            <p:nvPr/>
          </p:nvSpPr>
          <p:spPr bwMode="auto">
            <a:xfrm>
              <a:off x="7399338" y="1955800"/>
              <a:ext cx="747713" cy="749300"/>
            </a:xfrm>
            <a:prstGeom prst="ellipse">
              <a:avLst/>
            </a:pr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05" name="Freeform 23">
              <a:extLst>
                <a:ext uri="{FF2B5EF4-FFF2-40B4-BE49-F238E27FC236}">
                  <a16:creationId xmlns:a16="http://schemas.microsoft.com/office/drawing/2014/main" id="{AF820ACD-1A07-AC42-8173-A605A45ABE82}"/>
                </a:ext>
              </a:extLst>
            </p:cNvPr>
            <p:cNvSpPr>
              <a:spLocks noEditPoints="1"/>
            </p:cNvSpPr>
            <p:nvPr/>
          </p:nvSpPr>
          <p:spPr bwMode="auto">
            <a:xfrm>
              <a:off x="7472363" y="2098675"/>
              <a:ext cx="17463" cy="68263"/>
            </a:xfrm>
            <a:custGeom>
              <a:avLst/>
              <a:gdLst>
                <a:gd name="T0" fmla="*/ 43 w 43"/>
                <a:gd name="T1" fmla="*/ 29 h 167"/>
                <a:gd name="T2" fmla="*/ 26 w 43"/>
                <a:gd name="T3" fmla="*/ 37 h 167"/>
                <a:gd name="T4" fmla="*/ 0 w 43"/>
                <a:gd name="T5" fmla="*/ 37 h 167"/>
                <a:gd name="T6" fmla="*/ 0 w 43"/>
                <a:gd name="T7" fmla="*/ 167 h 167"/>
                <a:gd name="T8" fmla="*/ 43 w 43"/>
                <a:gd name="T9" fmla="*/ 167 h 167"/>
                <a:gd name="T10" fmla="*/ 43 w 43"/>
                <a:gd name="T11" fmla="*/ 29 h 167"/>
                <a:gd name="T12" fmla="*/ 23 w 43"/>
                <a:gd name="T13" fmla="*/ 0 h 167"/>
                <a:gd name="T14" fmla="*/ 19 w 43"/>
                <a:gd name="T15" fmla="*/ 0 h 167"/>
                <a:gd name="T16" fmla="*/ 24 w 43"/>
                <a:gd name="T17" fmla="*/ 0 h 167"/>
                <a:gd name="T18" fmla="*/ 23 w 43"/>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67">
                  <a:moveTo>
                    <a:pt x="43" y="29"/>
                  </a:moveTo>
                  <a:cubicBezTo>
                    <a:pt x="39" y="34"/>
                    <a:pt x="32" y="37"/>
                    <a:pt x="26" y="37"/>
                  </a:cubicBezTo>
                  <a:cubicBezTo>
                    <a:pt x="14" y="37"/>
                    <a:pt x="6" y="37"/>
                    <a:pt x="0" y="37"/>
                  </a:cubicBezTo>
                  <a:cubicBezTo>
                    <a:pt x="0" y="55"/>
                    <a:pt x="0" y="92"/>
                    <a:pt x="0" y="167"/>
                  </a:cubicBezTo>
                  <a:cubicBezTo>
                    <a:pt x="20" y="167"/>
                    <a:pt x="34" y="167"/>
                    <a:pt x="43" y="167"/>
                  </a:cubicBezTo>
                  <a:cubicBezTo>
                    <a:pt x="43" y="146"/>
                    <a:pt x="43" y="107"/>
                    <a:pt x="43" y="29"/>
                  </a:cubicBezTo>
                  <a:moveTo>
                    <a:pt x="23" y="0"/>
                  </a:moveTo>
                  <a:cubicBezTo>
                    <a:pt x="21" y="0"/>
                    <a:pt x="20" y="0"/>
                    <a:pt x="19" y="0"/>
                  </a:cubicBezTo>
                  <a:cubicBezTo>
                    <a:pt x="22" y="0"/>
                    <a:pt x="23" y="0"/>
                    <a:pt x="24" y="0"/>
                  </a:cubicBezTo>
                  <a:cubicBezTo>
                    <a:pt x="24" y="0"/>
                    <a:pt x="23" y="0"/>
                    <a:pt x="2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07" name="Freeform 24">
              <a:extLst>
                <a:ext uri="{FF2B5EF4-FFF2-40B4-BE49-F238E27FC236}">
                  <a16:creationId xmlns:a16="http://schemas.microsoft.com/office/drawing/2014/main" id="{19E6D6E8-13DA-CA45-9014-CE245159AFCD}"/>
                </a:ext>
              </a:extLst>
            </p:cNvPr>
            <p:cNvSpPr>
              <a:spLocks/>
            </p:cNvSpPr>
            <p:nvPr/>
          </p:nvSpPr>
          <p:spPr bwMode="auto">
            <a:xfrm>
              <a:off x="7467601" y="2098675"/>
              <a:ext cx="23813" cy="15875"/>
            </a:xfrm>
            <a:custGeom>
              <a:avLst/>
              <a:gdLst>
                <a:gd name="T0" fmla="*/ 38 w 60"/>
                <a:gd name="T1" fmla="*/ 0 h 37"/>
                <a:gd name="T2" fmla="*/ 36 w 60"/>
                <a:gd name="T3" fmla="*/ 0 h 37"/>
                <a:gd name="T4" fmla="*/ 31 w 60"/>
                <a:gd name="T5" fmla="*/ 0 h 37"/>
                <a:gd name="T6" fmla="*/ 28 w 60"/>
                <a:gd name="T7" fmla="*/ 0 h 37"/>
                <a:gd name="T8" fmla="*/ 0 w 60"/>
                <a:gd name="T9" fmla="*/ 37 h 37"/>
                <a:gd name="T10" fmla="*/ 12 w 60"/>
                <a:gd name="T11" fmla="*/ 37 h 37"/>
                <a:gd name="T12" fmla="*/ 38 w 60"/>
                <a:gd name="T13" fmla="*/ 37 h 37"/>
                <a:gd name="T14" fmla="*/ 55 w 60"/>
                <a:gd name="T15" fmla="*/ 29 h 37"/>
                <a:gd name="T16" fmla="*/ 59 w 60"/>
                <a:gd name="T17" fmla="*/ 19 h 37"/>
                <a:gd name="T18" fmla="*/ 38 w 60"/>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7">
                  <a:moveTo>
                    <a:pt x="38" y="0"/>
                  </a:moveTo>
                  <a:cubicBezTo>
                    <a:pt x="38" y="0"/>
                    <a:pt x="38" y="0"/>
                    <a:pt x="36" y="0"/>
                  </a:cubicBezTo>
                  <a:cubicBezTo>
                    <a:pt x="35" y="0"/>
                    <a:pt x="34" y="0"/>
                    <a:pt x="31" y="0"/>
                  </a:cubicBezTo>
                  <a:cubicBezTo>
                    <a:pt x="30" y="0"/>
                    <a:pt x="29" y="0"/>
                    <a:pt x="28" y="0"/>
                  </a:cubicBezTo>
                  <a:cubicBezTo>
                    <a:pt x="18" y="12"/>
                    <a:pt x="9" y="25"/>
                    <a:pt x="0" y="37"/>
                  </a:cubicBezTo>
                  <a:cubicBezTo>
                    <a:pt x="2" y="37"/>
                    <a:pt x="6" y="37"/>
                    <a:pt x="12" y="37"/>
                  </a:cubicBezTo>
                  <a:cubicBezTo>
                    <a:pt x="18" y="37"/>
                    <a:pt x="26" y="37"/>
                    <a:pt x="38" y="37"/>
                  </a:cubicBezTo>
                  <a:cubicBezTo>
                    <a:pt x="44" y="37"/>
                    <a:pt x="51" y="34"/>
                    <a:pt x="55" y="29"/>
                  </a:cubicBezTo>
                  <a:cubicBezTo>
                    <a:pt x="58" y="26"/>
                    <a:pt x="60" y="23"/>
                    <a:pt x="59" y="19"/>
                  </a:cubicBezTo>
                  <a:cubicBezTo>
                    <a:pt x="59" y="8"/>
                    <a:pt x="49" y="0"/>
                    <a:pt x="38"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08" name="Freeform 25">
              <a:extLst>
                <a:ext uri="{FF2B5EF4-FFF2-40B4-BE49-F238E27FC236}">
                  <a16:creationId xmlns:a16="http://schemas.microsoft.com/office/drawing/2014/main" id="{41832C9F-48FF-024F-88D4-7667944962B8}"/>
                </a:ext>
              </a:extLst>
            </p:cNvPr>
            <p:cNvSpPr>
              <a:spLocks/>
            </p:cNvSpPr>
            <p:nvPr/>
          </p:nvSpPr>
          <p:spPr bwMode="auto">
            <a:xfrm>
              <a:off x="7454901" y="2166938"/>
              <a:ext cx="52388" cy="15875"/>
            </a:xfrm>
            <a:custGeom>
              <a:avLst/>
              <a:gdLst>
                <a:gd name="T0" fmla="*/ 107 w 129"/>
                <a:gd name="T1" fmla="*/ 0 h 43"/>
                <a:gd name="T2" fmla="*/ 86 w 129"/>
                <a:gd name="T3" fmla="*/ 0 h 43"/>
                <a:gd name="T4" fmla="*/ 43 w 129"/>
                <a:gd name="T5" fmla="*/ 0 h 43"/>
                <a:gd name="T6" fmla="*/ 22 w 129"/>
                <a:gd name="T7" fmla="*/ 0 h 43"/>
                <a:gd name="T8" fmla="*/ 0 w 129"/>
                <a:gd name="T9" fmla="*/ 21 h 43"/>
                <a:gd name="T10" fmla="*/ 22 w 129"/>
                <a:gd name="T11" fmla="*/ 43 h 43"/>
                <a:gd name="T12" fmla="*/ 66 w 129"/>
                <a:gd name="T13" fmla="*/ 43 h 43"/>
                <a:gd name="T14" fmla="*/ 66 w 129"/>
                <a:gd name="T15" fmla="*/ 43 h 43"/>
                <a:gd name="T16" fmla="*/ 107 w 129"/>
                <a:gd name="T17" fmla="*/ 43 h 43"/>
                <a:gd name="T18" fmla="*/ 129 w 129"/>
                <a:gd name="T19" fmla="*/ 21 h 43"/>
                <a:gd name="T20" fmla="*/ 107 w 129"/>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3">
                  <a:moveTo>
                    <a:pt x="107" y="0"/>
                  </a:moveTo>
                  <a:cubicBezTo>
                    <a:pt x="107" y="0"/>
                    <a:pt x="107" y="0"/>
                    <a:pt x="86" y="0"/>
                  </a:cubicBezTo>
                  <a:cubicBezTo>
                    <a:pt x="77" y="0"/>
                    <a:pt x="63" y="0"/>
                    <a:pt x="43" y="0"/>
                  </a:cubicBezTo>
                  <a:cubicBezTo>
                    <a:pt x="37" y="0"/>
                    <a:pt x="30" y="0"/>
                    <a:pt x="22" y="0"/>
                  </a:cubicBezTo>
                  <a:cubicBezTo>
                    <a:pt x="11" y="0"/>
                    <a:pt x="0" y="11"/>
                    <a:pt x="0" y="21"/>
                  </a:cubicBezTo>
                  <a:cubicBezTo>
                    <a:pt x="0" y="32"/>
                    <a:pt x="11" y="43"/>
                    <a:pt x="22" y="43"/>
                  </a:cubicBezTo>
                  <a:cubicBezTo>
                    <a:pt x="22" y="43"/>
                    <a:pt x="22" y="43"/>
                    <a:pt x="66" y="43"/>
                  </a:cubicBezTo>
                  <a:cubicBezTo>
                    <a:pt x="66" y="43"/>
                    <a:pt x="66" y="43"/>
                    <a:pt x="66" y="43"/>
                  </a:cubicBezTo>
                  <a:cubicBezTo>
                    <a:pt x="77" y="43"/>
                    <a:pt x="90" y="43"/>
                    <a:pt x="107" y="43"/>
                  </a:cubicBezTo>
                  <a:cubicBezTo>
                    <a:pt x="120" y="43"/>
                    <a:pt x="129" y="32"/>
                    <a:pt x="129" y="21"/>
                  </a:cubicBezTo>
                  <a:cubicBezTo>
                    <a:pt x="129" y="11"/>
                    <a:pt x="120" y="0"/>
                    <a:pt x="107"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09" name="Freeform 26">
              <a:extLst>
                <a:ext uri="{FF2B5EF4-FFF2-40B4-BE49-F238E27FC236}">
                  <a16:creationId xmlns:a16="http://schemas.microsoft.com/office/drawing/2014/main" id="{0EBF09F6-94A4-4141-8281-C09086CDE380}"/>
                </a:ext>
              </a:extLst>
            </p:cNvPr>
            <p:cNvSpPr>
              <a:spLocks noEditPoints="1"/>
            </p:cNvSpPr>
            <p:nvPr/>
          </p:nvSpPr>
          <p:spPr bwMode="auto">
            <a:xfrm>
              <a:off x="7639051" y="2098675"/>
              <a:ext cx="17463" cy="68263"/>
            </a:xfrm>
            <a:custGeom>
              <a:avLst/>
              <a:gdLst>
                <a:gd name="T0" fmla="*/ 43 w 43"/>
                <a:gd name="T1" fmla="*/ 19 h 167"/>
                <a:gd name="T2" fmla="*/ 22 w 43"/>
                <a:gd name="T3" fmla="*/ 37 h 167"/>
                <a:gd name="T4" fmla="*/ 0 w 43"/>
                <a:gd name="T5" fmla="*/ 37 h 167"/>
                <a:gd name="T6" fmla="*/ 0 w 43"/>
                <a:gd name="T7" fmla="*/ 167 h 167"/>
                <a:gd name="T8" fmla="*/ 43 w 43"/>
                <a:gd name="T9" fmla="*/ 167 h 167"/>
                <a:gd name="T10" fmla="*/ 43 w 43"/>
                <a:gd name="T11" fmla="*/ 20 h 167"/>
                <a:gd name="T12" fmla="*/ 43 w 43"/>
                <a:gd name="T13" fmla="*/ 19 h 167"/>
                <a:gd name="T14" fmla="*/ 21 w 43"/>
                <a:gd name="T15" fmla="*/ 0 h 167"/>
                <a:gd name="T16" fmla="*/ 20 w 43"/>
                <a:gd name="T17" fmla="*/ 0 h 167"/>
                <a:gd name="T18" fmla="*/ 27 w 43"/>
                <a:gd name="T19" fmla="*/ 1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19"/>
                  </a:moveTo>
                  <a:cubicBezTo>
                    <a:pt x="43" y="28"/>
                    <a:pt x="33" y="36"/>
                    <a:pt x="22" y="37"/>
                  </a:cubicBezTo>
                  <a:cubicBezTo>
                    <a:pt x="13" y="37"/>
                    <a:pt x="5" y="37"/>
                    <a:pt x="0" y="37"/>
                  </a:cubicBezTo>
                  <a:cubicBezTo>
                    <a:pt x="0" y="55"/>
                    <a:pt x="0" y="92"/>
                    <a:pt x="0" y="167"/>
                  </a:cubicBezTo>
                  <a:cubicBezTo>
                    <a:pt x="20" y="167"/>
                    <a:pt x="33" y="167"/>
                    <a:pt x="43" y="167"/>
                  </a:cubicBezTo>
                  <a:cubicBezTo>
                    <a:pt x="43" y="146"/>
                    <a:pt x="43" y="104"/>
                    <a:pt x="43" y="20"/>
                  </a:cubicBezTo>
                  <a:cubicBezTo>
                    <a:pt x="43" y="20"/>
                    <a:pt x="43" y="20"/>
                    <a:pt x="43" y="19"/>
                  </a:cubicBezTo>
                  <a:moveTo>
                    <a:pt x="21" y="0"/>
                  </a:moveTo>
                  <a:cubicBezTo>
                    <a:pt x="21" y="0"/>
                    <a:pt x="21" y="0"/>
                    <a:pt x="20" y="0"/>
                  </a:cubicBezTo>
                  <a:cubicBezTo>
                    <a:pt x="23" y="0"/>
                    <a:pt x="25" y="0"/>
                    <a:pt x="27" y="1"/>
                  </a:cubicBezTo>
                  <a:cubicBezTo>
                    <a:pt x="25" y="0"/>
                    <a:pt x="23"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0" name="Freeform 27">
              <a:extLst>
                <a:ext uri="{FF2B5EF4-FFF2-40B4-BE49-F238E27FC236}">
                  <a16:creationId xmlns:a16="http://schemas.microsoft.com/office/drawing/2014/main" id="{EA6F4286-4949-AD43-997A-128451D2DF43}"/>
                </a:ext>
              </a:extLst>
            </p:cNvPr>
            <p:cNvSpPr>
              <a:spLocks/>
            </p:cNvSpPr>
            <p:nvPr/>
          </p:nvSpPr>
          <p:spPr bwMode="auto">
            <a:xfrm>
              <a:off x="7621588" y="2098675"/>
              <a:ext cx="34925" cy="15875"/>
            </a:xfrm>
            <a:custGeom>
              <a:avLst/>
              <a:gdLst>
                <a:gd name="T0" fmla="*/ 63 w 86"/>
                <a:gd name="T1" fmla="*/ 0 h 37"/>
                <a:gd name="T2" fmla="*/ 23 w 86"/>
                <a:gd name="T3" fmla="*/ 1 h 37"/>
                <a:gd name="T4" fmla="*/ 2 w 86"/>
                <a:gd name="T5" fmla="*/ 20 h 37"/>
                <a:gd name="T6" fmla="*/ 23 w 86"/>
                <a:gd name="T7" fmla="*/ 37 h 37"/>
                <a:gd name="T8" fmla="*/ 25 w 86"/>
                <a:gd name="T9" fmla="*/ 37 h 37"/>
                <a:gd name="T10" fmla="*/ 43 w 86"/>
                <a:gd name="T11" fmla="*/ 37 h 37"/>
                <a:gd name="T12" fmla="*/ 65 w 86"/>
                <a:gd name="T13" fmla="*/ 37 h 37"/>
                <a:gd name="T14" fmla="*/ 86 w 86"/>
                <a:gd name="T15" fmla="*/ 19 h 37"/>
                <a:gd name="T16" fmla="*/ 86 w 86"/>
                <a:gd name="T17" fmla="*/ 19 h 37"/>
                <a:gd name="T18" fmla="*/ 70 w 86"/>
                <a:gd name="T19" fmla="*/ 1 h 37"/>
                <a:gd name="T20" fmla="*/ 63 w 86"/>
                <a:gd name="T21" fmla="*/ 0 h 37"/>
                <a:gd name="T22" fmla="*/ 63 w 86"/>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37">
                  <a:moveTo>
                    <a:pt x="63" y="0"/>
                  </a:moveTo>
                  <a:cubicBezTo>
                    <a:pt x="63" y="0"/>
                    <a:pt x="63" y="0"/>
                    <a:pt x="23" y="1"/>
                  </a:cubicBezTo>
                  <a:cubicBezTo>
                    <a:pt x="12" y="1"/>
                    <a:pt x="0" y="9"/>
                    <a:pt x="2" y="20"/>
                  </a:cubicBezTo>
                  <a:cubicBezTo>
                    <a:pt x="2" y="30"/>
                    <a:pt x="12" y="37"/>
                    <a:pt x="23" y="37"/>
                  </a:cubicBezTo>
                  <a:cubicBezTo>
                    <a:pt x="23" y="37"/>
                    <a:pt x="23" y="37"/>
                    <a:pt x="25" y="37"/>
                  </a:cubicBezTo>
                  <a:cubicBezTo>
                    <a:pt x="25" y="37"/>
                    <a:pt x="25" y="37"/>
                    <a:pt x="43" y="37"/>
                  </a:cubicBezTo>
                  <a:cubicBezTo>
                    <a:pt x="48" y="37"/>
                    <a:pt x="56" y="37"/>
                    <a:pt x="65" y="37"/>
                  </a:cubicBezTo>
                  <a:cubicBezTo>
                    <a:pt x="76" y="36"/>
                    <a:pt x="86" y="28"/>
                    <a:pt x="86" y="19"/>
                  </a:cubicBezTo>
                  <a:cubicBezTo>
                    <a:pt x="86" y="19"/>
                    <a:pt x="86" y="19"/>
                    <a:pt x="86" y="19"/>
                  </a:cubicBezTo>
                  <a:cubicBezTo>
                    <a:pt x="86" y="10"/>
                    <a:pt x="80" y="3"/>
                    <a:pt x="70" y="1"/>
                  </a:cubicBezTo>
                  <a:cubicBezTo>
                    <a:pt x="68" y="0"/>
                    <a:pt x="66" y="0"/>
                    <a:pt x="63" y="0"/>
                  </a:cubicBezTo>
                  <a:cubicBezTo>
                    <a:pt x="63" y="0"/>
                    <a:pt x="63" y="0"/>
                    <a:pt x="6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1" name="Freeform 28">
              <a:extLst>
                <a:ext uri="{FF2B5EF4-FFF2-40B4-BE49-F238E27FC236}">
                  <a16:creationId xmlns:a16="http://schemas.microsoft.com/office/drawing/2014/main" id="{8B7E12BB-D01F-4244-8D2B-1C0276701755}"/>
                </a:ext>
              </a:extLst>
            </p:cNvPr>
            <p:cNvSpPr>
              <a:spLocks/>
            </p:cNvSpPr>
            <p:nvPr/>
          </p:nvSpPr>
          <p:spPr bwMode="auto">
            <a:xfrm>
              <a:off x="7621588" y="2166938"/>
              <a:ext cx="52388" cy="15875"/>
            </a:xfrm>
            <a:custGeom>
              <a:avLst/>
              <a:gdLst>
                <a:gd name="T0" fmla="*/ 109 w 129"/>
                <a:gd name="T1" fmla="*/ 0 h 43"/>
                <a:gd name="T2" fmla="*/ 86 w 129"/>
                <a:gd name="T3" fmla="*/ 0 h 43"/>
                <a:gd name="T4" fmla="*/ 43 w 129"/>
                <a:gd name="T5" fmla="*/ 0 h 43"/>
                <a:gd name="T6" fmla="*/ 22 w 129"/>
                <a:gd name="T7" fmla="*/ 0 h 43"/>
                <a:gd name="T8" fmla="*/ 0 w 129"/>
                <a:gd name="T9" fmla="*/ 21 h 43"/>
                <a:gd name="T10" fmla="*/ 22 w 129"/>
                <a:gd name="T11" fmla="*/ 43 h 43"/>
                <a:gd name="T12" fmla="*/ 64 w 129"/>
                <a:gd name="T13" fmla="*/ 43 h 43"/>
                <a:gd name="T14" fmla="*/ 64 w 129"/>
                <a:gd name="T15" fmla="*/ 43 h 43"/>
                <a:gd name="T16" fmla="*/ 109 w 129"/>
                <a:gd name="T17" fmla="*/ 43 h 43"/>
                <a:gd name="T18" fmla="*/ 129 w 129"/>
                <a:gd name="T19" fmla="*/ 21 h 43"/>
                <a:gd name="T20" fmla="*/ 109 w 129"/>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3">
                  <a:moveTo>
                    <a:pt x="109" y="0"/>
                  </a:moveTo>
                  <a:cubicBezTo>
                    <a:pt x="109" y="0"/>
                    <a:pt x="109" y="0"/>
                    <a:pt x="86" y="0"/>
                  </a:cubicBezTo>
                  <a:cubicBezTo>
                    <a:pt x="76" y="0"/>
                    <a:pt x="63" y="0"/>
                    <a:pt x="43" y="0"/>
                  </a:cubicBezTo>
                  <a:cubicBezTo>
                    <a:pt x="37" y="0"/>
                    <a:pt x="30" y="0"/>
                    <a:pt x="22" y="0"/>
                  </a:cubicBezTo>
                  <a:cubicBezTo>
                    <a:pt x="9" y="0"/>
                    <a:pt x="0" y="11"/>
                    <a:pt x="0" y="21"/>
                  </a:cubicBezTo>
                  <a:cubicBezTo>
                    <a:pt x="0" y="32"/>
                    <a:pt x="9" y="43"/>
                    <a:pt x="22" y="43"/>
                  </a:cubicBezTo>
                  <a:cubicBezTo>
                    <a:pt x="22" y="43"/>
                    <a:pt x="22" y="43"/>
                    <a:pt x="64" y="43"/>
                  </a:cubicBezTo>
                  <a:cubicBezTo>
                    <a:pt x="64" y="43"/>
                    <a:pt x="64" y="43"/>
                    <a:pt x="64" y="43"/>
                  </a:cubicBezTo>
                  <a:cubicBezTo>
                    <a:pt x="75" y="43"/>
                    <a:pt x="90" y="43"/>
                    <a:pt x="109" y="43"/>
                  </a:cubicBezTo>
                  <a:cubicBezTo>
                    <a:pt x="120" y="43"/>
                    <a:pt x="129" y="32"/>
                    <a:pt x="129" y="21"/>
                  </a:cubicBezTo>
                  <a:cubicBezTo>
                    <a:pt x="129" y="11"/>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2" name="Freeform 29">
              <a:extLst>
                <a:ext uri="{FF2B5EF4-FFF2-40B4-BE49-F238E27FC236}">
                  <a16:creationId xmlns:a16="http://schemas.microsoft.com/office/drawing/2014/main" id="{B71AECD2-8C20-4149-AABC-9E3F133CD4F7}"/>
                </a:ext>
              </a:extLst>
            </p:cNvPr>
            <p:cNvSpPr>
              <a:spLocks/>
            </p:cNvSpPr>
            <p:nvPr/>
          </p:nvSpPr>
          <p:spPr bwMode="auto">
            <a:xfrm>
              <a:off x="7429501" y="2168525"/>
              <a:ext cx="7938" cy="14288"/>
            </a:xfrm>
            <a:custGeom>
              <a:avLst/>
              <a:gdLst>
                <a:gd name="T0" fmla="*/ 16 w 22"/>
                <a:gd name="T1" fmla="*/ 0 h 36"/>
                <a:gd name="T2" fmla="*/ 0 w 22"/>
                <a:gd name="T3" fmla="*/ 36 h 36"/>
                <a:gd name="T4" fmla="*/ 1 w 22"/>
                <a:gd name="T5" fmla="*/ 36 h 36"/>
                <a:gd name="T6" fmla="*/ 22 w 22"/>
                <a:gd name="T7" fmla="*/ 14 h 36"/>
                <a:gd name="T8" fmla="*/ 16 w 22"/>
                <a:gd name="T9" fmla="*/ 0 h 36"/>
              </a:gdLst>
              <a:ahLst/>
              <a:cxnLst>
                <a:cxn ang="0">
                  <a:pos x="T0" y="T1"/>
                </a:cxn>
                <a:cxn ang="0">
                  <a:pos x="T2" y="T3"/>
                </a:cxn>
                <a:cxn ang="0">
                  <a:pos x="T4" y="T5"/>
                </a:cxn>
                <a:cxn ang="0">
                  <a:pos x="T6" y="T7"/>
                </a:cxn>
                <a:cxn ang="0">
                  <a:pos x="T8" y="T9"/>
                </a:cxn>
              </a:cxnLst>
              <a:rect l="0" t="0" r="r" b="b"/>
              <a:pathLst>
                <a:path w="22" h="36">
                  <a:moveTo>
                    <a:pt x="16" y="0"/>
                  </a:moveTo>
                  <a:cubicBezTo>
                    <a:pt x="11" y="12"/>
                    <a:pt x="5" y="24"/>
                    <a:pt x="0" y="36"/>
                  </a:cubicBezTo>
                  <a:cubicBezTo>
                    <a:pt x="0" y="36"/>
                    <a:pt x="1" y="36"/>
                    <a:pt x="1" y="36"/>
                  </a:cubicBezTo>
                  <a:cubicBezTo>
                    <a:pt x="13" y="36"/>
                    <a:pt x="22" y="25"/>
                    <a:pt x="22" y="14"/>
                  </a:cubicBezTo>
                  <a:cubicBezTo>
                    <a:pt x="22" y="9"/>
                    <a:pt x="20" y="4"/>
                    <a:pt x="16"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3" name="Freeform 30">
              <a:extLst>
                <a:ext uri="{FF2B5EF4-FFF2-40B4-BE49-F238E27FC236}">
                  <a16:creationId xmlns:a16="http://schemas.microsoft.com/office/drawing/2014/main" id="{6B089B1D-0A1F-D040-8A7B-4EA63CA32DE2}"/>
                </a:ext>
              </a:extLst>
            </p:cNvPr>
            <p:cNvSpPr>
              <a:spLocks noEditPoints="1"/>
            </p:cNvSpPr>
            <p:nvPr/>
          </p:nvSpPr>
          <p:spPr bwMode="auto">
            <a:xfrm>
              <a:off x="7532688" y="2098675"/>
              <a:ext cx="73025" cy="84138"/>
            </a:xfrm>
            <a:custGeom>
              <a:avLst/>
              <a:gdLst>
                <a:gd name="T0" fmla="*/ 91 w 183"/>
                <a:gd name="T1" fmla="*/ 168 h 210"/>
                <a:gd name="T2" fmla="*/ 45 w 183"/>
                <a:gd name="T3" fmla="*/ 105 h 210"/>
                <a:gd name="T4" fmla="*/ 91 w 183"/>
                <a:gd name="T5" fmla="*/ 42 h 210"/>
                <a:gd name="T6" fmla="*/ 138 w 183"/>
                <a:gd name="T7" fmla="*/ 105 h 210"/>
                <a:gd name="T8" fmla="*/ 91 w 183"/>
                <a:gd name="T9" fmla="*/ 168 h 210"/>
                <a:gd name="T10" fmla="*/ 91 w 183"/>
                <a:gd name="T11" fmla="*/ 0 h 210"/>
                <a:gd name="T12" fmla="*/ 0 w 183"/>
                <a:gd name="T13" fmla="*/ 105 h 210"/>
                <a:gd name="T14" fmla="*/ 91 w 183"/>
                <a:gd name="T15" fmla="*/ 210 h 210"/>
                <a:gd name="T16" fmla="*/ 183 w 183"/>
                <a:gd name="T17" fmla="*/ 105 h 210"/>
                <a:gd name="T18" fmla="*/ 91 w 183"/>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210">
                  <a:moveTo>
                    <a:pt x="91" y="168"/>
                  </a:moveTo>
                  <a:cubicBezTo>
                    <a:pt x="66" y="168"/>
                    <a:pt x="45" y="139"/>
                    <a:pt x="45" y="105"/>
                  </a:cubicBezTo>
                  <a:cubicBezTo>
                    <a:pt x="45" y="71"/>
                    <a:pt x="66" y="42"/>
                    <a:pt x="91" y="42"/>
                  </a:cubicBezTo>
                  <a:cubicBezTo>
                    <a:pt x="117" y="42"/>
                    <a:pt x="138" y="71"/>
                    <a:pt x="138" y="105"/>
                  </a:cubicBezTo>
                  <a:cubicBezTo>
                    <a:pt x="138" y="139"/>
                    <a:pt x="117" y="168"/>
                    <a:pt x="91" y="168"/>
                  </a:cubicBezTo>
                  <a:moveTo>
                    <a:pt x="91" y="0"/>
                  </a:moveTo>
                  <a:cubicBezTo>
                    <a:pt x="42" y="0"/>
                    <a:pt x="0" y="47"/>
                    <a:pt x="0" y="105"/>
                  </a:cubicBezTo>
                  <a:cubicBezTo>
                    <a:pt x="0" y="163"/>
                    <a:pt x="42" y="210"/>
                    <a:pt x="91" y="210"/>
                  </a:cubicBezTo>
                  <a:cubicBezTo>
                    <a:pt x="142" y="210"/>
                    <a:pt x="183" y="163"/>
                    <a:pt x="183" y="105"/>
                  </a:cubicBezTo>
                  <a:cubicBezTo>
                    <a:pt x="183" y="47"/>
                    <a:pt x="142" y="0"/>
                    <a:pt x="9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4" name="Freeform 31">
              <a:extLst>
                <a:ext uri="{FF2B5EF4-FFF2-40B4-BE49-F238E27FC236}">
                  <a16:creationId xmlns:a16="http://schemas.microsoft.com/office/drawing/2014/main" id="{072982AE-FA1D-5042-9AA5-91235B3C5049}"/>
                </a:ext>
              </a:extLst>
            </p:cNvPr>
            <p:cNvSpPr>
              <a:spLocks noEditPoints="1"/>
            </p:cNvSpPr>
            <p:nvPr/>
          </p:nvSpPr>
          <p:spPr bwMode="auto">
            <a:xfrm>
              <a:off x="7639051" y="1974850"/>
              <a:ext cx="17463" cy="61913"/>
            </a:xfrm>
            <a:custGeom>
              <a:avLst/>
              <a:gdLst>
                <a:gd name="T0" fmla="*/ 43 w 43"/>
                <a:gd name="T1" fmla="*/ 8 h 154"/>
                <a:gd name="T2" fmla="*/ 23 w 43"/>
                <a:gd name="T3" fmla="*/ 30 h 154"/>
                <a:gd name="T4" fmla="*/ 0 w 43"/>
                <a:gd name="T5" fmla="*/ 30 h 154"/>
                <a:gd name="T6" fmla="*/ 0 w 43"/>
                <a:gd name="T7" fmla="*/ 154 h 154"/>
                <a:gd name="T8" fmla="*/ 43 w 43"/>
                <a:gd name="T9" fmla="*/ 154 h 154"/>
                <a:gd name="T10" fmla="*/ 43 w 43"/>
                <a:gd name="T11" fmla="*/ 8 h 154"/>
                <a:gd name="T12" fmla="*/ 42 w 43"/>
                <a:gd name="T13" fmla="*/ 0 h 154"/>
                <a:gd name="T14" fmla="*/ 42 w 43"/>
                <a:gd name="T15" fmla="*/ 0 h 154"/>
                <a:gd name="T16" fmla="*/ 43 w 43"/>
                <a:gd name="T17" fmla="*/ 8 h 154"/>
                <a:gd name="T18" fmla="*/ 43 w 43"/>
                <a:gd name="T19" fmla="*/ 7 h 154"/>
                <a:gd name="T20" fmla="*/ 42 w 43"/>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54">
                  <a:moveTo>
                    <a:pt x="43" y="8"/>
                  </a:moveTo>
                  <a:cubicBezTo>
                    <a:pt x="43" y="19"/>
                    <a:pt x="34" y="28"/>
                    <a:pt x="23" y="30"/>
                  </a:cubicBezTo>
                  <a:cubicBezTo>
                    <a:pt x="13" y="30"/>
                    <a:pt x="5" y="30"/>
                    <a:pt x="0" y="30"/>
                  </a:cubicBezTo>
                  <a:cubicBezTo>
                    <a:pt x="0" y="49"/>
                    <a:pt x="0" y="85"/>
                    <a:pt x="0" y="154"/>
                  </a:cubicBezTo>
                  <a:cubicBezTo>
                    <a:pt x="20" y="154"/>
                    <a:pt x="33" y="154"/>
                    <a:pt x="43" y="154"/>
                  </a:cubicBezTo>
                  <a:cubicBezTo>
                    <a:pt x="43" y="131"/>
                    <a:pt x="43" y="88"/>
                    <a:pt x="43" y="8"/>
                  </a:cubicBezTo>
                  <a:moveTo>
                    <a:pt x="42" y="0"/>
                  </a:moveTo>
                  <a:cubicBezTo>
                    <a:pt x="42" y="0"/>
                    <a:pt x="42" y="0"/>
                    <a:pt x="42" y="0"/>
                  </a:cubicBezTo>
                  <a:cubicBezTo>
                    <a:pt x="42" y="2"/>
                    <a:pt x="43" y="5"/>
                    <a:pt x="43" y="8"/>
                  </a:cubicBezTo>
                  <a:cubicBezTo>
                    <a:pt x="43" y="8"/>
                    <a:pt x="43" y="8"/>
                    <a:pt x="43" y="7"/>
                  </a:cubicBezTo>
                  <a:cubicBezTo>
                    <a:pt x="43" y="5"/>
                    <a:pt x="43" y="2"/>
                    <a:pt x="4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5" name="Freeform 32">
              <a:extLst>
                <a:ext uri="{FF2B5EF4-FFF2-40B4-BE49-F238E27FC236}">
                  <a16:creationId xmlns:a16="http://schemas.microsoft.com/office/drawing/2014/main" id="{45303CB4-74D0-6749-A032-D4593A8D837C}"/>
                </a:ext>
              </a:extLst>
            </p:cNvPr>
            <p:cNvSpPr>
              <a:spLocks/>
            </p:cNvSpPr>
            <p:nvPr/>
          </p:nvSpPr>
          <p:spPr bwMode="auto">
            <a:xfrm>
              <a:off x="7627938" y="1974850"/>
              <a:ext cx="28575" cy="11113"/>
            </a:xfrm>
            <a:custGeom>
              <a:avLst/>
              <a:gdLst>
                <a:gd name="T0" fmla="*/ 70 w 71"/>
                <a:gd name="T1" fmla="*/ 0 h 30"/>
                <a:gd name="T2" fmla="*/ 0 w 71"/>
                <a:gd name="T3" fmla="*/ 26 h 30"/>
                <a:gd name="T4" fmla="*/ 12 w 71"/>
                <a:gd name="T5" fmla="*/ 30 h 30"/>
                <a:gd name="T6" fmla="*/ 14 w 71"/>
                <a:gd name="T7" fmla="*/ 30 h 30"/>
                <a:gd name="T8" fmla="*/ 28 w 71"/>
                <a:gd name="T9" fmla="*/ 30 h 30"/>
                <a:gd name="T10" fmla="*/ 51 w 71"/>
                <a:gd name="T11" fmla="*/ 30 h 30"/>
                <a:gd name="T12" fmla="*/ 71 w 71"/>
                <a:gd name="T13" fmla="*/ 8 h 30"/>
                <a:gd name="T14" fmla="*/ 71 w 71"/>
                <a:gd name="T15" fmla="*/ 8 h 30"/>
                <a:gd name="T16" fmla="*/ 71 w 71"/>
                <a:gd name="T17" fmla="*/ 8 h 30"/>
                <a:gd name="T18" fmla="*/ 70 w 71"/>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30">
                  <a:moveTo>
                    <a:pt x="70" y="0"/>
                  </a:moveTo>
                  <a:cubicBezTo>
                    <a:pt x="46" y="8"/>
                    <a:pt x="23" y="16"/>
                    <a:pt x="0" y="26"/>
                  </a:cubicBezTo>
                  <a:cubicBezTo>
                    <a:pt x="4" y="28"/>
                    <a:pt x="7" y="30"/>
                    <a:pt x="12" y="30"/>
                  </a:cubicBezTo>
                  <a:cubicBezTo>
                    <a:pt x="12" y="30"/>
                    <a:pt x="12" y="30"/>
                    <a:pt x="14" y="30"/>
                  </a:cubicBezTo>
                  <a:cubicBezTo>
                    <a:pt x="14" y="30"/>
                    <a:pt x="14" y="30"/>
                    <a:pt x="28" y="30"/>
                  </a:cubicBezTo>
                  <a:cubicBezTo>
                    <a:pt x="33" y="30"/>
                    <a:pt x="41" y="30"/>
                    <a:pt x="51" y="30"/>
                  </a:cubicBezTo>
                  <a:cubicBezTo>
                    <a:pt x="62" y="28"/>
                    <a:pt x="71" y="19"/>
                    <a:pt x="71" y="8"/>
                  </a:cubicBezTo>
                  <a:cubicBezTo>
                    <a:pt x="71" y="8"/>
                    <a:pt x="71" y="8"/>
                    <a:pt x="71" y="8"/>
                  </a:cubicBezTo>
                  <a:cubicBezTo>
                    <a:pt x="71" y="8"/>
                    <a:pt x="71" y="8"/>
                    <a:pt x="71" y="8"/>
                  </a:cubicBezTo>
                  <a:cubicBezTo>
                    <a:pt x="71" y="5"/>
                    <a:pt x="70" y="2"/>
                    <a:pt x="70"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6" name="Freeform 33">
              <a:extLst>
                <a:ext uri="{FF2B5EF4-FFF2-40B4-BE49-F238E27FC236}">
                  <a16:creationId xmlns:a16="http://schemas.microsoft.com/office/drawing/2014/main" id="{F72852F9-2ADF-644E-A4F9-A9DEE512D785}"/>
                </a:ext>
              </a:extLst>
            </p:cNvPr>
            <p:cNvSpPr>
              <a:spLocks/>
            </p:cNvSpPr>
            <p:nvPr/>
          </p:nvSpPr>
          <p:spPr bwMode="auto">
            <a:xfrm>
              <a:off x="7621588" y="2036763"/>
              <a:ext cx="52388" cy="19050"/>
            </a:xfrm>
            <a:custGeom>
              <a:avLst/>
              <a:gdLst>
                <a:gd name="T0" fmla="*/ 109 w 129"/>
                <a:gd name="T1" fmla="*/ 0 h 48"/>
                <a:gd name="T2" fmla="*/ 86 w 129"/>
                <a:gd name="T3" fmla="*/ 0 h 48"/>
                <a:gd name="T4" fmla="*/ 43 w 129"/>
                <a:gd name="T5" fmla="*/ 0 h 48"/>
                <a:gd name="T6" fmla="*/ 22 w 129"/>
                <a:gd name="T7" fmla="*/ 0 h 48"/>
                <a:gd name="T8" fmla="*/ 0 w 129"/>
                <a:gd name="T9" fmla="*/ 24 h 48"/>
                <a:gd name="T10" fmla="*/ 22 w 129"/>
                <a:gd name="T11" fmla="*/ 48 h 48"/>
                <a:gd name="T12" fmla="*/ 64 w 129"/>
                <a:gd name="T13" fmla="*/ 48 h 48"/>
                <a:gd name="T14" fmla="*/ 64 w 129"/>
                <a:gd name="T15" fmla="*/ 48 h 48"/>
                <a:gd name="T16" fmla="*/ 109 w 129"/>
                <a:gd name="T17" fmla="*/ 48 h 48"/>
                <a:gd name="T18" fmla="*/ 129 w 129"/>
                <a:gd name="T19" fmla="*/ 24 h 48"/>
                <a:gd name="T20" fmla="*/ 109 w 129"/>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8">
                  <a:moveTo>
                    <a:pt x="109" y="0"/>
                  </a:moveTo>
                  <a:cubicBezTo>
                    <a:pt x="109" y="0"/>
                    <a:pt x="109" y="0"/>
                    <a:pt x="86" y="0"/>
                  </a:cubicBezTo>
                  <a:cubicBezTo>
                    <a:pt x="76" y="0"/>
                    <a:pt x="63" y="0"/>
                    <a:pt x="43" y="0"/>
                  </a:cubicBezTo>
                  <a:cubicBezTo>
                    <a:pt x="37" y="0"/>
                    <a:pt x="30" y="0"/>
                    <a:pt x="22" y="0"/>
                  </a:cubicBezTo>
                  <a:cubicBezTo>
                    <a:pt x="9" y="0"/>
                    <a:pt x="0" y="12"/>
                    <a:pt x="0" y="24"/>
                  </a:cubicBezTo>
                  <a:cubicBezTo>
                    <a:pt x="0" y="36"/>
                    <a:pt x="9" y="48"/>
                    <a:pt x="22" y="48"/>
                  </a:cubicBezTo>
                  <a:cubicBezTo>
                    <a:pt x="22" y="48"/>
                    <a:pt x="22" y="48"/>
                    <a:pt x="64" y="48"/>
                  </a:cubicBezTo>
                  <a:cubicBezTo>
                    <a:pt x="64" y="48"/>
                    <a:pt x="64" y="48"/>
                    <a:pt x="64" y="48"/>
                  </a:cubicBezTo>
                  <a:cubicBezTo>
                    <a:pt x="75" y="48"/>
                    <a:pt x="90" y="48"/>
                    <a:pt x="109" y="48"/>
                  </a:cubicBezTo>
                  <a:cubicBezTo>
                    <a:pt x="120" y="48"/>
                    <a:pt x="129" y="36"/>
                    <a:pt x="129" y="24"/>
                  </a:cubicBezTo>
                  <a:cubicBezTo>
                    <a:pt x="129" y="12"/>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7" name="Freeform 34">
              <a:extLst>
                <a:ext uri="{FF2B5EF4-FFF2-40B4-BE49-F238E27FC236}">
                  <a16:creationId xmlns:a16="http://schemas.microsoft.com/office/drawing/2014/main" id="{80D5FDA8-3967-E449-8831-CC0E4ADC49F5}"/>
                </a:ext>
              </a:extLst>
            </p:cNvPr>
            <p:cNvSpPr>
              <a:spLocks/>
            </p:cNvSpPr>
            <p:nvPr/>
          </p:nvSpPr>
          <p:spPr bwMode="auto">
            <a:xfrm>
              <a:off x="7539038" y="1995488"/>
              <a:ext cx="66675" cy="60325"/>
            </a:xfrm>
            <a:custGeom>
              <a:avLst/>
              <a:gdLst>
                <a:gd name="T0" fmla="*/ 159 w 166"/>
                <a:gd name="T1" fmla="*/ 0 h 148"/>
                <a:gd name="T2" fmla="*/ 120 w 166"/>
                <a:gd name="T3" fmla="*/ 21 h 148"/>
                <a:gd name="T4" fmla="*/ 122 w 166"/>
                <a:gd name="T5" fmla="*/ 40 h 148"/>
                <a:gd name="T6" fmla="*/ 75 w 166"/>
                <a:gd name="T7" fmla="*/ 106 h 148"/>
                <a:gd name="T8" fmla="*/ 35 w 166"/>
                <a:gd name="T9" fmla="*/ 76 h 148"/>
                <a:gd name="T10" fmla="*/ 0 w 166"/>
                <a:gd name="T11" fmla="*/ 103 h 148"/>
                <a:gd name="T12" fmla="*/ 75 w 166"/>
                <a:gd name="T13" fmla="*/ 148 h 148"/>
                <a:gd name="T14" fmla="*/ 166 w 166"/>
                <a:gd name="T15" fmla="*/ 40 h 148"/>
                <a:gd name="T16" fmla="*/ 159 w 166"/>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48">
                  <a:moveTo>
                    <a:pt x="159" y="0"/>
                  </a:moveTo>
                  <a:cubicBezTo>
                    <a:pt x="146" y="7"/>
                    <a:pt x="133" y="14"/>
                    <a:pt x="120" y="21"/>
                  </a:cubicBezTo>
                  <a:cubicBezTo>
                    <a:pt x="122" y="27"/>
                    <a:pt x="122" y="34"/>
                    <a:pt x="122" y="40"/>
                  </a:cubicBezTo>
                  <a:cubicBezTo>
                    <a:pt x="122" y="76"/>
                    <a:pt x="101" y="106"/>
                    <a:pt x="75" y="106"/>
                  </a:cubicBezTo>
                  <a:cubicBezTo>
                    <a:pt x="59" y="106"/>
                    <a:pt x="44" y="94"/>
                    <a:pt x="35" y="76"/>
                  </a:cubicBezTo>
                  <a:cubicBezTo>
                    <a:pt x="23" y="85"/>
                    <a:pt x="11" y="94"/>
                    <a:pt x="0" y="103"/>
                  </a:cubicBezTo>
                  <a:cubicBezTo>
                    <a:pt x="16" y="130"/>
                    <a:pt x="43" y="148"/>
                    <a:pt x="75" y="148"/>
                  </a:cubicBezTo>
                  <a:cubicBezTo>
                    <a:pt x="126" y="148"/>
                    <a:pt x="166" y="100"/>
                    <a:pt x="166" y="40"/>
                  </a:cubicBezTo>
                  <a:cubicBezTo>
                    <a:pt x="166" y="26"/>
                    <a:pt x="164" y="12"/>
                    <a:pt x="15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8" name="Freeform 35">
              <a:extLst>
                <a:ext uri="{FF2B5EF4-FFF2-40B4-BE49-F238E27FC236}">
                  <a16:creationId xmlns:a16="http://schemas.microsoft.com/office/drawing/2014/main" id="{DDDA1BE4-BAD2-274A-B242-CE241BF68682}"/>
                </a:ext>
              </a:extLst>
            </p:cNvPr>
            <p:cNvSpPr>
              <a:spLocks noEditPoints="1"/>
            </p:cNvSpPr>
            <p:nvPr/>
          </p:nvSpPr>
          <p:spPr bwMode="auto">
            <a:xfrm>
              <a:off x="7483476" y="2227263"/>
              <a:ext cx="17463" cy="66675"/>
            </a:xfrm>
            <a:custGeom>
              <a:avLst/>
              <a:gdLst>
                <a:gd name="T0" fmla="*/ 43 w 43"/>
                <a:gd name="T1" fmla="*/ 21 h 167"/>
                <a:gd name="T2" fmla="*/ 24 w 43"/>
                <a:gd name="T3" fmla="*/ 43 h 167"/>
                <a:gd name="T4" fmla="*/ 0 w 43"/>
                <a:gd name="T5" fmla="*/ 43 h 167"/>
                <a:gd name="T6" fmla="*/ 0 w 43"/>
                <a:gd name="T7" fmla="*/ 167 h 167"/>
                <a:gd name="T8" fmla="*/ 43 w 43"/>
                <a:gd name="T9" fmla="*/ 167 h 167"/>
                <a:gd name="T10" fmla="*/ 43 w 43"/>
                <a:gd name="T11" fmla="*/ 21 h 167"/>
                <a:gd name="T12" fmla="*/ 40 w 43"/>
                <a:gd name="T13" fmla="*/ 9 h 167"/>
                <a:gd name="T14" fmla="*/ 43 w 43"/>
                <a:gd name="T15" fmla="*/ 21 h 167"/>
                <a:gd name="T16" fmla="*/ 43 w 43"/>
                <a:gd name="T17" fmla="*/ 20 h 167"/>
                <a:gd name="T18" fmla="*/ 40 w 43"/>
                <a:gd name="T19" fmla="*/ 9 h 167"/>
                <a:gd name="T20" fmla="*/ 21 w 43"/>
                <a:gd name="T21" fmla="*/ 0 h 167"/>
                <a:gd name="T22" fmla="*/ 18 w 43"/>
                <a:gd name="T23" fmla="*/ 0 h 167"/>
                <a:gd name="T24" fmla="*/ 21 w 43"/>
                <a:gd name="T25" fmla="*/ 0 h 167"/>
                <a:gd name="T26" fmla="*/ 21 w 43"/>
                <a:gd name="T2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67">
                  <a:moveTo>
                    <a:pt x="43" y="21"/>
                  </a:moveTo>
                  <a:cubicBezTo>
                    <a:pt x="43" y="32"/>
                    <a:pt x="34" y="41"/>
                    <a:pt x="24" y="43"/>
                  </a:cubicBezTo>
                  <a:cubicBezTo>
                    <a:pt x="13" y="43"/>
                    <a:pt x="6" y="43"/>
                    <a:pt x="0" y="43"/>
                  </a:cubicBezTo>
                  <a:cubicBezTo>
                    <a:pt x="0" y="62"/>
                    <a:pt x="0" y="99"/>
                    <a:pt x="0" y="167"/>
                  </a:cubicBezTo>
                  <a:cubicBezTo>
                    <a:pt x="20" y="167"/>
                    <a:pt x="34" y="167"/>
                    <a:pt x="43" y="167"/>
                  </a:cubicBezTo>
                  <a:cubicBezTo>
                    <a:pt x="43" y="146"/>
                    <a:pt x="43" y="104"/>
                    <a:pt x="43" y="21"/>
                  </a:cubicBezTo>
                  <a:moveTo>
                    <a:pt x="40" y="9"/>
                  </a:moveTo>
                  <a:cubicBezTo>
                    <a:pt x="42" y="13"/>
                    <a:pt x="43" y="17"/>
                    <a:pt x="43" y="21"/>
                  </a:cubicBezTo>
                  <a:cubicBezTo>
                    <a:pt x="43" y="21"/>
                    <a:pt x="43" y="20"/>
                    <a:pt x="43" y="20"/>
                  </a:cubicBezTo>
                  <a:cubicBezTo>
                    <a:pt x="43" y="16"/>
                    <a:pt x="42" y="12"/>
                    <a:pt x="40" y="9"/>
                  </a:cubicBezTo>
                  <a:moveTo>
                    <a:pt x="21" y="0"/>
                  </a:moveTo>
                  <a:cubicBezTo>
                    <a:pt x="20" y="0"/>
                    <a:pt x="19" y="0"/>
                    <a:pt x="18" y="0"/>
                  </a:cubicBezTo>
                  <a:cubicBezTo>
                    <a:pt x="21" y="0"/>
                    <a:pt x="21" y="0"/>
                    <a:pt x="21" y="0"/>
                  </a:cubicBezTo>
                  <a:cubicBezTo>
                    <a:pt x="21" y="0"/>
                    <a:pt x="21"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19" name="Freeform 36">
              <a:extLst>
                <a:ext uri="{FF2B5EF4-FFF2-40B4-BE49-F238E27FC236}">
                  <a16:creationId xmlns:a16="http://schemas.microsoft.com/office/drawing/2014/main" id="{EAB8F4E4-D21E-9A41-B352-5948632232E2}"/>
                </a:ext>
              </a:extLst>
            </p:cNvPr>
            <p:cNvSpPr>
              <a:spLocks/>
            </p:cNvSpPr>
            <p:nvPr/>
          </p:nvSpPr>
          <p:spPr bwMode="auto">
            <a:xfrm>
              <a:off x="7467601" y="2227263"/>
              <a:ext cx="33338" cy="17463"/>
            </a:xfrm>
            <a:custGeom>
              <a:avLst/>
              <a:gdLst>
                <a:gd name="T0" fmla="*/ 60 w 81"/>
                <a:gd name="T1" fmla="*/ 0 h 43"/>
                <a:gd name="T2" fmla="*/ 59 w 81"/>
                <a:gd name="T3" fmla="*/ 0 h 43"/>
                <a:gd name="T4" fmla="*/ 56 w 81"/>
                <a:gd name="T5" fmla="*/ 0 h 43"/>
                <a:gd name="T6" fmla="*/ 22 w 81"/>
                <a:gd name="T7" fmla="*/ 2 h 43"/>
                <a:gd name="T8" fmla="*/ 2 w 81"/>
                <a:gd name="T9" fmla="*/ 23 h 43"/>
                <a:gd name="T10" fmla="*/ 22 w 81"/>
                <a:gd name="T11" fmla="*/ 43 h 43"/>
                <a:gd name="T12" fmla="*/ 24 w 81"/>
                <a:gd name="T13" fmla="*/ 43 h 43"/>
                <a:gd name="T14" fmla="*/ 38 w 81"/>
                <a:gd name="T15" fmla="*/ 43 h 43"/>
                <a:gd name="T16" fmla="*/ 62 w 81"/>
                <a:gd name="T17" fmla="*/ 43 h 43"/>
                <a:gd name="T18" fmla="*/ 81 w 81"/>
                <a:gd name="T19" fmla="*/ 21 h 43"/>
                <a:gd name="T20" fmla="*/ 81 w 81"/>
                <a:gd name="T21" fmla="*/ 21 h 43"/>
                <a:gd name="T22" fmla="*/ 81 w 81"/>
                <a:gd name="T23" fmla="*/ 21 h 43"/>
                <a:gd name="T24" fmla="*/ 78 w 81"/>
                <a:gd name="T25" fmla="*/ 9 h 43"/>
                <a:gd name="T26" fmla="*/ 60 w 81"/>
                <a:gd name="T2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43">
                  <a:moveTo>
                    <a:pt x="60" y="0"/>
                  </a:moveTo>
                  <a:cubicBezTo>
                    <a:pt x="60" y="0"/>
                    <a:pt x="60" y="0"/>
                    <a:pt x="59" y="0"/>
                  </a:cubicBezTo>
                  <a:cubicBezTo>
                    <a:pt x="59" y="0"/>
                    <a:pt x="59" y="0"/>
                    <a:pt x="56" y="0"/>
                  </a:cubicBezTo>
                  <a:cubicBezTo>
                    <a:pt x="52" y="0"/>
                    <a:pt x="43" y="0"/>
                    <a:pt x="22" y="2"/>
                  </a:cubicBezTo>
                  <a:cubicBezTo>
                    <a:pt x="11" y="2"/>
                    <a:pt x="0" y="10"/>
                    <a:pt x="2" y="23"/>
                  </a:cubicBezTo>
                  <a:cubicBezTo>
                    <a:pt x="2" y="34"/>
                    <a:pt x="11" y="43"/>
                    <a:pt x="22" y="43"/>
                  </a:cubicBezTo>
                  <a:cubicBezTo>
                    <a:pt x="22" y="43"/>
                    <a:pt x="22" y="43"/>
                    <a:pt x="24" y="43"/>
                  </a:cubicBezTo>
                  <a:cubicBezTo>
                    <a:pt x="24" y="43"/>
                    <a:pt x="24" y="43"/>
                    <a:pt x="38" y="43"/>
                  </a:cubicBezTo>
                  <a:cubicBezTo>
                    <a:pt x="44" y="43"/>
                    <a:pt x="51" y="43"/>
                    <a:pt x="62" y="43"/>
                  </a:cubicBezTo>
                  <a:cubicBezTo>
                    <a:pt x="72" y="41"/>
                    <a:pt x="81" y="32"/>
                    <a:pt x="81" y="21"/>
                  </a:cubicBezTo>
                  <a:cubicBezTo>
                    <a:pt x="81" y="21"/>
                    <a:pt x="81" y="21"/>
                    <a:pt x="81" y="21"/>
                  </a:cubicBezTo>
                  <a:cubicBezTo>
                    <a:pt x="81" y="21"/>
                    <a:pt x="81" y="21"/>
                    <a:pt x="81" y="21"/>
                  </a:cubicBezTo>
                  <a:cubicBezTo>
                    <a:pt x="81" y="17"/>
                    <a:pt x="80" y="13"/>
                    <a:pt x="78" y="9"/>
                  </a:cubicBezTo>
                  <a:cubicBezTo>
                    <a:pt x="74" y="3"/>
                    <a:pt x="68" y="0"/>
                    <a:pt x="60"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20" name="Freeform 37">
              <a:extLst>
                <a:ext uri="{FF2B5EF4-FFF2-40B4-BE49-F238E27FC236}">
                  <a16:creationId xmlns:a16="http://schemas.microsoft.com/office/drawing/2014/main" id="{748FCA06-C14D-5949-A6EF-4548C787687F}"/>
                </a:ext>
              </a:extLst>
            </p:cNvPr>
            <p:cNvSpPr>
              <a:spLocks/>
            </p:cNvSpPr>
            <p:nvPr/>
          </p:nvSpPr>
          <p:spPr bwMode="auto">
            <a:xfrm>
              <a:off x="7466013" y="2293938"/>
              <a:ext cx="52388" cy="17463"/>
            </a:xfrm>
            <a:custGeom>
              <a:avLst/>
              <a:gdLst>
                <a:gd name="T0" fmla="*/ 109 w 129"/>
                <a:gd name="T1" fmla="*/ 0 h 43"/>
                <a:gd name="T2" fmla="*/ 86 w 129"/>
                <a:gd name="T3" fmla="*/ 0 h 43"/>
                <a:gd name="T4" fmla="*/ 43 w 129"/>
                <a:gd name="T5" fmla="*/ 0 h 43"/>
                <a:gd name="T6" fmla="*/ 23 w 129"/>
                <a:gd name="T7" fmla="*/ 0 h 43"/>
                <a:gd name="T8" fmla="*/ 0 w 129"/>
                <a:gd name="T9" fmla="*/ 21 h 43"/>
                <a:gd name="T10" fmla="*/ 23 w 129"/>
                <a:gd name="T11" fmla="*/ 43 h 43"/>
                <a:gd name="T12" fmla="*/ 64 w 129"/>
                <a:gd name="T13" fmla="*/ 43 h 43"/>
                <a:gd name="T14" fmla="*/ 64 w 129"/>
                <a:gd name="T15" fmla="*/ 43 h 43"/>
                <a:gd name="T16" fmla="*/ 109 w 129"/>
                <a:gd name="T17" fmla="*/ 43 h 43"/>
                <a:gd name="T18" fmla="*/ 129 w 129"/>
                <a:gd name="T19" fmla="*/ 21 h 43"/>
                <a:gd name="T20" fmla="*/ 109 w 129"/>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3">
                  <a:moveTo>
                    <a:pt x="109" y="0"/>
                  </a:moveTo>
                  <a:cubicBezTo>
                    <a:pt x="109" y="0"/>
                    <a:pt x="109" y="0"/>
                    <a:pt x="86" y="0"/>
                  </a:cubicBezTo>
                  <a:cubicBezTo>
                    <a:pt x="77" y="0"/>
                    <a:pt x="63" y="0"/>
                    <a:pt x="43" y="0"/>
                  </a:cubicBezTo>
                  <a:cubicBezTo>
                    <a:pt x="37" y="0"/>
                    <a:pt x="30" y="0"/>
                    <a:pt x="23" y="0"/>
                  </a:cubicBezTo>
                  <a:cubicBezTo>
                    <a:pt x="9" y="0"/>
                    <a:pt x="0" y="10"/>
                    <a:pt x="0" y="21"/>
                  </a:cubicBezTo>
                  <a:cubicBezTo>
                    <a:pt x="0" y="32"/>
                    <a:pt x="9" y="43"/>
                    <a:pt x="23" y="43"/>
                  </a:cubicBezTo>
                  <a:cubicBezTo>
                    <a:pt x="23" y="43"/>
                    <a:pt x="23" y="43"/>
                    <a:pt x="64" y="43"/>
                  </a:cubicBezTo>
                  <a:cubicBezTo>
                    <a:pt x="64" y="43"/>
                    <a:pt x="64" y="43"/>
                    <a:pt x="64" y="43"/>
                  </a:cubicBezTo>
                  <a:cubicBezTo>
                    <a:pt x="75" y="43"/>
                    <a:pt x="90" y="43"/>
                    <a:pt x="109" y="43"/>
                  </a:cubicBezTo>
                  <a:cubicBezTo>
                    <a:pt x="120" y="43"/>
                    <a:pt x="129" y="32"/>
                    <a:pt x="129" y="21"/>
                  </a:cubicBezTo>
                  <a:cubicBezTo>
                    <a:pt x="129" y="10"/>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21" name="Freeform 38">
              <a:extLst>
                <a:ext uri="{FF2B5EF4-FFF2-40B4-BE49-F238E27FC236}">
                  <a16:creationId xmlns:a16="http://schemas.microsoft.com/office/drawing/2014/main" id="{BEEBA790-1402-FB4B-A402-CC32C42EB0E8}"/>
                </a:ext>
              </a:extLst>
            </p:cNvPr>
            <p:cNvSpPr>
              <a:spLocks noEditPoints="1"/>
            </p:cNvSpPr>
            <p:nvPr/>
          </p:nvSpPr>
          <p:spPr bwMode="auto">
            <a:xfrm>
              <a:off x="7639051" y="2227263"/>
              <a:ext cx="17463" cy="66675"/>
            </a:xfrm>
            <a:custGeom>
              <a:avLst/>
              <a:gdLst>
                <a:gd name="T0" fmla="*/ 43 w 43"/>
                <a:gd name="T1" fmla="*/ 21 h 167"/>
                <a:gd name="T2" fmla="*/ 23 w 43"/>
                <a:gd name="T3" fmla="*/ 43 h 167"/>
                <a:gd name="T4" fmla="*/ 0 w 43"/>
                <a:gd name="T5" fmla="*/ 43 h 167"/>
                <a:gd name="T6" fmla="*/ 0 w 43"/>
                <a:gd name="T7" fmla="*/ 167 h 167"/>
                <a:gd name="T8" fmla="*/ 43 w 43"/>
                <a:gd name="T9" fmla="*/ 167 h 167"/>
                <a:gd name="T10" fmla="*/ 43 w 43"/>
                <a:gd name="T11" fmla="*/ 21 h 167"/>
                <a:gd name="T12" fmla="*/ 40 w 43"/>
                <a:gd name="T13" fmla="*/ 9 h 167"/>
                <a:gd name="T14" fmla="*/ 43 w 43"/>
                <a:gd name="T15" fmla="*/ 21 h 167"/>
                <a:gd name="T16" fmla="*/ 43 w 43"/>
                <a:gd name="T17" fmla="*/ 20 h 167"/>
                <a:gd name="T18" fmla="*/ 40 w 43"/>
                <a:gd name="T19" fmla="*/ 9 h 167"/>
                <a:gd name="T20" fmla="*/ 21 w 43"/>
                <a:gd name="T21" fmla="*/ 0 h 167"/>
                <a:gd name="T22" fmla="*/ 18 w 43"/>
                <a:gd name="T23" fmla="*/ 0 h 167"/>
                <a:gd name="T24" fmla="*/ 21 w 43"/>
                <a:gd name="T25" fmla="*/ 0 h 167"/>
                <a:gd name="T26" fmla="*/ 21 w 43"/>
                <a:gd name="T2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67">
                  <a:moveTo>
                    <a:pt x="43" y="21"/>
                  </a:moveTo>
                  <a:cubicBezTo>
                    <a:pt x="43" y="32"/>
                    <a:pt x="34" y="41"/>
                    <a:pt x="23" y="43"/>
                  </a:cubicBezTo>
                  <a:cubicBezTo>
                    <a:pt x="13" y="43"/>
                    <a:pt x="5" y="43"/>
                    <a:pt x="0" y="43"/>
                  </a:cubicBezTo>
                  <a:cubicBezTo>
                    <a:pt x="0" y="62"/>
                    <a:pt x="0" y="99"/>
                    <a:pt x="0" y="167"/>
                  </a:cubicBezTo>
                  <a:cubicBezTo>
                    <a:pt x="20" y="167"/>
                    <a:pt x="33" y="167"/>
                    <a:pt x="43" y="167"/>
                  </a:cubicBezTo>
                  <a:cubicBezTo>
                    <a:pt x="43" y="146"/>
                    <a:pt x="43" y="104"/>
                    <a:pt x="43" y="21"/>
                  </a:cubicBezTo>
                  <a:moveTo>
                    <a:pt x="40" y="9"/>
                  </a:moveTo>
                  <a:cubicBezTo>
                    <a:pt x="42" y="12"/>
                    <a:pt x="43" y="16"/>
                    <a:pt x="43" y="21"/>
                  </a:cubicBezTo>
                  <a:cubicBezTo>
                    <a:pt x="43" y="21"/>
                    <a:pt x="43" y="20"/>
                    <a:pt x="43" y="20"/>
                  </a:cubicBezTo>
                  <a:cubicBezTo>
                    <a:pt x="43" y="16"/>
                    <a:pt x="42" y="12"/>
                    <a:pt x="40" y="9"/>
                  </a:cubicBezTo>
                  <a:moveTo>
                    <a:pt x="21" y="0"/>
                  </a:moveTo>
                  <a:cubicBezTo>
                    <a:pt x="20" y="0"/>
                    <a:pt x="19" y="0"/>
                    <a:pt x="18" y="0"/>
                  </a:cubicBezTo>
                  <a:cubicBezTo>
                    <a:pt x="20" y="0"/>
                    <a:pt x="21" y="0"/>
                    <a:pt x="21" y="0"/>
                  </a:cubicBezTo>
                  <a:cubicBezTo>
                    <a:pt x="21" y="0"/>
                    <a:pt x="21"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22" name="Freeform 39">
              <a:extLst>
                <a:ext uri="{FF2B5EF4-FFF2-40B4-BE49-F238E27FC236}">
                  <a16:creationId xmlns:a16="http://schemas.microsoft.com/office/drawing/2014/main" id="{084D2452-F40B-4F42-9918-247ADC0DCD2C}"/>
                </a:ext>
              </a:extLst>
            </p:cNvPr>
            <p:cNvSpPr>
              <a:spLocks/>
            </p:cNvSpPr>
            <p:nvPr/>
          </p:nvSpPr>
          <p:spPr bwMode="auto">
            <a:xfrm>
              <a:off x="7623176" y="2227263"/>
              <a:ext cx="33338" cy="17463"/>
            </a:xfrm>
            <a:custGeom>
              <a:avLst/>
              <a:gdLst>
                <a:gd name="T0" fmla="*/ 59 w 81"/>
                <a:gd name="T1" fmla="*/ 0 h 43"/>
                <a:gd name="T2" fmla="*/ 59 w 81"/>
                <a:gd name="T3" fmla="*/ 0 h 43"/>
                <a:gd name="T4" fmla="*/ 56 w 81"/>
                <a:gd name="T5" fmla="*/ 0 h 43"/>
                <a:gd name="T6" fmla="*/ 22 w 81"/>
                <a:gd name="T7" fmla="*/ 2 h 43"/>
                <a:gd name="T8" fmla="*/ 2 w 81"/>
                <a:gd name="T9" fmla="*/ 23 h 43"/>
                <a:gd name="T10" fmla="*/ 22 w 81"/>
                <a:gd name="T11" fmla="*/ 43 h 43"/>
                <a:gd name="T12" fmla="*/ 24 w 81"/>
                <a:gd name="T13" fmla="*/ 43 h 43"/>
                <a:gd name="T14" fmla="*/ 38 w 81"/>
                <a:gd name="T15" fmla="*/ 43 h 43"/>
                <a:gd name="T16" fmla="*/ 61 w 81"/>
                <a:gd name="T17" fmla="*/ 43 h 43"/>
                <a:gd name="T18" fmla="*/ 81 w 81"/>
                <a:gd name="T19" fmla="*/ 21 h 43"/>
                <a:gd name="T20" fmla="*/ 81 w 81"/>
                <a:gd name="T21" fmla="*/ 21 h 43"/>
                <a:gd name="T22" fmla="*/ 81 w 81"/>
                <a:gd name="T23" fmla="*/ 21 h 43"/>
                <a:gd name="T24" fmla="*/ 78 w 81"/>
                <a:gd name="T25" fmla="*/ 9 h 43"/>
                <a:gd name="T26" fmla="*/ 59 w 81"/>
                <a:gd name="T2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43">
                  <a:moveTo>
                    <a:pt x="59" y="0"/>
                  </a:moveTo>
                  <a:cubicBezTo>
                    <a:pt x="59" y="0"/>
                    <a:pt x="59" y="0"/>
                    <a:pt x="59" y="0"/>
                  </a:cubicBezTo>
                  <a:cubicBezTo>
                    <a:pt x="59" y="0"/>
                    <a:pt x="58" y="0"/>
                    <a:pt x="56" y="0"/>
                  </a:cubicBezTo>
                  <a:cubicBezTo>
                    <a:pt x="52" y="0"/>
                    <a:pt x="42" y="0"/>
                    <a:pt x="22" y="2"/>
                  </a:cubicBezTo>
                  <a:cubicBezTo>
                    <a:pt x="11" y="2"/>
                    <a:pt x="0" y="10"/>
                    <a:pt x="2" y="23"/>
                  </a:cubicBezTo>
                  <a:cubicBezTo>
                    <a:pt x="2" y="34"/>
                    <a:pt x="11" y="43"/>
                    <a:pt x="22" y="43"/>
                  </a:cubicBezTo>
                  <a:cubicBezTo>
                    <a:pt x="22" y="43"/>
                    <a:pt x="22" y="43"/>
                    <a:pt x="24" y="43"/>
                  </a:cubicBezTo>
                  <a:cubicBezTo>
                    <a:pt x="24" y="43"/>
                    <a:pt x="24" y="43"/>
                    <a:pt x="38" y="43"/>
                  </a:cubicBezTo>
                  <a:cubicBezTo>
                    <a:pt x="43" y="43"/>
                    <a:pt x="51" y="43"/>
                    <a:pt x="61" y="43"/>
                  </a:cubicBezTo>
                  <a:cubicBezTo>
                    <a:pt x="72" y="41"/>
                    <a:pt x="81" y="32"/>
                    <a:pt x="81" y="21"/>
                  </a:cubicBezTo>
                  <a:cubicBezTo>
                    <a:pt x="81" y="21"/>
                    <a:pt x="81" y="21"/>
                    <a:pt x="81" y="21"/>
                  </a:cubicBezTo>
                  <a:cubicBezTo>
                    <a:pt x="81" y="21"/>
                    <a:pt x="81" y="21"/>
                    <a:pt x="81" y="21"/>
                  </a:cubicBezTo>
                  <a:cubicBezTo>
                    <a:pt x="81" y="16"/>
                    <a:pt x="80" y="12"/>
                    <a:pt x="78" y="9"/>
                  </a:cubicBezTo>
                  <a:cubicBezTo>
                    <a:pt x="74" y="3"/>
                    <a:pt x="67" y="0"/>
                    <a:pt x="5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23" name="Freeform 40">
              <a:extLst>
                <a:ext uri="{FF2B5EF4-FFF2-40B4-BE49-F238E27FC236}">
                  <a16:creationId xmlns:a16="http://schemas.microsoft.com/office/drawing/2014/main" id="{345CB80D-34C1-4745-9ECF-41876921AE74}"/>
                </a:ext>
              </a:extLst>
            </p:cNvPr>
            <p:cNvSpPr>
              <a:spLocks/>
            </p:cNvSpPr>
            <p:nvPr/>
          </p:nvSpPr>
          <p:spPr bwMode="auto">
            <a:xfrm>
              <a:off x="7621588" y="2293938"/>
              <a:ext cx="52388" cy="17463"/>
            </a:xfrm>
            <a:custGeom>
              <a:avLst/>
              <a:gdLst>
                <a:gd name="T0" fmla="*/ 109 w 129"/>
                <a:gd name="T1" fmla="*/ 0 h 43"/>
                <a:gd name="T2" fmla="*/ 86 w 129"/>
                <a:gd name="T3" fmla="*/ 0 h 43"/>
                <a:gd name="T4" fmla="*/ 43 w 129"/>
                <a:gd name="T5" fmla="*/ 0 h 43"/>
                <a:gd name="T6" fmla="*/ 22 w 129"/>
                <a:gd name="T7" fmla="*/ 0 h 43"/>
                <a:gd name="T8" fmla="*/ 0 w 129"/>
                <a:gd name="T9" fmla="*/ 21 h 43"/>
                <a:gd name="T10" fmla="*/ 22 w 129"/>
                <a:gd name="T11" fmla="*/ 43 h 43"/>
                <a:gd name="T12" fmla="*/ 64 w 129"/>
                <a:gd name="T13" fmla="*/ 43 h 43"/>
                <a:gd name="T14" fmla="*/ 64 w 129"/>
                <a:gd name="T15" fmla="*/ 43 h 43"/>
                <a:gd name="T16" fmla="*/ 109 w 129"/>
                <a:gd name="T17" fmla="*/ 43 h 43"/>
                <a:gd name="T18" fmla="*/ 129 w 129"/>
                <a:gd name="T19" fmla="*/ 21 h 43"/>
                <a:gd name="T20" fmla="*/ 109 w 129"/>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3">
                  <a:moveTo>
                    <a:pt x="109" y="0"/>
                  </a:moveTo>
                  <a:cubicBezTo>
                    <a:pt x="109" y="0"/>
                    <a:pt x="109" y="0"/>
                    <a:pt x="86" y="0"/>
                  </a:cubicBezTo>
                  <a:cubicBezTo>
                    <a:pt x="76" y="0"/>
                    <a:pt x="63" y="0"/>
                    <a:pt x="43" y="0"/>
                  </a:cubicBezTo>
                  <a:cubicBezTo>
                    <a:pt x="37" y="0"/>
                    <a:pt x="30" y="0"/>
                    <a:pt x="22" y="0"/>
                  </a:cubicBezTo>
                  <a:cubicBezTo>
                    <a:pt x="9" y="0"/>
                    <a:pt x="0" y="10"/>
                    <a:pt x="0" y="21"/>
                  </a:cubicBezTo>
                  <a:cubicBezTo>
                    <a:pt x="0" y="32"/>
                    <a:pt x="9" y="43"/>
                    <a:pt x="22" y="43"/>
                  </a:cubicBezTo>
                  <a:cubicBezTo>
                    <a:pt x="22" y="43"/>
                    <a:pt x="22" y="43"/>
                    <a:pt x="64" y="43"/>
                  </a:cubicBezTo>
                  <a:cubicBezTo>
                    <a:pt x="64" y="43"/>
                    <a:pt x="64" y="43"/>
                    <a:pt x="64" y="43"/>
                  </a:cubicBezTo>
                  <a:cubicBezTo>
                    <a:pt x="75" y="43"/>
                    <a:pt x="90" y="43"/>
                    <a:pt x="109" y="43"/>
                  </a:cubicBezTo>
                  <a:cubicBezTo>
                    <a:pt x="120" y="43"/>
                    <a:pt x="129" y="32"/>
                    <a:pt x="129" y="21"/>
                  </a:cubicBezTo>
                  <a:cubicBezTo>
                    <a:pt x="129" y="10"/>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24" name="Freeform 41">
              <a:extLst>
                <a:ext uri="{FF2B5EF4-FFF2-40B4-BE49-F238E27FC236}">
                  <a16:creationId xmlns:a16="http://schemas.microsoft.com/office/drawing/2014/main" id="{3BCD1D39-AA3A-D145-8941-511C68E14E85}"/>
                </a:ext>
              </a:extLst>
            </p:cNvPr>
            <p:cNvSpPr>
              <a:spLocks/>
            </p:cNvSpPr>
            <p:nvPr/>
          </p:nvSpPr>
          <p:spPr bwMode="auto">
            <a:xfrm>
              <a:off x="7399338" y="2227263"/>
              <a:ext cx="44450" cy="84138"/>
            </a:xfrm>
            <a:custGeom>
              <a:avLst/>
              <a:gdLst>
                <a:gd name="T0" fmla="*/ 34 w 111"/>
                <a:gd name="T1" fmla="*/ 0 h 209"/>
                <a:gd name="T2" fmla="*/ 24 w 111"/>
                <a:gd name="T3" fmla="*/ 40 h 209"/>
                <a:gd name="T4" fmla="*/ 69 w 111"/>
                <a:gd name="T5" fmla="*/ 104 h 209"/>
                <a:gd name="T6" fmla="*/ 22 w 111"/>
                <a:gd name="T7" fmla="*/ 167 h 209"/>
                <a:gd name="T8" fmla="*/ 3 w 111"/>
                <a:gd name="T9" fmla="*/ 161 h 209"/>
                <a:gd name="T10" fmla="*/ 0 w 111"/>
                <a:gd name="T11" fmla="*/ 205 h 209"/>
                <a:gd name="T12" fmla="*/ 22 w 111"/>
                <a:gd name="T13" fmla="*/ 209 h 209"/>
                <a:gd name="T14" fmla="*/ 111 w 111"/>
                <a:gd name="T15" fmla="*/ 104 h 209"/>
                <a:gd name="T16" fmla="*/ 34 w 111"/>
                <a:gd name="T1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09">
                  <a:moveTo>
                    <a:pt x="34" y="0"/>
                  </a:moveTo>
                  <a:cubicBezTo>
                    <a:pt x="31" y="13"/>
                    <a:pt x="27" y="27"/>
                    <a:pt x="24" y="40"/>
                  </a:cubicBezTo>
                  <a:cubicBezTo>
                    <a:pt x="49" y="42"/>
                    <a:pt x="69" y="70"/>
                    <a:pt x="69" y="104"/>
                  </a:cubicBezTo>
                  <a:cubicBezTo>
                    <a:pt x="69" y="138"/>
                    <a:pt x="48" y="167"/>
                    <a:pt x="22" y="167"/>
                  </a:cubicBezTo>
                  <a:cubicBezTo>
                    <a:pt x="16" y="167"/>
                    <a:pt x="9" y="165"/>
                    <a:pt x="3" y="161"/>
                  </a:cubicBezTo>
                  <a:cubicBezTo>
                    <a:pt x="2" y="176"/>
                    <a:pt x="1" y="191"/>
                    <a:pt x="0" y="205"/>
                  </a:cubicBezTo>
                  <a:cubicBezTo>
                    <a:pt x="7" y="208"/>
                    <a:pt x="15" y="209"/>
                    <a:pt x="22" y="209"/>
                  </a:cubicBezTo>
                  <a:cubicBezTo>
                    <a:pt x="72" y="209"/>
                    <a:pt x="111" y="162"/>
                    <a:pt x="111" y="104"/>
                  </a:cubicBezTo>
                  <a:cubicBezTo>
                    <a:pt x="111" y="51"/>
                    <a:pt x="79" y="6"/>
                    <a:pt x="3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25" name="Freeform 42">
              <a:extLst>
                <a:ext uri="{FF2B5EF4-FFF2-40B4-BE49-F238E27FC236}">
                  <a16:creationId xmlns:a16="http://schemas.microsoft.com/office/drawing/2014/main" id="{B60F7DDF-839A-6840-ADBB-ACA81CB56DD5}"/>
                </a:ext>
              </a:extLst>
            </p:cNvPr>
            <p:cNvSpPr>
              <a:spLocks noEditPoints="1"/>
            </p:cNvSpPr>
            <p:nvPr/>
          </p:nvSpPr>
          <p:spPr bwMode="auto">
            <a:xfrm>
              <a:off x="7532688" y="2227263"/>
              <a:ext cx="73025" cy="84138"/>
            </a:xfrm>
            <a:custGeom>
              <a:avLst/>
              <a:gdLst>
                <a:gd name="T0" fmla="*/ 92 w 183"/>
                <a:gd name="T1" fmla="*/ 168 h 210"/>
                <a:gd name="T2" fmla="*/ 44 w 183"/>
                <a:gd name="T3" fmla="*/ 105 h 210"/>
                <a:gd name="T4" fmla="*/ 92 w 183"/>
                <a:gd name="T5" fmla="*/ 41 h 210"/>
                <a:gd name="T6" fmla="*/ 139 w 183"/>
                <a:gd name="T7" fmla="*/ 105 h 210"/>
                <a:gd name="T8" fmla="*/ 92 w 183"/>
                <a:gd name="T9" fmla="*/ 168 h 210"/>
                <a:gd name="T10" fmla="*/ 92 w 183"/>
                <a:gd name="T11" fmla="*/ 0 h 210"/>
                <a:gd name="T12" fmla="*/ 0 w 183"/>
                <a:gd name="T13" fmla="*/ 105 h 210"/>
                <a:gd name="T14" fmla="*/ 92 w 183"/>
                <a:gd name="T15" fmla="*/ 210 h 210"/>
                <a:gd name="T16" fmla="*/ 183 w 183"/>
                <a:gd name="T17" fmla="*/ 105 h 210"/>
                <a:gd name="T18" fmla="*/ 92 w 183"/>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210">
                  <a:moveTo>
                    <a:pt x="92" y="168"/>
                  </a:moveTo>
                  <a:cubicBezTo>
                    <a:pt x="67" y="168"/>
                    <a:pt x="44" y="139"/>
                    <a:pt x="44" y="105"/>
                  </a:cubicBezTo>
                  <a:cubicBezTo>
                    <a:pt x="44" y="70"/>
                    <a:pt x="67" y="41"/>
                    <a:pt x="92" y="41"/>
                  </a:cubicBezTo>
                  <a:cubicBezTo>
                    <a:pt x="118" y="41"/>
                    <a:pt x="139" y="70"/>
                    <a:pt x="139" y="105"/>
                  </a:cubicBezTo>
                  <a:cubicBezTo>
                    <a:pt x="139" y="139"/>
                    <a:pt x="118" y="168"/>
                    <a:pt x="92" y="168"/>
                  </a:cubicBezTo>
                  <a:moveTo>
                    <a:pt x="92" y="0"/>
                  </a:moveTo>
                  <a:cubicBezTo>
                    <a:pt x="40" y="0"/>
                    <a:pt x="0" y="47"/>
                    <a:pt x="0" y="105"/>
                  </a:cubicBezTo>
                  <a:cubicBezTo>
                    <a:pt x="0" y="163"/>
                    <a:pt x="40" y="210"/>
                    <a:pt x="92" y="210"/>
                  </a:cubicBezTo>
                  <a:cubicBezTo>
                    <a:pt x="143" y="210"/>
                    <a:pt x="183" y="163"/>
                    <a:pt x="183" y="105"/>
                  </a:cubicBezTo>
                  <a:cubicBezTo>
                    <a:pt x="183" y="47"/>
                    <a:pt x="143" y="0"/>
                    <a:pt x="9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27" name="Freeform 43">
              <a:extLst>
                <a:ext uri="{FF2B5EF4-FFF2-40B4-BE49-F238E27FC236}">
                  <a16:creationId xmlns:a16="http://schemas.microsoft.com/office/drawing/2014/main" id="{431C2CCE-14C2-BE43-97F6-3A74EC361BF1}"/>
                </a:ext>
              </a:extLst>
            </p:cNvPr>
            <p:cNvSpPr>
              <a:spLocks/>
            </p:cNvSpPr>
            <p:nvPr/>
          </p:nvSpPr>
          <p:spPr bwMode="auto">
            <a:xfrm>
              <a:off x="8110538" y="2171700"/>
              <a:ext cx="7938" cy="12700"/>
            </a:xfrm>
            <a:custGeom>
              <a:avLst/>
              <a:gdLst>
                <a:gd name="T0" fmla="*/ 4 w 18"/>
                <a:gd name="T1" fmla="*/ 0 h 33"/>
                <a:gd name="T2" fmla="*/ 0 w 18"/>
                <a:gd name="T3" fmla="*/ 12 h 33"/>
                <a:gd name="T4" fmla="*/ 18 w 18"/>
                <a:gd name="T5" fmla="*/ 33 h 33"/>
                <a:gd name="T6" fmla="*/ 4 w 18"/>
                <a:gd name="T7" fmla="*/ 0 h 33"/>
              </a:gdLst>
              <a:ahLst/>
              <a:cxnLst>
                <a:cxn ang="0">
                  <a:pos x="T0" y="T1"/>
                </a:cxn>
                <a:cxn ang="0">
                  <a:pos x="T2" y="T3"/>
                </a:cxn>
                <a:cxn ang="0">
                  <a:pos x="T4" y="T5"/>
                </a:cxn>
                <a:cxn ang="0">
                  <a:pos x="T6" y="T7"/>
                </a:cxn>
              </a:cxnLst>
              <a:rect l="0" t="0" r="r" b="b"/>
              <a:pathLst>
                <a:path w="18" h="33">
                  <a:moveTo>
                    <a:pt x="4" y="0"/>
                  </a:moveTo>
                  <a:cubicBezTo>
                    <a:pt x="1" y="4"/>
                    <a:pt x="0" y="8"/>
                    <a:pt x="0" y="12"/>
                  </a:cubicBezTo>
                  <a:cubicBezTo>
                    <a:pt x="0" y="21"/>
                    <a:pt x="9" y="31"/>
                    <a:pt x="18" y="33"/>
                  </a:cubicBezTo>
                  <a:cubicBezTo>
                    <a:pt x="14" y="22"/>
                    <a:pt x="9" y="11"/>
                    <a:pt x="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28" name="Freeform 44">
              <a:extLst>
                <a:ext uri="{FF2B5EF4-FFF2-40B4-BE49-F238E27FC236}">
                  <a16:creationId xmlns:a16="http://schemas.microsoft.com/office/drawing/2014/main" id="{D92322B9-B532-BD4C-BC44-5DB4E03472C9}"/>
                </a:ext>
              </a:extLst>
            </p:cNvPr>
            <p:cNvSpPr>
              <a:spLocks noEditPoints="1"/>
            </p:cNvSpPr>
            <p:nvPr/>
          </p:nvSpPr>
          <p:spPr bwMode="auto">
            <a:xfrm>
              <a:off x="7902576" y="2100263"/>
              <a:ext cx="17463" cy="66675"/>
            </a:xfrm>
            <a:custGeom>
              <a:avLst/>
              <a:gdLst>
                <a:gd name="T0" fmla="*/ 43 w 43"/>
                <a:gd name="T1" fmla="*/ 20 h 167"/>
                <a:gd name="T2" fmla="*/ 22 w 43"/>
                <a:gd name="T3" fmla="*/ 38 h 167"/>
                <a:gd name="T4" fmla="*/ 0 w 43"/>
                <a:gd name="T5" fmla="*/ 38 h 167"/>
                <a:gd name="T6" fmla="*/ 0 w 43"/>
                <a:gd name="T7" fmla="*/ 167 h 167"/>
                <a:gd name="T8" fmla="*/ 43 w 43"/>
                <a:gd name="T9" fmla="*/ 167 h 167"/>
                <a:gd name="T10" fmla="*/ 43 w 43"/>
                <a:gd name="T11" fmla="*/ 20 h 167"/>
                <a:gd name="T12" fmla="*/ 43 w 43"/>
                <a:gd name="T13" fmla="*/ 20 h 167"/>
                <a:gd name="T14" fmla="*/ 20 w 43"/>
                <a:gd name="T15" fmla="*/ 0 h 167"/>
                <a:gd name="T16" fmla="*/ 20 w 43"/>
                <a:gd name="T17" fmla="*/ 0 h 167"/>
                <a:gd name="T18" fmla="*/ 27 w 43"/>
                <a:gd name="T19" fmla="*/ 1 h 167"/>
                <a:gd name="T20" fmla="*/ 20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20"/>
                  </a:moveTo>
                  <a:cubicBezTo>
                    <a:pt x="42" y="29"/>
                    <a:pt x="33" y="36"/>
                    <a:pt x="22" y="38"/>
                  </a:cubicBezTo>
                  <a:cubicBezTo>
                    <a:pt x="12" y="38"/>
                    <a:pt x="5" y="38"/>
                    <a:pt x="0" y="38"/>
                  </a:cubicBezTo>
                  <a:cubicBezTo>
                    <a:pt x="0" y="56"/>
                    <a:pt x="0" y="92"/>
                    <a:pt x="0" y="167"/>
                  </a:cubicBezTo>
                  <a:cubicBezTo>
                    <a:pt x="20" y="167"/>
                    <a:pt x="34" y="167"/>
                    <a:pt x="43" y="167"/>
                  </a:cubicBezTo>
                  <a:cubicBezTo>
                    <a:pt x="43" y="146"/>
                    <a:pt x="43" y="104"/>
                    <a:pt x="43" y="20"/>
                  </a:cubicBezTo>
                  <a:cubicBezTo>
                    <a:pt x="43" y="20"/>
                    <a:pt x="43" y="20"/>
                    <a:pt x="43" y="20"/>
                  </a:cubicBezTo>
                  <a:moveTo>
                    <a:pt x="20" y="0"/>
                  </a:moveTo>
                  <a:cubicBezTo>
                    <a:pt x="20" y="0"/>
                    <a:pt x="20" y="0"/>
                    <a:pt x="20" y="0"/>
                  </a:cubicBezTo>
                  <a:cubicBezTo>
                    <a:pt x="22" y="0"/>
                    <a:pt x="25" y="0"/>
                    <a:pt x="27" y="1"/>
                  </a:cubicBezTo>
                  <a:cubicBezTo>
                    <a:pt x="25" y="0"/>
                    <a:pt x="23" y="0"/>
                    <a:pt x="20"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29" name="Freeform 45">
              <a:extLst>
                <a:ext uri="{FF2B5EF4-FFF2-40B4-BE49-F238E27FC236}">
                  <a16:creationId xmlns:a16="http://schemas.microsoft.com/office/drawing/2014/main" id="{4F55F90F-6852-734C-BA81-67D1E9A6B29C}"/>
                </a:ext>
              </a:extLst>
            </p:cNvPr>
            <p:cNvSpPr>
              <a:spLocks/>
            </p:cNvSpPr>
            <p:nvPr/>
          </p:nvSpPr>
          <p:spPr bwMode="auto">
            <a:xfrm>
              <a:off x="7885113" y="2100263"/>
              <a:ext cx="34925" cy="14288"/>
            </a:xfrm>
            <a:custGeom>
              <a:avLst/>
              <a:gdLst>
                <a:gd name="T0" fmla="*/ 64 w 87"/>
                <a:gd name="T1" fmla="*/ 0 h 38"/>
                <a:gd name="T2" fmla="*/ 24 w 87"/>
                <a:gd name="T3" fmla="*/ 2 h 38"/>
                <a:gd name="T4" fmla="*/ 3 w 87"/>
                <a:gd name="T5" fmla="*/ 21 h 38"/>
                <a:gd name="T6" fmla="*/ 24 w 87"/>
                <a:gd name="T7" fmla="*/ 38 h 38"/>
                <a:gd name="T8" fmla="*/ 25 w 87"/>
                <a:gd name="T9" fmla="*/ 38 h 38"/>
                <a:gd name="T10" fmla="*/ 44 w 87"/>
                <a:gd name="T11" fmla="*/ 38 h 38"/>
                <a:gd name="T12" fmla="*/ 66 w 87"/>
                <a:gd name="T13" fmla="*/ 38 h 38"/>
                <a:gd name="T14" fmla="*/ 87 w 87"/>
                <a:gd name="T15" fmla="*/ 20 h 38"/>
                <a:gd name="T16" fmla="*/ 87 w 87"/>
                <a:gd name="T17" fmla="*/ 19 h 38"/>
                <a:gd name="T18" fmla="*/ 71 w 87"/>
                <a:gd name="T19" fmla="*/ 1 h 38"/>
                <a:gd name="T20" fmla="*/ 64 w 87"/>
                <a:gd name="T21" fmla="*/ 0 h 38"/>
                <a:gd name="T22" fmla="*/ 64 w 87"/>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 h="38">
                  <a:moveTo>
                    <a:pt x="64" y="0"/>
                  </a:moveTo>
                  <a:cubicBezTo>
                    <a:pt x="64" y="0"/>
                    <a:pt x="64" y="0"/>
                    <a:pt x="24" y="2"/>
                  </a:cubicBezTo>
                  <a:cubicBezTo>
                    <a:pt x="12" y="2"/>
                    <a:pt x="0" y="10"/>
                    <a:pt x="3" y="21"/>
                  </a:cubicBezTo>
                  <a:cubicBezTo>
                    <a:pt x="3" y="30"/>
                    <a:pt x="12" y="38"/>
                    <a:pt x="24" y="38"/>
                  </a:cubicBezTo>
                  <a:cubicBezTo>
                    <a:pt x="24" y="38"/>
                    <a:pt x="24" y="38"/>
                    <a:pt x="25" y="38"/>
                  </a:cubicBezTo>
                  <a:cubicBezTo>
                    <a:pt x="25" y="38"/>
                    <a:pt x="25" y="38"/>
                    <a:pt x="44" y="38"/>
                  </a:cubicBezTo>
                  <a:cubicBezTo>
                    <a:pt x="49" y="38"/>
                    <a:pt x="56" y="38"/>
                    <a:pt x="66" y="38"/>
                  </a:cubicBezTo>
                  <a:cubicBezTo>
                    <a:pt x="77" y="36"/>
                    <a:pt x="86" y="29"/>
                    <a:pt x="87" y="20"/>
                  </a:cubicBezTo>
                  <a:cubicBezTo>
                    <a:pt x="87" y="19"/>
                    <a:pt x="87" y="19"/>
                    <a:pt x="87" y="19"/>
                  </a:cubicBezTo>
                  <a:cubicBezTo>
                    <a:pt x="87" y="10"/>
                    <a:pt x="80" y="3"/>
                    <a:pt x="71" y="1"/>
                  </a:cubicBezTo>
                  <a:cubicBezTo>
                    <a:pt x="69" y="0"/>
                    <a:pt x="66" y="0"/>
                    <a:pt x="64" y="0"/>
                  </a:cubicBezTo>
                  <a:cubicBezTo>
                    <a:pt x="64" y="0"/>
                    <a:pt x="64" y="0"/>
                    <a:pt x="6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0" name="Freeform 46">
              <a:extLst>
                <a:ext uri="{FF2B5EF4-FFF2-40B4-BE49-F238E27FC236}">
                  <a16:creationId xmlns:a16="http://schemas.microsoft.com/office/drawing/2014/main" id="{758FB51F-8637-3740-971A-B3279CEFE5FE}"/>
                </a:ext>
              </a:extLst>
            </p:cNvPr>
            <p:cNvSpPr>
              <a:spLocks/>
            </p:cNvSpPr>
            <p:nvPr/>
          </p:nvSpPr>
          <p:spPr bwMode="auto">
            <a:xfrm>
              <a:off x="7883526" y="2166938"/>
              <a:ext cx="52388" cy="17463"/>
            </a:xfrm>
            <a:custGeom>
              <a:avLst/>
              <a:gdLst>
                <a:gd name="T0" fmla="*/ 109 w 129"/>
                <a:gd name="T1" fmla="*/ 0 h 43"/>
                <a:gd name="T2" fmla="*/ 92 w 129"/>
                <a:gd name="T3" fmla="*/ 0 h 43"/>
                <a:gd name="T4" fmla="*/ 49 w 129"/>
                <a:gd name="T5" fmla="*/ 0 h 43"/>
                <a:gd name="T6" fmla="*/ 23 w 129"/>
                <a:gd name="T7" fmla="*/ 0 h 43"/>
                <a:gd name="T8" fmla="*/ 0 w 129"/>
                <a:gd name="T9" fmla="*/ 22 h 43"/>
                <a:gd name="T10" fmla="*/ 23 w 129"/>
                <a:gd name="T11" fmla="*/ 43 h 43"/>
                <a:gd name="T12" fmla="*/ 69 w 129"/>
                <a:gd name="T13" fmla="*/ 43 h 43"/>
                <a:gd name="T14" fmla="*/ 69 w 129"/>
                <a:gd name="T15" fmla="*/ 43 h 43"/>
                <a:gd name="T16" fmla="*/ 109 w 129"/>
                <a:gd name="T17" fmla="*/ 43 h 43"/>
                <a:gd name="T18" fmla="*/ 129 w 129"/>
                <a:gd name="T19" fmla="*/ 22 h 43"/>
                <a:gd name="T20" fmla="*/ 109 w 129"/>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3">
                  <a:moveTo>
                    <a:pt x="109" y="0"/>
                  </a:moveTo>
                  <a:cubicBezTo>
                    <a:pt x="109" y="0"/>
                    <a:pt x="109" y="0"/>
                    <a:pt x="92" y="0"/>
                  </a:cubicBezTo>
                  <a:cubicBezTo>
                    <a:pt x="83" y="0"/>
                    <a:pt x="69" y="0"/>
                    <a:pt x="49" y="0"/>
                  </a:cubicBezTo>
                  <a:cubicBezTo>
                    <a:pt x="41" y="0"/>
                    <a:pt x="32" y="0"/>
                    <a:pt x="23" y="0"/>
                  </a:cubicBezTo>
                  <a:cubicBezTo>
                    <a:pt x="10" y="0"/>
                    <a:pt x="0" y="11"/>
                    <a:pt x="0" y="22"/>
                  </a:cubicBezTo>
                  <a:cubicBezTo>
                    <a:pt x="0" y="32"/>
                    <a:pt x="10" y="43"/>
                    <a:pt x="23" y="43"/>
                  </a:cubicBezTo>
                  <a:cubicBezTo>
                    <a:pt x="23" y="43"/>
                    <a:pt x="23" y="43"/>
                    <a:pt x="69" y="43"/>
                  </a:cubicBezTo>
                  <a:cubicBezTo>
                    <a:pt x="69" y="43"/>
                    <a:pt x="69" y="43"/>
                    <a:pt x="69" y="43"/>
                  </a:cubicBezTo>
                  <a:cubicBezTo>
                    <a:pt x="80" y="43"/>
                    <a:pt x="93" y="43"/>
                    <a:pt x="109" y="43"/>
                  </a:cubicBezTo>
                  <a:cubicBezTo>
                    <a:pt x="120" y="43"/>
                    <a:pt x="129" y="32"/>
                    <a:pt x="129" y="22"/>
                  </a:cubicBezTo>
                  <a:cubicBezTo>
                    <a:pt x="129" y="11"/>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1" name="Freeform 47">
              <a:extLst>
                <a:ext uri="{FF2B5EF4-FFF2-40B4-BE49-F238E27FC236}">
                  <a16:creationId xmlns:a16="http://schemas.microsoft.com/office/drawing/2014/main" id="{5CE88A4E-079C-6F44-8B0C-F2EAB4F01B8D}"/>
                </a:ext>
              </a:extLst>
            </p:cNvPr>
            <p:cNvSpPr>
              <a:spLocks/>
            </p:cNvSpPr>
            <p:nvPr/>
          </p:nvSpPr>
          <p:spPr bwMode="auto">
            <a:xfrm>
              <a:off x="8066088" y="2100263"/>
              <a:ext cx="1588" cy="0"/>
            </a:xfrm>
            <a:custGeom>
              <a:avLst/>
              <a:gdLst>
                <a:gd name="T0" fmla="*/ 2 w 3"/>
                <a:gd name="T1" fmla="*/ 0 w 3"/>
                <a:gd name="T2" fmla="*/ 3 w 3"/>
                <a:gd name="T3" fmla="*/ 2 w 3"/>
              </a:gdLst>
              <a:ahLst/>
              <a:cxnLst>
                <a:cxn ang="0">
                  <a:pos x="T0" y="0"/>
                </a:cxn>
                <a:cxn ang="0">
                  <a:pos x="T1" y="0"/>
                </a:cxn>
                <a:cxn ang="0">
                  <a:pos x="T2" y="0"/>
                </a:cxn>
                <a:cxn ang="0">
                  <a:pos x="T3" y="0"/>
                </a:cxn>
              </a:cxnLst>
              <a:rect l="0" t="0" r="r" b="b"/>
              <a:pathLst>
                <a:path w="3">
                  <a:moveTo>
                    <a:pt x="2" y="0"/>
                  </a:moveTo>
                  <a:cubicBezTo>
                    <a:pt x="1" y="0"/>
                    <a:pt x="1" y="0"/>
                    <a:pt x="0" y="0"/>
                  </a:cubicBezTo>
                  <a:cubicBezTo>
                    <a:pt x="2" y="0"/>
                    <a:pt x="3" y="0"/>
                    <a:pt x="3" y="0"/>
                  </a:cubicBezTo>
                  <a:cubicBezTo>
                    <a:pt x="3" y="0"/>
                    <a:pt x="2" y="0"/>
                    <a:pt x="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2" name="Freeform 48">
              <a:extLst>
                <a:ext uri="{FF2B5EF4-FFF2-40B4-BE49-F238E27FC236}">
                  <a16:creationId xmlns:a16="http://schemas.microsoft.com/office/drawing/2014/main" id="{687E1399-5F00-3B4B-A97D-A83E623A2DBB}"/>
                </a:ext>
              </a:extLst>
            </p:cNvPr>
            <p:cNvSpPr>
              <a:spLocks/>
            </p:cNvSpPr>
            <p:nvPr/>
          </p:nvSpPr>
          <p:spPr bwMode="auto">
            <a:xfrm>
              <a:off x="8058151" y="2109788"/>
              <a:ext cx="17463" cy="57150"/>
            </a:xfrm>
            <a:custGeom>
              <a:avLst/>
              <a:gdLst>
                <a:gd name="T0" fmla="*/ 43 w 43"/>
                <a:gd name="T1" fmla="*/ 0 h 143"/>
                <a:gd name="T2" fmla="*/ 24 w 43"/>
                <a:gd name="T3" fmla="*/ 14 h 143"/>
                <a:gd name="T4" fmla="*/ 0 w 43"/>
                <a:gd name="T5" fmla="*/ 14 h 143"/>
                <a:gd name="T6" fmla="*/ 0 w 43"/>
                <a:gd name="T7" fmla="*/ 143 h 143"/>
                <a:gd name="T8" fmla="*/ 43 w 43"/>
                <a:gd name="T9" fmla="*/ 143 h 143"/>
                <a:gd name="T10" fmla="*/ 43 w 43"/>
                <a:gd name="T11" fmla="*/ 1 h 143"/>
                <a:gd name="T12" fmla="*/ 43 w 43"/>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43" h="143">
                  <a:moveTo>
                    <a:pt x="43" y="0"/>
                  </a:moveTo>
                  <a:cubicBezTo>
                    <a:pt x="40" y="7"/>
                    <a:pt x="33" y="13"/>
                    <a:pt x="24" y="14"/>
                  </a:cubicBezTo>
                  <a:cubicBezTo>
                    <a:pt x="13" y="14"/>
                    <a:pt x="6" y="14"/>
                    <a:pt x="0" y="14"/>
                  </a:cubicBezTo>
                  <a:cubicBezTo>
                    <a:pt x="0" y="32"/>
                    <a:pt x="0" y="68"/>
                    <a:pt x="0" y="143"/>
                  </a:cubicBezTo>
                  <a:cubicBezTo>
                    <a:pt x="20" y="143"/>
                    <a:pt x="34" y="143"/>
                    <a:pt x="43" y="143"/>
                  </a:cubicBezTo>
                  <a:cubicBezTo>
                    <a:pt x="43" y="122"/>
                    <a:pt x="43" y="81"/>
                    <a:pt x="43" y="1"/>
                  </a:cubicBezTo>
                  <a:cubicBezTo>
                    <a:pt x="43" y="0"/>
                    <a:pt x="43" y="0"/>
                    <a:pt x="4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3" name="Freeform 49">
              <a:extLst>
                <a:ext uri="{FF2B5EF4-FFF2-40B4-BE49-F238E27FC236}">
                  <a16:creationId xmlns:a16="http://schemas.microsoft.com/office/drawing/2014/main" id="{99ED8315-8769-3746-AE1F-BCC5C0ACC508}"/>
                </a:ext>
              </a:extLst>
            </p:cNvPr>
            <p:cNvSpPr>
              <a:spLocks/>
            </p:cNvSpPr>
            <p:nvPr/>
          </p:nvSpPr>
          <p:spPr bwMode="auto">
            <a:xfrm>
              <a:off x="8043863" y="2100263"/>
              <a:ext cx="31750" cy="14288"/>
            </a:xfrm>
            <a:custGeom>
              <a:avLst/>
              <a:gdLst>
                <a:gd name="T0" fmla="*/ 59 w 80"/>
                <a:gd name="T1" fmla="*/ 0 h 38"/>
                <a:gd name="T2" fmla="*/ 59 w 80"/>
                <a:gd name="T3" fmla="*/ 0 h 38"/>
                <a:gd name="T4" fmla="*/ 56 w 80"/>
                <a:gd name="T5" fmla="*/ 0 h 38"/>
                <a:gd name="T6" fmla="*/ 21 w 80"/>
                <a:gd name="T7" fmla="*/ 2 h 38"/>
                <a:gd name="T8" fmla="*/ 2 w 80"/>
                <a:gd name="T9" fmla="*/ 21 h 38"/>
                <a:gd name="T10" fmla="*/ 21 w 80"/>
                <a:gd name="T11" fmla="*/ 38 h 38"/>
                <a:gd name="T12" fmla="*/ 23 w 80"/>
                <a:gd name="T13" fmla="*/ 38 h 38"/>
                <a:gd name="T14" fmla="*/ 37 w 80"/>
                <a:gd name="T15" fmla="*/ 38 h 38"/>
                <a:gd name="T16" fmla="*/ 61 w 80"/>
                <a:gd name="T17" fmla="*/ 38 h 38"/>
                <a:gd name="T18" fmla="*/ 80 w 80"/>
                <a:gd name="T19" fmla="*/ 24 h 38"/>
                <a:gd name="T20" fmla="*/ 62 w 80"/>
                <a:gd name="T21" fmla="*/ 0 h 38"/>
                <a:gd name="T22" fmla="*/ 59 w 80"/>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38">
                  <a:moveTo>
                    <a:pt x="59" y="0"/>
                  </a:moveTo>
                  <a:cubicBezTo>
                    <a:pt x="59" y="0"/>
                    <a:pt x="59" y="0"/>
                    <a:pt x="59" y="0"/>
                  </a:cubicBezTo>
                  <a:cubicBezTo>
                    <a:pt x="59" y="0"/>
                    <a:pt x="58" y="0"/>
                    <a:pt x="56" y="0"/>
                  </a:cubicBezTo>
                  <a:cubicBezTo>
                    <a:pt x="52" y="0"/>
                    <a:pt x="43" y="1"/>
                    <a:pt x="21" y="2"/>
                  </a:cubicBezTo>
                  <a:cubicBezTo>
                    <a:pt x="10" y="2"/>
                    <a:pt x="0" y="10"/>
                    <a:pt x="2" y="21"/>
                  </a:cubicBezTo>
                  <a:cubicBezTo>
                    <a:pt x="2" y="30"/>
                    <a:pt x="10" y="38"/>
                    <a:pt x="21" y="38"/>
                  </a:cubicBezTo>
                  <a:cubicBezTo>
                    <a:pt x="21" y="38"/>
                    <a:pt x="21" y="38"/>
                    <a:pt x="23" y="38"/>
                  </a:cubicBezTo>
                  <a:cubicBezTo>
                    <a:pt x="23" y="38"/>
                    <a:pt x="23" y="38"/>
                    <a:pt x="37" y="38"/>
                  </a:cubicBezTo>
                  <a:cubicBezTo>
                    <a:pt x="43" y="38"/>
                    <a:pt x="50" y="38"/>
                    <a:pt x="61" y="38"/>
                  </a:cubicBezTo>
                  <a:cubicBezTo>
                    <a:pt x="70" y="37"/>
                    <a:pt x="77" y="31"/>
                    <a:pt x="80" y="24"/>
                  </a:cubicBezTo>
                  <a:cubicBezTo>
                    <a:pt x="74" y="16"/>
                    <a:pt x="68" y="8"/>
                    <a:pt x="62" y="0"/>
                  </a:cubicBezTo>
                  <a:cubicBezTo>
                    <a:pt x="61" y="0"/>
                    <a:pt x="60" y="0"/>
                    <a:pt x="5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4" name="Freeform 50">
              <a:extLst>
                <a:ext uri="{FF2B5EF4-FFF2-40B4-BE49-F238E27FC236}">
                  <a16:creationId xmlns:a16="http://schemas.microsoft.com/office/drawing/2014/main" id="{5C5B360A-7B97-D942-85C1-3A08DB269654}"/>
                </a:ext>
              </a:extLst>
            </p:cNvPr>
            <p:cNvSpPr>
              <a:spLocks/>
            </p:cNvSpPr>
            <p:nvPr/>
          </p:nvSpPr>
          <p:spPr bwMode="auto">
            <a:xfrm>
              <a:off x="8040688" y="2166938"/>
              <a:ext cx="52388" cy="17463"/>
            </a:xfrm>
            <a:custGeom>
              <a:avLst/>
              <a:gdLst>
                <a:gd name="T0" fmla="*/ 109 w 130"/>
                <a:gd name="T1" fmla="*/ 0 h 43"/>
                <a:gd name="T2" fmla="*/ 86 w 130"/>
                <a:gd name="T3" fmla="*/ 0 h 43"/>
                <a:gd name="T4" fmla="*/ 43 w 130"/>
                <a:gd name="T5" fmla="*/ 0 h 43"/>
                <a:gd name="T6" fmla="*/ 23 w 130"/>
                <a:gd name="T7" fmla="*/ 0 h 43"/>
                <a:gd name="T8" fmla="*/ 0 w 130"/>
                <a:gd name="T9" fmla="*/ 22 h 43"/>
                <a:gd name="T10" fmla="*/ 23 w 130"/>
                <a:gd name="T11" fmla="*/ 43 h 43"/>
                <a:gd name="T12" fmla="*/ 64 w 130"/>
                <a:gd name="T13" fmla="*/ 43 h 43"/>
                <a:gd name="T14" fmla="*/ 64 w 130"/>
                <a:gd name="T15" fmla="*/ 43 h 43"/>
                <a:gd name="T16" fmla="*/ 109 w 130"/>
                <a:gd name="T17" fmla="*/ 43 h 43"/>
                <a:gd name="T18" fmla="*/ 130 w 130"/>
                <a:gd name="T19" fmla="*/ 22 h 43"/>
                <a:gd name="T20" fmla="*/ 109 w 130"/>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43">
                  <a:moveTo>
                    <a:pt x="109" y="0"/>
                  </a:moveTo>
                  <a:cubicBezTo>
                    <a:pt x="109" y="0"/>
                    <a:pt x="109" y="0"/>
                    <a:pt x="86" y="0"/>
                  </a:cubicBezTo>
                  <a:cubicBezTo>
                    <a:pt x="77" y="0"/>
                    <a:pt x="63" y="0"/>
                    <a:pt x="43" y="0"/>
                  </a:cubicBezTo>
                  <a:cubicBezTo>
                    <a:pt x="37" y="0"/>
                    <a:pt x="30" y="0"/>
                    <a:pt x="23" y="0"/>
                  </a:cubicBezTo>
                  <a:cubicBezTo>
                    <a:pt x="10" y="0"/>
                    <a:pt x="0" y="11"/>
                    <a:pt x="0" y="22"/>
                  </a:cubicBezTo>
                  <a:cubicBezTo>
                    <a:pt x="0" y="32"/>
                    <a:pt x="10" y="43"/>
                    <a:pt x="23" y="43"/>
                  </a:cubicBezTo>
                  <a:cubicBezTo>
                    <a:pt x="23" y="43"/>
                    <a:pt x="23" y="43"/>
                    <a:pt x="64" y="43"/>
                  </a:cubicBezTo>
                  <a:cubicBezTo>
                    <a:pt x="64" y="43"/>
                    <a:pt x="64" y="43"/>
                    <a:pt x="64" y="43"/>
                  </a:cubicBezTo>
                  <a:cubicBezTo>
                    <a:pt x="76" y="43"/>
                    <a:pt x="90" y="43"/>
                    <a:pt x="109" y="43"/>
                  </a:cubicBezTo>
                  <a:cubicBezTo>
                    <a:pt x="121" y="43"/>
                    <a:pt x="130" y="32"/>
                    <a:pt x="130" y="22"/>
                  </a:cubicBezTo>
                  <a:cubicBezTo>
                    <a:pt x="130" y="11"/>
                    <a:pt x="121"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5" name="Freeform 51">
              <a:extLst>
                <a:ext uri="{FF2B5EF4-FFF2-40B4-BE49-F238E27FC236}">
                  <a16:creationId xmlns:a16="http://schemas.microsoft.com/office/drawing/2014/main" id="{655086F8-C01B-ED49-935B-BF19247606D0}"/>
                </a:ext>
              </a:extLst>
            </p:cNvPr>
            <p:cNvSpPr>
              <a:spLocks noEditPoints="1"/>
            </p:cNvSpPr>
            <p:nvPr/>
          </p:nvSpPr>
          <p:spPr bwMode="auto">
            <a:xfrm>
              <a:off x="7793038" y="2100263"/>
              <a:ext cx="71438" cy="84138"/>
            </a:xfrm>
            <a:custGeom>
              <a:avLst/>
              <a:gdLst>
                <a:gd name="T0" fmla="*/ 89 w 178"/>
                <a:gd name="T1" fmla="*/ 169 h 210"/>
                <a:gd name="T2" fmla="*/ 43 w 178"/>
                <a:gd name="T3" fmla="*/ 105 h 210"/>
                <a:gd name="T4" fmla="*/ 89 w 178"/>
                <a:gd name="T5" fmla="*/ 42 h 210"/>
                <a:gd name="T6" fmla="*/ 135 w 178"/>
                <a:gd name="T7" fmla="*/ 105 h 210"/>
                <a:gd name="T8" fmla="*/ 89 w 178"/>
                <a:gd name="T9" fmla="*/ 169 h 210"/>
                <a:gd name="T10" fmla="*/ 89 w 178"/>
                <a:gd name="T11" fmla="*/ 0 h 210"/>
                <a:gd name="T12" fmla="*/ 0 w 178"/>
                <a:gd name="T13" fmla="*/ 105 h 210"/>
                <a:gd name="T14" fmla="*/ 89 w 178"/>
                <a:gd name="T15" fmla="*/ 210 h 210"/>
                <a:gd name="T16" fmla="*/ 178 w 178"/>
                <a:gd name="T17" fmla="*/ 105 h 210"/>
                <a:gd name="T18" fmla="*/ 89 w 178"/>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0">
                  <a:moveTo>
                    <a:pt x="89" y="169"/>
                  </a:moveTo>
                  <a:cubicBezTo>
                    <a:pt x="65" y="169"/>
                    <a:pt x="43" y="140"/>
                    <a:pt x="43" y="105"/>
                  </a:cubicBezTo>
                  <a:cubicBezTo>
                    <a:pt x="43" y="71"/>
                    <a:pt x="65" y="42"/>
                    <a:pt x="89" y="42"/>
                  </a:cubicBezTo>
                  <a:cubicBezTo>
                    <a:pt x="115" y="42"/>
                    <a:pt x="135" y="71"/>
                    <a:pt x="135" y="105"/>
                  </a:cubicBezTo>
                  <a:cubicBezTo>
                    <a:pt x="135" y="140"/>
                    <a:pt x="115" y="169"/>
                    <a:pt x="89" y="169"/>
                  </a:cubicBezTo>
                  <a:moveTo>
                    <a:pt x="89" y="0"/>
                  </a:moveTo>
                  <a:cubicBezTo>
                    <a:pt x="39" y="0"/>
                    <a:pt x="0" y="47"/>
                    <a:pt x="0" y="105"/>
                  </a:cubicBezTo>
                  <a:cubicBezTo>
                    <a:pt x="0" y="163"/>
                    <a:pt x="39" y="210"/>
                    <a:pt x="89" y="210"/>
                  </a:cubicBezTo>
                  <a:cubicBezTo>
                    <a:pt x="139" y="210"/>
                    <a:pt x="178" y="163"/>
                    <a:pt x="178" y="105"/>
                  </a:cubicBezTo>
                  <a:cubicBezTo>
                    <a:pt x="178" y="47"/>
                    <a:pt x="139"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6" name="Freeform 52">
              <a:extLst>
                <a:ext uri="{FF2B5EF4-FFF2-40B4-BE49-F238E27FC236}">
                  <a16:creationId xmlns:a16="http://schemas.microsoft.com/office/drawing/2014/main" id="{9B1F7127-DE13-3F4B-8047-DA9C0C2CD19E}"/>
                </a:ext>
              </a:extLst>
            </p:cNvPr>
            <p:cNvSpPr>
              <a:spLocks noEditPoints="1"/>
            </p:cNvSpPr>
            <p:nvPr/>
          </p:nvSpPr>
          <p:spPr bwMode="auto">
            <a:xfrm>
              <a:off x="7951788" y="2100263"/>
              <a:ext cx="71438" cy="84138"/>
            </a:xfrm>
            <a:custGeom>
              <a:avLst/>
              <a:gdLst>
                <a:gd name="T0" fmla="*/ 89 w 178"/>
                <a:gd name="T1" fmla="*/ 169 h 210"/>
                <a:gd name="T2" fmla="*/ 43 w 178"/>
                <a:gd name="T3" fmla="*/ 105 h 210"/>
                <a:gd name="T4" fmla="*/ 89 w 178"/>
                <a:gd name="T5" fmla="*/ 42 h 210"/>
                <a:gd name="T6" fmla="*/ 136 w 178"/>
                <a:gd name="T7" fmla="*/ 105 h 210"/>
                <a:gd name="T8" fmla="*/ 89 w 178"/>
                <a:gd name="T9" fmla="*/ 169 h 210"/>
                <a:gd name="T10" fmla="*/ 89 w 178"/>
                <a:gd name="T11" fmla="*/ 0 h 210"/>
                <a:gd name="T12" fmla="*/ 0 w 178"/>
                <a:gd name="T13" fmla="*/ 105 h 210"/>
                <a:gd name="T14" fmla="*/ 89 w 178"/>
                <a:gd name="T15" fmla="*/ 210 h 210"/>
                <a:gd name="T16" fmla="*/ 178 w 178"/>
                <a:gd name="T17" fmla="*/ 105 h 210"/>
                <a:gd name="T18" fmla="*/ 89 w 178"/>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0">
                  <a:moveTo>
                    <a:pt x="89" y="169"/>
                  </a:moveTo>
                  <a:cubicBezTo>
                    <a:pt x="65" y="169"/>
                    <a:pt x="43" y="140"/>
                    <a:pt x="43" y="105"/>
                  </a:cubicBezTo>
                  <a:cubicBezTo>
                    <a:pt x="43" y="71"/>
                    <a:pt x="65" y="42"/>
                    <a:pt x="89" y="42"/>
                  </a:cubicBezTo>
                  <a:cubicBezTo>
                    <a:pt x="115" y="42"/>
                    <a:pt x="136" y="71"/>
                    <a:pt x="136" y="105"/>
                  </a:cubicBezTo>
                  <a:cubicBezTo>
                    <a:pt x="136" y="140"/>
                    <a:pt x="115" y="169"/>
                    <a:pt x="89" y="169"/>
                  </a:cubicBezTo>
                  <a:moveTo>
                    <a:pt x="89" y="0"/>
                  </a:moveTo>
                  <a:cubicBezTo>
                    <a:pt x="40" y="0"/>
                    <a:pt x="0" y="47"/>
                    <a:pt x="0" y="105"/>
                  </a:cubicBezTo>
                  <a:cubicBezTo>
                    <a:pt x="0" y="163"/>
                    <a:pt x="40" y="210"/>
                    <a:pt x="89" y="210"/>
                  </a:cubicBezTo>
                  <a:cubicBezTo>
                    <a:pt x="140" y="210"/>
                    <a:pt x="178" y="163"/>
                    <a:pt x="178" y="105"/>
                  </a:cubicBezTo>
                  <a:cubicBezTo>
                    <a:pt x="178" y="47"/>
                    <a:pt x="140"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7" name="Freeform 53">
              <a:extLst>
                <a:ext uri="{FF2B5EF4-FFF2-40B4-BE49-F238E27FC236}">
                  <a16:creationId xmlns:a16="http://schemas.microsoft.com/office/drawing/2014/main" id="{73C96478-9C9D-9941-9D7C-C0E1BC1A9103}"/>
                </a:ext>
              </a:extLst>
            </p:cNvPr>
            <p:cNvSpPr>
              <a:spLocks noEditPoints="1"/>
            </p:cNvSpPr>
            <p:nvPr/>
          </p:nvSpPr>
          <p:spPr bwMode="auto">
            <a:xfrm>
              <a:off x="7694613" y="2100263"/>
              <a:ext cx="74613" cy="84138"/>
            </a:xfrm>
            <a:custGeom>
              <a:avLst/>
              <a:gdLst>
                <a:gd name="T0" fmla="*/ 93 w 184"/>
                <a:gd name="T1" fmla="*/ 169 h 210"/>
                <a:gd name="T2" fmla="*/ 46 w 184"/>
                <a:gd name="T3" fmla="*/ 105 h 210"/>
                <a:gd name="T4" fmla="*/ 93 w 184"/>
                <a:gd name="T5" fmla="*/ 42 h 210"/>
                <a:gd name="T6" fmla="*/ 140 w 184"/>
                <a:gd name="T7" fmla="*/ 105 h 210"/>
                <a:gd name="T8" fmla="*/ 93 w 184"/>
                <a:gd name="T9" fmla="*/ 169 h 210"/>
                <a:gd name="T10" fmla="*/ 93 w 184"/>
                <a:gd name="T11" fmla="*/ 0 h 210"/>
                <a:gd name="T12" fmla="*/ 0 w 184"/>
                <a:gd name="T13" fmla="*/ 105 h 210"/>
                <a:gd name="T14" fmla="*/ 93 w 184"/>
                <a:gd name="T15" fmla="*/ 210 h 210"/>
                <a:gd name="T16" fmla="*/ 184 w 184"/>
                <a:gd name="T17" fmla="*/ 105 h 210"/>
                <a:gd name="T18" fmla="*/ 93 w 184"/>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210">
                  <a:moveTo>
                    <a:pt x="93" y="169"/>
                  </a:moveTo>
                  <a:cubicBezTo>
                    <a:pt x="67" y="169"/>
                    <a:pt x="46" y="140"/>
                    <a:pt x="46" y="105"/>
                  </a:cubicBezTo>
                  <a:cubicBezTo>
                    <a:pt x="46" y="71"/>
                    <a:pt x="67" y="42"/>
                    <a:pt x="93" y="42"/>
                  </a:cubicBezTo>
                  <a:cubicBezTo>
                    <a:pt x="118" y="42"/>
                    <a:pt x="140" y="71"/>
                    <a:pt x="140" y="105"/>
                  </a:cubicBezTo>
                  <a:cubicBezTo>
                    <a:pt x="140" y="140"/>
                    <a:pt x="118" y="169"/>
                    <a:pt x="93" y="169"/>
                  </a:cubicBezTo>
                  <a:moveTo>
                    <a:pt x="93" y="0"/>
                  </a:moveTo>
                  <a:cubicBezTo>
                    <a:pt x="42" y="0"/>
                    <a:pt x="0" y="47"/>
                    <a:pt x="0" y="105"/>
                  </a:cubicBezTo>
                  <a:cubicBezTo>
                    <a:pt x="0" y="163"/>
                    <a:pt x="42" y="210"/>
                    <a:pt x="93" y="210"/>
                  </a:cubicBezTo>
                  <a:cubicBezTo>
                    <a:pt x="142" y="210"/>
                    <a:pt x="184" y="163"/>
                    <a:pt x="184" y="105"/>
                  </a:cubicBezTo>
                  <a:cubicBezTo>
                    <a:pt x="184" y="47"/>
                    <a:pt x="142" y="0"/>
                    <a:pt x="9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8" name="Freeform 54">
              <a:extLst>
                <a:ext uri="{FF2B5EF4-FFF2-40B4-BE49-F238E27FC236}">
                  <a16:creationId xmlns:a16="http://schemas.microsoft.com/office/drawing/2014/main" id="{007C212F-9B7D-3D4E-ADCE-CF72442C3189}"/>
                </a:ext>
              </a:extLst>
            </p:cNvPr>
            <p:cNvSpPr>
              <a:spLocks noEditPoints="1"/>
            </p:cNvSpPr>
            <p:nvPr/>
          </p:nvSpPr>
          <p:spPr bwMode="auto">
            <a:xfrm>
              <a:off x="7812088" y="1970088"/>
              <a:ext cx="17463" cy="66675"/>
            </a:xfrm>
            <a:custGeom>
              <a:avLst/>
              <a:gdLst>
                <a:gd name="T0" fmla="*/ 43 w 43"/>
                <a:gd name="T1" fmla="*/ 21 h 167"/>
                <a:gd name="T2" fmla="*/ 23 w 43"/>
                <a:gd name="T3" fmla="*/ 43 h 167"/>
                <a:gd name="T4" fmla="*/ 0 w 43"/>
                <a:gd name="T5" fmla="*/ 43 h 167"/>
                <a:gd name="T6" fmla="*/ 0 w 43"/>
                <a:gd name="T7" fmla="*/ 167 h 167"/>
                <a:gd name="T8" fmla="*/ 43 w 43"/>
                <a:gd name="T9" fmla="*/ 167 h 167"/>
                <a:gd name="T10" fmla="*/ 43 w 43"/>
                <a:gd name="T11" fmla="*/ 21 h 167"/>
                <a:gd name="T12" fmla="*/ 21 w 43"/>
                <a:gd name="T13" fmla="*/ 0 h 167"/>
                <a:gd name="T14" fmla="*/ 21 w 43"/>
                <a:gd name="T15" fmla="*/ 0 h 167"/>
                <a:gd name="T16" fmla="*/ 43 w 43"/>
                <a:gd name="T17" fmla="*/ 21 h 167"/>
                <a:gd name="T18" fmla="*/ 43 w 43"/>
                <a:gd name="T19" fmla="*/ 21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21"/>
                  </a:moveTo>
                  <a:cubicBezTo>
                    <a:pt x="43" y="32"/>
                    <a:pt x="34" y="41"/>
                    <a:pt x="23" y="43"/>
                  </a:cubicBezTo>
                  <a:cubicBezTo>
                    <a:pt x="13" y="43"/>
                    <a:pt x="6" y="43"/>
                    <a:pt x="0" y="43"/>
                  </a:cubicBezTo>
                  <a:cubicBezTo>
                    <a:pt x="0" y="62"/>
                    <a:pt x="0" y="99"/>
                    <a:pt x="0" y="167"/>
                  </a:cubicBezTo>
                  <a:cubicBezTo>
                    <a:pt x="20" y="167"/>
                    <a:pt x="34" y="167"/>
                    <a:pt x="43" y="167"/>
                  </a:cubicBezTo>
                  <a:cubicBezTo>
                    <a:pt x="43" y="144"/>
                    <a:pt x="43" y="101"/>
                    <a:pt x="43" y="21"/>
                  </a:cubicBezTo>
                  <a:moveTo>
                    <a:pt x="21" y="0"/>
                  </a:moveTo>
                  <a:cubicBezTo>
                    <a:pt x="21" y="0"/>
                    <a:pt x="21" y="0"/>
                    <a:pt x="21" y="0"/>
                  </a:cubicBezTo>
                  <a:cubicBezTo>
                    <a:pt x="34" y="0"/>
                    <a:pt x="43" y="9"/>
                    <a:pt x="43" y="21"/>
                  </a:cubicBezTo>
                  <a:cubicBezTo>
                    <a:pt x="43" y="21"/>
                    <a:pt x="43" y="21"/>
                    <a:pt x="43" y="21"/>
                  </a:cubicBezTo>
                  <a:cubicBezTo>
                    <a:pt x="43" y="9"/>
                    <a:pt x="34"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39" name="Freeform 55">
              <a:extLst>
                <a:ext uri="{FF2B5EF4-FFF2-40B4-BE49-F238E27FC236}">
                  <a16:creationId xmlns:a16="http://schemas.microsoft.com/office/drawing/2014/main" id="{265A8A60-15BD-0E41-958F-BC8CEA1A6CA4}"/>
                </a:ext>
              </a:extLst>
            </p:cNvPr>
            <p:cNvSpPr>
              <a:spLocks/>
            </p:cNvSpPr>
            <p:nvPr/>
          </p:nvSpPr>
          <p:spPr bwMode="auto">
            <a:xfrm>
              <a:off x="7794626" y="1970088"/>
              <a:ext cx="34925" cy="17463"/>
            </a:xfrm>
            <a:custGeom>
              <a:avLst/>
              <a:gdLst>
                <a:gd name="T0" fmla="*/ 64 w 86"/>
                <a:gd name="T1" fmla="*/ 0 h 43"/>
                <a:gd name="T2" fmla="*/ 23 w 86"/>
                <a:gd name="T3" fmla="*/ 2 h 43"/>
                <a:gd name="T4" fmla="*/ 2 w 86"/>
                <a:gd name="T5" fmla="*/ 24 h 43"/>
                <a:gd name="T6" fmla="*/ 23 w 86"/>
                <a:gd name="T7" fmla="*/ 43 h 43"/>
                <a:gd name="T8" fmla="*/ 25 w 86"/>
                <a:gd name="T9" fmla="*/ 43 h 43"/>
                <a:gd name="T10" fmla="*/ 43 w 86"/>
                <a:gd name="T11" fmla="*/ 43 h 43"/>
                <a:gd name="T12" fmla="*/ 66 w 86"/>
                <a:gd name="T13" fmla="*/ 43 h 43"/>
                <a:gd name="T14" fmla="*/ 86 w 86"/>
                <a:gd name="T15" fmla="*/ 21 h 43"/>
                <a:gd name="T16" fmla="*/ 86 w 86"/>
                <a:gd name="T17" fmla="*/ 21 h 43"/>
                <a:gd name="T18" fmla="*/ 86 w 86"/>
                <a:gd name="T19" fmla="*/ 21 h 43"/>
                <a:gd name="T20" fmla="*/ 64 w 86"/>
                <a:gd name="T21" fmla="*/ 0 h 43"/>
                <a:gd name="T22" fmla="*/ 64 w 86"/>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43">
                  <a:moveTo>
                    <a:pt x="64" y="0"/>
                  </a:moveTo>
                  <a:cubicBezTo>
                    <a:pt x="64" y="0"/>
                    <a:pt x="64" y="0"/>
                    <a:pt x="23" y="2"/>
                  </a:cubicBezTo>
                  <a:cubicBezTo>
                    <a:pt x="12" y="2"/>
                    <a:pt x="0" y="11"/>
                    <a:pt x="2" y="24"/>
                  </a:cubicBezTo>
                  <a:cubicBezTo>
                    <a:pt x="2" y="34"/>
                    <a:pt x="12" y="43"/>
                    <a:pt x="23" y="43"/>
                  </a:cubicBezTo>
                  <a:cubicBezTo>
                    <a:pt x="23" y="43"/>
                    <a:pt x="23" y="43"/>
                    <a:pt x="25" y="43"/>
                  </a:cubicBezTo>
                  <a:cubicBezTo>
                    <a:pt x="25" y="43"/>
                    <a:pt x="25" y="43"/>
                    <a:pt x="43" y="43"/>
                  </a:cubicBezTo>
                  <a:cubicBezTo>
                    <a:pt x="49" y="43"/>
                    <a:pt x="56" y="43"/>
                    <a:pt x="66" y="43"/>
                  </a:cubicBezTo>
                  <a:cubicBezTo>
                    <a:pt x="77" y="41"/>
                    <a:pt x="86" y="32"/>
                    <a:pt x="86" y="21"/>
                  </a:cubicBezTo>
                  <a:cubicBezTo>
                    <a:pt x="86" y="21"/>
                    <a:pt x="86" y="21"/>
                    <a:pt x="86" y="21"/>
                  </a:cubicBezTo>
                  <a:cubicBezTo>
                    <a:pt x="86" y="21"/>
                    <a:pt x="86" y="21"/>
                    <a:pt x="86" y="21"/>
                  </a:cubicBezTo>
                  <a:cubicBezTo>
                    <a:pt x="86" y="9"/>
                    <a:pt x="77" y="0"/>
                    <a:pt x="64" y="0"/>
                  </a:cubicBezTo>
                  <a:cubicBezTo>
                    <a:pt x="64" y="0"/>
                    <a:pt x="64" y="0"/>
                    <a:pt x="6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0" name="Freeform 56">
              <a:extLst>
                <a:ext uri="{FF2B5EF4-FFF2-40B4-BE49-F238E27FC236}">
                  <a16:creationId xmlns:a16="http://schemas.microsoft.com/office/drawing/2014/main" id="{2CEFDF33-FBAE-6341-9860-C5A2D779D2BE}"/>
                </a:ext>
              </a:extLst>
            </p:cNvPr>
            <p:cNvSpPr>
              <a:spLocks/>
            </p:cNvSpPr>
            <p:nvPr/>
          </p:nvSpPr>
          <p:spPr bwMode="auto">
            <a:xfrm>
              <a:off x="7794626" y="2036763"/>
              <a:ext cx="52388" cy="19050"/>
            </a:xfrm>
            <a:custGeom>
              <a:avLst/>
              <a:gdLst>
                <a:gd name="T0" fmla="*/ 109 w 130"/>
                <a:gd name="T1" fmla="*/ 0 h 48"/>
                <a:gd name="T2" fmla="*/ 86 w 130"/>
                <a:gd name="T3" fmla="*/ 0 h 48"/>
                <a:gd name="T4" fmla="*/ 43 w 130"/>
                <a:gd name="T5" fmla="*/ 0 h 48"/>
                <a:gd name="T6" fmla="*/ 23 w 130"/>
                <a:gd name="T7" fmla="*/ 0 h 48"/>
                <a:gd name="T8" fmla="*/ 0 w 130"/>
                <a:gd name="T9" fmla="*/ 24 h 48"/>
                <a:gd name="T10" fmla="*/ 23 w 130"/>
                <a:gd name="T11" fmla="*/ 48 h 48"/>
                <a:gd name="T12" fmla="*/ 64 w 130"/>
                <a:gd name="T13" fmla="*/ 48 h 48"/>
                <a:gd name="T14" fmla="*/ 64 w 130"/>
                <a:gd name="T15" fmla="*/ 48 h 48"/>
                <a:gd name="T16" fmla="*/ 109 w 130"/>
                <a:gd name="T17" fmla="*/ 48 h 48"/>
                <a:gd name="T18" fmla="*/ 130 w 130"/>
                <a:gd name="T19" fmla="*/ 24 h 48"/>
                <a:gd name="T20" fmla="*/ 109 w 130"/>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48">
                  <a:moveTo>
                    <a:pt x="109" y="0"/>
                  </a:moveTo>
                  <a:cubicBezTo>
                    <a:pt x="109" y="0"/>
                    <a:pt x="109" y="0"/>
                    <a:pt x="86" y="0"/>
                  </a:cubicBezTo>
                  <a:cubicBezTo>
                    <a:pt x="77" y="0"/>
                    <a:pt x="63" y="0"/>
                    <a:pt x="43" y="0"/>
                  </a:cubicBezTo>
                  <a:cubicBezTo>
                    <a:pt x="37" y="0"/>
                    <a:pt x="30" y="0"/>
                    <a:pt x="23" y="0"/>
                  </a:cubicBezTo>
                  <a:cubicBezTo>
                    <a:pt x="10" y="0"/>
                    <a:pt x="0" y="12"/>
                    <a:pt x="0" y="24"/>
                  </a:cubicBezTo>
                  <a:cubicBezTo>
                    <a:pt x="0" y="36"/>
                    <a:pt x="10" y="48"/>
                    <a:pt x="23" y="48"/>
                  </a:cubicBezTo>
                  <a:cubicBezTo>
                    <a:pt x="23" y="48"/>
                    <a:pt x="23" y="48"/>
                    <a:pt x="64" y="48"/>
                  </a:cubicBezTo>
                  <a:cubicBezTo>
                    <a:pt x="64" y="48"/>
                    <a:pt x="64" y="48"/>
                    <a:pt x="64" y="48"/>
                  </a:cubicBezTo>
                  <a:cubicBezTo>
                    <a:pt x="76" y="48"/>
                    <a:pt x="90" y="48"/>
                    <a:pt x="109" y="48"/>
                  </a:cubicBezTo>
                  <a:cubicBezTo>
                    <a:pt x="120" y="48"/>
                    <a:pt x="130" y="36"/>
                    <a:pt x="130" y="24"/>
                  </a:cubicBezTo>
                  <a:cubicBezTo>
                    <a:pt x="130" y="12"/>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1" name="Freeform 57">
              <a:extLst>
                <a:ext uri="{FF2B5EF4-FFF2-40B4-BE49-F238E27FC236}">
                  <a16:creationId xmlns:a16="http://schemas.microsoft.com/office/drawing/2014/main" id="{19389836-9310-1643-8F6D-4145069D0261}"/>
                </a:ext>
              </a:extLst>
            </p:cNvPr>
            <p:cNvSpPr>
              <a:spLocks noEditPoints="1"/>
            </p:cNvSpPr>
            <p:nvPr/>
          </p:nvSpPr>
          <p:spPr bwMode="auto">
            <a:xfrm>
              <a:off x="7881938" y="1976438"/>
              <a:ext cx="17463" cy="60325"/>
            </a:xfrm>
            <a:custGeom>
              <a:avLst/>
              <a:gdLst>
                <a:gd name="T0" fmla="*/ 43 w 43"/>
                <a:gd name="T1" fmla="*/ 4 h 150"/>
                <a:gd name="T2" fmla="*/ 22 w 43"/>
                <a:gd name="T3" fmla="*/ 26 h 150"/>
                <a:gd name="T4" fmla="*/ 0 w 43"/>
                <a:gd name="T5" fmla="*/ 26 h 150"/>
                <a:gd name="T6" fmla="*/ 0 w 43"/>
                <a:gd name="T7" fmla="*/ 150 h 150"/>
                <a:gd name="T8" fmla="*/ 43 w 43"/>
                <a:gd name="T9" fmla="*/ 150 h 150"/>
                <a:gd name="T10" fmla="*/ 43 w 43"/>
                <a:gd name="T11" fmla="*/ 4 h 150"/>
                <a:gd name="T12" fmla="*/ 42 w 43"/>
                <a:gd name="T13" fmla="*/ 0 h 150"/>
                <a:gd name="T14" fmla="*/ 43 w 43"/>
                <a:gd name="T15" fmla="*/ 4 h 150"/>
                <a:gd name="T16" fmla="*/ 43 w 43"/>
                <a:gd name="T17" fmla="*/ 4 h 150"/>
                <a:gd name="T18" fmla="*/ 43 w 43"/>
                <a:gd name="T19" fmla="*/ 0 h 150"/>
                <a:gd name="T20" fmla="*/ 42 w 43"/>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50">
                  <a:moveTo>
                    <a:pt x="43" y="4"/>
                  </a:moveTo>
                  <a:cubicBezTo>
                    <a:pt x="43" y="15"/>
                    <a:pt x="33" y="24"/>
                    <a:pt x="22" y="26"/>
                  </a:cubicBezTo>
                  <a:cubicBezTo>
                    <a:pt x="12" y="26"/>
                    <a:pt x="5" y="26"/>
                    <a:pt x="0" y="26"/>
                  </a:cubicBezTo>
                  <a:cubicBezTo>
                    <a:pt x="0" y="45"/>
                    <a:pt x="0" y="82"/>
                    <a:pt x="0" y="150"/>
                  </a:cubicBezTo>
                  <a:cubicBezTo>
                    <a:pt x="19" y="150"/>
                    <a:pt x="33" y="150"/>
                    <a:pt x="43" y="150"/>
                  </a:cubicBezTo>
                  <a:cubicBezTo>
                    <a:pt x="43" y="127"/>
                    <a:pt x="43" y="84"/>
                    <a:pt x="43" y="4"/>
                  </a:cubicBezTo>
                  <a:moveTo>
                    <a:pt x="42" y="0"/>
                  </a:moveTo>
                  <a:cubicBezTo>
                    <a:pt x="43" y="2"/>
                    <a:pt x="43" y="3"/>
                    <a:pt x="43" y="4"/>
                  </a:cubicBezTo>
                  <a:cubicBezTo>
                    <a:pt x="43" y="4"/>
                    <a:pt x="43" y="4"/>
                    <a:pt x="43" y="4"/>
                  </a:cubicBezTo>
                  <a:cubicBezTo>
                    <a:pt x="43" y="3"/>
                    <a:pt x="43" y="1"/>
                    <a:pt x="43" y="0"/>
                  </a:cubicBezTo>
                  <a:cubicBezTo>
                    <a:pt x="43" y="0"/>
                    <a:pt x="42" y="0"/>
                    <a:pt x="4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2" name="Freeform 58">
              <a:extLst>
                <a:ext uri="{FF2B5EF4-FFF2-40B4-BE49-F238E27FC236}">
                  <a16:creationId xmlns:a16="http://schemas.microsoft.com/office/drawing/2014/main" id="{3C57EF48-757D-8A41-96BE-E9A5644DC370}"/>
                </a:ext>
              </a:extLst>
            </p:cNvPr>
            <p:cNvSpPr>
              <a:spLocks/>
            </p:cNvSpPr>
            <p:nvPr/>
          </p:nvSpPr>
          <p:spPr bwMode="auto">
            <a:xfrm>
              <a:off x="7864476" y="1970088"/>
              <a:ext cx="34925" cy="17463"/>
            </a:xfrm>
            <a:custGeom>
              <a:avLst/>
              <a:gdLst>
                <a:gd name="T0" fmla="*/ 36 w 86"/>
                <a:gd name="T1" fmla="*/ 0 h 42"/>
                <a:gd name="T2" fmla="*/ 23 w 86"/>
                <a:gd name="T3" fmla="*/ 1 h 42"/>
                <a:gd name="T4" fmla="*/ 2 w 86"/>
                <a:gd name="T5" fmla="*/ 23 h 42"/>
                <a:gd name="T6" fmla="*/ 23 w 86"/>
                <a:gd name="T7" fmla="*/ 42 h 42"/>
                <a:gd name="T8" fmla="*/ 25 w 86"/>
                <a:gd name="T9" fmla="*/ 42 h 42"/>
                <a:gd name="T10" fmla="*/ 43 w 86"/>
                <a:gd name="T11" fmla="*/ 42 h 42"/>
                <a:gd name="T12" fmla="*/ 65 w 86"/>
                <a:gd name="T13" fmla="*/ 42 h 42"/>
                <a:gd name="T14" fmla="*/ 86 w 86"/>
                <a:gd name="T15" fmla="*/ 20 h 42"/>
                <a:gd name="T16" fmla="*/ 86 w 86"/>
                <a:gd name="T17" fmla="*/ 20 h 42"/>
                <a:gd name="T18" fmla="*/ 86 w 86"/>
                <a:gd name="T19" fmla="*/ 20 h 42"/>
                <a:gd name="T20" fmla="*/ 85 w 86"/>
                <a:gd name="T21" fmla="*/ 16 h 42"/>
                <a:gd name="T22" fmla="*/ 36 w 8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42">
                  <a:moveTo>
                    <a:pt x="36" y="0"/>
                  </a:moveTo>
                  <a:cubicBezTo>
                    <a:pt x="32" y="0"/>
                    <a:pt x="28" y="1"/>
                    <a:pt x="23" y="1"/>
                  </a:cubicBezTo>
                  <a:cubicBezTo>
                    <a:pt x="11" y="1"/>
                    <a:pt x="0" y="10"/>
                    <a:pt x="2" y="23"/>
                  </a:cubicBezTo>
                  <a:cubicBezTo>
                    <a:pt x="2" y="33"/>
                    <a:pt x="11" y="42"/>
                    <a:pt x="23" y="42"/>
                  </a:cubicBezTo>
                  <a:cubicBezTo>
                    <a:pt x="23" y="42"/>
                    <a:pt x="23" y="42"/>
                    <a:pt x="25" y="42"/>
                  </a:cubicBezTo>
                  <a:cubicBezTo>
                    <a:pt x="25" y="42"/>
                    <a:pt x="25" y="42"/>
                    <a:pt x="43" y="42"/>
                  </a:cubicBezTo>
                  <a:cubicBezTo>
                    <a:pt x="48" y="42"/>
                    <a:pt x="55" y="42"/>
                    <a:pt x="65" y="42"/>
                  </a:cubicBezTo>
                  <a:cubicBezTo>
                    <a:pt x="76" y="40"/>
                    <a:pt x="86" y="31"/>
                    <a:pt x="86" y="20"/>
                  </a:cubicBezTo>
                  <a:cubicBezTo>
                    <a:pt x="86" y="20"/>
                    <a:pt x="86" y="20"/>
                    <a:pt x="86" y="20"/>
                  </a:cubicBezTo>
                  <a:cubicBezTo>
                    <a:pt x="86" y="20"/>
                    <a:pt x="86" y="20"/>
                    <a:pt x="86" y="20"/>
                  </a:cubicBezTo>
                  <a:cubicBezTo>
                    <a:pt x="86" y="19"/>
                    <a:pt x="86" y="18"/>
                    <a:pt x="85" y="16"/>
                  </a:cubicBezTo>
                  <a:cubicBezTo>
                    <a:pt x="69" y="11"/>
                    <a:pt x="53" y="5"/>
                    <a:pt x="36"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3" name="Freeform 59">
              <a:extLst>
                <a:ext uri="{FF2B5EF4-FFF2-40B4-BE49-F238E27FC236}">
                  <a16:creationId xmlns:a16="http://schemas.microsoft.com/office/drawing/2014/main" id="{75052175-931D-FF48-AC12-C577A773B871}"/>
                </a:ext>
              </a:extLst>
            </p:cNvPr>
            <p:cNvSpPr>
              <a:spLocks/>
            </p:cNvSpPr>
            <p:nvPr/>
          </p:nvSpPr>
          <p:spPr bwMode="auto">
            <a:xfrm>
              <a:off x="7861301" y="2036763"/>
              <a:ext cx="53975" cy="19050"/>
            </a:xfrm>
            <a:custGeom>
              <a:avLst/>
              <a:gdLst>
                <a:gd name="T0" fmla="*/ 114 w 135"/>
                <a:gd name="T1" fmla="*/ 0 h 48"/>
                <a:gd name="T2" fmla="*/ 92 w 135"/>
                <a:gd name="T3" fmla="*/ 0 h 48"/>
                <a:gd name="T4" fmla="*/ 49 w 135"/>
                <a:gd name="T5" fmla="*/ 0 h 48"/>
                <a:gd name="T6" fmla="*/ 24 w 135"/>
                <a:gd name="T7" fmla="*/ 0 h 48"/>
                <a:gd name="T8" fmla="*/ 0 w 135"/>
                <a:gd name="T9" fmla="*/ 24 h 48"/>
                <a:gd name="T10" fmla="*/ 24 w 135"/>
                <a:gd name="T11" fmla="*/ 48 h 48"/>
                <a:gd name="T12" fmla="*/ 70 w 135"/>
                <a:gd name="T13" fmla="*/ 48 h 48"/>
                <a:gd name="T14" fmla="*/ 70 w 135"/>
                <a:gd name="T15" fmla="*/ 48 h 48"/>
                <a:gd name="T16" fmla="*/ 114 w 135"/>
                <a:gd name="T17" fmla="*/ 48 h 48"/>
                <a:gd name="T18" fmla="*/ 135 w 135"/>
                <a:gd name="T19" fmla="*/ 24 h 48"/>
                <a:gd name="T20" fmla="*/ 114 w 135"/>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48">
                  <a:moveTo>
                    <a:pt x="114" y="0"/>
                  </a:moveTo>
                  <a:cubicBezTo>
                    <a:pt x="114" y="0"/>
                    <a:pt x="114" y="0"/>
                    <a:pt x="92" y="0"/>
                  </a:cubicBezTo>
                  <a:cubicBezTo>
                    <a:pt x="82" y="0"/>
                    <a:pt x="68" y="0"/>
                    <a:pt x="49" y="0"/>
                  </a:cubicBezTo>
                  <a:cubicBezTo>
                    <a:pt x="41" y="0"/>
                    <a:pt x="33" y="0"/>
                    <a:pt x="24" y="0"/>
                  </a:cubicBezTo>
                  <a:cubicBezTo>
                    <a:pt x="10" y="0"/>
                    <a:pt x="0" y="12"/>
                    <a:pt x="0" y="24"/>
                  </a:cubicBezTo>
                  <a:cubicBezTo>
                    <a:pt x="0" y="36"/>
                    <a:pt x="10" y="48"/>
                    <a:pt x="24" y="48"/>
                  </a:cubicBezTo>
                  <a:cubicBezTo>
                    <a:pt x="24" y="48"/>
                    <a:pt x="24" y="48"/>
                    <a:pt x="70" y="48"/>
                  </a:cubicBezTo>
                  <a:cubicBezTo>
                    <a:pt x="70" y="48"/>
                    <a:pt x="70" y="48"/>
                    <a:pt x="70" y="48"/>
                  </a:cubicBezTo>
                  <a:cubicBezTo>
                    <a:pt x="81" y="48"/>
                    <a:pt x="96" y="48"/>
                    <a:pt x="114" y="48"/>
                  </a:cubicBezTo>
                  <a:cubicBezTo>
                    <a:pt x="125" y="48"/>
                    <a:pt x="135" y="36"/>
                    <a:pt x="135" y="24"/>
                  </a:cubicBezTo>
                  <a:cubicBezTo>
                    <a:pt x="135" y="12"/>
                    <a:pt x="125" y="0"/>
                    <a:pt x="11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4" name="Freeform 60">
              <a:extLst>
                <a:ext uri="{FF2B5EF4-FFF2-40B4-BE49-F238E27FC236}">
                  <a16:creationId xmlns:a16="http://schemas.microsoft.com/office/drawing/2014/main" id="{831E64DA-9E0C-4F4D-9F72-410F383C6871}"/>
                </a:ext>
              </a:extLst>
            </p:cNvPr>
            <p:cNvSpPr>
              <a:spLocks noEditPoints="1"/>
            </p:cNvSpPr>
            <p:nvPr/>
          </p:nvSpPr>
          <p:spPr bwMode="auto">
            <a:xfrm>
              <a:off x="7705726" y="1970088"/>
              <a:ext cx="71438" cy="85725"/>
            </a:xfrm>
            <a:custGeom>
              <a:avLst/>
              <a:gdLst>
                <a:gd name="T0" fmla="*/ 89 w 178"/>
                <a:gd name="T1" fmla="*/ 173 h 215"/>
                <a:gd name="T2" fmla="*/ 45 w 178"/>
                <a:gd name="T3" fmla="*/ 108 h 215"/>
                <a:gd name="T4" fmla="*/ 89 w 178"/>
                <a:gd name="T5" fmla="*/ 43 h 215"/>
                <a:gd name="T6" fmla="*/ 134 w 178"/>
                <a:gd name="T7" fmla="*/ 108 h 215"/>
                <a:gd name="T8" fmla="*/ 89 w 178"/>
                <a:gd name="T9" fmla="*/ 173 h 215"/>
                <a:gd name="T10" fmla="*/ 89 w 178"/>
                <a:gd name="T11" fmla="*/ 0 h 215"/>
                <a:gd name="T12" fmla="*/ 0 w 178"/>
                <a:gd name="T13" fmla="*/ 108 h 215"/>
                <a:gd name="T14" fmla="*/ 89 w 178"/>
                <a:gd name="T15" fmla="*/ 215 h 215"/>
                <a:gd name="T16" fmla="*/ 178 w 178"/>
                <a:gd name="T17" fmla="*/ 108 h 215"/>
                <a:gd name="T18" fmla="*/ 89 w 178"/>
                <a:gd name="T1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5">
                  <a:moveTo>
                    <a:pt x="89" y="173"/>
                  </a:moveTo>
                  <a:cubicBezTo>
                    <a:pt x="65" y="173"/>
                    <a:pt x="45" y="143"/>
                    <a:pt x="45" y="108"/>
                  </a:cubicBezTo>
                  <a:cubicBezTo>
                    <a:pt x="45" y="73"/>
                    <a:pt x="65" y="43"/>
                    <a:pt x="89" y="43"/>
                  </a:cubicBezTo>
                  <a:cubicBezTo>
                    <a:pt x="114" y="43"/>
                    <a:pt x="134" y="73"/>
                    <a:pt x="134" y="108"/>
                  </a:cubicBezTo>
                  <a:cubicBezTo>
                    <a:pt x="134" y="143"/>
                    <a:pt x="114" y="173"/>
                    <a:pt x="89" y="173"/>
                  </a:cubicBezTo>
                  <a:moveTo>
                    <a:pt x="89" y="0"/>
                  </a:moveTo>
                  <a:cubicBezTo>
                    <a:pt x="41" y="0"/>
                    <a:pt x="0" y="48"/>
                    <a:pt x="0" y="108"/>
                  </a:cubicBezTo>
                  <a:cubicBezTo>
                    <a:pt x="0" y="167"/>
                    <a:pt x="41" y="215"/>
                    <a:pt x="89" y="215"/>
                  </a:cubicBezTo>
                  <a:cubicBezTo>
                    <a:pt x="138" y="215"/>
                    <a:pt x="178" y="167"/>
                    <a:pt x="178" y="108"/>
                  </a:cubicBezTo>
                  <a:cubicBezTo>
                    <a:pt x="178" y="48"/>
                    <a:pt x="138"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5" name="Freeform 61">
              <a:extLst>
                <a:ext uri="{FF2B5EF4-FFF2-40B4-BE49-F238E27FC236}">
                  <a16:creationId xmlns:a16="http://schemas.microsoft.com/office/drawing/2014/main" id="{40121ECB-2882-DE42-9549-CB9D0EDE4FBA}"/>
                </a:ext>
              </a:extLst>
            </p:cNvPr>
            <p:cNvSpPr>
              <a:spLocks/>
            </p:cNvSpPr>
            <p:nvPr/>
          </p:nvSpPr>
          <p:spPr bwMode="auto">
            <a:xfrm>
              <a:off x="7931151" y="1992313"/>
              <a:ext cx="69850" cy="63500"/>
            </a:xfrm>
            <a:custGeom>
              <a:avLst/>
              <a:gdLst>
                <a:gd name="T0" fmla="*/ 11 w 173"/>
                <a:gd name="T1" fmla="*/ 0 h 159"/>
                <a:gd name="T2" fmla="*/ 0 w 173"/>
                <a:gd name="T3" fmla="*/ 52 h 159"/>
                <a:gd name="T4" fmla="*/ 92 w 173"/>
                <a:gd name="T5" fmla="*/ 159 h 159"/>
                <a:gd name="T6" fmla="*/ 173 w 173"/>
                <a:gd name="T7" fmla="*/ 100 h 159"/>
                <a:gd name="T8" fmla="*/ 137 w 173"/>
                <a:gd name="T9" fmla="*/ 73 h 159"/>
                <a:gd name="T10" fmla="*/ 92 w 173"/>
                <a:gd name="T11" fmla="*/ 117 h 159"/>
                <a:gd name="T12" fmla="*/ 45 w 173"/>
                <a:gd name="T13" fmla="*/ 52 h 159"/>
                <a:gd name="T14" fmla="*/ 51 w 173"/>
                <a:gd name="T15" fmla="*/ 20 h 159"/>
                <a:gd name="T16" fmla="*/ 11 w 173"/>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59">
                  <a:moveTo>
                    <a:pt x="11" y="0"/>
                  </a:moveTo>
                  <a:cubicBezTo>
                    <a:pt x="4" y="15"/>
                    <a:pt x="0" y="33"/>
                    <a:pt x="0" y="52"/>
                  </a:cubicBezTo>
                  <a:cubicBezTo>
                    <a:pt x="0" y="111"/>
                    <a:pt x="41" y="159"/>
                    <a:pt x="92" y="159"/>
                  </a:cubicBezTo>
                  <a:cubicBezTo>
                    <a:pt x="127" y="159"/>
                    <a:pt x="158" y="135"/>
                    <a:pt x="173" y="100"/>
                  </a:cubicBezTo>
                  <a:cubicBezTo>
                    <a:pt x="161" y="91"/>
                    <a:pt x="149" y="82"/>
                    <a:pt x="137" y="73"/>
                  </a:cubicBezTo>
                  <a:cubicBezTo>
                    <a:pt x="130" y="98"/>
                    <a:pt x="112" y="117"/>
                    <a:pt x="92" y="117"/>
                  </a:cubicBezTo>
                  <a:cubicBezTo>
                    <a:pt x="66" y="117"/>
                    <a:pt x="45" y="87"/>
                    <a:pt x="45" y="52"/>
                  </a:cubicBezTo>
                  <a:cubicBezTo>
                    <a:pt x="45" y="40"/>
                    <a:pt x="47" y="30"/>
                    <a:pt x="51" y="20"/>
                  </a:cubicBezTo>
                  <a:cubicBezTo>
                    <a:pt x="38" y="13"/>
                    <a:pt x="25" y="6"/>
                    <a:pt x="1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6" name="Freeform 62">
              <a:extLst>
                <a:ext uri="{FF2B5EF4-FFF2-40B4-BE49-F238E27FC236}">
                  <a16:creationId xmlns:a16="http://schemas.microsoft.com/office/drawing/2014/main" id="{2CAC5FB2-A9E6-3B4F-954D-099215E411FB}"/>
                </a:ext>
              </a:extLst>
            </p:cNvPr>
            <p:cNvSpPr>
              <a:spLocks noEditPoints="1"/>
            </p:cNvSpPr>
            <p:nvPr/>
          </p:nvSpPr>
          <p:spPr bwMode="auto">
            <a:xfrm>
              <a:off x="7812088" y="2227263"/>
              <a:ext cx="17463" cy="68263"/>
            </a:xfrm>
            <a:custGeom>
              <a:avLst/>
              <a:gdLst>
                <a:gd name="T0" fmla="*/ 43 w 43"/>
                <a:gd name="T1" fmla="*/ 21 h 167"/>
                <a:gd name="T2" fmla="*/ 23 w 43"/>
                <a:gd name="T3" fmla="*/ 43 h 167"/>
                <a:gd name="T4" fmla="*/ 0 w 43"/>
                <a:gd name="T5" fmla="*/ 43 h 167"/>
                <a:gd name="T6" fmla="*/ 0 w 43"/>
                <a:gd name="T7" fmla="*/ 167 h 167"/>
                <a:gd name="T8" fmla="*/ 43 w 43"/>
                <a:gd name="T9" fmla="*/ 167 h 167"/>
                <a:gd name="T10" fmla="*/ 43 w 43"/>
                <a:gd name="T11" fmla="*/ 21 h 167"/>
                <a:gd name="T12" fmla="*/ 21 w 43"/>
                <a:gd name="T13" fmla="*/ 0 h 167"/>
                <a:gd name="T14" fmla="*/ 21 w 43"/>
                <a:gd name="T15" fmla="*/ 0 h 167"/>
                <a:gd name="T16" fmla="*/ 43 w 43"/>
                <a:gd name="T17" fmla="*/ 21 h 167"/>
                <a:gd name="T18" fmla="*/ 43 w 43"/>
                <a:gd name="T19" fmla="*/ 20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21"/>
                  </a:moveTo>
                  <a:cubicBezTo>
                    <a:pt x="43" y="32"/>
                    <a:pt x="34" y="41"/>
                    <a:pt x="23" y="43"/>
                  </a:cubicBezTo>
                  <a:cubicBezTo>
                    <a:pt x="13" y="43"/>
                    <a:pt x="6" y="43"/>
                    <a:pt x="0" y="43"/>
                  </a:cubicBezTo>
                  <a:cubicBezTo>
                    <a:pt x="0" y="63"/>
                    <a:pt x="0" y="99"/>
                    <a:pt x="0" y="167"/>
                  </a:cubicBezTo>
                  <a:cubicBezTo>
                    <a:pt x="20" y="167"/>
                    <a:pt x="34" y="167"/>
                    <a:pt x="43" y="167"/>
                  </a:cubicBezTo>
                  <a:cubicBezTo>
                    <a:pt x="43" y="146"/>
                    <a:pt x="43" y="104"/>
                    <a:pt x="43" y="21"/>
                  </a:cubicBezTo>
                  <a:moveTo>
                    <a:pt x="21" y="0"/>
                  </a:moveTo>
                  <a:cubicBezTo>
                    <a:pt x="21" y="0"/>
                    <a:pt x="21" y="0"/>
                    <a:pt x="21" y="0"/>
                  </a:cubicBezTo>
                  <a:cubicBezTo>
                    <a:pt x="34" y="0"/>
                    <a:pt x="43" y="9"/>
                    <a:pt x="43" y="21"/>
                  </a:cubicBezTo>
                  <a:cubicBezTo>
                    <a:pt x="43" y="21"/>
                    <a:pt x="43" y="21"/>
                    <a:pt x="43" y="20"/>
                  </a:cubicBezTo>
                  <a:cubicBezTo>
                    <a:pt x="43" y="9"/>
                    <a:pt x="34"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7" name="Freeform 63">
              <a:extLst>
                <a:ext uri="{FF2B5EF4-FFF2-40B4-BE49-F238E27FC236}">
                  <a16:creationId xmlns:a16="http://schemas.microsoft.com/office/drawing/2014/main" id="{B516C082-369F-3E4A-AF57-EB8FCD41D665}"/>
                </a:ext>
              </a:extLst>
            </p:cNvPr>
            <p:cNvSpPr>
              <a:spLocks/>
            </p:cNvSpPr>
            <p:nvPr/>
          </p:nvSpPr>
          <p:spPr bwMode="auto">
            <a:xfrm>
              <a:off x="7794626" y="2227263"/>
              <a:ext cx="34925" cy="17463"/>
            </a:xfrm>
            <a:custGeom>
              <a:avLst/>
              <a:gdLst>
                <a:gd name="T0" fmla="*/ 64 w 86"/>
                <a:gd name="T1" fmla="*/ 0 h 43"/>
                <a:gd name="T2" fmla="*/ 23 w 86"/>
                <a:gd name="T3" fmla="*/ 2 h 43"/>
                <a:gd name="T4" fmla="*/ 2 w 86"/>
                <a:gd name="T5" fmla="*/ 24 h 43"/>
                <a:gd name="T6" fmla="*/ 23 w 86"/>
                <a:gd name="T7" fmla="*/ 43 h 43"/>
                <a:gd name="T8" fmla="*/ 25 w 86"/>
                <a:gd name="T9" fmla="*/ 43 h 43"/>
                <a:gd name="T10" fmla="*/ 43 w 86"/>
                <a:gd name="T11" fmla="*/ 43 h 43"/>
                <a:gd name="T12" fmla="*/ 66 w 86"/>
                <a:gd name="T13" fmla="*/ 43 h 43"/>
                <a:gd name="T14" fmla="*/ 86 w 86"/>
                <a:gd name="T15" fmla="*/ 21 h 43"/>
                <a:gd name="T16" fmla="*/ 86 w 86"/>
                <a:gd name="T17" fmla="*/ 21 h 43"/>
                <a:gd name="T18" fmla="*/ 86 w 86"/>
                <a:gd name="T19" fmla="*/ 21 h 43"/>
                <a:gd name="T20" fmla="*/ 64 w 86"/>
                <a:gd name="T21" fmla="*/ 0 h 43"/>
                <a:gd name="T22" fmla="*/ 64 w 86"/>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43">
                  <a:moveTo>
                    <a:pt x="64" y="0"/>
                  </a:moveTo>
                  <a:cubicBezTo>
                    <a:pt x="64" y="0"/>
                    <a:pt x="64" y="0"/>
                    <a:pt x="23" y="2"/>
                  </a:cubicBezTo>
                  <a:cubicBezTo>
                    <a:pt x="12" y="2"/>
                    <a:pt x="0" y="11"/>
                    <a:pt x="2" y="24"/>
                  </a:cubicBezTo>
                  <a:cubicBezTo>
                    <a:pt x="2" y="34"/>
                    <a:pt x="12" y="43"/>
                    <a:pt x="23" y="43"/>
                  </a:cubicBezTo>
                  <a:cubicBezTo>
                    <a:pt x="23" y="43"/>
                    <a:pt x="23" y="43"/>
                    <a:pt x="25" y="43"/>
                  </a:cubicBezTo>
                  <a:cubicBezTo>
                    <a:pt x="25" y="43"/>
                    <a:pt x="25" y="43"/>
                    <a:pt x="43" y="43"/>
                  </a:cubicBezTo>
                  <a:cubicBezTo>
                    <a:pt x="49" y="43"/>
                    <a:pt x="56" y="43"/>
                    <a:pt x="66" y="43"/>
                  </a:cubicBezTo>
                  <a:cubicBezTo>
                    <a:pt x="77" y="41"/>
                    <a:pt x="86" y="32"/>
                    <a:pt x="86" y="21"/>
                  </a:cubicBezTo>
                  <a:cubicBezTo>
                    <a:pt x="86" y="21"/>
                    <a:pt x="86" y="21"/>
                    <a:pt x="86" y="21"/>
                  </a:cubicBezTo>
                  <a:cubicBezTo>
                    <a:pt x="86" y="21"/>
                    <a:pt x="86" y="21"/>
                    <a:pt x="86" y="21"/>
                  </a:cubicBezTo>
                  <a:cubicBezTo>
                    <a:pt x="86" y="9"/>
                    <a:pt x="77" y="0"/>
                    <a:pt x="64" y="0"/>
                  </a:cubicBezTo>
                  <a:cubicBezTo>
                    <a:pt x="64" y="0"/>
                    <a:pt x="64" y="0"/>
                    <a:pt x="6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8" name="Freeform 64">
              <a:extLst>
                <a:ext uri="{FF2B5EF4-FFF2-40B4-BE49-F238E27FC236}">
                  <a16:creationId xmlns:a16="http://schemas.microsoft.com/office/drawing/2014/main" id="{70791FB9-99F8-E945-9C52-D13A46DC40CA}"/>
                </a:ext>
              </a:extLst>
            </p:cNvPr>
            <p:cNvSpPr>
              <a:spLocks/>
            </p:cNvSpPr>
            <p:nvPr/>
          </p:nvSpPr>
          <p:spPr bwMode="auto">
            <a:xfrm>
              <a:off x="7794626" y="2295525"/>
              <a:ext cx="52388" cy="15875"/>
            </a:xfrm>
            <a:custGeom>
              <a:avLst/>
              <a:gdLst>
                <a:gd name="T0" fmla="*/ 109 w 130"/>
                <a:gd name="T1" fmla="*/ 0 h 43"/>
                <a:gd name="T2" fmla="*/ 86 w 130"/>
                <a:gd name="T3" fmla="*/ 0 h 43"/>
                <a:gd name="T4" fmla="*/ 43 w 130"/>
                <a:gd name="T5" fmla="*/ 0 h 43"/>
                <a:gd name="T6" fmla="*/ 23 w 130"/>
                <a:gd name="T7" fmla="*/ 0 h 43"/>
                <a:gd name="T8" fmla="*/ 0 w 130"/>
                <a:gd name="T9" fmla="*/ 21 h 43"/>
                <a:gd name="T10" fmla="*/ 23 w 130"/>
                <a:gd name="T11" fmla="*/ 43 h 43"/>
                <a:gd name="T12" fmla="*/ 64 w 130"/>
                <a:gd name="T13" fmla="*/ 43 h 43"/>
                <a:gd name="T14" fmla="*/ 64 w 130"/>
                <a:gd name="T15" fmla="*/ 43 h 43"/>
                <a:gd name="T16" fmla="*/ 109 w 130"/>
                <a:gd name="T17" fmla="*/ 43 h 43"/>
                <a:gd name="T18" fmla="*/ 130 w 130"/>
                <a:gd name="T19" fmla="*/ 21 h 43"/>
                <a:gd name="T20" fmla="*/ 109 w 130"/>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43">
                  <a:moveTo>
                    <a:pt x="109" y="0"/>
                  </a:moveTo>
                  <a:cubicBezTo>
                    <a:pt x="109" y="0"/>
                    <a:pt x="109" y="0"/>
                    <a:pt x="86" y="0"/>
                  </a:cubicBezTo>
                  <a:cubicBezTo>
                    <a:pt x="77" y="0"/>
                    <a:pt x="63" y="0"/>
                    <a:pt x="43" y="0"/>
                  </a:cubicBezTo>
                  <a:cubicBezTo>
                    <a:pt x="37" y="0"/>
                    <a:pt x="30" y="0"/>
                    <a:pt x="23" y="0"/>
                  </a:cubicBezTo>
                  <a:cubicBezTo>
                    <a:pt x="10" y="0"/>
                    <a:pt x="0" y="11"/>
                    <a:pt x="0" y="21"/>
                  </a:cubicBezTo>
                  <a:cubicBezTo>
                    <a:pt x="0" y="32"/>
                    <a:pt x="10" y="43"/>
                    <a:pt x="23" y="43"/>
                  </a:cubicBezTo>
                  <a:cubicBezTo>
                    <a:pt x="23" y="43"/>
                    <a:pt x="23" y="43"/>
                    <a:pt x="64" y="43"/>
                  </a:cubicBezTo>
                  <a:cubicBezTo>
                    <a:pt x="64" y="43"/>
                    <a:pt x="64" y="43"/>
                    <a:pt x="64" y="43"/>
                  </a:cubicBezTo>
                  <a:cubicBezTo>
                    <a:pt x="76" y="43"/>
                    <a:pt x="90" y="43"/>
                    <a:pt x="109" y="43"/>
                  </a:cubicBezTo>
                  <a:cubicBezTo>
                    <a:pt x="120" y="43"/>
                    <a:pt x="130" y="32"/>
                    <a:pt x="130" y="21"/>
                  </a:cubicBezTo>
                  <a:cubicBezTo>
                    <a:pt x="130" y="11"/>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49" name="Freeform 65">
              <a:extLst>
                <a:ext uri="{FF2B5EF4-FFF2-40B4-BE49-F238E27FC236}">
                  <a16:creationId xmlns:a16="http://schemas.microsoft.com/office/drawing/2014/main" id="{76F79B9F-4455-1C4F-AAD2-DD48F2DB1ADC}"/>
                </a:ext>
              </a:extLst>
            </p:cNvPr>
            <p:cNvSpPr>
              <a:spLocks/>
            </p:cNvSpPr>
            <p:nvPr/>
          </p:nvSpPr>
          <p:spPr bwMode="auto">
            <a:xfrm>
              <a:off x="8139113" y="2249488"/>
              <a:ext cx="6350" cy="46038"/>
            </a:xfrm>
            <a:custGeom>
              <a:avLst/>
              <a:gdLst>
                <a:gd name="T0" fmla="*/ 0 w 18"/>
                <a:gd name="T1" fmla="*/ 0 h 114"/>
                <a:gd name="T2" fmla="*/ 0 w 18"/>
                <a:gd name="T3" fmla="*/ 114 h 114"/>
                <a:gd name="T4" fmla="*/ 18 w 18"/>
                <a:gd name="T5" fmla="*/ 114 h 114"/>
                <a:gd name="T6" fmla="*/ 0 w 18"/>
                <a:gd name="T7" fmla="*/ 0 h 114"/>
              </a:gdLst>
              <a:ahLst/>
              <a:cxnLst>
                <a:cxn ang="0">
                  <a:pos x="T0" y="T1"/>
                </a:cxn>
                <a:cxn ang="0">
                  <a:pos x="T2" y="T3"/>
                </a:cxn>
                <a:cxn ang="0">
                  <a:pos x="T4" y="T5"/>
                </a:cxn>
                <a:cxn ang="0">
                  <a:pos x="T6" y="T7"/>
                </a:cxn>
              </a:cxnLst>
              <a:rect l="0" t="0" r="r" b="b"/>
              <a:pathLst>
                <a:path w="18" h="114">
                  <a:moveTo>
                    <a:pt x="0" y="0"/>
                  </a:moveTo>
                  <a:cubicBezTo>
                    <a:pt x="0" y="21"/>
                    <a:pt x="0" y="56"/>
                    <a:pt x="0" y="114"/>
                  </a:cubicBezTo>
                  <a:cubicBezTo>
                    <a:pt x="6" y="114"/>
                    <a:pt x="12" y="114"/>
                    <a:pt x="18" y="114"/>
                  </a:cubicBezTo>
                  <a:cubicBezTo>
                    <a:pt x="14" y="75"/>
                    <a:pt x="8" y="37"/>
                    <a:pt x="0"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0" name="Freeform 66">
              <a:extLst>
                <a:ext uri="{FF2B5EF4-FFF2-40B4-BE49-F238E27FC236}">
                  <a16:creationId xmlns:a16="http://schemas.microsoft.com/office/drawing/2014/main" id="{B4C46C7A-0D31-BA43-8116-7E3A713CC859}"/>
                </a:ext>
              </a:extLst>
            </p:cNvPr>
            <p:cNvSpPr>
              <a:spLocks/>
            </p:cNvSpPr>
            <p:nvPr/>
          </p:nvSpPr>
          <p:spPr bwMode="auto">
            <a:xfrm>
              <a:off x="8123238" y="2228850"/>
              <a:ext cx="14288" cy="15875"/>
            </a:xfrm>
            <a:custGeom>
              <a:avLst/>
              <a:gdLst>
                <a:gd name="T0" fmla="*/ 25 w 36"/>
                <a:gd name="T1" fmla="*/ 0 h 41"/>
                <a:gd name="T2" fmla="*/ 22 w 36"/>
                <a:gd name="T3" fmla="*/ 0 h 41"/>
                <a:gd name="T4" fmla="*/ 2 w 36"/>
                <a:gd name="T5" fmla="*/ 22 h 41"/>
                <a:gd name="T6" fmla="*/ 22 w 36"/>
                <a:gd name="T7" fmla="*/ 41 h 41"/>
                <a:gd name="T8" fmla="*/ 24 w 36"/>
                <a:gd name="T9" fmla="*/ 41 h 41"/>
                <a:gd name="T10" fmla="*/ 36 w 36"/>
                <a:gd name="T11" fmla="*/ 41 h 41"/>
                <a:gd name="T12" fmla="*/ 25 w 36"/>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6" h="41">
                  <a:moveTo>
                    <a:pt x="25" y="0"/>
                  </a:moveTo>
                  <a:cubicBezTo>
                    <a:pt x="24" y="0"/>
                    <a:pt x="23" y="0"/>
                    <a:pt x="22" y="0"/>
                  </a:cubicBezTo>
                  <a:cubicBezTo>
                    <a:pt x="11" y="0"/>
                    <a:pt x="0" y="9"/>
                    <a:pt x="2" y="22"/>
                  </a:cubicBezTo>
                  <a:cubicBezTo>
                    <a:pt x="2" y="32"/>
                    <a:pt x="11" y="41"/>
                    <a:pt x="22" y="41"/>
                  </a:cubicBezTo>
                  <a:cubicBezTo>
                    <a:pt x="22" y="41"/>
                    <a:pt x="22" y="41"/>
                    <a:pt x="24" y="41"/>
                  </a:cubicBezTo>
                  <a:cubicBezTo>
                    <a:pt x="24" y="41"/>
                    <a:pt x="24" y="41"/>
                    <a:pt x="36" y="41"/>
                  </a:cubicBezTo>
                  <a:cubicBezTo>
                    <a:pt x="32" y="27"/>
                    <a:pt x="29" y="13"/>
                    <a:pt x="25"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1" name="Freeform 67">
              <a:extLst>
                <a:ext uri="{FF2B5EF4-FFF2-40B4-BE49-F238E27FC236}">
                  <a16:creationId xmlns:a16="http://schemas.microsoft.com/office/drawing/2014/main" id="{52168AEA-8FB8-0F4F-853C-60EECB661AF6}"/>
                </a:ext>
              </a:extLst>
            </p:cNvPr>
            <p:cNvSpPr>
              <a:spLocks/>
            </p:cNvSpPr>
            <p:nvPr/>
          </p:nvSpPr>
          <p:spPr bwMode="auto">
            <a:xfrm>
              <a:off x="8121651" y="2295525"/>
              <a:ext cx="25400" cy="15875"/>
            </a:xfrm>
            <a:custGeom>
              <a:avLst/>
              <a:gdLst>
                <a:gd name="T0" fmla="*/ 61 w 64"/>
                <a:gd name="T1" fmla="*/ 0 h 43"/>
                <a:gd name="T2" fmla="*/ 43 w 64"/>
                <a:gd name="T3" fmla="*/ 0 h 43"/>
                <a:gd name="T4" fmla="*/ 22 w 64"/>
                <a:gd name="T5" fmla="*/ 0 h 43"/>
                <a:gd name="T6" fmla="*/ 0 w 64"/>
                <a:gd name="T7" fmla="*/ 21 h 43"/>
                <a:gd name="T8" fmla="*/ 22 w 64"/>
                <a:gd name="T9" fmla="*/ 43 h 43"/>
                <a:gd name="T10" fmla="*/ 64 w 64"/>
                <a:gd name="T11" fmla="*/ 43 h 43"/>
                <a:gd name="T12" fmla="*/ 64 w 64"/>
                <a:gd name="T13" fmla="*/ 43 h 43"/>
                <a:gd name="T14" fmla="*/ 64 w 64"/>
                <a:gd name="T15" fmla="*/ 43 h 43"/>
                <a:gd name="T16" fmla="*/ 61 w 64"/>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3">
                  <a:moveTo>
                    <a:pt x="61" y="0"/>
                  </a:moveTo>
                  <a:cubicBezTo>
                    <a:pt x="55" y="0"/>
                    <a:pt x="49" y="0"/>
                    <a:pt x="43" y="0"/>
                  </a:cubicBezTo>
                  <a:cubicBezTo>
                    <a:pt x="36" y="0"/>
                    <a:pt x="30" y="0"/>
                    <a:pt x="22" y="0"/>
                  </a:cubicBezTo>
                  <a:cubicBezTo>
                    <a:pt x="9" y="0"/>
                    <a:pt x="0" y="11"/>
                    <a:pt x="0" y="21"/>
                  </a:cubicBezTo>
                  <a:cubicBezTo>
                    <a:pt x="0" y="32"/>
                    <a:pt x="9" y="43"/>
                    <a:pt x="22" y="43"/>
                  </a:cubicBezTo>
                  <a:cubicBezTo>
                    <a:pt x="22" y="43"/>
                    <a:pt x="22" y="43"/>
                    <a:pt x="64" y="43"/>
                  </a:cubicBezTo>
                  <a:cubicBezTo>
                    <a:pt x="64" y="43"/>
                    <a:pt x="64" y="43"/>
                    <a:pt x="64" y="43"/>
                  </a:cubicBezTo>
                  <a:cubicBezTo>
                    <a:pt x="64" y="43"/>
                    <a:pt x="64" y="43"/>
                    <a:pt x="64" y="43"/>
                  </a:cubicBezTo>
                  <a:cubicBezTo>
                    <a:pt x="63" y="29"/>
                    <a:pt x="62" y="14"/>
                    <a:pt x="6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2" name="Freeform 68">
              <a:extLst>
                <a:ext uri="{FF2B5EF4-FFF2-40B4-BE49-F238E27FC236}">
                  <a16:creationId xmlns:a16="http://schemas.microsoft.com/office/drawing/2014/main" id="{22A04E27-10D1-014C-B17B-30EB3D83EF12}"/>
                </a:ext>
              </a:extLst>
            </p:cNvPr>
            <p:cNvSpPr>
              <a:spLocks noEditPoints="1"/>
            </p:cNvSpPr>
            <p:nvPr/>
          </p:nvSpPr>
          <p:spPr bwMode="auto">
            <a:xfrm>
              <a:off x="7881938" y="2227263"/>
              <a:ext cx="17463" cy="68263"/>
            </a:xfrm>
            <a:custGeom>
              <a:avLst/>
              <a:gdLst>
                <a:gd name="T0" fmla="*/ 43 w 43"/>
                <a:gd name="T1" fmla="*/ 21 h 167"/>
                <a:gd name="T2" fmla="*/ 22 w 43"/>
                <a:gd name="T3" fmla="*/ 43 h 167"/>
                <a:gd name="T4" fmla="*/ 0 w 43"/>
                <a:gd name="T5" fmla="*/ 43 h 167"/>
                <a:gd name="T6" fmla="*/ 0 w 43"/>
                <a:gd name="T7" fmla="*/ 167 h 167"/>
                <a:gd name="T8" fmla="*/ 43 w 43"/>
                <a:gd name="T9" fmla="*/ 167 h 167"/>
                <a:gd name="T10" fmla="*/ 43 w 43"/>
                <a:gd name="T11" fmla="*/ 21 h 167"/>
                <a:gd name="T12" fmla="*/ 21 w 43"/>
                <a:gd name="T13" fmla="*/ 0 h 167"/>
                <a:gd name="T14" fmla="*/ 20 w 43"/>
                <a:gd name="T15" fmla="*/ 0 h 167"/>
                <a:gd name="T16" fmla="*/ 43 w 43"/>
                <a:gd name="T17" fmla="*/ 21 h 167"/>
                <a:gd name="T18" fmla="*/ 43 w 43"/>
                <a:gd name="T19" fmla="*/ 20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21"/>
                  </a:moveTo>
                  <a:cubicBezTo>
                    <a:pt x="43" y="32"/>
                    <a:pt x="33" y="41"/>
                    <a:pt x="22" y="43"/>
                  </a:cubicBezTo>
                  <a:cubicBezTo>
                    <a:pt x="12" y="43"/>
                    <a:pt x="5" y="43"/>
                    <a:pt x="0" y="43"/>
                  </a:cubicBezTo>
                  <a:cubicBezTo>
                    <a:pt x="0" y="63"/>
                    <a:pt x="0" y="99"/>
                    <a:pt x="0" y="167"/>
                  </a:cubicBezTo>
                  <a:cubicBezTo>
                    <a:pt x="19" y="167"/>
                    <a:pt x="33" y="167"/>
                    <a:pt x="43" y="167"/>
                  </a:cubicBezTo>
                  <a:cubicBezTo>
                    <a:pt x="43" y="146"/>
                    <a:pt x="43" y="104"/>
                    <a:pt x="43" y="21"/>
                  </a:cubicBezTo>
                  <a:moveTo>
                    <a:pt x="21" y="0"/>
                  </a:moveTo>
                  <a:cubicBezTo>
                    <a:pt x="20" y="0"/>
                    <a:pt x="20" y="0"/>
                    <a:pt x="20" y="0"/>
                  </a:cubicBezTo>
                  <a:cubicBezTo>
                    <a:pt x="34" y="0"/>
                    <a:pt x="43" y="9"/>
                    <a:pt x="43" y="21"/>
                  </a:cubicBezTo>
                  <a:cubicBezTo>
                    <a:pt x="43" y="21"/>
                    <a:pt x="43" y="21"/>
                    <a:pt x="43" y="20"/>
                  </a:cubicBezTo>
                  <a:cubicBezTo>
                    <a:pt x="43" y="9"/>
                    <a:pt x="34"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3" name="Freeform 69">
              <a:extLst>
                <a:ext uri="{FF2B5EF4-FFF2-40B4-BE49-F238E27FC236}">
                  <a16:creationId xmlns:a16="http://schemas.microsoft.com/office/drawing/2014/main" id="{0DB97A9A-098A-E64E-8E78-FCE7F3660693}"/>
                </a:ext>
              </a:extLst>
            </p:cNvPr>
            <p:cNvSpPr>
              <a:spLocks/>
            </p:cNvSpPr>
            <p:nvPr/>
          </p:nvSpPr>
          <p:spPr bwMode="auto">
            <a:xfrm>
              <a:off x="7864476" y="2227263"/>
              <a:ext cx="34925" cy="17463"/>
            </a:xfrm>
            <a:custGeom>
              <a:avLst/>
              <a:gdLst>
                <a:gd name="T0" fmla="*/ 63 w 86"/>
                <a:gd name="T1" fmla="*/ 0 h 43"/>
                <a:gd name="T2" fmla="*/ 23 w 86"/>
                <a:gd name="T3" fmla="*/ 2 h 43"/>
                <a:gd name="T4" fmla="*/ 2 w 86"/>
                <a:gd name="T5" fmla="*/ 24 h 43"/>
                <a:gd name="T6" fmla="*/ 23 w 86"/>
                <a:gd name="T7" fmla="*/ 43 h 43"/>
                <a:gd name="T8" fmla="*/ 25 w 86"/>
                <a:gd name="T9" fmla="*/ 43 h 43"/>
                <a:gd name="T10" fmla="*/ 43 w 86"/>
                <a:gd name="T11" fmla="*/ 43 h 43"/>
                <a:gd name="T12" fmla="*/ 65 w 86"/>
                <a:gd name="T13" fmla="*/ 43 h 43"/>
                <a:gd name="T14" fmla="*/ 86 w 86"/>
                <a:gd name="T15" fmla="*/ 21 h 43"/>
                <a:gd name="T16" fmla="*/ 86 w 86"/>
                <a:gd name="T17" fmla="*/ 21 h 43"/>
                <a:gd name="T18" fmla="*/ 86 w 86"/>
                <a:gd name="T19" fmla="*/ 21 h 43"/>
                <a:gd name="T20" fmla="*/ 63 w 86"/>
                <a:gd name="T21" fmla="*/ 0 h 43"/>
                <a:gd name="T22" fmla="*/ 63 w 86"/>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43">
                  <a:moveTo>
                    <a:pt x="63" y="0"/>
                  </a:moveTo>
                  <a:cubicBezTo>
                    <a:pt x="63" y="0"/>
                    <a:pt x="63" y="0"/>
                    <a:pt x="23" y="2"/>
                  </a:cubicBezTo>
                  <a:cubicBezTo>
                    <a:pt x="11" y="2"/>
                    <a:pt x="0" y="11"/>
                    <a:pt x="2" y="24"/>
                  </a:cubicBezTo>
                  <a:cubicBezTo>
                    <a:pt x="2" y="34"/>
                    <a:pt x="11" y="43"/>
                    <a:pt x="23" y="43"/>
                  </a:cubicBezTo>
                  <a:cubicBezTo>
                    <a:pt x="23" y="43"/>
                    <a:pt x="23" y="43"/>
                    <a:pt x="25" y="43"/>
                  </a:cubicBezTo>
                  <a:cubicBezTo>
                    <a:pt x="25" y="43"/>
                    <a:pt x="25" y="43"/>
                    <a:pt x="43" y="43"/>
                  </a:cubicBezTo>
                  <a:cubicBezTo>
                    <a:pt x="48" y="43"/>
                    <a:pt x="55" y="43"/>
                    <a:pt x="65" y="43"/>
                  </a:cubicBezTo>
                  <a:cubicBezTo>
                    <a:pt x="76" y="41"/>
                    <a:pt x="86" y="32"/>
                    <a:pt x="86" y="21"/>
                  </a:cubicBezTo>
                  <a:cubicBezTo>
                    <a:pt x="86" y="21"/>
                    <a:pt x="86" y="21"/>
                    <a:pt x="86" y="21"/>
                  </a:cubicBezTo>
                  <a:cubicBezTo>
                    <a:pt x="86" y="21"/>
                    <a:pt x="86" y="21"/>
                    <a:pt x="86" y="21"/>
                  </a:cubicBezTo>
                  <a:cubicBezTo>
                    <a:pt x="86" y="9"/>
                    <a:pt x="77" y="0"/>
                    <a:pt x="63" y="0"/>
                  </a:cubicBezTo>
                  <a:cubicBezTo>
                    <a:pt x="63" y="0"/>
                    <a:pt x="63" y="0"/>
                    <a:pt x="6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4" name="Freeform 70">
              <a:extLst>
                <a:ext uri="{FF2B5EF4-FFF2-40B4-BE49-F238E27FC236}">
                  <a16:creationId xmlns:a16="http://schemas.microsoft.com/office/drawing/2014/main" id="{B9893D03-9063-5A4C-B050-B48272544B93}"/>
                </a:ext>
              </a:extLst>
            </p:cNvPr>
            <p:cNvSpPr>
              <a:spLocks/>
            </p:cNvSpPr>
            <p:nvPr/>
          </p:nvSpPr>
          <p:spPr bwMode="auto">
            <a:xfrm>
              <a:off x="7861301" y="2295525"/>
              <a:ext cx="53975" cy="15875"/>
            </a:xfrm>
            <a:custGeom>
              <a:avLst/>
              <a:gdLst>
                <a:gd name="T0" fmla="*/ 114 w 135"/>
                <a:gd name="T1" fmla="*/ 0 h 43"/>
                <a:gd name="T2" fmla="*/ 92 w 135"/>
                <a:gd name="T3" fmla="*/ 0 h 43"/>
                <a:gd name="T4" fmla="*/ 49 w 135"/>
                <a:gd name="T5" fmla="*/ 0 h 43"/>
                <a:gd name="T6" fmla="*/ 24 w 135"/>
                <a:gd name="T7" fmla="*/ 0 h 43"/>
                <a:gd name="T8" fmla="*/ 0 w 135"/>
                <a:gd name="T9" fmla="*/ 21 h 43"/>
                <a:gd name="T10" fmla="*/ 24 w 135"/>
                <a:gd name="T11" fmla="*/ 43 h 43"/>
                <a:gd name="T12" fmla="*/ 70 w 135"/>
                <a:gd name="T13" fmla="*/ 43 h 43"/>
                <a:gd name="T14" fmla="*/ 70 w 135"/>
                <a:gd name="T15" fmla="*/ 43 h 43"/>
                <a:gd name="T16" fmla="*/ 114 w 135"/>
                <a:gd name="T17" fmla="*/ 43 h 43"/>
                <a:gd name="T18" fmla="*/ 135 w 135"/>
                <a:gd name="T19" fmla="*/ 21 h 43"/>
                <a:gd name="T20" fmla="*/ 114 w 13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43">
                  <a:moveTo>
                    <a:pt x="114" y="0"/>
                  </a:moveTo>
                  <a:cubicBezTo>
                    <a:pt x="114" y="0"/>
                    <a:pt x="114" y="0"/>
                    <a:pt x="92" y="0"/>
                  </a:cubicBezTo>
                  <a:cubicBezTo>
                    <a:pt x="82" y="0"/>
                    <a:pt x="68" y="0"/>
                    <a:pt x="49" y="0"/>
                  </a:cubicBezTo>
                  <a:cubicBezTo>
                    <a:pt x="41" y="0"/>
                    <a:pt x="33" y="0"/>
                    <a:pt x="24" y="0"/>
                  </a:cubicBezTo>
                  <a:cubicBezTo>
                    <a:pt x="10" y="0"/>
                    <a:pt x="0" y="11"/>
                    <a:pt x="0" y="21"/>
                  </a:cubicBezTo>
                  <a:cubicBezTo>
                    <a:pt x="0" y="32"/>
                    <a:pt x="10" y="43"/>
                    <a:pt x="24" y="43"/>
                  </a:cubicBezTo>
                  <a:cubicBezTo>
                    <a:pt x="24" y="43"/>
                    <a:pt x="24" y="43"/>
                    <a:pt x="70" y="43"/>
                  </a:cubicBezTo>
                  <a:cubicBezTo>
                    <a:pt x="70" y="43"/>
                    <a:pt x="70" y="43"/>
                    <a:pt x="70" y="43"/>
                  </a:cubicBezTo>
                  <a:cubicBezTo>
                    <a:pt x="81" y="43"/>
                    <a:pt x="96" y="43"/>
                    <a:pt x="114" y="43"/>
                  </a:cubicBezTo>
                  <a:cubicBezTo>
                    <a:pt x="125" y="43"/>
                    <a:pt x="135" y="32"/>
                    <a:pt x="135" y="21"/>
                  </a:cubicBezTo>
                  <a:cubicBezTo>
                    <a:pt x="135" y="11"/>
                    <a:pt x="125" y="0"/>
                    <a:pt x="11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5" name="Freeform 71">
              <a:extLst>
                <a:ext uri="{FF2B5EF4-FFF2-40B4-BE49-F238E27FC236}">
                  <a16:creationId xmlns:a16="http://schemas.microsoft.com/office/drawing/2014/main" id="{5DABB0E0-D533-A246-AF14-7A202CE690D3}"/>
                </a:ext>
              </a:extLst>
            </p:cNvPr>
            <p:cNvSpPr>
              <a:spLocks noEditPoints="1"/>
            </p:cNvSpPr>
            <p:nvPr/>
          </p:nvSpPr>
          <p:spPr bwMode="auto">
            <a:xfrm>
              <a:off x="7705726" y="2227263"/>
              <a:ext cx="71438" cy="84138"/>
            </a:xfrm>
            <a:custGeom>
              <a:avLst/>
              <a:gdLst>
                <a:gd name="T0" fmla="*/ 89 w 178"/>
                <a:gd name="T1" fmla="*/ 169 h 210"/>
                <a:gd name="T2" fmla="*/ 45 w 178"/>
                <a:gd name="T3" fmla="*/ 105 h 210"/>
                <a:gd name="T4" fmla="*/ 89 w 178"/>
                <a:gd name="T5" fmla="*/ 42 h 210"/>
                <a:gd name="T6" fmla="*/ 134 w 178"/>
                <a:gd name="T7" fmla="*/ 105 h 210"/>
                <a:gd name="T8" fmla="*/ 89 w 178"/>
                <a:gd name="T9" fmla="*/ 169 h 210"/>
                <a:gd name="T10" fmla="*/ 89 w 178"/>
                <a:gd name="T11" fmla="*/ 0 h 210"/>
                <a:gd name="T12" fmla="*/ 0 w 178"/>
                <a:gd name="T13" fmla="*/ 105 h 210"/>
                <a:gd name="T14" fmla="*/ 89 w 178"/>
                <a:gd name="T15" fmla="*/ 210 h 210"/>
                <a:gd name="T16" fmla="*/ 178 w 178"/>
                <a:gd name="T17" fmla="*/ 105 h 210"/>
                <a:gd name="T18" fmla="*/ 89 w 178"/>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0">
                  <a:moveTo>
                    <a:pt x="89" y="169"/>
                  </a:moveTo>
                  <a:cubicBezTo>
                    <a:pt x="65" y="169"/>
                    <a:pt x="45" y="140"/>
                    <a:pt x="45" y="105"/>
                  </a:cubicBezTo>
                  <a:cubicBezTo>
                    <a:pt x="45" y="71"/>
                    <a:pt x="65" y="42"/>
                    <a:pt x="89" y="42"/>
                  </a:cubicBezTo>
                  <a:cubicBezTo>
                    <a:pt x="114" y="42"/>
                    <a:pt x="134" y="71"/>
                    <a:pt x="134" y="105"/>
                  </a:cubicBezTo>
                  <a:cubicBezTo>
                    <a:pt x="134" y="140"/>
                    <a:pt x="114" y="169"/>
                    <a:pt x="89" y="169"/>
                  </a:cubicBezTo>
                  <a:moveTo>
                    <a:pt x="89" y="0"/>
                  </a:moveTo>
                  <a:cubicBezTo>
                    <a:pt x="41" y="0"/>
                    <a:pt x="0" y="47"/>
                    <a:pt x="0" y="105"/>
                  </a:cubicBezTo>
                  <a:cubicBezTo>
                    <a:pt x="0" y="163"/>
                    <a:pt x="41" y="210"/>
                    <a:pt x="89" y="210"/>
                  </a:cubicBezTo>
                  <a:cubicBezTo>
                    <a:pt x="138" y="210"/>
                    <a:pt x="178" y="163"/>
                    <a:pt x="178" y="105"/>
                  </a:cubicBezTo>
                  <a:cubicBezTo>
                    <a:pt x="178" y="47"/>
                    <a:pt x="138"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6" name="Freeform 72">
              <a:extLst>
                <a:ext uri="{FF2B5EF4-FFF2-40B4-BE49-F238E27FC236}">
                  <a16:creationId xmlns:a16="http://schemas.microsoft.com/office/drawing/2014/main" id="{82EEBED3-C229-6247-AC34-96E9F122F193}"/>
                </a:ext>
              </a:extLst>
            </p:cNvPr>
            <p:cNvSpPr>
              <a:spLocks noEditPoints="1"/>
            </p:cNvSpPr>
            <p:nvPr/>
          </p:nvSpPr>
          <p:spPr bwMode="auto">
            <a:xfrm>
              <a:off x="8027988" y="2227263"/>
              <a:ext cx="71438" cy="84138"/>
            </a:xfrm>
            <a:custGeom>
              <a:avLst/>
              <a:gdLst>
                <a:gd name="T0" fmla="*/ 89 w 178"/>
                <a:gd name="T1" fmla="*/ 169 h 210"/>
                <a:gd name="T2" fmla="*/ 43 w 178"/>
                <a:gd name="T3" fmla="*/ 105 h 210"/>
                <a:gd name="T4" fmla="*/ 89 w 178"/>
                <a:gd name="T5" fmla="*/ 42 h 210"/>
                <a:gd name="T6" fmla="*/ 135 w 178"/>
                <a:gd name="T7" fmla="*/ 105 h 210"/>
                <a:gd name="T8" fmla="*/ 89 w 178"/>
                <a:gd name="T9" fmla="*/ 169 h 210"/>
                <a:gd name="T10" fmla="*/ 89 w 178"/>
                <a:gd name="T11" fmla="*/ 0 h 210"/>
                <a:gd name="T12" fmla="*/ 0 w 178"/>
                <a:gd name="T13" fmla="*/ 105 h 210"/>
                <a:gd name="T14" fmla="*/ 89 w 178"/>
                <a:gd name="T15" fmla="*/ 210 h 210"/>
                <a:gd name="T16" fmla="*/ 178 w 178"/>
                <a:gd name="T17" fmla="*/ 105 h 210"/>
                <a:gd name="T18" fmla="*/ 89 w 178"/>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0">
                  <a:moveTo>
                    <a:pt x="89" y="169"/>
                  </a:moveTo>
                  <a:cubicBezTo>
                    <a:pt x="65" y="169"/>
                    <a:pt x="43" y="140"/>
                    <a:pt x="43" y="105"/>
                  </a:cubicBezTo>
                  <a:cubicBezTo>
                    <a:pt x="43" y="71"/>
                    <a:pt x="65" y="42"/>
                    <a:pt x="89" y="42"/>
                  </a:cubicBezTo>
                  <a:cubicBezTo>
                    <a:pt x="115" y="42"/>
                    <a:pt x="135" y="71"/>
                    <a:pt x="135" y="105"/>
                  </a:cubicBezTo>
                  <a:cubicBezTo>
                    <a:pt x="135" y="140"/>
                    <a:pt x="115" y="169"/>
                    <a:pt x="89" y="169"/>
                  </a:cubicBezTo>
                  <a:moveTo>
                    <a:pt x="89" y="0"/>
                  </a:moveTo>
                  <a:cubicBezTo>
                    <a:pt x="39" y="0"/>
                    <a:pt x="0" y="47"/>
                    <a:pt x="0" y="105"/>
                  </a:cubicBezTo>
                  <a:cubicBezTo>
                    <a:pt x="0" y="163"/>
                    <a:pt x="39" y="210"/>
                    <a:pt x="89" y="210"/>
                  </a:cubicBezTo>
                  <a:cubicBezTo>
                    <a:pt x="139" y="210"/>
                    <a:pt x="178" y="163"/>
                    <a:pt x="178" y="105"/>
                  </a:cubicBezTo>
                  <a:cubicBezTo>
                    <a:pt x="178" y="47"/>
                    <a:pt x="139"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7" name="Freeform 73">
              <a:extLst>
                <a:ext uri="{FF2B5EF4-FFF2-40B4-BE49-F238E27FC236}">
                  <a16:creationId xmlns:a16="http://schemas.microsoft.com/office/drawing/2014/main" id="{EE50A8F1-F8F6-7A4B-8038-3D16B5690038}"/>
                </a:ext>
              </a:extLst>
            </p:cNvPr>
            <p:cNvSpPr>
              <a:spLocks noEditPoints="1"/>
            </p:cNvSpPr>
            <p:nvPr/>
          </p:nvSpPr>
          <p:spPr bwMode="auto">
            <a:xfrm>
              <a:off x="7931151" y="2227263"/>
              <a:ext cx="73025" cy="84138"/>
            </a:xfrm>
            <a:custGeom>
              <a:avLst/>
              <a:gdLst>
                <a:gd name="T0" fmla="*/ 92 w 183"/>
                <a:gd name="T1" fmla="*/ 169 h 210"/>
                <a:gd name="T2" fmla="*/ 45 w 183"/>
                <a:gd name="T3" fmla="*/ 105 h 210"/>
                <a:gd name="T4" fmla="*/ 92 w 183"/>
                <a:gd name="T5" fmla="*/ 42 h 210"/>
                <a:gd name="T6" fmla="*/ 139 w 183"/>
                <a:gd name="T7" fmla="*/ 105 h 210"/>
                <a:gd name="T8" fmla="*/ 92 w 183"/>
                <a:gd name="T9" fmla="*/ 169 h 210"/>
                <a:gd name="T10" fmla="*/ 92 w 183"/>
                <a:gd name="T11" fmla="*/ 0 h 210"/>
                <a:gd name="T12" fmla="*/ 0 w 183"/>
                <a:gd name="T13" fmla="*/ 105 h 210"/>
                <a:gd name="T14" fmla="*/ 92 w 183"/>
                <a:gd name="T15" fmla="*/ 210 h 210"/>
                <a:gd name="T16" fmla="*/ 183 w 183"/>
                <a:gd name="T17" fmla="*/ 105 h 210"/>
                <a:gd name="T18" fmla="*/ 92 w 183"/>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210">
                  <a:moveTo>
                    <a:pt x="92" y="169"/>
                  </a:moveTo>
                  <a:cubicBezTo>
                    <a:pt x="66" y="169"/>
                    <a:pt x="45" y="140"/>
                    <a:pt x="45" y="105"/>
                  </a:cubicBezTo>
                  <a:cubicBezTo>
                    <a:pt x="45" y="71"/>
                    <a:pt x="66" y="42"/>
                    <a:pt x="92" y="42"/>
                  </a:cubicBezTo>
                  <a:cubicBezTo>
                    <a:pt x="117" y="42"/>
                    <a:pt x="139" y="71"/>
                    <a:pt x="139" y="105"/>
                  </a:cubicBezTo>
                  <a:cubicBezTo>
                    <a:pt x="139" y="140"/>
                    <a:pt x="117" y="169"/>
                    <a:pt x="92" y="169"/>
                  </a:cubicBezTo>
                  <a:moveTo>
                    <a:pt x="92" y="0"/>
                  </a:moveTo>
                  <a:cubicBezTo>
                    <a:pt x="41" y="0"/>
                    <a:pt x="0" y="47"/>
                    <a:pt x="0" y="105"/>
                  </a:cubicBezTo>
                  <a:cubicBezTo>
                    <a:pt x="0" y="163"/>
                    <a:pt x="41" y="210"/>
                    <a:pt x="92" y="210"/>
                  </a:cubicBezTo>
                  <a:cubicBezTo>
                    <a:pt x="141" y="210"/>
                    <a:pt x="183" y="163"/>
                    <a:pt x="183" y="105"/>
                  </a:cubicBezTo>
                  <a:cubicBezTo>
                    <a:pt x="183" y="47"/>
                    <a:pt x="141" y="0"/>
                    <a:pt x="9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8" name="Freeform 74">
              <a:extLst>
                <a:ext uri="{FF2B5EF4-FFF2-40B4-BE49-F238E27FC236}">
                  <a16:creationId xmlns:a16="http://schemas.microsoft.com/office/drawing/2014/main" id="{CFFA04C5-5892-B345-A44B-89B9497C2FCA}"/>
                </a:ext>
              </a:extLst>
            </p:cNvPr>
            <p:cNvSpPr>
              <a:spLocks noEditPoints="1"/>
            </p:cNvSpPr>
            <p:nvPr/>
          </p:nvSpPr>
          <p:spPr bwMode="auto">
            <a:xfrm>
              <a:off x="7472363" y="2479675"/>
              <a:ext cx="17463" cy="66675"/>
            </a:xfrm>
            <a:custGeom>
              <a:avLst/>
              <a:gdLst>
                <a:gd name="T0" fmla="*/ 43 w 43"/>
                <a:gd name="T1" fmla="*/ 29 h 167"/>
                <a:gd name="T2" fmla="*/ 26 w 43"/>
                <a:gd name="T3" fmla="*/ 37 h 167"/>
                <a:gd name="T4" fmla="*/ 0 w 43"/>
                <a:gd name="T5" fmla="*/ 37 h 167"/>
                <a:gd name="T6" fmla="*/ 0 w 43"/>
                <a:gd name="T7" fmla="*/ 167 h 167"/>
                <a:gd name="T8" fmla="*/ 43 w 43"/>
                <a:gd name="T9" fmla="*/ 167 h 167"/>
                <a:gd name="T10" fmla="*/ 43 w 43"/>
                <a:gd name="T11" fmla="*/ 29 h 167"/>
                <a:gd name="T12" fmla="*/ 23 w 43"/>
                <a:gd name="T13" fmla="*/ 0 h 167"/>
                <a:gd name="T14" fmla="*/ 19 w 43"/>
                <a:gd name="T15" fmla="*/ 0 h 167"/>
                <a:gd name="T16" fmla="*/ 24 w 43"/>
                <a:gd name="T17" fmla="*/ 0 h 167"/>
                <a:gd name="T18" fmla="*/ 23 w 43"/>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67">
                  <a:moveTo>
                    <a:pt x="43" y="29"/>
                  </a:moveTo>
                  <a:cubicBezTo>
                    <a:pt x="39" y="33"/>
                    <a:pt x="32" y="36"/>
                    <a:pt x="26" y="37"/>
                  </a:cubicBezTo>
                  <a:cubicBezTo>
                    <a:pt x="14" y="37"/>
                    <a:pt x="6" y="37"/>
                    <a:pt x="0" y="37"/>
                  </a:cubicBezTo>
                  <a:cubicBezTo>
                    <a:pt x="0" y="55"/>
                    <a:pt x="0" y="92"/>
                    <a:pt x="0" y="167"/>
                  </a:cubicBezTo>
                  <a:cubicBezTo>
                    <a:pt x="20" y="167"/>
                    <a:pt x="34" y="167"/>
                    <a:pt x="43" y="167"/>
                  </a:cubicBezTo>
                  <a:cubicBezTo>
                    <a:pt x="43" y="146"/>
                    <a:pt x="43" y="107"/>
                    <a:pt x="43" y="29"/>
                  </a:cubicBezTo>
                  <a:moveTo>
                    <a:pt x="23" y="0"/>
                  </a:moveTo>
                  <a:cubicBezTo>
                    <a:pt x="21" y="0"/>
                    <a:pt x="20" y="0"/>
                    <a:pt x="19" y="0"/>
                  </a:cubicBezTo>
                  <a:cubicBezTo>
                    <a:pt x="22" y="0"/>
                    <a:pt x="23" y="0"/>
                    <a:pt x="24" y="0"/>
                  </a:cubicBezTo>
                  <a:cubicBezTo>
                    <a:pt x="24" y="0"/>
                    <a:pt x="23" y="0"/>
                    <a:pt x="2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59" name="Freeform 75">
              <a:extLst>
                <a:ext uri="{FF2B5EF4-FFF2-40B4-BE49-F238E27FC236}">
                  <a16:creationId xmlns:a16="http://schemas.microsoft.com/office/drawing/2014/main" id="{D3E3954A-D521-8F42-A049-2EE74E64C664}"/>
                </a:ext>
              </a:extLst>
            </p:cNvPr>
            <p:cNvSpPr>
              <a:spLocks/>
            </p:cNvSpPr>
            <p:nvPr/>
          </p:nvSpPr>
          <p:spPr bwMode="auto">
            <a:xfrm>
              <a:off x="7456488" y="2479675"/>
              <a:ext cx="34925" cy="14288"/>
            </a:xfrm>
            <a:custGeom>
              <a:avLst/>
              <a:gdLst>
                <a:gd name="T0" fmla="*/ 64 w 86"/>
                <a:gd name="T1" fmla="*/ 0 h 37"/>
                <a:gd name="T2" fmla="*/ 62 w 86"/>
                <a:gd name="T3" fmla="*/ 0 h 37"/>
                <a:gd name="T4" fmla="*/ 57 w 86"/>
                <a:gd name="T5" fmla="*/ 0 h 37"/>
                <a:gd name="T6" fmla="*/ 22 w 86"/>
                <a:gd name="T7" fmla="*/ 1 h 37"/>
                <a:gd name="T8" fmla="*/ 0 w 86"/>
                <a:gd name="T9" fmla="*/ 20 h 37"/>
                <a:gd name="T10" fmla="*/ 24 w 86"/>
                <a:gd name="T11" fmla="*/ 37 h 37"/>
                <a:gd name="T12" fmla="*/ 38 w 86"/>
                <a:gd name="T13" fmla="*/ 37 h 37"/>
                <a:gd name="T14" fmla="*/ 64 w 86"/>
                <a:gd name="T15" fmla="*/ 37 h 37"/>
                <a:gd name="T16" fmla="*/ 81 w 86"/>
                <a:gd name="T17" fmla="*/ 29 h 37"/>
                <a:gd name="T18" fmla="*/ 85 w 86"/>
                <a:gd name="T19" fmla="*/ 18 h 37"/>
                <a:gd name="T20" fmla="*/ 64 w 86"/>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37">
                  <a:moveTo>
                    <a:pt x="64" y="0"/>
                  </a:moveTo>
                  <a:cubicBezTo>
                    <a:pt x="64" y="0"/>
                    <a:pt x="64" y="0"/>
                    <a:pt x="62" y="0"/>
                  </a:cubicBezTo>
                  <a:cubicBezTo>
                    <a:pt x="61" y="0"/>
                    <a:pt x="60" y="0"/>
                    <a:pt x="57" y="0"/>
                  </a:cubicBezTo>
                  <a:cubicBezTo>
                    <a:pt x="51" y="0"/>
                    <a:pt x="41" y="1"/>
                    <a:pt x="22" y="1"/>
                  </a:cubicBezTo>
                  <a:cubicBezTo>
                    <a:pt x="10" y="1"/>
                    <a:pt x="0" y="9"/>
                    <a:pt x="0" y="20"/>
                  </a:cubicBezTo>
                  <a:cubicBezTo>
                    <a:pt x="0" y="30"/>
                    <a:pt x="10" y="37"/>
                    <a:pt x="24" y="37"/>
                  </a:cubicBezTo>
                  <a:cubicBezTo>
                    <a:pt x="24" y="37"/>
                    <a:pt x="24" y="37"/>
                    <a:pt x="38" y="37"/>
                  </a:cubicBezTo>
                  <a:cubicBezTo>
                    <a:pt x="44" y="37"/>
                    <a:pt x="52" y="37"/>
                    <a:pt x="64" y="37"/>
                  </a:cubicBezTo>
                  <a:cubicBezTo>
                    <a:pt x="70" y="36"/>
                    <a:pt x="77" y="33"/>
                    <a:pt x="81" y="29"/>
                  </a:cubicBezTo>
                  <a:cubicBezTo>
                    <a:pt x="84" y="26"/>
                    <a:pt x="86" y="22"/>
                    <a:pt x="85" y="18"/>
                  </a:cubicBezTo>
                  <a:cubicBezTo>
                    <a:pt x="85" y="8"/>
                    <a:pt x="75" y="0"/>
                    <a:pt x="6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0" name="Freeform 76">
              <a:extLst>
                <a:ext uri="{FF2B5EF4-FFF2-40B4-BE49-F238E27FC236}">
                  <a16:creationId xmlns:a16="http://schemas.microsoft.com/office/drawing/2014/main" id="{839F5EAD-D792-5145-8E7E-F6C1767A5DA4}"/>
                </a:ext>
              </a:extLst>
            </p:cNvPr>
            <p:cNvSpPr>
              <a:spLocks/>
            </p:cNvSpPr>
            <p:nvPr/>
          </p:nvSpPr>
          <p:spPr bwMode="auto">
            <a:xfrm>
              <a:off x="7467601" y="2546350"/>
              <a:ext cx="39688" cy="17463"/>
            </a:xfrm>
            <a:custGeom>
              <a:avLst/>
              <a:gdLst>
                <a:gd name="T0" fmla="*/ 76 w 98"/>
                <a:gd name="T1" fmla="*/ 0 h 43"/>
                <a:gd name="T2" fmla="*/ 55 w 98"/>
                <a:gd name="T3" fmla="*/ 0 h 43"/>
                <a:gd name="T4" fmla="*/ 12 w 98"/>
                <a:gd name="T5" fmla="*/ 0 h 43"/>
                <a:gd name="T6" fmla="*/ 0 w 98"/>
                <a:gd name="T7" fmla="*/ 0 h 43"/>
                <a:gd name="T8" fmla="*/ 33 w 98"/>
                <a:gd name="T9" fmla="*/ 43 h 43"/>
                <a:gd name="T10" fmla="*/ 35 w 98"/>
                <a:gd name="T11" fmla="*/ 43 h 43"/>
                <a:gd name="T12" fmla="*/ 35 w 98"/>
                <a:gd name="T13" fmla="*/ 43 h 43"/>
                <a:gd name="T14" fmla="*/ 76 w 98"/>
                <a:gd name="T15" fmla="*/ 43 h 43"/>
                <a:gd name="T16" fmla="*/ 98 w 98"/>
                <a:gd name="T17" fmla="*/ 21 h 43"/>
                <a:gd name="T18" fmla="*/ 76 w 98"/>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3">
                  <a:moveTo>
                    <a:pt x="76" y="0"/>
                  </a:moveTo>
                  <a:cubicBezTo>
                    <a:pt x="76" y="0"/>
                    <a:pt x="76" y="0"/>
                    <a:pt x="55" y="0"/>
                  </a:cubicBezTo>
                  <a:cubicBezTo>
                    <a:pt x="46" y="0"/>
                    <a:pt x="32" y="0"/>
                    <a:pt x="12" y="0"/>
                  </a:cubicBezTo>
                  <a:cubicBezTo>
                    <a:pt x="8" y="0"/>
                    <a:pt x="4" y="0"/>
                    <a:pt x="0" y="0"/>
                  </a:cubicBezTo>
                  <a:cubicBezTo>
                    <a:pt x="11" y="14"/>
                    <a:pt x="22" y="29"/>
                    <a:pt x="33" y="43"/>
                  </a:cubicBezTo>
                  <a:cubicBezTo>
                    <a:pt x="33" y="43"/>
                    <a:pt x="34" y="43"/>
                    <a:pt x="35" y="43"/>
                  </a:cubicBezTo>
                  <a:cubicBezTo>
                    <a:pt x="35" y="43"/>
                    <a:pt x="35" y="43"/>
                    <a:pt x="35" y="43"/>
                  </a:cubicBezTo>
                  <a:cubicBezTo>
                    <a:pt x="46" y="43"/>
                    <a:pt x="59" y="43"/>
                    <a:pt x="76" y="43"/>
                  </a:cubicBezTo>
                  <a:cubicBezTo>
                    <a:pt x="89" y="43"/>
                    <a:pt x="98" y="32"/>
                    <a:pt x="98" y="21"/>
                  </a:cubicBezTo>
                  <a:cubicBezTo>
                    <a:pt x="98" y="10"/>
                    <a:pt x="89" y="0"/>
                    <a:pt x="76"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1" name="Freeform 77">
              <a:extLst>
                <a:ext uri="{FF2B5EF4-FFF2-40B4-BE49-F238E27FC236}">
                  <a16:creationId xmlns:a16="http://schemas.microsoft.com/office/drawing/2014/main" id="{9E50A153-251E-7446-94FD-40E5345E20DE}"/>
                </a:ext>
              </a:extLst>
            </p:cNvPr>
            <p:cNvSpPr>
              <a:spLocks noEditPoints="1"/>
            </p:cNvSpPr>
            <p:nvPr/>
          </p:nvSpPr>
          <p:spPr bwMode="auto">
            <a:xfrm>
              <a:off x="7639051" y="2479675"/>
              <a:ext cx="17463" cy="66675"/>
            </a:xfrm>
            <a:custGeom>
              <a:avLst/>
              <a:gdLst>
                <a:gd name="T0" fmla="*/ 43 w 43"/>
                <a:gd name="T1" fmla="*/ 19 h 167"/>
                <a:gd name="T2" fmla="*/ 22 w 43"/>
                <a:gd name="T3" fmla="*/ 37 h 167"/>
                <a:gd name="T4" fmla="*/ 0 w 43"/>
                <a:gd name="T5" fmla="*/ 37 h 167"/>
                <a:gd name="T6" fmla="*/ 0 w 43"/>
                <a:gd name="T7" fmla="*/ 167 h 167"/>
                <a:gd name="T8" fmla="*/ 43 w 43"/>
                <a:gd name="T9" fmla="*/ 167 h 167"/>
                <a:gd name="T10" fmla="*/ 43 w 43"/>
                <a:gd name="T11" fmla="*/ 20 h 167"/>
                <a:gd name="T12" fmla="*/ 43 w 43"/>
                <a:gd name="T13" fmla="*/ 19 h 167"/>
                <a:gd name="T14" fmla="*/ 21 w 43"/>
                <a:gd name="T15" fmla="*/ 0 h 167"/>
                <a:gd name="T16" fmla="*/ 20 w 43"/>
                <a:gd name="T17" fmla="*/ 0 h 167"/>
                <a:gd name="T18" fmla="*/ 27 w 43"/>
                <a:gd name="T19" fmla="*/ 0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19"/>
                  </a:moveTo>
                  <a:cubicBezTo>
                    <a:pt x="43" y="28"/>
                    <a:pt x="33" y="36"/>
                    <a:pt x="22" y="37"/>
                  </a:cubicBezTo>
                  <a:cubicBezTo>
                    <a:pt x="13" y="37"/>
                    <a:pt x="5" y="37"/>
                    <a:pt x="0" y="37"/>
                  </a:cubicBezTo>
                  <a:cubicBezTo>
                    <a:pt x="0" y="55"/>
                    <a:pt x="0" y="92"/>
                    <a:pt x="0" y="167"/>
                  </a:cubicBezTo>
                  <a:cubicBezTo>
                    <a:pt x="20" y="167"/>
                    <a:pt x="33" y="167"/>
                    <a:pt x="43" y="167"/>
                  </a:cubicBezTo>
                  <a:cubicBezTo>
                    <a:pt x="43" y="146"/>
                    <a:pt x="43" y="104"/>
                    <a:pt x="43" y="20"/>
                  </a:cubicBezTo>
                  <a:cubicBezTo>
                    <a:pt x="43" y="20"/>
                    <a:pt x="43" y="19"/>
                    <a:pt x="43" y="19"/>
                  </a:cubicBezTo>
                  <a:moveTo>
                    <a:pt x="21" y="0"/>
                  </a:moveTo>
                  <a:cubicBezTo>
                    <a:pt x="21" y="0"/>
                    <a:pt x="21" y="0"/>
                    <a:pt x="20" y="0"/>
                  </a:cubicBezTo>
                  <a:cubicBezTo>
                    <a:pt x="23" y="0"/>
                    <a:pt x="25" y="0"/>
                    <a:pt x="27" y="0"/>
                  </a:cubicBezTo>
                  <a:cubicBezTo>
                    <a:pt x="25" y="0"/>
                    <a:pt x="23"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2" name="Freeform 78">
              <a:extLst>
                <a:ext uri="{FF2B5EF4-FFF2-40B4-BE49-F238E27FC236}">
                  <a16:creationId xmlns:a16="http://schemas.microsoft.com/office/drawing/2014/main" id="{692DB9ED-2289-974A-BCA8-5A805D0E5162}"/>
                </a:ext>
              </a:extLst>
            </p:cNvPr>
            <p:cNvSpPr>
              <a:spLocks/>
            </p:cNvSpPr>
            <p:nvPr/>
          </p:nvSpPr>
          <p:spPr bwMode="auto">
            <a:xfrm>
              <a:off x="7621588" y="2479675"/>
              <a:ext cx="34925" cy="14288"/>
            </a:xfrm>
            <a:custGeom>
              <a:avLst/>
              <a:gdLst>
                <a:gd name="T0" fmla="*/ 63 w 86"/>
                <a:gd name="T1" fmla="*/ 0 h 37"/>
                <a:gd name="T2" fmla="*/ 23 w 86"/>
                <a:gd name="T3" fmla="*/ 1 h 37"/>
                <a:gd name="T4" fmla="*/ 2 w 86"/>
                <a:gd name="T5" fmla="*/ 20 h 37"/>
                <a:gd name="T6" fmla="*/ 23 w 86"/>
                <a:gd name="T7" fmla="*/ 37 h 37"/>
                <a:gd name="T8" fmla="*/ 25 w 86"/>
                <a:gd name="T9" fmla="*/ 37 h 37"/>
                <a:gd name="T10" fmla="*/ 43 w 86"/>
                <a:gd name="T11" fmla="*/ 37 h 37"/>
                <a:gd name="T12" fmla="*/ 65 w 86"/>
                <a:gd name="T13" fmla="*/ 37 h 37"/>
                <a:gd name="T14" fmla="*/ 86 w 86"/>
                <a:gd name="T15" fmla="*/ 19 h 37"/>
                <a:gd name="T16" fmla="*/ 86 w 86"/>
                <a:gd name="T17" fmla="*/ 18 h 37"/>
                <a:gd name="T18" fmla="*/ 70 w 86"/>
                <a:gd name="T19" fmla="*/ 0 h 37"/>
                <a:gd name="T20" fmla="*/ 63 w 86"/>
                <a:gd name="T21" fmla="*/ 0 h 37"/>
                <a:gd name="T22" fmla="*/ 63 w 86"/>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37">
                  <a:moveTo>
                    <a:pt x="63" y="0"/>
                  </a:moveTo>
                  <a:cubicBezTo>
                    <a:pt x="63" y="0"/>
                    <a:pt x="63" y="0"/>
                    <a:pt x="23" y="1"/>
                  </a:cubicBezTo>
                  <a:cubicBezTo>
                    <a:pt x="12" y="1"/>
                    <a:pt x="0" y="9"/>
                    <a:pt x="2" y="20"/>
                  </a:cubicBezTo>
                  <a:cubicBezTo>
                    <a:pt x="2" y="30"/>
                    <a:pt x="12" y="37"/>
                    <a:pt x="23" y="37"/>
                  </a:cubicBezTo>
                  <a:cubicBezTo>
                    <a:pt x="23" y="37"/>
                    <a:pt x="23" y="37"/>
                    <a:pt x="25" y="37"/>
                  </a:cubicBezTo>
                  <a:cubicBezTo>
                    <a:pt x="25" y="37"/>
                    <a:pt x="25" y="37"/>
                    <a:pt x="43" y="37"/>
                  </a:cubicBezTo>
                  <a:cubicBezTo>
                    <a:pt x="48" y="37"/>
                    <a:pt x="56" y="37"/>
                    <a:pt x="65" y="37"/>
                  </a:cubicBezTo>
                  <a:cubicBezTo>
                    <a:pt x="76" y="36"/>
                    <a:pt x="86" y="28"/>
                    <a:pt x="86" y="19"/>
                  </a:cubicBezTo>
                  <a:cubicBezTo>
                    <a:pt x="86" y="19"/>
                    <a:pt x="86" y="19"/>
                    <a:pt x="86" y="18"/>
                  </a:cubicBezTo>
                  <a:cubicBezTo>
                    <a:pt x="86" y="10"/>
                    <a:pt x="80" y="3"/>
                    <a:pt x="70" y="0"/>
                  </a:cubicBezTo>
                  <a:cubicBezTo>
                    <a:pt x="68" y="0"/>
                    <a:pt x="66" y="0"/>
                    <a:pt x="63" y="0"/>
                  </a:cubicBezTo>
                  <a:cubicBezTo>
                    <a:pt x="63" y="0"/>
                    <a:pt x="63" y="0"/>
                    <a:pt x="6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3" name="Freeform 79">
              <a:extLst>
                <a:ext uri="{FF2B5EF4-FFF2-40B4-BE49-F238E27FC236}">
                  <a16:creationId xmlns:a16="http://schemas.microsoft.com/office/drawing/2014/main" id="{B9146328-048D-DE46-9FBF-A74ECE2C3EF7}"/>
                </a:ext>
              </a:extLst>
            </p:cNvPr>
            <p:cNvSpPr>
              <a:spLocks/>
            </p:cNvSpPr>
            <p:nvPr/>
          </p:nvSpPr>
          <p:spPr bwMode="auto">
            <a:xfrm>
              <a:off x="7621588" y="2546350"/>
              <a:ext cx="52388" cy="17463"/>
            </a:xfrm>
            <a:custGeom>
              <a:avLst/>
              <a:gdLst>
                <a:gd name="T0" fmla="*/ 109 w 129"/>
                <a:gd name="T1" fmla="*/ 0 h 43"/>
                <a:gd name="T2" fmla="*/ 86 w 129"/>
                <a:gd name="T3" fmla="*/ 0 h 43"/>
                <a:gd name="T4" fmla="*/ 43 w 129"/>
                <a:gd name="T5" fmla="*/ 0 h 43"/>
                <a:gd name="T6" fmla="*/ 22 w 129"/>
                <a:gd name="T7" fmla="*/ 0 h 43"/>
                <a:gd name="T8" fmla="*/ 0 w 129"/>
                <a:gd name="T9" fmla="*/ 21 h 43"/>
                <a:gd name="T10" fmla="*/ 22 w 129"/>
                <a:gd name="T11" fmla="*/ 43 h 43"/>
                <a:gd name="T12" fmla="*/ 64 w 129"/>
                <a:gd name="T13" fmla="*/ 43 h 43"/>
                <a:gd name="T14" fmla="*/ 64 w 129"/>
                <a:gd name="T15" fmla="*/ 43 h 43"/>
                <a:gd name="T16" fmla="*/ 109 w 129"/>
                <a:gd name="T17" fmla="*/ 43 h 43"/>
                <a:gd name="T18" fmla="*/ 129 w 129"/>
                <a:gd name="T19" fmla="*/ 21 h 43"/>
                <a:gd name="T20" fmla="*/ 109 w 129"/>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3">
                  <a:moveTo>
                    <a:pt x="109" y="0"/>
                  </a:moveTo>
                  <a:cubicBezTo>
                    <a:pt x="109" y="0"/>
                    <a:pt x="109" y="0"/>
                    <a:pt x="86" y="0"/>
                  </a:cubicBezTo>
                  <a:cubicBezTo>
                    <a:pt x="76" y="0"/>
                    <a:pt x="63" y="0"/>
                    <a:pt x="43" y="0"/>
                  </a:cubicBezTo>
                  <a:cubicBezTo>
                    <a:pt x="37" y="0"/>
                    <a:pt x="30" y="0"/>
                    <a:pt x="22" y="0"/>
                  </a:cubicBezTo>
                  <a:cubicBezTo>
                    <a:pt x="9" y="0"/>
                    <a:pt x="0" y="10"/>
                    <a:pt x="0" y="21"/>
                  </a:cubicBezTo>
                  <a:cubicBezTo>
                    <a:pt x="0" y="32"/>
                    <a:pt x="9" y="43"/>
                    <a:pt x="22" y="43"/>
                  </a:cubicBezTo>
                  <a:cubicBezTo>
                    <a:pt x="22" y="43"/>
                    <a:pt x="22" y="43"/>
                    <a:pt x="64" y="43"/>
                  </a:cubicBezTo>
                  <a:cubicBezTo>
                    <a:pt x="64" y="43"/>
                    <a:pt x="64" y="43"/>
                    <a:pt x="64" y="43"/>
                  </a:cubicBezTo>
                  <a:cubicBezTo>
                    <a:pt x="75" y="43"/>
                    <a:pt x="90" y="43"/>
                    <a:pt x="109" y="43"/>
                  </a:cubicBezTo>
                  <a:cubicBezTo>
                    <a:pt x="120" y="43"/>
                    <a:pt x="129" y="32"/>
                    <a:pt x="129" y="21"/>
                  </a:cubicBezTo>
                  <a:cubicBezTo>
                    <a:pt x="129" y="10"/>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4" name="Freeform 80">
              <a:extLst>
                <a:ext uri="{FF2B5EF4-FFF2-40B4-BE49-F238E27FC236}">
                  <a16:creationId xmlns:a16="http://schemas.microsoft.com/office/drawing/2014/main" id="{3D644B5D-52F9-BA4C-BF74-8AA78D8DF827}"/>
                </a:ext>
              </a:extLst>
            </p:cNvPr>
            <p:cNvSpPr>
              <a:spLocks noEditPoints="1"/>
            </p:cNvSpPr>
            <p:nvPr/>
          </p:nvSpPr>
          <p:spPr bwMode="auto">
            <a:xfrm>
              <a:off x="7532688" y="2479675"/>
              <a:ext cx="73025" cy="84138"/>
            </a:xfrm>
            <a:custGeom>
              <a:avLst/>
              <a:gdLst>
                <a:gd name="T0" fmla="*/ 91 w 183"/>
                <a:gd name="T1" fmla="*/ 168 h 210"/>
                <a:gd name="T2" fmla="*/ 45 w 183"/>
                <a:gd name="T3" fmla="*/ 105 h 210"/>
                <a:gd name="T4" fmla="*/ 91 w 183"/>
                <a:gd name="T5" fmla="*/ 41 h 210"/>
                <a:gd name="T6" fmla="*/ 138 w 183"/>
                <a:gd name="T7" fmla="*/ 105 h 210"/>
                <a:gd name="T8" fmla="*/ 91 w 183"/>
                <a:gd name="T9" fmla="*/ 168 h 210"/>
                <a:gd name="T10" fmla="*/ 91 w 183"/>
                <a:gd name="T11" fmla="*/ 0 h 210"/>
                <a:gd name="T12" fmla="*/ 0 w 183"/>
                <a:gd name="T13" fmla="*/ 105 h 210"/>
                <a:gd name="T14" fmla="*/ 91 w 183"/>
                <a:gd name="T15" fmla="*/ 210 h 210"/>
                <a:gd name="T16" fmla="*/ 183 w 183"/>
                <a:gd name="T17" fmla="*/ 105 h 210"/>
                <a:gd name="T18" fmla="*/ 91 w 183"/>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210">
                  <a:moveTo>
                    <a:pt x="91" y="168"/>
                  </a:moveTo>
                  <a:cubicBezTo>
                    <a:pt x="66" y="168"/>
                    <a:pt x="45" y="139"/>
                    <a:pt x="45" y="105"/>
                  </a:cubicBezTo>
                  <a:cubicBezTo>
                    <a:pt x="45" y="70"/>
                    <a:pt x="66" y="41"/>
                    <a:pt x="91" y="41"/>
                  </a:cubicBezTo>
                  <a:cubicBezTo>
                    <a:pt x="117" y="41"/>
                    <a:pt x="138" y="70"/>
                    <a:pt x="138" y="105"/>
                  </a:cubicBezTo>
                  <a:cubicBezTo>
                    <a:pt x="138" y="139"/>
                    <a:pt x="117" y="168"/>
                    <a:pt x="91" y="168"/>
                  </a:cubicBezTo>
                  <a:moveTo>
                    <a:pt x="91" y="0"/>
                  </a:moveTo>
                  <a:cubicBezTo>
                    <a:pt x="42" y="0"/>
                    <a:pt x="0" y="47"/>
                    <a:pt x="0" y="105"/>
                  </a:cubicBezTo>
                  <a:cubicBezTo>
                    <a:pt x="0" y="163"/>
                    <a:pt x="42" y="210"/>
                    <a:pt x="91" y="210"/>
                  </a:cubicBezTo>
                  <a:cubicBezTo>
                    <a:pt x="142" y="210"/>
                    <a:pt x="183" y="163"/>
                    <a:pt x="183" y="105"/>
                  </a:cubicBezTo>
                  <a:cubicBezTo>
                    <a:pt x="183" y="47"/>
                    <a:pt x="142" y="0"/>
                    <a:pt x="9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5" name="Freeform 81">
              <a:extLst>
                <a:ext uri="{FF2B5EF4-FFF2-40B4-BE49-F238E27FC236}">
                  <a16:creationId xmlns:a16="http://schemas.microsoft.com/office/drawing/2014/main" id="{5D377AA2-408B-B649-A1AD-CCE0FFBD5BC0}"/>
                </a:ext>
              </a:extLst>
            </p:cNvPr>
            <p:cNvSpPr>
              <a:spLocks noEditPoints="1"/>
            </p:cNvSpPr>
            <p:nvPr/>
          </p:nvSpPr>
          <p:spPr bwMode="auto">
            <a:xfrm>
              <a:off x="7483476" y="2349500"/>
              <a:ext cx="17463" cy="66675"/>
            </a:xfrm>
            <a:custGeom>
              <a:avLst/>
              <a:gdLst>
                <a:gd name="T0" fmla="*/ 43 w 43"/>
                <a:gd name="T1" fmla="*/ 22 h 167"/>
                <a:gd name="T2" fmla="*/ 24 w 43"/>
                <a:gd name="T3" fmla="*/ 44 h 167"/>
                <a:gd name="T4" fmla="*/ 0 w 43"/>
                <a:gd name="T5" fmla="*/ 44 h 167"/>
                <a:gd name="T6" fmla="*/ 0 w 43"/>
                <a:gd name="T7" fmla="*/ 167 h 167"/>
                <a:gd name="T8" fmla="*/ 43 w 43"/>
                <a:gd name="T9" fmla="*/ 167 h 167"/>
                <a:gd name="T10" fmla="*/ 43 w 43"/>
                <a:gd name="T11" fmla="*/ 22 h 167"/>
                <a:gd name="T12" fmla="*/ 42 w 43"/>
                <a:gd name="T13" fmla="*/ 13 h 167"/>
                <a:gd name="T14" fmla="*/ 43 w 43"/>
                <a:gd name="T15" fmla="*/ 22 h 167"/>
                <a:gd name="T16" fmla="*/ 43 w 43"/>
                <a:gd name="T17" fmla="*/ 21 h 167"/>
                <a:gd name="T18" fmla="*/ 42 w 43"/>
                <a:gd name="T19" fmla="*/ 13 h 167"/>
                <a:gd name="T20" fmla="*/ 21 w 43"/>
                <a:gd name="T21" fmla="*/ 0 h 167"/>
                <a:gd name="T22" fmla="*/ 18 w 43"/>
                <a:gd name="T23" fmla="*/ 1 h 167"/>
                <a:gd name="T24" fmla="*/ 21 w 43"/>
                <a:gd name="T25" fmla="*/ 0 h 167"/>
                <a:gd name="T26" fmla="*/ 21 w 43"/>
                <a:gd name="T2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67">
                  <a:moveTo>
                    <a:pt x="43" y="22"/>
                  </a:moveTo>
                  <a:cubicBezTo>
                    <a:pt x="43" y="33"/>
                    <a:pt x="34" y="42"/>
                    <a:pt x="24" y="44"/>
                  </a:cubicBezTo>
                  <a:cubicBezTo>
                    <a:pt x="13" y="44"/>
                    <a:pt x="6" y="44"/>
                    <a:pt x="0" y="44"/>
                  </a:cubicBezTo>
                  <a:cubicBezTo>
                    <a:pt x="0" y="63"/>
                    <a:pt x="0" y="99"/>
                    <a:pt x="0" y="167"/>
                  </a:cubicBezTo>
                  <a:cubicBezTo>
                    <a:pt x="20" y="167"/>
                    <a:pt x="34" y="167"/>
                    <a:pt x="43" y="167"/>
                  </a:cubicBezTo>
                  <a:cubicBezTo>
                    <a:pt x="43" y="145"/>
                    <a:pt x="43" y="102"/>
                    <a:pt x="43" y="22"/>
                  </a:cubicBezTo>
                  <a:moveTo>
                    <a:pt x="42" y="13"/>
                  </a:moveTo>
                  <a:cubicBezTo>
                    <a:pt x="43" y="16"/>
                    <a:pt x="43" y="19"/>
                    <a:pt x="43" y="22"/>
                  </a:cubicBezTo>
                  <a:cubicBezTo>
                    <a:pt x="43" y="22"/>
                    <a:pt x="43" y="22"/>
                    <a:pt x="43" y="21"/>
                  </a:cubicBezTo>
                  <a:cubicBezTo>
                    <a:pt x="43" y="19"/>
                    <a:pt x="43" y="16"/>
                    <a:pt x="42" y="13"/>
                  </a:cubicBezTo>
                  <a:moveTo>
                    <a:pt x="21" y="0"/>
                  </a:moveTo>
                  <a:cubicBezTo>
                    <a:pt x="20" y="0"/>
                    <a:pt x="19" y="0"/>
                    <a:pt x="18" y="1"/>
                  </a:cubicBezTo>
                  <a:cubicBezTo>
                    <a:pt x="21" y="0"/>
                    <a:pt x="21" y="0"/>
                    <a:pt x="21" y="0"/>
                  </a:cubicBezTo>
                  <a:cubicBezTo>
                    <a:pt x="21" y="0"/>
                    <a:pt x="21"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6" name="Freeform 82">
              <a:extLst>
                <a:ext uri="{FF2B5EF4-FFF2-40B4-BE49-F238E27FC236}">
                  <a16:creationId xmlns:a16="http://schemas.microsoft.com/office/drawing/2014/main" id="{E2108E40-FCFE-EF4B-83FD-CEE643FC999D}"/>
                </a:ext>
              </a:extLst>
            </p:cNvPr>
            <p:cNvSpPr>
              <a:spLocks/>
            </p:cNvSpPr>
            <p:nvPr/>
          </p:nvSpPr>
          <p:spPr bwMode="auto">
            <a:xfrm>
              <a:off x="7467601" y="2349500"/>
              <a:ext cx="33338" cy="17463"/>
            </a:xfrm>
            <a:custGeom>
              <a:avLst/>
              <a:gdLst>
                <a:gd name="T0" fmla="*/ 60 w 81"/>
                <a:gd name="T1" fmla="*/ 0 h 44"/>
                <a:gd name="T2" fmla="*/ 59 w 81"/>
                <a:gd name="T3" fmla="*/ 0 h 44"/>
                <a:gd name="T4" fmla="*/ 56 w 81"/>
                <a:gd name="T5" fmla="*/ 1 h 44"/>
                <a:gd name="T6" fmla="*/ 22 w 81"/>
                <a:gd name="T7" fmla="*/ 2 h 44"/>
                <a:gd name="T8" fmla="*/ 2 w 81"/>
                <a:gd name="T9" fmla="*/ 24 h 44"/>
                <a:gd name="T10" fmla="*/ 22 w 81"/>
                <a:gd name="T11" fmla="*/ 44 h 44"/>
                <a:gd name="T12" fmla="*/ 24 w 81"/>
                <a:gd name="T13" fmla="*/ 44 h 44"/>
                <a:gd name="T14" fmla="*/ 38 w 81"/>
                <a:gd name="T15" fmla="*/ 44 h 44"/>
                <a:gd name="T16" fmla="*/ 62 w 81"/>
                <a:gd name="T17" fmla="*/ 44 h 44"/>
                <a:gd name="T18" fmla="*/ 81 w 81"/>
                <a:gd name="T19" fmla="*/ 22 h 44"/>
                <a:gd name="T20" fmla="*/ 81 w 81"/>
                <a:gd name="T21" fmla="*/ 22 h 44"/>
                <a:gd name="T22" fmla="*/ 81 w 81"/>
                <a:gd name="T23" fmla="*/ 22 h 44"/>
                <a:gd name="T24" fmla="*/ 80 w 81"/>
                <a:gd name="T25" fmla="*/ 13 h 44"/>
                <a:gd name="T26" fmla="*/ 60 w 81"/>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44">
                  <a:moveTo>
                    <a:pt x="60" y="0"/>
                  </a:moveTo>
                  <a:cubicBezTo>
                    <a:pt x="60" y="0"/>
                    <a:pt x="60" y="0"/>
                    <a:pt x="59" y="0"/>
                  </a:cubicBezTo>
                  <a:cubicBezTo>
                    <a:pt x="59" y="0"/>
                    <a:pt x="59" y="0"/>
                    <a:pt x="56" y="1"/>
                  </a:cubicBezTo>
                  <a:cubicBezTo>
                    <a:pt x="52" y="1"/>
                    <a:pt x="43" y="1"/>
                    <a:pt x="22" y="2"/>
                  </a:cubicBezTo>
                  <a:cubicBezTo>
                    <a:pt x="11" y="2"/>
                    <a:pt x="0" y="11"/>
                    <a:pt x="2" y="24"/>
                  </a:cubicBezTo>
                  <a:cubicBezTo>
                    <a:pt x="2" y="35"/>
                    <a:pt x="11" y="44"/>
                    <a:pt x="22" y="44"/>
                  </a:cubicBezTo>
                  <a:cubicBezTo>
                    <a:pt x="22" y="44"/>
                    <a:pt x="22" y="44"/>
                    <a:pt x="24" y="44"/>
                  </a:cubicBezTo>
                  <a:cubicBezTo>
                    <a:pt x="24" y="44"/>
                    <a:pt x="24" y="44"/>
                    <a:pt x="38" y="44"/>
                  </a:cubicBezTo>
                  <a:cubicBezTo>
                    <a:pt x="44" y="44"/>
                    <a:pt x="51" y="44"/>
                    <a:pt x="62" y="44"/>
                  </a:cubicBezTo>
                  <a:cubicBezTo>
                    <a:pt x="72" y="42"/>
                    <a:pt x="81" y="33"/>
                    <a:pt x="81" y="22"/>
                  </a:cubicBezTo>
                  <a:cubicBezTo>
                    <a:pt x="81" y="22"/>
                    <a:pt x="81" y="22"/>
                    <a:pt x="81" y="22"/>
                  </a:cubicBezTo>
                  <a:cubicBezTo>
                    <a:pt x="81" y="22"/>
                    <a:pt x="81" y="22"/>
                    <a:pt x="81" y="22"/>
                  </a:cubicBezTo>
                  <a:cubicBezTo>
                    <a:pt x="81" y="19"/>
                    <a:pt x="81" y="16"/>
                    <a:pt x="80" y="13"/>
                  </a:cubicBezTo>
                  <a:cubicBezTo>
                    <a:pt x="77" y="6"/>
                    <a:pt x="69" y="0"/>
                    <a:pt x="60"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7" name="Freeform 83">
              <a:extLst>
                <a:ext uri="{FF2B5EF4-FFF2-40B4-BE49-F238E27FC236}">
                  <a16:creationId xmlns:a16="http://schemas.microsoft.com/office/drawing/2014/main" id="{93574A11-D210-9842-BAF5-D21DA44889B8}"/>
                </a:ext>
              </a:extLst>
            </p:cNvPr>
            <p:cNvSpPr>
              <a:spLocks/>
            </p:cNvSpPr>
            <p:nvPr/>
          </p:nvSpPr>
          <p:spPr bwMode="auto">
            <a:xfrm>
              <a:off x="7466013" y="2416175"/>
              <a:ext cx="52388" cy="19050"/>
            </a:xfrm>
            <a:custGeom>
              <a:avLst/>
              <a:gdLst>
                <a:gd name="T0" fmla="*/ 109 w 129"/>
                <a:gd name="T1" fmla="*/ 0 h 49"/>
                <a:gd name="T2" fmla="*/ 86 w 129"/>
                <a:gd name="T3" fmla="*/ 0 h 49"/>
                <a:gd name="T4" fmla="*/ 43 w 129"/>
                <a:gd name="T5" fmla="*/ 0 h 49"/>
                <a:gd name="T6" fmla="*/ 23 w 129"/>
                <a:gd name="T7" fmla="*/ 0 h 49"/>
                <a:gd name="T8" fmla="*/ 0 w 129"/>
                <a:gd name="T9" fmla="*/ 25 h 49"/>
                <a:gd name="T10" fmla="*/ 23 w 129"/>
                <a:gd name="T11" fmla="*/ 49 h 49"/>
                <a:gd name="T12" fmla="*/ 64 w 129"/>
                <a:gd name="T13" fmla="*/ 49 h 49"/>
                <a:gd name="T14" fmla="*/ 64 w 129"/>
                <a:gd name="T15" fmla="*/ 49 h 49"/>
                <a:gd name="T16" fmla="*/ 109 w 129"/>
                <a:gd name="T17" fmla="*/ 49 h 49"/>
                <a:gd name="T18" fmla="*/ 129 w 129"/>
                <a:gd name="T19" fmla="*/ 25 h 49"/>
                <a:gd name="T20" fmla="*/ 109 w 129"/>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9">
                  <a:moveTo>
                    <a:pt x="109" y="0"/>
                  </a:moveTo>
                  <a:cubicBezTo>
                    <a:pt x="109" y="0"/>
                    <a:pt x="109" y="0"/>
                    <a:pt x="86" y="0"/>
                  </a:cubicBezTo>
                  <a:cubicBezTo>
                    <a:pt x="77" y="0"/>
                    <a:pt x="63" y="0"/>
                    <a:pt x="43" y="0"/>
                  </a:cubicBezTo>
                  <a:cubicBezTo>
                    <a:pt x="37" y="0"/>
                    <a:pt x="30" y="0"/>
                    <a:pt x="23" y="0"/>
                  </a:cubicBezTo>
                  <a:cubicBezTo>
                    <a:pt x="9" y="0"/>
                    <a:pt x="0" y="13"/>
                    <a:pt x="0" y="25"/>
                  </a:cubicBezTo>
                  <a:cubicBezTo>
                    <a:pt x="0" y="37"/>
                    <a:pt x="9" y="49"/>
                    <a:pt x="23" y="49"/>
                  </a:cubicBezTo>
                  <a:cubicBezTo>
                    <a:pt x="23" y="49"/>
                    <a:pt x="23" y="49"/>
                    <a:pt x="64" y="49"/>
                  </a:cubicBezTo>
                  <a:cubicBezTo>
                    <a:pt x="64" y="49"/>
                    <a:pt x="64" y="49"/>
                    <a:pt x="64" y="49"/>
                  </a:cubicBezTo>
                  <a:cubicBezTo>
                    <a:pt x="75" y="49"/>
                    <a:pt x="90" y="49"/>
                    <a:pt x="109" y="49"/>
                  </a:cubicBezTo>
                  <a:cubicBezTo>
                    <a:pt x="120" y="49"/>
                    <a:pt x="129" y="37"/>
                    <a:pt x="129" y="25"/>
                  </a:cubicBezTo>
                  <a:cubicBezTo>
                    <a:pt x="129" y="13"/>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8" name="Freeform 84">
              <a:extLst>
                <a:ext uri="{FF2B5EF4-FFF2-40B4-BE49-F238E27FC236}">
                  <a16:creationId xmlns:a16="http://schemas.microsoft.com/office/drawing/2014/main" id="{31939A42-B3E6-264A-8A8C-B2D3B65CD8A5}"/>
                </a:ext>
              </a:extLst>
            </p:cNvPr>
            <p:cNvSpPr>
              <a:spLocks noEditPoints="1"/>
            </p:cNvSpPr>
            <p:nvPr/>
          </p:nvSpPr>
          <p:spPr bwMode="auto">
            <a:xfrm>
              <a:off x="7639051" y="2349500"/>
              <a:ext cx="17463" cy="66675"/>
            </a:xfrm>
            <a:custGeom>
              <a:avLst/>
              <a:gdLst>
                <a:gd name="T0" fmla="*/ 43 w 43"/>
                <a:gd name="T1" fmla="*/ 22 h 167"/>
                <a:gd name="T2" fmla="*/ 23 w 43"/>
                <a:gd name="T3" fmla="*/ 44 h 167"/>
                <a:gd name="T4" fmla="*/ 0 w 43"/>
                <a:gd name="T5" fmla="*/ 44 h 167"/>
                <a:gd name="T6" fmla="*/ 0 w 43"/>
                <a:gd name="T7" fmla="*/ 167 h 167"/>
                <a:gd name="T8" fmla="*/ 43 w 43"/>
                <a:gd name="T9" fmla="*/ 167 h 167"/>
                <a:gd name="T10" fmla="*/ 43 w 43"/>
                <a:gd name="T11" fmla="*/ 22 h 167"/>
                <a:gd name="T12" fmla="*/ 41 w 43"/>
                <a:gd name="T13" fmla="*/ 13 h 167"/>
                <a:gd name="T14" fmla="*/ 43 w 43"/>
                <a:gd name="T15" fmla="*/ 22 h 167"/>
                <a:gd name="T16" fmla="*/ 43 w 43"/>
                <a:gd name="T17" fmla="*/ 21 h 167"/>
                <a:gd name="T18" fmla="*/ 41 w 43"/>
                <a:gd name="T19" fmla="*/ 13 h 167"/>
                <a:gd name="T20" fmla="*/ 21 w 43"/>
                <a:gd name="T21" fmla="*/ 0 h 167"/>
                <a:gd name="T22" fmla="*/ 18 w 43"/>
                <a:gd name="T23" fmla="*/ 1 h 167"/>
                <a:gd name="T24" fmla="*/ 21 w 43"/>
                <a:gd name="T25" fmla="*/ 0 h 167"/>
                <a:gd name="T26" fmla="*/ 21 w 43"/>
                <a:gd name="T2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67">
                  <a:moveTo>
                    <a:pt x="43" y="22"/>
                  </a:moveTo>
                  <a:cubicBezTo>
                    <a:pt x="43" y="33"/>
                    <a:pt x="34" y="42"/>
                    <a:pt x="23" y="44"/>
                  </a:cubicBezTo>
                  <a:cubicBezTo>
                    <a:pt x="13" y="44"/>
                    <a:pt x="5" y="44"/>
                    <a:pt x="0" y="44"/>
                  </a:cubicBezTo>
                  <a:cubicBezTo>
                    <a:pt x="0" y="63"/>
                    <a:pt x="0" y="99"/>
                    <a:pt x="0" y="167"/>
                  </a:cubicBezTo>
                  <a:cubicBezTo>
                    <a:pt x="20" y="167"/>
                    <a:pt x="33" y="167"/>
                    <a:pt x="43" y="167"/>
                  </a:cubicBezTo>
                  <a:cubicBezTo>
                    <a:pt x="43" y="145"/>
                    <a:pt x="43" y="102"/>
                    <a:pt x="43" y="22"/>
                  </a:cubicBezTo>
                  <a:moveTo>
                    <a:pt x="41" y="13"/>
                  </a:moveTo>
                  <a:cubicBezTo>
                    <a:pt x="42" y="16"/>
                    <a:pt x="43" y="19"/>
                    <a:pt x="43" y="22"/>
                  </a:cubicBezTo>
                  <a:cubicBezTo>
                    <a:pt x="43" y="22"/>
                    <a:pt x="43" y="22"/>
                    <a:pt x="43" y="21"/>
                  </a:cubicBezTo>
                  <a:cubicBezTo>
                    <a:pt x="43" y="18"/>
                    <a:pt x="42" y="16"/>
                    <a:pt x="41" y="13"/>
                  </a:cubicBezTo>
                  <a:moveTo>
                    <a:pt x="21" y="0"/>
                  </a:moveTo>
                  <a:cubicBezTo>
                    <a:pt x="20" y="0"/>
                    <a:pt x="19" y="0"/>
                    <a:pt x="18" y="1"/>
                  </a:cubicBezTo>
                  <a:cubicBezTo>
                    <a:pt x="20" y="0"/>
                    <a:pt x="21" y="0"/>
                    <a:pt x="21" y="0"/>
                  </a:cubicBezTo>
                  <a:cubicBezTo>
                    <a:pt x="21" y="0"/>
                    <a:pt x="21"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69" name="Freeform 85">
              <a:extLst>
                <a:ext uri="{FF2B5EF4-FFF2-40B4-BE49-F238E27FC236}">
                  <a16:creationId xmlns:a16="http://schemas.microsoft.com/office/drawing/2014/main" id="{22515F6F-70D1-AE44-A8EF-44149879D036}"/>
                </a:ext>
              </a:extLst>
            </p:cNvPr>
            <p:cNvSpPr>
              <a:spLocks/>
            </p:cNvSpPr>
            <p:nvPr/>
          </p:nvSpPr>
          <p:spPr bwMode="auto">
            <a:xfrm>
              <a:off x="7623176" y="2349500"/>
              <a:ext cx="33338" cy="17463"/>
            </a:xfrm>
            <a:custGeom>
              <a:avLst/>
              <a:gdLst>
                <a:gd name="T0" fmla="*/ 59 w 81"/>
                <a:gd name="T1" fmla="*/ 0 h 44"/>
                <a:gd name="T2" fmla="*/ 59 w 81"/>
                <a:gd name="T3" fmla="*/ 0 h 44"/>
                <a:gd name="T4" fmla="*/ 56 w 81"/>
                <a:gd name="T5" fmla="*/ 1 h 44"/>
                <a:gd name="T6" fmla="*/ 22 w 81"/>
                <a:gd name="T7" fmla="*/ 2 h 44"/>
                <a:gd name="T8" fmla="*/ 2 w 81"/>
                <a:gd name="T9" fmla="*/ 24 h 44"/>
                <a:gd name="T10" fmla="*/ 22 w 81"/>
                <a:gd name="T11" fmla="*/ 44 h 44"/>
                <a:gd name="T12" fmla="*/ 24 w 81"/>
                <a:gd name="T13" fmla="*/ 44 h 44"/>
                <a:gd name="T14" fmla="*/ 38 w 81"/>
                <a:gd name="T15" fmla="*/ 44 h 44"/>
                <a:gd name="T16" fmla="*/ 61 w 81"/>
                <a:gd name="T17" fmla="*/ 44 h 44"/>
                <a:gd name="T18" fmla="*/ 81 w 81"/>
                <a:gd name="T19" fmla="*/ 22 h 44"/>
                <a:gd name="T20" fmla="*/ 81 w 81"/>
                <a:gd name="T21" fmla="*/ 22 h 44"/>
                <a:gd name="T22" fmla="*/ 81 w 81"/>
                <a:gd name="T23" fmla="*/ 22 h 44"/>
                <a:gd name="T24" fmla="*/ 79 w 81"/>
                <a:gd name="T25" fmla="*/ 13 h 44"/>
                <a:gd name="T26" fmla="*/ 59 w 81"/>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44">
                  <a:moveTo>
                    <a:pt x="59" y="0"/>
                  </a:moveTo>
                  <a:cubicBezTo>
                    <a:pt x="59" y="0"/>
                    <a:pt x="59" y="0"/>
                    <a:pt x="59" y="0"/>
                  </a:cubicBezTo>
                  <a:cubicBezTo>
                    <a:pt x="59" y="0"/>
                    <a:pt x="58" y="0"/>
                    <a:pt x="56" y="1"/>
                  </a:cubicBezTo>
                  <a:cubicBezTo>
                    <a:pt x="52" y="1"/>
                    <a:pt x="42" y="1"/>
                    <a:pt x="22" y="2"/>
                  </a:cubicBezTo>
                  <a:cubicBezTo>
                    <a:pt x="11" y="2"/>
                    <a:pt x="0" y="11"/>
                    <a:pt x="2" y="24"/>
                  </a:cubicBezTo>
                  <a:cubicBezTo>
                    <a:pt x="2" y="35"/>
                    <a:pt x="11" y="44"/>
                    <a:pt x="22" y="44"/>
                  </a:cubicBezTo>
                  <a:cubicBezTo>
                    <a:pt x="22" y="44"/>
                    <a:pt x="22" y="44"/>
                    <a:pt x="24" y="44"/>
                  </a:cubicBezTo>
                  <a:cubicBezTo>
                    <a:pt x="24" y="44"/>
                    <a:pt x="24" y="44"/>
                    <a:pt x="38" y="44"/>
                  </a:cubicBezTo>
                  <a:cubicBezTo>
                    <a:pt x="43" y="44"/>
                    <a:pt x="51" y="44"/>
                    <a:pt x="61" y="44"/>
                  </a:cubicBezTo>
                  <a:cubicBezTo>
                    <a:pt x="72" y="42"/>
                    <a:pt x="81" y="33"/>
                    <a:pt x="81" y="22"/>
                  </a:cubicBezTo>
                  <a:cubicBezTo>
                    <a:pt x="81" y="22"/>
                    <a:pt x="81" y="22"/>
                    <a:pt x="81" y="22"/>
                  </a:cubicBezTo>
                  <a:cubicBezTo>
                    <a:pt x="81" y="22"/>
                    <a:pt x="81" y="22"/>
                    <a:pt x="81" y="22"/>
                  </a:cubicBezTo>
                  <a:cubicBezTo>
                    <a:pt x="81" y="19"/>
                    <a:pt x="80" y="16"/>
                    <a:pt x="79" y="13"/>
                  </a:cubicBezTo>
                  <a:cubicBezTo>
                    <a:pt x="76" y="5"/>
                    <a:pt x="69" y="0"/>
                    <a:pt x="5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0" name="Freeform 86">
              <a:extLst>
                <a:ext uri="{FF2B5EF4-FFF2-40B4-BE49-F238E27FC236}">
                  <a16:creationId xmlns:a16="http://schemas.microsoft.com/office/drawing/2014/main" id="{2FC31C7C-F0AC-B046-B99C-7CCA8E5C51C5}"/>
                </a:ext>
              </a:extLst>
            </p:cNvPr>
            <p:cNvSpPr>
              <a:spLocks/>
            </p:cNvSpPr>
            <p:nvPr/>
          </p:nvSpPr>
          <p:spPr bwMode="auto">
            <a:xfrm>
              <a:off x="7621588" y="2416175"/>
              <a:ext cx="52388" cy="19050"/>
            </a:xfrm>
            <a:custGeom>
              <a:avLst/>
              <a:gdLst>
                <a:gd name="T0" fmla="*/ 109 w 129"/>
                <a:gd name="T1" fmla="*/ 0 h 49"/>
                <a:gd name="T2" fmla="*/ 86 w 129"/>
                <a:gd name="T3" fmla="*/ 0 h 49"/>
                <a:gd name="T4" fmla="*/ 43 w 129"/>
                <a:gd name="T5" fmla="*/ 0 h 49"/>
                <a:gd name="T6" fmla="*/ 22 w 129"/>
                <a:gd name="T7" fmla="*/ 0 h 49"/>
                <a:gd name="T8" fmla="*/ 0 w 129"/>
                <a:gd name="T9" fmla="*/ 25 h 49"/>
                <a:gd name="T10" fmla="*/ 22 w 129"/>
                <a:gd name="T11" fmla="*/ 49 h 49"/>
                <a:gd name="T12" fmla="*/ 64 w 129"/>
                <a:gd name="T13" fmla="*/ 49 h 49"/>
                <a:gd name="T14" fmla="*/ 64 w 129"/>
                <a:gd name="T15" fmla="*/ 49 h 49"/>
                <a:gd name="T16" fmla="*/ 109 w 129"/>
                <a:gd name="T17" fmla="*/ 49 h 49"/>
                <a:gd name="T18" fmla="*/ 129 w 129"/>
                <a:gd name="T19" fmla="*/ 25 h 49"/>
                <a:gd name="T20" fmla="*/ 109 w 129"/>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9">
                  <a:moveTo>
                    <a:pt x="109" y="0"/>
                  </a:moveTo>
                  <a:cubicBezTo>
                    <a:pt x="109" y="0"/>
                    <a:pt x="109" y="0"/>
                    <a:pt x="86" y="0"/>
                  </a:cubicBezTo>
                  <a:cubicBezTo>
                    <a:pt x="76" y="0"/>
                    <a:pt x="63" y="0"/>
                    <a:pt x="43" y="0"/>
                  </a:cubicBezTo>
                  <a:cubicBezTo>
                    <a:pt x="37" y="0"/>
                    <a:pt x="30" y="0"/>
                    <a:pt x="22" y="0"/>
                  </a:cubicBezTo>
                  <a:cubicBezTo>
                    <a:pt x="9" y="0"/>
                    <a:pt x="0" y="13"/>
                    <a:pt x="0" y="25"/>
                  </a:cubicBezTo>
                  <a:cubicBezTo>
                    <a:pt x="0" y="37"/>
                    <a:pt x="9" y="49"/>
                    <a:pt x="22" y="49"/>
                  </a:cubicBezTo>
                  <a:cubicBezTo>
                    <a:pt x="22" y="49"/>
                    <a:pt x="22" y="49"/>
                    <a:pt x="64" y="49"/>
                  </a:cubicBezTo>
                  <a:cubicBezTo>
                    <a:pt x="64" y="49"/>
                    <a:pt x="64" y="49"/>
                    <a:pt x="64" y="49"/>
                  </a:cubicBezTo>
                  <a:cubicBezTo>
                    <a:pt x="75" y="49"/>
                    <a:pt x="90" y="49"/>
                    <a:pt x="109" y="49"/>
                  </a:cubicBezTo>
                  <a:cubicBezTo>
                    <a:pt x="120" y="49"/>
                    <a:pt x="129" y="37"/>
                    <a:pt x="129" y="25"/>
                  </a:cubicBezTo>
                  <a:cubicBezTo>
                    <a:pt x="129" y="13"/>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1" name="Freeform 87">
              <a:extLst>
                <a:ext uri="{FF2B5EF4-FFF2-40B4-BE49-F238E27FC236}">
                  <a16:creationId xmlns:a16="http://schemas.microsoft.com/office/drawing/2014/main" id="{04A8FDDA-FDF0-0B43-BD57-A4125547EED9}"/>
                </a:ext>
              </a:extLst>
            </p:cNvPr>
            <p:cNvSpPr>
              <a:spLocks/>
            </p:cNvSpPr>
            <p:nvPr/>
          </p:nvSpPr>
          <p:spPr bwMode="auto">
            <a:xfrm>
              <a:off x="7399338" y="2349500"/>
              <a:ext cx="44450" cy="85725"/>
            </a:xfrm>
            <a:custGeom>
              <a:avLst/>
              <a:gdLst>
                <a:gd name="T0" fmla="*/ 22 w 111"/>
                <a:gd name="T1" fmla="*/ 0 h 215"/>
                <a:gd name="T2" fmla="*/ 0 w 111"/>
                <a:gd name="T3" fmla="*/ 4 h 215"/>
                <a:gd name="T4" fmla="*/ 4 w 111"/>
                <a:gd name="T5" fmla="*/ 49 h 215"/>
                <a:gd name="T6" fmla="*/ 22 w 111"/>
                <a:gd name="T7" fmla="*/ 43 h 215"/>
                <a:gd name="T8" fmla="*/ 69 w 111"/>
                <a:gd name="T9" fmla="*/ 108 h 215"/>
                <a:gd name="T10" fmla="*/ 25 w 111"/>
                <a:gd name="T11" fmla="*/ 173 h 215"/>
                <a:gd name="T12" fmla="*/ 36 w 111"/>
                <a:gd name="T13" fmla="*/ 215 h 215"/>
                <a:gd name="T14" fmla="*/ 111 w 111"/>
                <a:gd name="T15" fmla="*/ 108 h 215"/>
                <a:gd name="T16" fmla="*/ 22 w 111"/>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15">
                  <a:moveTo>
                    <a:pt x="22" y="0"/>
                  </a:moveTo>
                  <a:cubicBezTo>
                    <a:pt x="15" y="0"/>
                    <a:pt x="7" y="2"/>
                    <a:pt x="0" y="4"/>
                  </a:cubicBezTo>
                  <a:cubicBezTo>
                    <a:pt x="1" y="19"/>
                    <a:pt x="2" y="34"/>
                    <a:pt x="4" y="49"/>
                  </a:cubicBezTo>
                  <a:cubicBezTo>
                    <a:pt x="9" y="45"/>
                    <a:pt x="16" y="43"/>
                    <a:pt x="22" y="43"/>
                  </a:cubicBezTo>
                  <a:cubicBezTo>
                    <a:pt x="48" y="43"/>
                    <a:pt x="69" y="73"/>
                    <a:pt x="69" y="108"/>
                  </a:cubicBezTo>
                  <a:cubicBezTo>
                    <a:pt x="69" y="142"/>
                    <a:pt x="50" y="171"/>
                    <a:pt x="25" y="173"/>
                  </a:cubicBezTo>
                  <a:cubicBezTo>
                    <a:pt x="28" y="187"/>
                    <a:pt x="32" y="201"/>
                    <a:pt x="36" y="215"/>
                  </a:cubicBezTo>
                  <a:cubicBezTo>
                    <a:pt x="79" y="207"/>
                    <a:pt x="111" y="162"/>
                    <a:pt x="111" y="108"/>
                  </a:cubicBezTo>
                  <a:cubicBezTo>
                    <a:pt x="111" y="49"/>
                    <a:pt x="72" y="0"/>
                    <a:pt x="2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2" name="Freeform 88">
              <a:extLst>
                <a:ext uri="{FF2B5EF4-FFF2-40B4-BE49-F238E27FC236}">
                  <a16:creationId xmlns:a16="http://schemas.microsoft.com/office/drawing/2014/main" id="{D3802C04-312A-0546-AC5A-C1963F6D96B2}"/>
                </a:ext>
              </a:extLst>
            </p:cNvPr>
            <p:cNvSpPr>
              <a:spLocks noEditPoints="1"/>
            </p:cNvSpPr>
            <p:nvPr/>
          </p:nvSpPr>
          <p:spPr bwMode="auto">
            <a:xfrm>
              <a:off x="7532688" y="2349500"/>
              <a:ext cx="73025" cy="85725"/>
            </a:xfrm>
            <a:custGeom>
              <a:avLst/>
              <a:gdLst>
                <a:gd name="T0" fmla="*/ 92 w 183"/>
                <a:gd name="T1" fmla="*/ 173 h 216"/>
                <a:gd name="T2" fmla="*/ 44 w 183"/>
                <a:gd name="T3" fmla="*/ 108 h 216"/>
                <a:gd name="T4" fmla="*/ 92 w 183"/>
                <a:gd name="T5" fmla="*/ 43 h 216"/>
                <a:gd name="T6" fmla="*/ 139 w 183"/>
                <a:gd name="T7" fmla="*/ 108 h 216"/>
                <a:gd name="T8" fmla="*/ 92 w 183"/>
                <a:gd name="T9" fmla="*/ 173 h 216"/>
                <a:gd name="T10" fmla="*/ 92 w 183"/>
                <a:gd name="T11" fmla="*/ 0 h 216"/>
                <a:gd name="T12" fmla="*/ 0 w 183"/>
                <a:gd name="T13" fmla="*/ 108 h 216"/>
                <a:gd name="T14" fmla="*/ 92 w 183"/>
                <a:gd name="T15" fmla="*/ 216 h 216"/>
                <a:gd name="T16" fmla="*/ 183 w 183"/>
                <a:gd name="T17" fmla="*/ 108 h 216"/>
                <a:gd name="T18" fmla="*/ 92 w 183"/>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216">
                  <a:moveTo>
                    <a:pt x="92" y="173"/>
                  </a:moveTo>
                  <a:cubicBezTo>
                    <a:pt x="67" y="173"/>
                    <a:pt x="44" y="143"/>
                    <a:pt x="44" y="108"/>
                  </a:cubicBezTo>
                  <a:cubicBezTo>
                    <a:pt x="44" y="73"/>
                    <a:pt x="67" y="43"/>
                    <a:pt x="92" y="43"/>
                  </a:cubicBezTo>
                  <a:cubicBezTo>
                    <a:pt x="118" y="43"/>
                    <a:pt x="139" y="73"/>
                    <a:pt x="139" y="108"/>
                  </a:cubicBezTo>
                  <a:cubicBezTo>
                    <a:pt x="139" y="143"/>
                    <a:pt x="118" y="173"/>
                    <a:pt x="92" y="173"/>
                  </a:cubicBezTo>
                  <a:moveTo>
                    <a:pt x="92" y="0"/>
                  </a:moveTo>
                  <a:cubicBezTo>
                    <a:pt x="40" y="0"/>
                    <a:pt x="0" y="49"/>
                    <a:pt x="0" y="108"/>
                  </a:cubicBezTo>
                  <a:cubicBezTo>
                    <a:pt x="0" y="168"/>
                    <a:pt x="40" y="216"/>
                    <a:pt x="92" y="216"/>
                  </a:cubicBezTo>
                  <a:cubicBezTo>
                    <a:pt x="143" y="216"/>
                    <a:pt x="183" y="168"/>
                    <a:pt x="183" y="108"/>
                  </a:cubicBezTo>
                  <a:cubicBezTo>
                    <a:pt x="183" y="49"/>
                    <a:pt x="143" y="0"/>
                    <a:pt x="9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3" name="Freeform 89">
              <a:extLst>
                <a:ext uri="{FF2B5EF4-FFF2-40B4-BE49-F238E27FC236}">
                  <a16:creationId xmlns:a16="http://schemas.microsoft.com/office/drawing/2014/main" id="{443DFE64-945C-1F40-A5B2-F68509EFDB9C}"/>
                </a:ext>
              </a:extLst>
            </p:cNvPr>
            <p:cNvSpPr>
              <a:spLocks noEditPoints="1"/>
            </p:cNvSpPr>
            <p:nvPr/>
          </p:nvSpPr>
          <p:spPr bwMode="auto">
            <a:xfrm>
              <a:off x="7639051" y="2606675"/>
              <a:ext cx="17463" cy="66675"/>
            </a:xfrm>
            <a:custGeom>
              <a:avLst/>
              <a:gdLst>
                <a:gd name="T0" fmla="*/ 43 w 43"/>
                <a:gd name="T1" fmla="*/ 22 h 167"/>
                <a:gd name="T2" fmla="*/ 23 w 43"/>
                <a:gd name="T3" fmla="*/ 44 h 167"/>
                <a:gd name="T4" fmla="*/ 0 w 43"/>
                <a:gd name="T5" fmla="*/ 44 h 167"/>
                <a:gd name="T6" fmla="*/ 0 w 43"/>
                <a:gd name="T7" fmla="*/ 167 h 167"/>
                <a:gd name="T8" fmla="*/ 43 w 43"/>
                <a:gd name="T9" fmla="*/ 167 h 167"/>
                <a:gd name="T10" fmla="*/ 43 w 43"/>
                <a:gd name="T11" fmla="*/ 22 h 167"/>
                <a:gd name="T12" fmla="*/ 40 w 43"/>
                <a:gd name="T13" fmla="*/ 10 h 167"/>
                <a:gd name="T14" fmla="*/ 43 w 43"/>
                <a:gd name="T15" fmla="*/ 22 h 167"/>
                <a:gd name="T16" fmla="*/ 43 w 43"/>
                <a:gd name="T17" fmla="*/ 21 h 167"/>
                <a:gd name="T18" fmla="*/ 40 w 43"/>
                <a:gd name="T19" fmla="*/ 10 h 167"/>
                <a:gd name="T20" fmla="*/ 21 w 43"/>
                <a:gd name="T21" fmla="*/ 0 h 167"/>
                <a:gd name="T22" fmla="*/ 18 w 43"/>
                <a:gd name="T23" fmla="*/ 1 h 167"/>
                <a:gd name="T24" fmla="*/ 21 w 43"/>
                <a:gd name="T25" fmla="*/ 0 h 167"/>
                <a:gd name="T26" fmla="*/ 21 w 43"/>
                <a:gd name="T2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67">
                  <a:moveTo>
                    <a:pt x="43" y="22"/>
                  </a:moveTo>
                  <a:cubicBezTo>
                    <a:pt x="43" y="33"/>
                    <a:pt x="34" y="42"/>
                    <a:pt x="23" y="44"/>
                  </a:cubicBezTo>
                  <a:cubicBezTo>
                    <a:pt x="13" y="44"/>
                    <a:pt x="5" y="44"/>
                    <a:pt x="0" y="44"/>
                  </a:cubicBezTo>
                  <a:cubicBezTo>
                    <a:pt x="0" y="63"/>
                    <a:pt x="0" y="100"/>
                    <a:pt x="0" y="167"/>
                  </a:cubicBezTo>
                  <a:cubicBezTo>
                    <a:pt x="20" y="167"/>
                    <a:pt x="33" y="167"/>
                    <a:pt x="43" y="167"/>
                  </a:cubicBezTo>
                  <a:cubicBezTo>
                    <a:pt x="43" y="146"/>
                    <a:pt x="43" y="105"/>
                    <a:pt x="43" y="22"/>
                  </a:cubicBezTo>
                  <a:moveTo>
                    <a:pt x="40" y="10"/>
                  </a:moveTo>
                  <a:cubicBezTo>
                    <a:pt x="42" y="13"/>
                    <a:pt x="43" y="17"/>
                    <a:pt x="43" y="22"/>
                  </a:cubicBezTo>
                  <a:cubicBezTo>
                    <a:pt x="43" y="21"/>
                    <a:pt x="43" y="21"/>
                    <a:pt x="43" y="21"/>
                  </a:cubicBezTo>
                  <a:cubicBezTo>
                    <a:pt x="43" y="17"/>
                    <a:pt x="42" y="13"/>
                    <a:pt x="40" y="10"/>
                  </a:cubicBezTo>
                  <a:moveTo>
                    <a:pt x="21" y="0"/>
                  </a:moveTo>
                  <a:cubicBezTo>
                    <a:pt x="20" y="0"/>
                    <a:pt x="19" y="0"/>
                    <a:pt x="18" y="1"/>
                  </a:cubicBezTo>
                  <a:cubicBezTo>
                    <a:pt x="20" y="0"/>
                    <a:pt x="21" y="0"/>
                    <a:pt x="21" y="0"/>
                  </a:cubicBezTo>
                  <a:cubicBezTo>
                    <a:pt x="21" y="0"/>
                    <a:pt x="21"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4" name="Freeform 90">
              <a:extLst>
                <a:ext uri="{FF2B5EF4-FFF2-40B4-BE49-F238E27FC236}">
                  <a16:creationId xmlns:a16="http://schemas.microsoft.com/office/drawing/2014/main" id="{A311463C-199A-124D-9D65-1961F7A4FAC1}"/>
                </a:ext>
              </a:extLst>
            </p:cNvPr>
            <p:cNvSpPr>
              <a:spLocks/>
            </p:cNvSpPr>
            <p:nvPr/>
          </p:nvSpPr>
          <p:spPr bwMode="auto">
            <a:xfrm>
              <a:off x="7623176" y="2606675"/>
              <a:ext cx="33338" cy="17463"/>
            </a:xfrm>
            <a:custGeom>
              <a:avLst/>
              <a:gdLst>
                <a:gd name="T0" fmla="*/ 59 w 81"/>
                <a:gd name="T1" fmla="*/ 0 h 44"/>
                <a:gd name="T2" fmla="*/ 59 w 81"/>
                <a:gd name="T3" fmla="*/ 0 h 44"/>
                <a:gd name="T4" fmla="*/ 56 w 81"/>
                <a:gd name="T5" fmla="*/ 1 h 44"/>
                <a:gd name="T6" fmla="*/ 22 w 81"/>
                <a:gd name="T7" fmla="*/ 2 h 44"/>
                <a:gd name="T8" fmla="*/ 2 w 81"/>
                <a:gd name="T9" fmla="*/ 24 h 44"/>
                <a:gd name="T10" fmla="*/ 22 w 81"/>
                <a:gd name="T11" fmla="*/ 44 h 44"/>
                <a:gd name="T12" fmla="*/ 24 w 81"/>
                <a:gd name="T13" fmla="*/ 44 h 44"/>
                <a:gd name="T14" fmla="*/ 38 w 81"/>
                <a:gd name="T15" fmla="*/ 44 h 44"/>
                <a:gd name="T16" fmla="*/ 61 w 81"/>
                <a:gd name="T17" fmla="*/ 44 h 44"/>
                <a:gd name="T18" fmla="*/ 81 w 81"/>
                <a:gd name="T19" fmla="*/ 22 h 44"/>
                <a:gd name="T20" fmla="*/ 81 w 81"/>
                <a:gd name="T21" fmla="*/ 22 h 44"/>
                <a:gd name="T22" fmla="*/ 81 w 81"/>
                <a:gd name="T23" fmla="*/ 22 h 44"/>
                <a:gd name="T24" fmla="*/ 78 w 81"/>
                <a:gd name="T25" fmla="*/ 10 h 44"/>
                <a:gd name="T26" fmla="*/ 59 w 81"/>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44">
                  <a:moveTo>
                    <a:pt x="59" y="0"/>
                  </a:moveTo>
                  <a:cubicBezTo>
                    <a:pt x="59" y="0"/>
                    <a:pt x="59" y="0"/>
                    <a:pt x="59" y="0"/>
                  </a:cubicBezTo>
                  <a:cubicBezTo>
                    <a:pt x="59" y="0"/>
                    <a:pt x="58" y="0"/>
                    <a:pt x="56" y="1"/>
                  </a:cubicBezTo>
                  <a:cubicBezTo>
                    <a:pt x="52" y="1"/>
                    <a:pt x="42" y="1"/>
                    <a:pt x="22" y="2"/>
                  </a:cubicBezTo>
                  <a:cubicBezTo>
                    <a:pt x="11" y="2"/>
                    <a:pt x="0" y="11"/>
                    <a:pt x="2" y="24"/>
                  </a:cubicBezTo>
                  <a:cubicBezTo>
                    <a:pt x="2" y="35"/>
                    <a:pt x="11" y="44"/>
                    <a:pt x="22" y="44"/>
                  </a:cubicBezTo>
                  <a:cubicBezTo>
                    <a:pt x="22" y="44"/>
                    <a:pt x="22" y="44"/>
                    <a:pt x="24" y="44"/>
                  </a:cubicBezTo>
                  <a:cubicBezTo>
                    <a:pt x="24" y="44"/>
                    <a:pt x="24" y="44"/>
                    <a:pt x="38" y="44"/>
                  </a:cubicBezTo>
                  <a:cubicBezTo>
                    <a:pt x="43" y="44"/>
                    <a:pt x="51" y="44"/>
                    <a:pt x="61" y="44"/>
                  </a:cubicBezTo>
                  <a:cubicBezTo>
                    <a:pt x="72" y="42"/>
                    <a:pt x="81" y="33"/>
                    <a:pt x="81" y="22"/>
                  </a:cubicBezTo>
                  <a:cubicBezTo>
                    <a:pt x="81" y="22"/>
                    <a:pt x="81" y="22"/>
                    <a:pt x="81" y="22"/>
                  </a:cubicBezTo>
                  <a:cubicBezTo>
                    <a:pt x="81" y="22"/>
                    <a:pt x="81" y="22"/>
                    <a:pt x="81" y="22"/>
                  </a:cubicBezTo>
                  <a:cubicBezTo>
                    <a:pt x="81" y="17"/>
                    <a:pt x="80" y="13"/>
                    <a:pt x="78" y="10"/>
                  </a:cubicBezTo>
                  <a:cubicBezTo>
                    <a:pt x="74" y="4"/>
                    <a:pt x="67" y="0"/>
                    <a:pt x="5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5" name="Freeform 91">
              <a:extLst>
                <a:ext uri="{FF2B5EF4-FFF2-40B4-BE49-F238E27FC236}">
                  <a16:creationId xmlns:a16="http://schemas.microsoft.com/office/drawing/2014/main" id="{427EAD6A-BCF5-934D-8A77-AB2230216256}"/>
                </a:ext>
              </a:extLst>
            </p:cNvPr>
            <p:cNvSpPr>
              <a:spLocks/>
            </p:cNvSpPr>
            <p:nvPr/>
          </p:nvSpPr>
          <p:spPr bwMode="auto">
            <a:xfrm>
              <a:off x="7626351" y="2673350"/>
              <a:ext cx="47625" cy="17463"/>
            </a:xfrm>
            <a:custGeom>
              <a:avLst/>
              <a:gdLst>
                <a:gd name="T0" fmla="*/ 97 w 117"/>
                <a:gd name="T1" fmla="*/ 0 h 40"/>
                <a:gd name="T2" fmla="*/ 74 w 117"/>
                <a:gd name="T3" fmla="*/ 0 h 40"/>
                <a:gd name="T4" fmla="*/ 31 w 117"/>
                <a:gd name="T5" fmla="*/ 0 h 40"/>
                <a:gd name="T6" fmla="*/ 10 w 117"/>
                <a:gd name="T7" fmla="*/ 0 h 40"/>
                <a:gd name="T8" fmla="*/ 0 w 117"/>
                <a:gd name="T9" fmla="*/ 3 h 40"/>
                <a:gd name="T10" fmla="*/ 107 w 117"/>
                <a:gd name="T11" fmla="*/ 40 h 40"/>
                <a:gd name="T12" fmla="*/ 117 w 117"/>
                <a:gd name="T13" fmla="*/ 22 h 40"/>
                <a:gd name="T14" fmla="*/ 97 w 117"/>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40">
                  <a:moveTo>
                    <a:pt x="97" y="0"/>
                  </a:moveTo>
                  <a:cubicBezTo>
                    <a:pt x="97" y="0"/>
                    <a:pt x="97" y="0"/>
                    <a:pt x="74" y="0"/>
                  </a:cubicBezTo>
                  <a:cubicBezTo>
                    <a:pt x="64" y="0"/>
                    <a:pt x="51" y="0"/>
                    <a:pt x="31" y="0"/>
                  </a:cubicBezTo>
                  <a:cubicBezTo>
                    <a:pt x="25" y="0"/>
                    <a:pt x="18" y="0"/>
                    <a:pt x="10" y="0"/>
                  </a:cubicBezTo>
                  <a:cubicBezTo>
                    <a:pt x="7" y="0"/>
                    <a:pt x="3" y="1"/>
                    <a:pt x="0" y="3"/>
                  </a:cubicBezTo>
                  <a:cubicBezTo>
                    <a:pt x="35" y="17"/>
                    <a:pt x="70" y="30"/>
                    <a:pt x="107" y="40"/>
                  </a:cubicBezTo>
                  <a:cubicBezTo>
                    <a:pt x="113" y="37"/>
                    <a:pt x="117" y="29"/>
                    <a:pt x="117" y="22"/>
                  </a:cubicBezTo>
                  <a:cubicBezTo>
                    <a:pt x="117" y="11"/>
                    <a:pt x="108" y="0"/>
                    <a:pt x="97"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6" name="Freeform 92">
              <a:extLst>
                <a:ext uri="{FF2B5EF4-FFF2-40B4-BE49-F238E27FC236}">
                  <a16:creationId xmlns:a16="http://schemas.microsoft.com/office/drawing/2014/main" id="{DF1293B9-F661-7B46-BF61-EFDE8252E013}"/>
                </a:ext>
              </a:extLst>
            </p:cNvPr>
            <p:cNvSpPr>
              <a:spLocks/>
            </p:cNvSpPr>
            <p:nvPr/>
          </p:nvSpPr>
          <p:spPr bwMode="auto">
            <a:xfrm>
              <a:off x="7540626" y="2606675"/>
              <a:ext cx="65088" cy="57150"/>
            </a:xfrm>
            <a:custGeom>
              <a:avLst/>
              <a:gdLst>
                <a:gd name="T0" fmla="*/ 73 w 164"/>
                <a:gd name="T1" fmla="*/ 0 h 143"/>
                <a:gd name="T2" fmla="*/ 0 w 164"/>
                <a:gd name="T3" fmla="*/ 41 h 143"/>
                <a:gd name="T4" fmla="*/ 35 w 164"/>
                <a:gd name="T5" fmla="*/ 68 h 143"/>
                <a:gd name="T6" fmla="*/ 73 w 164"/>
                <a:gd name="T7" fmla="*/ 42 h 143"/>
                <a:gd name="T8" fmla="*/ 120 w 164"/>
                <a:gd name="T9" fmla="*/ 105 h 143"/>
                <a:gd name="T10" fmla="*/ 119 w 164"/>
                <a:gd name="T11" fmla="*/ 122 h 143"/>
                <a:gd name="T12" fmla="*/ 158 w 164"/>
                <a:gd name="T13" fmla="*/ 143 h 143"/>
                <a:gd name="T14" fmla="*/ 164 w 164"/>
                <a:gd name="T15" fmla="*/ 105 h 143"/>
                <a:gd name="T16" fmla="*/ 73 w 164"/>
                <a:gd name="T1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43">
                  <a:moveTo>
                    <a:pt x="73" y="0"/>
                  </a:moveTo>
                  <a:cubicBezTo>
                    <a:pt x="42" y="0"/>
                    <a:pt x="16" y="17"/>
                    <a:pt x="0" y="41"/>
                  </a:cubicBezTo>
                  <a:cubicBezTo>
                    <a:pt x="11" y="51"/>
                    <a:pt x="23" y="60"/>
                    <a:pt x="35" y="68"/>
                  </a:cubicBezTo>
                  <a:cubicBezTo>
                    <a:pt x="44" y="53"/>
                    <a:pt x="58" y="42"/>
                    <a:pt x="73" y="42"/>
                  </a:cubicBezTo>
                  <a:cubicBezTo>
                    <a:pt x="99" y="42"/>
                    <a:pt x="120" y="71"/>
                    <a:pt x="120" y="105"/>
                  </a:cubicBezTo>
                  <a:cubicBezTo>
                    <a:pt x="120" y="111"/>
                    <a:pt x="120" y="117"/>
                    <a:pt x="119" y="122"/>
                  </a:cubicBezTo>
                  <a:cubicBezTo>
                    <a:pt x="132" y="129"/>
                    <a:pt x="145" y="137"/>
                    <a:pt x="158" y="143"/>
                  </a:cubicBezTo>
                  <a:cubicBezTo>
                    <a:pt x="162" y="132"/>
                    <a:pt x="164" y="119"/>
                    <a:pt x="164" y="105"/>
                  </a:cubicBezTo>
                  <a:cubicBezTo>
                    <a:pt x="164" y="48"/>
                    <a:pt x="124" y="0"/>
                    <a:pt x="7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7" name="Freeform 93">
              <a:extLst>
                <a:ext uri="{FF2B5EF4-FFF2-40B4-BE49-F238E27FC236}">
                  <a16:creationId xmlns:a16="http://schemas.microsoft.com/office/drawing/2014/main" id="{E06848C9-03C1-094D-9103-906A7A19667F}"/>
                </a:ext>
              </a:extLst>
            </p:cNvPr>
            <p:cNvSpPr>
              <a:spLocks/>
            </p:cNvSpPr>
            <p:nvPr/>
          </p:nvSpPr>
          <p:spPr bwMode="auto">
            <a:xfrm>
              <a:off x="8112126" y="2482850"/>
              <a:ext cx="3175" cy="4763"/>
            </a:xfrm>
            <a:custGeom>
              <a:avLst/>
              <a:gdLst>
                <a:gd name="T0" fmla="*/ 6 w 6"/>
                <a:gd name="T1" fmla="*/ 0 h 13"/>
                <a:gd name="T2" fmla="*/ 0 w 6"/>
                <a:gd name="T3" fmla="*/ 13 h 13"/>
                <a:gd name="T4" fmla="*/ 6 w 6"/>
                <a:gd name="T5" fmla="*/ 0 h 13"/>
              </a:gdLst>
              <a:ahLst/>
              <a:cxnLst>
                <a:cxn ang="0">
                  <a:pos x="T0" y="T1"/>
                </a:cxn>
                <a:cxn ang="0">
                  <a:pos x="T2" y="T3"/>
                </a:cxn>
                <a:cxn ang="0">
                  <a:pos x="T4" y="T5"/>
                </a:cxn>
              </a:cxnLst>
              <a:rect l="0" t="0" r="r" b="b"/>
              <a:pathLst>
                <a:path w="6" h="13">
                  <a:moveTo>
                    <a:pt x="6" y="0"/>
                  </a:moveTo>
                  <a:cubicBezTo>
                    <a:pt x="2" y="4"/>
                    <a:pt x="0" y="8"/>
                    <a:pt x="0" y="13"/>
                  </a:cubicBezTo>
                  <a:cubicBezTo>
                    <a:pt x="2" y="9"/>
                    <a:pt x="4" y="5"/>
                    <a:pt x="6"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8" name="Freeform 94">
              <a:extLst>
                <a:ext uri="{FF2B5EF4-FFF2-40B4-BE49-F238E27FC236}">
                  <a16:creationId xmlns:a16="http://schemas.microsoft.com/office/drawing/2014/main" id="{BFCC59DA-38F8-5042-A8E3-EC85E3834017}"/>
                </a:ext>
              </a:extLst>
            </p:cNvPr>
            <p:cNvSpPr>
              <a:spLocks noEditPoints="1"/>
            </p:cNvSpPr>
            <p:nvPr/>
          </p:nvSpPr>
          <p:spPr bwMode="auto">
            <a:xfrm>
              <a:off x="7902576" y="2479675"/>
              <a:ext cx="17463" cy="68263"/>
            </a:xfrm>
            <a:custGeom>
              <a:avLst/>
              <a:gdLst>
                <a:gd name="T0" fmla="*/ 43 w 43"/>
                <a:gd name="T1" fmla="*/ 19 h 167"/>
                <a:gd name="T2" fmla="*/ 22 w 43"/>
                <a:gd name="T3" fmla="*/ 38 h 167"/>
                <a:gd name="T4" fmla="*/ 0 w 43"/>
                <a:gd name="T5" fmla="*/ 38 h 167"/>
                <a:gd name="T6" fmla="*/ 0 w 43"/>
                <a:gd name="T7" fmla="*/ 167 h 167"/>
                <a:gd name="T8" fmla="*/ 43 w 43"/>
                <a:gd name="T9" fmla="*/ 167 h 167"/>
                <a:gd name="T10" fmla="*/ 43 w 43"/>
                <a:gd name="T11" fmla="*/ 20 h 167"/>
                <a:gd name="T12" fmla="*/ 43 w 43"/>
                <a:gd name="T13" fmla="*/ 19 h 167"/>
                <a:gd name="T14" fmla="*/ 20 w 43"/>
                <a:gd name="T15" fmla="*/ 0 h 167"/>
                <a:gd name="T16" fmla="*/ 20 w 43"/>
                <a:gd name="T17" fmla="*/ 0 h 167"/>
                <a:gd name="T18" fmla="*/ 27 w 43"/>
                <a:gd name="T19" fmla="*/ 1 h 167"/>
                <a:gd name="T20" fmla="*/ 20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19"/>
                  </a:moveTo>
                  <a:cubicBezTo>
                    <a:pt x="42" y="29"/>
                    <a:pt x="33" y="36"/>
                    <a:pt x="22" y="38"/>
                  </a:cubicBezTo>
                  <a:cubicBezTo>
                    <a:pt x="12" y="38"/>
                    <a:pt x="5" y="38"/>
                    <a:pt x="0" y="38"/>
                  </a:cubicBezTo>
                  <a:cubicBezTo>
                    <a:pt x="0" y="56"/>
                    <a:pt x="0" y="92"/>
                    <a:pt x="0" y="167"/>
                  </a:cubicBezTo>
                  <a:cubicBezTo>
                    <a:pt x="20" y="167"/>
                    <a:pt x="34" y="167"/>
                    <a:pt x="43" y="167"/>
                  </a:cubicBezTo>
                  <a:cubicBezTo>
                    <a:pt x="43" y="146"/>
                    <a:pt x="43" y="104"/>
                    <a:pt x="43" y="20"/>
                  </a:cubicBezTo>
                  <a:cubicBezTo>
                    <a:pt x="43" y="20"/>
                    <a:pt x="43" y="20"/>
                    <a:pt x="43" y="19"/>
                  </a:cubicBezTo>
                  <a:moveTo>
                    <a:pt x="20" y="0"/>
                  </a:moveTo>
                  <a:cubicBezTo>
                    <a:pt x="20" y="0"/>
                    <a:pt x="20" y="0"/>
                    <a:pt x="20" y="0"/>
                  </a:cubicBezTo>
                  <a:cubicBezTo>
                    <a:pt x="22" y="0"/>
                    <a:pt x="25" y="0"/>
                    <a:pt x="27" y="1"/>
                  </a:cubicBezTo>
                  <a:cubicBezTo>
                    <a:pt x="25" y="0"/>
                    <a:pt x="23" y="0"/>
                    <a:pt x="20"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79" name="Freeform 95">
              <a:extLst>
                <a:ext uri="{FF2B5EF4-FFF2-40B4-BE49-F238E27FC236}">
                  <a16:creationId xmlns:a16="http://schemas.microsoft.com/office/drawing/2014/main" id="{78286A3F-FED4-984B-B6BF-1A64319DC205}"/>
                </a:ext>
              </a:extLst>
            </p:cNvPr>
            <p:cNvSpPr>
              <a:spLocks/>
            </p:cNvSpPr>
            <p:nvPr/>
          </p:nvSpPr>
          <p:spPr bwMode="auto">
            <a:xfrm>
              <a:off x="7885113" y="2479675"/>
              <a:ext cx="34925" cy="15875"/>
            </a:xfrm>
            <a:custGeom>
              <a:avLst/>
              <a:gdLst>
                <a:gd name="T0" fmla="*/ 64 w 87"/>
                <a:gd name="T1" fmla="*/ 0 h 38"/>
                <a:gd name="T2" fmla="*/ 24 w 87"/>
                <a:gd name="T3" fmla="*/ 2 h 38"/>
                <a:gd name="T4" fmla="*/ 3 w 87"/>
                <a:gd name="T5" fmla="*/ 20 h 38"/>
                <a:gd name="T6" fmla="*/ 24 w 87"/>
                <a:gd name="T7" fmla="*/ 38 h 38"/>
                <a:gd name="T8" fmla="*/ 25 w 87"/>
                <a:gd name="T9" fmla="*/ 38 h 38"/>
                <a:gd name="T10" fmla="*/ 44 w 87"/>
                <a:gd name="T11" fmla="*/ 38 h 38"/>
                <a:gd name="T12" fmla="*/ 66 w 87"/>
                <a:gd name="T13" fmla="*/ 38 h 38"/>
                <a:gd name="T14" fmla="*/ 87 w 87"/>
                <a:gd name="T15" fmla="*/ 19 h 38"/>
                <a:gd name="T16" fmla="*/ 87 w 87"/>
                <a:gd name="T17" fmla="*/ 19 h 38"/>
                <a:gd name="T18" fmla="*/ 71 w 87"/>
                <a:gd name="T19" fmla="*/ 1 h 38"/>
                <a:gd name="T20" fmla="*/ 64 w 87"/>
                <a:gd name="T21" fmla="*/ 0 h 38"/>
                <a:gd name="T22" fmla="*/ 64 w 87"/>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 h="38">
                  <a:moveTo>
                    <a:pt x="64" y="0"/>
                  </a:moveTo>
                  <a:cubicBezTo>
                    <a:pt x="64" y="0"/>
                    <a:pt x="64" y="0"/>
                    <a:pt x="24" y="2"/>
                  </a:cubicBezTo>
                  <a:cubicBezTo>
                    <a:pt x="12" y="2"/>
                    <a:pt x="0" y="9"/>
                    <a:pt x="3" y="20"/>
                  </a:cubicBezTo>
                  <a:cubicBezTo>
                    <a:pt x="3" y="30"/>
                    <a:pt x="12" y="38"/>
                    <a:pt x="24" y="38"/>
                  </a:cubicBezTo>
                  <a:cubicBezTo>
                    <a:pt x="24" y="38"/>
                    <a:pt x="24" y="38"/>
                    <a:pt x="25" y="38"/>
                  </a:cubicBezTo>
                  <a:cubicBezTo>
                    <a:pt x="25" y="38"/>
                    <a:pt x="25" y="38"/>
                    <a:pt x="44" y="38"/>
                  </a:cubicBezTo>
                  <a:cubicBezTo>
                    <a:pt x="49" y="38"/>
                    <a:pt x="56" y="38"/>
                    <a:pt x="66" y="38"/>
                  </a:cubicBezTo>
                  <a:cubicBezTo>
                    <a:pt x="77" y="36"/>
                    <a:pt x="86" y="29"/>
                    <a:pt x="87" y="19"/>
                  </a:cubicBezTo>
                  <a:cubicBezTo>
                    <a:pt x="87" y="19"/>
                    <a:pt x="87" y="19"/>
                    <a:pt x="87" y="19"/>
                  </a:cubicBezTo>
                  <a:cubicBezTo>
                    <a:pt x="87" y="10"/>
                    <a:pt x="80" y="3"/>
                    <a:pt x="71" y="1"/>
                  </a:cubicBezTo>
                  <a:cubicBezTo>
                    <a:pt x="69" y="0"/>
                    <a:pt x="66" y="0"/>
                    <a:pt x="64" y="0"/>
                  </a:cubicBezTo>
                  <a:cubicBezTo>
                    <a:pt x="64" y="0"/>
                    <a:pt x="64" y="0"/>
                    <a:pt x="6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0" name="Freeform 96">
              <a:extLst>
                <a:ext uri="{FF2B5EF4-FFF2-40B4-BE49-F238E27FC236}">
                  <a16:creationId xmlns:a16="http://schemas.microsoft.com/office/drawing/2014/main" id="{8E595465-29A8-8448-AC41-363281260C06}"/>
                </a:ext>
              </a:extLst>
            </p:cNvPr>
            <p:cNvSpPr>
              <a:spLocks/>
            </p:cNvSpPr>
            <p:nvPr/>
          </p:nvSpPr>
          <p:spPr bwMode="auto">
            <a:xfrm>
              <a:off x="7883526" y="2547938"/>
              <a:ext cx="52388" cy="17463"/>
            </a:xfrm>
            <a:custGeom>
              <a:avLst/>
              <a:gdLst>
                <a:gd name="T0" fmla="*/ 109 w 129"/>
                <a:gd name="T1" fmla="*/ 0 h 43"/>
                <a:gd name="T2" fmla="*/ 92 w 129"/>
                <a:gd name="T3" fmla="*/ 0 h 43"/>
                <a:gd name="T4" fmla="*/ 49 w 129"/>
                <a:gd name="T5" fmla="*/ 0 h 43"/>
                <a:gd name="T6" fmla="*/ 23 w 129"/>
                <a:gd name="T7" fmla="*/ 0 h 43"/>
                <a:gd name="T8" fmla="*/ 0 w 129"/>
                <a:gd name="T9" fmla="*/ 21 h 43"/>
                <a:gd name="T10" fmla="*/ 23 w 129"/>
                <a:gd name="T11" fmla="*/ 43 h 43"/>
                <a:gd name="T12" fmla="*/ 69 w 129"/>
                <a:gd name="T13" fmla="*/ 43 h 43"/>
                <a:gd name="T14" fmla="*/ 69 w 129"/>
                <a:gd name="T15" fmla="*/ 43 h 43"/>
                <a:gd name="T16" fmla="*/ 109 w 129"/>
                <a:gd name="T17" fmla="*/ 43 h 43"/>
                <a:gd name="T18" fmla="*/ 129 w 129"/>
                <a:gd name="T19" fmla="*/ 21 h 43"/>
                <a:gd name="T20" fmla="*/ 109 w 129"/>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43">
                  <a:moveTo>
                    <a:pt x="109" y="0"/>
                  </a:moveTo>
                  <a:cubicBezTo>
                    <a:pt x="109" y="0"/>
                    <a:pt x="109" y="0"/>
                    <a:pt x="92" y="0"/>
                  </a:cubicBezTo>
                  <a:cubicBezTo>
                    <a:pt x="83" y="0"/>
                    <a:pt x="69" y="0"/>
                    <a:pt x="49" y="0"/>
                  </a:cubicBezTo>
                  <a:cubicBezTo>
                    <a:pt x="41" y="0"/>
                    <a:pt x="32" y="0"/>
                    <a:pt x="23" y="0"/>
                  </a:cubicBezTo>
                  <a:cubicBezTo>
                    <a:pt x="10" y="0"/>
                    <a:pt x="0" y="11"/>
                    <a:pt x="0" y="21"/>
                  </a:cubicBezTo>
                  <a:cubicBezTo>
                    <a:pt x="0" y="32"/>
                    <a:pt x="10" y="43"/>
                    <a:pt x="23" y="43"/>
                  </a:cubicBezTo>
                  <a:cubicBezTo>
                    <a:pt x="23" y="43"/>
                    <a:pt x="23" y="43"/>
                    <a:pt x="69" y="43"/>
                  </a:cubicBezTo>
                  <a:cubicBezTo>
                    <a:pt x="69" y="43"/>
                    <a:pt x="69" y="43"/>
                    <a:pt x="69" y="43"/>
                  </a:cubicBezTo>
                  <a:cubicBezTo>
                    <a:pt x="80" y="43"/>
                    <a:pt x="93" y="43"/>
                    <a:pt x="109" y="43"/>
                  </a:cubicBezTo>
                  <a:cubicBezTo>
                    <a:pt x="120" y="43"/>
                    <a:pt x="129" y="32"/>
                    <a:pt x="129" y="21"/>
                  </a:cubicBezTo>
                  <a:cubicBezTo>
                    <a:pt x="129" y="11"/>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1" name="Freeform 97">
              <a:extLst>
                <a:ext uri="{FF2B5EF4-FFF2-40B4-BE49-F238E27FC236}">
                  <a16:creationId xmlns:a16="http://schemas.microsoft.com/office/drawing/2014/main" id="{7A9046DE-5067-C94F-A838-CC7012B22630}"/>
                </a:ext>
              </a:extLst>
            </p:cNvPr>
            <p:cNvSpPr>
              <a:spLocks noEditPoints="1"/>
            </p:cNvSpPr>
            <p:nvPr/>
          </p:nvSpPr>
          <p:spPr bwMode="auto">
            <a:xfrm>
              <a:off x="8058151" y="2479675"/>
              <a:ext cx="17463" cy="68263"/>
            </a:xfrm>
            <a:custGeom>
              <a:avLst/>
              <a:gdLst>
                <a:gd name="T0" fmla="*/ 43 w 43"/>
                <a:gd name="T1" fmla="*/ 19 h 167"/>
                <a:gd name="T2" fmla="*/ 24 w 43"/>
                <a:gd name="T3" fmla="*/ 38 h 167"/>
                <a:gd name="T4" fmla="*/ 0 w 43"/>
                <a:gd name="T5" fmla="*/ 38 h 167"/>
                <a:gd name="T6" fmla="*/ 0 w 43"/>
                <a:gd name="T7" fmla="*/ 167 h 167"/>
                <a:gd name="T8" fmla="*/ 43 w 43"/>
                <a:gd name="T9" fmla="*/ 167 h 167"/>
                <a:gd name="T10" fmla="*/ 43 w 43"/>
                <a:gd name="T11" fmla="*/ 20 h 167"/>
                <a:gd name="T12" fmla="*/ 43 w 43"/>
                <a:gd name="T13" fmla="*/ 19 h 167"/>
                <a:gd name="T14" fmla="*/ 21 w 43"/>
                <a:gd name="T15" fmla="*/ 0 h 167"/>
                <a:gd name="T16" fmla="*/ 19 w 43"/>
                <a:gd name="T17" fmla="*/ 0 h 167"/>
                <a:gd name="T18" fmla="*/ 22 w 43"/>
                <a:gd name="T19" fmla="*/ 0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19"/>
                  </a:moveTo>
                  <a:cubicBezTo>
                    <a:pt x="43" y="29"/>
                    <a:pt x="34" y="36"/>
                    <a:pt x="24" y="38"/>
                  </a:cubicBezTo>
                  <a:cubicBezTo>
                    <a:pt x="13" y="38"/>
                    <a:pt x="6" y="38"/>
                    <a:pt x="0" y="38"/>
                  </a:cubicBezTo>
                  <a:cubicBezTo>
                    <a:pt x="0" y="56"/>
                    <a:pt x="0" y="92"/>
                    <a:pt x="0" y="167"/>
                  </a:cubicBezTo>
                  <a:cubicBezTo>
                    <a:pt x="20" y="167"/>
                    <a:pt x="34" y="167"/>
                    <a:pt x="43" y="167"/>
                  </a:cubicBezTo>
                  <a:cubicBezTo>
                    <a:pt x="43" y="146"/>
                    <a:pt x="43" y="104"/>
                    <a:pt x="43" y="20"/>
                  </a:cubicBezTo>
                  <a:cubicBezTo>
                    <a:pt x="43" y="20"/>
                    <a:pt x="43" y="20"/>
                    <a:pt x="43" y="19"/>
                  </a:cubicBezTo>
                  <a:moveTo>
                    <a:pt x="21" y="0"/>
                  </a:moveTo>
                  <a:cubicBezTo>
                    <a:pt x="20" y="0"/>
                    <a:pt x="20" y="0"/>
                    <a:pt x="19" y="0"/>
                  </a:cubicBezTo>
                  <a:cubicBezTo>
                    <a:pt x="21" y="0"/>
                    <a:pt x="22" y="0"/>
                    <a:pt x="22" y="0"/>
                  </a:cubicBezTo>
                  <a:cubicBezTo>
                    <a:pt x="22" y="0"/>
                    <a:pt x="21"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2" name="Freeform 98">
              <a:extLst>
                <a:ext uri="{FF2B5EF4-FFF2-40B4-BE49-F238E27FC236}">
                  <a16:creationId xmlns:a16="http://schemas.microsoft.com/office/drawing/2014/main" id="{2C123679-F4F5-7A43-B99F-405D9DA90212}"/>
                </a:ext>
              </a:extLst>
            </p:cNvPr>
            <p:cNvSpPr>
              <a:spLocks/>
            </p:cNvSpPr>
            <p:nvPr/>
          </p:nvSpPr>
          <p:spPr bwMode="auto">
            <a:xfrm>
              <a:off x="8043863" y="2479675"/>
              <a:ext cx="31750" cy="15875"/>
            </a:xfrm>
            <a:custGeom>
              <a:avLst/>
              <a:gdLst>
                <a:gd name="T0" fmla="*/ 59 w 80"/>
                <a:gd name="T1" fmla="*/ 0 h 38"/>
                <a:gd name="T2" fmla="*/ 59 w 80"/>
                <a:gd name="T3" fmla="*/ 0 h 38"/>
                <a:gd name="T4" fmla="*/ 56 w 80"/>
                <a:gd name="T5" fmla="*/ 0 h 38"/>
                <a:gd name="T6" fmla="*/ 21 w 80"/>
                <a:gd name="T7" fmla="*/ 2 h 38"/>
                <a:gd name="T8" fmla="*/ 2 w 80"/>
                <a:gd name="T9" fmla="*/ 20 h 38"/>
                <a:gd name="T10" fmla="*/ 21 w 80"/>
                <a:gd name="T11" fmla="*/ 38 h 38"/>
                <a:gd name="T12" fmla="*/ 23 w 80"/>
                <a:gd name="T13" fmla="*/ 38 h 38"/>
                <a:gd name="T14" fmla="*/ 37 w 80"/>
                <a:gd name="T15" fmla="*/ 38 h 38"/>
                <a:gd name="T16" fmla="*/ 61 w 80"/>
                <a:gd name="T17" fmla="*/ 38 h 38"/>
                <a:gd name="T18" fmla="*/ 80 w 80"/>
                <a:gd name="T19" fmla="*/ 19 h 38"/>
                <a:gd name="T20" fmla="*/ 80 w 80"/>
                <a:gd name="T21" fmla="*/ 19 h 38"/>
                <a:gd name="T22" fmla="*/ 59 w 80"/>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38">
                  <a:moveTo>
                    <a:pt x="59" y="0"/>
                  </a:moveTo>
                  <a:cubicBezTo>
                    <a:pt x="59" y="0"/>
                    <a:pt x="59" y="0"/>
                    <a:pt x="59" y="0"/>
                  </a:cubicBezTo>
                  <a:cubicBezTo>
                    <a:pt x="59" y="0"/>
                    <a:pt x="58" y="0"/>
                    <a:pt x="56" y="0"/>
                  </a:cubicBezTo>
                  <a:cubicBezTo>
                    <a:pt x="52" y="0"/>
                    <a:pt x="43" y="1"/>
                    <a:pt x="21" y="2"/>
                  </a:cubicBezTo>
                  <a:cubicBezTo>
                    <a:pt x="10" y="2"/>
                    <a:pt x="0" y="9"/>
                    <a:pt x="2" y="20"/>
                  </a:cubicBezTo>
                  <a:cubicBezTo>
                    <a:pt x="2" y="30"/>
                    <a:pt x="10" y="38"/>
                    <a:pt x="21" y="38"/>
                  </a:cubicBezTo>
                  <a:cubicBezTo>
                    <a:pt x="21" y="38"/>
                    <a:pt x="21" y="38"/>
                    <a:pt x="23" y="38"/>
                  </a:cubicBezTo>
                  <a:cubicBezTo>
                    <a:pt x="23" y="38"/>
                    <a:pt x="23" y="38"/>
                    <a:pt x="37" y="38"/>
                  </a:cubicBezTo>
                  <a:cubicBezTo>
                    <a:pt x="43" y="38"/>
                    <a:pt x="50" y="38"/>
                    <a:pt x="61" y="38"/>
                  </a:cubicBezTo>
                  <a:cubicBezTo>
                    <a:pt x="71" y="36"/>
                    <a:pt x="80" y="29"/>
                    <a:pt x="80" y="19"/>
                  </a:cubicBezTo>
                  <a:cubicBezTo>
                    <a:pt x="80" y="19"/>
                    <a:pt x="80" y="19"/>
                    <a:pt x="80" y="19"/>
                  </a:cubicBezTo>
                  <a:cubicBezTo>
                    <a:pt x="80" y="8"/>
                    <a:pt x="72" y="0"/>
                    <a:pt x="5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3" name="Freeform 99">
              <a:extLst>
                <a:ext uri="{FF2B5EF4-FFF2-40B4-BE49-F238E27FC236}">
                  <a16:creationId xmlns:a16="http://schemas.microsoft.com/office/drawing/2014/main" id="{45847B1E-A97B-A649-BA12-E320F852B078}"/>
                </a:ext>
              </a:extLst>
            </p:cNvPr>
            <p:cNvSpPr>
              <a:spLocks/>
            </p:cNvSpPr>
            <p:nvPr/>
          </p:nvSpPr>
          <p:spPr bwMode="auto">
            <a:xfrm>
              <a:off x="8040688" y="2547938"/>
              <a:ext cx="38100" cy="17463"/>
            </a:xfrm>
            <a:custGeom>
              <a:avLst/>
              <a:gdLst>
                <a:gd name="T0" fmla="*/ 92 w 92"/>
                <a:gd name="T1" fmla="*/ 0 h 43"/>
                <a:gd name="T2" fmla="*/ 86 w 92"/>
                <a:gd name="T3" fmla="*/ 0 h 43"/>
                <a:gd name="T4" fmla="*/ 43 w 92"/>
                <a:gd name="T5" fmla="*/ 0 h 43"/>
                <a:gd name="T6" fmla="*/ 23 w 92"/>
                <a:gd name="T7" fmla="*/ 0 h 43"/>
                <a:gd name="T8" fmla="*/ 0 w 92"/>
                <a:gd name="T9" fmla="*/ 21 h 43"/>
                <a:gd name="T10" fmla="*/ 23 w 92"/>
                <a:gd name="T11" fmla="*/ 43 h 43"/>
                <a:gd name="T12" fmla="*/ 60 w 92"/>
                <a:gd name="T13" fmla="*/ 43 h 43"/>
                <a:gd name="T14" fmla="*/ 92 w 92"/>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43">
                  <a:moveTo>
                    <a:pt x="92" y="0"/>
                  </a:moveTo>
                  <a:cubicBezTo>
                    <a:pt x="91" y="0"/>
                    <a:pt x="89" y="0"/>
                    <a:pt x="86" y="0"/>
                  </a:cubicBezTo>
                  <a:cubicBezTo>
                    <a:pt x="77" y="0"/>
                    <a:pt x="63" y="0"/>
                    <a:pt x="43" y="0"/>
                  </a:cubicBezTo>
                  <a:cubicBezTo>
                    <a:pt x="37" y="0"/>
                    <a:pt x="30" y="0"/>
                    <a:pt x="23" y="0"/>
                  </a:cubicBezTo>
                  <a:cubicBezTo>
                    <a:pt x="10" y="0"/>
                    <a:pt x="0" y="11"/>
                    <a:pt x="0" y="21"/>
                  </a:cubicBezTo>
                  <a:cubicBezTo>
                    <a:pt x="0" y="32"/>
                    <a:pt x="10" y="43"/>
                    <a:pt x="23" y="43"/>
                  </a:cubicBezTo>
                  <a:cubicBezTo>
                    <a:pt x="23" y="43"/>
                    <a:pt x="23" y="43"/>
                    <a:pt x="60" y="43"/>
                  </a:cubicBezTo>
                  <a:cubicBezTo>
                    <a:pt x="71" y="29"/>
                    <a:pt x="82" y="15"/>
                    <a:pt x="9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4" name="Freeform 100">
              <a:extLst>
                <a:ext uri="{FF2B5EF4-FFF2-40B4-BE49-F238E27FC236}">
                  <a16:creationId xmlns:a16="http://schemas.microsoft.com/office/drawing/2014/main" id="{91F9A74D-A75E-944D-8939-238135859DD4}"/>
                </a:ext>
              </a:extLst>
            </p:cNvPr>
            <p:cNvSpPr>
              <a:spLocks noEditPoints="1"/>
            </p:cNvSpPr>
            <p:nvPr/>
          </p:nvSpPr>
          <p:spPr bwMode="auto">
            <a:xfrm>
              <a:off x="7793038" y="2479675"/>
              <a:ext cx="71438" cy="85725"/>
            </a:xfrm>
            <a:custGeom>
              <a:avLst/>
              <a:gdLst>
                <a:gd name="T0" fmla="*/ 89 w 178"/>
                <a:gd name="T1" fmla="*/ 169 h 210"/>
                <a:gd name="T2" fmla="*/ 43 w 178"/>
                <a:gd name="T3" fmla="*/ 105 h 210"/>
                <a:gd name="T4" fmla="*/ 89 w 178"/>
                <a:gd name="T5" fmla="*/ 42 h 210"/>
                <a:gd name="T6" fmla="*/ 135 w 178"/>
                <a:gd name="T7" fmla="*/ 105 h 210"/>
                <a:gd name="T8" fmla="*/ 89 w 178"/>
                <a:gd name="T9" fmla="*/ 169 h 210"/>
                <a:gd name="T10" fmla="*/ 89 w 178"/>
                <a:gd name="T11" fmla="*/ 0 h 210"/>
                <a:gd name="T12" fmla="*/ 0 w 178"/>
                <a:gd name="T13" fmla="*/ 105 h 210"/>
                <a:gd name="T14" fmla="*/ 89 w 178"/>
                <a:gd name="T15" fmla="*/ 210 h 210"/>
                <a:gd name="T16" fmla="*/ 178 w 178"/>
                <a:gd name="T17" fmla="*/ 105 h 210"/>
                <a:gd name="T18" fmla="*/ 89 w 178"/>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0">
                  <a:moveTo>
                    <a:pt x="89" y="169"/>
                  </a:moveTo>
                  <a:cubicBezTo>
                    <a:pt x="65" y="169"/>
                    <a:pt x="43" y="140"/>
                    <a:pt x="43" y="105"/>
                  </a:cubicBezTo>
                  <a:cubicBezTo>
                    <a:pt x="43" y="71"/>
                    <a:pt x="65" y="42"/>
                    <a:pt x="89" y="42"/>
                  </a:cubicBezTo>
                  <a:cubicBezTo>
                    <a:pt x="115" y="42"/>
                    <a:pt x="135" y="71"/>
                    <a:pt x="135" y="105"/>
                  </a:cubicBezTo>
                  <a:cubicBezTo>
                    <a:pt x="135" y="140"/>
                    <a:pt x="115" y="169"/>
                    <a:pt x="89" y="169"/>
                  </a:cubicBezTo>
                  <a:moveTo>
                    <a:pt x="89" y="0"/>
                  </a:moveTo>
                  <a:cubicBezTo>
                    <a:pt x="39" y="0"/>
                    <a:pt x="0" y="47"/>
                    <a:pt x="0" y="105"/>
                  </a:cubicBezTo>
                  <a:cubicBezTo>
                    <a:pt x="0" y="163"/>
                    <a:pt x="39" y="210"/>
                    <a:pt x="89" y="210"/>
                  </a:cubicBezTo>
                  <a:cubicBezTo>
                    <a:pt x="139" y="210"/>
                    <a:pt x="178" y="163"/>
                    <a:pt x="178" y="105"/>
                  </a:cubicBezTo>
                  <a:cubicBezTo>
                    <a:pt x="178" y="47"/>
                    <a:pt x="139"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5" name="Freeform 101">
              <a:extLst>
                <a:ext uri="{FF2B5EF4-FFF2-40B4-BE49-F238E27FC236}">
                  <a16:creationId xmlns:a16="http://schemas.microsoft.com/office/drawing/2014/main" id="{4ADBE102-BAA6-694C-8535-8A190AD115A7}"/>
                </a:ext>
              </a:extLst>
            </p:cNvPr>
            <p:cNvSpPr>
              <a:spLocks noEditPoints="1"/>
            </p:cNvSpPr>
            <p:nvPr/>
          </p:nvSpPr>
          <p:spPr bwMode="auto">
            <a:xfrm>
              <a:off x="7951788" y="2479675"/>
              <a:ext cx="71438" cy="85725"/>
            </a:xfrm>
            <a:custGeom>
              <a:avLst/>
              <a:gdLst>
                <a:gd name="T0" fmla="*/ 89 w 178"/>
                <a:gd name="T1" fmla="*/ 169 h 210"/>
                <a:gd name="T2" fmla="*/ 43 w 178"/>
                <a:gd name="T3" fmla="*/ 105 h 210"/>
                <a:gd name="T4" fmla="*/ 89 w 178"/>
                <a:gd name="T5" fmla="*/ 42 h 210"/>
                <a:gd name="T6" fmla="*/ 136 w 178"/>
                <a:gd name="T7" fmla="*/ 105 h 210"/>
                <a:gd name="T8" fmla="*/ 89 w 178"/>
                <a:gd name="T9" fmla="*/ 169 h 210"/>
                <a:gd name="T10" fmla="*/ 89 w 178"/>
                <a:gd name="T11" fmla="*/ 0 h 210"/>
                <a:gd name="T12" fmla="*/ 0 w 178"/>
                <a:gd name="T13" fmla="*/ 105 h 210"/>
                <a:gd name="T14" fmla="*/ 89 w 178"/>
                <a:gd name="T15" fmla="*/ 210 h 210"/>
                <a:gd name="T16" fmla="*/ 178 w 178"/>
                <a:gd name="T17" fmla="*/ 105 h 210"/>
                <a:gd name="T18" fmla="*/ 89 w 178"/>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0">
                  <a:moveTo>
                    <a:pt x="89" y="169"/>
                  </a:moveTo>
                  <a:cubicBezTo>
                    <a:pt x="65" y="169"/>
                    <a:pt x="43" y="140"/>
                    <a:pt x="43" y="105"/>
                  </a:cubicBezTo>
                  <a:cubicBezTo>
                    <a:pt x="43" y="71"/>
                    <a:pt x="65" y="42"/>
                    <a:pt x="89" y="42"/>
                  </a:cubicBezTo>
                  <a:cubicBezTo>
                    <a:pt x="115" y="42"/>
                    <a:pt x="136" y="71"/>
                    <a:pt x="136" y="105"/>
                  </a:cubicBezTo>
                  <a:cubicBezTo>
                    <a:pt x="136" y="140"/>
                    <a:pt x="115" y="169"/>
                    <a:pt x="89" y="169"/>
                  </a:cubicBezTo>
                  <a:moveTo>
                    <a:pt x="89" y="0"/>
                  </a:moveTo>
                  <a:cubicBezTo>
                    <a:pt x="40" y="0"/>
                    <a:pt x="0" y="47"/>
                    <a:pt x="0" y="105"/>
                  </a:cubicBezTo>
                  <a:cubicBezTo>
                    <a:pt x="0" y="163"/>
                    <a:pt x="40" y="210"/>
                    <a:pt x="89" y="210"/>
                  </a:cubicBezTo>
                  <a:cubicBezTo>
                    <a:pt x="140" y="210"/>
                    <a:pt x="178" y="163"/>
                    <a:pt x="178" y="105"/>
                  </a:cubicBezTo>
                  <a:cubicBezTo>
                    <a:pt x="178" y="47"/>
                    <a:pt x="140"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6" name="Freeform 102">
              <a:extLst>
                <a:ext uri="{FF2B5EF4-FFF2-40B4-BE49-F238E27FC236}">
                  <a16:creationId xmlns:a16="http://schemas.microsoft.com/office/drawing/2014/main" id="{1618A4F7-02A5-4B4B-B183-DB340713BDDE}"/>
                </a:ext>
              </a:extLst>
            </p:cNvPr>
            <p:cNvSpPr>
              <a:spLocks noEditPoints="1"/>
            </p:cNvSpPr>
            <p:nvPr/>
          </p:nvSpPr>
          <p:spPr bwMode="auto">
            <a:xfrm>
              <a:off x="7694613" y="2479675"/>
              <a:ext cx="74613" cy="85725"/>
            </a:xfrm>
            <a:custGeom>
              <a:avLst/>
              <a:gdLst>
                <a:gd name="T0" fmla="*/ 93 w 184"/>
                <a:gd name="T1" fmla="*/ 169 h 210"/>
                <a:gd name="T2" fmla="*/ 46 w 184"/>
                <a:gd name="T3" fmla="*/ 105 h 210"/>
                <a:gd name="T4" fmla="*/ 93 w 184"/>
                <a:gd name="T5" fmla="*/ 42 h 210"/>
                <a:gd name="T6" fmla="*/ 140 w 184"/>
                <a:gd name="T7" fmla="*/ 105 h 210"/>
                <a:gd name="T8" fmla="*/ 93 w 184"/>
                <a:gd name="T9" fmla="*/ 169 h 210"/>
                <a:gd name="T10" fmla="*/ 93 w 184"/>
                <a:gd name="T11" fmla="*/ 0 h 210"/>
                <a:gd name="T12" fmla="*/ 0 w 184"/>
                <a:gd name="T13" fmla="*/ 105 h 210"/>
                <a:gd name="T14" fmla="*/ 93 w 184"/>
                <a:gd name="T15" fmla="*/ 210 h 210"/>
                <a:gd name="T16" fmla="*/ 184 w 184"/>
                <a:gd name="T17" fmla="*/ 105 h 210"/>
                <a:gd name="T18" fmla="*/ 93 w 184"/>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210">
                  <a:moveTo>
                    <a:pt x="93" y="169"/>
                  </a:moveTo>
                  <a:cubicBezTo>
                    <a:pt x="67" y="169"/>
                    <a:pt x="46" y="140"/>
                    <a:pt x="46" y="105"/>
                  </a:cubicBezTo>
                  <a:cubicBezTo>
                    <a:pt x="46" y="71"/>
                    <a:pt x="67" y="42"/>
                    <a:pt x="93" y="42"/>
                  </a:cubicBezTo>
                  <a:cubicBezTo>
                    <a:pt x="118" y="42"/>
                    <a:pt x="140" y="71"/>
                    <a:pt x="140" y="105"/>
                  </a:cubicBezTo>
                  <a:cubicBezTo>
                    <a:pt x="140" y="140"/>
                    <a:pt x="118" y="169"/>
                    <a:pt x="93" y="169"/>
                  </a:cubicBezTo>
                  <a:moveTo>
                    <a:pt x="93" y="0"/>
                  </a:moveTo>
                  <a:cubicBezTo>
                    <a:pt x="42" y="0"/>
                    <a:pt x="0" y="47"/>
                    <a:pt x="0" y="105"/>
                  </a:cubicBezTo>
                  <a:cubicBezTo>
                    <a:pt x="0" y="163"/>
                    <a:pt x="42" y="210"/>
                    <a:pt x="93" y="210"/>
                  </a:cubicBezTo>
                  <a:cubicBezTo>
                    <a:pt x="142" y="210"/>
                    <a:pt x="184" y="163"/>
                    <a:pt x="184" y="105"/>
                  </a:cubicBezTo>
                  <a:cubicBezTo>
                    <a:pt x="184" y="47"/>
                    <a:pt x="142" y="0"/>
                    <a:pt x="9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7" name="Freeform 103">
              <a:extLst>
                <a:ext uri="{FF2B5EF4-FFF2-40B4-BE49-F238E27FC236}">
                  <a16:creationId xmlns:a16="http://schemas.microsoft.com/office/drawing/2014/main" id="{70A9B930-2CEA-2445-AD30-409F3EF66125}"/>
                </a:ext>
              </a:extLst>
            </p:cNvPr>
            <p:cNvSpPr>
              <a:spLocks noEditPoints="1"/>
            </p:cNvSpPr>
            <p:nvPr/>
          </p:nvSpPr>
          <p:spPr bwMode="auto">
            <a:xfrm>
              <a:off x="7812088" y="2351088"/>
              <a:ext cx="17463" cy="66675"/>
            </a:xfrm>
            <a:custGeom>
              <a:avLst/>
              <a:gdLst>
                <a:gd name="T0" fmla="*/ 43 w 43"/>
                <a:gd name="T1" fmla="*/ 21 h 167"/>
                <a:gd name="T2" fmla="*/ 23 w 43"/>
                <a:gd name="T3" fmla="*/ 43 h 167"/>
                <a:gd name="T4" fmla="*/ 0 w 43"/>
                <a:gd name="T5" fmla="*/ 43 h 167"/>
                <a:gd name="T6" fmla="*/ 0 w 43"/>
                <a:gd name="T7" fmla="*/ 167 h 167"/>
                <a:gd name="T8" fmla="*/ 43 w 43"/>
                <a:gd name="T9" fmla="*/ 167 h 167"/>
                <a:gd name="T10" fmla="*/ 43 w 43"/>
                <a:gd name="T11" fmla="*/ 21 h 167"/>
                <a:gd name="T12" fmla="*/ 21 w 43"/>
                <a:gd name="T13" fmla="*/ 0 h 167"/>
                <a:gd name="T14" fmla="*/ 21 w 43"/>
                <a:gd name="T15" fmla="*/ 0 h 167"/>
                <a:gd name="T16" fmla="*/ 43 w 43"/>
                <a:gd name="T17" fmla="*/ 21 h 167"/>
                <a:gd name="T18" fmla="*/ 43 w 43"/>
                <a:gd name="T19" fmla="*/ 21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21"/>
                  </a:moveTo>
                  <a:cubicBezTo>
                    <a:pt x="43" y="32"/>
                    <a:pt x="34" y="41"/>
                    <a:pt x="23" y="43"/>
                  </a:cubicBezTo>
                  <a:cubicBezTo>
                    <a:pt x="13" y="43"/>
                    <a:pt x="6" y="43"/>
                    <a:pt x="0" y="43"/>
                  </a:cubicBezTo>
                  <a:cubicBezTo>
                    <a:pt x="0" y="62"/>
                    <a:pt x="0" y="99"/>
                    <a:pt x="0" y="167"/>
                  </a:cubicBezTo>
                  <a:cubicBezTo>
                    <a:pt x="20" y="167"/>
                    <a:pt x="34" y="167"/>
                    <a:pt x="43" y="167"/>
                  </a:cubicBezTo>
                  <a:cubicBezTo>
                    <a:pt x="43" y="144"/>
                    <a:pt x="43" y="101"/>
                    <a:pt x="43" y="21"/>
                  </a:cubicBezTo>
                  <a:moveTo>
                    <a:pt x="21" y="0"/>
                  </a:moveTo>
                  <a:cubicBezTo>
                    <a:pt x="21" y="0"/>
                    <a:pt x="21" y="0"/>
                    <a:pt x="21" y="0"/>
                  </a:cubicBezTo>
                  <a:cubicBezTo>
                    <a:pt x="34" y="0"/>
                    <a:pt x="43" y="9"/>
                    <a:pt x="43" y="21"/>
                  </a:cubicBezTo>
                  <a:cubicBezTo>
                    <a:pt x="43" y="21"/>
                    <a:pt x="43" y="21"/>
                    <a:pt x="43" y="21"/>
                  </a:cubicBezTo>
                  <a:cubicBezTo>
                    <a:pt x="43" y="9"/>
                    <a:pt x="34"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8" name="Freeform 104">
              <a:extLst>
                <a:ext uri="{FF2B5EF4-FFF2-40B4-BE49-F238E27FC236}">
                  <a16:creationId xmlns:a16="http://schemas.microsoft.com/office/drawing/2014/main" id="{0EDD63EE-FCB3-7841-8BB1-34298E092BE9}"/>
                </a:ext>
              </a:extLst>
            </p:cNvPr>
            <p:cNvSpPr>
              <a:spLocks/>
            </p:cNvSpPr>
            <p:nvPr/>
          </p:nvSpPr>
          <p:spPr bwMode="auto">
            <a:xfrm>
              <a:off x="7794626" y="2351088"/>
              <a:ext cx="34925" cy="15875"/>
            </a:xfrm>
            <a:custGeom>
              <a:avLst/>
              <a:gdLst>
                <a:gd name="T0" fmla="*/ 64 w 86"/>
                <a:gd name="T1" fmla="*/ 0 h 43"/>
                <a:gd name="T2" fmla="*/ 23 w 86"/>
                <a:gd name="T3" fmla="*/ 2 h 43"/>
                <a:gd name="T4" fmla="*/ 2 w 86"/>
                <a:gd name="T5" fmla="*/ 23 h 43"/>
                <a:gd name="T6" fmla="*/ 23 w 86"/>
                <a:gd name="T7" fmla="*/ 43 h 43"/>
                <a:gd name="T8" fmla="*/ 25 w 86"/>
                <a:gd name="T9" fmla="*/ 43 h 43"/>
                <a:gd name="T10" fmla="*/ 43 w 86"/>
                <a:gd name="T11" fmla="*/ 43 h 43"/>
                <a:gd name="T12" fmla="*/ 66 w 86"/>
                <a:gd name="T13" fmla="*/ 43 h 43"/>
                <a:gd name="T14" fmla="*/ 86 w 86"/>
                <a:gd name="T15" fmla="*/ 21 h 43"/>
                <a:gd name="T16" fmla="*/ 86 w 86"/>
                <a:gd name="T17" fmla="*/ 21 h 43"/>
                <a:gd name="T18" fmla="*/ 86 w 86"/>
                <a:gd name="T19" fmla="*/ 21 h 43"/>
                <a:gd name="T20" fmla="*/ 64 w 86"/>
                <a:gd name="T21" fmla="*/ 0 h 43"/>
                <a:gd name="T22" fmla="*/ 64 w 86"/>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43">
                  <a:moveTo>
                    <a:pt x="64" y="0"/>
                  </a:moveTo>
                  <a:cubicBezTo>
                    <a:pt x="64" y="0"/>
                    <a:pt x="64" y="0"/>
                    <a:pt x="23" y="2"/>
                  </a:cubicBezTo>
                  <a:cubicBezTo>
                    <a:pt x="12" y="2"/>
                    <a:pt x="0" y="11"/>
                    <a:pt x="2" y="23"/>
                  </a:cubicBezTo>
                  <a:cubicBezTo>
                    <a:pt x="2" y="34"/>
                    <a:pt x="12" y="43"/>
                    <a:pt x="23" y="43"/>
                  </a:cubicBezTo>
                  <a:cubicBezTo>
                    <a:pt x="23" y="43"/>
                    <a:pt x="23" y="43"/>
                    <a:pt x="25" y="43"/>
                  </a:cubicBezTo>
                  <a:cubicBezTo>
                    <a:pt x="25" y="43"/>
                    <a:pt x="25" y="43"/>
                    <a:pt x="43" y="43"/>
                  </a:cubicBezTo>
                  <a:cubicBezTo>
                    <a:pt x="49" y="43"/>
                    <a:pt x="56" y="43"/>
                    <a:pt x="66" y="43"/>
                  </a:cubicBezTo>
                  <a:cubicBezTo>
                    <a:pt x="77" y="41"/>
                    <a:pt x="86" y="32"/>
                    <a:pt x="86" y="21"/>
                  </a:cubicBezTo>
                  <a:cubicBezTo>
                    <a:pt x="86" y="21"/>
                    <a:pt x="86" y="21"/>
                    <a:pt x="86" y="21"/>
                  </a:cubicBezTo>
                  <a:cubicBezTo>
                    <a:pt x="86" y="21"/>
                    <a:pt x="86" y="21"/>
                    <a:pt x="86" y="21"/>
                  </a:cubicBezTo>
                  <a:cubicBezTo>
                    <a:pt x="86" y="9"/>
                    <a:pt x="77" y="0"/>
                    <a:pt x="64" y="0"/>
                  </a:cubicBezTo>
                  <a:cubicBezTo>
                    <a:pt x="64" y="0"/>
                    <a:pt x="64" y="0"/>
                    <a:pt x="6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789" name="Freeform 105">
              <a:extLst>
                <a:ext uri="{FF2B5EF4-FFF2-40B4-BE49-F238E27FC236}">
                  <a16:creationId xmlns:a16="http://schemas.microsoft.com/office/drawing/2014/main" id="{63605AAD-7CAE-EB4B-BED9-E1914889D002}"/>
                </a:ext>
              </a:extLst>
            </p:cNvPr>
            <p:cNvSpPr>
              <a:spLocks/>
            </p:cNvSpPr>
            <p:nvPr/>
          </p:nvSpPr>
          <p:spPr bwMode="auto">
            <a:xfrm>
              <a:off x="7794626" y="2417763"/>
              <a:ext cx="52388" cy="19050"/>
            </a:xfrm>
            <a:custGeom>
              <a:avLst/>
              <a:gdLst>
                <a:gd name="T0" fmla="*/ 109 w 130"/>
                <a:gd name="T1" fmla="*/ 0 h 48"/>
                <a:gd name="T2" fmla="*/ 86 w 130"/>
                <a:gd name="T3" fmla="*/ 0 h 48"/>
                <a:gd name="T4" fmla="*/ 43 w 130"/>
                <a:gd name="T5" fmla="*/ 0 h 48"/>
                <a:gd name="T6" fmla="*/ 23 w 130"/>
                <a:gd name="T7" fmla="*/ 0 h 48"/>
                <a:gd name="T8" fmla="*/ 0 w 130"/>
                <a:gd name="T9" fmla="*/ 24 h 48"/>
                <a:gd name="T10" fmla="*/ 23 w 130"/>
                <a:gd name="T11" fmla="*/ 48 h 48"/>
                <a:gd name="T12" fmla="*/ 64 w 130"/>
                <a:gd name="T13" fmla="*/ 48 h 48"/>
                <a:gd name="T14" fmla="*/ 64 w 130"/>
                <a:gd name="T15" fmla="*/ 48 h 48"/>
                <a:gd name="T16" fmla="*/ 109 w 130"/>
                <a:gd name="T17" fmla="*/ 48 h 48"/>
                <a:gd name="T18" fmla="*/ 130 w 130"/>
                <a:gd name="T19" fmla="*/ 24 h 48"/>
                <a:gd name="T20" fmla="*/ 109 w 130"/>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48">
                  <a:moveTo>
                    <a:pt x="109" y="0"/>
                  </a:moveTo>
                  <a:cubicBezTo>
                    <a:pt x="109" y="0"/>
                    <a:pt x="109" y="0"/>
                    <a:pt x="86" y="0"/>
                  </a:cubicBezTo>
                  <a:cubicBezTo>
                    <a:pt x="77" y="0"/>
                    <a:pt x="63" y="0"/>
                    <a:pt x="43" y="0"/>
                  </a:cubicBezTo>
                  <a:cubicBezTo>
                    <a:pt x="37" y="0"/>
                    <a:pt x="30" y="0"/>
                    <a:pt x="23" y="0"/>
                  </a:cubicBezTo>
                  <a:cubicBezTo>
                    <a:pt x="10" y="0"/>
                    <a:pt x="0" y="12"/>
                    <a:pt x="0" y="24"/>
                  </a:cubicBezTo>
                  <a:cubicBezTo>
                    <a:pt x="0" y="36"/>
                    <a:pt x="10" y="48"/>
                    <a:pt x="23" y="48"/>
                  </a:cubicBezTo>
                  <a:cubicBezTo>
                    <a:pt x="23" y="48"/>
                    <a:pt x="23" y="48"/>
                    <a:pt x="64" y="48"/>
                  </a:cubicBezTo>
                  <a:cubicBezTo>
                    <a:pt x="64" y="48"/>
                    <a:pt x="64" y="48"/>
                    <a:pt x="64" y="48"/>
                  </a:cubicBezTo>
                  <a:cubicBezTo>
                    <a:pt x="76" y="48"/>
                    <a:pt x="90" y="48"/>
                    <a:pt x="109" y="48"/>
                  </a:cubicBezTo>
                  <a:cubicBezTo>
                    <a:pt x="120" y="48"/>
                    <a:pt x="130" y="36"/>
                    <a:pt x="130" y="24"/>
                  </a:cubicBezTo>
                  <a:cubicBezTo>
                    <a:pt x="130" y="12"/>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02" name="Freeform 106">
              <a:extLst>
                <a:ext uri="{FF2B5EF4-FFF2-40B4-BE49-F238E27FC236}">
                  <a16:creationId xmlns:a16="http://schemas.microsoft.com/office/drawing/2014/main" id="{1E2462C7-D024-B64A-A0F4-49B3C26BEAE2}"/>
                </a:ext>
              </a:extLst>
            </p:cNvPr>
            <p:cNvSpPr>
              <a:spLocks noEditPoints="1"/>
            </p:cNvSpPr>
            <p:nvPr/>
          </p:nvSpPr>
          <p:spPr bwMode="auto">
            <a:xfrm>
              <a:off x="8139113" y="2351088"/>
              <a:ext cx="7938" cy="60325"/>
            </a:xfrm>
            <a:custGeom>
              <a:avLst/>
              <a:gdLst>
                <a:gd name="T0" fmla="*/ 17 w 20"/>
                <a:gd name="T1" fmla="*/ 43 h 152"/>
                <a:gd name="T2" fmla="*/ 0 w 20"/>
                <a:gd name="T3" fmla="*/ 43 h 152"/>
                <a:gd name="T4" fmla="*/ 0 w 20"/>
                <a:gd name="T5" fmla="*/ 152 h 152"/>
                <a:gd name="T6" fmla="*/ 17 w 20"/>
                <a:gd name="T7" fmla="*/ 43 h 152"/>
                <a:gd name="T8" fmla="*/ 20 w 20"/>
                <a:gd name="T9" fmla="*/ 0 h 152"/>
                <a:gd name="T10" fmla="*/ 18 w 20"/>
                <a:gd name="T11" fmla="*/ 0 h 152"/>
                <a:gd name="T12" fmla="*/ 20 w 20"/>
                <a:gd name="T13" fmla="*/ 0 h 152"/>
                <a:gd name="T14" fmla="*/ 20 w 20"/>
                <a:gd name="T15" fmla="*/ 0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52">
                  <a:moveTo>
                    <a:pt x="17" y="43"/>
                  </a:moveTo>
                  <a:cubicBezTo>
                    <a:pt x="10" y="43"/>
                    <a:pt x="4" y="43"/>
                    <a:pt x="0" y="43"/>
                  </a:cubicBezTo>
                  <a:cubicBezTo>
                    <a:pt x="0" y="61"/>
                    <a:pt x="0" y="93"/>
                    <a:pt x="0" y="152"/>
                  </a:cubicBezTo>
                  <a:cubicBezTo>
                    <a:pt x="8" y="116"/>
                    <a:pt x="13" y="80"/>
                    <a:pt x="17" y="43"/>
                  </a:cubicBezTo>
                  <a:moveTo>
                    <a:pt x="20" y="0"/>
                  </a:moveTo>
                  <a:cubicBezTo>
                    <a:pt x="20" y="0"/>
                    <a:pt x="19" y="0"/>
                    <a:pt x="18" y="0"/>
                  </a:cubicBezTo>
                  <a:cubicBezTo>
                    <a:pt x="19" y="0"/>
                    <a:pt x="20" y="0"/>
                    <a:pt x="20" y="0"/>
                  </a:cubicBezTo>
                  <a:cubicBezTo>
                    <a:pt x="20" y="0"/>
                    <a:pt x="20" y="0"/>
                    <a:pt x="20"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03" name="Freeform 107">
              <a:extLst>
                <a:ext uri="{FF2B5EF4-FFF2-40B4-BE49-F238E27FC236}">
                  <a16:creationId xmlns:a16="http://schemas.microsoft.com/office/drawing/2014/main" id="{C5D13B55-61AC-5F4A-933B-DCCB3FDE1DB7}"/>
                </a:ext>
              </a:extLst>
            </p:cNvPr>
            <p:cNvSpPr>
              <a:spLocks/>
            </p:cNvSpPr>
            <p:nvPr/>
          </p:nvSpPr>
          <p:spPr bwMode="auto">
            <a:xfrm>
              <a:off x="8123238" y="2351088"/>
              <a:ext cx="23813" cy="15875"/>
            </a:xfrm>
            <a:custGeom>
              <a:avLst/>
              <a:gdLst>
                <a:gd name="T0" fmla="*/ 58 w 58"/>
                <a:gd name="T1" fmla="*/ 0 h 43"/>
                <a:gd name="T2" fmla="*/ 56 w 58"/>
                <a:gd name="T3" fmla="*/ 0 h 43"/>
                <a:gd name="T4" fmla="*/ 22 w 58"/>
                <a:gd name="T5" fmla="*/ 2 h 43"/>
                <a:gd name="T6" fmla="*/ 2 w 58"/>
                <a:gd name="T7" fmla="*/ 23 h 43"/>
                <a:gd name="T8" fmla="*/ 22 w 58"/>
                <a:gd name="T9" fmla="*/ 43 h 43"/>
                <a:gd name="T10" fmla="*/ 24 w 58"/>
                <a:gd name="T11" fmla="*/ 43 h 43"/>
                <a:gd name="T12" fmla="*/ 38 w 58"/>
                <a:gd name="T13" fmla="*/ 43 h 43"/>
                <a:gd name="T14" fmla="*/ 55 w 58"/>
                <a:gd name="T15" fmla="*/ 43 h 43"/>
                <a:gd name="T16" fmla="*/ 58 w 58"/>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43">
                  <a:moveTo>
                    <a:pt x="58" y="0"/>
                  </a:moveTo>
                  <a:cubicBezTo>
                    <a:pt x="58" y="0"/>
                    <a:pt x="57" y="0"/>
                    <a:pt x="56" y="0"/>
                  </a:cubicBezTo>
                  <a:cubicBezTo>
                    <a:pt x="52" y="0"/>
                    <a:pt x="42" y="1"/>
                    <a:pt x="22" y="2"/>
                  </a:cubicBezTo>
                  <a:cubicBezTo>
                    <a:pt x="11" y="2"/>
                    <a:pt x="0" y="11"/>
                    <a:pt x="2" y="23"/>
                  </a:cubicBezTo>
                  <a:cubicBezTo>
                    <a:pt x="2" y="34"/>
                    <a:pt x="11" y="43"/>
                    <a:pt x="22" y="43"/>
                  </a:cubicBezTo>
                  <a:cubicBezTo>
                    <a:pt x="22" y="43"/>
                    <a:pt x="22" y="43"/>
                    <a:pt x="24" y="43"/>
                  </a:cubicBezTo>
                  <a:cubicBezTo>
                    <a:pt x="24" y="43"/>
                    <a:pt x="24" y="43"/>
                    <a:pt x="38" y="43"/>
                  </a:cubicBezTo>
                  <a:cubicBezTo>
                    <a:pt x="42" y="43"/>
                    <a:pt x="48" y="43"/>
                    <a:pt x="55" y="43"/>
                  </a:cubicBezTo>
                  <a:cubicBezTo>
                    <a:pt x="57" y="29"/>
                    <a:pt x="58" y="14"/>
                    <a:pt x="58"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04" name="Freeform 108">
              <a:extLst>
                <a:ext uri="{FF2B5EF4-FFF2-40B4-BE49-F238E27FC236}">
                  <a16:creationId xmlns:a16="http://schemas.microsoft.com/office/drawing/2014/main" id="{7C7D8CFD-12CB-524C-96AE-2FD629E6B21C}"/>
                </a:ext>
              </a:extLst>
            </p:cNvPr>
            <p:cNvSpPr>
              <a:spLocks/>
            </p:cNvSpPr>
            <p:nvPr/>
          </p:nvSpPr>
          <p:spPr bwMode="auto">
            <a:xfrm>
              <a:off x="8121651" y="2417763"/>
              <a:ext cx="15875" cy="19050"/>
            </a:xfrm>
            <a:custGeom>
              <a:avLst/>
              <a:gdLst>
                <a:gd name="T0" fmla="*/ 39 w 39"/>
                <a:gd name="T1" fmla="*/ 0 h 48"/>
                <a:gd name="T2" fmla="*/ 22 w 39"/>
                <a:gd name="T3" fmla="*/ 0 h 48"/>
                <a:gd name="T4" fmla="*/ 0 w 39"/>
                <a:gd name="T5" fmla="*/ 24 h 48"/>
                <a:gd name="T6" fmla="*/ 22 w 39"/>
                <a:gd name="T7" fmla="*/ 48 h 48"/>
                <a:gd name="T8" fmla="*/ 26 w 39"/>
                <a:gd name="T9" fmla="*/ 48 h 48"/>
                <a:gd name="T10" fmla="*/ 39 w 39"/>
                <a:gd name="T11" fmla="*/ 0 h 48"/>
              </a:gdLst>
              <a:ahLst/>
              <a:cxnLst>
                <a:cxn ang="0">
                  <a:pos x="T0" y="T1"/>
                </a:cxn>
                <a:cxn ang="0">
                  <a:pos x="T2" y="T3"/>
                </a:cxn>
                <a:cxn ang="0">
                  <a:pos x="T4" y="T5"/>
                </a:cxn>
                <a:cxn ang="0">
                  <a:pos x="T6" y="T7"/>
                </a:cxn>
                <a:cxn ang="0">
                  <a:pos x="T8" y="T9"/>
                </a:cxn>
                <a:cxn ang="0">
                  <a:pos x="T10" y="T11"/>
                </a:cxn>
              </a:cxnLst>
              <a:rect l="0" t="0" r="r" b="b"/>
              <a:pathLst>
                <a:path w="39" h="48">
                  <a:moveTo>
                    <a:pt x="39" y="0"/>
                  </a:moveTo>
                  <a:cubicBezTo>
                    <a:pt x="34" y="0"/>
                    <a:pt x="28" y="0"/>
                    <a:pt x="22" y="0"/>
                  </a:cubicBezTo>
                  <a:cubicBezTo>
                    <a:pt x="9" y="0"/>
                    <a:pt x="0" y="12"/>
                    <a:pt x="0" y="24"/>
                  </a:cubicBezTo>
                  <a:cubicBezTo>
                    <a:pt x="0" y="36"/>
                    <a:pt x="9" y="48"/>
                    <a:pt x="22" y="48"/>
                  </a:cubicBezTo>
                  <a:cubicBezTo>
                    <a:pt x="22" y="48"/>
                    <a:pt x="22" y="48"/>
                    <a:pt x="26" y="48"/>
                  </a:cubicBezTo>
                  <a:cubicBezTo>
                    <a:pt x="31" y="32"/>
                    <a:pt x="35" y="16"/>
                    <a:pt x="3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05" name="Freeform 109">
              <a:extLst>
                <a:ext uri="{FF2B5EF4-FFF2-40B4-BE49-F238E27FC236}">
                  <a16:creationId xmlns:a16="http://schemas.microsoft.com/office/drawing/2014/main" id="{E87496D5-F215-6141-8868-25D75F7DFDC9}"/>
                </a:ext>
              </a:extLst>
            </p:cNvPr>
            <p:cNvSpPr>
              <a:spLocks noEditPoints="1"/>
            </p:cNvSpPr>
            <p:nvPr/>
          </p:nvSpPr>
          <p:spPr bwMode="auto">
            <a:xfrm>
              <a:off x="7881938" y="2351088"/>
              <a:ext cx="17463" cy="66675"/>
            </a:xfrm>
            <a:custGeom>
              <a:avLst/>
              <a:gdLst>
                <a:gd name="T0" fmla="*/ 43 w 43"/>
                <a:gd name="T1" fmla="*/ 21 h 167"/>
                <a:gd name="T2" fmla="*/ 22 w 43"/>
                <a:gd name="T3" fmla="*/ 43 h 167"/>
                <a:gd name="T4" fmla="*/ 0 w 43"/>
                <a:gd name="T5" fmla="*/ 43 h 167"/>
                <a:gd name="T6" fmla="*/ 0 w 43"/>
                <a:gd name="T7" fmla="*/ 167 h 167"/>
                <a:gd name="T8" fmla="*/ 43 w 43"/>
                <a:gd name="T9" fmla="*/ 167 h 167"/>
                <a:gd name="T10" fmla="*/ 43 w 43"/>
                <a:gd name="T11" fmla="*/ 21 h 167"/>
                <a:gd name="T12" fmla="*/ 21 w 43"/>
                <a:gd name="T13" fmla="*/ 0 h 167"/>
                <a:gd name="T14" fmla="*/ 20 w 43"/>
                <a:gd name="T15" fmla="*/ 0 h 167"/>
                <a:gd name="T16" fmla="*/ 43 w 43"/>
                <a:gd name="T17" fmla="*/ 21 h 167"/>
                <a:gd name="T18" fmla="*/ 43 w 43"/>
                <a:gd name="T19" fmla="*/ 21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21"/>
                  </a:moveTo>
                  <a:cubicBezTo>
                    <a:pt x="43" y="32"/>
                    <a:pt x="33" y="41"/>
                    <a:pt x="22" y="43"/>
                  </a:cubicBezTo>
                  <a:cubicBezTo>
                    <a:pt x="12" y="43"/>
                    <a:pt x="5" y="43"/>
                    <a:pt x="0" y="43"/>
                  </a:cubicBezTo>
                  <a:cubicBezTo>
                    <a:pt x="0" y="62"/>
                    <a:pt x="0" y="99"/>
                    <a:pt x="0" y="167"/>
                  </a:cubicBezTo>
                  <a:cubicBezTo>
                    <a:pt x="19" y="167"/>
                    <a:pt x="33" y="167"/>
                    <a:pt x="43" y="167"/>
                  </a:cubicBezTo>
                  <a:cubicBezTo>
                    <a:pt x="43" y="144"/>
                    <a:pt x="43" y="101"/>
                    <a:pt x="43" y="21"/>
                  </a:cubicBezTo>
                  <a:moveTo>
                    <a:pt x="21" y="0"/>
                  </a:moveTo>
                  <a:cubicBezTo>
                    <a:pt x="20" y="0"/>
                    <a:pt x="20" y="0"/>
                    <a:pt x="20" y="0"/>
                  </a:cubicBezTo>
                  <a:cubicBezTo>
                    <a:pt x="34" y="0"/>
                    <a:pt x="43" y="9"/>
                    <a:pt x="43" y="21"/>
                  </a:cubicBezTo>
                  <a:cubicBezTo>
                    <a:pt x="43" y="21"/>
                    <a:pt x="43" y="21"/>
                    <a:pt x="43" y="21"/>
                  </a:cubicBezTo>
                  <a:cubicBezTo>
                    <a:pt x="43" y="9"/>
                    <a:pt x="34"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06" name="Freeform 110">
              <a:extLst>
                <a:ext uri="{FF2B5EF4-FFF2-40B4-BE49-F238E27FC236}">
                  <a16:creationId xmlns:a16="http://schemas.microsoft.com/office/drawing/2014/main" id="{0E8E6583-4561-8945-B10E-2090B91F435B}"/>
                </a:ext>
              </a:extLst>
            </p:cNvPr>
            <p:cNvSpPr>
              <a:spLocks/>
            </p:cNvSpPr>
            <p:nvPr/>
          </p:nvSpPr>
          <p:spPr bwMode="auto">
            <a:xfrm>
              <a:off x="7864476" y="2351088"/>
              <a:ext cx="34925" cy="15875"/>
            </a:xfrm>
            <a:custGeom>
              <a:avLst/>
              <a:gdLst>
                <a:gd name="T0" fmla="*/ 63 w 86"/>
                <a:gd name="T1" fmla="*/ 0 h 43"/>
                <a:gd name="T2" fmla="*/ 23 w 86"/>
                <a:gd name="T3" fmla="*/ 2 h 43"/>
                <a:gd name="T4" fmla="*/ 2 w 86"/>
                <a:gd name="T5" fmla="*/ 23 h 43"/>
                <a:gd name="T6" fmla="*/ 23 w 86"/>
                <a:gd name="T7" fmla="*/ 43 h 43"/>
                <a:gd name="T8" fmla="*/ 25 w 86"/>
                <a:gd name="T9" fmla="*/ 43 h 43"/>
                <a:gd name="T10" fmla="*/ 43 w 86"/>
                <a:gd name="T11" fmla="*/ 43 h 43"/>
                <a:gd name="T12" fmla="*/ 65 w 86"/>
                <a:gd name="T13" fmla="*/ 43 h 43"/>
                <a:gd name="T14" fmla="*/ 86 w 86"/>
                <a:gd name="T15" fmla="*/ 21 h 43"/>
                <a:gd name="T16" fmla="*/ 86 w 86"/>
                <a:gd name="T17" fmla="*/ 21 h 43"/>
                <a:gd name="T18" fmla="*/ 86 w 86"/>
                <a:gd name="T19" fmla="*/ 21 h 43"/>
                <a:gd name="T20" fmla="*/ 63 w 86"/>
                <a:gd name="T21" fmla="*/ 0 h 43"/>
                <a:gd name="T22" fmla="*/ 63 w 86"/>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43">
                  <a:moveTo>
                    <a:pt x="63" y="0"/>
                  </a:moveTo>
                  <a:cubicBezTo>
                    <a:pt x="63" y="0"/>
                    <a:pt x="63" y="0"/>
                    <a:pt x="23" y="2"/>
                  </a:cubicBezTo>
                  <a:cubicBezTo>
                    <a:pt x="11" y="2"/>
                    <a:pt x="0" y="11"/>
                    <a:pt x="2" y="23"/>
                  </a:cubicBezTo>
                  <a:cubicBezTo>
                    <a:pt x="2" y="34"/>
                    <a:pt x="11" y="43"/>
                    <a:pt x="23" y="43"/>
                  </a:cubicBezTo>
                  <a:cubicBezTo>
                    <a:pt x="23" y="43"/>
                    <a:pt x="23" y="43"/>
                    <a:pt x="25" y="43"/>
                  </a:cubicBezTo>
                  <a:cubicBezTo>
                    <a:pt x="25" y="43"/>
                    <a:pt x="25" y="43"/>
                    <a:pt x="43" y="43"/>
                  </a:cubicBezTo>
                  <a:cubicBezTo>
                    <a:pt x="48" y="43"/>
                    <a:pt x="55" y="43"/>
                    <a:pt x="65" y="43"/>
                  </a:cubicBezTo>
                  <a:cubicBezTo>
                    <a:pt x="76" y="41"/>
                    <a:pt x="86" y="32"/>
                    <a:pt x="86" y="21"/>
                  </a:cubicBezTo>
                  <a:cubicBezTo>
                    <a:pt x="86" y="21"/>
                    <a:pt x="86" y="21"/>
                    <a:pt x="86" y="21"/>
                  </a:cubicBezTo>
                  <a:cubicBezTo>
                    <a:pt x="86" y="21"/>
                    <a:pt x="86" y="21"/>
                    <a:pt x="86" y="21"/>
                  </a:cubicBezTo>
                  <a:cubicBezTo>
                    <a:pt x="86" y="9"/>
                    <a:pt x="77" y="0"/>
                    <a:pt x="63" y="0"/>
                  </a:cubicBezTo>
                  <a:cubicBezTo>
                    <a:pt x="63" y="0"/>
                    <a:pt x="63" y="0"/>
                    <a:pt x="6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07" name="Freeform 111">
              <a:extLst>
                <a:ext uri="{FF2B5EF4-FFF2-40B4-BE49-F238E27FC236}">
                  <a16:creationId xmlns:a16="http://schemas.microsoft.com/office/drawing/2014/main" id="{85C7B49F-5E95-2043-903D-C911C53AE317}"/>
                </a:ext>
              </a:extLst>
            </p:cNvPr>
            <p:cNvSpPr>
              <a:spLocks/>
            </p:cNvSpPr>
            <p:nvPr/>
          </p:nvSpPr>
          <p:spPr bwMode="auto">
            <a:xfrm>
              <a:off x="7861301" y="2417763"/>
              <a:ext cx="53975" cy="19050"/>
            </a:xfrm>
            <a:custGeom>
              <a:avLst/>
              <a:gdLst>
                <a:gd name="T0" fmla="*/ 114 w 135"/>
                <a:gd name="T1" fmla="*/ 0 h 48"/>
                <a:gd name="T2" fmla="*/ 92 w 135"/>
                <a:gd name="T3" fmla="*/ 0 h 48"/>
                <a:gd name="T4" fmla="*/ 49 w 135"/>
                <a:gd name="T5" fmla="*/ 0 h 48"/>
                <a:gd name="T6" fmla="*/ 24 w 135"/>
                <a:gd name="T7" fmla="*/ 0 h 48"/>
                <a:gd name="T8" fmla="*/ 0 w 135"/>
                <a:gd name="T9" fmla="*/ 24 h 48"/>
                <a:gd name="T10" fmla="*/ 24 w 135"/>
                <a:gd name="T11" fmla="*/ 48 h 48"/>
                <a:gd name="T12" fmla="*/ 70 w 135"/>
                <a:gd name="T13" fmla="*/ 48 h 48"/>
                <a:gd name="T14" fmla="*/ 70 w 135"/>
                <a:gd name="T15" fmla="*/ 48 h 48"/>
                <a:gd name="T16" fmla="*/ 114 w 135"/>
                <a:gd name="T17" fmla="*/ 48 h 48"/>
                <a:gd name="T18" fmla="*/ 135 w 135"/>
                <a:gd name="T19" fmla="*/ 24 h 48"/>
                <a:gd name="T20" fmla="*/ 114 w 135"/>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48">
                  <a:moveTo>
                    <a:pt x="114" y="0"/>
                  </a:moveTo>
                  <a:cubicBezTo>
                    <a:pt x="114" y="0"/>
                    <a:pt x="114" y="0"/>
                    <a:pt x="92" y="0"/>
                  </a:cubicBezTo>
                  <a:cubicBezTo>
                    <a:pt x="82" y="0"/>
                    <a:pt x="68" y="0"/>
                    <a:pt x="49" y="0"/>
                  </a:cubicBezTo>
                  <a:cubicBezTo>
                    <a:pt x="41" y="0"/>
                    <a:pt x="33" y="0"/>
                    <a:pt x="24" y="0"/>
                  </a:cubicBezTo>
                  <a:cubicBezTo>
                    <a:pt x="10" y="0"/>
                    <a:pt x="0" y="12"/>
                    <a:pt x="0" y="24"/>
                  </a:cubicBezTo>
                  <a:cubicBezTo>
                    <a:pt x="0" y="36"/>
                    <a:pt x="10" y="48"/>
                    <a:pt x="24" y="48"/>
                  </a:cubicBezTo>
                  <a:cubicBezTo>
                    <a:pt x="24" y="48"/>
                    <a:pt x="24" y="48"/>
                    <a:pt x="70" y="48"/>
                  </a:cubicBezTo>
                  <a:cubicBezTo>
                    <a:pt x="70" y="48"/>
                    <a:pt x="70" y="48"/>
                    <a:pt x="70" y="48"/>
                  </a:cubicBezTo>
                  <a:cubicBezTo>
                    <a:pt x="81" y="48"/>
                    <a:pt x="96" y="48"/>
                    <a:pt x="114" y="48"/>
                  </a:cubicBezTo>
                  <a:cubicBezTo>
                    <a:pt x="125" y="48"/>
                    <a:pt x="135" y="36"/>
                    <a:pt x="135" y="24"/>
                  </a:cubicBezTo>
                  <a:cubicBezTo>
                    <a:pt x="135" y="12"/>
                    <a:pt x="125" y="0"/>
                    <a:pt x="11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08" name="Freeform 112">
              <a:extLst>
                <a:ext uri="{FF2B5EF4-FFF2-40B4-BE49-F238E27FC236}">
                  <a16:creationId xmlns:a16="http://schemas.microsoft.com/office/drawing/2014/main" id="{B1E64ECA-DE84-574B-9FF8-AEF48D3ADFE5}"/>
                </a:ext>
              </a:extLst>
            </p:cNvPr>
            <p:cNvSpPr>
              <a:spLocks noEditPoints="1"/>
            </p:cNvSpPr>
            <p:nvPr/>
          </p:nvSpPr>
          <p:spPr bwMode="auto">
            <a:xfrm>
              <a:off x="7705726" y="2351088"/>
              <a:ext cx="71438" cy="85725"/>
            </a:xfrm>
            <a:custGeom>
              <a:avLst/>
              <a:gdLst>
                <a:gd name="T0" fmla="*/ 89 w 178"/>
                <a:gd name="T1" fmla="*/ 173 h 215"/>
                <a:gd name="T2" fmla="*/ 45 w 178"/>
                <a:gd name="T3" fmla="*/ 107 h 215"/>
                <a:gd name="T4" fmla="*/ 89 w 178"/>
                <a:gd name="T5" fmla="*/ 42 h 215"/>
                <a:gd name="T6" fmla="*/ 134 w 178"/>
                <a:gd name="T7" fmla="*/ 107 h 215"/>
                <a:gd name="T8" fmla="*/ 89 w 178"/>
                <a:gd name="T9" fmla="*/ 173 h 215"/>
                <a:gd name="T10" fmla="*/ 89 w 178"/>
                <a:gd name="T11" fmla="*/ 0 h 215"/>
                <a:gd name="T12" fmla="*/ 0 w 178"/>
                <a:gd name="T13" fmla="*/ 107 h 215"/>
                <a:gd name="T14" fmla="*/ 89 w 178"/>
                <a:gd name="T15" fmla="*/ 215 h 215"/>
                <a:gd name="T16" fmla="*/ 178 w 178"/>
                <a:gd name="T17" fmla="*/ 107 h 215"/>
                <a:gd name="T18" fmla="*/ 89 w 178"/>
                <a:gd name="T1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5">
                  <a:moveTo>
                    <a:pt x="89" y="173"/>
                  </a:moveTo>
                  <a:cubicBezTo>
                    <a:pt x="65" y="173"/>
                    <a:pt x="45" y="143"/>
                    <a:pt x="45" y="107"/>
                  </a:cubicBezTo>
                  <a:cubicBezTo>
                    <a:pt x="45" y="72"/>
                    <a:pt x="65" y="42"/>
                    <a:pt x="89" y="42"/>
                  </a:cubicBezTo>
                  <a:cubicBezTo>
                    <a:pt x="114" y="42"/>
                    <a:pt x="134" y="72"/>
                    <a:pt x="134" y="107"/>
                  </a:cubicBezTo>
                  <a:cubicBezTo>
                    <a:pt x="134" y="143"/>
                    <a:pt x="114" y="173"/>
                    <a:pt x="89" y="173"/>
                  </a:cubicBezTo>
                  <a:moveTo>
                    <a:pt x="89" y="0"/>
                  </a:moveTo>
                  <a:cubicBezTo>
                    <a:pt x="41" y="0"/>
                    <a:pt x="0" y="48"/>
                    <a:pt x="0" y="107"/>
                  </a:cubicBezTo>
                  <a:cubicBezTo>
                    <a:pt x="0" y="167"/>
                    <a:pt x="41" y="215"/>
                    <a:pt x="89" y="215"/>
                  </a:cubicBezTo>
                  <a:cubicBezTo>
                    <a:pt x="138" y="215"/>
                    <a:pt x="178" y="167"/>
                    <a:pt x="178" y="107"/>
                  </a:cubicBezTo>
                  <a:cubicBezTo>
                    <a:pt x="178" y="48"/>
                    <a:pt x="138"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09" name="Freeform 113">
              <a:extLst>
                <a:ext uri="{FF2B5EF4-FFF2-40B4-BE49-F238E27FC236}">
                  <a16:creationId xmlns:a16="http://schemas.microsoft.com/office/drawing/2014/main" id="{FB16BFE8-39D9-F446-80A3-FE71B1B31D40}"/>
                </a:ext>
              </a:extLst>
            </p:cNvPr>
            <p:cNvSpPr>
              <a:spLocks noEditPoints="1"/>
            </p:cNvSpPr>
            <p:nvPr/>
          </p:nvSpPr>
          <p:spPr bwMode="auto">
            <a:xfrm>
              <a:off x="8027988" y="2351088"/>
              <a:ext cx="71438" cy="85725"/>
            </a:xfrm>
            <a:custGeom>
              <a:avLst/>
              <a:gdLst>
                <a:gd name="T0" fmla="*/ 89 w 178"/>
                <a:gd name="T1" fmla="*/ 173 h 215"/>
                <a:gd name="T2" fmla="*/ 43 w 178"/>
                <a:gd name="T3" fmla="*/ 107 h 215"/>
                <a:gd name="T4" fmla="*/ 89 w 178"/>
                <a:gd name="T5" fmla="*/ 42 h 215"/>
                <a:gd name="T6" fmla="*/ 135 w 178"/>
                <a:gd name="T7" fmla="*/ 107 h 215"/>
                <a:gd name="T8" fmla="*/ 89 w 178"/>
                <a:gd name="T9" fmla="*/ 173 h 215"/>
                <a:gd name="T10" fmla="*/ 89 w 178"/>
                <a:gd name="T11" fmla="*/ 0 h 215"/>
                <a:gd name="T12" fmla="*/ 0 w 178"/>
                <a:gd name="T13" fmla="*/ 107 h 215"/>
                <a:gd name="T14" fmla="*/ 89 w 178"/>
                <a:gd name="T15" fmla="*/ 215 h 215"/>
                <a:gd name="T16" fmla="*/ 178 w 178"/>
                <a:gd name="T17" fmla="*/ 107 h 215"/>
                <a:gd name="T18" fmla="*/ 89 w 178"/>
                <a:gd name="T1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5">
                  <a:moveTo>
                    <a:pt x="89" y="173"/>
                  </a:moveTo>
                  <a:cubicBezTo>
                    <a:pt x="65" y="173"/>
                    <a:pt x="43" y="143"/>
                    <a:pt x="43" y="107"/>
                  </a:cubicBezTo>
                  <a:cubicBezTo>
                    <a:pt x="43" y="72"/>
                    <a:pt x="65" y="42"/>
                    <a:pt x="89" y="42"/>
                  </a:cubicBezTo>
                  <a:cubicBezTo>
                    <a:pt x="115" y="42"/>
                    <a:pt x="135" y="72"/>
                    <a:pt x="135" y="107"/>
                  </a:cubicBezTo>
                  <a:cubicBezTo>
                    <a:pt x="135" y="143"/>
                    <a:pt x="115" y="173"/>
                    <a:pt x="89" y="173"/>
                  </a:cubicBezTo>
                  <a:moveTo>
                    <a:pt x="89" y="0"/>
                  </a:moveTo>
                  <a:cubicBezTo>
                    <a:pt x="39" y="0"/>
                    <a:pt x="0" y="48"/>
                    <a:pt x="0" y="107"/>
                  </a:cubicBezTo>
                  <a:cubicBezTo>
                    <a:pt x="0" y="167"/>
                    <a:pt x="39" y="215"/>
                    <a:pt x="89" y="215"/>
                  </a:cubicBezTo>
                  <a:cubicBezTo>
                    <a:pt x="139" y="215"/>
                    <a:pt x="178" y="167"/>
                    <a:pt x="178" y="107"/>
                  </a:cubicBezTo>
                  <a:cubicBezTo>
                    <a:pt x="178" y="48"/>
                    <a:pt x="139"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0" name="Freeform 114">
              <a:extLst>
                <a:ext uri="{FF2B5EF4-FFF2-40B4-BE49-F238E27FC236}">
                  <a16:creationId xmlns:a16="http://schemas.microsoft.com/office/drawing/2014/main" id="{15838A96-28F4-D743-8A45-E16362DD2483}"/>
                </a:ext>
              </a:extLst>
            </p:cNvPr>
            <p:cNvSpPr>
              <a:spLocks noEditPoints="1"/>
            </p:cNvSpPr>
            <p:nvPr/>
          </p:nvSpPr>
          <p:spPr bwMode="auto">
            <a:xfrm>
              <a:off x="7931151" y="2351088"/>
              <a:ext cx="73025" cy="85725"/>
            </a:xfrm>
            <a:custGeom>
              <a:avLst/>
              <a:gdLst>
                <a:gd name="T0" fmla="*/ 92 w 183"/>
                <a:gd name="T1" fmla="*/ 173 h 215"/>
                <a:gd name="T2" fmla="*/ 45 w 183"/>
                <a:gd name="T3" fmla="*/ 107 h 215"/>
                <a:gd name="T4" fmla="*/ 92 w 183"/>
                <a:gd name="T5" fmla="*/ 42 h 215"/>
                <a:gd name="T6" fmla="*/ 139 w 183"/>
                <a:gd name="T7" fmla="*/ 107 h 215"/>
                <a:gd name="T8" fmla="*/ 92 w 183"/>
                <a:gd name="T9" fmla="*/ 173 h 215"/>
                <a:gd name="T10" fmla="*/ 92 w 183"/>
                <a:gd name="T11" fmla="*/ 0 h 215"/>
                <a:gd name="T12" fmla="*/ 0 w 183"/>
                <a:gd name="T13" fmla="*/ 107 h 215"/>
                <a:gd name="T14" fmla="*/ 92 w 183"/>
                <a:gd name="T15" fmla="*/ 215 h 215"/>
                <a:gd name="T16" fmla="*/ 183 w 183"/>
                <a:gd name="T17" fmla="*/ 107 h 215"/>
                <a:gd name="T18" fmla="*/ 92 w 183"/>
                <a:gd name="T1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215">
                  <a:moveTo>
                    <a:pt x="92" y="173"/>
                  </a:moveTo>
                  <a:cubicBezTo>
                    <a:pt x="66" y="173"/>
                    <a:pt x="45" y="143"/>
                    <a:pt x="45" y="107"/>
                  </a:cubicBezTo>
                  <a:cubicBezTo>
                    <a:pt x="45" y="72"/>
                    <a:pt x="66" y="42"/>
                    <a:pt x="92" y="42"/>
                  </a:cubicBezTo>
                  <a:cubicBezTo>
                    <a:pt x="117" y="42"/>
                    <a:pt x="139" y="72"/>
                    <a:pt x="139" y="107"/>
                  </a:cubicBezTo>
                  <a:cubicBezTo>
                    <a:pt x="139" y="143"/>
                    <a:pt x="117" y="173"/>
                    <a:pt x="92" y="173"/>
                  </a:cubicBezTo>
                  <a:moveTo>
                    <a:pt x="92" y="0"/>
                  </a:moveTo>
                  <a:cubicBezTo>
                    <a:pt x="41" y="0"/>
                    <a:pt x="0" y="48"/>
                    <a:pt x="0" y="107"/>
                  </a:cubicBezTo>
                  <a:cubicBezTo>
                    <a:pt x="0" y="167"/>
                    <a:pt x="41" y="215"/>
                    <a:pt x="92" y="215"/>
                  </a:cubicBezTo>
                  <a:cubicBezTo>
                    <a:pt x="141" y="215"/>
                    <a:pt x="183" y="167"/>
                    <a:pt x="183" y="107"/>
                  </a:cubicBezTo>
                  <a:cubicBezTo>
                    <a:pt x="183" y="48"/>
                    <a:pt x="141" y="0"/>
                    <a:pt x="9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1" name="Freeform 115">
              <a:extLst>
                <a:ext uri="{FF2B5EF4-FFF2-40B4-BE49-F238E27FC236}">
                  <a16:creationId xmlns:a16="http://schemas.microsoft.com/office/drawing/2014/main" id="{49408381-FD0E-0E42-B5B0-74CEA27CB788}"/>
                </a:ext>
              </a:extLst>
            </p:cNvPr>
            <p:cNvSpPr>
              <a:spLocks noEditPoints="1"/>
            </p:cNvSpPr>
            <p:nvPr/>
          </p:nvSpPr>
          <p:spPr bwMode="auto">
            <a:xfrm>
              <a:off x="7812088" y="2608263"/>
              <a:ext cx="17463" cy="66675"/>
            </a:xfrm>
            <a:custGeom>
              <a:avLst/>
              <a:gdLst>
                <a:gd name="T0" fmla="*/ 43 w 43"/>
                <a:gd name="T1" fmla="*/ 21 h 167"/>
                <a:gd name="T2" fmla="*/ 23 w 43"/>
                <a:gd name="T3" fmla="*/ 43 h 167"/>
                <a:gd name="T4" fmla="*/ 0 w 43"/>
                <a:gd name="T5" fmla="*/ 43 h 167"/>
                <a:gd name="T6" fmla="*/ 0 w 43"/>
                <a:gd name="T7" fmla="*/ 167 h 167"/>
                <a:gd name="T8" fmla="*/ 43 w 43"/>
                <a:gd name="T9" fmla="*/ 167 h 167"/>
                <a:gd name="T10" fmla="*/ 43 w 43"/>
                <a:gd name="T11" fmla="*/ 21 h 167"/>
                <a:gd name="T12" fmla="*/ 21 w 43"/>
                <a:gd name="T13" fmla="*/ 0 h 167"/>
                <a:gd name="T14" fmla="*/ 21 w 43"/>
                <a:gd name="T15" fmla="*/ 0 h 167"/>
                <a:gd name="T16" fmla="*/ 43 w 43"/>
                <a:gd name="T17" fmla="*/ 21 h 167"/>
                <a:gd name="T18" fmla="*/ 43 w 43"/>
                <a:gd name="T19" fmla="*/ 20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21"/>
                  </a:moveTo>
                  <a:cubicBezTo>
                    <a:pt x="43" y="32"/>
                    <a:pt x="34" y="41"/>
                    <a:pt x="23" y="43"/>
                  </a:cubicBezTo>
                  <a:cubicBezTo>
                    <a:pt x="13" y="43"/>
                    <a:pt x="6" y="43"/>
                    <a:pt x="0" y="43"/>
                  </a:cubicBezTo>
                  <a:cubicBezTo>
                    <a:pt x="0" y="63"/>
                    <a:pt x="0" y="99"/>
                    <a:pt x="0" y="167"/>
                  </a:cubicBezTo>
                  <a:cubicBezTo>
                    <a:pt x="20" y="167"/>
                    <a:pt x="34" y="167"/>
                    <a:pt x="43" y="167"/>
                  </a:cubicBezTo>
                  <a:cubicBezTo>
                    <a:pt x="43" y="146"/>
                    <a:pt x="43" y="104"/>
                    <a:pt x="43" y="21"/>
                  </a:cubicBezTo>
                  <a:moveTo>
                    <a:pt x="21" y="0"/>
                  </a:moveTo>
                  <a:cubicBezTo>
                    <a:pt x="21" y="0"/>
                    <a:pt x="21" y="0"/>
                    <a:pt x="21" y="0"/>
                  </a:cubicBezTo>
                  <a:cubicBezTo>
                    <a:pt x="34" y="0"/>
                    <a:pt x="43" y="9"/>
                    <a:pt x="43" y="21"/>
                  </a:cubicBezTo>
                  <a:cubicBezTo>
                    <a:pt x="43" y="21"/>
                    <a:pt x="43" y="20"/>
                    <a:pt x="43" y="20"/>
                  </a:cubicBezTo>
                  <a:cubicBezTo>
                    <a:pt x="43" y="9"/>
                    <a:pt x="34"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2" name="Freeform 116">
              <a:extLst>
                <a:ext uri="{FF2B5EF4-FFF2-40B4-BE49-F238E27FC236}">
                  <a16:creationId xmlns:a16="http://schemas.microsoft.com/office/drawing/2014/main" id="{D7F58800-936F-F449-B730-773FBD990FE2}"/>
                </a:ext>
              </a:extLst>
            </p:cNvPr>
            <p:cNvSpPr>
              <a:spLocks/>
            </p:cNvSpPr>
            <p:nvPr/>
          </p:nvSpPr>
          <p:spPr bwMode="auto">
            <a:xfrm>
              <a:off x="7794626" y="2608263"/>
              <a:ext cx="34925" cy="17463"/>
            </a:xfrm>
            <a:custGeom>
              <a:avLst/>
              <a:gdLst>
                <a:gd name="T0" fmla="*/ 64 w 86"/>
                <a:gd name="T1" fmla="*/ 0 h 43"/>
                <a:gd name="T2" fmla="*/ 23 w 86"/>
                <a:gd name="T3" fmla="*/ 2 h 43"/>
                <a:gd name="T4" fmla="*/ 2 w 86"/>
                <a:gd name="T5" fmla="*/ 23 h 43"/>
                <a:gd name="T6" fmla="*/ 23 w 86"/>
                <a:gd name="T7" fmla="*/ 43 h 43"/>
                <a:gd name="T8" fmla="*/ 25 w 86"/>
                <a:gd name="T9" fmla="*/ 43 h 43"/>
                <a:gd name="T10" fmla="*/ 43 w 86"/>
                <a:gd name="T11" fmla="*/ 43 h 43"/>
                <a:gd name="T12" fmla="*/ 66 w 86"/>
                <a:gd name="T13" fmla="*/ 43 h 43"/>
                <a:gd name="T14" fmla="*/ 86 w 86"/>
                <a:gd name="T15" fmla="*/ 21 h 43"/>
                <a:gd name="T16" fmla="*/ 86 w 86"/>
                <a:gd name="T17" fmla="*/ 21 h 43"/>
                <a:gd name="T18" fmla="*/ 86 w 86"/>
                <a:gd name="T19" fmla="*/ 21 h 43"/>
                <a:gd name="T20" fmla="*/ 64 w 86"/>
                <a:gd name="T21" fmla="*/ 0 h 43"/>
                <a:gd name="T22" fmla="*/ 64 w 86"/>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43">
                  <a:moveTo>
                    <a:pt x="64" y="0"/>
                  </a:moveTo>
                  <a:cubicBezTo>
                    <a:pt x="64" y="0"/>
                    <a:pt x="64" y="0"/>
                    <a:pt x="23" y="2"/>
                  </a:cubicBezTo>
                  <a:cubicBezTo>
                    <a:pt x="12" y="2"/>
                    <a:pt x="0" y="10"/>
                    <a:pt x="2" y="23"/>
                  </a:cubicBezTo>
                  <a:cubicBezTo>
                    <a:pt x="2" y="34"/>
                    <a:pt x="12" y="43"/>
                    <a:pt x="23" y="43"/>
                  </a:cubicBezTo>
                  <a:cubicBezTo>
                    <a:pt x="23" y="43"/>
                    <a:pt x="23" y="43"/>
                    <a:pt x="25" y="43"/>
                  </a:cubicBezTo>
                  <a:cubicBezTo>
                    <a:pt x="25" y="43"/>
                    <a:pt x="25" y="43"/>
                    <a:pt x="43" y="43"/>
                  </a:cubicBezTo>
                  <a:cubicBezTo>
                    <a:pt x="49" y="43"/>
                    <a:pt x="56" y="43"/>
                    <a:pt x="66" y="43"/>
                  </a:cubicBezTo>
                  <a:cubicBezTo>
                    <a:pt x="77" y="41"/>
                    <a:pt x="86" y="32"/>
                    <a:pt x="86" y="21"/>
                  </a:cubicBezTo>
                  <a:cubicBezTo>
                    <a:pt x="86" y="21"/>
                    <a:pt x="86" y="21"/>
                    <a:pt x="86" y="21"/>
                  </a:cubicBezTo>
                  <a:cubicBezTo>
                    <a:pt x="86" y="21"/>
                    <a:pt x="86" y="21"/>
                    <a:pt x="86" y="21"/>
                  </a:cubicBezTo>
                  <a:cubicBezTo>
                    <a:pt x="86" y="9"/>
                    <a:pt x="77" y="0"/>
                    <a:pt x="64" y="0"/>
                  </a:cubicBezTo>
                  <a:cubicBezTo>
                    <a:pt x="64" y="0"/>
                    <a:pt x="64" y="0"/>
                    <a:pt x="6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3" name="Freeform 117">
              <a:extLst>
                <a:ext uri="{FF2B5EF4-FFF2-40B4-BE49-F238E27FC236}">
                  <a16:creationId xmlns:a16="http://schemas.microsoft.com/office/drawing/2014/main" id="{D7ABF027-E0FA-1841-9E21-4178C990566A}"/>
                </a:ext>
              </a:extLst>
            </p:cNvPr>
            <p:cNvSpPr>
              <a:spLocks/>
            </p:cNvSpPr>
            <p:nvPr/>
          </p:nvSpPr>
          <p:spPr bwMode="auto">
            <a:xfrm>
              <a:off x="7794626" y="2674938"/>
              <a:ext cx="52388" cy="17463"/>
            </a:xfrm>
            <a:custGeom>
              <a:avLst/>
              <a:gdLst>
                <a:gd name="T0" fmla="*/ 109 w 130"/>
                <a:gd name="T1" fmla="*/ 0 h 43"/>
                <a:gd name="T2" fmla="*/ 86 w 130"/>
                <a:gd name="T3" fmla="*/ 0 h 43"/>
                <a:gd name="T4" fmla="*/ 43 w 130"/>
                <a:gd name="T5" fmla="*/ 0 h 43"/>
                <a:gd name="T6" fmla="*/ 23 w 130"/>
                <a:gd name="T7" fmla="*/ 0 h 43"/>
                <a:gd name="T8" fmla="*/ 0 w 130"/>
                <a:gd name="T9" fmla="*/ 21 h 43"/>
                <a:gd name="T10" fmla="*/ 23 w 130"/>
                <a:gd name="T11" fmla="*/ 43 h 43"/>
                <a:gd name="T12" fmla="*/ 64 w 130"/>
                <a:gd name="T13" fmla="*/ 43 h 43"/>
                <a:gd name="T14" fmla="*/ 64 w 130"/>
                <a:gd name="T15" fmla="*/ 43 h 43"/>
                <a:gd name="T16" fmla="*/ 109 w 130"/>
                <a:gd name="T17" fmla="*/ 43 h 43"/>
                <a:gd name="T18" fmla="*/ 130 w 130"/>
                <a:gd name="T19" fmla="*/ 21 h 43"/>
                <a:gd name="T20" fmla="*/ 109 w 130"/>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43">
                  <a:moveTo>
                    <a:pt x="109" y="0"/>
                  </a:moveTo>
                  <a:cubicBezTo>
                    <a:pt x="109" y="0"/>
                    <a:pt x="109" y="0"/>
                    <a:pt x="86" y="0"/>
                  </a:cubicBezTo>
                  <a:cubicBezTo>
                    <a:pt x="77" y="0"/>
                    <a:pt x="63" y="0"/>
                    <a:pt x="43" y="0"/>
                  </a:cubicBezTo>
                  <a:cubicBezTo>
                    <a:pt x="37" y="0"/>
                    <a:pt x="30" y="0"/>
                    <a:pt x="23" y="0"/>
                  </a:cubicBezTo>
                  <a:cubicBezTo>
                    <a:pt x="10" y="0"/>
                    <a:pt x="0" y="10"/>
                    <a:pt x="0" y="21"/>
                  </a:cubicBezTo>
                  <a:cubicBezTo>
                    <a:pt x="0" y="32"/>
                    <a:pt x="10" y="43"/>
                    <a:pt x="23" y="43"/>
                  </a:cubicBezTo>
                  <a:cubicBezTo>
                    <a:pt x="23" y="43"/>
                    <a:pt x="23" y="43"/>
                    <a:pt x="64" y="43"/>
                  </a:cubicBezTo>
                  <a:cubicBezTo>
                    <a:pt x="64" y="43"/>
                    <a:pt x="64" y="43"/>
                    <a:pt x="64" y="43"/>
                  </a:cubicBezTo>
                  <a:cubicBezTo>
                    <a:pt x="76" y="43"/>
                    <a:pt x="90" y="43"/>
                    <a:pt x="109" y="43"/>
                  </a:cubicBezTo>
                  <a:cubicBezTo>
                    <a:pt x="120" y="43"/>
                    <a:pt x="130" y="32"/>
                    <a:pt x="130" y="21"/>
                  </a:cubicBezTo>
                  <a:cubicBezTo>
                    <a:pt x="130" y="10"/>
                    <a:pt x="120" y="0"/>
                    <a:pt x="10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4" name="Freeform 118">
              <a:extLst>
                <a:ext uri="{FF2B5EF4-FFF2-40B4-BE49-F238E27FC236}">
                  <a16:creationId xmlns:a16="http://schemas.microsoft.com/office/drawing/2014/main" id="{8273CD3A-822E-D249-919C-DAAE30CCB45D}"/>
                </a:ext>
              </a:extLst>
            </p:cNvPr>
            <p:cNvSpPr>
              <a:spLocks noEditPoints="1"/>
            </p:cNvSpPr>
            <p:nvPr/>
          </p:nvSpPr>
          <p:spPr bwMode="auto">
            <a:xfrm>
              <a:off x="7881938" y="2608263"/>
              <a:ext cx="17463" cy="66675"/>
            </a:xfrm>
            <a:custGeom>
              <a:avLst/>
              <a:gdLst>
                <a:gd name="T0" fmla="*/ 43 w 43"/>
                <a:gd name="T1" fmla="*/ 21 h 167"/>
                <a:gd name="T2" fmla="*/ 22 w 43"/>
                <a:gd name="T3" fmla="*/ 43 h 167"/>
                <a:gd name="T4" fmla="*/ 0 w 43"/>
                <a:gd name="T5" fmla="*/ 43 h 167"/>
                <a:gd name="T6" fmla="*/ 0 w 43"/>
                <a:gd name="T7" fmla="*/ 167 h 167"/>
                <a:gd name="T8" fmla="*/ 43 w 43"/>
                <a:gd name="T9" fmla="*/ 167 h 167"/>
                <a:gd name="T10" fmla="*/ 43 w 43"/>
                <a:gd name="T11" fmla="*/ 21 h 167"/>
                <a:gd name="T12" fmla="*/ 21 w 43"/>
                <a:gd name="T13" fmla="*/ 0 h 167"/>
                <a:gd name="T14" fmla="*/ 20 w 43"/>
                <a:gd name="T15" fmla="*/ 0 h 167"/>
                <a:gd name="T16" fmla="*/ 43 w 43"/>
                <a:gd name="T17" fmla="*/ 21 h 167"/>
                <a:gd name="T18" fmla="*/ 43 w 43"/>
                <a:gd name="T19" fmla="*/ 20 h 167"/>
                <a:gd name="T20" fmla="*/ 21 w 43"/>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67">
                  <a:moveTo>
                    <a:pt x="43" y="21"/>
                  </a:moveTo>
                  <a:cubicBezTo>
                    <a:pt x="43" y="32"/>
                    <a:pt x="33" y="41"/>
                    <a:pt x="22" y="43"/>
                  </a:cubicBezTo>
                  <a:cubicBezTo>
                    <a:pt x="12" y="43"/>
                    <a:pt x="5" y="43"/>
                    <a:pt x="0" y="43"/>
                  </a:cubicBezTo>
                  <a:cubicBezTo>
                    <a:pt x="0" y="63"/>
                    <a:pt x="0" y="99"/>
                    <a:pt x="0" y="167"/>
                  </a:cubicBezTo>
                  <a:cubicBezTo>
                    <a:pt x="19" y="167"/>
                    <a:pt x="33" y="167"/>
                    <a:pt x="43" y="167"/>
                  </a:cubicBezTo>
                  <a:cubicBezTo>
                    <a:pt x="43" y="146"/>
                    <a:pt x="43" y="104"/>
                    <a:pt x="43" y="21"/>
                  </a:cubicBezTo>
                  <a:moveTo>
                    <a:pt x="21" y="0"/>
                  </a:moveTo>
                  <a:cubicBezTo>
                    <a:pt x="20" y="0"/>
                    <a:pt x="20" y="0"/>
                    <a:pt x="20" y="0"/>
                  </a:cubicBezTo>
                  <a:cubicBezTo>
                    <a:pt x="34" y="0"/>
                    <a:pt x="43" y="9"/>
                    <a:pt x="43" y="21"/>
                  </a:cubicBezTo>
                  <a:cubicBezTo>
                    <a:pt x="43" y="21"/>
                    <a:pt x="43" y="20"/>
                    <a:pt x="43" y="20"/>
                  </a:cubicBezTo>
                  <a:cubicBezTo>
                    <a:pt x="43" y="9"/>
                    <a:pt x="34" y="0"/>
                    <a:pt x="21"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5" name="Freeform 119">
              <a:extLst>
                <a:ext uri="{FF2B5EF4-FFF2-40B4-BE49-F238E27FC236}">
                  <a16:creationId xmlns:a16="http://schemas.microsoft.com/office/drawing/2014/main" id="{773126CC-D39A-E14A-8366-E9A382FE4DD8}"/>
                </a:ext>
              </a:extLst>
            </p:cNvPr>
            <p:cNvSpPr>
              <a:spLocks/>
            </p:cNvSpPr>
            <p:nvPr/>
          </p:nvSpPr>
          <p:spPr bwMode="auto">
            <a:xfrm>
              <a:off x="7864476" y="2608263"/>
              <a:ext cx="34925" cy="17463"/>
            </a:xfrm>
            <a:custGeom>
              <a:avLst/>
              <a:gdLst>
                <a:gd name="T0" fmla="*/ 63 w 86"/>
                <a:gd name="T1" fmla="*/ 0 h 43"/>
                <a:gd name="T2" fmla="*/ 23 w 86"/>
                <a:gd name="T3" fmla="*/ 2 h 43"/>
                <a:gd name="T4" fmla="*/ 2 w 86"/>
                <a:gd name="T5" fmla="*/ 23 h 43"/>
                <a:gd name="T6" fmla="*/ 23 w 86"/>
                <a:gd name="T7" fmla="*/ 43 h 43"/>
                <a:gd name="T8" fmla="*/ 25 w 86"/>
                <a:gd name="T9" fmla="*/ 43 h 43"/>
                <a:gd name="T10" fmla="*/ 43 w 86"/>
                <a:gd name="T11" fmla="*/ 43 h 43"/>
                <a:gd name="T12" fmla="*/ 65 w 86"/>
                <a:gd name="T13" fmla="*/ 43 h 43"/>
                <a:gd name="T14" fmla="*/ 86 w 86"/>
                <a:gd name="T15" fmla="*/ 21 h 43"/>
                <a:gd name="T16" fmla="*/ 86 w 86"/>
                <a:gd name="T17" fmla="*/ 21 h 43"/>
                <a:gd name="T18" fmla="*/ 86 w 86"/>
                <a:gd name="T19" fmla="*/ 21 h 43"/>
                <a:gd name="T20" fmla="*/ 63 w 86"/>
                <a:gd name="T21" fmla="*/ 0 h 43"/>
                <a:gd name="T22" fmla="*/ 63 w 86"/>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43">
                  <a:moveTo>
                    <a:pt x="63" y="0"/>
                  </a:moveTo>
                  <a:cubicBezTo>
                    <a:pt x="63" y="0"/>
                    <a:pt x="63" y="0"/>
                    <a:pt x="23" y="2"/>
                  </a:cubicBezTo>
                  <a:cubicBezTo>
                    <a:pt x="11" y="2"/>
                    <a:pt x="0" y="10"/>
                    <a:pt x="2" y="23"/>
                  </a:cubicBezTo>
                  <a:cubicBezTo>
                    <a:pt x="2" y="34"/>
                    <a:pt x="11" y="43"/>
                    <a:pt x="23" y="43"/>
                  </a:cubicBezTo>
                  <a:cubicBezTo>
                    <a:pt x="23" y="43"/>
                    <a:pt x="23" y="43"/>
                    <a:pt x="25" y="43"/>
                  </a:cubicBezTo>
                  <a:cubicBezTo>
                    <a:pt x="25" y="43"/>
                    <a:pt x="25" y="43"/>
                    <a:pt x="43" y="43"/>
                  </a:cubicBezTo>
                  <a:cubicBezTo>
                    <a:pt x="48" y="43"/>
                    <a:pt x="55" y="43"/>
                    <a:pt x="65" y="43"/>
                  </a:cubicBezTo>
                  <a:cubicBezTo>
                    <a:pt x="76" y="41"/>
                    <a:pt x="86" y="32"/>
                    <a:pt x="86" y="21"/>
                  </a:cubicBezTo>
                  <a:cubicBezTo>
                    <a:pt x="86" y="21"/>
                    <a:pt x="86" y="21"/>
                    <a:pt x="86" y="21"/>
                  </a:cubicBezTo>
                  <a:cubicBezTo>
                    <a:pt x="86" y="21"/>
                    <a:pt x="86" y="21"/>
                    <a:pt x="86" y="21"/>
                  </a:cubicBezTo>
                  <a:cubicBezTo>
                    <a:pt x="86" y="9"/>
                    <a:pt x="77" y="0"/>
                    <a:pt x="63" y="0"/>
                  </a:cubicBezTo>
                  <a:cubicBezTo>
                    <a:pt x="63" y="0"/>
                    <a:pt x="63" y="0"/>
                    <a:pt x="63"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6" name="Freeform 120">
              <a:extLst>
                <a:ext uri="{FF2B5EF4-FFF2-40B4-BE49-F238E27FC236}">
                  <a16:creationId xmlns:a16="http://schemas.microsoft.com/office/drawing/2014/main" id="{7921FC4A-1C41-2546-8B6B-2356A4D940F9}"/>
                </a:ext>
              </a:extLst>
            </p:cNvPr>
            <p:cNvSpPr>
              <a:spLocks/>
            </p:cNvSpPr>
            <p:nvPr/>
          </p:nvSpPr>
          <p:spPr bwMode="auto">
            <a:xfrm>
              <a:off x="7861301" y="2674938"/>
              <a:ext cx="52388" cy="17463"/>
            </a:xfrm>
            <a:custGeom>
              <a:avLst/>
              <a:gdLst>
                <a:gd name="T0" fmla="*/ 114 w 129"/>
                <a:gd name="T1" fmla="*/ 0 h 43"/>
                <a:gd name="T2" fmla="*/ 92 w 129"/>
                <a:gd name="T3" fmla="*/ 0 h 43"/>
                <a:gd name="T4" fmla="*/ 49 w 129"/>
                <a:gd name="T5" fmla="*/ 0 h 43"/>
                <a:gd name="T6" fmla="*/ 24 w 129"/>
                <a:gd name="T7" fmla="*/ 0 h 43"/>
                <a:gd name="T8" fmla="*/ 0 w 129"/>
                <a:gd name="T9" fmla="*/ 21 h 43"/>
                <a:gd name="T10" fmla="*/ 20 w 129"/>
                <a:gd name="T11" fmla="*/ 43 h 43"/>
                <a:gd name="T12" fmla="*/ 129 w 129"/>
                <a:gd name="T13" fmla="*/ 6 h 43"/>
                <a:gd name="T14" fmla="*/ 114 w 129"/>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3">
                  <a:moveTo>
                    <a:pt x="114" y="0"/>
                  </a:moveTo>
                  <a:cubicBezTo>
                    <a:pt x="114" y="0"/>
                    <a:pt x="114" y="0"/>
                    <a:pt x="92" y="0"/>
                  </a:cubicBezTo>
                  <a:cubicBezTo>
                    <a:pt x="82" y="0"/>
                    <a:pt x="68" y="0"/>
                    <a:pt x="49" y="0"/>
                  </a:cubicBezTo>
                  <a:cubicBezTo>
                    <a:pt x="41" y="0"/>
                    <a:pt x="33" y="0"/>
                    <a:pt x="24" y="0"/>
                  </a:cubicBezTo>
                  <a:cubicBezTo>
                    <a:pt x="10" y="0"/>
                    <a:pt x="0" y="10"/>
                    <a:pt x="0" y="21"/>
                  </a:cubicBezTo>
                  <a:cubicBezTo>
                    <a:pt x="0" y="31"/>
                    <a:pt x="8" y="41"/>
                    <a:pt x="20" y="43"/>
                  </a:cubicBezTo>
                  <a:cubicBezTo>
                    <a:pt x="57" y="33"/>
                    <a:pt x="94" y="21"/>
                    <a:pt x="129" y="6"/>
                  </a:cubicBezTo>
                  <a:cubicBezTo>
                    <a:pt x="125" y="2"/>
                    <a:pt x="119" y="0"/>
                    <a:pt x="114"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7" name="Freeform 121">
              <a:extLst>
                <a:ext uri="{FF2B5EF4-FFF2-40B4-BE49-F238E27FC236}">
                  <a16:creationId xmlns:a16="http://schemas.microsoft.com/office/drawing/2014/main" id="{8BECD487-2697-A54F-9D70-8C1DCEB153AE}"/>
                </a:ext>
              </a:extLst>
            </p:cNvPr>
            <p:cNvSpPr>
              <a:spLocks noEditPoints="1"/>
            </p:cNvSpPr>
            <p:nvPr/>
          </p:nvSpPr>
          <p:spPr bwMode="auto">
            <a:xfrm>
              <a:off x="7705726" y="2608263"/>
              <a:ext cx="71438" cy="84138"/>
            </a:xfrm>
            <a:custGeom>
              <a:avLst/>
              <a:gdLst>
                <a:gd name="T0" fmla="*/ 89 w 178"/>
                <a:gd name="T1" fmla="*/ 168 h 210"/>
                <a:gd name="T2" fmla="*/ 45 w 178"/>
                <a:gd name="T3" fmla="*/ 105 h 210"/>
                <a:gd name="T4" fmla="*/ 89 w 178"/>
                <a:gd name="T5" fmla="*/ 41 h 210"/>
                <a:gd name="T6" fmla="*/ 134 w 178"/>
                <a:gd name="T7" fmla="*/ 105 h 210"/>
                <a:gd name="T8" fmla="*/ 89 w 178"/>
                <a:gd name="T9" fmla="*/ 168 h 210"/>
                <a:gd name="T10" fmla="*/ 89 w 178"/>
                <a:gd name="T11" fmla="*/ 0 h 210"/>
                <a:gd name="T12" fmla="*/ 0 w 178"/>
                <a:gd name="T13" fmla="*/ 105 h 210"/>
                <a:gd name="T14" fmla="*/ 89 w 178"/>
                <a:gd name="T15" fmla="*/ 210 h 210"/>
                <a:gd name="T16" fmla="*/ 178 w 178"/>
                <a:gd name="T17" fmla="*/ 105 h 210"/>
                <a:gd name="T18" fmla="*/ 89 w 178"/>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10">
                  <a:moveTo>
                    <a:pt x="89" y="168"/>
                  </a:moveTo>
                  <a:cubicBezTo>
                    <a:pt x="65" y="168"/>
                    <a:pt x="45" y="139"/>
                    <a:pt x="45" y="105"/>
                  </a:cubicBezTo>
                  <a:cubicBezTo>
                    <a:pt x="45" y="70"/>
                    <a:pt x="65" y="41"/>
                    <a:pt x="89" y="41"/>
                  </a:cubicBezTo>
                  <a:cubicBezTo>
                    <a:pt x="114" y="41"/>
                    <a:pt x="134" y="70"/>
                    <a:pt x="134" y="105"/>
                  </a:cubicBezTo>
                  <a:cubicBezTo>
                    <a:pt x="134" y="139"/>
                    <a:pt x="114" y="168"/>
                    <a:pt x="89" y="168"/>
                  </a:cubicBezTo>
                  <a:moveTo>
                    <a:pt x="89" y="0"/>
                  </a:moveTo>
                  <a:cubicBezTo>
                    <a:pt x="41" y="0"/>
                    <a:pt x="0" y="47"/>
                    <a:pt x="0" y="105"/>
                  </a:cubicBezTo>
                  <a:cubicBezTo>
                    <a:pt x="0" y="163"/>
                    <a:pt x="41" y="210"/>
                    <a:pt x="89" y="210"/>
                  </a:cubicBezTo>
                  <a:cubicBezTo>
                    <a:pt x="138" y="210"/>
                    <a:pt x="178" y="163"/>
                    <a:pt x="178" y="105"/>
                  </a:cubicBezTo>
                  <a:cubicBezTo>
                    <a:pt x="178" y="47"/>
                    <a:pt x="138" y="0"/>
                    <a:pt x="89"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8" name="Freeform 122">
              <a:extLst>
                <a:ext uri="{FF2B5EF4-FFF2-40B4-BE49-F238E27FC236}">
                  <a16:creationId xmlns:a16="http://schemas.microsoft.com/office/drawing/2014/main" id="{AB3B902A-727B-C84F-B4BE-27B88A1C1FC1}"/>
                </a:ext>
              </a:extLst>
            </p:cNvPr>
            <p:cNvSpPr>
              <a:spLocks/>
            </p:cNvSpPr>
            <p:nvPr/>
          </p:nvSpPr>
          <p:spPr bwMode="auto">
            <a:xfrm>
              <a:off x="7931151" y="2608263"/>
              <a:ext cx="68263" cy="60325"/>
            </a:xfrm>
            <a:custGeom>
              <a:avLst/>
              <a:gdLst>
                <a:gd name="T0" fmla="*/ 92 w 170"/>
                <a:gd name="T1" fmla="*/ 0 h 150"/>
                <a:gd name="T2" fmla="*/ 0 w 170"/>
                <a:gd name="T3" fmla="*/ 105 h 150"/>
                <a:gd name="T4" fmla="*/ 9 w 170"/>
                <a:gd name="T5" fmla="*/ 150 h 150"/>
                <a:gd name="T6" fmla="*/ 49 w 170"/>
                <a:gd name="T7" fmla="*/ 130 h 150"/>
                <a:gd name="T8" fmla="*/ 45 w 170"/>
                <a:gd name="T9" fmla="*/ 105 h 150"/>
                <a:gd name="T10" fmla="*/ 92 w 170"/>
                <a:gd name="T11" fmla="*/ 41 h 150"/>
                <a:gd name="T12" fmla="*/ 134 w 170"/>
                <a:gd name="T13" fmla="*/ 77 h 150"/>
                <a:gd name="T14" fmla="*/ 170 w 170"/>
                <a:gd name="T15" fmla="*/ 52 h 150"/>
                <a:gd name="T16" fmla="*/ 92 w 170"/>
                <a:gd name="T1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150">
                  <a:moveTo>
                    <a:pt x="92" y="0"/>
                  </a:moveTo>
                  <a:cubicBezTo>
                    <a:pt x="41" y="0"/>
                    <a:pt x="0" y="47"/>
                    <a:pt x="0" y="105"/>
                  </a:cubicBezTo>
                  <a:cubicBezTo>
                    <a:pt x="0" y="121"/>
                    <a:pt x="3" y="136"/>
                    <a:pt x="9" y="150"/>
                  </a:cubicBezTo>
                  <a:cubicBezTo>
                    <a:pt x="22" y="144"/>
                    <a:pt x="36" y="137"/>
                    <a:pt x="49" y="130"/>
                  </a:cubicBezTo>
                  <a:cubicBezTo>
                    <a:pt x="46" y="122"/>
                    <a:pt x="45" y="114"/>
                    <a:pt x="45" y="105"/>
                  </a:cubicBezTo>
                  <a:cubicBezTo>
                    <a:pt x="45" y="70"/>
                    <a:pt x="66" y="41"/>
                    <a:pt x="92" y="41"/>
                  </a:cubicBezTo>
                  <a:cubicBezTo>
                    <a:pt x="110" y="41"/>
                    <a:pt x="126" y="56"/>
                    <a:pt x="134" y="77"/>
                  </a:cubicBezTo>
                  <a:cubicBezTo>
                    <a:pt x="146" y="69"/>
                    <a:pt x="158" y="60"/>
                    <a:pt x="170" y="52"/>
                  </a:cubicBezTo>
                  <a:cubicBezTo>
                    <a:pt x="154" y="21"/>
                    <a:pt x="125" y="0"/>
                    <a:pt x="92" y="0"/>
                  </a:cubicBezTo>
                </a:path>
              </a:pathLst>
            </a:custGeom>
            <a:solidFill>
              <a:srgbClr val="046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19" name="Freeform 123">
              <a:extLst>
                <a:ext uri="{FF2B5EF4-FFF2-40B4-BE49-F238E27FC236}">
                  <a16:creationId xmlns:a16="http://schemas.microsoft.com/office/drawing/2014/main" id="{5BAB0C2E-0085-B547-B496-7794BC74E478}"/>
                </a:ext>
              </a:extLst>
            </p:cNvPr>
            <p:cNvSpPr>
              <a:spLocks/>
            </p:cNvSpPr>
            <p:nvPr/>
          </p:nvSpPr>
          <p:spPr bwMode="auto">
            <a:xfrm>
              <a:off x="7531101" y="2230438"/>
              <a:ext cx="484188" cy="341313"/>
            </a:xfrm>
            <a:custGeom>
              <a:avLst/>
              <a:gdLst>
                <a:gd name="T0" fmla="*/ 555 w 1205"/>
                <a:gd name="T1" fmla="*/ 827 h 846"/>
                <a:gd name="T2" fmla="*/ 52 w 1205"/>
                <a:gd name="T3" fmla="*/ 495 h 846"/>
                <a:gd name="T4" fmla="*/ 52 w 1205"/>
                <a:gd name="T5" fmla="*/ 351 h 846"/>
                <a:gd name="T6" fmla="*/ 555 w 1205"/>
                <a:gd name="T7" fmla="*/ 19 h 846"/>
                <a:gd name="T8" fmla="*/ 650 w 1205"/>
                <a:gd name="T9" fmla="*/ 19 h 846"/>
                <a:gd name="T10" fmla="*/ 1153 w 1205"/>
                <a:gd name="T11" fmla="*/ 351 h 846"/>
                <a:gd name="T12" fmla="*/ 1153 w 1205"/>
                <a:gd name="T13" fmla="*/ 495 h 846"/>
                <a:gd name="T14" fmla="*/ 650 w 1205"/>
                <a:gd name="T15" fmla="*/ 827 h 846"/>
                <a:gd name="T16" fmla="*/ 555 w 1205"/>
                <a:gd name="T17" fmla="*/ 827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846">
                  <a:moveTo>
                    <a:pt x="555" y="827"/>
                  </a:moveTo>
                  <a:cubicBezTo>
                    <a:pt x="52" y="495"/>
                    <a:pt x="52" y="495"/>
                    <a:pt x="52" y="495"/>
                  </a:cubicBezTo>
                  <a:cubicBezTo>
                    <a:pt x="0" y="461"/>
                    <a:pt x="0" y="385"/>
                    <a:pt x="52" y="351"/>
                  </a:cubicBezTo>
                  <a:cubicBezTo>
                    <a:pt x="555" y="19"/>
                    <a:pt x="555" y="19"/>
                    <a:pt x="555" y="19"/>
                  </a:cubicBezTo>
                  <a:cubicBezTo>
                    <a:pt x="584" y="0"/>
                    <a:pt x="621" y="0"/>
                    <a:pt x="650" y="19"/>
                  </a:cubicBezTo>
                  <a:cubicBezTo>
                    <a:pt x="1153" y="351"/>
                    <a:pt x="1153" y="351"/>
                    <a:pt x="1153" y="351"/>
                  </a:cubicBezTo>
                  <a:cubicBezTo>
                    <a:pt x="1205" y="385"/>
                    <a:pt x="1205" y="461"/>
                    <a:pt x="1153" y="495"/>
                  </a:cubicBezTo>
                  <a:cubicBezTo>
                    <a:pt x="650" y="827"/>
                    <a:pt x="650" y="827"/>
                    <a:pt x="650" y="827"/>
                  </a:cubicBezTo>
                  <a:cubicBezTo>
                    <a:pt x="621" y="846"/>
                    <a:pt x="584" y="846"/>
                    <a:pt x="555" y="827"/>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20" name="Freeform 124">
              <a:extLst>
                <a:ext uri="{FF2B5EF4-FFF2-40B4-BE49-F238E27FC236}">
                  <a16:creationId xmlns:a16="http://schemas.microsoft.com/office/drawing/2014/main" id="{B7BF5B7F-2848-274F-B647-1E3E72DEEE24}"/>
                </a:ext>
              </a:extLst>
            </p:cNvPr>
            <p:cNvSpPr>
              <a:spLocks/>
            </p:cNvSpPr>
            <p:nvPr/>
          </p:nvSpPr>
          <p:spPr bwMode="auto">
            <a:xfrm>
              <a:off x="7535863" y="2232025"/>
              <a:ext cx="474663" cy="338138"/>
            </a:xfrm>
            <a:custGeom>
              <a:avLst/>
              <a:gdLst>
                <a:gd name="T0" fmla="*/ 544 w 1183"/>
                <a:gd name="T1" fmla="*/ 824 h 840"/>
                <a:gd name="T2" fmla="*/ 545 w 1183"/>
                <a:gd name="T3" fmla="*/ 822 h 840"/>
                <a:gd name="T4" fmla="*/ 42 w 1183"/>
                <a:gd name="T5" fmla="*/ 491 h 840"/>
                <a:gd name="T6" fmla="*/ 4 w 1183"/>
                <a:gd name="T7" fmla="*/ 420 h 840"/>
                <a:gd name="T8" fmla="*/ 42 w 1183"/>
                <a:gd name="T9" fmla="*/ 349 h 840"/>
                <a:gd name="T10" fmla="*/ 545 w 1183"/>
                <a:gd name="T11" fmla="*/ 18 h 840"/>
                <a:gd name="T12" fmla="*/ 592 w 1183"/>
                <a:gd name="T13" fmla="*/ 4 h 840"/>
                <a:gd name="T14" fmla="*/ 638 w 1183"/>
                <a:gd name="T15" fmla="*/ 18 h 840"/>
                <a:gd name="T16" fmla="*/ 1141 w 1183"/>
                <a:gd name="T17" fmla="*/ 349 h 840"/>
                <a:gd name="T18" fmla="*/ 1179 w 1183"/>
                <a:gd name="T19" fmla="*/ 420 h 840"/>
                <a:gd name="T20" fmla="*/ 1141 w 1183"/>
                <a:gd name="T21" fmla="*/ 491 h 840"/>
                <a:gd name="T22" fmla="*/ 638 w 1183"/>
                <a:gd name="T23" fmla="*/ 822 h 840"/>
                <a:gd name="T24" fmla="*/ 592 w 1183"/>
                <a:gd name="T25" fmla="*/ 836 h 840"/>
                <a:gd name="T26" fmla="*/ 545 w 1183"/>
                <a:gd name="T27" fmla="*/ 822 h 840"/>
                <a:gd name="T28" fmla="*/ 544 w 1183"/>
                <a:gd name="T29" fmla="*/ 824 h 840"/>
                <a:gd name="T30" fmla="*/ 543 w 1183"/>
                <a:gd name="T31" fmla="*/ 825 h 840"/>
                <a:gd name="T32" fmla="*/ 592 w 1183"/>
                <a:gd name="T33" fmla="*/ 840 h 840"/>
                <a:gd name="T34" fmla="*/ 640 w 1183"/>
                <a:gd name="T35" fmla="*/ 825 h 840"/>
                <a:gd name="T36" fmla="*/ 1144 w 1183"/>
                <a:gd name="T37" fmla="*/ 494 h 840"/>
                <a:gd name="T38" fmla="*/ 1183 w 1183"/>
                <a:gd name="T39" fmla="*/ 420 h 840"/>
                <a:gd name="T40" fmla="*/ 1144 w 1183"/>
                <a:gd name="T41" fmla="*/ 346 h 840"/>
                <a:gd name="T42" fmla="*/ 640 w 1183"/>
                <a:gd name="T43" fmla="*/ 15 h 840"/>
                <a:gd name="T44" fmla="*/ 592 w 1183"/>
                <a:gd name="T45" fmla="*/ 0 h 840"/>
                <a:gd name="T46" fmla="*/ 543 w 1183"/>
                <a:gd name="T47" fmla="*/ 15 h 840"/>
                <a:gd name="T48" fmla="*/ 40 w 1183"/>
                <a:gd name="T49" fmla="*/ 346 h 840"/>
                <a:gd name="T50" fmla="*/ 0 w 1183"/>
                <a:gd name="T51" fmla="*/ 420 h 840"/>
                <a:gd name="T52" fmla="*/ 40 w 1183"/>
                <a:gd name="T53" fmla="*/ 494 h 840"/>
                <a:gd name="T54" fmla="*/ 543 w 1183"/>
                <a:gd name="T55" fmla="*/ 825 h 840"/>
                <a:gd name="T56" fmla="*/ 544 w 1183"/>
                <a:gd name="T57" fmla="*/ 824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3" h="840">
                  <a:moveTo>
                    <a:pt x="544" y="824"/>
                  </a:moveTo>
                  <a:cubicBezTo>
                    <a:pt x="545" y="822"/>
                    <a:pt x="545" y="822"/>
                    <a:pt x="545" y="822"/>
                  </a:cubicBezTo>
                  <a:cubicBezTo>
                    <a:pt x="42" y="491"/>
                    <a:pt x="42" y="491"/>
                    <a:pt x="42" y="491"/>
                  </a:cubicBezTo>
                  <a:cubicBezTo>
                    <a:pt x="17" y="474"/>
                    <a:pt x="4" y="447"/>
                    <a:pt x="4" y="420"/>
                  </a:cubicBezTo>
                  <a:cubicBezTo>
                    <a:pt x="4" y="393"/>
                    <a:pt x="17" y="366"/>
                    <a:pt x="42" y="349"/>
                  </a:cubicBezTo>
                  <a:cubicBezTo>
                    <a:pt x="545" y="18"/>
                    <a:pt x="545" y="18"/>
                    <a:pt x="545" y="18"/>
                  </a:cubicBezTo>
                  <a:cubicBezTo>
                    <a:pt x="559" y="9"/>
                    <a:pt x="575" y="4"/>
                    <a:pt x="592" y="4"/>
                  </a:cubicBezTo>
                  <a:cubicBezTo>
                    <a:pt x="608" y="4"/>
                    <a:pt x="624" y="9"/>
                    <a:pt x="638" y="18"/>
                  </a:cubicBezTo>
                  <a:cubicBezTo>
                    <a:pt x="1141" y="349"/>
                    <a:pt x="1141" y="349"/>
                    <a:pt x="1141" y="349"/>
                  </a:cubicBezTo>
                  <a:cubicBezTo>
                    <a:pt x="1167" y="366"/>
                    <a:pt x="1179" y="393"/>
                    <a:pt x="1179" y="420"/>
                  </a:cubicBezTo>
                  <a:cubicBezTo>
                    <a:pt x="1179" y="447"/>
                    <a:pt x="1167" y="474"/>
                    <a:pt x="1141" y="491"/>
                  </a:cubicBezTo>
                  <a:cubicBezTo>
                    <a:pt x="638" y="822"/>
                    <a:pt x="638" y="822"/>
                    <a:pt x="638" y="822"/>
                  </a:cubicBezTo>
                  <a:cubicBezTo>
                    <a:pt x="624" y="831"/>
                    <a:pt x="608" y="836"/>
                    <a:pt x="592" y="836"/>
                  </a:cubicBezTo>
                  <a:cubicBezTo>
                    <a:pt x="575" y="836"/>
                    <a:pt x="559" y="831"/>
                    <a:pt x="545" y="822"/>
                  </a:cubicBezTo>
                  <a:cubicBezTo>
                    <a:pt x="544" y="824"/>
                    <a:pt x="544" y="824"/>
                    <a:pt x="544" y="824"/>
                  </a:cubicBezTo>
                  <a:cubicBezTo>
                    <a:pt x="543" y="825"/>
                    <a:pt x="543" y="825"/>
                    <a:pt x="543" y="825"/>
                  </a:cubicBezTo>
                  <a:cubicBezTo>
                    <a:pt x="558" y="835"/>
                    <a:pt x="575" y="840"/>
                    <a:pt x="592" y="840"/>
                  </a:cubicBezTo>
                  <a:cubicBezTo>
                    <a:pt x="609" y="840"/>
                    <a:pt x="626" y="835"/>
                    <a:pt x="640" y="825"/>
                  </a:cubicBezTo>
                  <a:cubicBezTo>
                    <a:pt x="1144" y="494"/>
                    <a:pt x="1144" y="494"/>
                    <a:pt x="1144" y="494"/>
                  </a:cubicBezTo>
                  <a:cubicBezTo>
                    <a:pt x="1170" y="477"/>
                    <a:pt x="1183" y="448"/>
                    <a:pt x="1183" y="420"/>
                  </a:cubicBezTo>
                  <a:cubicBezTo>
                    <a:pt x="1183" y="392"/>
                    <a:pt x="1170" y="363"/>
                    <a:pt x="1144" y="346"/>
                  </a:cubicBezTo>
                  <a:cubicBezTo>
                    <a:pt x="640" y="15"/>
                    <a:pt x="640" y="15"/>
                    <a:pt x="640" y="15"/>
                  </a:cubicBezTo>
                  <a:cubicBezTo>
                    <a:pt x="626" y="5"/>
                    <a:pt x="609" y="0"/>
                    <a:pt x="592" y="0"/>
                  </a:cubicBezTo>
                  <a:cubicBezTo>
                    <a:pt x="575" y="0"/>
                    <a:pt x="558" y="5"/>
                    <a:pt x="543" y="15"/>
                  </a:cubicBezTo>
                  <a:cubicBezTo>
                    <a:pt x="40" y="346"/>
                    <a:pt x="40" y="346"/>
                    <a:pt x="40" y="346"/>
                  </a:cubicBezTo>
                  <a:cubicBezTo>
                    <a:pt x="13" y="363"/>
                    <a:pt x="0" y="392"/>
                    <a:pt x="0" y="420"/>
                  </a:cubicBezTo>
                  <a:cubicBezTo>
                    <a:pt x="0" y="448"/>
                    <a:pt x="13" y="477"/>
                    <a:pt x="40" y="494"/>
                  </a:cubicBezTo>
                  <a:cubicBezTo>
                    <a:pt x="543" y="825"/>
                    <a:pt x="543" y="825"/>
                    <a:pt x="543" y="825"/>
                  </a:cubicBezTo>
                  <a:lnTo>
                    <a:pt x="544" y="824"/>
                  </a:lnTo>
                  <a:close/>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21" name="Freeform 125">
              <a:extLst>
                <a:ext uri="{FF2B5EF4-FFF2-40B4-BE49-F238E27FC236}">
                  <a16:creationId xmlns:a16="http://schemas.microsoft.com/office/drawing/2014/main" id="{851D4C4B-D523-8C47-8904-E8CEBE680E08}"/>
                </a:ext>
              </a:extLst>
            </p:cNvPr>
            <p:cNvSpPr>
              <a:spLocks/>
            </p:cNvSpPr>
            <p:nvPr/>
          </p:nvSpPr>
          <p:spPr bwMode="auto">
            <a:xfrm>
              <a:off x="7531101" y="2160588"/>
              <a:ext cx="484188" cy="339725"/>
            </a:xfrm>
            <a:custGeom>
              <a:avLst/>
              <a:gdLst>
                <a:gd name="T0" fmla="*/ 555 w 1205"/>
                <a:gd name="T1" fmla="*/ 827 h 846"/>
                <a:gd name="T2" fmla="*/ 52 w 1205"/>
                <a:gd name="T3" fmla="*/ 495 h 846"/>
                <a:gd name="T4" fmla="*/ 52 w 1205"/>
                <a:gd name="T5" fmla="*/ 351 h 846"/>
                <a:gd name="T6" fmla="*/ 555 w 1205"/>
                <a:gd name="T7" fmla="*/ 19 h 846"/>
                <a:gd name="T8" fmla="*/ 650 w 1205"/>
                <a:gd name="T9" fmla="*/ 19 h 846"/>
                <a:gd name="T10" fmla="*/ 1153 w 1205"/>
                <a:gd name="T11" fmla="*/ 351 h 846"/>
                <a:gd name="T12" fmla="*/ 1153 w 1205"/>
                <a:gd name="T13" fmla="*/ 495 h 846"/>
                <a:gd name="T14" fmla="*/ 650 w 1205"/>
                <a:gd name="T15" fmla="*/ 827 h 846"/>
                <a:gd name="T16" fmla="*/ 555 w 1205"/>
                <a:gd name="T17" fmla="*/ 827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846">
                  <a:moveTo>
                    <a:pt x="555" y="827"/>
                  </a:moveTo>
                  <a:cubicBezTo>
                    <a:pt x="52" y="495"/>
                    <a:pt x="52" y="495"/>
                    <a:pt x="52" y="495"/>
                  </a:cubicBezTo>
                  <a:cubicBezTo>
                    <a:pt x="0" y="461"/>
                    <a:pt x="0" y="385"/>
                    <a:pt x="52" y="351"/>
                  </a:cubicBezTo>
                  <a:cubicBezTo>
                    <a:pt x="555" y="19"/>
                    <a:pt x="555" y="19"/>
                    <a:pt x="555" y="19"/>
                  </a:cubicBezTo>
                  <a:cubicBezTo>
                    <a:pt x="584" y="0"/>
                    <a:pt x="621" y="0"/>
                    <a:pt x="650" y="19"/>
                  </a:cubicBezTo>
                  <a:cubicBezTo>
                    <a:pt x="1153" y="351"/>
                    <a:pt x="1153" y="351"/>
                    <a:pt x="1153" y="351"/>
                  </a:cubicBezTo>
                  <a:cubicBezTo>
                    <a:pt x="1205" y="385"/>
                    <a:pt x="1205" y="461"/>
                    <a:pt x="1153" y="495"/>
                  </a:cubicBezTo>
                  <a:cubicBezTo>
                    <a:pt x="650" y="827"/>
                    <a:pt x="650" y="827"/>
                    <a:pt x="650" y="827"/>
                  </a:cubicBezTo>
                  <a:cubicBezTo>
                    <a:pt x="621" y="846"/>
                    <a:pt x="584" y="846"/>
                    <a:pt x="555" y="8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22" name="Freeform 126">
              <a:extLst>
                <a:ext uri="{FF2B5EF4-FFF2-40B4-BE49-F238E27FC236}">
                  <a16:creationId xmlns:a16="http://schemas.microsoft.com/office/drawing/2014/main" id="{F37831F2-9F3A-BC49-AC91-B65D13C3C4E8}"/>
                </a:ext>
              </a:extLst>
            </p:cNvPr>
            <p:cNvSpPr>
              <a:spLocks/>
            </p:cNvSpPr>
            <p:nvPr/>
          </p:nvSpPr>
          <p:spPr bwMode="auto">
            <a:xfrm>
              <a:off x="7535863" y="2160588"/>
              <a:ext cx="474663" cy="338138"/>
            </a:xfrm>
            <a:custGeom>
              <a:avLst/>
              <a:gdLst>
                <a:gd name="T0" fmla="*/ 544 w 1183"/>
                <a:gd name="T1" fmla="*/ 824 h 840"/>
                <a:gd name="T2" fmla="*/ 545 w 1183"/>
                <a:gd name="T3" fmla="*/ 822 h 840"/>
                <a:gd name="T4" fmla="*/ 42 w 1183"/>
                <a:gd name="T5" fmla="*/ 491 h 840"/>
                <a:gd name="T6" fmla="*/ 4 w 1183"/>
                <a:gd name="T7" fmla="*/ 420 h 840"/>
                <a:gd name="T8" fmla="*/ 42 w 1183"/>
                <a:gd name="T9" fmla="*/ 349 h 840"/>
                <a:gd name="T10" fmla="*/ 545 w 1183"/>
                <a:gd name="T11" fmla="*/ 18 h 840"/>
                <a:gd name="T12" fmla="*/ 592 w 1183"/>
                <a:gd name="T13" fmla="*/ 4 h 840"/>
                <a:gd name="T14" fmla="*/ 638 w 1183"/>
                <a:gd name="T15" fmla="*/ 18 h 840"/>
                <a:gd name="T16" fmla="*/ 1141 w 1183"/>
                <a:gd name="T17" fmla="*/ 349 h 840"/>
                <a:gd name="T18" fmla="*/ 1179 w 1183"/>
                <a:gd name="T19" fmla="*/ 420 h 840"/>
                <a:gd name="T20" fmla="*/ 1141 w 1183"/>
                <a:gd name="T21" fmla="*/ 491 h 840"/>
                <a:gd name="T22" fmla="*/ 638 w 1183"/>
                <a:gd name="T23" fmla="*/ 822 h 840"/>
                <a:gd name="T24" fmla="*/ 592 w 1183"/>
                <a:gd name="T25" fmla="*/ 836 h 840"/>
                <a:gd name="T26" fmla="*/ 545 w 1183"/>
                <a:gd name="T27" fmla="*/ 822 h 840"/>
                <a:gd name="T28" fmla="*/ 544 w 1183"/>
                <a:gd name="T29" fmla="*/ 824 h 840"/>
                <a:gd name="T30" fmla="*/ 543 w 1183"/>
                <a:gd name="T31" fmla="*/ 825 h 840"/>
                <a:gd name="T32" fmla="*/ 592 w 1183"/>
                <a:gd name="T33" fmla="*/ 840 h 840"/>
                <a:gd name="T34" fmla="*/ 640 w 1183"/>
                <a:gd name="T35" fmla="*/ 825 h 840"/>
                <a:gd name="T36" fmla="*/ 1144 w 1183"/>
                <a:gd name="T37" fmla="*/ 494 h 840"/>
                <a:gd name="T38" fmla="*/ 1183 w 1183"/>
                <a:gd name="T39" fmla="*/ 420 h 840"/>
                <a:gd name="T40" fmla="*/ 1144 w 1183"/>
                <a:gd name="T41" fmla="*/ 346 h 840"/>
                <a:gd name="T42" fmla="*/ 640 w 1183"/>
                <a:gd name="T43" fmla="*/ 15 h 840"/>
                <a:gd name="T44" fmla="*/ 592 w 1183"/>
                <a:gd name="T45" fmla="*/ 0 h 840"/>
                <a:gd name="T46" fmla="*/ 543 w 1183"/>
                <a:gd name="T47" fmla="*/ 15 h 840"/>
                <a:gd name="T48" fmla="*/ 40 w 1183"/>
                <a:gd name="T49" fmla="*/ 346 h 840"/>
                <a:gd name="T50" fmla="*/ 0 w 1183"/>
                <a:gd name="T51" fmla="*/ 420 h 840"/>
                <a:gd name="T52" fmla="*/ 40 w 1183"/>
                <a:gd name="T53" fmla="*/ 494 h 840"/>
                <a:gd name="T54" fmla="*/ 543 w 1183"/>
                <a:gd name="T55" fmla="*/ 825 h 840"/>
                <a:gd name="T56" fmla="*/ 544 w 1183"/>
                <a:gd name="T57" fmla="*/ 824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3" h="840">
                  <a:moveTo>
                    <a:pt x="544" y="824"/>
                  </a:moveTo>
                  <a:cubicBezTo>
                    <a:pt x="545" y="822"/>
                    <a:pt x="545" y="822"/>
                    <a:pt x="545" y="822"/>
                  </a:cubicBezTo>
                  <a:cubicBezTo>
                    <a:pt x="42" y="491"/>
                    <a:pt x="42" y="491"/>
                    <a:pt x="42" y="491"/>
                  </a:cubicBezTo>
                  <a:cubicBezTo>
                    <a:pt x="17" y="474"/>
                    <a:pt x="4" y="447"/>
                    <a:pt x="4" y="420"/>
                  </a:cubicBezTo>
                  <a:cubicBezTo>
                    <a:pt x="4" y="393"/>
                    <a:pt x="17" y="366"/>
                    <a:pt x="42" y="349"/>
                  </a:cubicBezTo>
                  <a:cubicBezTo>
                    <a:pt x="545" y="18"/>
                    <a:pt x="545" y="18"/>
                    <a:pt x="545" y="18"/>
                  </a:cubicBezTo>
                  <a:cubicBezTo>
                    <a:pt x="559" y="9"/>
                    <a:pt x="575" y="4"/>
                    <a:pt x="592" y="4"/>
                  </a:cubicBezTo>
                  <a:cubicBezTo>
                    <a:pt x="608" y="4"/>
                    <a:pt x="624" y="9"/>
                    <a:pt x="638" y="18"/>
                  </a:cubicBezTo>
                  <a:cubicBezTo>
                    <a:pt x="1141" y="349"/>
                    <a:pt x="1141" y="349"/>
                    <a:pt x="1141" y="349"/>
                  </a:cubicBezTo>
                  <a:cubicBezTo>
                    <a:pt x="1167" y="366"/>
                    <a:pt x="1179" y="393"/>
                    <a:pt x="1179" y="420"/>
                  </a:cubicBezTo>
                  <a:cubicBezTo>
                    <a:pt x="1179" y="447"/>
                    <a:pt x="1167" y="474"/>
                    <a:pt x="1141" y="491"/>
                  </a:cubicBezTo>
                  <a:cubicBezTo>
                    <a:pt x="638" y="822"/>
                    <a:pt x="638" y="822"/>
                    <a:pt x="638" y="822"/>
                  </a:cubicBezTo>
                  <a:cubicBezTo>
                    <a:pt x="624" y="831"/>
                    <a:pt x="608" y="836"/>
                    <a:pt x="592" y="836"/>
                  </a:cubicBezTo>
                  <a:cubicBezTo>
                    <a:pt x="575" y="836"/>
                    <a:pt x="559" y="831"/>
                    <a:pt x="545" y="822"/>
                  </a:cubicBezTo>
                  <a:cubicBezTo>
                    <a:pt x="544" y="824"/>
                    <a:pt x="544" y="824"/>
                    <a:pt x="544" y="824"/>
                  </a:cubicBezTo>
                  <a:cubicBezTo>
                    <a:pt x="543" y="825"/>
                    <a:pt x="543" y="825"/>
                    <a:pt x="543" y="825"/>
                  </a:cubicBezTo>
                  <a:cubicBezTo>
                    <a:pt x="558" y="835"/>
                    <a:pt x="575" y="840"/>
                    <a:pt x="592" y="840"/>
                  </a:cubicBezTo>
                  <a:cubicBezTo>
                    <a:pt x="609" y="840"/>
                    <a:pt x="626" y="835"/>
                    <a:pt x="640" y="825"/>
                  </a:cubicBezTo>
                  <a:cubicBezTo>
                    <a:pt x="1144" y="494"/>
                    <a:pt x="1144" y="494"/>
                    <a:pt x="1144" y="494"/>
                  </a:cubicBezTo>
                  <a:cubicBezTo>
                    <a:pt x="1170" y="477"/>
                    <a:pt x="1183" y="448"/>
                    <a:pt x="1183" y="420"/>
                  </a:cubicBezTo>
                  <a:cubicBezTo>
                    <a:pt x="1183" y="392"/>
                    <a:pt x="1170" y="363"/>
                    <a:pt x="1144" y="346"/>
                  </a:cubicBezTo>
                  <a:cubicBezTo>
                    <a:pt x="640" y="15"/>
                    <a:pt x="640" y="15"/>
                    <a:pt x="640" y="15"/>
                  </a:cubicBezTo>
                  <a:cubicBezTo>
                    <a:pt x="626" y="5"/>
                    <a:pt x="609" y="0"/>
                    <a:pt x="592" y="0"/>
                  </a:cubicBezTo>
                  <a:cubicBezTo>
                    <a:pt x="575" y="0"/>
                    <a:pt x="558" y="5"/>
                    <a:pt x="543" y="15"/>
                  </a:cubicBezTo>
                  <a:cubicBezTo>
                    <a:pt x="40" y="346"/>
                    <a:pt x="40" y="346"/>
                    <a:pt x="40" y="346"/>
                  </a:cubicBezTo>
                  <a:cubicBezTo>
                    <a:pt x="13" y="363"/>
                    <a:pt x="0" y="392"/>
                    <a:pt x="0" y="420"/>
                  </a:cubicBezTo>
                  <a:cubicBezTo>
                    <a:pt x="0" y="448"/>
                    <a:pt x="13" y="477"/>
                    <a:pt x="40" y="494"/>
                  </a:cubicBezTo>
                  <a:cubicBezTo>
                    <a:pt x="543" y="825"/>
                    <a:pt x="543" y="825"/>
                    <a:pt x="543" y="825"/>
                  </a:cubicBezTo>
                  <a:lnTo>
                    <a:pt x="544" y="824"/>
                  </a:lnTo>
                  <a:close/>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23" name="Freeform 127">
              <a:extLst>
                <a:ext uri="{FF2B5EF4-FFF2-40B4-BE49-F238E27FC236}">
                  <a16:creationId xmlns:a16="http://schemas.microsoft.com/office/drawing/2014/main" id="{5DB57B90-1BF4-3846-8E12-F52E0ED231AD}"/>
                </a:ext>
              </a:extLst>
            </p:cNvPr>
            <p:cNvSpPr>
              <a:spLocks/>
            </p:cNvSpPr>
            <p:nvPr/>
          </p:nvSpPr>
          <p:spPr bwMode="auto">
            <a:xfrm>
              <a:off x="7531101" y="2089150"/>
              <a:ext cx="484188" cy="339725"/>
            </a:xfrm>
            <a:custGeom>
              <a:avLst/>
              <a:gdLst>
                <a:gd name="T0" fmla="*/ 555 w 1205"/>
                <a:gd name="T1" fmla="*/ 827 h 846"/>
                <a:gd name="T2" fmla="*/ 52 w 1205"/>
                <a:gd name="T3" fmla="*/ 495 h 846"/>
                <a:gd name="T4" fmla="*/ 52 w 1205"/>
                <a:gd name="T5" fmla="*/ 350 h 846"/>
                <a:gd name="T6" fmla="*/ 555 w 1205"/>
                <a:gd name="T7" fmla="*/ 19 h 846"/>
                <a:gd name="T8" fmla="*/ 650 w 1205"/>
                <a:gd name="T9" fmla="*/ 19 h 846"/>
                <a:gd name="T10" fmla="*/ 1153 w 1205"/>
                <a:gd name="T11" fmla="*/ 350 h 846"/>
                <a:gd name="T12" fmla="*/ 1153 w 1205"/>
                <a:gd name="T13" fmla="*/ 495 h 846"/>
                <a:gd name="T14" fmla="*/ 650 w 1205"/>
                <a:gd name="T15" fmla="*/ 827 h 846"/>
                <a:gd name="T16" fmla="*/ 555 w 1205"/>
                <a:gd name="T17" fmla="*/ 827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846">
                  <a:moveTo>
                    <a:pt x="555" y="827"/>
                  </a:moveTo>
                  <a:cubicBezTo>
                    <a:pt x="52" y="495"/>
                    <a:pt x="52" y="495"/>
                    <a:pt x="52" y="495"/>
                  </a:cubicBezTo>
                  <a:cubicBezTo>
                    <a:pt x="0" y="461"/>
                    <a:pt x="0" y="385"/>
                    <a:pt x="52" y="350"/>
                  </a:cubicBezTo>
                  <a:cubicBezTo>
                    <a:pt x="555" y="19"/>
                    <a:pt x="555" y="19"/>
                    <a:pt x="555" y="19"/>
                  </a:cubicBezTo>
                  <a:cubicBezTo>
                    <a:pt x="584" y="0"/>
                    <a:pt x="621" y="0"/>
                    <a:pt x="650" y="19"/>
                  </a:cubicBezTo>
                  <a:cubicBezTo>
                    <a:pt x="1153" y="350"/>
                    <a:pt x="1153" y="350"/>
                    <a:pt x="1153" y="350"/>
                  </a:cubicBezTo>
                  <a:cubicBezTo>
                    <a:pt x="1205" y="385"/>
                    <a:pt x="1205" y="461"/>
                    <a:pt x="1153" y="495"/>
                  </a:cubicBezTo>
                  <a:cubicBezTo>
                    <a:pt x="650" y="827"/>
                    <a:pt x="650" y="827"/>
                    <a:pt x="650" y="827"/>
                  </a:cubicBezTo>
                  <a:cubicBezTo>
                    <a:pt x="621" y="846"/>
                    <a:pt x="584" y="846"/>
                    <a:pt x="555" y="827"/>
                  </a:cubicBezTo>
                  <a:close/>
                </a:path>
              </a:pathLst>
            </a:custGeom>
            <a:solidFill>
              <a:srgbClr val="6F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24" name="Freeform 128">
              <a:extLst>
                <a:ext uri="{FF2B5EF4-FFF2-40B4-BE49-F238E27FC236}">
                  <a16:creationId xmlns:a16="http://schemas.microsoft.com/office/drawing/2014/main" id="{CFF73521-686D-CD40-A8A7-2191703C38FD}"/>
                </a:ext>
              </a:extLst>
            </p:cNvPr>
            <p:cNvSpPr>
              <a:spLocks/>
            </p:cNvSpPr>
            <p:nvPr/>
          </p:nvSpPr>
          <p:spPr bwMode="auto">
            <a:xfrm>
              <a:off x="7535863" y="2090738"/>
              <a:ext cx="474663" cy="338138"/>
            </a:xfrm>
            <a:custGeom>
              <a:avLst/>
              <a:gdLst>
                <a:gd name="T0" fmla="*/ 544 w 1183"/>
                <a:gd name="T1" fmla="*/ 824 h 840"/>
                <a:gd name="T2" fmla="*/ 545 w 1183"/>
                <a:gd name="T3" fmla="*/ 822 h 840"/>
                <a:gd name="T4" fmla="*/ 42 w 1183"/>
                <a:gd name="T5" fmla="*/ 491 h 840"/>
                <a:gd name="T6" fmla="*/ 4 w 1183"/>
                <a:gd name="T7" fmla="*/ 420 h 840"/>
                <a:gd name="T8" fmla="*/ 42 w 1183"/>
                <a:gd name="T9" fmla="*/ 349 h 840"/>
                <a:gd name="T10" fmla="*/ 545 w 1183"/>
                <a:gd name="T11" fmla="*/ 18 h 840"/>
                <a:gd name="T12" fmla="*/ 592 w 1183"/>
                <a:gd name="T13" fmla="*/ 4 h 840"/>
                <a:gd name="T14" fmla="*/ 638 w 1183"/>
                <a:gd name="T15" fmla="*/ 18 h 840"/>
                <a:gd name="T16" fmla="*/ 1141 w 1183"/>
                <a:gd name="T17" fmla="*/ 349 h 840"/>
                <a:gd name="T18" fmla="*/ 1179 w 1183"/>
                <a:gd name="T19" fmla="*/ 420 h 840"/>
                <a:gd name="T20" fmla="*/ 1141 w 1183"/>
                <a:gd name="T21" fmla="*/ 491 h 840"/>
                <a:gd name="T22" fmla="*/ 638 w 1183"/>
                <a:gd name="T23" fmla="*/ 822 h 840"/>
                <a:gd name="T24" fmla="*/ 592 w 1183"/>
                <a:gd name="T25" fmla="*/ 836 h 840"/>
                <a:gd name="T26" fmla="*/ 545 w 1183"/>
                <a:gd name="T27" fmla="*/ 822 h 840"/>
                <a:gd name="T28" fmla="*/ 544 w 1183"/>
                <a:gd name="T29" fmla="*/ 824 h 840"/>
                <a:gd name="T30" fmla="*/ 543 w 1183"/>
                <a:gd name="T31" fmla="*/ 825 h 840"/>
                <a:gd name="T32" fmla="*/ 592 w 1183"/>
                <a:gd name="T33" fmla="*/ 840 h 840"/>
                <a:gd name="T34" fmla="*/ 640 w 1183"/>
                <a:gd name="T35" fmla="*/ 825 h 840"/>
                <a:gd name="T36" fmla="*/ 1144 w 1183"/>
                <a:gd name="T37" fmla="*/ 494 h 840"/>
                <a:gd name="T38" fmla="*/ 1183 w 1183"/>
                <a:gd name="T39" fmla="*/ 420 h 840"/>
                <a:gd name="T40" fmla="*/ 1144 w 1183"/>
                <a:gd name="T41" fmla="*/ 346 h 840"/>
                <a:gd name="T42" fmla="*/ 640 w 1183"/>
                <a:gd name="T43" fmla="*/ 15 h 840"/>
                <a:gd name="T44" fmla="*/ 592 w 1183"/>
                <a:gd name="T45" fmla="*/ 0 h 840"/>
                <a:gd name="T46" fmla="*/ 543 w 1183"/>
                <a:gd name="T47" fmla="*/ 15 h 840"/>
                <a:gd name="T48" fmla="*/ 40 w 1183"/>
                <a:gd name="T49" fmla="*/ 346 h 840"/>
                <a:gd name="T50" fmla="*/ 0 w 1183"/>
                <a:gd name="T51" fmla="*/ 420 h 840"/>
                <a:gd name="T52" fmla="*/ 40 w 1183"/>
                <a:gd name="T53" fmla="*/ 494 h 840"/>
                <a:gd name="T54" fmla="*/ 543 w 1183"/>
                <a:gd name="T55" fmla="*/ 825 h 840"/>
                <a:gd name="T56" fmla="*/ 544 w 1183"/>
                <a:gd name="T57" fmla="*/ 824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3" h="840">
                  <a:moveTo>
                    <a:pt x="544" y="824"/>
                  </a:moveTo>
                  <a:cubicBezTo>
                    <a:pt x="545" y="822"/>
                    <a:pt x="545" y="822"/>
                    <a:pt x="545" y="822"/>
                  </a:cubicBezTo>
                  <a:cubicBezTo>
                    <a:pt x="42" y="491"/>
                    <a:pt x="42" y="491"/>
                    <a:pt x="42" y="491"/>
                  </a:cubicBezTo>
                  <a:cubicBezTo>
                    <a:pt x="17" y="474"/>
                    <a:pt x="4" y="447"/>
                    <a:pt x="4" y="420"/>
                  </a:cubicBezTo>
                  <a:cubicBezTo>
                    <a:pt x="4" y="393"/>
                    <a:pt x="17" y="366"/>
                    <a:pt x="42" y="349"/>
                  </a:cubicBezTo>
                  <a:cubicBezTo>
                    <a:pt x="545" y="18"/>
                    <a:pt x="545" y="18"/>
                    <a:pt x="545" y="18"/>
                  </a:cubicBezTo>
                  <a:cubicBezTo>
                    <a:pt x="559" y="9"/>
                    <a:pt x="575" y="4"/>
                    <a:pt x="592" y="4"/>
                  </a:cubicBezTo>
                  <a:cubicBezTo>
                    <a:pt x="608" y="4"/>
                    <a:pt x="624" y="9"/>
                    <a:pt x="638" y="18"/>
                  </a:cubicBezTo>
                  <a:cubicBezTo>
                    <a:pt x="1141" y="349"/>
                    <a:pt x="1141" y="349"/>
                    <a:pt x="1141" y="349"/>
                  </a:cubicBezTo>
                  <a:cubicBezTo>
                    <a:pt x="1167" y="366"/>
                    <a:pt x="1179" y="393"/>
                    <a:pt x="1179" y="420"/>
                  </a:cubicBezTo>
                  <a:cubicBezTo>
                    <a:pt x="1179" y="447"/>
                    <a:pt x="1167" y="474"/>
                    <a:pt x="1141" y="491"/>
                  </a:cubicBezTo>
                  <a:cubicBezTo>
                    <a:pt x="638" y="822"/>
                    <a:pt x="638" y="822"/>
                    <a:pt x="638" y="822"/>
                  </a:cubicBezTo>
                  <a:cubicBezTo>
                    <a:pt x="624" y="831"/>
                    <a:pt x="608" y="836"/>
                    <a:pt x="592" y="836"/>
                  </a:cubicBezTo>
                  <a:cubicBezTo>
                    <a:pt x="575" y="836"/>
                    <a:pt x="559" y="831"/>
                    <a:pt x="545" y="822"/>
                  </a:cubicBezTo>
                  <a:cubicBezTo>
                    <a:pt x="544" y="824"/>
                    <a:pt x="544" y="824"/>
                    <a:pt x="544" y="824"/>
                  </a:cubicBezTo>
                  <a:cubicBezTo>
                    <a:pt x="543" y="825"/>
                    <a:pt x="543" y="825"/>
                    <a:pt x="543" y="825"/>
                  </a:cubicBezTo>
                  <a:cubicBezTo>
                    <a:pt x="558" y="835"/>
                    <a:pt x="575" y="840"/>
                    <a:pt x="592" y="840"/>
                  </a:cubicBezTo>
                  <a:cubicBezTo>
                    <a:pt x="609" y="840"/>
                    <a:pt x="626" y="835"/>
                    <a:pt x="640" y="825"/>
                  </a:cubicBezTo>
                  <a:cubicBezTo>
                    <a:pt x="1144" y="494"/>
                    <a:pt x="1144" y="494"/>
                    <a:pt x="1144" y="494"/>
                  </a:cubicBezTo>
                  <a:cubicBezTo>
                    <a:pt x="1170" y="476"/>
                    <a:pt x="1183" y="448"/>
                    <a:pt x="1183" y="420"/>
                  </a:cubicBezTo>
                  <a:cubicBezTo>
                    <a:pt x="1183" y="392"/>
                    <a:pt x="1170" y="363"/>
                    <a:pt x="1144" y="346"/>
                  </a:cubicBezTo>
                  <a:cubicBezTo>
                    <a:pt x="640" y="15"/>
                    <a:pt x="640" y="15"/>
                    <a:pt x="640" y="15"/>
                  </a:cubicBezTo>
                  <a:cubicBezTo>
                    <a:pt x="626" y="5"/>
                    <a:pt x="609" y="0"/>
                    <a:pt x="592" y="0"/>
                  </a:cubicBezTo>
                  <a:cubicBezTo>
                    <a:pt x="575" y="0"/>
                    <a:pt x="558" y="5"/>
                    <a:pt x="543" y="15"/>
                  </a:cubicBezTo>
                  <a:cubicBezTo>
                    <a:pt x="40" y="346"/>
                    <a:pt x="40" y="346"/>
                    <a:pt x="40" y="346"/>
                  </a:cubicBezTo>
                  <a:cubicBezTo>
                    <a:pt x="13" y="363"/>
                    <a:pt x="0" y="392"/>
                    <a:pt x="0" y="420"/>
                  </a:cubicBezTo>
                  <a:cubicBezTo>
                    <a:pt x="0" y="448"/>
                    <a:pt x="13" y="476"/>
                    <a:pt x="40" y="494"/>
                  </a:cubicBezTo>
                  <a:cubicBezTo>
                    <a:pt x="543" y="825"/>
                    <a:pt x="543" y="825"/>
                    <a:pt x="543" y="825"/>
                  </a:cubicBezTo>
                  <a:lnTo>
                    <a:pt x="544" y="824"/>
                  </a:lnTo>
                  <a:close/>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25" name="Freeform 129">
              <a:extLst>
                <a:ext uri="{FF2B5EF4-FFF2-40B4-BE49-F238E27FC236}">
                  <a16:creationId xmlns:a16="http://schemas.microsoft.com/office/drawing/2014/main" id="{6677E9DE-47E1-9C49-AF95-1C65A4C1BFF7}"/>
                </a:ext>
              </a:extLst>
            </p:cNvPr>
            <p:cNvSpPr>
              <a:spLocks/>
            </p:cNvSpPr>
            <p:nvPr/>
          </p:nvSpPr>
          <p:spPr bwMode="auto">
            <a:xfrm>
              <a:off x="7507288" y="2062163"/>
              <a:ext cx="531813" cy="536575"/>
            </a:xfrm>
            <a:custGeom>
              <a:avLst/>
              <a:gdLst>
                <a:gd name="T0" fmla="*/ 662 w 1323"/>
                <a:gd name="T1" fmla="*/ 1332 h 1332"/>
                <a:gd name="T2" fmla="*/ 574 w 1323"/>
                <a:gd name="T3" fmla="*/ 1306 h 1332"/>
                <a:gd name="T4" fmla="*/ 71 w 1323"/>
                <a:gd name="T5" fmla="*/ 975 h 1332"/>
                <a:gd name="T6" fmla="*/ 0 w 1323"/>
                <a:gd name="T7" fmla="*/ 842 h 1332"/>
                <a:gd name="T8" fmla="*/ 27 w 1323"/>
                <a:gd name="T9" fmla="*/ 754 h 1332"/>
                <a:gd name="T10" fmla="*/ 0 w 1323"/>
                <a:gd name="T11" fmla="*/ 666 h 1332"/>
                <a:gd name="T12" fmla="*/ 27 w 1323"/>
                <a:gd name="T13" fmla="*/ 578 h 1332"/>
                <a:gd name="T14" fmla="*/ 0 w 1323"/>
                <a:gd name="T15" fmla="*/ 490 h 1332"/>
                <a:gd name="T16" fmla="*/ 71 w 1323"/>
                <a:gd name="T17" fmla="*/ 357 h 1332"/>
                <a:gd name="T18" fmla="*/ 574 w 1323"/>
                <a:gd name="T19" fmla="*/ 26 h 1332"/>
                <a:gd name="T20" fmla="*/ 662 w 1323"/>
                <a:gd name="T21" fmla="*/ 0 h 1332"/>
                <a:gd name="T22" fmla="*/ 749 w 1323"/>
                <a:gd name="T23" fmla="*/ 26 h 1332"/>
                <a:gd name="T24" fmla="*/ 1252 w 1323"/>
                <a:gd name="T25" fmla="*/ 357 h 1332"/>
                <a:gd name="T26" fmla="*/ 1323 w 1323"/>
                <a:gd name="T27" fmla="*/ 490 h 1332"/>
                <a:gd name="T28" fmla="*/ 1297 w 1323"/>
                <a:gd name="T29" fmla="*/ 578 h 1332"/>
                <a:gd name="T30" fmla="*/ 1323 w 1323"/>
                <a:gd name="T31" fmla="*/ 666 h 1332"/>
                <a:gd name="T32" fmla="*/ 1297 w 1323"/>
                <a:gd name="T33" fmla="*/ 754 h 1332"/>
                <a:gd name="T34" fmla="*/ 1323 w 1323"/>
                <a:gd name="T35" fmla="*/ 842 h 1332"/>
                <a:gd name="T36" fmla="*/ 1252 w 1323"/>
                <a:gd name="T37" fmla="*/ 975 h 1332"/>
                <a:gd name="T38" fmla="*/ 749 w 1323"/>
                <a:gd name="T39" fmla="*/ 1306 h 1332"/>
                <a:gd name="T40" fmla="*/ 662 w 1323"/>
                <a:gd name="T41" fmla="*/ 1332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23" h="1332">
                  <a:moveTo>
                    <a:pt x="662" y="1332"/>
                  </a:moveTo>
                  <a:cubicBezTo>
                    <a:pt x="631" y="1332"/>
                    <a:pt x="600" y="1323"/>
                    <a:pt x="574" y="1306"/>
                  </a:cubicBezTo>
                  <a:cubicBezTo>
                    <a:pt x="71" y="975"/>
                    <a:pt x="71" y="975"/>
                    <a:pt x="71" y="975"/>
                  </a:cubicBezTo>
                  <a:cubicBezTo>
                    <a:pt x="27" y="945"/>
                    <a:pt x="0" y="896"/>
                    <a:pt x="0" y="842"/>
                  </a:cubicBezTo>
                  <a:cubicBezTo>
                    <a:pt x="0" y="810"/>
                    <a:pt x="9" y="780"/>
                    <a:pt x="27" y="754"/>
                  </a:cubicBezTo>
                  <a:cubicBezTo>
                    <a:pt x="9" y="728"/>
                    <a:pt x="0" y="698"/>
                    <a:pt x="0" y="666"/>
                  </a:cubicBezTo>
                  <a:cubicBezTo>
                    <a:pt x="0" y="634"/>
                    <a:pt x="9" y="604"/>
                    <a:pt x="27" y="578"/>
                  </a:cubicBezTo>
                  <a:cubicBezTo>
                    <a:pt x="9" y="552"/>
                    <a:pt x="0" y="522"/>
                    <a:pt x="0" y="490"/>
                  </a:cubicBezTo>
                  <a:cubicBezTo>
                    <a:pt x="0" y="436"/>
                    <a:pt x="27" y="387"/>
                    <a:pt x="71" y="357"/>
                  </a:cubicBezTo>
                  <a:cubicBezTo>
                    <a:pt x="574" y="26"/>
                    <a:pt x="574" y="26"/>
                    <a:pt x="574" y="26"/>
                  </a:cubicBezTo>
                  <a:cubicBezTo>
                    <a:pt x="600" y="9"/>
                    <a:pt x="631" y="0"/>
                    <a:pt x="662" y="0"/>
                  </a:cubicBezTo>
                  <a:cubicBezTo>
                    <a:pt x="693" y="0"/>
                    <a:pt x="723" y="9"/>
                    <a:pt x="749" y="26"/>
                  </a:cubicBezTo>
                  <a:cubicBezTo>
                    <a:pt x="1252" y="357"/>
                    <a:pt x="1252" y="357"/>
                    <a:pt x="1252" y="357"/>
                  </a:cubicBezTo>
                  <a:cubicBezTo>
                    <a:pt x="1297" y="387"/>
                    <a:pt x="1323" y="436"/>
                    <a:pt x="1323" y="490"/>
                  </a:cubicBezTo>
                  <a:cubicBezTo>
                    <a:pt x="1323" y="522"/>
                    <a:pt x="1314" y="552"/>
                    <a:pt x="1297" y="578"/>
                  </a:cubicBezTo>
                  <a:cubicBezTo>
                    <a:pt x="1314" y="604"/>
                    <a:pt x="1323" y="634"/>
                    <a:pt x="1323" y="666"/>
                  </a:cubicBezTo>
                  <a:cubicBezTo>
                    <a:pt x="1323" y="698"/>
                    <a:pt x="1314" y="728"/>
                    <a:pt x="1297" y="754"/>
                  </a:cubicBezTo>
                  <a:cubicBezTo>
                    <a:pt x="1314" y="780"/>
                    <a:pt x="1323" y="810"/>
                    <a:pt x="1323" y="842"/>
                  </a:cubicBezTo>
                  <a:cubicBezTo>
                    <a:pt x="1323" y="896"/>
                    <a:pt x="1297" y="945"/>
                    <a:pt x="1252" y="975"/>
                  </a:cubicBezTo>
                  <a:cubicBezTo>
                    <a:pt x="749" y="1306"/>
                    <a:pt x="749" y="1306"/>
                    <a:pt x="749" y="1306"/>
                  </a:cubicBezTo>
                  <a:cubicBezTo>
                    <a:pt x="723" y="1323"/>
                    <a:pt x="693" y="1332"/>
                    <a:pt x="662" y="1332"/>
                  </a:cubicBezTo>
                  <a:close/>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26" name="Freeform 130">
              <a:extLst>
                <a:ext uri="{FF2B5EF4-FFF2-40B4-BE49-F238E27FC236}">
                  <a16:creationId xmlns:a16="http://schemas.microsoft.com/office/drawing/2014/main" id="{B5FC58C7-6E9E-2E41-93DD-E1C78904BB2F}"/>
                </a:ext>
              </a:extLst>
            </p:cNvPr>
            <p:cNvSpPr>
              <a:spLocks/>
            </p:cNvSpPr>
            <p:nvPr/>
          </p:nvSpPr>
          <p:spPr bwMode="auto">
            <a:xfrm>
              <a:off x="7531101" y="2230438"/>
              <a:ext cx="484188" cy="341313"/>
            </a:xfrm>
            <a:custGeom>
              <a:avLst/>
              <a:gdLst>
                <a:gd name="T0" fmla="*/ 555 w 1205"/>
                <a:gd name="T1" fmla="*/ 827 h 846"/>
                <a:gd name="T2" fmla="*/ 52 w 1205"/>
                <a:gd name="T3" fmla="*/ 495 h 846"/>
                <a:gd name="T4" fmla="*/ 52 w 1205"/>
                <a:gd name="T5" fmla="*/ 351 h 846"/>
                <a:gd name="T6" fmla="*/ 555 w 1205"/>
                <a:gd name="T7" fmla="*/ 19 h 846"/>
                <a:gd name="T8" fmla="*/ 650 w 1205"/>
                <a:gd name="T9" fmla="*/ 19 h 846"/>
                <a:gd name="T10" fmla="*/ 1153 w 1205"/>
                <a:gd name="T11" fmla="*/ 351 h 846"/>
                <a:gd name="T12" fmla="*/ 1153 w 1205"/>
                <a:gd name="T13" fmla="*/ 495 h 846"/>
                <a:gd name="T14" fmla="*/ 650 w 1205"/>
                <a:gd name="T15" fmla="*/ 827 h 846"/>
                <a:gd name="T16" fmla="*/ 555 w 1205"/>
                <a:gd name="T17" fmla="*/ 827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846">
                  <a:moveTo>
                    <a:pt x="555" y="827"/>
                  </a:moveTo>
                  <a:cubicBezTo>
                    <a:pt x="52" y="495"/>
                    <a:pt x="52" y="495"/>
                    <a:pt x="52" y="495"/>
                  </a:cubicBezTo>
                  <a:cubicBezTo>
                    <a:pt x="0" y="461"/>
                    <a:pt x="0" y="385"/>
                    <a:pt x="52" y="351"/>
                  </a:cubicBezTo>
                  <a:cubicBezTo>
                    <a:pt x="555" y="19"/>
                    <a:pt x="555" y="19"/>
                    <a:pt x="555" y="19"/>
                  </a:cubicBezTo>
                  <a:cubicBezTo>
                    <a:pt x="584" y="0"/>
                    <a:pt x="621" y="0"/>
                    <a:pt x="650" y="19"/>
                  </a:cubicBezTo>
                  <a:cubicBezTo>
                    <a:pt x="1153" y="351"/>
                    <a:pt x="1153" y="351"/>
                    <a:pt x="1153" y="351"/>
                  </a:cubicBezTo>
                  <a:cubicBezTo>
                    <a:pt x="1205" y="385"/>
                    <a:pt x="1205" y="461"/>
                    <a:pt x="1153" y="495"/>
                  </a:cubicBezTo>
                  <a:cubicBezTo>
                    <a:pt x="650" y="827"/>
                    <a:pt x="650" y="827"/>
                    <a:pt x="650" y="827"/>
                  </a:cubicBezTo>
                  <a:cubicBezTo>
                    <a:pt x="621" y="846"/>
                    <a:pt x="584" y="846"/>
                    <a:pt x="555" y="827"/>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27" name="Freeform 131">
              <a:extLst>
                <a:ext uri="{FF2B5EF4-FFF2-40B4-BE49-F238E27FC236}">
                  <a16:creationId xmlns:a16="http://schemas.microsoft.com/office/drawing/2014/main" id="{8C6629EB-123E-CD42-A947-8E5E2DF15400}"/>
                </a:ext>
              </a:extLst>
            </p:cNvPr>
            <p:cNvSpPr>
              <a:spLocks/>
            </p:cNvSpPr>
            <p:nvPr/>
          </p:nvSpPr>
          <p:spPr bwMode="auto">
            <a:xfrm>
              <a:off x="7531101" y="2160588"/>
              <a:ext cx="484188" cy="339725"/>
            </a:xfrm>
            <a:custGeom>
              <a:avLst/>
              <a:gdLst>
                <a:gd name="T0" fmla="*/ 555 w 1205"/>
                <a:gd name="T1" fmla="*/ 827 h 846"/>
                <a:gd name="T2" fmla="*/ 52 w 1205"/>
                <a:gd name="T3" fmla="*/ 495 h 846"/>
                <a:gd name="T4" fmla="*/ 52 w 1205"/>
                <a:gd name="T5" fmla="*/ 351 h 846"/>
                <a:gd name="T6" fmla="*/ 555 w 1205"/>
                <a:gd name="T7" fmla="*/ 19 h 846"/>
                <a:gd name="T8" fmla="*/ 650 w 1205"/>
                <a:gd name="T9" fmla="*/ 19 h 846"/>
                <a:gd name="T10" fmla="*/ 1153 w 1205"/>
                <a:gd name="T11" fmla="*/ 351 h 846"/>
                <a:gd name="T12" fmla="*/ 1153 w 1205"/>
                <a:gd name="T13" fmla="*/ 495 h 846"/>
                <a:gd name="T14" fmla="*/ 650 w 1205"/>
                <a:gd name="T15" fmla="*/ 827 h 846"/>
                <a:gd name="T16" fmla="*/ 555 w 1205"/>
                <a:gd name="T17" fmla="*/ 827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846">
                  <a:moveTo>
                    <a:pt x="555" y="827"/>
                  </a:moveTo>
                  <a:cubicBezTo>
                    <a:pt x="52" y="495"/>
                    <a:pt x="52" y="495"/>
                    <a:pt x="52" y="495"/>
                  </a:cubicBezTo>
                  <a:cubicBezTo>
                    <a:pt x="0" y="461"/>
                    <a:pt x="0" y="385"/>
                    <a:pt x="52" y="351"/>
                  </a:cubicBezTo>
                  <a:cubicBezTo>
                    <a:pt x="555" y="19"/>
                    <a:pt x="555" y="19"/>
                    <a:pt x="555" y="19"/>
                  </a:cubicBezTo>
                  <a:cubicBezTo>
                    <a:pt x="584" y="0"/>
                    <a:pt x="621" y="0"/>
                    <a:pt x="650" y="19"/>
                  </a:cubicBezTo>
                  <a:cubicBezTo>
                    <a:pt x="1153" y="351"/>
                    <a:pt x="1153" y="351"/>
                    <a:pt x="1153" y="351"/>
                  </a:cubicBezTo>
                  <a:cubicBezTo>
                    <a:pt x="1205" y="385"/>
                    <a:pt x="1205" y="461"/>
                    <a:pt x="1153" y="495"/>
                  </a:cubicBezTo>
                  <a:cubicBezTo>
                    <a:pt x="650" y="827"/>
                    <a:pt x="650" y="827"/>
                    <a:pt x="650" y="827"/>
                  </a:cubicBezTo>
                  <a:cubicBezTo>
                    <a:pt x="621" y="846"/>
                    <a:pt x="584" y="846"/>
                    <a:pt x="555" y="8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28" name="Freeform 132">
              <a:extLst>
                <a:ext uri="{FF2B5EF4-FFF2-40B4-BE49-F238E27FC236}">
                  <a16:creationId xmlns:a16="http://schemas.microsoft.com/office/drawing/2014/main" id="{DAED9681-CCB2-744C-BACD-3B71653FB0ED}"/>
                </a:ext>
              </a:extLst>
            </p:cNvPr>
            <p:cNvSpPr>
              <a:spLocks/>
            </p:cNvSpPr>
            <p:nvPr/>
          </p:nvSpPr>
          <p:spPr bwMode="auto">
            <a:xfrm>
              <a:off x="7531101" y="2089150"/>
              <a:ext cx="484188" cy="339725"/>
            </a:xfrm>
            <a:custGeom>
              <a:avLst/>
              <a:gdLst>
                <a:gd name="T0" fmla="*/ 555 w 1205"/>
                <a:gd name="T1" fmla="*/ 827 h 846"/>
                <a:gd name="T2" fmla="*/ 52 w 1205"/>
                <a:gd name="T3" fmla="*/ 495 h 846"/>
                <a:gd name="T4" fmla="*/ 52 w 1205"/>
                <a:gd name="T5" fmla="*/ 350 h 846"/>
                <a:gd name="T6" fmla="*/ 555 w 1205"/>
                <a:gd name="T7" fmla="*/ 19 h 846"/>
                <a:gd name="T8" fmla="*/ 650 w 1205"/>
                <a:gd name="T9" fmla="*/ 19 h 846"/>
                <a:gd name="T10" fmla="*/ 1153 w 1205"/>
                <a:gd name="T11" fmla="*/ 350 h 846"/>
                <a:gd name="T12" fmla="*/ 1153 w 1205"/>
                <a:gd name="T13" fmla="*/ 495 h 846"/>
                <a:gd name="T14" fmla="*/ 650 w 1205"/>
                <a:gd name="T15" fmla="*/ 827 h 846"/>
                <a:gd name="T16" fmla="*/ 555 w 1205"/>
                <a:gd name="T17" fmla="*/ 827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846">
                  <a:moveTo>
                    <a:pt x="555" y="827"/>
                  </a:moveTo>
                  <a:cubicBezTo>
                    <a:pt x="52" y="495"/>
                    <a:pt x="52" y="495"/>
                    <a:pt x="52" y="495"/>
                  </a:cubicBezTo>
                  <a:cubicBezTo>
                    <a:pt x="0" y="461"/>
                    <a:pt x="0" y="385"/>
                    <a:pt x="52" y="350"/>
                  </a:cubicBezTo>
                  <a:cubicBezTo>
                    <a:pt x="555" y="19"/>
                    <a:pt x="555" y="19"/>
                    <a:pt x="555" y="19"/>
                  </a:cubicBezTo>
                  <a:cubicBezTo>
                    <a:pt x="584" y="0"/>
                    <a:pt x="621" y="0"/>
                    <a:pt x="650" y="19"/>
                  </a:cubicBezTo>
                  <a:cubicBezTo>
                    <a:pt x="1153" y="350"/>
                    <a:pt x="1153" y="350"/>
                    <a:pt x="1153" y="350"/>
                  </a:cubicBezTo>
                  <a:cubicBezTo>
                    <a:pt x="1205" y="385"/>
                    <a:pt x="1205" y="461"/>
                    <a:pt x="1153" y="495"/>
                  </a:cubicBezTo>
                  <a:cubicBezTo>
                    <a:pt x="650" y="827"/>
                    <a:pt x="650" y="827"/>
                    <a:pt x="650" y="827"/>
                  </a:cubicBezTo>
                  <a:cubicBezTo>
                    <a:pt x="621" y="846"/>
                    <a:pt x="584" y="846"/>
                    <a:pt x="555" y="827"/>
                  </a:cubicBezTo>
                  <a:close/>
                </a:path>
              </a:pathLst>
            </a:custGeom>
            <a:solidFill>
              <a:srgbClr val="6F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sp>
        <p:nvSpPr>
          <p:cNvPr id="250" name="Shape 827">
            <a:extLst>
              <a:ext uri="{FF2B5EF4-FFF2-40B4-BE49-F238E27FC236}">
                <a16:creationId xmlns:a16="http://schemas.microsoft.com/office/drawing/2014/main" id="{8B10B8BE-6512-FF4D-982A-798A841DF7B7}"/>
              </a:ext>
            </a:extLst>
          </p:cNvPr>
          <p:cNvSpPr txBox="1"/>
          <p:nvPr/>
        </p:nvSpPr>
        <p:spPr>
          <a:xfrm>
            <a:off x="5036743" y="3165520"/>
            <a:ext cx="2475889" cy="416400"/>
          </a:xfrm>
          <a:prstGeom prst="rect">
            <a:avLst/>
          </a:prstGeom>
          <a:noFill/>
          <a:ln>
            <a:noFill/>
          </a:ln>
        </p:spPr>
        <p:txBody>
          <a:bodyPr spcFirstLastPara="1" wrap="square" lIns="91425" tIns="91425" rIns="91425" bIns="91425" anchor="ctr" anchorCtr="0">
            <a:noAutofit/>
          </a:bodyPr>
          <a:lstStyle/>
          <a:p>
            <a:pPr algn="ctr"/>
            <a:r>
              <a:rPr lang="en-US" sz="1200" dirty="0">
                <a:latin typeface="CiscoSansTT Light" panose="020B0503020201020303" pitchFamily="34" charset="0"/>
                <a:ea typeface="Calibri" charset="0"/>
                <a:cs typeface="CiscoSansTT Light" panose="020B0503020201020303" pitchFamily="34" charset="0"/>
                <a:sym typeface="Oxygen"/>
              </a:rPr>
              <a:t>Data Gateway</a:t>
            </a:r>
          </a:p>
          <a:p>
            <a:pPr algn="ctr"/>
            <a:r>
              <a:rPr lang="en-US" sz="825" dirty="0">
                <a:solidFill>
                  <a:schemeClr val="accent4"/>
                </a:solidFill>
                <a:latin typeface="CiscoSansTT Light" panose="020B0503020201020303" pitchFamily="34" charset="0"/>
                <a:ea typeface="Calibri" charset="0"/>
                <a:cs typeface="CiscoSansTT Light" panose="020B0503020201020303" pitchFamily="34" charset="0"/>
                <a:sym typeface="Oxygen"/>
              </a:rPr>
              <a:t>collect once for all apps. Zero touch telemetry</a:t>
            </a:r>
            <a:endParaRPr sz="825" dirty="0">
              <a:solidFill>
                <a:schemeClr val="accent4"/>
              </a:solidFill>
              <a:latin typeface="CiscoSansTT Light" panose="020B0503020201020303" pitchFamily="34" charset="0"/>
              <a:ea typeface="Calibri" charset="0"/>
              <a:cs typeface="CiscoSansTT Light" panose="020B0503020201020303" pitchFamily="34" charset="0"/>
              <a:sym typeface="Oxygen"/>
            </a:endParaRPr>
          </a:p>
        </p:txBody>
      </p:sp>
      <p:grpSp>
        <p:nvGrpSpPr>
          <p:cNvPr id="832" name="Group 831">
            <a:extLst>
              <a:ext uri="{FF2B5EF4-FFF2-40B4-BE49-F238E27FC236}">
                <a16:creationId xmlns:a16="http://schemas.microsoft.com/office/drawing/2014/main" id="{5DB72836-118A-F849-93A3-9155F1AE3835}"/>
              </a:ext>
            </a:extLst>
          </p:cNvPr>
          <p:cNvGrpSpPr>
            <a:grpSpLocks noChangeAspect="1"/>
          </p:cNvGrpSpPr>
          <p:nvPr/>
        </p:nvGrpSpPr>
        <p:grpSpPr>
          <a:xfrm>
            <a:off x="7499085" y="913601"/>
            <a:ext cx="343626" cy="342900"/>
            <a:chOff x="7354888" y="768350"/>
            <a:chExt cx="750887" cy="749300"/>
          </a:xfrm>
        </p:grpSpPr>
        <p:sp>
          <p:nvSpPr>
            <p:cNvPr id="833" name="Oval 136">
              <a:extLst>
                <a:ext uri="{FF2B5EF4-FFF2-40B4-BE49-F238E27FC236}">
                  <a16:creationId xmlns:a16="http://schemas.microsoft.com/office/drawing/2014/main" id="{AD18A20C-2DEC-8648-B943-471346307EDC}"/>
                </a:ext>
              </a:extLst>
            </p:cNvPr>
            <p:cNvSpPr>
              <a:spLocks noChangeArrowheads="1"/>
            </p:cNvSpPr>
            <p:nvPr/>
          </p:nvSpPr>
          <p:spPr bwMode="auto">
            <a:xfrm>
              <a:off x="7354888" y="768350"/>
              <a:ext cx="750887" cy="749300"/>
            </a:xfrm>
            <a:prstGeom prst="ellipse">
              <a:avLst/>
            </a:pr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34" name="Freeform 137">
              <a:extLst>
                <a:ext uri="{FF2B5EF4-FFF2-40B4-BE49-F238E27FC236}">
                  <a16:creationId xmlns:a16="http://schemas.microsoft.com/office/drawing/2014/main" id="{5AE65E95-4DB6-0F42-84EF-C3D72B0F8F4C}"/>
                </a:ext>
              </a:extLst>
            </p:cNvPr>
            <p:cNvSpPr>
              <a:spLocks/>
            </p:cNvSpPr>
            <p:nvPr/>
          </p:nvSpPr>
          <p:spPr bwMode="auto">
            <a:xfrm>
              <a:off x="7699375" y="1317625"/>
              <a:ext cx="223837" cy="200025"/>
            </a:xfrm>
            <a:custGeom>
              <a:avLst/>
              <a:gdLst>
                <a:gd name="T0" fmla="*/ 404 w 557"/>
                <a:gd name="T1" fmla="*/ 0 h 498"/>
                <a:gd name="T2" fmla="*/ 153 w 557"/>
                <a:gd name="T3" fmla="*/ 0 h 498"/>
                <a:gd name="T4" fmla="*/ 0 w 557"/>
                <a:gd name="T5" fmla="*/ 153 h 498"/>
                <a:gd name="T6" fmla="*/ 0 w 557"/>
                <a:gd name="T7" fmla="*/ 495 h 498"/>
                <a:gd name="T8" fmla="*/ 77 w 557"/>
                <a:gd name="T9" fmla="*/ 498 h 498"/>
                <a:gd name="T10" fmla="*/ 557 w 557"/>
                <a:gd name="T11" fmla="*/ 365 h 498"/>
                <a:gd name="T12" fmla="*/ 557 w 557"/>
                <a:gd name="T13" fmla="*/ 153 h 498"/>
                <a:gd name="T14" fmla="*/ 404 w 557"/>
                <a:gd name="T15" fmla="*/ 0 h 4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7" h="498">
                  <a:moveTo>
                    <a:pt x="404" y="0"/>
                  </a:moveTo>
                  <a:cubicBezTo>
                    <a:pt x="153" y="0"/>
                    <a:pt x="153" y="0"/>
                    <a:pt x="153" y="0"/>
                  </a:cubicBezTo>
                  <a:cubicBezTo>
                    <a:pt x="69" y="0"/>
                    <a:pt x="0" y="69"/>
                    <a:pt x="0" y="153"/>
                  </a:cubicBezTo>
                  <a:cubicBezTo>
                    <a:pt x="0" y="495"/>
                    <a:pt x="0" y="495"/>
                    <a:pt x="0" y="495"/>
                  </a:cubicBezTo>
                  <a:cubicBezTo>
                    <a:pt x="25" y="497"/>
                    <a:pt x="51" y="498"/>
                    <a:pt x="77" y="498"/>
                  </a:cubicBezTo>
                  <a:cubicBezTo>
                    <a:pt x="252" y="498"/>
                    <a:pt x="417" y="450"/>
                    <a:pt x="557" y="365"/>
                  </a:cubicBezTo>
                  <a:cubicBezTo>
                    <a:pt x="557" y="153"/>
                    <a:pt x="557" y="153"/>
                    <a:pt x="557" y="153"/>
                  </a:cubicBezTo>
                  <a:cubicBezTo>
                    <a:pt x="557" y="69"/>
                    <a:pt x="489" y="0"/>
                    <a:pt x="404" y="0"/>
                  </a:cubicBezTo>
                  <a:close/>
                </a:path>
              </a:pathLst>
            </a:custGeom>
            <a:solidFill>
              <a:srgbClr val="6F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35" name="Oval 138">
              <a:extLst>
                <a:ext uri="{FF2B5EF4-FFF2-40B4-BE49-F238E27FC236}">
                  <a16:creationId xmlns:a16="http://schemas.microsoft.com/office/drawing/2014/main" id="{201EA0B1-7ADA-7E41-BF02-2E477328E8B3}"/>
                </a:ext>
              </a:extLst>
            </p:cNvPr>
            <p:cNvSpPr>
              <a:spLocks noChangeArrowheads="1"/>
            </p:cNvSpPr>
            <p:nvPr/>
          </p:nvSpPr>
          <p:spPr bwMode="auto">
            <a:xfrm>
              <a:off x="7743825" y="1147763"/>
              <a:ext cx="134937" cy="136525"/>
            </a:xfrm>
            <a:prstGeom prst="ellipse">
              <a:avLst/>
            </a:prstGeom>
            <a:solidFill>
              <a:srgbClr val="6F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36" name="Line 139">
              <a:extLst>
                <a:ext uri="{FF2B5EF4-FFF2-40B4-BE49-F238E27FC236}">
                  <a16:creationId xmlns:a16="http://schemas.microsoft.com/office/drawing/2014/main" id="{6D9712E4-5567-8342-9BAD-24F252692741}"/>
                </a:ext>
              </a:extLst>
            </p:cNvPr>
            <p:cNvSpPr>
              <a:spLocks noChangeShapeType="1"/>
            </p:cNvSpPr>
            <p:nvPr/>
          </p:nvSpPr>
          <p:spPr bwMode="auto">
            <a:xfrm>
              <a:off x="7807325" y="1041400"/>
              <a:ext cx="155575" cy="0"/>
            </a:xfrm>
            <a:prstGeom prst="line">
              <a:avLst/>
            </a:prstGeom>
            <a:noFill/>
            <a:ln w="46038" cap="rnd">
              <a:solidFill>
                <a:srgbClr val="6FBF4A"/>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a:p>
          </p:txBody>
        </p:sp>
        <p:sp>
          <p:nvSpPr>
            <p:cNvPr id="837" name="Freeform 140">
              <a:extLst>
                <a:ext uri="{FF2B5EF4-FFF2-40B4-BE49-F238E27FC236}">
                  <a16:creationId xmlns:a16="http://schemas.microsoft.com/office/drawing/2014/main" id="{A78E6787-B562-254A-8AFB-BD30CC622A87}"/>
                </a:ext>
              </a:extLst>
            </p:cNvPr>
            <p:cNvSpPr>
              <a:spLocks/>
            </p:cNvSpPr>
            <p:nvPr/>
          </p:nvSpPr>
          <p:spPr bwMode="auto">
            <a:xfrm>
              <a:off x="7934325" y="974725"/>
              <a:ext cx="65087" cy="133350"/>
            </a:xfrm>
            <a:custGeom>
              <a:avLst/>
              <a:gdLst>
                <a:gd name="T0" fmla="*/ 0 w 41"/>
                <a:gd name="T1" fmla="*/ 0 h 84"/>
                <a:gd name="T2" fmla="*/ 41 w 41"/>
                <a:gd name="T3" fmla="*/ 42 h 84"/>
                <a:gd name="T4" fmla="*/ 0 w 41"/>
                <a:gd name="T5" fmla="*/ 84 h 84"/>
              </a:gdLst>
              <a:ahLst/>
              <a:cxnLst>
                <a:cxn ang="0">
                  <a:pos x="T0" y="T1"/>
                </a:cxn>
                <a:cxn ang="0">
                  <a:pos x="T2" y="T3"/>
                </a:cxn>
                <a:cxn ang="0">
                  <a:pos x="T4" y="T5"/>
                </a:cxn>
              </a:cxnLst>
              <a:rect l="0" t="0" r="r" b="b"/>
              <a:pathLst>
                <a:path w="41" h="84">
                  <a:moveTo>
                    <a:pt x="0" y="0"/>
                  </a:moveTo>
                  <a:lnTo>
                    <a:pt x="41" y="42"/>
                  </a:lnTo>
                  <a:lnTo>
                    <a:pt x="0" y="84"/>
                  </a:lnTo>
                </a:path>
              </a:pathLst>
            </a:custGeom>
            <a:noFill/>
            <a:ln w="46038" cap="rnd">
              <a:solidFill>
                <a:srgbClr val="6FBF4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a:p>
          </p:txBody>
        </p:sp>
        <p:sp>
          <p:nvSpPr>
            <p:cNvPr id="838" name="Line 141">
              <a:extLst>
                <a:ext uri="{FF2B5EF4-FFF2-40B4-BE49-F238E27FC236}">
                  <a16:creationId xmlns:a16="http://schemas.microsoft.com/office/drawing/2014/main" id="{38DC1585-F85C-EA40-AFE5-57831B381610}"/>
                </a:ext>
              </a:extLst>
            </p:cNvPr>
            <p:cNvSpPr>
              <a:spLocks noChangeShapeType="1"/>
            </p:cNvSpPr>
            <p:nvPr/>
          </p:nvSpPr>
          <p:spPr bwMode="auto">
            <a:xfrm flipH="1">
              <a:off x="7693025" y="949325"/>
              <a:ext cx="152400" cy="0"/>
            </a:xfrm>
            <a:prstGeom prst="line">
              <a:avLst/>
            </a:prstGeom>
            <a:noFill/>
            <a:ln w="46038" cap="rnd">
              <a:solidFill>
                <a:srgbClr val="FBAB1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a:p>
          </p:txBody>
        </p:sp>
        <p:sp>
          <p:nvSpPr>
            <p:cNvPr id="839" name="Freeform 142">
              <a:extLst>
                <a:ext uri="{FF2B5EF4-FFF2-40B4-BE49-F238E27FC236}">
                  <a16:creationId xmlns:a16="http://schemas.microsoft.com/office/drawing/2014/main" id="{440CC1D4-50D6-ED41-94D3-B75FD07A4347}"/>
                </a:ext>
              </a:extLst>
            </p:cNvPr>
            <p:cNvSpPr>
              <a:spLocks/>
            </p:cNvSpPr>
            <p:nvPr/>
          </p:nvSpPr>
          <p:spPr bwMode="auto">
            <a:xfrm>
              <a:off x="7654925" y="884238"/>
              <a:ext cx="66675" cy="131763"/>
            </a:xfrm>
            <a:custGeom>
              <a:avLst/>
              <a:gdLst>
                <a:gd name="T0" fmla="*/ 42 w 42"/>
                <a:gd name="T1" fmla="*/ 83 h 83"/>
                <a:gd name="T2" fmla="*/ 0 w 42"/>
                <a:gd name="T3" fmla="*/ 41 h 83"/>
                <a:gd name="T4" fmla="*/ 42 w 42"/>
                <a:gd name="T5" fmla="*/ 0 h 83"/>
              </a:gdLst>
              <a:ahLst/>
              <a:cxnLst>
                <a:cxn ang="0">
                  <a:pos x="T0" y="T1"/>
                </a:cxn>
                <a:cxn ang="0">
                  <a:pos x="T2" y="T3"/>
                </a:cxn>
                <a:cxn ang="0">
                  <a:pos x="T4" y="T5"/>
                </a:cxn>
              </a:cxnLst>
              <a:rect l="0" t="0" r="r" b="b"/>
              <a:pathLst>
                <a:path w="42" h="83">
                  <a:moveTo>
                    <a:pt x="42" y="83"/>
                  </a:moveTo>
                  <a:lnTo>
                    <a:pt x="0" y="41"/>
                  </a:lnTo>
                  <a:lnTo>
                    <a:pt x="42" y="0"/>
                  </a:lnTo>
                </a:path>
              </a:pathLst>
            </a:custGeom>
            <a:noFill/>
            <a:ln w="46038" cap="rnd">
              <a:solidFill>
                <a:srgbClr val="FBAB1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a:p>
          </p:txBody>
        </p:sp>
        <p:sp>
          <p:nvSpPr>
            <p:cNvPr id="840" name="Freeform 143">
              <a:extLst>
                <a:ext uri="{FF2B5EF4-FFF2-40B4-BE49-F238E27FC236}">
                  <a16:creationId xmlns:a16="http://schemas.microsoft.com/office/drawing/2014/main" id="{FB0202E0-6FA7-D94B-9CD6-D47F808E8E3E}"/>
                </a:ext>
              </a:extLst>
            </p:cNvPr>
            <p:cNvSpPr>
              <a:spLocks/>
            </p:cNvSpPr>
            <p:nvPr/>
          </p:nvSpPr>
          <p:spPr bwMode="auto">
            <a:xfrm>
              <a:off x="7459663" y="1254125"/>
              <a:ext cx="279400" cy="263525"/>
            </a:xfrm>
            <a:custGeom>
              <a:avLst/>
              <a:gdLst>
                <a:gd name="T0" fmla="*/ 540 w 693"/>
                <a:gd name="T1" fmla="*/ 0 h 654"/>
                <a:gd name="T2" fmla="*/ 153 w 693"/>
                <a:gd name="T3" fmla="*/ 0 h 654"/>
                <a:gd name="T4" fmla="*/ 0 w 693"/>
                <a:gd name="T5" fmla="*/ 153 h 654"/>
                <a:gd name="T6" fmla="*/ 0 w 693"/>
                <a:gd name="T7" fmla="*/ 367 h 654"/>
                <a:gd name="T8" fmla="*/ 673 w 693"/>
                <a:gd name="T9" fmla="*/ 654 h 654"/>
                <a:gd name="T10" fmla="*/ 693 w 693"/>
                <a:gd name="T11" fmla="*/ 654 h 654"/>
                <a:gd name="T12" fmla="*/ 693 w 693"/>
                <a:gd name="T13" fmla="*/ 153 h 654"/>
                <a:gd name="T14" fmla="*/ 540 w 693"/>
                <a:gd name="T15" fmla="*/ 0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3" h="654">
                  <a:moveTo>
                    <a:pt x="540" y="0"/>
                  </a:moveTo>
                  <a:cubicBezTo>
                    <a:pt x="153" y="0"/>
                    <a:pt x="153" y="0"/>
                    <a:pt x="153" y="0"/>
                  </a:cubicBezTo>
                  <a:cubicBezTo>
                    <a:pt x="69" y="0"/>
                    <a:pt x="0" y="69"/>
                    <a:pt x="0" y="153"/>
                  </a:cubicBezTo>
                  <a:cubicBezTo>
                    <a:pt x="0" y="367"/>
                    <a:pt x="0" y="367"/>
                    <a:pt x="0" y="367"/>
                  </a:cubicBezTo>
                  <a:cubicBezTo>
                    <a:pt x="170" y="544"/>
                    <a:pt x="408" y="654"/>
                    <a:pt x="673" y="654"/>
                  </a:cubicBezTo>
                  <a:cubicBezTo>
                    <a:pt x="680" y="654"/>
                    <a:pt x="686" y="654"/>
                    <a:pt x="693" y="654"/>
                  </a:cubicBezTo>
                  <a:cubicBezTo>
                    <a:pt x="693" y="153"/>
                    <a:pt x="693" y="153"/>
                    <a:pt x="693" y="153"/>
                  </a:cubicBezTo>
                  <a:cubicBezTo>
                    <a:pt x="693" y="69"/>
                    <a:pt x="625" y="0"/>
                    <a:pt x="54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41" name="Oval 144">
              <a:extLst>
                <a:ext uri="{FF2B5EF4-FFF2-40B4-BE49-F238E27FC236}">
                  <a16:creationId xmlns:a16="http://schemas.microsoft.com/office/drawing/2014/main" id="{80EF7827-B16E-114E-A252-645B94ACC84B}"/>
                </a:ext>
              </a:extLst>
            </p:cNvPr>
            <p:cNvSpPr>
              <a:spLocks noChangeArrowheads="1"/>
            </p:cNvSpPr>
            <p:nvPr/>
          </p:nvSpPr>
          <p:spPr bwMode="auto">
            <a:xfrm>
              <a:off x="7515225" y="1044575"/>
              <a:ext cx="168275" cy="168275"/>
            </a:xfrm>
            <a:prstGeom prst="ellipse">
              <a:avLst/>
            </a:pr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pic>
        <p:nvPicPr>
          <p:cNvPr id="842" name="Picture 841">
            <a:extLst>
              <a:ext uri="{FF2B5EF4-FFF2-40B4-BE49-F238E27FC236}">
                <a16:creationId xmlns:a16="http://schemas.microsoft.com/office/drawing/2014/main" id="{57F0890A-703F-E642-BB05-C1C3FE5DC1E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09125" y="1051873"/>
            <a:ext cx="342900" cy="342900"/>
          </a:xfrm>
          <a:prstGeom prst="rect">
            <a:avLst/>
          </a:prstGeom>
          <a:ln>
            <a:noFill/>
          </a:ln>
        </p:spPr>
      </p:pic>
      <p:cxnSp>
        <p:nvCxnSpPr>
          <p:cNvPr id="41" name="Straight Arrow Connector 40">
            <a:extLst>
              <a:ext uri="{FF2B5EF4-FFF2-40B4-BE49-F238E27FC236}">
                <a16:creationId xmlns:a16="http://schemas.microsoft.com/office/drawing/2014/main" id="{5E2DAFA8-257E-2645-8E57-45E83F459C1D}"/>
              </a:ext>
            </a:extLst>
          </p:cNvPr>
          <p:cNvCxnSpPr>
            <a:cxnSpLocks/>
          </p:cNvCxnSpPr>
          <p:nvPr/>
        </p:nvCxnSpPr>
        <p:spPr>
          <a:xfrm flipV="1">
            <a:off x="7441177" y="3461660"/>
            <a:ext cx="1188371" cy="5583"/>
          </a:xfrm>
          <a:prstGeom prst="straightConnector1">
            <a:avLst/>
          </a:prstGeom>
          <a:ln w="25400">
            <a:solidFill>
              <a:schemeClr val="accent4">
                <a:lumMod val="20000"/>
                <a:lumOff val="8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43" name="Straight Arrow Connector 842">
            <a:extLst>
              <a:ext uri="{FF2B5EF4-FFF2-40B4-BE49-F238E27FC236}">
                <a16:creationId xmlns:a16="http://schemas.microsoft.com/office/drawing/2014/main" id="{0B9E1F91-0284-AC49-9594-ED94CC29D738}"/>
              </a:ext>
            </a:extLst>
          </p:cNvPr>
          <p:cNvCxnSpPr>
            <a:cxnSpLocks/>
          </p:cNvCxnSpPr>
          <p:nvPr/>
        </p:nvCxnSpPr>
        <p:spPr>
          <a:xfrm>
            <a:off x="8629548" y="1855796"/>
            <a:ext cx="0" cy="1605864"/>
          </a:xfrm>
          <a:prstGeom prst="straightConnector1">
            <a:avLst/>
          </a:prstGeom>
          <a:ln w="25400">
            <a:solidFill>
              <a:schemeClr val="accent4">
                <a:lumMod val="20000"/>
                <a:lumOff val="8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616" name="Shape 820">
            <a:extLst>
              <a:ext uri="{FF2B5EF4-FFF2-40B4-BE49-F238E27FC236}">
                <a16:creationId xmlns:a16="http://schemas.microsoft.com/office/drawing/2014/main" id="{93C565F6-B9FA-904F-9A6B-632CA04E29EC}"/>
              </a:ext>
            </a:extLst>
          </p:cNvPr>
          <p:cNvSpPr txBox="1"/>
          <p:nvPr/>
        </p:nvSpPr>
        <p:spPr>
          <a:xfrm>
            <a:off x="8180300" y="2422817"/>
            <a:ext cx="898496" cy="557480"/>
          </a:xfrm>
          <a:prstGeom prst="rect">
            <a:avLst/>
          </a:prstGeom>
          <a:solidFill>
            <a:schemeClr val="bg2"/>
          </a:solidFill>
          <a:ln>
            <a:noFill/>
          </a:ln>
        </p:spPr>
        <p:txBody>
          <a:bodyPr spcFirstLastPara="1" wrap="square" lIns="91425" tIns="91425" rIns="91425" bIns="91425" anchor="t" anchorCtr="0">
            <a:noAutofit/>
          </a:bodyPr>
          <a:lstStyle/>
          <a:p>
            <a:r>
              <a:rPr lang="en-US" sz="825" dirty="0">
                <a:solidFill>
                  <a:schemeClr val="accent4"/>
                </a:solidFill>
                <a:latin typeface="CiscoSansTT Light" panose="020B0503020201020303" pitchFamily="34" charset="0"/>
                <a:ea typeface="Calibri" charset="0"/>
                <a:cs typeface="CiscoSansTT Light" panose="020B0503020201020303" pitchFamily="34" charset="0"/>
                <a:sym typeface="Oxygen"/>
              </a:rPr>
              <a:t>collection of data from Data Gateway </a:t>
            </a:r>
            <a:endParaRPr sz="825" dirty="0">
              <a:solidFill>
                <a:schemeClr val="accent4"/>
              </a:solidFill>
              <a:latin typeface="CiscoSansTT Light" panose="020B0503020201020303" pitchFamily="34" charset="0"/>
              <a:ea typeface="Calibri" charset="0"/>
              <a:cs typeface="CiscoSansTT Light" panose="020B0503020201020303" pitchFamily="34" charset="0"/>
              <a:sym typeface="Oxygen"/>
            </a:endParaRPr>
          </a:p>
        </p:txBody>
      </p:sp>
      <p:cxnSp>
        <p:nvCxnSpPr>
          <p:cNvPr id="47" name="Straight Arrow Connector 46">
            <a:extLst>
              <a:ext uri="{FF2B5EF4-FFF2-40B4-BE49-F238E27FC236}">
                <a16:creationId xmlns:a16="http://schemas.microsoft.com/office/drawing/2014/main" id="{FCF99A93-2233-3249-B9AE-BC558DF14345}"/>
              </a:ext>
            </a:extLst>
          </p:cNvPr>
          <p:cNvCxnSpPr/>
          <p:nvPr/>
        </p:nvCxnSpPr>
        <p:spPr>
          <a:xfrm>
            <a:off x="292473" y="2862656"/>
            <a:ext cx="0" cy="465249"/>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1" name="Straight Arrow Connector 850">
            <a:extLst>
              <a:ext uri="{FF2B5EF4-FFF2-40B4-BE49-F238E27FC236}">
                <a16:creationId xmlns:a16="http://schemas.microsoft.com/office/drawing/2014/main" id="{47B7A3D6-F403-9044-A9D3-861E528B3228}"/>
              </a:ext>
            </a:extLst>
          </p:cNvPr>
          <p:cNvCxnSpPr/>
          <p:nvPr/>
        </p:nvCxnSpPr>
        <p:spPr>
          <a:xfrm>
            <a:off x="7938840" y="2829601"/>
            <a:ext cx="0" cy="465249"/>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56" name="Shape 824">
            <a:extLst>
              <a:ext uri="{FF2B5EF4-FFF2-40B4-BE49-F238E27FC236}">
                <a16:creationId xmlns:a16="http://schemas.microsoft.com/office/drawing/2014/main" id="{109887AC-8305-6643-A147-4AA12C4AF805}"/>
              </a:ext>
            </a:extLst>
          </p:cNvPr>
          <p:cNvSpPr txBox="1"/>
          <p:nvPr/>
        </p:nvSpPr>
        <p:spPr>
          <a:xfrm>
            <a:off x="5695944" y="2564048"/>
            <a:ext cx="2130896" cy="416400"/>
          </a:xfrm>
          <a:prstGeom prst="rect">
            <a:avLst/>
          </a:prstGeom>
          <a:noFill/>
          <a:ln>
            <a:noFill/>
          </a:ln>
        </p:spPr>
        <p:txBody>
          <a:bodyPr spcFirstLastPara="1" wrap="square" lIns="91425" tIns="91425" rIns="91425" bIns="91425" anchor="ctr" anchorCtr="0">
            <a:noAutofit/>
          </a:bodyPr>
          <a:lstStyle/>
          <a:p>
            <a:pPr algn="ctr"/>
            <a:r>
              <a:rPr lang="en-US" sz="1200" dirty="0">
                <a:latin typeface="CiscoSansTT Light" panose="020B0503020201020303" pitchFamily="34" charset="0"/>
                <a:ea typeface="Calibri" charset="0"/>
                <a:cs typeface="CiscoSansTT Light" panose="020B0503020201020303" pitchFamily="34" charset="0"/>
                <a:sym typeface="Oxygen"/>
              </a:rPr>
              <a:t>Optimization Engine</a:t>
            </a:r>
          </a:p>
          <a:p>
            <a:pPr algn="ctr"/>
            <a:r>
              <a:rPr lang="en-US" sz="825" dirty="0">
                <a:solidFill>
                  <a:schemeClr val="accent4"/>
                </a:solidFill>
                <a:latin typeface="CiscoSansTT Light" panose="020B0503020201020303" pitchFamily="34" charset="0"/>
                <a:ea typeface="Calibri" charset="0"/>
                <a:cs typeface="CiscoSansTT Light" panose="020B0503020201020303" pitchFamily="34" charset="0"/>
                <a:sym typeface="Oxygen"/>
              </a:rPr>
              <a:t>optimize network paths to improve utilization &amp; efficiency (SR-PCE)</a:t>
            </a:r>
            <a:endParaRPr sz="825" dirty="0">
              <a:solidFill>
                <a:schemeClr val="accent4"/>
              </a:solidFill>
              <a:latin typeface="CiscoSansTT Light" panose="020B0503020201020303" pitchFamily="34" charset="0"/>
              <a:ea typeface="Calibri" charset="0"/>
              <a:cs typeface="CiscoSansTT Light" panose="020B0503020201020303" pitchFamily="34" charset="0"/>
              <a:sym typeface="Oxygen"/>
            </a:endParaRPr>
          </a:p>
        </p:txBody>
      </p:sp>
      <p:grpSp>
        <p:nvGrpSpPr>
          <p:cNvPr id="663" name="Group 662">
            <a:extLst>
              <a:ext uri="{FF2B5EF4-FFF2-40B4-BE49-F238E27FC236}">
                <a16:creationId xmlns:a16="http://schemas.microsoft.com/office/drawing/2014/main" id="{C24A0E3C-74D9-6E49-B2E7-77F89F128D8C}"/>
              </a:ext>
            </a:extLst>
          </p:cNvPr>
          <p:cNvGrpSpPr>
            <a:grpSpLocks noChangeAspect="1"/>
          </p:cNvGrpSpPr>
          <p:nvPr/>
        </p:nvGrpSpPr>
        <p:grpSpPr>
          <a:xfrm>
            <a:off x="6558654" y="2123048"/>
            <a:ext cx="342974" cy="342900"/>
            <a:chOff x="4472889" y="4920069"/>
            <a:chExt cx="731520" cy="731365"/>
          </a:xfrm>
        </p:grpSpPr>
        <p:sp>
          <p:nvSpPr>
            <p:cNvPr id="664" name="Freeform 1">
              <a:extLst>
                <a:ext uri="{FF2B5EF4-FFF2-40B4-BE49-F238E27FC236}">
                  <a16:creationId xmlns:a16="http://schemas.microsoft.com/office/drawing/2014/main" id="{4278F5CD-D616-6644-B8A3-490D5677219E}"/>
                </a:ext>
              </a:extLst>
            </p:cNvPr>
            <p:cNvSpPr>
              <a:spLocks noChangeArrowheads="1"/>
            </p:cNvSpPr>
            <p:nvPr/>
          </p:nvSpPr>
          <p:spPr bwMode="auto">
            <a:xfrm>
              <a:off x="4472889" y="4920069"/>
              <a:ext cx="731366" cy="731365"/>
            </a:xfrm>
            <a:custGeom>
              <a:avLst/>
              <a:gdLst>
                <a:gd name="T0" fmla="*/ 20999 w 21000"/>
                <a:gd name="T1" fmla="*/ 10500 h 21000"/>
                <a:gd name="T2" fmla="*/ 20999 w 21000"/>
                <a:gd name="T3" fmla="*/ 10500 h 21000"/>
                <a:gd name="T4" fmla="*/ 10500 w 21000"/>
                <a:gd name="T5" fmla="*/ 20999 h 21000"/>
                <a:gd name="T6" fmla="*/ 0 w 21000"/>
                <a:gd name="T7" fmla="*/ 10500 h 21000"/>
                <a:gd name="T8" fmla="*/ 10500 w 21000"/>
                <a:gd name="T9" fmla="*/ 0 h 21000"/>
                <a:gd name="T10" fmla="*/ 20999 w 21000"/>
                <a:gd name="T11" fmla="*/ 10500 h 21000"/>
              </a:gdLst>
              <a:ahLst/>
              <a:cxnLst>
                <a:cxn ang="0">
                  <a:pos x="T0" y="T1"/>
                </a:cxn>
                <a:cxn ang="0">
                  <a:pos x="T2" y="T3"/>
                </a:cxn>
                <a:cxn ang="0">
                  <a:pos x="T4" y="T5"/>
                </a:cxn>
                <a:cxn ang="0">
                  <a:pos x="T6" y="T7"/>
                </a:cxn>
                <a:cxn ang="0">
                  <a:pos x="T8" y="T9"/>
                </a:cxn>
                <a:cxn ang="0">
                  <a:pos x="T10" y="T11"/>
                </a:cxn>
              </a:cxnLst>
              <a:rect l="0" t="0" r="r" b="b"/>
              <a:pathLst>
                <a:path w="21000" h="21000">
                  <a:moveTo>
                    <a:pt x="20999" y="10500"/>
                  </a:moveTo>
                  <a:lnTo>
                    <a:pt x="20999" y="10500"/>
                  </a:lnTo>
                  <a:cubicBezTo>
                    <a:pt x="20999" y="16298"/>
                    <a:pt x="16299" y="20999"/>
                    <a:pt x="10500" y="20999"/>
                  </a:cubicBezTo>
                  <a:cubicBezTo>
                    <a:pt x="4700" y="20999"/>
                    <a:pt x="0" y="16298"/>
                    <a:pt x="0" y="10500"/>
                  </a:cubicBezTo>
                  <a:cubicBezTo>
                    <a:pt x="0" y="4700"/>
                    <a:pt x="4700" y="0"/>
                    <a:pt x="10500" y="0"/>
                  </a:cubicBezTo>
                  <a:cubicBezTo>
                    <a:pt x="16299" y="0"/>
                    <a:pt x="20999" y="4700"/>
                    <a:pt x="20999" y="10500"/>
                  </a:cubicBez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65" name="Freeform 2">
              <a:extLst>
                <a:ext uri="{FF2B5EF4-FFF2-40B4-BE49-F238E27FC236}">
                  <a16:creationId xmlns:a16="http://schemas.microsoft.com/office/drawing/2014/main" id="{98F786BB-17B9-5D44-B42D-8B38ED6BC515}"/>
                </a:ext>
              </a:extLst>
            </p:cNvPr>
            <p:cNvSpPr>
              <a:spLocks noChangeArrowheads="1"/>
            </p:cNvSpPr>
            <p:nvPr/>
          </p:nvSpPr>
          <p:spPr bwMode="auto">
            <a:xfrm>
              <a:off x="4546916" y="5125718"/>
              <a:ext cx="657493" cy="525716"/>
            </a:xfrm>
            <a:custGeom>
              <a:avLst/>
              <a:gdLst>
                <a:gd name="T0" fmla="*/ 15184 w 18876"/>
                <a:gd name="T1" fmla="*/ 0 h 15095"/>
                <a:gd name="T2" fmla="*/ 15184 w 18876"/>
                <a:gd name="T3" fmla="*/ 0 h 15095"/>
                <a:gd name="T4" fmla="*/ 14898 w 18876"/>
                <a:gd name="T5" fmla="*/ 7742 h 15095"/>
                <a:gd name="T6" fmla="*/ 12171 w 18876"/>
                <a:gd name="T7" fmla="*/ 7863 h 15095"/>
                <a:gd name="T8" fmla="*/ 5694 w 18876"/>
                <a:gd name="T9" fmla="*/ 7863 h 15095"/>
                <a:gd name="T10" fmla="*/ 1552 w 18876"/>
                <a:gd name="T11" fmla="*/ 7968 h 15095"/>
                <a:gd name="T12" fmla="*/ 2652 w 18876"/>
                <a:gd name="T13" fmla="*/ 9038 h 15095"/>
                <a:gd name="T14" fmla="*/ 0 w 18876"/>
                <a:gd name="T15" fmla="*/ 9204 h 15095"/>
                <a:gd name="T16" fmla="*/ 5634 w 18876"/>
                <a:gd name="T17" fmla="*/ 14732 h 15095"/>
                <a:gd name="T18" fmla="*/ 7954 w 18876"/>
                <a:gd name="T19" fmla="*/ 15079 h 15095"/>
                <a:gd name="T20" fmla="*/ 7969 w 18876"/>
                <a:gd name="T21" fmla="*/ 15079 h 15095"/>
                <a:gd name="T22" fmla="*/ 7969 w 18876"/>
                <a:gd name="T23" fmla="*/ 15079 h 15095"/>
                <a:gd name="T24" fmla="*/ 8376 w 18876"/>
                <a:gd name="T25" fmla="*/ 15094 h 15095"/>
                <a:gd name="T26" fmla="*/ 18860 w 18876"/>
                <a:gd name="T27" fmla="*/ 5106 h 15095"/>
                <a:gd name="T28" fmla="*/ 18875 w 18876"/>
                <a:gd name="T29" fmla="*/ 4595 h 15095"/>
                <a:gd name="T30" fmla="*/ 18875 w 18876"/>
                <a:gd name="T31" fmla="*/ 4580 h 15095"/>
                <a:gd name="T32" fmla="*/ 18875 w 18876"/>
                <a:gd name="T33" fmla="*/ 4565 h 15095"/>
                <a:gd name="T34" fmla="*/ 18875 w 18876"/>
                <a:gd name="T35" fmla="*/ 4565 h 15095"/>
                <a:gd name="T36" fmla="*/ 18829 w 18876"/>
                <a:gd name="T37" fmla="*/ 3616 h 15095"/>
                <a:gd name="T38" fmla="*/ 15184 w 18876"/>
                <a:gd name="T39" fmla="*/ 0 h 15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76" h="15095">
                  <a:moveTo>
                    <a:pt x="15184" y="0"/>
                  </a:moveTo>
                  <a:lnTo>
                    <a:pt x="15184" y="0"/>
                  </a:lnTo>
                  <a:cubicBezTo>
                    <a:pt x="14898" y="7742"/>
                    <a:pt x="14898" y="7742"/>
                    <a:pt x="14898" y="7742"/>
                  </a:cubicBezTo>
                  <a:cubicBezTo>
                    <a:pt x="12171" y="7863"/>
                    <a:pt x="12171" y="7863"/>
                    <a:pt x="12171" y="7863"/>
                  </a:cubicBezTo>
                  <a:cubicBezTo>
                    <a:pt x="5694" y="7863"/>
                    <a:pt x="5694" y="7863"/>
                    <a:pt x="5694" y="7863"/>
                  </a:cubicBezTo>
                  <a:cubicBezTo>
                    <a:pt x="1552" y="7968"/>
                    <a:pt x="1552" y="7968"/>
                    <a:pt x="1552" y="7968"/>
                  </a:cubicBezTo>
                  <a:cubicBezTo>
                    <a:pt x="2652" y="9038"/>
                    <a:pt x="2652" y="9038"/>
                    <a:pt x="2652" y="9038"/>
                  </a:cubicBezTo>
                  <a:cubicBezTo>
                    <a:pt x="0" y="9204"/>
                    <a:pt x="0" y="9204"/>
                    <a:pt x="0" y="9204"/>
                  </a:cubicBezTo>
                  <a:cubicBezTo>
                    <a:pt x="5634" y="14732"/>
                    <a:pt x="5634" y="14732"/>
                    <a:pt x="5634" y="14732"/>
                  </a:cubicBezTo>
                  <a:cubicBezTo>
                    <a:pt x="6373" y="14928"/>
                    <a:pt x="7156" y="15049"/>
                    <a:pt x="7954" y="15079"/>
                  </a:cubicBezTo>
                  <a:cubicBezTo>
                    <a:pt x="7954" y="15079"/>
                    <a:pt x="7954" y="15079"/>
                    <a:pt x="7969" y="15079"/>
                  </a:cubicBezTo>
                  <a:lnTo>
                    <a:pt x="7969" y="15079"/>
                  </a:lnTo>
                  <a:cubicBezTo>
                    <a:pt x="8105" y="15094"/>
                    <a:pt x="8241" y="15094"/>
                    <a:pt x="8376" y="15094"/>
                  </a:cubicBezTo>
                  <a:cubicBezTo>
                    <a:pt x="13994" y="15094"/>
                    <a:pt x="18588" y="10665"/>
                    <a:pt x="18860" y="5106"/>
                  </a:cubicBezTo>
                  <a:cubicBezTo>
                    <a:pt x="18875" y="4940"/>
                    <a:pt x="18875" y="4760"/>
                    <a:pt x="18875" y="4595"/>
                  </a:cubicBezTo>
                  <a:cubicBezTo>
                    <a:pt x="18875" y="4580"/>
                    <a:pt x="18875" y="4580"/>
                    <a:pt x="18875" y="4580"/>
                  </a:cubicBezTo>
                  <a:cubicBezTo>
                    <a:pt x="18875" y="4565"/>
                    <a:pt x="18875" y="4565"/>
                    <a:pt x="18875" y="4565"/>
                  </a:cubicBezTo>
                  <a:lnTo>
                    <a:pt x="18875" y="4565"/>
                  </a:lnTo>
                  <a:cubicBezTo>
                    <a:pt x="18875" y="4248"/>
                    <a:pt x="18860" y="3932"/>
                    <a:pt x="18829" y="3616"/>
                  </a:cubicBezTo>
                  <a:lnTo>
                    <a:pt x="15184" y="0"/>
                  </a:lnTo>
                </a:path>
              </a:pathLst>
            </a:custGeom>
            <a:solidFill>
              <a:schemeClr val="bg1">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66" name="Freeform 3">
              <a:extLst>
                <a:ext uri="{FF2B5EF4-FFF2-40B4-BE49-F238E27FC236}">
                  <a16:creationId xmlns:a16="http://schemas.microsoft.com/office/drawing/2014/main" id="{4E953BD1-05C4-4F40-B6D8-E37A09C67215}"/>
                </a:ext>
              </a:extLst>
            </p:cNvPr>
            <p:cNvSpPr>
              <a:spLocks noChangeArrowheads="1"/>
            </p:cNvSpPr>
            <p:nvPr/>
          </p:nvSpPr>
          <p:spPr bwMode="auto">
            <a:xfrm>
              <a:off x="4538930" y="5424745"/>
              <a:ext cx="593448" cy="25188"/>
            </a:xfrm>
            <a:custGeom>
              <a:avLst/>
              <a:gdLst>
                <a:gd name="T0" fmla="*/ 16690 w 17038"/>
                <a:gd name="T1" fmla="*/ 723 h 724"/>
                <a:gd name="T2" fmla="*/ 16690 w 17038"/>
                <a:gd name="T3" fmla="*/ 723 h 724"/>
                <a:gd name="T4" fmla="*/ 362 w 17038"/>
                <a:gd name="T5" fmla="*/ 723 h 724"/>
                <a:gd name="T6" fmla="*/ 0 w 17038"/>
                <a:gd name="T7" fmla="*/ 361 h 724"/>
                <a:gd name="T8" fmla="*/ 362 w 17038"/>
                <a:gd name="T9" fmla="*/ 0 h 724"/>
                <a:gd name="T10" fmla="*/ 16690 w 17038"/>
                <a:gd name="T11" fmla="*/ 0 h 724"/>
                <a:gd name="T12" fmla="*/ 17037 w 17038"/>
                <a:gd name="T13" fmla="*/ 361 h 724"/>
                <a:gd name="T14" fmla="*/ 16690 w 17038"/>
                <a:gd name="T15" fmla="*/ 723 h 7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38" h="724">
                  <a:moveTo>
                    <a:pt x="16690" y="723"/>
                  </a:moveTo>
                  <a:lnTo>
                    <a:pt x="16690" y="723"/>
                  </a:lnTo>
                  <a:cubicBezTo>
                    <a:pt x="362" y="723"/>
                    <a:pt x="362" y="723"/>
                    <a:pt x="362" y="723"/>
                  </a:cubicBezTo>
                  <a:cubicBezTo>
                    <a:pt x="166" y="723"/>
                    <a:pt x="0" y="557"/>
                    <a:pt x="0" y="361"/>
                  </a:cubicBezTo>
                  <a:cubicBezTo>
                    <a:pt x="0" y="166"/>
                    <a:pt x="166" y="0"/>
                    <a:pt x="362" y="0"/>
                  </a:cubicBezTo>
                  <a:cubicBezTo>
                    <a:pt x="16690" y="0"/>
                    <a:pt x="16690" y="0"/>
                    <a:pt x="16690" y="0"/>
                  </a:cubicBezTo>
                  <a:cubicBezTo>
                    <a:pt x="16886" y="0"/>
                    <a:pt x="17037" y="166"/>
                    <a:pt x="17037" y="361"/>
                  </a:cubicBezTo>
                  <a:cubicBezTo>
                    <a:pt x="17037" y="557"/>
                    <a:pt x="16886" y="723"/>
                    <a:pt x="16690" y="723"/>
                  </a:cubicBez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67" name="Freeform: Shape 60">
              <a:extLst>
                <a:ext uri="{FF2B5EF4-FFF2-40B4-BE49-F238E27FC236}">
                  <a16:creationId xmlns:a16="http://schemas.microsoft.com/office/drawing/2014/main" id="{457FD529-FA30-F149-A4BB-641373879690}"/>
                </a:ext>
              </a:extLst>
            </p:cNvPr>
            <p:cNvSpPr>
              <a:spLocks/>
            </p:cNvSpPr>
            <p:nvPr/>
          </p:nvSpPr>
          <p:spPr bwMode="auto">
            <a:xfrm>
              <a:off x="4771975" y="5158278"/>
              <a:ext cx="65220" cy="201964"/>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 name="connsiteX0" fmla="*/ 1146055 w 1188917"/>
                <a:gd name="connsiteY0" fmla="*/ 4218977 h 4723802"/>
                <a:gd name="connsiteX1" fmla="*/ 1188917 w 1188917"/>
                <a:gd name="connsiteY1" fmla="*/ 4261046 h 4723802"/>
                <a:gd name="connsiteX2" fmla="*/ 1188917 w 1188917"/>
                <a:gd name="connsiteY2" fmla="*/ 4681733 h 4723802"/>
                <a:gd name="connsiteX3" fmla="*/ 1146055 w 1188917"/>
                <a:gd name="connsiteY3" fmla="*/ 4723802 h 4723802"/>
                <a:gd name="connsiteX4" fmla="*/ 1103192 w 1188917"/>
                <a:gd name="connsiteY4" fmla="*/ 4681733 h 4723802"/>
                <a:gd name="connsiteX5" fmla="*/ 1103192 w 1188917"/>
                <a:gd name="connsiteY5" fmla="*/ 4261046 h 4723802"/>
                <a:gd name="connsiteX6" fmla="*/ 1146055 w 1188917"/>
                <a:gd name="connsiteY6" fmla="*/ 4218977 h 4723802"/>
                <a:gd name="connsiteX7" fmla="*/ 872361 w 1188917"/>
                <a:gd name="connsiteY7" fmla="*/ 4218977 h 4723802"/>
                <a:gd name="connsiteX8" fmla="*/ 914280 w 1188917"/>
                <a:gd name="connsiteY8" fmla="*/ 4261046 h 4723802"/>
                <a:gd name="connsiteX9" fmla="*/ 914280 w 1188917"/>
                <a:gd name="connsiteY9" fmla="*/ 4681733 h 4723802"/>
                <a:gd name="connsiteX10" fmla="*/ 872361 w 1188917"/>
                <a:gd name="connsiteY10" fmla="*/ 4723802 h 4723802"/>
                <a:gd name="connsiteX11" fmla="*/ 830142 w 1188917"/>
                <a:gd name="connsiteY11" fmla="*/ 4681733 h 4723802"/>
                <a:gd name="connsiteX12" fmla="*/ 830142 w 1188917"/>
                <a:gd name="connsiteY12" fmla="*/ 4261046 h 4723802"/>
                <a:gd name="connsiteX13" fmla="*/ 872361 w 1188917"/>
                <a:gd name="connsiteY13" fmla="*/ 4218977 h 4723802"/>
                <a:gd name="connsiteX14" fmla="*/ 597573 w 1188917"/>
                <a:gd name="connsiteY14" fmla="*/ 4218977 h 4723802"/>
                <a:gd name="connsiteX15" fmla="*/ 639642 w 1188917"/>
                <a:gd name="connsiteY15" fmla="*/ 4261046 h 4723802"/>
                <a:gd name="connsiteX16" fmla="*/ 639642 w 1188917"/>
                <a:gd name="connsiteY16" fmla="*/ 4681733 h 4723802"/>
                <a:gd name="connsiteX17" fmla="*/ 597573 w 1188917"/>
                <a:gd name="connsiteY17" fmla="*/ 4723802 h 4723802"/>
                <a:gd name="connsiteX18" fmla="*/ 555504 w 1188917"/>
                <a:gd name="connsiteY18" fmla="*/ 4681733 h 4723802"/>
                <a:gd name="connsiteX19" fmla="*/ 555504 w 1188917"/>
                <a:gd name="connsiteY19" fmla="*/ 4261046 h 4723802"/>
                <a:gd name="connsiteX20" fmla="*/ 597573 w 1188917"/>
                <a:gd name="connsiteY20" fmla="*/ 4218977 h 4723802"/>
                <a:gd name="connsiteX21" fmla="*/ 322936 w 1188917"/>
                <a:gd name="connsiteY21" fmla="*/ 4218977 h 4723802"/>
                <a:gd name="connsiteX22" fmla="*/ 365005 w 1188917"/>
                <a:gd name="connsiteY22" fmla="*/ 4261046 h 4723802"/>
                <a:gd name="connsiteX23" fmla="*/ 365005 w 1188917"/>
                <a:gd name="connsiteY23" fmla="*/ 4681733 h 4723802"/>
                <a:gd name="connsiteX24" fmla="*/ 322936 w 1188917"/>
                <a:gd name="connsiteY24" fmla="*/ 4723802 h 4723802"/>
                <a:gd name="connsiteX25" fmla="*/ 280867 w 1188917"/>
                <a:gd name="connsiteY25" fmla="*/ 4681733 h 4723802"/>
                <a:gd name="connsiteX26" fmla="*/ 280867 w 1188917"/>
                <a:gd name="connsiteY26" fmla="*/ 4261046 h 4723802"/>
                <a:gd name="connsiteX27" fmla="*/ 322936 w 1188917"/>
                <a:gd name="connsiteY27" fmla="*/ 4218977 h 4723802"/>
                <a:gd name="connsiteX28" fmla="*/ 48298 w 1188917"/>
                <a:gd name="connsiteY28" fmla="*/ 4218977 h 4723802"/>
                <a:gd name="connsiteX29" fmla="*/ 90367 w 1188917"/>
                <a:gd name="connsiteY29" fmla="*/ 4261046 h 4723802"/>
                <a:gd name="connsiteX30" fmla="*/ 90367 w 1188917"/>
                <a:gd name="connsiteY30" fmla="*/ 4681733 h 4723802"/>
                <a:gd name="connsiteX31" fmla="*/ 48298 w 1188917"/>
                <a:gd name="connsiteY31" fmla="*/ 4723802 h 4723802"/>
                <a:gd name="connsiteX32" fmla="*/ 6229 w 1188917"/>
                <a:gd name="connsiteY32" fmla="*/ 4681733 h 4723802"/>
                <a:gd name="connsiteX33" fmla="*/ 6229 w 1188917"/>
                <a:gd name="connsiteY33" fmla="*/ 4261046 h 4723802"/>
                <a:gd name="connsiteX34" fmla="*/ 48298 w 1188917"/>
                <a:gd name="connsiteY34" fmla="*/ 4218977 h 4723802"/>
                <a:gd name="connsiteX35" fmla="*/ 1146055 w 1188917"/>
                <a:gd name="connsiteY35" fmla="*/ 3164877 h 4723802"/>
                <a:gd name="connsiteX36" fmla="*/ 1188917 w 1188917"/>
                <a:gd name="connsiteY36" fmla="*/ 3207078 h 4723802"/>
                <a:gd name="connsiteX37" fmla="*/ 1188917 w 1188917"/>
                <a:gd name="connsiteY37" fmla="*/ 3629089 h 4723802"/>
                <a:gd name="connsiteX38" fmla="*/ 1146055 w 1188917"/>
                <a:gd name="connsiteY38" fmla="*/ 3671290 h 4723802"/>
                <a:gd name="connsiteX39" fmla="*/ 1103192 w 1188917"/>
                <a:gd name="connsiteY39" fmla="*/ 3629089 h 4723802"/>
                <a:gd name="connsiteX40" fmla="*/ 1103192 w 1188917"/>
                <a:gd name="connsiteY40" fmla="*/ 3207078 h 4723802"/>
                <a:gd name="connsiteX41" fmla="*/ 1146055 w 1188917"/>
                <a:gd name="connsiteY41" fmla="*/ 3164877 h 4723802"/>
                <a:gd name="connsiteX42" fmla="*/ 872361 w 1188917"/>
                <a:gd name="connsiteY42" fmla="*/ 3164877 h 4723802"/>
                <a:gd name="connsiteX43" fmla="*/ 914280 w 1188917"/>
                <a:gd name="connsiteY43" fmla="*/ 3207078 h 4723802"/>
                <a:gd name="connsiteX44" fmla="*/ 914280 w 1188917"/>
                <a:gd name="connsiteY44" fmla="*/ 3629089 h 4723802"/>
                <a:gd name="connsiteX45" fmla="*/ 872361 w 1188917"/>
                <a:gd name="connsiteY45" fmla="*/ 3671290 h 4723802"/>
                <a:gd name="connsiteX46" fmla="*/ 830142 w 1188917"/>
                <a:gd name="connsiteY46" fmla="*/ 3629089 h 4723802"/>
                <a:gd name="connsiteX47" fmla="*/ 830142 w 1188917"/>
                <a:gd name="connsiteY47" fmla="*/ 3207078 h 4723802"/>
                <a:gd name="connsiteX48" fmla="*/ 872361 w 1188917"/>
                <a:gd name="connsiteY48" fmla="*/ 3164877 h 4723802"/>
                <a:gd name="connsiteX49" fmla="*/ 597573 w 1188917"/>
                <a:gd name="connsiteY49" fmla="*/ 3164877 h 4723802"/>
                <a:gd name="connsiteX50" fmla="*/ 639642 w 1188917"/>
                <a:gd name="connsiteY50" fmla="*/ 3207078 h 4723802"/>
                <a:gd name="connsiteX51" fmla="*/ 639642 w 1188917"/>
                <a:gd name="connsiteY51" fmla="*/ 3629089 h 4723802"/>
                <a:gd name="connsiteX52" fmla="*/ 597573 w 1188917"/>
                <a:gd name="connsiteY52" fmla="*/ 3671290 h 4723802"/>
                <a:gd name="connsiteX53" fmla="*/ 555504 w 1188917"/>
                <a:gd name="connsiteY53" fmla="*/ 3629089 h 4723802"/>
                <a:gd name="connsiteX54" fmla="*/ 555504 w 1188917"/>
                <a:gd name="connsiteY54" fmla="*/ 3207078 h 4723802"/>
                <a:gd name="connsiteX55" fmla="*/ 597573 w 1188917"/>
                <a:gd name="connsiteY55" fmla="*/ 3164877 h 4723802"/>
                <a:gd name="connsiteX56" fmla="*/ 322936 w 1188917"/>
                <a:gd name="connsiteY56" fmla="*/ 3164877 h 4723802"/>
                <a:gd name="connsiteX57" fmla="*/ 365005 w 1188917"/>
                <a:gd name="connsiteY57" fmla="*/ 3207078 h 4723802"/>
                <a:gd name="connsiteX58" fmla="*/ 365005 w 1188917"/>
                <a:gd name="connsiteY58" fmla="*/ 3629089 h 4723802"/>
                <a:gd name="connsiteX59" fmla="*/ 322936 w 1188917"/>
                <a:gd name="connsiteY59" fmla="*/ 3671290 h 4723802"/>
                <a:gd name="connsiteX60" fmla="*/ 280867 w 1188917"/>
                <a:gd name="connsiteY60" fmla="*/ 3629089 h 4723802"/>
                <a:gd name="connsiteX61" fmla="*/ 280867 w 1188917"/>
                <a:gd name="connsiteY61" fmla="*/ 3207078 h 4723802"/>
                <a:gd name="connsiteX62" fmla="*/ 322936 w 1188917"/>
                <a:gd name="connsiteY62" fmla="*/ 3164877 h 4723802"/>
                <a:gd name="connsiteX63" fmla="*/ 48298 w 1188917"/>
                <a:gd name="connsiteY63" fmla="*/ 3164877 h 4723802"/>
                <a:gd name="connsiteX64" fmla="*/ 90367 w 1188917"/>
                <a:gd name="connsiteY64" fmla="*/ 3207078 h 4723802"/>
                <a:gd name="connsiteX65" fmla="*/ 90367 w 1188917"/>
                <a:gd name="connsiteY65" fmla="*/ 3629089 h 4723802"/>
                <a:gd name="connsiteX66" fmla="*/ 48298 w 1188917"/>
                <a:gd name="connsiteY66" fmla="*/ 3671290 h 4723802"/>
                <a:gd name="connsiteX67" fmla="*/ 6229 w 1188917"/>
                <a:gd name="connsiteY67" fmla="*/ 3629089 h 4723802"/>
                <a:gd name="connsiteX68" fmla="*/ 6229 w 1188917"/>
                <a:gd name="connsiteY68" fmla="*/ 3207078 h 4723802"/>
                <a:gd name="connsiteX69" fmla="*/ 48298 w 1188917"/>
                <a:gd name="connsiteY69" fmla="*/ 3164877 h 4723802"/>
                <a:gd name="connsiteX70" fmla="*/ 1146055 w 1188917"/>
                <a:gd name="connsiteY70" fmla="*/ 2113952 h 4723802"/>
                <a:gd name="connsiteX71" fmla="*/ 1188917 w 1188917"/>
                <a:gd name="connsiteY71" fmla="*/ 2156021 h 4723802"/>
                <a:gd name="connsiteX72" fmla="*/ 1188917 w 1188917"/>
                <a:gd name="connsiteY72" fmla="*/ 2576708 h 4723802"/>
                <a:gd name="connsiteX73" fmla="*/ 1146055 w 1188917"/>
                <a:gd name="connsiteY73" fmla="*/ 2618777 h 4723802"/>
                <a:gd name="connsiteX74" fmla="*/ 1103192 w 1188917"/>
                <a:gd name="connsiteY74" fmla="*/ 2576708 h 4723802"/>
                <a:gd name="connsiteX75" fmla="*/ 1103192 w 1188917"/>
                <a:gd name="connsiteY75" fmla="*/ 2156021 h 4723802"/>
                <a:gd name="connsiteX76" fmla="*/ 1146055 w 1188917"/>
                <a:gd name="connsiteY76" fmla="*/ 2113952 h 4723802"/>
                <a:gd name="connsiteX77" fmla="*/ 872361 w 1188917"/>
                <a:gd name="connsiteY77" fmla="*/ 2113952 h 4723802"/>
                <a:gd name="connsiteX78" fmla="*/ 914280 w 1188917"/>
                <a:gd name="connsiteY78" fmla="*/ 2156021 h 4723802"/>
                <a:gd name="connsiteX79" fmla="*/ 914280 w 1188917"/>
                <a:gd name="connsiteY79" fmla="*/ 2576708 h 4723802"/>
                <a:gd name="connsiteX80" fmla="*/ 872361 w 1188917"/>
                <a:gd name="connsiteY80" fmla="*/ 2618777 h 4723802"/>
                <a:gd name="connsiteX81" fmla="*/ 830142 w 1188917"/>
                <a:gd name="connsiteY81" fmla="*/ 2576708 h 4723802"/>
                <a:gd name="connsiteX82" fmla="*/ 830142 w 1188917"/>
                <a:gd name="connsiteY82" fmla="*/ 2156021 h 4723802"/>
                <a:gd name="connsiteX83" fmla="*/ 872361 w 1188917"/>
                <a:gd name="connsiteY83" fmla="*/ 2113952 h 4723802"/>
                <a:gd name="connsiteX84" fmla="*/ 597573 w 1188917"/>
                <a:gd name="connsiteY84" fmla="*/ 2113952 h 4723802"/>
                <a:gd name="connsiteX85" fmla="*/ 639642 w 1188917"/>
                <a:gd name="connsiteY85" fmla="*/ 2156021 h 4723802"/>
                <a:gd name="connsiteX86" fmla="*/ 639642 w 1188917"/>
                <a:gd name="connsiteY86" fmla="*/ 2576708 h 4723802"/>
                <a:gd name="connsiteX87" fmla="*/ 597573 w 1188917"/>
                <a:gd name="connsiteY87" fmla="*/ 2618777 h 4723802"/>
                <a:gd name="connsiteX88" fmla="*/ 555504 w 1188917"/>
                <a:gd name="connsiteY88" fmla="*/ 2576708 h 4723802"/>
                <a:gd name="connsiteX89" fmla="*/ 555504 w 1188917"/>
                <a:gd name="connsiteY89" fmla="*/ 2156021 h 4723802"/>
                <a:gd name="connsiteX90" fmla="*/ 597573 w 1188917"/>
                <a:gd name="connsiteY90" fmla="*/ 2113952 h 4723802"/>
                <a:gd name="connsiteX91" fmla="*/ 322936 w 1188917"/>
                <a:gd name="connsiteY91" fmla="*/ 2113952 h 4723802"/>
                <a:gd name="connsiteX92" fmla="*/ 365005 w 1188917"/>
                <a:gd name="connsiteY92" fmla="*/ 2156021 h 4723802"/>
                <a:gd name="connsiteX93" fmla="*/ 365005 w 1188917"/>
                <a:gd name="connsiteY93" fmla="*/ 2576708 h 4723802"/>
                <a:gd name="connsiteX94" fmla="*/ 322936 w 1188917"/>
                <a:gd name="connsiteY94" fmla="*/ 2618777 h 4723802"/>
                <a:gd name="connsiteX95" fmla="*/ 280867 w 1188917"/>
                <a:gd name="connsiteY95" fmla="*/ 2576708 h 4723802"/>
                <a:gd name="connsiteX96" fmla="*/ 280867 w 1188917"/>
                <a:gd name="connsiteY96" fmla="*/ 2156021 h 4723802"/>
                <a:gd name="connsiteX97" fmla="*/ 322936 w 1188917"/>
                <a:gd name="connsiteY97" fmla="*/ 2113952 h 4723802"/>
                <a:gd name="connsiteX98" fmla="*/ 48298 w 1188917"/>
                <a:gd name="connsiteY98" fmla="*/ 2113952 h 4723802"/>
                <a:gd name="connsiteX99" fmla="*/ 90367 w 1188917"/>
                <a:gd name="connsiteY99" fmla="*/ 2156021 h 4723802"/>
                <a:gd name="connsiteX100" fmla="*/ 90367 w 1188917"/>
                <a:gd name="connsiteY100" fmla="*/ 2576708 h 4723802"/>
                <a:gd name="connsiteX101" fmla="*/ 48298 w 1188917"/>
                <a:gd name="connsiteY101" fmla="*/ 2618777 h 4723802"/>
                <a:gd name="connsiteX102" fmla="*/ 6229 w 1188917"/>
                <a:gd name="connsiteY102" fmla="*/ 2576708 h 4723802"/>
                <a:gd name="connsiteX103" fmla="*/ 6229 w 1188917"/>
                <a:gd name="connsiteY103" fmla="*/ 2156021 h 4723802"/>
                <a:gd name="connsiteX104" fmla="*/ 48298 w 1188917"/>
                <a:gd name="connsiteY104" fmla="*/ 2113952 h 4723802"/>
                <a:gd name="connsiteX105" fmla="*/ 1146055 w 1188917"/>
                <a:gd name="connsiteY105" fmla="*/ 1061441 h 4723802"/>
                <a:gd name="connsiteX106" fmla="*/ 1188917 w 1188917"/>
                <a:gd name="connsiteY106" fmla="*/ 1103667 h 4723802"/>
                <a:gd name="connsiteX107" fmla="*/ 1188917 w 1188917"/>
                <a:gd name="connsiteY107" fmla="*/ 1525627 h 4723802"/>
                <a:gd name="connsiteX108" fmla="*/ 1146055 w 1188917"/>
                <a:gd name="connsiteY108" fmla="*/ 1567854 h 4723802"/>
                <a:gd name="connsiteX109" fmla="*/ 1103192 w 1188917"/>
                <a:gd name="connsiteY109" fmla="*/ 1525627 h 4723802"/>
                <a:gd name="connsiteX110" fmla="*/ 1103192 w 1188917"/>
                <a:gd name="connsiteY110" fmla="*/ 1103667 h 4723802"/>
                <a:gd name="connsiteX111" fmla="*/ 1146055 w 1188917"/>
                <a:gd name="connsiteY111" fmla="*/ 1061441 h 4723802"/>
                <a:gd name="connsiteX112" fmla="*/ 597573 w 1188917"/>
                <a:gd name="connsiteY112" fmla="*/ 1061441 h 4723802"/>
                <a:gd name="connsiteX113" fmla="*/ 639642 w 1188917"/>
                <a:gd name="connsiteY113" fmla="*/ 1103667 h 4723802"/>
                <a:gd name="connsiteX114" fmla="*/ 639642 w 1188917"/>
                <a:gd name="connsiteY114" fmla="*/ 1525627 h 4723802"/>
                <a:gd name="connsiteX115" fmla="*/ 597573 w 1188917"/>
                <a:gd name="connsiteY115" fmla="*/ 1567854 h 4723802"/>
                <a:gd name="connsiteX116" fmla="*/ 555504 w 1188917"/>
                <a:gd name="connsiteY116" fmla="*/ 1525627 h 4723802"/>
                <a:gd name="connsiteX117" fmla="*/ 555504 w 1188917"/>
                <a:gd name="connsiteY117" fmla="*/ 1103667 h 4723802"/>
                <a:gd name="connsiteX118" fmla="*/ 597573 w 1188917"/>
                <a:gd name="connsiteY118" fmla="*/ 1061441 h 4723802"/>
                <a:gd name="connsiteX119" fmla="*/ 48298 w 1188917"/>
                <a:gd name="connsiteY119" fmla="*/ 1061441 h 4723802"/>
                <a:gd name="connsiteX120" fmla="*/ 90367 w 1188917"/>
                <a:gd name="connsiteY120" fmla="*/ 1103667 h 4723802"/>
                <a:gd name="connsiteX121" fmla="*/ 90367 w 1188917"/>
                <a:gd name="connsiteY121" fmla="*/ 1525627 h 4723802"/>
                <a:gd name="connsiteX122" fmla="*/ 48298 w 1188917"/>
                <a:gd name="connsiteY122" fmla="*/ 1567854 h 4723802"/>
                <a:gd name="connsiteX123" fmla="*/ 6229 w 1188917"/>
                <a:gd name="connsiteY123" fmla="*/ 1525627 h 4723802"/>
                <a:gd name="connsiteX124" fmla="*/ 6229 w 1188917"/>
                <a:gd name="connsiteY124" fmla="*/ 1103667 h 4723802"/>
                <a:gd name="connsiteX125" fmla="*/ 48298 w 1188917"/>
                <a:gd name="connsiteY125" fmla="*/ 1061441 h 4723802"/>
                <a:gd name="connsiteX126" fmla="*/ 872361 w 1188917"/>
                <a:gd name="connsiteY126" fmla="*/ 1061441 h 4723802"/>
                <a:gd name="connsiteX127" fmla="*/ 914280 w 1188917"/>
                <a:gd name="connsiteY127" fmla="*/ 1103667 h 4723802"/>
                <a:gd name="connsiteX128" fmla="*/ 914280 w 1188917"/>
                <a:gd name="connsiteY128" fmla="*/ 1525627 h 4723802"/>
                <a:gd name="connsiteX129" fmla="*/ 872361 w 1188917"/>
                <a:gd name="connsiteY129" fmla="*/ 1567853 h 4723802"/>
                <a:gd name="connsiteX130" fmla="*/ 830142 w 1188917"/>
                <a:gd name="connsiteY130" fmla="*/ 1525627 h 4723802"/>
                <a:gd name="connsiteX131" fmla="*/ 830142 w 1188917"/>
                <a:gd name="connsiteY131" fmla="*/ 1103667 h 4723802"/>
                <a:gd name="connsiteX132" fmla="*/ 872361 w 1188917"/>
                <a:gd name="connsiteY132" fmla="*/ 1061441 h 4723802"/>
                <a:gd name="connsiteX133" fmla="*/ 322936 w 1188917"/>
                <a:gd name="connsiteY133" fmla="*/ 1061441 h 4723802"/>
                <a:gd name="connsiteX134" fmla="*/ 365005 w 1188917"/>
                <a:gd name="connsiteY134" fmla="*/ 1103667 h 4723802"/>
                <a:gd name="connsiteX135" fmla="*/ 365005 w 1188917"/>
                <a:gd name="connsiteY135" fmla="*/ 1525627 h 4723802"/>
                <a:gd name="connsiteX136" fmla="*/ 322936 w 1188917"/>
                <a:gd name="connsiteY136" fmla="*/ 1567853 h 4723802"/>
                <a:gd name="connsiteX137" fmla="*/ 280867 w 1188917"/>
                <a:gd name="connsiteY137" fmla="*/ 1525627 h 4723802"/>
                <a:gd name="connsiteX138" fmla="*/ 280867 w 1188917"/>
                <a:gd name="connsiteY138" fmla="*/ 1103667 h 4723802"/>
                <a:gd name="connsiteX139" fmla="*/ 322936 w 1188917"/>
                <a:gd name="connsiteY139" fmla="*/ 1061441 h 4723802"/>
                <a:gd name="connsiteX140" fmla="*/ 872361 w 1188917"/>
                <a:gd name="connsiteY140" fmla="*/ 10516 h 4723802"/>
                <a:gd name="connsiteX141" fmla="*/ 914280 w 1188917"/>
                <a:gd name="connsiteY141" fmla="*/ 52584 h 4723802"/>
                <a:gd name="connsiteX142" fmla="*/ 914280 w 1188917"/>
                <a:gd name="connsiteY142" fmla="*/ 473272 h 4723802"/>
                <a:gd name="connsiteX143" fmla="*/ 872361 w 1188917"/>
                <a:gd name="connsiteY143" fmla="*/ 515340 h 4723802"/>
                <a:gd name="connsiteX144" fmla="*/ 830142 w 1188917"/>
                <a:gd name="connsiteY144" fmla="*/ 473272 h 4723802"/>
                <a:gd name="connsiteX145" fmla="*/ 830142 w 1188917"/>
                <a:gd name="connsiteY145" fmla="*/ 52584 h 4723802"/>
                <a:gd name="connsiteX146" fmla="*/ 872361 w 1188917"/>
                <a:gd name="connsiteY146" fmla="*/ 10516 h 4723802"/>
                <a:gd name="connsiteX147" fmla="*/ 322936 w 1188917"/>
                <a:gd name="connsiteY147" fmla="*/ 10516 h 4723802"/>
                <a:gd name="connsiteX148" fmla="*/ 365005 w 1188917"/>
                <a:gd name="connsiteY148" fmla="*/ 52584 h 4723802"/>
                <a:gd name="connsiteX149" fmla="*/ 365005 w 1188917"/>
                <a:gd name="connsiteY149" fmla="*/ 473272 h 4723802"/>
                <a:gd name="connsiteX150" fmla="*/ 322936 w 1188917"/>
                <a:gd name="connsiteY150" fmla="*/ 515340 h 4723802"/>
                <a:gd name="connsiteX151" fmla="*/ 280867 w 1188917"/>
                <a:gd name="connsiteY151" fmla="*/ 473272 h 4723802"/>
                <a:gd name="connsiteX152" fmla="*/ 280867 w 1188917"/>
                <a:gd name="connsiteY152" fmla="*/ 52584 h 4723802"/>
                <a:gd name="connsiteX153" fmla="*/ 322936 w 1188917"/>
                <a:gd name="connsiteY153" fmla="*/ 10516 h 4723802"/>
                <a:gd name="connsiteX154" fmla="*/ 597573 w 1188917"/>
                <a:gd name="connsiteY154" fmla="*/ 10515 h 4723802"/>
                <a:gd name="connsiteX155" fmla="*/ 639642 w 1188917"/>
                <a:gd name="connsiteY155" fmla="*/ 52584 h 4723802"/>
                <a:gd name="connsiteX156" fmla="*/ 639642 w 1188917"/>
                <a:gd name="connsiteY156" fmla="*/ 473272 h 4723802"/>
                <a:gd name="connsiteX157" fmla="*/ 597573 w 1188917"/>
                <a:gd name="connsiteY157" fmla="*/ 515340 h 4723802"/>
                <a:gd name="connsiteX158" fmla="*/ 555504 w 1188917"/>
                <a:gd name="connsiteY158" fmla="*/ 473272 h 4723802"/>
                <a:gd name="connsiteX159" fmla="*/ 555504 w 1188917"/>
                <a:gd name="connsiteY159" fmla="*/ 52584 h 4723802"/>
                <a:gd name="connsiteX160" fmla="*/ 597573 w 1188917"/>
                <a:gd name="connsiteY160" fmla="*/ 10515 h 4723802"/>
                <a:gd name="connsiteX161" fmla="*/ 6229 w 1188917"/>
                <a:gd name="connsiteY161" fmla="*/ 52584 h 4723802"/>
                <a:gd name="connsiteX162" fmla="*/ 90367 w 1188917"/>
                <a:gd name="connsiteY162" fmla="*/ 52584 h 4723802"/>
                <a:gd name="connsiteX163" fmla="*/ 90367 w 1188917"/>
                <a:gd name="connsiteY163" fmla="*/ 473272 h 4723802"/>
                <a:gd name="connsiteX164" fmla="*/ 48298 w 1188917"/>
                <a:gd name="connsiteY164" fmla="*/ 515340 h 4723802"/>
                <a:gd name="connsiteX165" fmla="*/ 6229 w 1188917"/>
                <a:gd name="connsiteY165" fmla="*/ 473272 h 4723802"/>
                <a:gd name="connsiteX166" fmla="*/ 6229 w 1188917"/>
                <a:gd name="connsiteY166" fmla="*/ 52584 h 4723802"/>
                <a:gd name="connsiteX167" fmla="*/ 1146055 w 1188917"/>
                <a:gd name="connsiteY167" fmla="*/ 10515 h 4723802"/>
                <a:gd name="connsiteX168" fmla="*/ 1188917 w 1188917"/>
                <a:gd name="connsiteY168" fmla="*/ 52584 h 4723802"/>
                <a:gd name="connsiteX169" fmla="*/ 1188917 w 1188917"/>
                <a:gd name="connsiteY169" fmla="*/ 473271 h 4723802"/>
                <a:gd name="connsiteX170" fmla="*/ 1146055 w 1188917"/>
                <a:gd name="connsiteY170" fmla="*/ 515340 h 4723802"/>
                <a:gd name="connsiteX171" fmla="*/ 1103192 w 1188917"/>
                <a:gd name="connsiteY171" fmla="*/ 473271 h 4723802"/>
                <a:gd name="connsiteX172" fmla="*/ 1103192 w 1188917"/>
                <a:gd name="connsiteY172" fmla="*/ 52584 h 4723802"/>
                <a:gd name="connsiteX173" fmla="*/ 1146055 w 1188917"/>
                <a:gd name="connsiteY173" fmla="*/ 10515 h 4723802"/>
                <a:gd name="connsiteX0" fmla="*/ 1140993 w 1183855"/>
                <a:gd name="connsiteY0" fmla="*/ 4208462 h 4713287"/>
                <a:gd name="connsiteX1" fmla="*/ 1183855 w 1183855"/>
                <a:gd name="connsiteY1" fmla="*/ 4250531 h 4713287"/>
                <a:gd name="connsiteX2" fmla="*/ 1183855 w 1183855"/>
                <a:gd name="connsiteY2" fmla="*/ 4671218 h 4713287"/>
                <a:gd name="connsiteX3" fmla="*/ 1140993 w 1183855"/>
                <a:gd name="connsiteY3" fmla="*/ 4713287 h 4713287"/>
                <a:gd name="connsiteX4" fmla="*/ 1098130 w 1183855"/>
                <a:gd name="connsiteY4" fmla="*/ 4671218 h 4713287"/>
                <a:gd name="connsiteX5" fmla="*/ 1098130 w 1183855"/>
                <a:gd name="connsiteY5" fmla="*/ 4250531 h 4713287"/>
                <a:gd name="connsiteX6" fmla="*/ 1140993 w 1183855"/>
                <a:gd name="connsiteY6" fmla="*/ 4208462 h 4713287"/>
                <a:gd name="connsiteX7" fmla="*/ 867299 w 1183855"/>
                <a:gd name="connsiteY7" fmla="*/ 4208462 h 4713287"/>
                <a:gd name="connsiteX8" fmla="*/ 909218 w 1183855"/>
                <a:gd name="connsiteY8" fmla="*/ 4250531 h 4713287"/>
                <a:gd name="connsiteX9" fmla="*/ 909218 w 1183855"/>
                <a:gd name="connsiteY9" fmla="*/ 4671218 h 4713287"/>
                <a:gd name="connsiteX10" fmla="*/ 867299 w 1183855"/>
                <a:gd name="connsiteY10" fmla="*/ 4713287 h 4713287"/>
                <a:gd name="connsiteX11" fmla="*/ 825080 w 1183855"/>
                <a:gd name="connsiteY11" fmla="*/ 4671218 h 4713287"/>
                <a:gd name="connsiteX12" fmla="*/ 825080 w 1183855"/>
                <a:gd name="connsiteY12" fmla="*/ 4250531 h 4713287"/>
                <a:gd name="connsiteX13" fmla="*/ 867299 w 1183855"/>
                <a:gd name="connsiteY13" fmla="*/ 4208462 h 4713287"/>
                <a:gd name="connsiteX14" fmla="*/ 592511 w 1183855"/>
                <a:gd name="connsiteY14" fmla="*/ 4208462 h 4713287"/>
                <a:gd name="connsiteX15" fmla="*/ 634580 w 1183855"/>
                <a:gd name="connsiteY15" fmla="*/ 4250531 h 4713287"/>
                <a:gd name="connsiteX16" fmla="*/ 634580 w 1183855"/>
                <a:gd name="connsiteY16" fmla="*/ 4671218 h 4713287"/>
                <a:gd name="connsiteX17" fmla="*/ 592511 w 1183855"/>
                <a:gd name="connsiteY17" fmla="*/ 4713287 h 4713287"/>
                <a:gd name="connsiteX18" fmla="*/ 550442 w 1183855"/>
                <a:gd name="connsiteY18" fmla="*/ 4671218 h 4713287"/>
                <a:gd name="connsiteX19" fmla="*/ 550442 w 1183855"/>
                <a:gd name="connsiteY19" fmla="*/ 4250531 h 4713287"/>
                <a:gd name="connsiteX20" fmla="*/ 592511 w 1183855"/>
                <a:gd name="connsiteY20" fmla="*/ 4208462 h 4713287"/>
                <a:gd name="connsiteX21" fmla="*/ 317874 w 1183855"/>
                <a:gd name="connsiteY21" fmla="*/ 4208462 h 4713287"/>
                <a:gd name="connsiteX22" fmla="*/ 359943 w 1183855"/>
                <a:gd name="connsiteY22" fmla="*/ 4250531 h 4713287"/>
                <a:gd name="connsiteX23" fmla="*/ 359943 w 1183855"/>
                <a:gd name="connsiteY23" fmla="*/ 4671218 h 4713287"/>
                <a:gd name="connsiteX24" fmla="*/ 317874 w 1183855"/>
                <a:gd name="connsiteY24" fmla="*/ 4713287 h 4713287"/>
                <a:gd name="connsiteX25" fmla="*/ 275805 w 1183855"/>
                <a:gd name="connsiteY25" fmla="*/ 4671218 h 4713287"/>
                <a:gd name="connsiteX26" fmla="*/ 275805 w 1183855"/>
                <a:gd name="connsiteY26" fmla="*/ 4250531 h 4713287"/>
                <a:gd name="connsiteX27" fmla="*/ 317874 w 1183855"/>
                <a:gd name="connsiteY27" fmla="*/ 4208462 h 4713287"/>
                <a:gd name="connsiteX28" fmla="*/ 43236 w 1183855"/>
                <a:gd name="connsiteY28" fmla="*/ 4208462 h 4713287"/>
                <a:gd name="connsiteX29" fmla="*/ 85305 w 1183855"/>
                <a:gd name="connsiteY29" fmla="*/ 4250531 h 4713287"/>
                <a:gd name="connsiteX30" fmla="*/ 85305 w 1183855"/>
                <a:gd name="connsiteY30" fmla="*/ 4671218 h 4713287"/>
                <a:gd name="connsiteX31" fmla="*/ 43236 w 1183855"/>
                <a:gd name="connsiteY31" fmla="*/ 4713287 h 4713287"/>
                <a:gd name="connsiteX32" fmla="*/ 1167 w 1183855"/>
                <a:gd name="connsiteY32" fmla="*/ 4671218 h 4713287"/>
                <a:gd name="connsiteX33" fmla="*/ 1167 w 1183855"/>
                <a:gd name="connsiteY33" fmla="*/ 4250531 h 4713287"/>
                <a:gd name="connsiteX34" fmla="*/ 43236 w 1183855"/>
                <a:gd name="connsiteY34" fmla="*/ 4208462 h 4713287"/>
                <a:gd name="connsiteX35" fmla="*/ 1140993 w 1183855"/>
                <a:gd name="connsiteY35" fmla="*/ 3154362 h 4713287"/>
                <a:gd name="connsiteX36" fmla="*/ 1183855 w 1183855"/>
                <a:gd name="connsiteY36" fmla="*/ 3196563 h 4713287"/>
                <a:gd name="connsiteX37" fmla="*/ 1183855 w 1183855"/>
                <a:gd name="connsiteY37" fmla="*/ 3618574 h 4713287"/>
                <a:gd name="connsiteX38" fmla="*/ 1140993 w 1183855"/>
                <a:gd name="connsiteY38" fmla="*/ 3660775 h 4713287"/>
                <a:gd name="connsiteX39" fmla="*/ 1098130 w 1183855"/>
                <a:gd name="connsiteY39" fmla="*/ 3618574 h 4713287"/>
                <a:gd name="connsiteX40" fmla="*/ 1098130 w 1183855"/>
                <a:gd name="connsiteY40" fmla="*/ 3196563 h 4713287"/>
                <a:gd name="connsiteX41" fmla="*/ 1140993 w 1183855"/>
                <a:gd name="connsiteY41" fmla="*/ 3154362 h 4713287"/>
                <a:gd name="connsiteX42" fmla="*/ 867299 w 1183855"/>
                <a:gd name="connsiteY42" fmla="*/ 3154362 h 4713287"/>
                <a:gd name="connsiteX43" fmla="*/ 909218 w 1183855"/>
                <a:gd name="connsiteY43" fmla="*/ 3196563 h 4713287"/>
                <a:gd name="connsiteX44" fmla="*/ 909218 w 1183855"/>
                <a:gd name="connsiteY44" fmla="*/ 3618574 h 4713287"/>
                <a:gd name="connsiteX45" fmla="*/ 867299 w 1183855"/>
                <a:gd name="connsiteY45" fmla="*/ 3660775 h 4713287"/>
                <a:gd name="connsiteX46" fmla="*/ 825080 w 1183855"/>
                <a:gd name="connsiteY46" fmla="*/ 3618574 h 4713287"/>
                <a:gd name="connsiteX47" fmla="*/ 825080 w 1183855"/>
                <a:gd name="connsiteY47" fmla="*/ 3196563 h 4713287"/>
                <a:gd name="connsiteX48" fmla="*/ 867299 w 1183855"/>
                <a:gd name="connsiteY48" fmla="*/ 3154362 h 4713287"/>
                <a:gd name="connsiteX49" fmla="*/ 592511 w 1183855"/>
                <a:gd name="connsiteY49" fmla="*/ 3154362 h 4713287"/>
                <a:gd name="connsiteX50" fmla="*/ 634580 w 1183855"/>
                <a:gd name="connsiteY50" fmla="*/ 3196563 h 4713287"/>
                <a:gd name="connsiteX51" fmla="*/ 634580 w 1183855"/>
                <a:gd name="connsiteY51" fmla="*/ 3618574 h 4713287"/>
                <a:gd name="connsiteX52" fmla="*/ 592511 w 1183855"/>
                <a:gd name="connsiteY52" fmla="*/ 3660775 h 4713287"/>
                <a:gd name="connsiteX53" fmla="*/ 550442 w 1183855"/>
                <a:gd name="connsiteY53" fmla="*/ 3618574 h 4713287"/>
                <a:gd name="connsiteX54" fmla="*/ 550442 w 1183855"/>
                <a:gd name="connsiteY54" fmla="*/ 3196563 h 4713287"/>
                <a:gd name="connsiteX55" fmla="*/ 592511 w 1183855"/>
                <a:gd name="connsiteY55" fmla="*/ 3154362 h 4713287"/>
                <a:gd name="connsiteX56" fmla="*/ 317874 w 1183855"/>
                <a:gd name="connsiteY56" fmla="*/ 3154362 h 4713287"/>
                <a:gd name="connsiteX57" fmla="*/ 359943 w 1183855"/>
                <a:gd name="connsiteY57" fmla="*/ 3196563 h 4713287"/>
                <a:gd name="connsiteX58" fmla="*/ 359943 w 1183855"/>
                <a:gd name="connsiteY58" fmla="*/ 3618574 h 4713287"/>
                <a:gd name="connsiteX59" fmla="*/ 317874 w 1183855"/>
                <a:gd name="connsiteY59" fmla="*/ 3660775 h 4713287"/>
                <a:gd name="connsiteX60" fmla="*/ 275805 w 1183855"/>
                <a:gd name="connsiteY60" fmla="*/ 3618574 h 4713287"/>
                <a:gd name="connsiteX61" fmla="*/ 275805 w 1183855"/>
                <a:gd name="connsiteY61" fmla="*/ 3196563 h 4713287"/>
                <a:gd name="connsiteX62" fmla="*/ 317874 w 1183855"/>
                <a:gd name="connsiteY62" fmla="*/ 3154362 h 4713287"/>
                <a:gd name="connsiteX63" fmla="*/ 43236 w 1183855"/>
                <a:gd name="connsiteY63" fmla="*/ 3154362 h 4713287"/>
                <a:gd name="connsiteX64" fmla="*/ 85305 w 1183855"/>
                <a:gd name="connsiteY64" fmla="*/ 3196563 h 4713287"/>
                <a:gd name="connsiteX65" fmla="*/ 85305 w 1183855"/>
                <a:gd name="connsiteY65" fmla="*/ 3618574 h 4713287"/>
                <a:gd name="connsiteX66" fmla="*/ 43236 w 1183855"/>
                <a:gd name="connsiteY66" fmla="*/ 3660775 h 4713287"/>
                <a:gd name="connsiteX67" fmla="*/ 1167 w 1183855"/>
                <a:gd name="connsiteY67" fmla="*/ 3618574 h 4713287"/>
                <a:gd name="connsiteX68" fmla="*/ 1167 w 1183855"/>
                <a:gd name="connsiteY68" fmla="*/ 3196563 h 4713287"/>
                <a:gd name="connsiteX69" fmla="*/ 43236 w 1183855"/>
                <a:gd name="connsiteY69" fmla="*/ 3154362 h 4713287"/>
                <a:gd name="connsiteX70" fmla="*/ 1140993 w 1183855"/>
                <a:gd name="connsiteY70" fmla="*/ 2103437 h 4713287"/>
                <a:gd name="connsiteX71" fmla="*/ 1183855 w 1183855"/>
                <a:gd name="connsiteY71" fmla="*/ 2145506 h 4713287"/>
                <a:gd name="connsiteX72" fmla="*/ 1183855 w 1183855"/>
                <a:gd name="connsiteY72" fmla="*/ 2566193 h 4713287"/>
                <a:gd name="connsiteX73" fmla="*/ 1140993 w 1183855"/>
                <a:gd name="connsiteY73" fmla="*/ 2608262 h 4713287"/>
                <a:gd name="connsiteX74" fmla="*/ 1098130 w 1183855"/>
                <a:gd name="connsiteY74" fmla="*/ 2566193 h 4713287"/>
                <a:gd name="connsiteX75" fmla="*/ 1098130 w 1183855"/>
                <a:gd name="connsiteY75" fmla="*/ 2145506 h 4713287"/>
                <a:gd name="connsiteX76" fmla="*/ 1140993 w 1183855"/>
                <a:gd name="connsiteY76" fmla="*/ 2103437 h 4713287"/>
                <a:gd name="connsiteX77" fmla="*/ 867299 w 1183855"/>
                <a:gd name="connsiteY77" fmla="*/ 2103437 h 4713287"/>
                <a:gd name="connsiteX78" fmla="*/ 909218 w 1183855"/>
                <a:gd name="connsiteY78" fmla="*/ 2145506 h 4713287"/>
                <a:gd name="connsiteX79" fmla="*/ 909218 w 1183855"/>
                <a:gd name="connsiteY79" fmla="*/ 2566193 h 4713287"/>
                <a:gd name="connsiteX80" fmla="*/ 867299 w 1183855"/>
                <a:gd name="connsiteY80" fmla="*/ 2608262 h 4713287"/>
                <a:gd name="connsiteX81" fmla="*/ 825080 w 1183855"/>
                <a:gd name="connsiteY81" fmla="*/ 2566193 h 4713287"/>
                <a:gd name="connsiteX82" fmla="*/ 825080 w 1183855"/>
                <a:gd name="connsiteY82" fmla="*/ 2145506 h 4713287"/>
                <a:gd name="connsiteX83" fmla="*/ 867299 w 1183855"/>
                <a:gd name="connsiteY83" fmla="*/ 2103437 h 4713287"/>
                <a:gd name="connsiteX84" fmla="*/ 592511 w 1183855"/>
                <a:gd name="connsiteY84" fmla="*/ 2103437 h 4713287"/>
                <a:gd name="connsiteX85" fmla="*/ 634580 w 1183855"/>
                <a:gd name="connsiteY85" fmla="*/ 2145506 h 4713287"/>
                <a:gd name="connsiteX86" fmla="*/ 634580 w 1183855"/>
                <a:gd name="connsiteY86" fmla="*/ 2566193 h 4713287"/>
                <a:gd name="connsiteX87" fmla="*/ 592511 w 1183855"/>
                <a:gd name="connsiteY87" fmla="*/ 2608262 h 4713287"/>
                <a:gd name="connsiteX88" fmla="*/ 550442 w 1183855"/>
                <a:gd name="connsiteY88" fmla="*/ 2566193 h 4713287"/>
                <a:gd name="connsiteX89" fmla="*/ 550442 w 1183855"/>
                <a:gd name="connsiteY89" fmla="*/ 2145506 h 4713287"/>
                <a:gd name="connsiteX90" fmla="*/ 592511 w 1183855"/>
                <a:gd name="connsiteY90" fmla="*/ 2103437 h 4713287"/>
                <a:gd name="connsiteX91" fmla="*/ 317874 w 1183855"/>
                <a:gd name="connsiteY91" fmla="*/ 2103437 h 4713287"/>
                <a:gd name="connsiteX92" fmla="*/ 359943 w 1183855"/>
                <a:gd name="connsiteY92" fmla="*/ 2145506 h 4713287"/>
                <a:gd name="connsiteX93" fmla="*/ 359943 w 1183855"/>
                <a:gd name="connsiteY93" fmla="*/ 2566193 h 4713287"/>
                <a:gd name="connsiteX94" fmla="*/ 317874 w 1183855"/>
                <a:gd name="connsiteY94" fmla="*/ 2608262 h 4713287"/>
                <a:gd name="connsiteX95" fmla="*/ 275805 w 1183855"/>
                <a:gd name="connsiteY95" fmla="*/ 2566193 h 4713287"/>
                <a:gd name="connsiteX96" fmla="*/ 275805 w 1183855"/>
                <a:gd name="connsiteY96" fmla="*/ 2145506 h 4713287"/>
                <a:gd name="connsiteX97" fmla="*/ 317874 w 1183855"/>
                <a:gd name="connsiteY97" fmla="*/ 2103437 h 4713287"/>
                <a:gd name="connsiteX98" fmla="*/ 43236 w 1183855"/>
                <a:gd name="connsiteY98" fmla="*/ 2103437 h 4713287"/>
                <a:gd name="connsiteX99" fmla="*/ 85305 w 1183855"/>
                <a:gd name="connsiteY99" fmla="*/ 2145506 h 4713287"/>
                <a:gd name="connsiteX100" fmla="*/ 85305 w 1183855"/>
                <a:gd name="connsiteY100" fmla="*/ 2566193 h 4713287"/>
                <a:gd name="connsiteX101" fmla="*/ 43236 w 1183855"/>
                <a:gd name="connsiteY101" fmla="*/ 2608262 h 4713287"/>
                <a:gd name="connsiteX102" fmla="*/ 1167 w 1183855"/>
                <a:gd name="connsiteY102" fmla="*/ 2566193 h 4713287"/>
                <a:gd name="connsiteX103" fmla="*/ 1167 w 1183855"/>
                <a:gd name="connsiteY103" fmla="*/ 2145506 h 4713287"/>
                <a:gd name="connsiteX104" fmla="*/ 43236 w 1183855"/>
                <a:gd name="connsiteY104" fmla="*/ 2103437 h 4713287"/>
                <a:gd name="connsiteX105" fmla="*/ 1140993 w 1183855"/>
                <a:gd name="connsiteY105" fmla="*/ 1050926 h 4713287"/>
                <a:gd name="connsiteX106" fmla="*/ 1183855 w 1183855"/>
                <a:gd name="connsiteY106" fmla="*/ 1093152 h 4713287"/>
                <a:gd name="connsiteX107" fmla="*/ 1183855 w 1183855"/>
                <a:gd name="connsiteY107" fmla="*/ 1515112 h 4713287"/>
                <a:gd name="connsiteX108" fmla="*/ 1140993 w 1183855"/>
                <a:gd name="connsiteY108" fmla="*/ 1557339 h 4713287"/>
                <a:gd name="connsiteX109" fmla="*/ 1098130 w 1183855"/>
                <a:gd name="connsiteY109" fmla="*/ 1515112 h 4713287"/>
                <a:gd name="connsiteX110" fmla="*/ 1098130 w 1183855"/>
                <a:gd name="connsiteY110" fmla="*/ 1093152 h 4713287"/>
                <a:gd name="connsiteX111" fmla="*/ 1140993 w 1183855"/>
                <a:gd name="connsiteY111" fmla="*/ 1050926 h 4713287"/>
                <a:gd name="connsiteX112" fmla="*/ 592511 w 1183855"/>
                <a:gd name="connsiteY112" fmla="*/ 1050926 h 4713287"/>
                <a:gd name="connsiteX113" fmla="*/ 634580 w 1183855"/>
                <a:gd name="connsiteY113" fmla="*/ 1093152 h 4713287"/>
                <a:gd name="connsiteX114" fmla="*/ 634580 w 1183855"/>
                <a:gd name="connsiteY114" fmla="*/ 1515112 h 4713287"/>
                <a:gd name="connsiteX115" fmla="*/ 592511 w 1183855"/>
                <a:gd name="connsiteY115" fmla="*/ 1557339 h 4713287"/>
                <a:gd name="connsiteX116" fmla="*/ 550442 w 1183855"/>
                <a:gd name="connsiteY116" fmla="*/ 1515112 h 4713287"/>
                <a:gd name="connsiteX117" fmla="*/ 550442 w 1183855"/>
                <a:gd name="connsiteY117" fmla="*/ 1093152 h 4713287"/>
                <a:gd name="connsiteX118" fmla="*/ 592511 w 1183855"/>
                <a:gd name="connsiteY118" fmla="*/ 1050926 h 4713287"/>
                <a:gd name="connsiteX119" fmla="*/ 43236 w 1183855"/>
                <a:gd name="connsiteY119" fmla="*/ 1050926 h 4713287"/>
                <a:gd name="connsiteX120" fmla="*/ 85305 w 1183855"/>
                <a:gd name="connsiteY120" fmla="*/ 1093152 h 4713287"/>
                <a:gd name="connsiteX121" fmla="*/ 85305 w 1183855"/>
                <a:gd name="connsiteY121" fmla="*/ 1515112 h 4713287"/>
                <a:gd name="connsiteX122" fmla="*/ 43236 w 1183855"/>
                <a:gd name="connsiteY122" fmla="*/ 1557339 h 4713287"/>
                <a:gd name="connsiteX123" fmla="*/ 1167 w 1183855"/>
                <a:gd name="connsiteY123" fmla="*/ 1515112 h 4713287"/>
                <a:gd name="connsiteX124" fmla="*/ 1167 w 1183855"/>
                <a:gd name="connsiteY124" fmla="*/ 1093152 h 4713287"/>
                <a:gd name="connsiteX125" fmla="*/ 43236 w 1183855"/>
                <a:gd name="connsiteY125" fmla="*/ 1050926 h 4713287"/>
                <a:gd name="connsiteX126" fmla="*/ 867299 w 1183855"/>
                <a:gd name="connsiteY126" fmla="*/ 1050926 h 4713287"/>
                <a:gd name="connsiteX127" fmla="*/ 909218 w 1183855"/>
                <a:gd name="connsiteY127" fmla="*/ 1093152 h 4713287"/>
                <a:gd name="connsiteX128" fmla="*/ 909218 w 1183855"/>
                <a:gd name="connsiteY128" fmla="*/ 1515112 h 4713287"/>
                <a:gd name="connsiteX129" fmla="*/ 867299 w 1183855"/>
                <a:gd name="connsiteY129" fmla="*/ 1557338 h 4713287"/>
                <a:gd name="connsiteX130" fmla="*/ 825080 w 1183855"/>
                <a:gd name="connsiteY130" fmla="*/ 1515112 h 4713287"/>
                <a:gd name="connsiteX131" fmla="*/ 825080 w 1183855"/>
                <a:gd name="connsiteY131" fmla="*/ 1093152 h 4713287"/>
                <a:gd name="connsiteX132" fmla="*/ 867299 w 1183855"/>
                <a:gd name="connsiteY132" fmla="*/ 1050926 h 4713287"/>
                <a:gd name="connsiteX133" fmla="*/ 317874 w 1183855"/>
                <a:gd name="connsiteY133" fmla="*/ 1050926 h 4713287"/>
                <a:gd name="connsiteX134" fmla="*/ 359943 w 1183855"/>
                <a:gd name="connsiteY134" fmla="*/ 1093152 h 4713287"/>
                <a:gd name="connsiteX135" fmla="*/ 359943 w 1183855"/>
                <a:gd name="connsiteY135" fmla="*/ 1515112 h 4713287"/>
                <a:gd name="connsiteX136" fmla="*/ 317874 w 1183855"/>
                <a:gd name="connsiteY136" fmla="*/ 1557338 h 4713287"/>
                <a:gd name="connsiteX137" fmla="*/ 275805 w 1183855"/>
                <a:gd name="connsiteY137" fmla="*/ 1515112 h 4713287"/>
                <a:gd name="connsiteX138" fmla="*/ 275805 w 1183855"/>
                <a:gd name="connsiteY138" fmla="*/ 1093152 h 4713287"/>
                <a:gd name="connsiteX139" fmla="*/ 317874 w 1183855"/>
                <a:gd name="connsiteY139" fmla="*/ 1050926 h 4713287"/>
                <a:gd name="connsiteX140" fmla="*/ 867299 w 1183855"/>
                <a:gd name="connsiteY140" fmla="*/ 1 h 4713287"/>
                <a:gd name="connsiteX141" fmla="*/ 909218 w 1183855"/>
                <a:gd name="connsiteY141" fmla="*/ 42069 h 4713287"/>
                <a:gd name="connsiteX142" fmla="*/ 909218 w 1183855"/>
                <a:gd name="connsiteY142" fmla="*/ 462757 h 4713287"/>
                <a:gd name="connsiteX143" fmla="*/ 867299 w 1183855"/>
                <a:gd name="connsiteY143" fmla="*/ 504825 h 4713287"/>
                <a:gd name="connsiteX144" fmla="*/ 825080 w 1183855"/>
                <a:gd name="connsiteY144" fmla="*/ 462757 h 4713287"/>
                <a:gd name="connsiteX145" fmla="*/ 825080 w 1183855"/>
                <a:gd name="connsiteY145" fmla="*/ 42069 h 4713287"/>
                <a:gd name="connsiteX146" fmla="*/ 867299 w 1183855"/>
                <a:gd name="connsiteY146" fmla="*/ 1 h 4713287"/>
                <a:gd name="connsiteX147" fmla="*/ 317874 w 1183855"/>
                <a:gd name="connsiteY147" fmla="*/ 1 h 4713287"/>
                <a:gd name="connsiteX148" fmla="*/ 359943 w 1183855"/>
                <a:gd name="connsiteY148" fmla="*/ 42069 h 4713287"/>
                <a:gd name="connsiteX149" fmla="*/ 359943 w 1183855"/>
                <a:gd name="connsiteY149" fmla="*/ 462757 h 4713287"/>
                <a:gd name="connsiteX150" fmla="*/ 317874 w 1183855"/>
                <a:gd name="connsiteY150" fmla="*/ 504825 h 4713287"/>
                <a:gd name="connsiteX151" fmla="*/ 275805 w 1183855"/>
                <a:gd name="connsiteY151" fmla="*/ 462757 h 4713287"/>
                <a:gd name="connsiteX152" fmla="*/ 275805 w 1183855"/>
                <a:gd name="connsiteY152" fmla="*/ 42069 h 4713287"/>
                <a:gd name="connsiteX153" fmla="*/ 317874 w 1183855"/>
                <a:gd name="connsiteY153" fmla="*/ 1 h 4713287"/>
                <a:gd name="connsiteX154" fmla="*/ 592511 w 1183855"/>
                <a:gd name="connsiteY154" fmla="*/ 0 h 4713287"/>
                <a:gd name="connsiteX155" fmla="*/ 634580 w 1183855"/>
                <a:gd name="connsiteY155" fmla="*/ 42069 h 4713287"/>
                <a:gd name="connsiteX156" fmla="*/ 634580 w 1183855"/>
                <a:gd name="connsiteY156" fmla="*/ 462757 h 4713287"/>
                <a:gd name="connsiteX157" fmla="*/ 592511 w 1183855"/>
                <a:gd name="connsiteY157" fmla="*/ 504825 h 4713287"/>
                <a:gd name="connsiteX158" fmla="*/ 550442 w 1183855"/>
                <a:gd name="connsiteY158" fmla="*/ 462757 h 4713287"/>
                <a:gd name="connsiteX159" fmla="*/ 550442 w 1183855"/>
                <a:gd name="connsiteY159" fmla="*/ 42069 h 4713287"/>
                <a:gd name="connsiteX160" fmla="*/ 592511 w 1183855"/>
                <a:gd name="connsiteY160" fmla="*/ 0 h 4713287"/>
                <a:gd name="connsiteX161" fmla="*/ 1167 w 1183855"/>
                <a:gd name="connsiteY161" fmla="*/ 462757 h 4713287"/>
                <a:gd name="connsiteX162" fmla="*/ 85305 w 1183855"/>
                <a:gd name="connsiteY162" fmla="*/ 42069 h 4713287"/>
                <a:gd name="connsiteX163" fmla="*/ 85305 w 1183855"/>
                <a:gd name="connsiteY163" fmla="*/ 462757 h 4713287"/>
                <a:gd name="connsiteX164" fmla="*/ 43236 w 1183855"/>
                <a:gd name="connsiteY164" fmla="*/ 504825 h 4713287"/>
                <a:gd name="connsiteX165" fmla="*/ 1167 w 1183855"/>
                <a:gd name="connsiteY165" fmla="*/ 462757 h 4713287"/>
                <a:gd name="connsiteX166" fmla="*/ 1140993 w 1183855"/>
                <a:gd name="connsiteY166" fmla="*/ 0 h 4713287"/>
                <a:gd name="connsiteX167" fmla="*/ 1183855 w 1183855"/>
                <a:gd name="connsiteY167" fmla="*/ 42069 h 4713287"/>
                <a:gd name="connsiteX168" fmla="*/ 1183855 w 1183855"/>
                <a:gd name="connsiteY168" fmla="*/ 462756 h 4713287"/>
                <a:gd name="connsiteX169" fmla="*/ 1140993 w 1183855"/>
                <a:gd name="connsiteY169" fmla="*/ 504825 h 4713287"/>
                <a:gd name="connsiteX170" fmla="*/ 1098130 w 1183855"/>
                <a:gd name="connsiteY170" fmla="*/ 462756 h 4713287"/>
                <a:gd name="connsiteX171" fmla="*/ 1098130 w 1183855"/>
                <a:gd name="connsiteY171" fmla="*/ 42069 h 4713287"/>
                <a:gd name="connsiteX172" fmla="*/ 1140993 w 1183855"/>
                <a:gd name="connsiteY172" fmla="*/ 0 h 4713287"/>
                <a:gd name="connsiteX0" fmla="*/ 1140993 w 1183855"/>
                <a:gd name="connsiteY0" fmla="*/ 4208462 h 4713287"/>
                <a:gd name="connsiteX1" fmla="*/ 1183855 w 1183855"/>
                <a:gd name="connsiteY1" fmla="*/ 4250531 h 4713287"/>
                <a:gd name="connsiteX2" fmla="*/ 1183855 w 1183855"/>
                <a:gd name="connsiteY2" fmla="*/ 4671218 h 4713287"/>
                <a:gd name="connsiteX3" fmla="*/ 1140993 w 1183855"/>
                <a:gd name="connsiteY3" fmla="*/ 4713287 h 4713287"/>
                <a:gd name="connsiteX4" fmla="*/ 1098130 w 1183855"/>
                <a:gd name="connsiteY4" fmla="*/ 4671218 h 4713287"/>
                <a:gd name="connsiteX5" fmla="*/ 1098130 w 1183855"/>
                <a:gd name="connsiteY5" fmla="*/ 4250531 h 4713287"/>
                <a:gd name="connsiteX6" fmla="*/ 1140993 w 1183855"/>
                <a:gd name="connsiteY6" fmla="*/ 4208462 h 4713287"/>
                <a:gd name="connsiteX7" fmla="*/ 867299 w 1183855"/>
                <a:gd name="connsiteY7" fmla="*/ 4208462 h 4713287"/>
                <a:gd name="connsiteX8" fmla="*/ 909218 w 1183855"/>
                <a:gd name="connsiteY8" fmla="*/ 4250531 h 4713287"/>
                <a:gd name="connsiteX9" fmla="*/ 909218 w 1183855"/>
                <a:gd name="connsiteY9" fmla="*/ 4671218 h 4713287"/>
                <a:gd name="connsiteX10" fmla="*/ 867299 w 1183855"/>
                <a:gd name="connsiteY10" fmla="*/ 4713287 h 4713287"/>
                <a:gd name="connsiteX11" fmla="*/ 825080 w 1183855"/>
                <a:gd name="connsiteY11" fmla="*/ 4671218 h 4713287"/>
                <a:gd name="connsiteX12" fmla="*/ 825080 w 1183855"/>
                <a:gd name="connsiteY12" fmla="*/ 4250531 h 4713287"/>
                <a:gd name="connsiteX13" fmla="*/ 867299 w 1183855"/>
                <a:gd name="connsiteY13" fmla="*/ 4208462 h 4713287"/>
                <a:gd name="connsiteX14" fmla="*/ 592511 w 1183855"/>
                <a:gd name="connsiteY14" fmla="*/ 4208462 h 4713287"/>
                <a:gd name="connsiteX15" fmla="*/ 634580 w 1183855"/>
                <a:gd name="connsiteY15" fmla="*/ 4250531 h 4713287"/>
                <a:gd name="connsiteX16" fmla="*/ 634580 w 1183855"/>
                <a:gd name="connsiteY16" fmla="*/ 4671218 h 4713287"/>
                <a:gd name="connsiteX17" fmla="*/ 592511 w 1183855"/>
                <a:gd name="connsiteY17" fmla="*/ 4713287 h 4713287"/>
                <a:gd name="connsiteX18" fmla="*/ 550442 w 1183855"/>
                <a:gd name="connsiteY18" fmla="*/ 4671218 h 4713287"/>
                <a:gd name="connsiteX19" fmla="*/ 550442 w 1183855"/>
                <a:gd name="connsiteY19" fmla="*/ 4250531 h 4713287"/>
                <a:gd name="connsiteX20" fmla="*/ 592511 w 1183855"/>
                <a:gd name="connsiteY20" fmla="*/ 4208462 h 4713287"/>
                <a:gd name="connsiteX21" fmla="*/ 317874 w 1183855"/>
                <a:gd name="connsiteY21" fmla="*/ 4208462 h 4713287"/>
                <a:gd name="connsiteX22" fmla="*/ 359943 w 1183855"/>
                <a:gd name="connsiteY22" fmla="*/ 4250531 h 4713287"/>
                <a:gd name="connsiteX23" fmla="*/ 359943 w 1183855"/>
                <a:gd name="connsiteY23" fmla="*/ 4671218 h 4713287"/>
                <a:gd name="connsiteX24" fmla="*/ 317874 w 1183855"/>
                <a:gd name="connsiteY24" fmla="*/ 4713287 h 4713287"/>
                <a:gd name="connsiteX25" fmla="*/ 275805 w 1183855"/>
                <a:gd name="connsiteY25" fmla="*/ 4671218 h 4713287"/>
                <a:gd name="connsiteX26" fmla="*/ 275805 w 1183855"/>
                <a:gd name="connsiteY26" fmla="*/ 4250531 h 4713287"/>
                <a:gd name="connsiteX27" fmla="*/ 317874 w 1183855"/>
                <a:gd name="connsiteY27" fmla="*/ 4208462 h 4713287"/>
                <a:gd name="connsiteX28" fmla="*/ 43236 w 1183855"/>
                <a:gd name="connsiteY28" fmla="*/ 4208462 h 4713287"/>
                <a:gd name="connsiteX29" fmla="*/ 85305 w 1183855"/>
                <a:gd name="connsiteY29" fmla="*/ 4250531 h 4713287"/>
                <a:gd name="connsiteX30" fmla="*/ 85305 w 1183855"/>
                <a:gd name="connsiteY30" fmla="*/ 4671218 h 4713287"/>
                <a:gd name="connsiteX31" fmla="*/ 43236 w 1183855"/>
                <a:gd name="connsiteY31" fmla="*/ 4713287 h 4713287"/>
                <a:gd name="connsiteX32" fmla="*/ 1167 w 1183855"/>
                <a:gd name="connsiteY32" fmla="*/ 4671218 h 4713287"/>
                <a:gd name="connsiteX33" fmla="*/ 1167 w 1183855"/>
                <a:gd name="connsiteY33" fmla="*/ 4250531 h 4713287"/>
                <a:gd name="connsiteX34" fmla="*/ 43236 w 1183855"/>
                <a:gd name="connsiteY34" fmla="*/ 4208462 h 4713287"/>
                <a:gd name="connsiteX35" fmla="*/ 1140993 w 1183855"/>
                <a:gd name="connsiteY35" fmla="*/ 3154362 h 4713287"/>
                <a:gd name="connsiteX36" fmla="*/ 1183855 w 1183855"/>
                <a:gd name="connsiteY36" fmla="*/ 3196563 h 4713287"/>
                <a:gd name="connsiteX37" fmla="*/ 1183855 w 1183855"/>
                <a:gd name="connsiteY37" fmla="*/ 3618574 h 4713287"/>
                <a:gd name="connsiteX38" fmla="*/ 1140993 w 1183855"/>
                <a:gd name="connsiteY38" fmla="*/ 3660775 h 4713287"/>
                <a:gd name="connsiteX39" fmla="*/ 1098130 w 1183855"/>
                <a:gd name="connsiteY39" fmla="*/ 3618574 h 4713287"/>
                <a:gd name="connsiteX40" fmla="*/ 1098130 w 1183855"/>
                <a:gd name="connsiteY40" fmla="*/ 3196563 h 4713287"/>
                <a:gd name="connsiteX41" fmla="*/ 1140993 w 1183855"/>
                <a:gd name="connsiteY41" fmla="*/ 3154362 h 4713287"/>
                <a:gd name="connsiteX42" fmla="*/ 867299 w 1183855"/>
                <a:gd name="connsiteY42" fmla="*/ 3154362 h 4713287"/>
                <a:gd name="connsiteX43" fmla="*/ 909218 w 1183855"/>
                <a:gd name="connsiteY43" fmla="*/ 3196563 h 4713287"/>
                <a:gd name="connsiteX44" fmla="*/ 909218 w 1183855"/>
                <a:gd name="connsiteY44" fmla="*/ 3618574 h 4713287"/>
                <a:gd name="connsiteX45" fmla="*/ 867299 w 1183855"/>
                <a:gd name="connsiteY45" fmla="*/ 3660775 h 4713287"/>
                <a:gd name="connsiteX46" fmla="*/ 825080 w 1183855"/>
                <a:gd name="connsiteY46" fmla="*/ 3618574 h 4713287"/>
                <a:gd name="connsiteX47" fmla="*/ 825080 w 1183855"/>
                <a:gd name="connsiteY47" fmla="*/ 3196563 h 4713287"/>
                <a:gd name="connsiteX48" fmla="*/ 867299 w 1183855"/>
                <a:gd name="connsiteY48" fmla="*/ 3154362 h 4713287"/>
                <a:gd name="connsiteX49" fmla="*/ 592511 w 1183855"/>
                <a:gd name="connsiteY49" fmla="*/ 3154362 h 4713287"/>
                <a:gd name="connsiteX50" fmla="*/ 634580 w 1183855"/>
                <a:gd name="connsiteY50" fmla="*/ 3196563 h 4713287"/>
                <a:gd name="connsiteX51" fmla="*/ 634580 w 1183855"/>
                <a:gd name="connsiteY51" fmla="*/ 3618574 h 4713287"/>
                <a:gd name="connsiteX52" fmla="*/ 592511 w 1183855"/>
                <a:gd name="connsiteY52" fmla="*/ 3660775 h 4713287"/>
                <a:gd name="connsiteX53" fmla="*/ 550442 w 1183855"/>
                <a:gd name="connsiteY53" fmla="*/ 3618574 h 4713287"/>
                <a:gd name="connsiteX54" fmla="*/ 550442 w 1183855"/>
                <a:gd name="connsiteY54" fmla="*/ 3196563 h 4713287"/>
                <a:gd name="connsiteX55" fmla="*/ 592511 w 1183855"/>
                <a:gd name="connsiteY55" fmla="*/ 3154362 h 4713287"/>
                <a:gd name="connsiteX56" fmla="*/ 317874 w 1183855"/>
                <a:gd name="connsiteY56" fmla="*/ 3154362 h 4713287"/>
                <a:gd name="connsiteX57" fmla="*/ 359943 w 1183855"/>
                <a:gd name="connsiteY57" fmla="*/ 3196563 h 4713287"/>
                <a:gd name="connsiteX58" fmla="*/ 359943 w 1183855"/>
                <a:gd name="connsiteY58" fmla="*/ 3618574 h 4713287"/>
                <a:gd name="connsiteX59" fmla="*/ 317874 w 1183855"/>
                <a:gd name="connsiteY59" fmla="*/ 3660775 h 4713287"/>
                <a:gd name="connsiteX60" fmla="*/ 275805 w 1183855"/>
                <a:gd name="connsiteY60" fmla="*/ 3618574 h 4713287"/>
                <a:gd name="connsiteX61" fmla="*/ 275805 w 1183855"/>
                <a:gd name="connsiteY61" fmla="*/ 3196563 h 4713287"/>
                <a:gd name="connsiteX62" fmla="*/ 317874 w 1183855"/>
                <a:gd name="connsiteY62" fmla="*/ 3154362 h 4713287"/>
                <a:gd name="connsiteX63" fmla="*/ 43236 w 1183855"/>
                <a:gd name="connsiteY63" fmla="*/ 3154362 h 4713287"/>
                <a:gd name="connsiteX64" fmla="*/ 85305 w 1183855"/>
                <a:gd name="connsiteY64" fmla="*/ 3196563 h 4713287"/>
                <a:gd name="connsiteX65" fmla="*/ 85305 w 1183855"/>
                <a:gd name="connsiteY65" fmla="*/ 3618574 h 4713287"/>
                <a:gd name="connsiteX66" fmla="*/ 43236 w 1183855"/>
                <a:gd name="connsiteY66" fmla="*/ 3660775 h 4713287"/>
                <a:gd name="connsiteX67" fmla="*/ 1167 w 1183855"/>
                <a:gd name="connsiteY67" fmla="*/ 3618574 h 4713287"/>
                <a:gd name="connsiteX68" fmla="*/ 1167 w 1183855"/>
                <a:gd name="connsiteY68" fmla="*/ 3196563 h 4713287"/>
                <a:gd name="connsiteX69" fmla="*/ 43236 w 1183855"/>
                <a:gd name="connsiteY69" fmla="*/ 3154362 h 4713287"/>
                <a:gd name="connsiteX70" fmla="*/ 1140993 w 1183855"/>
                <a:gd name="connsiteY70" fmla="*/ 2103437 h 4713287"/>
                <a:gd name="connsiteX71" fmla="*/ 1183855 w 1183855"/>
                <a:gd name="connsiteY71" fmla="*/ 2145506 h 4713287"/>
                <a:gd name="connsiteX72" fmla="*/ 1183855 w 1183855"/>
                <a:gd name="connsiteY72" fmla="*/ 2566193 h 4713287"/>
                <a:gd name="connsiteX73" fmla="*/ 1140993 w 1183855"/>
                <a:gd name="connsiteY73" fmla="*/ 2608262 h 4713287"/>
                <a:gd name="connsiteX74" fmla="*/ 1098130 w 1183855"/>
                <a:gd name="connsiteY74" fmla="*/ 2566193 h 4713287"/>
                <a:gd name="connsiteX75" fmla="*/ 1098130 w 1183855"/>
                <a:gd name="connsiteY75" fmla="*/ 2145506 h 4713287"/>
                <a:gd name="connsiteX76" fmla="*/ 1140993 w 1183855"/>
                <a:gd name="connsiteY76" fmla="*/ 2103437 h 4713287"/>
                <a:gd name="connsiteX77" fmla="*/ 867299 w 1183855"/>
                <a:gd name="connsiteY77" fmla="*/ 2103437 h 4713287"/>
                <a:gd name="connsiteX78" fmla="*/ 909218 w 1183855"/>
                <a:gd name="connsiteY78" fmla="*/ 2145506 h 4713287"/>
                <a:gd name="connsiteX79" fmla="*/ 909218 w 1183855"/>
                <a:gd name="connsiteY79" fmla="*/ 2566193 h 4713287"/>
                <a:gd name="connsiteX80" fmla="*/ 867299 w 1183855"/>
                <a:gd name="connsiteY80" fmla="*/ 2608262 h 4713287"/>
                <a:gd name="connsiteX81" fmla="*/ 825080 w 1183855"/>
                <a:gd name="connsiteY81" fmla="*/ 2566193 h 4713287"/>
                <a:gd name="connsiteX82" fmla="*/ 825080 w 1183855"/>
                <a:gd name="connsiteY82" fmla="*/ 2145506 h 4713287"/>
                <a:gd name="connsiteX83" fmla="*/ 867299 w 1183855"/>
                <a:gd name="connsiteY83" fmla="*/ 2103437 h 4713287"/>
                <a:gd name="connsiteX84" fmla="*/ 592511 w 1183855"/>
                <a:gd name="connsiteY84" fmla="*/ 2103437 h 4713287"/>
                <a:gd name="connsiteX85" fmla="*/ 634580 w 1183855"/>
                <a:gd name="connsiteY85" fmla="*/ 2145506 h 4713287"/>
                <a:gd name="connsiteX86" fmla="*/ 634580 w 1183855"/>
                <a:gd name="connsiteY86" fmla="*/ 2566193 h 4713287"/>
                <a:gd name="connsiteX87" fmla="*/ 592511 w 1183855"/>
                <a:gd name="connsiteY87" fmla="*/ 2608262 h 4713287"/>
                <a:gd name="connsiteX88" fmla="*/ 550442 w 1183855"/>
                <a:gd name="connsiteY88" fmla="*/ 2566193 h 4713287"/>
                <a:gd name="connsiteX89" fmla="*/ 550442 w 1183855"/>
                <a:gd name="connsiteY89" fmla="*/ 2145506 h 4713287"/>
                <a:gd name="connsiteX90" fmla="*/ 592511 w 1183855"/>
                <a:gd name="connsiteY90" fmla="*/ 2103437 h 4713287"/>
                <a:gd name="connsiteX91" fmla="*/ 317874 w 1183855"/>
                <a:gd name="connsiteY91" fmla="*/ 2103437 h 4713287"/>
                <a:gd name="connsiteX92" fmla="*/ 359943 w 1183855"/>
                <a:gd name="connsiteY92" fmla="*/ 2145506 h 4713287"/>
                <a:gd name="connsiteX93" fmla="*/ 359943 w 1183855"/>
                <a:gd name="connsiteY93" fmla="*/ 2566193 h 4713287"/>
                <a:gd name="connsiteX94" fmla="*/ 317874 w 1183855"/>
                <a:gd name="connsiteY94" fmla="*/ 2608262 h 4713287"/>
                <a:gd name="connsiteX95" fmla="*/ 275805 w 1183855"/>
                <a:gd name="connsiteY95" fmla="*/ 2566193 h 4713287"/>
                <a:gd name="connsiteX96" fmla="*/ 275805 w 1183855"/>
                <a:gd name="connsiteY96" fmla="*/ 2145506 h 4713287"/>
                <a:gd name="connsiteX97" fmla="*/ 317874 w 1183855"/>
                <a:gd name="connsiteY97" fmla="*/ 2103437 h 4713287"/>
                <a:gd name="connsiteX98" fmla="*/ 43236 w 1183855"/>
                <a:gd name="connsiteY98" fmla="*/ 2103437 h 4713287"/>
                <a:gd name="connsiteX99" fmla="*/ 85305 w 1183855"/>
                <a:gd name="connsiteY99" fmla="*/ 2145506 h 4713287"/>
                <a:gd name="connsiteX100" fmla="*/ 85305 w 1183855"/>
                <a:gd name="connsiteY100" fmla="*/ 2566193 h 4713287"/>
                <a:gd name="connsiteX101" fmla="*/ 43236 w 1183855"/>
                <a:gd name="connsiteY101" fmla="*/ 2608262 h 4713287"/>
                <a:gd name="connsiteX102" fmla="*/ 1167 w 1183855"/>
                <a:gd name="connsiteY102" fmla="*/ 2566193 h 4713287"/>
                <a:gd name="connsiteX103" fmla="*/ 1167 w 1183855"/>
                <a:gd name="connsiteY103" fmla="*/ 2145506 h 4713287"/>
                <a:gd name="connsiteX104" fmla="*/ 43236 w 1183855"/>
                <a:gd name="connsiteY104" fmla="*/ 2103437 h 4713287"/>
                <a:gd name="connsiteX105" fmla="*/ 1140993 w 1183855"/>
                <a:gd name="connsiteY105" fmla="*/ 1050926 h 4713287"/>
                <a:gd name="connsiteX106" fmla="*/ 1183855 w 1183855"/>
                <a:gd name="connsiteY106" fmla="*/ 1093152 h 4713287"/>
                <a:gd name="connsiteX107" fmla="*/ 1183855 w 1183855"/>
                <a:gd name="connsiteY107" fmla="*/ 1515112 h 4713287"/>
                <a:gd name="connsiteX108" fmla="*/ 1140993 w 1183855"/>
                <a:gd name="connsiteY108" fmla="*/ 1557339 h 4713287"/>
                <a:gd name="connsiteX109" fmla="*/ 1098130 w 1183855"/>
                <a:gd name="connsiteY109" fmla="*/ 1515112 h 4713287"/>
                <a:gd name="connsiteX110" fmla="*/ 1098130 w 1183855"/>
                <a:gd name="connsiteY110" fmla="*/ 1093152 h 4713287"/>
                <a:gd name="connsiteX111" fmla="*/ 1140993 w 1183855"/>
                <a:gd name="connsiteY111" fmla="*/ 1050926 h 4713287"/>
                <a:gd name="connsiteX112" fmla="*/ 592511 w 1183855"/>
                <a:gd name="connsiteY112" fmla="*/ 1050926 h 4713287"/>
                <a:gd name="connsiteX113" fmla="*/ 634580 w 1183855"/>
                <a:gd name="connsiteY113" fmla="*/ 1093152 h 4713287"/>
                <a:gd name="connsiteX114" fmla="*/ 634580 w 1183855"/>
                <a:gd name="connsiteY114" fmla="*/ 1515112 h 4713287"/>
                <a:gd name="connsiteX115" fmla="*/ 592511 w 1183855"/>
                <a:gd name="connsiteY115" fmla="*/ 1557339 h 4713287"/>
                <a:gd name="connsiteX116" fmla="*/ 550442 w 1183855"/>
                <a:gd name="connsiteY116" fmla="*/ 1515112 h 4713287"/>
                <a:gd name="connsiteX117" fmla="*/ 550442 w 1183855"/>
                <a:gd name="connsiteY117" fmla="*/ 1093152 h 4713287"/>
                <a:gd name="connsiteX118" fmla="*/ 592511 w 1183855"/>
                <a:gd name="connsiteY118" fmla="*/ 1050926 h 4713287"/>
                <a:gd name="connsiteX119" fmla="*/ 43236 w 1183855"/>
                <a:gd name="connsiteY119" fmla="*/ 1050926 h 4713287"/>
                <a:gd name="connsiteX120" fmla="*/ 85305 w 1183855"/>
                <a:gd name="connsiteY120" fmla="*/ 1093152 h 4713287"/>
                <a:gd name="connsiteX121" fmla="*/ 85305 w 1183855"/>
                <a:gd name="connsiteY121" fmla="*/ 1515112 h 4713287"/>
                <a:gd name="connsiteX122" fmla="*/ 43236 w 1183855"/>
                <a:gd name="connsiteY122" fmla="*/ 1557339 h 4713287"/>
                <a:gd name="connsiteX123" fmla="*/ 1167 w 1183855"/>
                <a:gd name="connsiteY123" fmla="*/ 1515112 h 4713287"/>
                <a:gd name="connsiteX124" fmla="*/ 1167 w 1183855"/>
                <a:gd name="connsiteY124" fmla="*/ 1093152 h 4713287"/>
                <a:gd name="connsiteX125" fmla="*/ 43236 w 1183855"/>
                <a:gd name="connsiteY125" fmla="*/ 1050926 h 4713287"/>
                <a:gd name="connsiteX126" fmla="*/ 867299 w 1183855"/>
                <a:gd name="connsiteY126" fmla="*/ 1050926 h 4713287"/>
                <a:gd name="connsiteX127" fmla="*/ 909218 w 1183855"/>
                <a:gd name="connsiteY127" fmla="*/ 1093152 h 4713287"/>
                <a:gd name="connsiteX128" fmla="*/ 909218 w 1183855"/>
                <a:gd name="connsiteY128" fmla="*/ 1515112 h 4713287"/>
                <a:gd name="connsiteX129" fmla="*/ 867299 w 1183855"/>
                <a:gd name="connsiteY129" fmla="*/ 1557338 h 4713287"/>
                <a:gd name="connsiteX130" fmla="*/ 825080 w 1183855"/>
                <a:gd name="connsiteY130" fmla="*/ 1515112 h 4713287"/>
                <a:gd name="connsiteX131" fmla="*/ 825080 w 1183855"/>
                <a:gd name="connsiteY131" fmla="*/ 1093152 h 4713287"/>
                <a:gd name="connsiteX132" fmla="*/ 867299 w 1183855"/>
                <a:gd name="connsiteY132" fmla="*/ 1050926 h 4713287"/>
                <a:gd name="connsiteX133" fmla="*/ 317874 w 1183855"/>
                <a:gd name="connsiteY133" fmla="*/ 1050926 h 4713287"/>
                <a:gd name="connsiteX134" fmla="*/ 359943 w 1183855"/>
                <a:gd name="connsiteY134" fmla="*/ 1093152 h 4713287"/>
                <a:gd name="connsiteX135" fmla="*/ 359943 w 1183855"/>
                <a:gd name="connsiteY135" fmla="*/ 1515112 h 4713287"/>
                <a:gd name="connsiteX136" fmla="*/ 317874 w 1183855"/>
                <a:gd name="connsiteY136" fmla="*/ 1557338 h 4713287"/>
                <a:gd name="connsiteX137" fmla="*/ 275805 w 1183855"/>
                <a:gd name="connsiteY137" fmla="*/ 1515112 h 4713287"/>
                <a:gd name="connsiteX138" fmla="*/ 275805 w 1183855"/>
                <a:gd name="connsiteY138" fmla="*/ 1093152 h 4713287"/>
                <a:gd name="connsiteX139" fmla="*/ 317874 w 1183855"/>
                <a:gd name="connsiteY139" fmla="*/ 1050926 h 4713287"/>
                <a:gd name="connsiteX140" fmla="*/ 867299 w 1183855"/>
                <a:gd name="connsiteY140" fmla="*/ 1 h 4713287"/>
                <a:gd name="connsiteX141" fmla="*/ 909218 w 1183855"/>
                <a:gd name="connsiteY141" fmla="*/ 42069 h 4713287"/>
                <a:gd name="connsiteX142" fmla="*/ 909218 w 1183855"/>
                <a:gd name="connsiteY142" fmla="*/ 462757 h 4713287"/>
                <a:gd name="connsiteX143" fmla="*/ 867299 w 1183855"/>
                <a:gd name="connsiteY143" fmla="*/ 504825 h 4713287"/>
                <a:gd name="connsiteX144" fmla="*/ 825080 w 1183855"/>
                <a:gd name="connsiteY144" fmla="*/ 462757 h 4713287"/>
                <a:gd name="connsiteX145" fmla="*/ 825080 w 1183855"/>
                <a:gd name="connsiteY145" fmla="*/ 42069 h 4713287"/>
                <a:gd name="connsiteX146" fmla="*/ 867299 w 1183855"/>
                <a:gd name="connsiteY146" fmla="*/ 1 h 4713287"/>
                <a:gd name="connsiteX147" fmla="*/ 317874 w 1183855"/>
                <a:gd name="connsiteY147" fmla="*/ 1 h 4713287"/>
                <a:gd name="connsiteX148" fmla="*/ 359943 w 1183855"/>
                <a:gd name="connsiteY148" fmla="*/ 42069 h 4713287"/>
                <a:gd name="connsiteX149" fmla="*/ 359943 w 1183855"/>
                <a:gd name="connsiteY149" fmla="*/ 462757 h 4713287"/>
                <a:gd name="connsiteX150" fmla="*/ 317874 w 1183855"/>
                <a:gd name="connsiteY150" fmla="*/ 504825 h 4713287"/>
                <a:gd name="connsiteX151" fmla="*/ 275805 w 1183855"/>
                <a:gd name="connsiteY151" fmla="*/ 462757 h 4713287"/>
                <a:gd name="connsiteX152" fmla="*/ 275805 w 1183855"/>
                <a:gd name="connsiteY152" fmla="*/ 42069 h 4713287"/>
                <a:gd name="connsiteX153" fmla="*/ 317874 w 1183855"/>
                <a:gd name="connsiteY153" fmla="*/ 1 h 4713287"/>
                <a:gd name="connsiteX154" fmla="*/ 592511 w 1183855"/>
                <a:gd name="connsiteY154" fmla="*/ 0 h 4713287"/>
                <a:gd name="connsiteX155" fmla="*/ 634580 w 1183855"/>
                <a:gd name="connsiteY155" fmla="*/ 42069 h 4713287"/>
                <a:gd name="connsiteX156" fmla="*/ 634580 w 1183855"/>
                <a:gd name="connsiteY156" fmla="*/ 462757 h 4713287"/>
                <a:gd name="connsiteX157" fmla="*/ 592511 w 1183855"/>
                <a:gd name="connsiteY157" fmla="*/ 504825 h 4713287"/>
                <a:gd name="connsiteX158" fmla="*/ 550442 w 1183855"/>
                <a:gd name="connsiteY158" fmla="*/ 462757 h 4713287"/>
                <a:gd name="connsiteX159" fmla="*/ 550442 w 1183855"/>
                <a:gd name="connsiteY159" fmla="*/ 42069 h 4713287"/>
                <a:gd name="connsiteX160" fmla="*/ 592511 w 1183855"/>
                <a:gd name="connsiteY160" fmla="*/ 0 h 4713287"/>
                <a:gd name="connsiteX161" fmla="*/ 1167 w 1183855"/>
                <a:gd name="connsiteY161" fmla="*/ 462757 h 4713287"/>
                <a:gd name="connsiteX162" fmla="*/ 85305 w 1183855"/>
                <a:gd name="connsiteY162" fmla="*/ 462757 h 4713287"/>
                <a:gd name="connsiteX163" fmla="*/ 43236 w 1183855"/>
                <a:gd name="connsiteY163" fmla="*/ 504825 h 4713287"/>
                <a:gd name="connsiteX164" fmla="*/ 1167 w 1183855"/>
                <a:gd name="connsiteY164" fmla="*/ 462757 h 4713287"/>
                <a:gd name="connsiteX165" fmla="*/ 1140993 w 1183855"/>
                <a:gd name="connsiteY165" fmla="*/ 0 h 4713287"/>
                <a:gd name="connsiteX166" fmla="*/ 1183855 w 1183855"/>
                <a:gd name="connsiteY166" fmla="*/ 42069 h 4713287"/>
                <a:gd name="connsiteX167" fmla="*/ 1183855 w 1183855"/>
                <a:gd name="connsiteY167" fmla="*/ 462756 h 4713287"/>
                <a:gd name="connsiteX168" fmla="*/ 1140993 w 1183855"/>
                <a:gd name="connsiteY168" fmla="*/ 504825 h 4713287"/>
                <a:gd name="connsiteX169" fmla="*/ 1098130 w 1183855"/>
                <a:gd name="connsiteY169" fmla="*/ 462756 h 4713287"/>
                <a:gd name="connsiteX170" fmla="*/ 1098130 w 1183855"/>
                <a:gd name="connsiteY170" fmla="*/ 42069 h 4713287"/>
                <a:gd name="connsiteX171" fmla="*/ 1140993 w 1183855"/>
                <a:gd name="connsiteY171" fmla="*/ 0 h 4713287"/>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504825 h 4713287"/>
                <a:gd name="connsiteX162" fmla="*/ 84138 w 1182688"/>
                <a:gd name="connsiteY162" fmla="*/ 462757 h 4713287"/>
                <a:gd name="connsiteX163" fmla="*/ 42069 w 1182688"/>
                <a:gd name="connsiteY163" fmla="*/ 504825 h 4713287"/>
                <a:gd name="connsiteX164" fmla="*/ 1139826 w 1182688"/>
                <a:gd name="connsiteY164" fmla="*/ 0 h 4713287"/>
                <a:gd name="connsiteX165" fmla="*/ 1182688 w 1182688"/>
                <a:gd name="connsiteY165" fmla="*/ 42069 h 4713287"/>
                <a:gd name="connsiteX166" fmla="*/ 1182688 w 1182688"/>
                <a:gd name="connsiteY166" fmla="*/ 462756 h 4713287"/>
                <a:gd name="connsiteX167" fmla="*/ 1139826 w 1182688"/>
                <a:gd name="connsiteY167" fmla="*/ 504825 h 4713287"/>
                <a:gd name="connsiteX168" fmla="*/ 1096963 w 1182688"/>
                <a:gd name="connsiteY168" fmla="*/ 462756 h 4713287"/>
                <a:gd name="connsiteX169" fmla="*/ 1096963 w 1182688"/>
                <a:gd name="connsiteY169" fmla="*/ 42069 h 4713287"/>
                <a:gd name="connsiteX170" fmla="*/ 1139826 w 1182688"/>
                <a:gd name="connsiteY170" fmla="*/ 0 h 4713287"/>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1139826 w 1182688"/>
                <a:gd name="connsiteY161" fmla="*/ 0 h 4713287"/>
                <a:gd name="connsiteX162" fmla="*/ 1182688 w 1182688"/>
                <a:gd name="connsiteY162" fmla="*/ 42069 h 4713287"/>
                <a:gd name="connsiteX163" fmla="*/ 1182688 w 1182688"/>
                <a:gd name="connsiteY163" fmla="*/ 462756 h 4713287"/>
                <a:gd name="connsiteX164" fmla="*/ 1139826 w 1182688"/>
                <a:gd name="connsiteY164" fmla="*/ 504825 h 4713287"/>
                <a:gd name="connsiteX165" fmla="*/ 1096963 w 1182688"/>
                <a:gd name="connsiteY165" fmla="*/ 462756 h 4713287"/>
                <a:gd name="connsiteX166" fmla="*/ 1096963 w 1182688"/>
                <a:gd name="connsiteY166" fmla="*/ 42069 h 4713287"/>
                <a:gd name="connsiteX167" fmla="*/ 1139826 w 1182688"/>
                <a:gd name="connsiteY167" fmla="*/ 0 h 4713287"/>
                <a:gd name="connsiteX0" fmla="*/ 1139826 w 1182688"/>
                <a:gd name="connsiteY0" fmla="*/ 4218977 h 4723802"/>
                <a:gd name="connsiteX1" fmla="*/ 1182688 w 1182688"/>
                <a:gd name="connsiteY1" fmla="*/ 4261046 h 4723802"/>
                <a:gd name="connsiteX2" fmla="*/ 1182688 w 1182688"/>
                <a:gd name="connsiteY2" fmla="*/ 4681733 h 4723802"/>
                <a:gd name="connsiteX3" fmla="*/ 1139826 w 1182688"/>
                <a:gd name="connsiteY3" fmla="*/ 4723802 h 4723802"/>
                <a:gd name="connsiteX4" fmla="*/ 1096963 w 1182688"/>
                <a:gd name="connsiteY4" fmla="*/ 4681733 h 4723802"/>
                <a:gd name="connsiteX5" fmla="*/ 1096963 w 1182688"/>
                <a:gd name="connsiteY5" fmla="*/ 4261046 h 4723802"/>
                <a:gd name="connsiteX6" fmla="*/ 1139826 w 1182688"/>
                <a:gd name="connsiteY6" fmla="*/ 4218977 h 4723802"/>
                <a:gd name="connsiteX7" fmla="*/ 866132 w 1182688"/>
                <a:gd name="connsiteY7" fmla="*/ 4218977 h 4723802"/>
                <a:gd name="connsiteX8" fmla="*/ 908051 w 1182688"/>
                <a:gd name="connsiteY8" fmla="*/ 4261046 h 4723802"/>
                <a:gd name="connsiteX9" fmla="*/ 908051 w 1182688"/>
                <a:gd name="connsiteY9" fmla="*/ 4681733 h 4723802"/>
                <a:gd name="connsiteX10" fmla="*/ 866132 w 1182688"/>
                <a:gd name="connsiteY10" fmla="*/ 4723802 h 4723802"/>
                <a:gd name="connsiteX11" fmla="*/ 823913 w 1182688"/>
                <a:gd name="connsiteY11" fmla="*/ 4681733 h 4723802"/>
                <a:gd name="connsiteX12" fmla="*/ 823913 w 1182688"/>
                <a:gd name="connsiteY12" fmla="*/ 4261046 h 4723802"/>
                <a:gd name="connsiteX13" fmla="*/ 866132 w 1182688"/>
                <a:gd name="connsiteY13" fmla="*/ 4218977 h 4723802"/>
                <a:gd name="connsiteX14" fmla="*/ 591344 w 1182688"/>
                <a:gd name="connsiteY14" fmla="*/ 4218977 h 4723802"/>
                <a:gd name="connsiteX15" fmla="*/ 633413 w 1182688"/>
                <a:gd name="connsiteY15" fmla="*/ 4261046 h 4723802"/>
                <a:gd name="connsiteX16" fmla="*/ 633413 w 1182688"/>
                <a:gd name="connsiteY16" fmla="*/ 4681733 h 4723802"/>
                <a:gd name="connsiteX17" fmla="*/ 591344 w 1182688"/>
                <a:gd name="connsiteY17" fmla="*/ 4723802 h 4723802"/>
                <a:gd name="connsiteX18" fmla="*/ 549275 w 1182688"/>
                <a:gd name="connsiteY18" fmla="*/ 4681733 h 4723802"/>
                <a:gd name="connsiteX19" fmla="*/ 549275 w 1182688"/>
                <a:gd name="connsiteY19" fmla="*/ 4261046 h 4723802"/>
                <a:gd name="connsiteX20" fmla="*/ 591344 w 1182688"/>
                <a:gd name="connsiteY20" fmla="*/ 4218977 h 4723802"/>
                <a:gd name="connsiteX21" fmla="*/ 316707 w 1182688"/>
                <a:gd name="connsiteY21" fmla="*/ 4218977 h 4723802"/>
                <a:gd name="connsiteX22" fmla="*/ 358776 w 1182688"/>
                <a:gd name="connsiteY22" fmla="*/ 4261046 h 4723802"/>
                <a:gd name="connsiteX23" fmla="*/ 358776 w 1182688"/>
                <a:gd name="connsiteY23" fmla="*/ 4681733 h 4723802"/>
                <a:gd name="connsiteX24" fmla="*/ 316707 w 1182688"/>
                <a:gd name="connsiteY24" fmla="*/ 4723802 h 4723802"/>
                <a:gd name="connsiteX25" fmla="*/ 274638 w 1182688"/>
                <a:gd name="connsiteY25" fmla="*/ 4681733 h 4723802"/>
                <a:gd name="connsiteX26" fmla="*/ 274638 w 1182688"/>
                <a:gd name="connsiteY26" fmla="*/ 4261046 h 4723802"/>
                <a:gd name="connsiteX27" fmla="*/ 316707 w 1182688"/>
                <a:gd name="connsiteY27" fmla="*/ 4218977 h 4723802"/>
                <a:gd name="connsiteX28" fmla="*/ 42069 w 1182688"/>
                <a:gd name="connsiteY28" fmla="*/ 4218977 h 4723802"/>
                <a:gd name="connsiteX29" fmla="*/ 84138 w 1182688"/>
                <a:gd name="connsiteY29" fmla="*/ 4261046 h 4723802"/>
                <a:gd name="connsiteX30" fmla="*/ 84138 w 1182688"/>
                <a:gd name="connsiteY30" fmla="*/ 4681733 h 4723802"/>
                <a:gd name="connsiteX31" fmla="*/ 42069 w 1182688"/>
                <a:gd name="connsiteY31" fmla="*/ 4723802 h 4723802"/>
                <a:gd name="connsiteX32" fmla="*/ 0 w 1182688"/>
                <a:gd name="connsiteY32" fmla="*/ 4681733 h 4723802"/>
                <a:gd name="connsiteX33" fmla="*/ 0 w 1182688"/>
                <a:gd name="connsiteY33" fmla="*/ 4261046 h 4723802"/>
                <a:gd name="connsiteX34" fmla="*/ 42069 w 1182688"/>
                <a:gd name="connsiteY34" fmla="*/ 4218977 h 4723802"/>
                <a:gd name="connsiteX35" fmla="*/ 1139826 w 1182688"/>
                <a:gd name="connsiteY35" fmla="*/ 3164877 h 4723802"/>
                <a:gd name="connsiteX36" fmla="*/ 1182688 w 1182688"/>
                <a:gd name="connsiteY36" fmla="*/ 3207078 h 4723802"/>
                <a:gd name="connsiteX37" fmla="*/ 1182688 w 1182688"/>
                <a:gd name="connsiteY37" fmla="*/ 3629089 h 4723802"/>
                <a:gd name="connsiteX38" fmla="*/ 1139826 w 1182688"/>
                <a:gd name="connsiteY38" fmla="*/ 3671290 h 4723802"/>
                <a:gd name="connsiteX39" fmla="*/ 1096963 w 1182688"/>
                <a:gd name="connsiteY39" fmla="*/ 3629089 h 4723802"/>
                <a:gd name="connsiteX40" fmla="*/ 1096963 w 1182688"/>
                <a:gd name="connsiteY40" fmla="*/ 3207078 h 4723802"/>
                <a:gd name="connsiteX41" fmla="*/ 1139826 w 1182688"/>
                <a:gd name="connsiteY41" fmla="*/ 3164877 h 4723802"/>
                <a:gd name="connsiteX42" fmla="*/ 866132 w 1182688"/>
                <a:gd name="connsiteY42" fmla="*/ 3164877 h 4723802"/>
                <a:gd name="connsiteX43" fmla="*/ 908051 w 1182688"/>
                <a:gd name="connsiteY43" fmla="*/ 3207078 h 4723802"/>
                <a:gd name="connsiteX44" fmla="*/ 908051 w 1182688"/>
                <a:gd name="connsiteY44" fmla="*/ 3629089 h 4723802"/>
                <a:gd name="connsiteX45" fmla="*/ 866132 w 1182688"/>
                <a:gd name="connsiteY45" fmla="*/ 3671290 h 4723802"/>
                <a:gd name="connsiteX46" fmla="*/ 823913 w 1182688"/>
                <a:gd name="connsiteY46" fmla="*/ 3629089 h 4723802"/>
                <a:gd name="connsiteX47" fmla="*/ 823913 w 1182688"/>
                <a:gd name="connsiteY47" fmla="*/ 3207078 h 4723802"/>
                <a:gd name="connsiteX48" fmla="*/ 866132 w 1182688"/>
                <a:gd name="connsiteY48" fmla="*/ 3164877 h 4723802"/>
                <a:gd name="connsiteX49" fmla="*/ 591344 w 1182688"/>
                <a:gd name="connsiteY49" fmla="*/ 3164877 h 4723802"/>
                <a:gd name="connsiteX50" fmla="*/ 633413 w 1182688"/>
                <a:gd name="connsiteY50" fmla="*/ 3207078 h 4723802"/>
                <a:gd name="connsiteX51" fmla="*/ 633413 w 1182688"/>
                <a:gd name="connsiteY51" fmla="*/ 3629089 h 4723802"/>
                <a:gd name="connsiteX52" fmla="*/ 591344 w 1182688"/>
                <a:gd name="connsiteY52" fmla="*/ 3671290 h 4723802"/>
                <a:gd name="connsiteX53" fmla="*/ 549275 w 1182688"/>
                <a:gd name="connsiteY53" fmla="*/ 3629089 h 4723802"/>
                <a:gd name="connsiteX54" fmla="*/ 549275 w 1182688"/>
                <a:gd name="connsiteY54" fmla="*/ 3207078 h 4723802"/>
                <a:gd name="connsiteX55" fmla="*/ 591344 w 1182688"/>
                <a:gd name="connsiteY55" fmla="*/ 3164877 h 4723802"/>
                <a:gd name="connsiteX56" fmla="*/ 316707 w 1182688"/>
                <a:gd name="connsiteY56" fmla="*/ 3164877 h 4723802"/>
                <a:gd name="connsiteX57" fmla="*/ 358776 w 1182688"/>
                <a:gd name="connsiteY57" fmla="*/ 3207078 h 4723802"/>
                <a:gd name="connsiteX58" fmla="*/ 358776 w 1182688"/>
                <a:gd name="connsiteY58" fmla="*/ 3629089 h 4723802"/>
                <a:gd name="connsiteX59" fmla="*/ 316707 w 1182688"/>
                <a:gd name="connsiteY59" fmla="*/ 3671290 h 4723802"/>
                <a:gd name="connsiteX60" fmla="*/ 274638 w 1182688"/>
                <a:gd name="connsiteY60" fmla="*/ 3629089 h 4723802"/>
                <a:gd name="connsiteX61" fmla="*/ 274638 w 1182688"/>
                <a:gd name="connsiteY61" fmla="*/ 3207078 h 4723802"/>
                <a:gd name="connsiteX62" fmla="*/ 316707 w 1182688"/>
                <a:gd name="connsiteY62" fmla="*/ 3164877 h 4723802"/>
                <a:gd name="connsiteX63" fmla="*/ 42069 w 1182688"/>
                <a:gd name="connsiteY63" fmla="*/ 3164877 h 4723802"/>
                <a:gd name="connsiteX64" fmla="*/ 84138 w 1182688"/>
                <a:gd name="connsiteY64" fmla="*/ 3207078 h 4723802"/>
                <a:gd name="connsiteX65" fmla="*/ 84138 w 1182688"/>
                <a:gd name="connsiteY65" fmla="*/ 3629089 h 4723802"/>
                <a:gd name="connsiteX66" fmla="*/ 42069 w 1182688"/>
                <a:gd name="connsiteY66" fmla="*/ 3671290 h 4723802"/>
                <a:gd name="connsiteX67" fmla="*/ 0 w 1182688"/>
                <a:gd name="connsiteY67" fmla="*/ 3629089 h 4723802"/>
                <a:gd name="connsiteX68" fmla="*/ 0 w 1182688"/>
                <a:gd name="connsiteY68" fmla="*/ 3207078 h 4723802"/>
                <a:gd name="connsiteX69" fmla="*/ 42069 w 1182688"/>
                <a:gd name="connsiteY69" fmla="*/ 3164877 h 4723802"/>
                <a:gd name="connsiteX70" fmla="*/ 1139826 w 1182688"/>
                <a:gd name="connsiteY70" fmla="*/ 2113952 h 4723802"/>
                <a:gd name="connsiteX71" fmla="*/ 1182688 w 1182688"/>
                <a:gd name="connsiteY71" fmla="*/ 2156021 h 4723802"/>
                <a:gd name="connsiteX72" fmla="*/ 1182688 w 1182688"/>
                <a:gd name="connsiteY72" fmla="*/ 2576708 h 4723802"/>
                <a:gd name="connsiteX73" fmla="*/ 1139826 w 1182688"/>
                <a:gd name="connsiteY73" fmla="*/ 2618777 h 4723802"/>
                <a:gd name="connsiteX74" fmla="*/ 1096963 w 1182688"/>
                <a:gd name="connsiteY74" fmla="*/ 2576708 h 4723802"/>
                <a:gd name="connsiteX75" fmla="*/ 1096963 w 1182688"/>
                <a:gd name="connsiteY75" fmla="*/ 2156021 h 4723802"/>
                <a:gd name="connsiteX76" fmla="*/ 1139826 w 1182688"/>
                <a:gd name="connsiteY76" fmla="*/ 2113952 h 4723802"/>
                <a:gd name="connsiteX77" fmla="*/ 866132 w 1182688"/>
                <a:gd name="connsiteY77" fmla="*/ 2113952 h 4723802"/>
                <a:gd name="connsiteX78" fmla="*/ 908051 w 1182688"/>
                <a:gd name="connsiteY78" fmla="*/ 2156021 h 4723802"/>
                <a:gd name="connsiteX79" fmla="*/ 908051 w 1182688"/>
                <a:gd name="connsiteY79" fmla="*/ 2576708 h 4723802"/>
                <a:gd name="connsiteX80" fmla="*/ 866132 w 1182688"/>
                <a:gd name="connsiteY80" fmla="*/ 2618777 h 4723802"/>
                <a:gd name="connsiteX81" fmla="*/ 823913 w 1182688"/>
                <a:gd name="connsiteY81" fmla="*/ 2576708 h 4723802"/>
                <a:gd name="connsiteX82" fmla="*/ 823913 w 1182688"/>
                <a:gd name="connsiteY82" fmla="*/ 2156021 h 4723802"/>
                <a:gd name="connsiteX83" fmla="*/ 866132 w 1182688"/>
                <a:gd name="connsiteY83" fmla="*/ 2113952 h 4723802"/>
                <a:gd name="connsiteX84" fmla="*/ 591344 w 1182688"/>
                <a:gd name="connsiteY84" fmla="*/ 2113952 h 4723802"/>
                <a:gd name="connsiteX85" fmla="*/ 633413 w 1182688"/>
                <a:gd name="connsiteY85" fmla="*/ 2156021 h 4723802"/>
                <a:gd name="connsiteX86" fmla="*/ 633413 w 1182688"/>
                <a:gd name="connsiteY86" fmla="*/ 2576708 h 4723802"/>
                <a:gd name="connsiteX87" fmla="*/ 591344 w 1182688"/>
                <a:gd name="connsiteY87" fmla="*/ 2618777 h 4723802"/>
                <a:gd name="connsiteX88" fmla="*/ 549275 w 1182688"/>
                <a:gd name="connsiteY88" fmla="*/ 2576708 h 4723802"/>
                <a:gd name="connsiteX89" fmla="*/ 549275 w 1182688"/>
                <a:gd name="connsiteY89" fmla="*/ 2156021 h 4723802"/>
                <a:gd name="connsiteX90" fmla="*/ 591344 w 1182688"/>
                <a:gd name="connsiteY90" fmla="*/ 2113952 h 4723802"/>
                <a:gd name="connsiteX91" fmla="*/ 316707 w 1182688"/>
                <a:gd name="connsiteY91" fmla="*/ 2113952 h 4723802"/>
                <a:gd name="connsiteX92" fmla="*/ 358776 w 1182688"/>
                <a:gd name="connsiteY92" fmla="*/ 2156021 h 4723802"/>
                <a:gd name="connsiteX93" fmla="*/ 358776 w 1182688"/>
                <a:gd name="connsiteY93" fmla="*/ 2576708 h 4723802"/>
                <a:gd name="connsiteX94" fmla="*/ 316707 w 1182688"/>
                <a:gd name="connsiteY94" fmla="*/ 2618777 h 4723802"/>
                <a:gd name="connsiteX95" fmla="*/ 274638 w 1182688"/>
                <a:gd name="connsiteY95" fmla="*/ 2576708 h 4723802"/>
                <a:gd name="connsiteX96" fmla="*/ 274638 w 1182688"/>
                <a:gd name="connsiteY96" fmla="*/ 2156021 h 4723802"/>
                <a:gd name="connsiteX97" fmla="*/ 316707 w 1182688"/>
                <a:gd name="connsiteY97" fmla="*/ 2113952 h 4723802"/>
                <a:gd name="connsiteX98" fmla="*/ 42069 w 1182688"/>
                <a:gd name="connsiteY98" fmla="*/ 2113952 h 4723802"/>
                <a:gd name="connsiteX99" fmla="*/ 84138 w 1182688"/>
                <a:gd name="connsiteY99" fmla="*/ 2156021 h 4723802"/>
                <a:gd name="connsiteX100" fmla="*/ 84138 w 1182688"/>
                <a:gd name="connsiteY100" fmla="*/ 2576708 h 4723802"/>
                <a:gd name="connsiteX101" fmla="*/ 42069 w 1182688"/>
                <a:gd name="connsiteY101" fmla="*/ 2618777 h 4723802"/>
                <a:gd name="connsiteX102" fmla="*/ 0 w 1182688"/>
                <a:gd name="connsiteY102" fmla="*/ 2576708 h 4723802"/>
                <a:gd name="connsiteX103" fmla="*/ 0 w 1182688"/>
                <a:gd name="connsiteY103" fmla="*/ 2156021 h 4723802"/>
                <a:gd name="connsiteX104" fmla="*/ 42069 w 1182688"/>
                <a:gd name="connsiteY104" fmla="*/ 2113952 h 4723802"/>
                <a:gd name="connsiteX105" fmla="*/ 1139826 w 1182688"/>
                <a:gd name="connsiteY105" fmla="*/ 1061441 h 4723802"/>
                <a:gd name="connsiteX106" fmla="*/ 1182688 w 1182688"/>
                <a:gd name="connsiteY106" fmla="*/ 1103667 h 4723802"/>
                <a:gd name="connsiteX107" fmla="*/ 1182688 w 1182688"/>
                <a:gd name="connsiteY107" fmla="*/ 1525627 h 4723802"/>
                <a:gd name="connsiteX108" fmla="*/ 1139826 w 1182688"/>
                <a:gd name="connsiteY108" fmla="*/ 1567854 h 4723802"/>
                <a:gd name="connsiteX109" fmla="*/ 1096963 w 1182688"/>
                <a:gd name="connsiteY109" fmla="*/ 1525627 h 4723802"/>
                <a:gd name="connsiteX110" fmla="*/ 1096963 w 1182688"/>
                <a:gd name="connsiteY110" fmla="*/ 1103667 h 4723802"/>
                <a:gd name="connsiteX111" fmla="*/ 1139826 w 1182688"/>
                <a:gd name="connsiteY111" fmla="*/ 1061441 h 4723802"/>
                <a:gd name="connsiteX112" fmla="*/ 591344 w 1182688"/>
                <a:gd name="connsiteY112" fmla="*/ 1061441 h 4723802"/>
                <a:gd name="connsiteX113" fmla="*/ 633413 w 1182688"/>
                <a:gd name="connsiteY113" fmla="*/ 1103667 h 4723802"/>
                <a:gd name="connsiteX114" fmla="*/ 633413 w 1182688"/>
                <a:gd name="connsiteY114" fmla="*/ 1525627 h 4723802"/>
                <a:gd name="connsiteX115" fmla="*/ 591344 w 1182688"/>
                <a:gd name="connsiteY115" fmla="*/ 1567854 h 4723802"/>
                <a:gd name="connsiteX116" fmla="*/ 549275 w 1182688"/>
                <a:gd name="connsiteY116" fmla="*/ 1525627 h 4723802"/>
                <a:gd name="connsiteX117" fmla="*/ 549275 w 1182688"/>
                <a:gd name="connsiteY117" fmla="*/ 1103667 h 4723802"/>
                <a:gd name="connsiteX118" fmla="*/ 591344 w 1182688"/>
                <a:gd name="connsiteY118" fmla="*/ 1061441 h 4723802"/>
                <a:gd name="connsiteX119" fmla="*/ 42069 w 1182688"/>
                <a:gd name="connsiteY119" fmla="*/ 1061441 h 4723802"/>
                <a:gd name="connsiteX120" fmla="*/ 84138 w 1182688"/>
                <a:gd name="connsiteY120" fmla="*/ 1103667 h 4723802"/>
                <a:gd name="connsiteX121" fmla="*/ 84138 w 1182688"/>
                <a:gd name="connsiteY121" fmla="*/ 1525627 h 4723802"/>
                <a:gd name="connsiteX122" fmla="*/ 42069 w 1182688"/>
                <a:gd name="connsiteY122" fmla="*/ 1567854 h 4723802"/>
                <a:gd name="connsiteX123" fmla="*/ 0 w 1182688"/>
                <a:gd name="connsiteY123" fmla="*/ 1525627 h 4723802"/>
                <a:gd name="connsiteX124" fmla="*/ 0 w 1182688"/>
                <a:gd name="connsiteY124" fmla="*/ 1103667 h 4723802"/>
                <a:gd name="connsiteX125" fmla="*/ 42069 w 1182688"/>
                <a:gd name="connsiteY125" fmla="*/ 1061441 h 4723802"/>
                <a:gd name="connsiteX126" fmla="*/ 866132 w 1182688"/>
                <a:gd name="connsiteY126" fmla="*/ 1061441 h 4723802"/>
                <a:gd name="connsiteX127" fmla="*/ 908051 w 1182688"/>
                <a:gd name="connsiteY127" fmla="*/ 1103667 h 4723802"/>
                <a:gd name="connsiteX128" fmla="*/ 908051 w 1182688"/>
                <a:gd name="connsiteY128" fmla="*/ 1525627 h 4723802"/>
                <a:gd name="connsiteX129" fmla="*/ 866132 w 1182688"/>
                <a:gd name="connsiteY129" fmla="*/ 1567853 h 4723802"/>
                <a:gd name="connsiteX130" fmla="*/ 823913 w 1182688"/>
                <a:gd name="connsiteY130" fmla="*/ 1525627 h 4723802"/>
                <a:gd name="connsiteX131" fmla="*/ 823913 w 1182688"/>
                <a:gd name="connsiteY131" fmla="*/ 1103667 h 4723802"/>
                <a:gd name="connsiteX132" fmla="*/ 866132 w 1182688"/>
                <a:gd name="connsiteY132" fmla="*/ 1061441 h 4723802"/>
                <a:gd name="connsiteX133" fmla="*/ 316707 w 1182688"/>
                <a:gd name="connsiteY133" fmla="*/ 1061441 h 4723802"/>
                <a:gd name="connsiteX134" fmla="*/ 358776 w 1182688"/>
                <a:gd name="connsiteY134" fmla="*/ 1103667 h 4723802"/>
                <a:gd name="connsiteX135" fmla="*/ 358776 w 1182688"/>
                <a:gd name="connsiteY135" fmla="*/ 1525627 h 4723802"/>
                <a:gd name="connsiteX136" fmla="*/ 316707 w 1182688"/>
                <a:gd name="connsiteY136" fmla="*/ 1567853 h 4723802"/>
                <a:gd name="connsiteX137" fmla="*/ 274638 w 1182688"/>
                <a:gd name="connsiteY137" fmla="*/ 1525627 h 4723802"/>
                <a:gd name="connsiteX138" fmla="*/ 274638 w 1182688"/>
                <a:gd name="connsiteY138" fmla="*/ 1103667 h 4723802"/>
                <a:gd name="connsiteX139" fmla="*/ 316707 w 1182688"/>
                <a:gd name="connsiteY139" fmla="*/ 1061441 h 4723802"/>
                <a:gd name="connsiteX140" fmla="*/ 866132 w 1182688"/>
                <a:gd name="connsiteY140" fmla="*/ 10516 h 4723802"/>
                <a:gd name="connsiteX141" fmla="*/ 908051 w 1182688"/>
                <a:gd name="connsiteY141" fmla="*/ 52584 h 4723802"/>
                <a:gd name="connsiteX142" fmla="*/ 908051 w 1182688"/>
                <a:gd name="connsiteY142" fmla="*/ 473272 h 4723802"/>
                <a:gd name="connsiteX143" fmla="*/ 866132 w 1182688"/>
                <a:gd name="connsiteY143" fmla="*/ 515340 h 4723802"/>
                <a:gd name="connsiteX144" fmla="*/ 823913 w 1182688"/>
                <a:gd name="connsiteY144" fmla="*/ 473272 h 4723802"/>
                <a:gd name="connsiteX145" fmla="*/ 823913 w 1182688"/>
                <a:gd name="connsiteY145" fmla="*/ 52584 h 4723802"/>
                <a:gd name="connsiteX146" fmla="*/ 866132 w 1182688"/>
                <a:gd name="connsiteY146" fmla="*/ 10516 h 4723802"/>
                <a:gd name="connsiteX147" fmla="*/ 274638 w 1182688"/>
                <a:gd name="connsiteY147" fmla="*/ 52584 h 4723802"/>
                <a:gd name="connsiteX148" fmla="*/ 358776 w 1182688"/>
                <a:gd name="connsiteY148" fmla="*/ 52584 h 4723802"/>
                <a:gd name="connsiteX149" fmla="*/ 358776 w 1182688"/>
                <a:gd name="connsiteY149" fmla="*/ 473272 h 4723802"/>
                <a:gd name="connsiteX150" fmla="*/ 316707 w 1182688"/>
                <a:gd name="connsiteY150" fmla="*/ 515340 h 4723802"/>
                <a:gd name="connsiteX151" fmla="*/ 274638 w 1182688"/>
                <a:gd name="connsiteY151" fmla="*/ 473272 h 4723802"/>
                <a:gd name="connsiteX152" fmla="*/ 274638 w 1182688"/>
                <a:gd name="connsiteY152" fmla="*/ 52584 h 4723802"/>
                <a:gd name="connsiteX153" fmla="*/ 591344 w 1182688"/>
                <a:gd name="connsiteY153" fmla="*/ 10515 h 4723802"/>
                <a:gd name="connsiteX154" fmla="*/ 633413 w 1182688"/>
                <a:gd name="connsiteY154" fmla="*/ 52584 h 4723802"/>
                <a:gd name="connsiteX155" fmla="*/ 633413 w 1182688"/>
                <a:gd name="connsiteY155" fmla="*/ 473272 h 4723802"/>
                <a:gd name="connsiteX156" fmla="*/ 591344 w 1182688"/>
                <a:gd name="connsiteY156" fmla="*/ 515340 h 4723802"/>
                <a:gd name="connsiteX157" fmla="*/ 549275 w 1182688"/>
                <a:gd name="connsiteY157" fmla="*/ 473272 h 4723802"/>
                <a:gd name="connsiteX158" fmla="*/ 549275 w 1182688"/>
                <a:gd name="connsiteY158" fmla="*/ 52584 h 4723802"/>
                <a:gd name="connsiteX159" fmla="*/ 591344 w 1182688"/>
                <a:gd name="connsiteY159" fmla="*/ 10515 h 4723802"/>
                <a:gd name="connsiteX160" fmla="*/ 1139826 w 1182688"/>
                <a:gd name="connsiteY160" fmla="*/ 10515 h 4723802"/>
                <a:gd name="connsiteX161" fmla="*/ 1182688 w 1182688"/>
                <a:gd name="connsiteY161" fmla="*/ 52584 h 4723802"/>
                <a:gd name="connsiteX162" fmla="*/ 1182688 w 1182688"/>
                <a:gd name="connsiteY162" fmla="*/ 473271 h 4723802"/>
                <a:gd name="connsiteX163" fmla="*/ 1139826 w 1182688"/>
                <a:gd name="connsiteY163" fmla="*/ 515340 h 4723802"/>
                <a:gd name="connsiteX164" fmla="*/ 1096963 w 1182688"/>
                <a:gd name="connsiteY164" fmla="*/ 473271 h 4723802"/>
                <a:gd name="connsiteX165" fmla="*/ 1096963 w 1182688"/>
                <a:gd name="connsiteY165" fmla="*/ 52584 h 4723802"/>
                <a:gd name="connsiteX166" fmla="*/ 1139826 w 1182688"/>
                <a:gd name="connsiteY166" fmla="*/ 10515 h 4723802"/>
                <a:gd name="connsiteX0" fmla="*/ 1139826 w 1182688"/>
                <a:gd name="connsiteY0" fmla="*/ 4218977 h 4723802"/>
                <a:gd name="connsiteX1" fmla="*/ 1182688 w 1182688"/>
                <a:gd name="connsiteY1" fmla="*/ 4261046 h 4723802"/>
                <a:gd name="connsiteX2" fmla="*/ 1182688 w 1182688"/>
                <a:gd name="connsiteY2" fmla="*/ 4681733 h 4723802"/>
                <a:gd name="connsiteX3" fmla="*/ 1139826 w 1182688"/>
                <a:gd name="connsiteY3" fmla="*/ 4723802 h 4723802"/>
                <a:gd name="connsiteX4" fmla="*/ 1096963 w 1182688"/>
                <a:gd name="connsiteY4" fmla="*/ 4681733 h 4723802"/>
                <a:gd name="connsiteX5" fmla="*/ 1096963 w 1182688"/>
                <a:gd name="connsiteY5" fmla="*/ 4261046 h 4723802"/>
                <a:gd name="connsiteX6" fmla="*/ 1139826 w 1182688"/>
                <a:gd name="connsiteY6" fmla="*/ 4218977 h 4723802"/>
                <a:gd name="connsiteX7" fmla="*/ 866132 w 1182688"/>
                <a:gd name="connsiteY7" fmla="*/ 4218977 h 4723802"/>
                <a:gd name="connsiteX8" fmla="*/ 908051 w 1182688"/>
                <a:gd name="connsiteY8" fmla="*/ 4261046 h 4723802"/>
                <a:gd name="connsiteX9" fmla="*/ 908051 w 1182688"/>
                <a:gd name="connsiteY9" fmla="*/ 4681733 h 4723802"/>
                <a:gd name="connsiteX10" fmla="*/ 866132 w 1182688"/>
                <a:gd name="connsiteY10" fmla="*/ 4723802 h 4723802"/>
                <a:gd name="connsiteX11" fmla="*/ 823913 w 1182688"/>
                <a:gd name="connsiteY11" fmla="*/ 4681733 h 4723802"/>
                <a:gd name="connsiteX12" fmla="*/ 823913 w 1182688"/>
                <a:gd name="connsiteY12" fmla="*/ 4261046 h 4723802"/>
                <a:gd name="connsiteX13" fmla="*/ 866132 w 1182688"/>
                <a:gd name="connsiteY13" fmla="*/ 4218977 h 4723802"/>
                <a:gd name="connsiteX14" fmla="*/ 591344 w 1182688"/>
                <a:gd name="connsiteY14" fmla="*/ 4218977 h 4723802"/>
                <a:gd name="connsiteX15" fmla="*/ 633413 w 1182688"/>
                <a:gd name="connsiteY15" fmla="*/ 4261046 h 4723802"/>
                <a:gd name="connsiteX16" fmla="*/ 633413 w 1182688"/>
                <a:gd name="connsiteY16" fmla="*/ 4681733 h 4723802"/>
                <a:gd name="connsiteX17" fmla="*/ 591344 w 1182688"/>
                <a:gd name="connsiteY17" fmla="*/ 4723802 h 4723802"/>
                <a:gd name="connsiteX18" fmla="*/ 549275 w 1182688"/>
                <a:gd name="connsiteY18" fmla="*/ 4681733 h 4723802"/>
                <a:gd name="connsiteX19" fmla="*/ 549275 w 1182688"/>
                <a:gd name="connsiteY19" fmla="*/ 4261046 h 4723802"/>
                <a:gd name="connsiteX20" fmla="*/ 591344 w 1182688"/>
                <a:gd name="connsiteY20" fmla="*/ 4218977 h 4723802"/>
                <a:gd name="connsiteX21" fmla="*/ 316707 w 1182688"/>
                <a:gd name="connsiteY21" fmla="*/ 4218977 h 4723802"/>
                <a:gd name="connsiteX22" fmla="*/ 358776 w 1182688"/>
                <a:gd name="connsiteY22" fmla="*/ 4261046 h 4723802"/>
                <a:gd name="connsiteX23" fmla="*/ 358776 w 1182688"/>
                <a:gd name="connsiteY23" fmla="*/ 4681733 h 4723802"/>
                <a:gd name="connsiteX24" fmla="*/ 316707 w 1182688"/>
                <a:gd name="connsiteY24" fmla="*/ 4723802 h 4723802"/>
                <a:gd name="connsiteX25" fmla="*/ 274638 w 1182688"/>
                <a:gd name="connsiteY25" fmla="*/ 4681733 h 4723802"/>
                <a:gd name="connsiteX26" fmla="*/ 274638 w 1182688"/>
                <a:gd name="connsiteY26" fmla="*/ 4261046 h 4723802"/>
                <a:gd name="connsiteX27" fmla="*/ 316707 w 1182688"/>
                <a:gd name="connsiteY27" fmla="*/ 4218977 h 4723802"/>
                <a:gd name="connsiteX28" fmla="*/ 42069 w 1182688"/>
                <a:gd name="connsiteY28" fmla="*/ 4218977 h 4723802"/>
                <a:gd name="connsiteX29" fmla="*/ 84138 w 1182688"/>
                <a:gd name="connsiteY29" fmla="*/ 4261046 h 4723802"/>
                <a:gd name="connsiteX30" fmla="*/ 84138 w 1182688"/>
                <a:gd name="connsiteY30" fmla="*/ 4681733 h 4723802"/>
                <a:gd name="connsiteX31" fmla="*/ 42069 w 1182688"/>
                <a:gd name="connsiteY31" fmla="*/ 4723802 h 4723802"/>
                <a:gd name="connsiteX32" fmla="*/ 0 w 1182688"/>
                <a:gd name="connsiteY32" fmla="*/ 4681733 h 4723802"/>
                <a:gd name="connsiteX33" fmla="*/ 0 w 1182688"/>
                <a:gd name="connsiteY33" fmla="*/ 4261046 h 4723802"/>
                <a:gd name="connsiteX34" fmla="*/ 42069 w 1182688"/>
                <a:gd name="connsiteY34" fmla="*/ 4218977 h 4723802"/>
                <a:gd name="connsiteX35" fmla="*/ 1139826 w 1182688"/>
                <a:gd name="connsiteY35" fmla="*/ 3164877 h 4723802"/>
                <a:gd name="connsiteX36" fmla="*/ 1182688 w 1182688"/>
                <a:gd name="connsiteY36" fmla="*/ 3207078 h 4723802"/>
                <a:gd name="connsiteX37" fmla="*/ 1182688 w 1182688"/>
                <a:gd name="connsiteY37" fmla="*/ 3629089 h 4723802"/>
                <a:gd name="connsiteX38" fmla="*/ 1139826 w 1182688"/>
                <a:gd name="connsiteY38" fmla="*/ 3671290 h 4723802"/>
                <a:gd name="connsiteX39" fmla="*/ 1096963 w 1182688"/>
                <a:gd name="connsiteY39" fmla="*/ 3629089 h 4723802"/>
                <a:gd name="connsiteX40" fmla="*/ 1096963 w 1182688"/>
                <a:gd name="connsiteY40" fmla="*/ 3207078 h 4723802"/>
                <a:gd name="connsiteX41" fmla="*/ 1139826 w 1182688"/>
                <a:gd name="connsiteY41" fmla="*/ 3164877 h 4723802"/>
                <a:gd name="connsiteX42" fmla="*/ 866132 w 1182688"/>
                <a:gd name="connsiteY42" fmla="*/ 3164877 h 4723802"/>
                <a:gd name="connsiteX43" fmla="*/ 908051 w 1182688"/>
                <a:gd name="connsiteY43" fmla="*/ 3207078 h 4723802"/>
                <a:gd name="connsiteX44" fmla="*/ 908051 w 1182688"/>
                <a:gd name="connsiteY44" fmla="*/ 3629089 h 4723802"/>
                <a:gd name="connsiteX45" fmla="*/ 866132 w 1182688"/>
                <a:gd name="connsiteY45" fmla="*/ 3671290 h 4723802"/>
                <a:gd name="connsiteX46" fmla="*/ 823913 w 1182688"/>
                <a:gd name="connsiteY46" fmla="*/ 3629089 h 4723802"/>
                <a:gd name="connsiteX47" fmla="*/ 823913 w 1182688"/>
                <a:gd name="connsiteY47" fmla="*/ 3207078 h 4723802"/>
                <a:gd name="connsiteX48" fmla="*/ 866132 w 1182688"/>
                <a:gd name="connsiteY48" fmla="*/ 3164877 h 4723802"/>
                <a:gd name="connsiteX49" fmla="*/ 591344 w 1182688"/>
                <a:gd name="connsiteY49" fmla="*/ 3164877 h 4723802"/>
                <a:gd name="connsiteX50" fmla="*/ 633413 w 1182688"/>
                <a:gd name="connsiteY50" fmla="*/ 3207078 h 4723802"/>
                <a:gd name="connsiteX51" fmla="*/ 633413 w 1182688"/>
                <a:gd name="connsiteY51" fmla="*/ 3629089 h 4723802"/>
                <a:gd name="connsiteX52" fmla="*/ 591344 w 1182688"/>
                <a:gd name="connsiteY52" fmla="*/ 3671290 h 4723802"/>
                <a:gd name="connsiteX53" fmla="*/ 549275 w 1182688"/>
                <a:gd name="connsiteY53" fmla="*/ 3629089 h 4723802"/>
                <a:gd name="connsiteX54" fmla="*/ 549275 w 1182688"/>
                <a:gd name="connsiteY54" fmla="*/ 3207078 h 4723802"/>
                <a:gd name="connsiteX55" fmla="*/ 591344 w 1182688"/>
                <a:gd name="connsiteY55" fmla="*/ 3164877 h 4723802"/>
                <a:gd name="connsiteX56" fmla="*/ 316707 w 1182688"/>
                <a:gd name="connsiteY56" fmla="*/ 3164877 h 4723802"/>
                <a:gd name="connsiteX57" fmla="*/ 358776 w 1182688"/>
                <a:gd name="connsiteY57" fmla="*/ 3207078 h 4723802"/>
                <a:gd name="connsiteX58" fmla="*/ 358776 w 1182688"/>
                <a:gd name="connsiteY58" fmla="*/ 3629089 h 4723802"/>
                <a:gd name="connsiteX59" fmla="*/ 316707 w 1182688"/>
                <a:gd name="connsiteY59" fmla="*/ 3671290 h 4723802"/>
                <a:gd name="connsiteX60" fmla="*/ 274638 w 1182688"/>
                <a:gd name="connsiteY60" fmla="*/ 3629089 h 4723802"/>
                <a:gd name="connsiteX61" fmla="*/ 274638 w 1182688"/>
                <a:gd name="connsiteY61" fmla="*/ 3207078 h 4723802"/>
                <a:gd name="connsiteX62" fmla="*/ 316707 w 1182688"/>
                <a:gd name="connsiteY62" fmla="*/ 3164877 h 4723802"/>
                <a:gd name="connsiteX63" fmla="*/ 42069 w 1182688"/>
                <a:gd name="connsiteY63" fmla="*/ 3164877 h 4723802"/>
                <a:gd name="connsiteX64" fmla="*/ 84138 w 1182688"/>
                <a:gd name="connsiteY64" fmla="*/ 3207078 h 4723802"/>
                <a:gd name="connsiteX65" fmla="*/ 84138 w 1182688"/>
                <a:gd name="connsiteY65" fmla="*/ 3629089 h 4723802"/>
                <a:gd name="connsiteX66" fmla="*/ 42069 w 1182688"/>
                <a:gd name="connsiteY66" fmla="*/ 3671290 h 4723802"/>
                <a:gd name="connsiteX67" fmla="*/ 0 w 1182688"/>
                <a:gd name="connsiteY67" fmla="*/ 3629089 h 4723802"/>
                <a:gd name="connsiteX68" fmla="*/ 0 w 1182688"/>
                <a:gd name="connsiteY68" fmla="*/ 3207078 h 4723802"/>
                <a:gd name="connsiteX69" fmla="*/ 42069 w 1182688"/>
                <a:gd name="connsiteY69" fmla="*/ 3164877 h 4723802"/>
                <a:gd name="connsiteX70" fmla="*/ 1139826 w 1182688"/>
                <a:gd name="connsiteY70" fmla="*/ 2113952 h 4723802"/>
                <a:gd name="connsiteX71" fmla="*/ 1182688 w 1182688"/>
                <a:gd name="connsiteY71" fmla="*/ 2156021 h 4723802"/>
                <a:gd name="connsiteX72" fmla="*/ 1182688 w 1182688"/>
                <a:gd name="connsiteY72" fmla="*/ 2576708 h 4723802"/>
                <a:gd name="connsiteX73" fmla="*/ 1139826 w 1182688"/>
                <a:gd name="connsiteY73" fmla="*/ 2618777 h 4723802"/>
                <a:gd name="connsiteX74" fmla="*/ 1096963 w 1182688"/>
                <a:gd name="connsiteY74" fmla="*/ 2576708 h 4723802"/>
                <a:gd name="connsiteX75" fmla="*/ 1096963 w 1182688"/>
                <a:gd name="connsiteY75" fmla="*/ 2156021 h 4723802"/>
                <a:gd name="connsiteX76" fmla="*/ 1139826 w 1182688"/>
                <a:gd name="connsiteY76" fmla="*/ 2113952 h 4723802"/>
                <a:gd name="connsiteX77" fmla="*/ 866132 w 1182688"/>
                <a:gd name="connsiteY77" fmla="*/ 2113952 h 4723802"/>
                <a:gd name="connsiteX78" fmla="*/ 908051 w 1182688"/>
                <a:gd name="connsiteY78" fmla="*/ 2156021 h 4723802"/>
                <a:gd name="connsiteX79" fmla="*/ 908051 w 1182688"/>
                <a:gd name="connsiteY79" fmla="*/ 2576708 h 4723802"/>
                <a:gd name="connsiteX80" fmla="*/ 866132 w 1182688"/>
                <a:gd name="connsiteY80" fmla="*/ 2618777 h 4723802"/>
                <a:gd name="connsiteX81" fmla="*/ 823913 w 1182688"/>
                <a:gd name="connsiteY81" fmla="*/ 2576708 h 4723802"/>
                <a:gd name="connsiteX82" fmla="*/ 823913 w 1182688"/>
                <a:gd name="connsiteY82" fmla="*/ 2156021 h 4723802"/>
                <a:gd name="connsiteX83" fmla="*/ 866132 w 1182688"/>
                <a:gd name="connsiteY83" fmla="*/ 2113952 h 4723802"/>
                <a:gd name="connsiteX84" fmla="*/ 591344 w 1182688"/>
                <a:gd name="connsiteY84" fmla="*/ 2113952 h 4723802"/>
                <a:gd name="connsiteX85" fmla="*/ 633413 w 1182688"/>
                <a:gd name="connsiteY85" fmla="*/ 2156021 h 4723802"/>
                <a:gd name="connsiteX86" fmla="*/ 633413 w 1182688"/>
                <a:gd name="connsiteY86" fmla="*/ 2576708 h 4723802"/>
                <a:gd name="connsiteX87" fmla="*/ 591344 w 1182688"/>
                <a:gd name="connsiteY87" fmla="*/ 2618777 h 4723802"/>
                <a:gd name="connsiteX88" fmla="*/ 549275 w 1182688"/>
                <a:gd name="connsiteY88" fmla="*/ 2576708 h 4723802"/>
                <a:gd name="connsiteX89" fmla="*/ 549275 w 1182688"/>
                <a:gd name="connsiteY89" fmla="*/ 2156021 h 4723802"/>
                <a:gd name="connsiteX90" fmla="*/ 591344 w 1182688"/>
                <a:gd name="connsiteY90" fmla="*/ 2113952 h 4723802"/>
                <a:gd name="connsiteX91" fmla="*/ 316707 w 1182688"/>
                <a:gd name="connsiteY91" fmla="*/ 2113952 h 4723802"/>
                <a:gd name="connsiteX92" fmla="*/ 358776 w 1182688"/>
                <a:gd name="connsiteY92" fmla="*/ 2156021 h 4723802"/>
                <a:gd name="connsiteX93" fmla="*/ 358776 w 1182688"/>
                <a:gd name="connsiteY93" fmla="*/ 2576708 h 4723802"/>
                <a:gd name="connsiteX94" fmla="*/ 316707 w 1182688"/>
                <a:gd name="connsiteY94" fmla="*/ 2618777 h 4723802"/>
                <a:gd name="connsiteX95" fmla="*/ 274638 w 1182688"/>
                <a:gd name="connsiteY95" fmla="*/ 2576708 h 4723802"/>
                <a:gd name="connsiteX96" fmla="*/ 274638 w 1182688"/>
                <a:gd name="connsiteY96" fmla="*/ 2156021 h 4723802"/>
                <a:gd name="connsiteX97" fmla="*/ 316707 w 1182688"/>
                <a:gd name="connsiteY97" fmla="*/ 2113952 h 4723802"/>
                <a:gd name="connsiteX98" fmla="*/ 42069 w 1182688"/>
                <a:gd name="connsiteY98" fmla="*/ 2113952 h 4723802"/>
                <a:gd name="connsiteX99" fmla="*/ 84138 w 1182688"/>
                <a:gd name="connsiteY99" fmla="*/ 2156021 h 4723802"/>
                <a:gd name="connsiteX100" fmla="*/ 84138 w 1182688"/>
                <a:gd name="connsiteY100" fmla="*/ 2576708 h 4723802"/>
                <a:gd name="connsiteX101" fmla="*/ 42069 w 1182688"/>
                <a:gd name="connsiteY101" fmla="*/ 2618777 h 4723802"/>
                <a:gd name="connsiteX102" fmla="*/ 0 w 1182688"/>
                <a:gd name="connsiteY102" fmla="*/ 2576708 h 4723802"/>
                <a:gd name="connsiteX103" fmla="*/ 0 w 1182688"/>
                <a:gd name="connsiteY103" fmla="*/ 2156021 h 4723802"/>
                <a:gd name="connsiteX104" fmla="*/ 42069 w 1182688"/>
                <a:gd name="connsiteY104" fmla="*/ 2113952 h 4723802"/>
                <a:gd name="connsiteX105" fmla="*/ 1139826 w 1182688"/>
                <a:gd name="connsiteY105" fmla="*/ 1061441 h 4723802"/>
                <a:gd name="connsiteX106" fmla="*/ 1182688 w 1182688"/>
                <a:gd name="connsiteY106" fmla="*/ 1103667 h 4723802"/>
                <a:gd name="connsiteX107" fmla="*/ 1182688 w 1182688"/>
                <a:gd name="connsiteY107" fmla="*/ 1525627 h 4723802"/>
                <a:gd name="connsiteX108" fmla="*/ 1139826 w 1182688"/>
                <a:gd name="connsiteY108" fmla="*/ 1567854 h 4723802"/>
                <a:gd name="connsiteX109" fmla="*/ 1096963 w 1182688"/>
                <a:gd name="connsiteY109" fmla="*/ 1525627 h 4723802"/>
                <a:gd name="connsiteX110" fmla="*/ 1096963 w 1182688"/>
                <a:gd name="connsiteY110" fmla="*/ 1103667 h 4723802"/>
                <a:gd name="connsiteX111" fmla="*/ 1139826 w 1182688"/>
                <a:gd name="connsiteY111" fmla="*/ 1061441 h 4723802"/>
                <a:gd name="connsiteX112" fmla="*/ 591344 w 1182688"/>
                <a:gd name="connsiteY112" fmla="*/ 1061441 h 4723802"/>
                <a:gd name="connsiteX113" fmla="*/ 633413 w 1182688"/>
                <a:gd name="connsiteY113" fmla="*/ 1103667 h 4723802"/>
                <a:gd name="connsiteX114" fmla="*/ 633413 w 1182688"/>
                <a:gd name="connsiteY114" fmla="*/ 1525627 h 4723802"/>
                <a:gd name="connsiteX115" fmla="*/ 591344 w 1182688"/>
                <a:gd name="connsiteY115" fmla="*/ 1567854 h 4723802"/>
                <a:gd name="connsiteX116" fmla="*/ 549275 w 1182688"/>
                <a:gd name="connsiteY116" fmla="*/ 1525627 h 4723802"/>
                <a:gd name="connsiteX117" fmla="*/ 549275 w 1182688"/>
                <a:gd name="connsiteY117" fmla="*/ 1103667 h 4723802"/>
                <a:gd name="connsiteX118" fmla="*/ 591344 w 1182688"/>
                <a:gd name="connsiteY118" fmla="*/ 1061441 h 4723802"/>
                <a:gd name="connsiteX119" fmla="*/ 42069 w 1182688"/>
                <a:gd name="connsiteY119" fmla="*/ 1061441 h 4723802"/>
                <a:gd name="connsiteX120" fmla="*/ 84138 w 1182688"/>
                <a:gd name="connsiteY120" fmla="*/ 1103667 h 4723802"/>
                <a:gd name="connsiteX121" fmla="*/ 84138 w 1182688"/>
                <a:gd name="connsiteY121" fmla="*/ 1525627 h 4723802"/>
                <a:gd name="connsiteX122" fmla="*/ 42069 w 1182688"/>
                <a:gd name="connsiteY122" fmla="*/ 1567854 h 4723802"/>
                <a:gd name="connsiteX123" fmla="*/ 0 w 1182688"/>
                <a:gd name="connsiteY123" fmla="*/ 1525627 h 4723802"/>
                <a:gd name="connsiteX124" fmla="*/ 0 w 1182688"/>
                <a:gd name="connsiteY124" fmla="*/ 1103667 h 4723802"/>
                <a:gd name="connsiteX125" fmla="*/ 42069 w 1182688"/>
                <a:gd name="connsiteY125" fmla="*/ 1061441 h 4723802"/>
                <a:gd name="connsiteX126" fmla="*/ 866132 w 1182688"/>
                <a:gd name="connsiteY126" fmla="*/ 1061441 h 4723802"/>
                <a:gd name="connsiteX127" fmla="*/ 908051 w 1182688"/>
                <a:gd name="connsiteY127" fmla="*/ 1103667 h 4723802"/>
                <a:gd name="connsiteX128" fmla="*/ 908051 w 1182688"/>
                <a:gd name="connsiteY128" fmla="*/ 1525627 h 4723802"/>
                <a:gd name="connsiteX129" fmla="*/ 866132 w 1182688"/>
                <a:gd name="connsiteY129" fmla="*/ 1567853 h 4723802"/>
                <a:gd name="connsiteX130" fmla="*/ 823913 w 1182688"/>
                <a:gd name="connsiteY130" fmla="*/ 1525627 h 4723802"/>
                <a:gd name="connsiteX131" fmla="*/ 823913 w 1182688"/>
                <a:gd name="connsiteY131" fmla="*/ 1103667 h 4723802"/>
                <a:gd name="connsiteX132" fmla="*/ 866132 w 1182688"/>
                <a:gd name="connsiteY132" fmla="*/ 1061441 h 4723802"/>
                <a:gd name="connsiteX133" fmla="*/ 316707 w 1182688"/>
                <a:gd name="connsiteY133" fmla="*/ 1061441 h 4723802"/>
                <a:gd name="connsiteX134" fmla="*/ 358776 w 1182688"/>
                <a:gd name="connsiteY134" fmla="*/ 1103667 h 4723802"/>
                <a:gd name="connsiteX135" fmla="*/ 358776 w 1182688"/>
                <a:gd name="connsiteY135" fmla="*/ 1525627 h 4723802"/>
                <a:gd name="connsiteX136" fmla="*/ 316707 w 1182688"/>
                <a:gd name="connsiteY136" fmla="*/ 1567853 h 4723802"/>
                <a:gd name="connsiteX137" fmla="*/ 274638 w 1182688"/>
                <a:gd name="connsiteY137" fmla="*/ 1525627 h 4723802"/>
                <a:gd name="connsiteX138" fmla="*/ 274638 w 1182688"/>
                <a:gd name="connsiteY138" fmla="*/ 1103667 h 4723802"/>
                <a:gd name="connsiteX139" fmla="*/ 316707 w 1182688"/>
                <a:gd name="connsiteY139" fmla="*/ 1061441 h 4723802"/>
                <a:gd name="connsiteX140" fmla="*/ 866132 w 1182688"/>
                <a:gd name="connsiteY140" fmla="*/ 10516 h 4723802"/>
                <a:gd name="connsiteX141" fmla="*/ 908051 w 1182688"/>
                <a:gd name="connsiteY141" fmla="*/ 52584 h 4723802"/>
                <a:gd name="connsiteX142" fmla="*/ 908051 w 1182688"/>
                <a:gd name="connsiteY142" fmla="*/ 473272 h 4723802"/>
                <a:gd name="connsiteX143" fmla="*/ 866132 w 1182688"/>
                <a:gd name="connsiteY143" fmla="*/ 515340 h 4723802"/>
                <a:gd name="connsiteX144" fmla="*/ 823913 w 1182688"/>
                <a:gd name="connsiteY144" fmla="*/ 473272 h 4723802"/>
                <a:gd name="connsiteX145" fmla="*/ 823913 w 1182688"/>
                <a:gd name="connsiteY145" fmla="*/ 52584 h 4723802"/>
                <a:gd name="connsiteX146" fmla="*/ 866132 w 1182688"/>
                <a:gd name="connsiteY146" fmla="*/ 10516 h 4723802"/>
                <a:gd name="connsiteX147" fmla="*/ 274638 w 1182688"/>
                <a:gd name="connsiteY147" fmla="*/ 52584 h 4723802"/>
                <a:gd name="connsiteX148" fmla="*/ 358776 w 1182688"/>
                <a:gd name="connsiteY148" fmla="*/ 52584 h 4723802"/>
                <a:gd name="connsiteX149" fmla="*/ 358776 w 1182688"/>
                <a:gd name="connsiteY149" fmla="*/ 473272 h 4723802"/>
                <a:gd name="connsiteX150" fmla="*/ 316707 w 1182688"/>
                <a:gd name="connsiteY150" fmla="*/ 515340 h 4723802"/>
                <a:gd name="connsiteX151" fmla="*/ 274638 w 1182688"/>
                <a:gd name="connsiteY151" fmla="*/ 473272 h 4723802"/>
                <a:gd name="connsiteX152" fmla="*/ 274638 w 1182688"/>
                <a:gd name="connsiteY152" fmla="*/ 52584 h 4723802"/>
                <a:gd name="connsiteX153" fmla="*/ 549275 w 1182688"/>
                <a:gd name="connsiteY153" fmla="*/ 52584 h 4723802"/>
                <a:gd name="connsiteX154" fmla="*/ 633413 w 1182688"/>
                <a:gd name="connsiteY154" fmla="*/ 52584 h 4723802"/>
                <a:gd name="connsiteX155" fmla="*/ 633413 w 1182688"/>
                <a:gd name="connsiteY155" fmla="*/ 473272 h 4723802"/>
                <a:gd name="connsiteX156" fmla="*/ 591344 w 1182688"/>
                <a:gd name="connsiteY156" fmla="*/ 515340 h 4723802"/>
                <a:gd name="connsiteX157" fmla="*/ 549275 w 1182688"/>
                <a:gd name="connsiteY157" fmla="*/ 473272 h 4723802"/>
                <a:gd name="connsiteX158" fmla="*/ 549275 w 1182688"/>
                <a:gd name="connsiteY158" fmla="*/ 52584 h 4723802"/>
                <a:gd name="connsiteX159" fmla="*/ 1139826 w 1182688"/>
                <a:gd name="connsiteY159" fmla="*/ 10515 h 4723802"/>
                <a:gd name="connsiteX160" fmla="*/ 1182688 w 1182688"/>
                <a:gd name="connsiteY160" fmla="*/ 52584 h 4723802"/>
                <a:gd name="connsiteX161" fmla="*/ 1182688 w 1182688"/>
                <a:gd name="connsiteY161" fmla="*/ 473271 h 4723802"/>
                <a:gd name="connsiteX162" fmla="*/ 1139826 w 1182688"/>
                <a:gd name="connsiteY162" fmla="*/ 515340 h 4723802"/>
                <a:gd name="connsiteX163" fmla="*/ 1096963 w 1182688"/>
                <a:gd name="connsiteY163" fmla="*/ 473271 h 4723802"/>
                <a:gd name="connsiteX164" fmla="*/ 1096963 w 1182688"/>
                <a:gd name="connsiteY164" fmla="*/ 52584 h 4723802"/>
                <a:gd name="connsiteX165" fmla="*/ 1139826 w 1182688"/>
                <a:gd name="connsiteY165" fmla="*/ 10515 h 4723802"/>
                <a:gd name="connsiteX0" fmla="*/ 1139826 w 1182688"/>
                <a:gd name="connsiteY0" fmla="*/ 4218977 h 4723802"/>
                <a:gd name="connsiteX1" fmla="*/ 1182688 w 1182688"/>
                <a:gd name="connsiteY1" fmla="*/ 4261046 h 4723802"/>
                <a:gd name="connsiteX2" fmla="*/ 1182688 w 1182688"/>
                <a:gd name="connsiteY2" fmla="*/ 4681733 h 4723802"/>
                <a:gd name="connsiteX3" fmla="*/ 1139826 w 1182688"/>
                <a:gd name="connsiteY3" fmla="*/ 4723802 h 4723802"/>
                <a:gd name="connsiteX4" fmla="*/ 1096963 w 1182688"/>
                <a:gd name="connsiteY4" fmla="*/ 4681733 h 4723802"/>
                <a:gd name="connsiteX5" fmla="*/ 1096963 w 1182688"/>
                <a:gd name="connsiteY5" fmla="*/ 4261046 h 4723802"/>
                <a:gd name="connsiteX6" fmla="*/ 1139826 w 1182688"/>
                <a:gd name="connsiteY6" fmla="*/ 4218977 h 4723802"/>
                <a:gd name="connsiteX7" fmla="*/ 866132 w 1182688"/>
                <a:gd name="connsiteY7" fmla="*/ 4218977 h 4723802"/>
                <a:gd name="connsiteX8" fmla="*/ 908051 w 1182688"/>
                <a:gd name="connsiteY8" fmla="*/ 4261046 h 4723802"/>
                <a:gd name="connsiteX9" fmla="*/ 908051 w 1182688"/>
                <a:gd name="connsiteY9" fmla="*/ 4681733 h 4723802"/>
                <a:gd name="connsiteX10" fmla="*/ 866132 w 1182688"/>
                <a:gd name="connsiteY10" fmla="*/ 4723802 h 4723802"/>
                <a:gd name="connsiteX11" fmla="*/ 823913 w 1182688"/>
                <a:gd name="connsiteY11" fmla="*/ 4681733 h 4723802"/>
                <a:gd name="connsiteX12" fmla="*/ 823913 w 1182688"/>
                <a:gd name="connsiteY12" fmla="*/ 4261046 h 4723802"/>
                <a:gd name="connsiteX13" fmla="*/ 866132 w 1182688"/>
                <a:gd name="connsiteY13" fmla="*/ 4218977 h 4723802"/>
                <a:gd name="connsiteX14" fmla="*/ 591344 w 1182688"/>
                <a:gd name="connsiteY14" fmla="*/ 4218977 h 4723802"/>
                <a:gd name="connsiteX15" fmla="*/ 633413 w 1182688"/>
                <a:gd name="connsiteY15" fmla="*/ 4261046 h 4723802"/>
                <a:gd name="connsiteX16" fmla="*/ 633413 w 1182688"/>
                <a:gd name="connsiteY16" fmla="*/ 4681733 h 4723802"/>
                <a:gd name="connsiteX17" fmla="*/ 591344 w 1182688"/>
                <a:gd name="connsiteY17" fmla="*/ 4723802 h 4723802"/>
                <a:gd name="connsiteX18" fmla="*/ 549275 w 1182688"/>
                <a:gd name="connsiteY18" fmla="*/ 4681733 h 4723802"/>
                <a:gd name="connsiteX19" fmla="*/ 549275 w 1182688"/>
                <a:gd name="connsiteY19" fmla="*/ 4261046 h 4723802"/>
                <a:gd name="connsiteX20" fmla="*/ 591344 w 1182688"/>
                <a:gd name="connsiteY20" fmla="*/ 4218977 h 4723802"/>
                <a:gd name="connsiteX21" fmla="*/ 316707 w 1182688"/>
                <a:gd name="connsiteY21" fmla="*/ 4218977 h 4723802"/>
                <a:gd name="connsiteX22" fmla="*/ 358776 w 1182688"/>
                <a:gd name="connsiteY22" fmla="*/ 4261046 h 4723802"/>
                <a:gd name="connsiteX23" fmla="*/ 358776 w 1182688"/>
                <a:gd name="connsiteY23" fmla="*/ 4681733 h 4723802"/>
                <a:gd name="connsiteX24" fmla="*/ 316707 w 1182688"/>
                <a:gd name="connsiteY24" fmla="*/ 4723802 h 4723802"/>
                <a:gd name="connsiteX25" fmla="*/ 274638 w 1182688"/>
                <a:gd name="connsiteY25" fmla="*/ 4681733 h 4723802"/>
                <a:gd name="connsiteX26" fmla="*/ 274638 w 1182688"/>
                <a:gd name="connsiteY26" fmla="*/ 4261046 h 4723802"/>
                <a:gd name="connsiteX27" fmla="*/ 316707 w 1182688"/>
                <a:gd name="connsiteY27" fmla="*/ 4218977 h 4723802"/>
                <a:gd name="connsiteX28" fmla="*/ 42069 w 1182688"/>
                <a:gd name="connsiteY28" fmla="*/ 4218977 h 4723802"/>
                <a:gd name="connsiteX29" fmla="*/ 84138 w 1182688"/>
                <a:gd name="connsiteY29" fmla="*/ 4261046 h 4723802"/>
                <a:gd name="connsiteX30" fmla="*/ 84138 w 1182688"/>
                <a:gd name="connsiteY30" fmla="*/ 4681733 h 4723802"/>
                <a:gd name="connsiteX31" fmla="*/ 42069 w 1182688"/>
                <a:gd name="connsiteY31" fmla="*/ 4723802 h 4723802"/>
                <a:gd name="connsiteX32" fmla="*/ 0 w 1182688"/>
                <a:gd name="connsiteY32" fmla="*/ 4681733 h 4723802"/>
                <a:gd name="connsiteX33" fmla="*/ 0 w 1182688"/>
                <a:gd name="connsiteY33" fmla="*/ 4261046 h 4723802"/>
                <a:gd name="connsiteX34" fmla="*/ 42069 w 1182688"/>
                <a:gd name="connsiteY34" fmla="*/ 4218977 h 4723802"/>
                <a:gd name="connsiteX35" fmla="*/ 1139826 w 1182688"/>
                <a:gd name="connsiteY35" fmla="*/ 3164877 h 4723802"/>
                <a:gd name="connsiteX36" fmla="*/ 1182688 w 1182688"/>
                <a:gd name="connsiteY36" fmla="*/ 3207078 h 4723802"/>
                <a:gd name="connsiteX37" fmla="*/ 1182688 w 1182688"/>
                <a:gd name="connsiteY37" fmla="*/ 3629089 h 4723802"/>
                <a:gd name="connsiteX38" fmla="*/ 1139826 w 1182688"/>
                <a:gd name="connsiteY38" fmla="*/ 3671290 h 4723802"/>
                <a:gd name="connsiteX39" fmla="*/ 1096963 w 1182688"/>
                <a:gd name="connsiteY39" fmla="*/ 3629089 h 4723802"/>
                <a:gd name="connsiteX40" fmla="*/ 1096963 w 1182688"/>
                <a:gd name="connsiteY40" fmla="*/ 3207078 h 4723802"/>
                <a:gd name="connsiteX41" fmla="*/ 1139826 w 1182688"/>
                <a:gd name="connsiteY41" fmla="*/ 3164877 h 4723802"/>
                <a:gd name="connsiteX42" fmla="*/ 866132 w 1182688"/>
                <a:gd name="connsiteY42" fmla="*/ 3164877 h 4723802"/>
                <a:gd name="connsiteX43" fmla="*/ 908051 w 1182688"/>
                <a:gd name="connsiteY43" fmla="*/ 3207078 h 4723802"/>
                <a:gd name="connsiteX44" fmla="*/ 908051 w 1182688"/>
                <a:gd name="connsiteY44" fmla="*/ 3629089 h 4723802"/>
                <a:gd name="connsiteX45" fmla="*/ 866132 w 1182688"/>
                <a:gd name="connsiteY45" fmla="*/ 3671290 h 4723802"/>
                <a:gd name="connsiteX46" fmla="*/ 823913 w 1182688"/>
                <a:gd name="connsiteY46" fmla="*/ 3629089 h 4723802"/>
                <a:gd name="connsiteX47" fmla="*/ 823913 w 1182688"/>
                <a:gd name="connsiteY47" fmla="*/ 3207078 h 4723802"/>
                <a:gd name="connsiteX48" fmla="*/ 866132 w 1182688"/>
                <a:gd name="connsiteY48" fmla="*/ 3164877 h 4723802"/>
                <a:gd name="connsiteX49" fmla="*/ 591344 w 1182688"/>
                <a:gd name="connsiteY49" fmla="*/ 3164877 h 4723802"/>
                <a:gd name="connsiteX50" fmla="*/ 633413 w 1182688"/>
                <a:gd name="connsiteY50" fmla="*/ 3207078 h 4723802"/>
                <a:gd name="connsiteX51" fmla="*/ 633413 w 1182688"/>
                <a:gd name="connsiteY51" fmla="*/ 3629089 h 4723802"/>
                <a:gd name="connsiteX52" fmla="*/ 591344 w 1182688"/>
                <a:gd name="connsiteY52" fmla="*/ 3671290 h 4723802"/>
                <a:gd name="connsiteX53" fmla="*/ 549275 w 1182688"/>
                <a:gd name="connsiteY53" fmla="*/ 3629089 h 4723802"/>
                <a:gd name="connsiteX54" fmla="*/ 549275 w 1182688"/>
                <a:gd name="connsiteY54" fmla="*/ 3207078 h 4723802"/>
                <a:gd name="connsiteX55" fmla="*/ 591344 w 1182688"/>
                <a:gd name="connsiteY55" fmla="*/ 3164877 h 4723802"/>
                <a:gd name="connsiteX56" fmla="*/ 316707 w 1182688"/>
                <a:gd name="connsiteY56" fmla="*/ 3164877 h 4723802"/>
                <a:gd name="connsiteX57" fmla="*/ 358776 w 1182688"/>
                <a:gd name="connsiteY57" fmla="*/ 3207078 h 4723802"/>
                <a:gd name="connsiteX58" fmla="*/ 358776 w 1182688"/>
                <a:gd name="connsiteY58" fmla="*/ 3629089 h 4723802"/>
                <a:gd name="connsiteX59" fmla="*/ 316707 w 1182688"/>
                <a:gd name="connsiteY59" fmla="*/ 3671290 h 4723802"/>
                <a:gd name="connsiteX60" fmla="*/ 274638 w 1182688"/>
                <a:gd name="connsiteY60" fmla="*/ 3629089 h 4723802"/>
                <a:gd name="connsiteX61" fmla="*/ 274638 w 1182688"/>
                <a:gd name="connsiteY61" fmla="*/ 3207078 h 4723802"/>
                <a:gd name="connsiteX62" fmla="*/ 316707 w 1182688"/>
                <a:gd name="connsiteY62" fmla="*/ 3164877 h 4723802"/>
                <a:gd name="connsiteX63" fmla="*/ 42069 w 1182688"/>
                <a:gd name="connsiteY63" fmla="*/ 3164877 h 4723802"/>
                <a:gd name="connsiteX64" fmla="*/ 84138 w 1182688"/>
                <a:gd name="connsiteY64" fmla="*/ 3207078 h 4723802"/>
                <a:gd name="connsiteX65" fmla="*/ 84138 w 1182688"/>
                <a:gd name="connsiteY65" fmla="*/ 3629089 h 4723802"/>
                <a:gd name="connsiteX66" fmla="*/ 42069 w 1182688"/>
                <a:gd name="connsiteY66" fmla="*/ 3671290 h 4723802"/>
                <a:gd name="connsiteX67" fmla="*/ 0 w 1182688"/>
                <a:gd name="connsiteY67" fmla="*/ 3629089 h 4723802"/>
                <a:gd name="connsiteX68" fmla="*/ 0 w 1182688"/>
                <a:gd name="connsiteY68" fmla="*/ 3207078 h 4723802"/>
                <a:gd name="connsiteX69" fmla="*/ 42069 w 1182688"/>
                <a:gd name="connsiteY69" fmla="*/ 3164877 h 4723802"/>
                <a:gd name="connsiteX70" fmla="*/ 1139826 w 1182688"/>
                <a:gd name="connsiteY70" fmla="*/ 2113952 h 4723802"/>
                <a:gd name="connsiteX71" fmla="*/ 1182688 w 1182688"/>
                <a:gd name="connsiteY71" fmla="*/ 2156021 h 4723802"/>
                <a:gd name="connsiteX72" fmla="*/ 1182688 w 1182688"/>
                <a:gd name="connsiteY72" fmla="*/ 2576708 h 4723802"/>
                <a:gd name="connsiteX73" fmla="*/ 1139826 w 1182688"/>
                <a:gd name="connsiteY73" fmla="*/ 2618777 h 4723802"/>
                <a:gd name="connsiteX74" fmla="*/ 1096963 w 1182688"/>
                <a:gd name="connsiteY74" fmla="*/ 2576708 h 4723802"/>
                <a:gd name="connsiteX75" fmla="*/ 1096963 w 1182688"/>
                <a:gd name="connsiteY75" fmla="*/ 2156021 h 4723802"/>
                <a:gd name="connsiteX76" fmla="*/ 1139826 w 1182688"/>
                <a:gd name="connsiteY76" fmla="*/ 2113952 h 4723802"/>
                <a:gd name="connsiteX77" fmla="*/ 866132 w 1182688"/>
                <a:gd name="connsiteY77" fmla="*/ 2113952 h 4723802"/>
                <a:gd name="connsiteX78" fmla="*/ 908051 w 1182688"/>
                <a:gd name="connsiteY78" fmla="*/ 2156021 h 4723802"/>
                <a:gd name="connsiteX79" fmla="*/ 908051 w 1182688"/>
                <a:gd name="connsiteY79" fmla="*/ 2576708 h 4723802"/>
                <a:gd name="connsiteX80" fmla="*/ 866132 w 1182688"/>
                <a:gd name="connsiteY80" fmla="*/ 2618777 h 4723802"/>
                <a:gd name="connsiteX81" fmla="*/ 823913 w 1182688"/>
                <a:gd name="connsiteY81" fmla="*/ 2576708 h 4723802"/>
                <a:gd name="connsiteX82" fmla="*/ 823913 w 1182688"/>
                <a:gd name="connsiteY82" fmla="*/ 2156021 h 4723802"/>
                <a:gd name="connsiteX83" fmla="*/ 866132 w 1182688"/>
                <a:gd name="connsiteY83" fmla="*/ 2113952 h 4723802"/>
                <a:gd name="connsiteX84" fmla="*/ 591344 w 1182688"/>
                <a:gd name="connsiteY84" fmla="*/ 2113952 h 4723802"/>
                <a:gd name="connsiteX85" fmla="*/ 633413 w 1182688"/>
                <a:gd name="connsiteY85" fmla="*/ 2156021 h 4723802"/>
                <a:gd name="connsiteX86" fmla="*/ 633413 w 1182688"/>
                <a:gd name="connsiteY86" fmla="*/ 2576708 h 4723802"/>
                <a:gd name="connsiteX87" fmla="*/ 591344 w 1182688"/>
                <a:gd name="connsiteY87" fmla="*/ 2618777 h 4723802"/>
                <a:gd name="connsiteX88" fmla="*/ 549275 w 1182688"/>
                <a:gd name="connsiteY88" fmla="*/ 2576708 h 4723802"/>
                <a:gd name="connsiteX89" fmla="*/ 549275 w 1182688"/>
                <a:gd name="connsiteY89" fmla="*/ 2156021 h 4723802"/>
                <a:gd name="connsiteX90" fmla="*/ 591344 w 1182688"/>
                <a:gd name="connsiteY90" fmla="*/ 2113952 h 4723802"/>
                <a:gd name="connsiteX91" fmla="*/ 316707 w 1182688"/>
                <a:gd name="connsiteY91" fmla="*/ 2113952 h 4723802"/>
                <a:gd name="connsiteX92" fmla="*/ 358776 w 1182688"/>
                <a:gd name="connsiteY92" fmla="*/ 2156021 h 4723802"/>
                <a:gd name="connsiteX93" fmla="*/ 358776 w 1182688"/>
                <a:gd name="connsiteY93" fmla="*/ 2576708 h 4723802"/>
                <a:gd name="connsiteX94" fmla="*/ 316707 w 1182688"/>
                <a:gd name="connsiteY94" fmla="*/ 2618777 h 4723802"/>
                <a:gd name="connsiteX95" fmla="*/ 274638 w 1182688"/>
                <a:gd name="connsiteY95" fmla="*/ 2576708 h 4723802"/>
                <a:gd name="connsiteX96" fmla="*/ 274638 w 1182688"/>
                <a:gd name="connsiteY96" fmla="*/ 2156021 h 4723802"/>
                <a:gd name="connsiteX97" fmla="*/ 316707 w 1182688"/>
                <a:gd name="connsiteY97" fmla="*/ 2113952 h 4723802"/>
                <a:gd name="connsiteX98" fmla="*/ 42069 w 1182688"/>
                <a:gd name="connsiteY98" fmla="*/ 2113952 h 4723802"/>
                <a:gd name="connsiteX99" fmla="*/ 84138 w 1182688"/>
                <a:gd name="connsiteY99" fmla="*/ 2156021 h 4723802"/>
                <a:gd name="connsiteX100" fmla="*/ 84138 w 1182688"/>
                <a:gd name="connsiteY100" fmla="*/ 2576708 h 4723802"/>
                <a:gd name="connsiteX101" fmla="*/ 42069 w 1182688"/>
                <a:gd name="connsiteY101" fmla="*/ 2618777 h 4723802"/>
                <a:gd name="connsiteX102" fmla="*/ 0 w 1182688"/>
                <a:gd name="connsiteY102" fmla="*/ 2576708 h 4723802"/>
                <a:gd name="connsiteX103" fmla="*/ 0 w 1182688"/>
                <a:gd name="connsiteY103" fmla="*/ 2156021 h 4723802"/>
                <a:gd name="connsiteX104" fmla="*/ 42069 w 1182688"/>
                <a:gd name="connsiteY104" fmla="*/ 2113952 h 4723802"/>
                <a:gd name="connsiteX105" fmla="*/ 1139826 w 1182688"/>
                <a:gd name="connsiteY105" fmla="*/ 1061441 h 4723802"/>
                <a:gd name="connsiteX106" fmla="*/ 1182688 w 1182688"/>
                <a:gd name="connsiteY106" fmla="*/ 1103667 h 4723802"/>
                <a:gd name="connsiteX107" fmla="*/ 1182688 w 1182688"/>
                <a:gd name="connsiteY107" fmla="*/ 1525627 h 4723802"/>
                <a:gd name="connsiteX108" fmla="*/ 1139826 w 1182688"/>
                <a:gd name="connsiteY108" fmla="*/ 1567854 h 4723802"/>
                <a:gd name="connsiteX109" fmla="*/ 1096963 w 1182688"/>
                <a:gd name="connsiteY109" fmla="*/ 1525627 h 4723802"/>
                <a:gd name="connsiteX110" fmla="*/ 1096963 w 1182688"/>
                <a:gd name="connsiteY110" fmla="*/ 1103667 h 4723802"/>
                <a:gd name="connsiteX111" fmla="*/ 1139826 w 1182688"/>
                <a:gd name="connsiteY111" fmla="*/ 1061441 h 4723802"/>
                <a:gd name="connsiteX112" fmla="*/ 591344 w 1182688"/>
                <a:gd name="connsiteY112" fmla="*/ 1061441 h 4723802"/>
                <a:gd name="connsiteX113" fmla="*/ 633413 w 1182688"/>
                <a:gd name="connsiteY113" fmla="*/ 1103667 h 4723802"/>
                <a:gd name="connsiteX114" fmla="*/ 633413 w 1182688"/>
                <a:gd name="connsiteY114" fmla="*/ 1525627 h 4723802"/>
                <a:gd name="connsiteX115" fmla="*/ 591344 w 1182688"/>
                <a:gd name="connsiteY115" fmla="*/ 1567854 h 4723802"/>
                <a:gd name="connsiteX116" fmla="*/ 549275 w 1182688"/>
                <a:gd name="connsiteY116" fmla="*/ 1525627 h 4723802"/>
                <a:gd name="connsiteX117" fmla="*/ 549275 w 1182688"/>
                <a:gd name="connsiteY117" fmla="*/ 1103667 h 4723802"/>
                <a:gd name="connsiteX118" fmla="*/ 591344 w 1182688"/>
                <a:gd name="connsiteY118" fmla="*/ 1061441 h 4723802"/>
                <a:gd name="connsiteX119" fmla="*/ 42069 w 1182688"/>
                <a:gd name="connsiteY119" fmla="*/ 1061441 h 4723802"/>
                <a:gd name="connsiteX120" fmla="*/ 84138 w 1182688"/>
                <a:gd name="connsiteY120" fmla="*/ 1103667 h 4723802"/>
                <a:gd name="connsiteX121" fmla="*/ 84138 w 1182688"/>
                <a:gd name="connsiteY121" fmla="*/ 1525627 h 4723802"/>
                <a:gd name="connsiteX122" fmla="*/ 42069 w 1182688"/>
                <a:gd name="connsiteY122" fmla="*/ 1567854 h 4723802"/>
                <a:gd name="connsiteX123" fmla="*/ 0 w 1182688"/>
                <a:gd name="connsiteY123" fmla="*/ 1525627 h 4723802"/>
                <a:gd name="connsiteX124" fmla="*/ 0 w 1182688"/>
                <a:gd name="connsiteY124" fmla="*/ 1103667 h 4723802"/>
                <a:gd name="connsiteX125" fmla="*/ 42069 w 1182688"/>
                <a:gd name="connsiteY125" fmla="*/ 1061441 h 4723802"/>
                <a:gd name="connsiteX126" fmla="*/ 866132 w 1182688"/>
                <a:gd name="connsiteY126" fmla="*/ 1061441 h 4723802"/>
                <a:gd name="connsiteX127" fmla="*/ 908051 w 1182688"/>
                <a:gd name="connsiteY127" fmla="*/ 1103667 h 4723802"/>
                <a:gd name="connsiteX128" fmla="*/ 908051 w 1182688"/>
                <a:gd name="connsiteY128" fmla="*/ 1525627 h 4723802"/>
                <a:gd name="connsiteX129" fmla="*/ 866132 w 1182688"/>
                <a:gd name="connsiteY129" fmla="*/ 1567853 h 4723802"/>
                <a:gd name="connsiteX130" fmla="*/ 823913 w 1182688"/>
                <a:gd name="connsiteY130" fmla="*/ 1525627 h 4723802"/>
                <a:gd name="connsiteX131" fmla="*/ 823913 w 1182688"/>
                <a:gd name="connsiteY131" fmla="*/ 1103667 h 4723802"/>
                <a:gd name="connsiteX132" fmla="*/ 866132 w 1182688"/>
                <a:gd name="connsiteY132" fmla="*/ 1061441 h 4723802"/>
                <a:gd name="connsiteX133" fmla="*/ 316707 w 1182688"/>
                <a:gd name="connsiteY133" fmla="*/ 1061441 h 4723802"/>
                <a:gd name="connsiteX134" fmla="*/ 358776 w 1182688"/>
                <a:gd name="connsiteY134" fmla="*/ 1103667 h 4723802"/>
                <a:gd name="connsiteX135" fmla="*/ 358776 w 1182688"/>
                <a:gd name="connsiteY135" fmla="*/ 1525627 h 4723802"/>
                <a:gd name="connsiteX136" fmla="*/ 316707 w 1182688"/>
                <a:gd name="connsiteY136" fmla="*/ 1567853 h 4723802"/>
                <a:gd name="connsiteX137" fmla="*/ 274638 w 1182688"/>
                <a:gd name="connsiteY137" fmla="*/ 1525627 h 4723802"/>
                <a:gd name="connsiteX138" fmla="*/ 274638 w 1182688"/>
                <a:gd name="connsiteY138" fmla="*/ 1103667 h 4723802"/>
                <a:gd name="connsiteX139" fmla="*/ 316707 w 1182688"/>
                <a:gd name="connsiteY139" fmla="*/ 1061441 h 4723802"/>
                <a:gd name="connsiteX140" fmla="*/ 823913 w 1182688"/>
                <a:gd name="connsiteY140" fmla="*/ 52584 h 4723802"/>
                <a:gd name="connsiteX141" fmla="*/ 908051 w 1182688"/>
                <a:gd name="connsiteY141" fmla="*/ 52584 h 4723802"/>
                <a:gd name="connsiteX142" fmla="*/ 908051 w 1182688"/>
                <a:gd name="connsiteY142" fmla="*/ 473272 h 4723802"/>
                <a:gd name="connsiteX143" fmla="*/ 866132 w 1182688"/>
                <a:gd name="connsiteY143" fmla="*/ 515340 h 4723802"/>
                <a:gd name="connsiteX144" fmla="*/ 823913 w 1182688"/>
                <a:gd name="connsiteY144" fmla="*/ 473272 h 4723802"/>
                <a:gd name="connsiteX145" fmla="*/ 823913 w 1182688"/>
                <a:gd name="connsiteY145" fmla="*/ 52584 h 4723802"/>
                <a:gd name="connsiteX146" fmla="*/ 274638 w 1182688"/>
                <a:gd name="connsiteY146" fmla="*/ 52584 h 4723802"/>
                <a:gd name="connsiteX147" fmla="*/ 358776 w 1182688"/>
                <a:gd name="connsiteY147" fmla="*/ 52584 h 4723802"/>
                <a:gd name="connsiteX148" fmla="*/ 358776 w 1182688"/>
                <a:gd name="connsiteY148" fmla="*/ 473272 h 4723802"/>
                <a:gd name="connsiteX149" fmla="*/ 316707 w 1182688"/>
                <a:gd name="connsiteY149" fmla="*/ 515340 h 4723802"/>
                <a:gd name="connsiteX150" fmla="*/ 274638 w 1182688"/>
                <a:gd name="connsiteY150" fmla="*/ 473272 h 4723802"/>
                <a:gd name="connsiteX151" fmla="*/ 274638 w 1182688"/>
                <a:gd name="connsiteY151" fmla="*/ 52584 h 4723802"/>
                <a:gd name="connsiteX152" fmla="*/ 549275 w 1182688"/>
                <a:gd name="connsiteY152" fmla="*/ 52584 h 4723802"/>
                <a:gd name="connsiteX153" fmla="*/ 633413 w 1182688"/>
                <a:gd name="connsiteY153" fmla="*/ 52584 h 4723802"/>
                <a:gd name="connsiteX154" fmla="*/ 633413 w 1182688"/>
                <a:gd name="connsiteY154" fmla="*/ 473272 h 4723802"/>
                <a:gd name="connsiteX155" fmla="*/ 591344 w 1182688"/>
                <a:gd name="connsiteY155" fmla="*/ 515340 h 4723802"/>
                <a:gd name="connsiteX156" fmla="*/ 549275 w 1182688"/>
                <a:gd name="connsiteY156" fmla="*/ 473272 h 4723802"/>
                <a:gd name="connsiteX157" fmla="*/ 549275 w 1182688"/>
                <a:gd name="connsiteY157" fmla="*/ 52584 h 4723802"/>
                <a:gd name="connsiteX158" fmla="*/ 1139826 w 1182688"/>
                <a:gd name="connsiteY158" fmla="*/ 10515 h 4723802"/>
                <a:gd name="connsiteX159" fmla="*/ 1182688 w 1182688"/>
                <a:gd name="connsiteY159" fmla="*/ 52584 h 4723802"/>
                <a:gd name="connsiteX160" fmla="*/ 1182688 w 1182688"/>
                <a:gd name="connsiteY160" fmla="*/ 473271 h 4723802"/>
                <a:gd name="connsiteX161" fmla="*/ 1139826 w 1182688"/>
                <a:gd name="connsiteY161" fmla="*/ 515340 h 4723802"/>
                <a:gd name="connsiteX162" fmla="*/ 1096963 w 1182688"/>
                <a:gd name="connsiteY162" fmla="*/ 473271 h 4723802"/>
                <a:gd name="connsiteX163" fmla="*/ 1096963 w 1182688"/>
                <a:gd name="connsiteY163" fmla="*/ 52584 h 4723802"/>
                <a:gd name="connsiteX164" fmla="*/ 1139826 w 1182688"/>
                <a:gd name="connsiteY164" fmla="*/ 10515 h 4723802"/>
                <a:gd name="connsiteX0" fmla="*/ 1139826 w 1189040"/>
                <a:gd name="connsiteY0" fmla="*/ 4218977 h 4723802"/>
                <a:gd name="connsiteX1" fmla="*/ 1182688 w 1189040"/>
                <a:gd name="connsiteY1" fmla="*/ 4261046 h 4723802"/>
                <a:gd name="connsiteX2" fmla="*/ 1182688 w 1189040"/>
                <a:gd name="connsiteY2" fmla="*/ 4681733 h 4723802"/>
                <a:gd name="connsiteX3" fmla="*/ 1139826 w 1189040"/>
                <a:gd name="connsiteY3" fmla="*/ 4723802 h 4723802"/>
                <a:gd name="connsiteX4" fmla="*/ 1096963 w 1189040"/>
                <a:gd name="connsiteY4" fmla="*/ 4681733 h 4723802"/>
                <a:gd name="connsiteX5" fmla="*/ 1096963 w 1189040"/>
                <a:gd name="connsiteY5" fmla="*/ 4261046 h 4723802"/>
                <a:gd name="connsiteX6" fmla="*/ 1139826 w 1189040"/>
                <a:gd name="connsiteY6" fmla="*/ 4218977 h 4723802"/>
                <a:gd name="connsiteX7" fmla="*/ 866132 w 1189040"/>
                <a:gd name="connsiteY7" fmla="*/ 4218977 h 4723802"/>
                <a:gd name="connsiteX8" fmla="*/ 908051 w 1189040"/>
                <a:gd name="connsiteY8" fmla="*/ 4261046 h 4723802"/>
                <a:gd name="connsiteX9" fmla="*/ 908051 w 1189040"/>
                <a:gd name="connsiteY9" fmla="*/ 4681733 h 4723802"/>
                <a:gd name="connsiteX10" fmla="*/ 866132 w 1189040"/>
                <a:gd name="connsiteY10" fmla="*/ 4723802 h 4723802"/>
                <a:gd name="connsiteX11" fmla="*/ 823913 w 1189040"/>
                <a:gd name="connsiteY11" fmla="*/ 4681733 h 4723802"/>
                <a:gd name="connsiteX12" fmla="*/ 823913 w 1189040"/>
                <a:gd name="connsiteY12" fmla="*/ 4261046 h 4723802"/>
                <a:gd name="connsiteX13" fmla="*/ 866132 w 1189040"/>
                <a:gd name="connsiteY13" fmla="*/ 4218977 h 4723802"/>
                <a:gd name="connsiteX14" fmla="*/ 591344 w 1189040"/>
                <a:gd name="connsiteY14" fmla="*/ 4218977 h 4723802"/>
                <a:gd name="connsiteX15" fmla="*/ 633413 w 1189040"/>
                <a:gd name="connsiteY15" fmla="*/ 4261046 h 4723802"/>
                <a:gd name="connsiteX16" fmla="*/ 633413 w 1189040"/>
                <a:gd name="connsiteY16" fmla="*/ 4681733 h 4723802"/>
                <a:gd name="connsiteX17" fmla="*/ 591344 w 1189040"/>
                <a:gd name="connsiteY17" fmla="*/ 4723802 h 4723802"/>
                <a:gd name="connsiteX18" fmla="*/ 549275 w 1189040"/>
                <a:gd name="connsiteY18" fmla="*/ 4681733 h 4723802"/>
                <a:gd name="connsiteX19" fmla="*/ 549275 w 1189040"/>
                <a:gd name="connsiteY19" fmla="*/ 4261046 h 4723802"/>
                <a:gd name="connsiteX20" fmla="*/ 591344 w 1189040"/>
                <a:gd name="connsiteY20" fmla="*/ 4218977 h 4723802"/>
                <a:gd name="connsiteX21" fmla="*/ 316707 w 1189040"/>
                <a:gd name="connsiteY21" fmla="*/ 4218977 h 4723802"/>
                <a:gd name="connsiteX22" fmla="*/ 358776 w 1189040"/>
                <a:gd name="connsiteY22" fmla="*/ 4261046 h 4723802"/>
                <a:gd name="connsiteX23" fmla="*/ 358776 w 1189040"/>
                <a:gd name="connsiteY23" fmla="*/ 4681733 h 4723802"/>
                <a:gd name="connsiteX24" fmla="*/ 316707 w 1189040"/>
                <a:gd name="connsiteY24" fmla="*/ 4723802 h 4723802"/>
                <a:gd name="connsiteX25" fmla="*/ 274638 w 1189040"/>
                <a:gd name="connsiteY25" fmla="*/ 4681733 h 4723802"/>
                <a:gd name="connsiteX26" fmla="*/ 274638 w 1189040"/>
                <a:gd name="connsiteY26" fmla="*/ 4261046 h 4723802"/>
                <a:gd name="connsiteX27" fmla="*/ 316707 w 1189040"/>
                <a:gd name="connsiteY27" fmla="*/ 4218977 h 4723802"/>
                <a:gd name="connsiteX28" fmla="*/ 42069 w 1189040"/>
                <a:gd name="connsiteY28" fmla="*/ 4218977 h 4723802"/>
                <a:gd name="connsiteX29" fmla="*/ 84138 w 1189040"/>
                <a:gd name="connsiteY29" fmla="*/ 4261046 h 4723802"/>
                <a:gd name="connsiteX30" fmla="*/ 84138 w 1189040"/>
                <a:gd name="connsiteY30" fmla="*/ 4681733 h 4723802"/>
                <a:gd name="connsiteX31" fmla="*/ 42069 w 1189040"/>
                <a:gd name="connsiteY31" fmla="*/ 4723802 h 4723802"/>
                <a:gd name="connsiteX32" fmla="*/ 0 w 1189040"/>
                <a:gd name="connsiteY32" fmla="*/ 4681733 h 4723802"/>
                <a:gd name="connsiteX33" fmla="*/ 0 w 1189040"/>
                <a:gd name="connsiteY33" fmla="*/ 4261046 h 4723802"/>
                <a:gd name="connsiteX34" fmla="*/ 42069 w 1189040"/>
                <a:gd name="connsiteY34" fmla="*/ 4218977 h 4723802"/>
                <a:gd name="connsiteX35" fmla="*/ 1139826 w 1189040"/>
                <a:gd name="connsiteY35" fmla="*/ 3164877 h 4723802"/>
                <a:gd name="connsiteX36" fmla="*/ 1182688 w 1189040"/>
                <a:gd name="connsiteY36" fmla="*/ 3207078 h 4723802"/>
                <a:gd name="connsiteX37" fmla="*/ 1182688 w 1189040"/>
                <a:gd name="connsiteY37" fmla="*/ 3629089 h 4723802"/>
                <a:gd name="connsiteX38" fmla="*/ 1139826 w 1189040"/>
                <a:gd name="connsiteY38" fmla="*/ 3671290 h 4723802"/>
                <a:gd name="connsiteX39" fmla="*/ 1096963 w 1189040"/>
                <a:gd name="connsiteY39" fmla="*/ 3629089 h 4723802"/>
                <a:gd name="connsiteX40" fmla="*/ 1096963 w 1189040"/>
                <a:gd name="connsiteY40" fmla="*/ 3207078 h 4723802"/>
                <a:gd name="connsiteX41" fmla="*/ 1139826 w 1189040"/>
                <a:gd name="connsiteY41" fmla="*/ 3164877 h 4723802"/>
                <a:gd name="connsiteX42" fmla="*/ 866132 w 1189040"/>
                <a:gd name="connsiteY42" fmla="*/ 3164877 h 4723802"/>
                <a:gd name="connsiteX43" fmla="*/ 908051 w 1189040"/>
                <a:gd name="connsiteY43" fmla="*/ 3207078 h 4723802"/>
                <a:gd name="connsiteX44" fmla="*/ 908051 w 1189040"/>
                <a:gd name="connsiteY44" fmla="*/ 3629089 h 4723802"/>
                <a:gd name="connsiteX45" fmla="*/ 866132 w 1189040"/>
                <a:gd name="connsiteY45" fmla="*/ 3671290 h 4723802"/>
                <a:gd name="connsiteX46" fmla="*/ 823913 w 1189040"/>
                <a:gd name="connsiteY46" fmla="*/ 3629089 h 4723802"/>
                <a:gd name="connsiteX47" fmla="*/ 823913 w 1189040"/>
                <a:gd name="connsiteY47" fmla="*/ 3207078 h 4723802"/>
                <a:gd name="connsiteX48" fmla="*/ 866132 w 1189040"/>
                <a:gd name="connsiteY48" fmla="*/ 3164877 h 4723802"/>
                <a:gd name="connsiteX49" fmla="*/ 591344 w 1189040"/>
                <a:gd name="connsiteY49" fmla="*/ 3164877 h 4723802"/>
                <a:gd name="connsiteX50" fmla="*/ 633413 w 1189040"/>
                <a:gd name="connsiteY50" fmla="*/ 3207078 h 4723802"/>
                <a:gd name="connsiteX51" fmla="*/ 633413 w 1189040"/>
                <a:gd name="connsiteY51" fmla="*/ 3629089 h 4723802"/>
                <a:gd name="connsiteX52" fmla="*/ 591344 w 1189040"/>
                <a:gd name="connsiteY52" fmla="*/ 3671290 h 4723802"/>
                <a:gd name="connsiteX53" fmla="*/ 549275 w 1189040"/>
                <a:gd name="connsiteY53" fmla="*/ 3629089 h 4723802"/>
                <a:gd name="connsiteX54" fmla="*/ 549275 w 1189040"/>
                <a:gd name="connsiteY54" fmla="*/ 3207078 h 4723802"/>
                <a:gd name="connsiteX55" fmla="*/ 591344 w 1189040"/>
                <a:gd name="connsiteY55" fmla="*/ 3164877 h 4723802"/>
                <a:gd name="connsiteX56" fmla="*/ 316707 w 1189040"/>
                <a:gd name="connsiteY56" fmla="*/ 3164877 h 4723802"/>
                <a:gd name="connsiteX57" fmla="*/ 358776 w 1189040"/>
                <a:gd name="connsiteY57" fmla="*/ 3207078 h 4723802"/>
                <a:gd name="connsiteX58" fmla="*/ 358776 w 1189040"/>
                <a:gd name="connsiteY58" fmla="*/ 3629089 h 4723802"/>
                <a:gd name="connsiteX59" fmla="*/ 316707 w 1189040"/>
                <a:gd name="connsiteY59" fmla="*/ 3671290 h 4723802"/>
                <a:gd name="connsiteX60" fmla="*/ 274638 w 1189040"/>
                <a:gd name="connsiteY60" fmla="*/ 3629089 h 4723802"/>
                <a:gd name="connsiteX61" fmla="*/ 274638 w 1189040"/>
                <a:gd name="connsiteY61" fmla="*/ 3207078 h 4723802"/>
                <a:gd name="connsiteX62" fmla="*/ 316707 w 1189040"/>
                <a:gd name="connsiteY62" fmla="*/ 3164877 h 4723802"/>
                <a:gd name="connsiteX63" fmla="*/ 42069 w 1189040"/>
                <a:gd name="connsiteY63" fmla="*/ 3164877 h 4723802"/>
                <a:gd name="connsiteX64" fmla="*/ 84138 w 1189040"/>
                <a:gd name="connsiteY64" fmla="*/ 3207078 h 4723802"/>
                <a:gd name="connsiteX65" fmla="*/ 84138 w 1189040"/>
                <a:gd name="connsiteY65" fmla="*/ 3629089 h 4723802"/>
                <a:gd name="connsiteX66" fmla="*/ 42069 w 1189040"/>
                <a:gd name="connsiteY66" fmla="*/ 3671290 h 4723802"/>
                <a:gd name="connsiteX67" fmla="*/ 0 w 1189040"/>
                <a:gd name="connsiteY67" fmla="*/ 3629089 h 4723802"/>
                <a:gd name="connsiteX68" fmla="*/ 0 w 1189040"/>
                <a:gd name="connsiteY68" fmla="*/ 3207078 h 4723802"/>
                <a:gd name="connsiteX69" fmla="*/ 42069 w 1189040"/>
                <a:gd name="connsiteY69" fmla="*/ 3164877 h 4723802"/>
                <a:gd name="connsiteX70" fmla="*/ 1139826 w 1189040"/>
                <a:gd name="connsiteY70" fmla="*/ 2113952 h 4723802"/>
                <a:gd name="connsiteX71" fmla="*/ 1182688 w 1189040"/>
                <a:gd name="connsiteY71" fmla="*/ 2156021 h 4723802"/>
                <a:gd name="connsiteX72" fmla="*/ 1182688 w 1189040"/>
                <a:gd name="connsiteY72" fmla="*/ 2576708 h 4723802"/>
                <a:gd name="connsiteX73" fmla="*/ 1139826 w 1189040"/>
                <a:gd name="connsiteY73" fmla="*/ 2618777 h 4723802"/>
                <a:gd name="connsiteX74" fmla="*/ 1096963 w 1189040"/>
                <a:gd name="connsiteY74" fmla="*/ 2576708 h 4723802"/>
                <a:gd name="connsiteX75" fmla="*/ 1096963 w 1189040"/>
                <a:gd name="connsiteY75" fmla="*/ 2156021 h 4723802"/>
                <a:gd name="connsiteX76" fmla="*/ 1139826 w 1189040"/>
                <a:gd name="connsiteY76" fmla="*/ 2113952 h 4723802"/>
                <a:gd name="connsiteX77" fmla="*/ 866132 w 1189040"/>
                <a:gd name="connsiteY77" fmla="*/ 2113952 h 4723802"/>
                <a:gd name="connsiteX78" fmla="*/ 908051 w 1189040"/>
                <a:gd name="connsiteY78" fmla="*/ 2156021 h 4723802"/>
                <a:gd name="connsiteX79" fmla="*/ 908051 w 1189040"/>
                <a:gd name="connsiteY79" fmla="*/ 2576708 h 4723802"/>
                <a:gd name="connsiteX80" fmla="*/ 866132 w 1189040"/>
                <a:gd name="connsiteY80" fmla="*/ 2618777 h 4723802"/>
                <a:gd name="connsiteX81" fmla="*/ 823913 w 1189040"/>
                <a:gd name="connsiteY81" fmla="*/ 2576708 h 4723802"/>
                <a:gd name="connsiteX82" fmla="*/ 823913 w 1189040"/>
                <a:gd name="connsiteY82" fmla="*/ 2156021 h 4723802"/>
                <a:gd name="connsiteX83" fmla="*/ 866132 w 1189040"/>
                <a:gd name="connsiteY83" fmla="*/ 2113952 h 4723802"/>
                <a:gd name="connsiteX84" fmla="*/ 591344 w 1189040"/>
                <a:gd name="connsiteY84" fmla="*/ 2113952 h 4723802"/>
                <a:gd name="connsiteX85" fmla="*/ 633413 w 1189040"/>
                <a:gd name="connsiteY85" fmla="*/ 2156021 h 4723802"/>
                <a:gd name="connsiteX86" fmla="*/ 633413 w 1189040"/>
                <a:gd name="connsiteY86" fmla="*/ 2576708 h 4723802"/>
                <a:gd name="connsiteX87" fmla="*/ 591344 w 1189040"/>
                <a:gd name="connsiteY87" fmla="*/ 2618777 h 4723802"/>
                <a:gd name="connsiteX88" fmla="*/ 549275 w 1189040"/>
                <a:gd name="connsiteY88" fmla="*/ 2576708 h 4723802"/>
                <a:gd name="connsiteX89" fmla="*/ 549275 w 1189040"/>
                <a:gd name="connsiteY89" fmla="*/ 2156021 h 4723802"/>
                <a:gd name="connsiteX90" fmla="*/ 591344 w 1189040"/>
                <a:gd name="connsiteY90" fmla="*/ 2113952 h 4723802"/>
                <a:gd name="connsiteX91" fmla="*/ 316707 w 1189040"/>
                <a:gd name="connsiteY91" fmla="*/ 2113952 h 4723802"/>
                <a:gd name="connsiteX92" fmla="*/ 358776 w 1189040"/>
                <a:gd name="connsiteY92" fmla="*/ 2156021 h 4723802"/>
                <a:gd name="connsiteX93" fmla="*/ 358776 w 1189040"/>
                <a:gd name="connsiteY93" fmla="*/ 2576708 h 4723802"/>
                <a:gd name="connsiteX94" fmla="*/ 316707 w 1189040"/>
                <a:gd name="connsiteY94" fmla="*/ 2618777 h 4723802"/>
                <a:gd name="connsiteX95" fmla="*/ 274638 w 1189040"/>
                <a:gd name="connsiteY95" fmla="*/ 2576708 h 4723802"/>
                <a:gd name="connsiteX96" fmla="*/ 274638 w 1189040"/>
                <a:gd name="connsiteY96" fmla="*/ 2156021 h 4723802"/>
                <a:gd name="connsiteX97" fmla="*/ 316707 w 1189040"/>
                <a:gd name="connsiteY97" fmla="*/ 2113952 h 4723802"/>
                <a:gd name="connsiteX98" fmla="*/ 42069 w 1189040"/>
                <a:gd name="connsiteY98" fmla="*/ 2113952 h 4723802"/>
                <a:gd name="connsiteX99" fmla="*/ 84138 w 1189040"/>
                <a:gd name="connsiteY99" fmla="*/ 2156021 h 4723802"/>
                <a:gd name="connsiteX100" fmla="*/ 84138 w 1189040"/>
                <a:gd name="connsiteY100" fmla="*/ 2576708 h 4723802"/>
                <a:gd name="connsiteX101" fmla="*/ 42069 w 1189040"/>
                <a:gd name="connsiteY101" fmla="*/ 2618777 h 4723802"/>
                <a:gd name="connsiteX102" fmla="*/ 0 w 1189040"/>
                <a:gd name="connsiteY102" fmla="*/ 2576708 h 4723802"/>
                <a:gd name="connsiteX103" fmla="*/ 0 w 1189040"/>
                <a:gd name="connsiteY103" fmla="*/ 2156021 h 4723802"/>
                <a:gd name="connsiteX104" fmla="*/ 42069 w 1189040"/>
                <a:gd name="connsiteY104" fmla="*/ 2113952 h 4723802"/>
                <a:gd name="connsiteX105" fmla="*/ 1139826 w 1189040"/>
                <a:gd name="connsiteY105" fmla="*/ 1061441 h 4723802"/>
                <a:gd name="connsiteX106" fmla="*/ 1182688 w 1189040"/>
                <a:gd name="connsiteY106" fmla="*/ 1103667 h 4723802"/>
                <a:gd name="connsiteX107" fmla="*/ 1182688 w 1189040"/>
                <a:gd name="connsiteY107" fmla="*/ 1525627 h 4723802"/>
                <a:gd name="connsiteX108" fmla="*/ 1139826 w 1189040"/>
                <a:gd name="connsiteY108" fmla="*/ 1567854 h 4723802"/>
                <a:gd name="connsiteX109" fmla="*/ 1096963 w 1189040"/>
                <a:gd name="connsiteY109" fmla="*/ 1525627 h 4723802"/>
                <a:gd name="connsiteX110" fmla="*/ 1096963 w 1189040"/>
                <a:gd name="connsiteY110" fmla="*/ 1103667 h 4723802"/>
                <a:gd name="connsiteX111" fmla="*/ 1139826 w 1189040"/>
                <a:gd name="connsiteY111" fmla="*/ 1061441 h 4723802"/>
                <a:gd name="connsiteX112" fmla="*/ 591344 w 1189040"/>
                <a:gd name="connsiteY112" fmla="*/ 1061441 h 4723802"/>
                <a:gd name="connsiteX113" fmla="*/ 633413 w 1189040"/>
                <a:gd name="connsiteY113" fmla="*/ 1103667 h 4723802"/>
                <a:gd name="connsiteX114" fmla="*/ 633413 w 1189040"/>
                <a:gd name="connsiteY114" fmla="*/ 1525627 h 4723802"/>
                <a:gd name="connsiteX115" fmla="*/ 591344 w 1189040"/>
                <a:gd name="connsiteY115" fmla="*/ 1567854 h 4723802"/>
                <a:gd name="connsiteX116" fmla="*/ 549275 w 1189040"/>
                <a:gd name="connsiteY116" fmla="*/ 1525627 h 4723802"/>
                <a:gd name="connsiteX117" fmla="*/ 549275 w 1189040"/>
                <a:gd name="connsiteY117" fmla="*/ 1103667 h 4723802"/>
                <a:gd name="connsiteX118" fmla="*/ 591344 w 1189040"/>
                <a:gd name="connsiteY118" fmla="*/ 1061441 h 4723802"/>
                <a:gd name="connsiteX119" fmla="*/ 42069 w 1189040"/>
                <a:gd name="connsiteY119" fmla="*/ 1061441 h 4723802"/>
                <a:gd name="connsiteX120" fmla="*/ 84138 w 1189040"/>
                <a:gd name="connsiteY120" fmla="*/ 1103667 h 4723802"/>
                <a:gd name="connsiteX121" fmla="*/ 84138 w 1189040"/>
                <a:gd name="connsiteY121" fmla="*/ 1525627 h 4723802"/>
                <a:gd name="connsiteX122" fmla="*/ 42069 w 1189040"/>
                <a:gd name="connsiteY122" fmla="*/ 1567854 h 4723802"/>
                <a:gd name="connsiteX123" fmla="*/ 0 w 1189040"/>
                <a:gd name="connsiteY123" fmla="*/ 1525627 h 4723802"/>
                <a:gd name="connsiteX124" fmla="*/ 0 w 1189040"/>
                <a:gd name="connsiteY124" fmla="*/ 1103667 h 4723802"/>
                <a:gd name="connsiteX125" fmla="*/ 42069 w 1189040"/>
                <a:gd name="connsiteY125" fmla="*/ 1061441 h 4723802"/>
                <a:gd name="connsiteX126" fmla="*/ 866132 w 1189040"/>
                <a:gd name="connsiteY126" fmla="*/ 1061441 h 4723802"/>
                <a:gd name="connsiteX127" fmla="*/ 908051 w 1189040"/>
                <a:gd name="connsiteY127" fmla="*/ 1103667 h 4723802"/>
                <a:gd name="connsiteX128" fmla="*/ 908051 w 1189040"/>
                <a:gd name="connsiteY128" fmla="*/ 1525627 h 4723802"/>
                <a:gd name="connsiteX129" fmla="*/ 866132 w 1189040"/>
                <a:gd name="connsiteY129" fmla="*/ 1567853 h 4723802"/>
                <a:gd name="connsiteX130" fmla="*/ 823913 w 1189040"/>
                <a:gd name="connsiteY130" fmla="*/ 1525627 h 4723802"/>
                <a:gd name="connsiteX131" fmla="*/ 823913 w 1189040"/>
                <a:gd name="connsiteY131" fmla="*/ 1103667 h 4723802"/>
                <a:gd name="connsiteX132" fmla="*/ 866132 w 1189040"/>
                <a:gd name="connsiteY132" fmla="*/ 1061441 h 4723802"/>
                <a:gd name="connsiteX133" fmla="*/ 316707 w 1189040"/>
                <a:gd name="connsiteY133" fmla="*/ 1061441 h 4723802"/>
                <a:gd name="connsiteX134" fmla="*/ 358776 w 1189040"/>
                <a:gd name="connsiteY134" fmla="*/ 1103667 h 4723802"/>
                <a:gd name="connsiteX135" fmla="*/ 358776 w 1189040"/>
                <a:gd name="connsiteY135" fmla="*/ 1525627 h 4723802"/>
                <a:gd name="connsiteX136" fmla="*/ 316707 w 1189040"/>
                <a:gd name="connsiteY136" fmla="*/ 1567853 h 4723802"/>
                <a:gd name="connsiteX137" fmla="*/ 274638 w 1189040"/>
                <a:gd name="connsiteY137" fmla="*/ 1525627 h 4723802"/>
                <a:gd name="connsiteX138" fmla="*/ 274638 w 1189040"/>
                <a:gd name="connsiteY138" fmla="*/ 1103667 h 4723802"/>
                <a:gd name="connsiteX139" fmla="*/ 316707 w 1189040"/>
                <a:gd name="connsiteY139" fmla="*/ 1061441 h 4723802"/>
                <a:gd name="connsiteX140" fmla="*/ 823913 w 1189040"/>
                <a:gd name="connsiteY140" fmla="*/ 52584 h 4723802"/>
                <a:gd name="connsiteX141" fmla="*/ 908051 w 1189040"/>
                <a:gd name="connsiteY141" fmla="*/ 52584 h 4723802"/>
                <a:gd name="connsiteX142" fmla="*/ 908051 w 1189040"/>
                <a:gd name="connsiteY142" fmla="*/ 473272 h 4723802"/>
                <a:gd name="connsiteX143" fmla="*/ 866132 w 1189040"/>
                <a:gd name="connsiteY143" fmla="*/ 515340 h 4723802"/>
                <a:gd name="connsiteX144" fmla="*/ 823913 w 1189040"/>
                <a:gd name="connsiteY144" fmla="*/ 473272 h 4723802"/>
                <a:gd name="connsiteX145" fmla="*/ 823913 w 1189040"/>
                <a:gd name="connsiteY145" fmla="*/ 52584 h 4723802"/>
                <a:gd name="connsiteX146" fmla="*/ 274638 w 1189040"/>
                <a:gd name="connsiteY146" fmla="*/ 52584 h 4723802"/>
                <a:gd name="connsiteX147" fmla="*/ 358776 w 1189040"/>
                <a:gd name="connsiteY147" fmla="*/ 52584 h 4723802"/>
                <a:gd name="connsiteX148" fmla="*/ 358776 w 1189040"/>
                <a:gd name="connsiteY148" fmla="*/ 473272 h 4723802"/>
                <a:gd name="connsiteX149" fmla="*/ 316707 w 1189040"/>
                <a:gd name="connsiteY149" fmla="*/ 515340 h 4723802"/>
                <a:gd name="connsiteX150" fmla="*/ 274638 w 1189040"/>
                <a:gd name="connsiteY150" fmla="*/ 473272 h 4723802"/>
                <a:gd name="connsiteX151" fmla="*/ 274638 w 1189040"/>
                <a:gd name="connsiteY151" fmla="*/ 52584 h 4723802"/>
                <a:gd name="connsiteX152" fmla="*/ 549275 w 1189040"/>
                <a:gd name="connsiteY152" fmla="*/ 52584 h 4723802"/>
                <a:gd name="connsiteX153" fmla="*/ 633413 w 1189040"/>
                <a:gd name="connsiteY153" fmla="*/ 52584 h 4723802"/>
                <a:gd name="connsiteX154" fmla="*/ 633413 w 1189040"/>
                <a:gd name="connsiteY154" fmla="*/ 473272 h 4723802"/>
                <a:gd name="connsiteX155" fmla="*/ 591344 w 1189040"/>
                <a:gd name="connsiteY155" fmla="*/ 515340 h 4723802"/>
                <a:gd name="connsiteX156" fmla="*/ 549275 w 1189040"/>
                <a:gd name="connsiteY156" fmla="*/ 473272 h 4723802"/>
                <a:gd name="connsiteX157" fmla="*/ 549275 w 1189040"/>
                <a:gd name="connsiteY157" fmla="*/ 52584 h 4723802"/>
                <a:gd name="connsiteX158" fmla="*/ 1096963 w 1189040"/>
                <a:gd name="connsiteY158" fmla="*/ 52584 h 4723802"/>
                <a:gd name="connsiteX159" fmla="*/ 1182688 w 1189040"/>
                <a:gd name="connsiteY159" fmla="*/ 52584 h 4723802"/>
                <a:gd name="connsiteX160" fmla="*/ 1182688 w 1189040"/>
                <a:gd name="connsiteY160" fmla="*/ 473271 h 4723802"/>
                <a:gd name="connsiteX161" fmla="*/ 1139826 w 1189040"/>
                <a:gd name="connsiteY161" fmla="*/ 515340 h 4723802"/>
                <a:gd name="connsiteX162" fmla="*/ 1096963 w 1189040"/>
                <a:gd name="connsiteY162" fmla="*/ 473271 h 4723802"/>
                <a:gd name="connsiteX163" fmla="*/ 1096963 w 1189040"/>
                <a:gd name="connsiteY163" fmla="*/ 52584 h 4723802"/>
                <a:gd name="connsiteX0" fmla="*/ 1139826 w 1189040"/>
                <a:gd name="connsiteY0" fmla="*/ 4221638 h 4726463"/>
                <a:gd name="connsiteX1" fmla="*/ 1182688 w 1189040"/>
                <a:gd name="connsiteY1" fmla="*/ 4263707 h 4726463"/>
                <a:gd name="connsiteX2" fmla="*/ 1182688 w 1189040"/>
                <a:gd name="connsiteY2" fmla="*/ 4684394 h 4726463"/>
                <a:gd name="connsiteX3" fmla="*/ 1139826 w 1189040"/>
                <a:gd name="connsiteY3" fmla="*/ 4726463 h 4726463"/>
                <a:gd name="connsiteX4" fmla="*/ 1096963 w 1189040"/>
                <a:gd name="connsiteY4" fmla="*/ 4684394 h 4726463"/>
                <a:gd name="connsiteX5" fmla="*/ 1096963 w 1189040"/>
                <a:gd name="connsiteY5" fmla="*/ 4263707 h 4726463"/>
                <a:gd name="connsiteX6" fmla="*/ 1139826 w 1189040"/>
                <a:gd name="connsiteY6" fmla="*/ 4221638 h 4726463"/>
                <a:gd name="connsiteX7" fmla="*/ 866132 w 1189040"/>
                <a:gd name="connsiteY7" fmla="*/ 4221638 h 4726463"/>
                <a:gd name="connsiteX8" fmla="*/ 908051 w 1189040"/>
                <a:gd name="connsiteY8" fmla="*/ 4263707 h 4726463"/>
                <a:gd name="connsiteX9" fmla="*/ 908051 w 1189040"/>
                <a:gd name="connsiteY9" fmla="*/ 4684394 h 4726463"/>
                <a:gd name="connsiteX10" fmla="*/ 866132 w 1189040"/>
                <a:gd name="connsiteY10" fmla="*/ 4726463 h 4726463"/>
                <a:gd name="connsiteX11" fmla="*/ 823913 w 1189040"/>
                <a:gd name="connsiteY11" fmla="*/ 4684394 h 4726463"/>
                <a:gd name="connsiteX12" fmla="*/ 823913 w 1189040"/>
                <a:gd name="connsiteY12" fmla="*/ 4263707 h 4726463"/>
                <a:gd name="connsiteX13" fmla="*/ 866132 w 1189040"/>
                <a:gd name="connsiteY13" fmla="*/ 4221638 h 4726463"/>
                <a:gd name="connsiteX14" fmla="*/ 591344 w 1189040"/>
                <a:gd name="connsiteY14" fmla="*/ 4221638 h 4726463"/>
                <a:gd name="connsiteX15" fmla="*/ 633413 w 1189040"/>
                <a:gd name="connsiteY15" fmla="*/ 4263707 h 4726463"/>
                <a:gd name="connsiteX16" fmla="*/ 633413 w 1189040"/>
                <a:gd name="connsiteY16" fmla="*/ 4684394 h 4726463"/>
                <a:gd name="connsiteX17" fmla="*/ 591344 w 1189040"/>
                <a:gd name="connsiteY17" fmla="*/ 4726463 h 4726463"/>
                <a:gd name="connsiteX18" fmla="*/ 549275 w 1189040"/>
                <a:gd name="connsiteY18" fmla="*/ 4684394 h 4726463"/>
                <a:gd name="connsiteX19" fmla="*/ 549275 w 1189040"/>
                <a:gd name="connsiteY19" fmla="*/ 4263707 h 4726463"/>
                <a:gd name="connsiteX20" fmla="*/ 591344 w 1189040"/>
                <a:gd name="connsiteY20" fmla="*/ 4221638 h 4726463"/>
                <a:gd name="connsiteX21" fmla="*/ 316707 w 1189040"/>
                <a:gd name="connsiteY21" fmla="*/ 4221638 h 4726463"/>
                <a:gd name="connsiteX22" fmla="*/ 358776 w 1189040"/>
                <a:gd name="connsiteY22" fmla="*/ 4263707 h 4726463"/>
                <a:gd name="connsiteX23" fmla="*/ 358776 w 1189040"/>
                <a:gd name="connsiteY23" fmla="*/ 4684394 h 4726463"/>
                <a:gd name="connsiteX24" fmla="*/ 316707 w 1189040"/>
                <a:gd name="connsiteY24" fmla="*/ 4726463 h 4726463"/>
                <a:gd name="connsiteX25" fmla="*/ 274638 w 1189040"/>
                <a:gd name="connsiteY25" fmla="*/ 4684394 h 4726463"/>
                <a:gd name="connsiteX26" fmla="*/ 274638 w 1189040"/>
                <a:gd name="connsiteY26" fmla="*/ 4263707 h 4726463"/>
                <a:gd name="connsiteX27" fmla="*/ 316707 w 1189040"/>
                <a:gd name="connsiteY27" fmla="*/ 4221638 h 4726463"/>
                <a:gd name="connsiteX28" fmla="*/ 42069 w 1189040"/>
                <a:gd name="connsiteY28" fmla="*/ 4221638 h 4726463"/>
                <a:gd name="connsiteX29" fmla="*/ 84138 w 1189040"/>
                <a:gd name="connsiteY29" fmla="*/ 4263707 h 4726463"/>
                <a:gd name="connsiteX30" fmla="*/ 84138 w 1189040"/>
                <a:gd name="connsiteY30" fmla="*/ 4684394 h 4726463"/>
                <a:gd name="connsiteX31" fmla="*/ 42069 w 1189040"/>
                <a:gd name="connsiteY31" fmla="*/ 4726463 h 4726463"/>
                <a:gd name="connsiteX32" fmla="*/ 0 w 1189040"/>
                <a:gd name="connsiteY32" fmla="*/ 4684394 h 4726463"/>
                <a:gd name="connsiteX33" fmla="*/ 0 w 1189040"/>
                <a:gd name="connsiteY33" fmla="*/ 4263707 h 4726463"/>
                <a:gd name="connsiteX34" fmla="*/ 42069 w 1189040"/>
                <a:gd name="connsiteY34" fmla="*/ 4221638 h 4726463"/>
                <a:gd name="connsiteX35" fmla="*/ 1139826 w 1189040"/>
                <a:gd name="connsiteY35" fmla="*/ 3167538 h 4726463"/>
                <a:gd name="connsiteX36" fmla="*/ 1182688 w 1189040"/>
                <a:gd name="connsiteY36" fmla="*/ 3209739 h 4726463"/>
                <a:gd name="connsiteX37" fmla="*/ 1182688 w 1189040"/>
                <a:gd name="connsiteY37" fmla="*/ 3631750 h 4726463"/>
                <a:gd name="connsiteX38" fmla="*/ 1139826 w 1189040"/>
                <a:gd name="connsiteY38" fmla="*/ 3673951 h 4726463"/>
                <a:gd name="connsiteX39" fmla="*/ 1096963 w 1189040"/>
                <a:gd name="connsiteY39" fmla="*/ 3631750 h 4726463"/>
                <a:gd name="connsiteX40" fmla="*/ 1096963 w 1189040"/>
                <a:gd name="connsiteY40" fmla="*/ 3209739 h 4726463"/>
                <a:gd name="connsiteX41" fmla="*/ 1139826 w 1189040"/>
                <a:gd name="connsiteY41" fmla="*/ 3167538 h 4726463"/>
                <a:gd name="connsiteX42" fmla="*/ 866132 w 1189040"/>
                <a:gd name="connsiteY42" fmla="*/ 3167538 h 4726463"/>
                <a:gd name="connsiteX43" fmla="*/ 908051 w 1189040"/>
                <a:gd name="connsiteY43" fmla="*/ 3209739 h 4726463"/>
                <a:gd name="connsiteX44" fmla="*/ 908051 w 1189040"/>
                <a:gd name="connsiteY44" fmla="*/ 3631750 h 4726463"/>
                <a:gd name="connsiteX45" fmla="*/ 866132 w 1189040"/>
                <a:gd name="connsiteY45" fmla="*/ 3673951 h 4726463"/>
                <a:gd name="connsiteX46" fmla="*/ 823913 w 1189040"/>
                <a:gd name="connsiteY46" fmla="*/ 3631750 h 4726463"/>
                <a:gd name="connsiteX47" fmla="*/ 823913 w 1189040"/>
                <a:gd name="connsiteY47" fmla="*/ 3209739 h 4726463"/>
                <a:gd name="connsiteX48" fmla="*/ 866132 w 1189040"/>
                <a:gd name="connsiteY48" fmla="*/ 3167538 h 4726463"/>
                <a:gd name="connsiteX49" fmla="*/ 591344 w 1189040"/>
                <a:gd name="connsiteY49" fmla="*/ 3167538 h 4726463"/>
                <a:gd name="connsiteX50" fmla="*/ 633413 w 1189040"/>
                <a:gd name="connsiteY50" fmla="*/ 3209739 h 4726463"/>
                <a:gd name="connsiteX51" fmla="*/ 633413 w 1189040"/>
                <a:gd name="connsiteY51" fmla="*/ 3631750 h 4726463"/>
                <a:gd name="connsiteX52" fmla="*/ 591344 w 1189040"/>
                <a:gd name="connsiteY52" fmla="*/ 3673951 h 4726463"/>
                <a:gd name="connsiteX53" fmla="*/ 549275 w 1189040"/>
                <a:gd name="connsiteY53" fmla="*/ 3631750 h 4726463"/>
                <a:gd name="connsiteX54" fmla="*/ 549275 w 1189040"/>
                <a:gd name="connsiteY54" fmla="*/ 3209739 h 4726463"/>
                <a:gd name="connsiteX55" fmla="*/ 591344 w 1189040"/>
                <a:gd name="connsiteY55" fmla="*/ 3167538 h 4726463"/>
                <a:gd name="connsiteX56" fmla="*/ 316707 w 1189040"/>
                <a:gd name="connsiteY56" fmla="*/ 3167538 h 4726463"/>
                <a:gd name="connsiteX57" fmla="*/ 358776 w 1189040"/>
                <a:gd name="connsiteY57" fmla="*/ 3209739 h 4726463"/>
                <a:gd name="connsiteX58" fmla="*/ 358776 w 1189040"/>
                <a:gd name="connsiteY58" fmla="*/ 3631750 h 4726463"/>
                <a:gd name="connsiteX59" fmla="*/ 316707 w 1189040"/>
                <a:gd name="connsiteY59" fmla="*/ 3673951 h 4726463"/>
                <a:gd name="connsiteX60" fmla="*/ 274638 w 1189040"/>
                <a:gd name="connsiteY60" fmla="*/ 3631750 h 4726463"/>
                <a:gd name="connsiteX61" fmla="*/ 274638 w 1189040"/>
                <a:gd name="connsiteY61" fmla="*/ 3209739 h 4726463"/>
                <a:gd name="connsiteX62" fmla="*/ 316707 w 1189040"/>
                <a:gd name="connsiteY62" fmla="*/ 3167538 h 4726463"/>
                <a:gd name="connsiteX63" fmla="*/ 42069 w 1189040"/>
                <a:gd name="connsiteY63" fmla="*/ 3167538 h 4726463"/>
                <a:gd name="connsiteX64" fmla="*/ 84138 w 1189040"/>
                <a:gd name="connsiteY64" fmla="*/ 3209739 h 4726463"/>
                <a:gd name="connsiteX65" fmla="*/ 84138 w 1189040"/>
                <a:gd name="connsiteY65" fmla="*/ 3631750 h 4726463"/>
                <a:gd name="connsiteX66" fmla="*/ 42069 w 1189040"/>
                <a:gd name="connsiteY66" fmla="*/ 3673951 h 4726463"/>
                <a:gd name="connsiteX67" fmla="*/ 0 w 1189040"/>
                <a:gd name="connsiteY67" fmla="*/ 3631750 h 4726463"/>
                <a:gd name="connsiteX68" fmla="*/ 0 w 1189040"/>
                <a:gd name="connsiteY68" fmla="*/ 3209739 h 4726463"/>
                <a:gd name="connsiteX69" fmla="*/ 42069 w 1189040"/>
                <a:gd name="connsiteY69" fmla="*/ 3167538 h 4726463"/>
                <a:gd name="connsiteX70" fmla="*/ 1139826 w 1189040"/>
                <a:gd name="connsiteY70" fmla="*/ 2116613 h 4726463"/>
                <a:gd name="connsiteX71" fmla="*/ 1182688 w 1189040"/>
                <a:gd name="connsiteY71" fmla="*/ 2158682 h 4726463"/>
                <a:gd name="connsiteX72" fmla="*/ 1182688 w 1189040"/>
                <a:gd name="connsiteY72" fmla="*/ 2579369 h 4726463"/>
                <a:gd name="connsiteX73" fmla="*/ 1139826 w 1189040"/>
                <a:gd name="connsiteY73" fmla="*/ 2621438 h 4726463"/>
                <a:gd name="connsiteX74" fmla="*/ 1096963 w 1189040"/>
                <a:gd name="connsiteY74" fmla="*/ 2579369 h 4726463"/>
                <a:gd name="connsiteX75" fmla="*/ 1096963 w 1189040"/>
                <a:gd name="connsiteY75" fmla="*/ 2158682 h 4726463"/>
                <a:gd name="connsiteX76" fmla="*/ 1139826 w 1189040"/>
                <a:gd name="connsiteY76" fmla="*/ 2116613 h 4726463"/>
                <a:gd name="connsiteX77" fmla="*/ 866132 w 1189040"/>
                <a:gd name="connsiteY77" fmla="*/ 2116613 h 4726463"/>
                <a:gd name="connsiteX78" fmla="*/ 908051 w 1189040"/>
                <a:gd name="connsiteY78" fmla="*/ 2158682 h 4726463"/>
                <a:gd name="connsiteX79" fmla="*/ 908051 w 1189040"/>
                <a:gd name="connsiteY79" fmla="*/ 2579369 h 4726463"/>
                <a:gd name="connsiteX80" fmla="*/ 866132 w 1189040"/>
                <a:gd name="connsiteY80" fmla="*/ 2621438 h 4726463"/>
                <a:gd name="connsiteX81" fmla="*/ 823913 w 1189040"/>
                <a:gd name="connsiteY81" fmla="*/ 2579369 h 4726463"/>
                <a:gd name="connsiteX82" fmla="*/ 823913 w 1189040"/>
                <a:gd name="connsiteY82" fmla="*/ 2158682 h 4726463"/>
                <a:gd name="connsiteX83" fmla="*/ 866132 w 1189040"/>
                <a:gd name="connsiteY83" fmla="*/ 2116613 h 4726463"/>
                <a:gd name="connsiteX84" fmla="*/ 591344 w 1189040"/>
                <a:gd name="connsiteY84" fmla="*/ 2116613 h 4726463"/>
                <a:gd name="connsiteX85" fmla="*/ 633413 w 1189040"/>
                <a:gd name="connsiteY85" fmla="*/ 2158682 h 4726463"/>
                <a:gd name="connsiteX86" fmla="*/ 633413 w 1189040"/>
                <a:gd name="connsiteY86" fmla="*/ 2579369 h 4726463"/>
                <a:gd name="connsiteX87" fmla="*/ 591344 w 1189040"/>
                <a:gd name="connsiteY87" fmla="*/ 2621438 h 4726463"/>
                <a:gd name="connsiteX88" fmla="*/ 549275 w 1189040"/>
                <a:gd name="connsiteY88" fmla="*/ 2579369 h 4726463"/>
                <a:gd name="connsiteX89" fmla="*/ 549275 w 1189040"/>
                <a:gd name="connsiteY89" fmla="*/ 2158682 h 4726463"/>
                <a:gd name="connsiteX90" fmla="*/ 591344 w 1189040"/>
                <a:gd name="connsiteY90" fmla="*/ 2116613 h 4726463"/>
                <a:gd name="connsiteX91" fmla="*/ 316707 w 1189040"/>
                <a:gd name="connsiteY91" fmla="*/ 2116613 h 4726463"/>
                <a:gd name="connsiteX92" fmla="*/ 358776 w 1189040"/>
                <a:gd name="connsiteY92" fmla="*/ 2158682 h 4726463"/>
                <a:gd name="connsiteX93" fmla="*/ 358776 w 1189040"/>
                <a:gd name="connsiteY93" fmla="*/ 2579369 h 4726463"/>
                <a:gd name="connsiteX94" fmla="*/ 316707 w 1189040"/>
                <a:gd name="connsiteY94" fmla="*/ 2621438 h 4726463"/>
                <a:gd name="connsiteX95" fmla="*/ 274638 w 1189040"/>
                <a:gd name="connsiteY95" fmla="*/ 2579369 h 4726463"/>
                <a:gd name="connsiteX96" fmla="*/ 274638 w 1189040"/>
                <a:gd name="connsiteY96" fmla="*/ 2158682 h 4726463"/>
                <a:gd name="connsiteX97" fmla="*/ 316707 w 1189040"/>
                <a:gd name="connsiteY97" fmla="*/ 2116613 h 4726463"/>
                <a:gd name="connsiteX98" fmla="*/ 42069 w 1189040"/>
                <a:gd name="connsiteY98" fmla="*/ 2116613 h 4726463"/>
                <a:gd name="connsiteX99" fmla="*/ 84138 w 1189040"/>
                <a:gd name="connsiteY99" fmla="*/ 2158682 h 4726463"/>
                <a:gd name="connsiteX100" fmla="*/ 84138 w 1189040"/>
                <a:gd name="connsiteY100" fmla="*/ 2579369 h 4726463"/>
                <a:gd name="connsiteX101" fmla="*/ 42069 w 1189040"/>
                <a:gd name="connsiteY101" fmla="*/ 2621438 h 4726463"/>
                <a:gd name="connsiteX102" fmla="*/ 0 w 1189040"/>
                <a:gd name="connsiteY102" fmla="*/ 2579369 h 4726463"/>
                <a:gd name="connsiteX103" fmla="*/ 0 w 1189040"/>
                <a:gd name="connsiteY103" fmla="*/ 2158682 h 4726463"/>
                <a:gd name="connsiteX104" fmla="*/ 42069 w 1189040"/>
                <a:gd name="connsiteY104" fmla="*/ 2116613 h 4726463"/>
                <a:gd name="connsiteX105" fmla="*/ 1139826 w 1189040"/>
                <a:gd name="connsiteY105" fmla="*/ 1064102 h 4726463"/>
                <a:gd name="connsiteX106" fmla="*/ 1182688 w 1189040"/>
                <a:gd name="connsiteY106" fmla="*/ 1106328 h 4726463"/>
                <a:gd name="connsiteX107" fmla="*/ 1182688 w 1189040"/>
                <a:gd name="connsiteY107" fmla="*/ 1528288 h 4726463"/>
                <a:gd name="connsiteX108" fmla="*/ 1139826 w 1189040"/>
                <a:gd name="connsiteY108" fmla="*/ 1570515 h 4726463"/>
                <a:gd name="connsiteX109" fmla="*/ 1096963 w 1189040"/>
                <a:gd name="connsiteY109" fmla="*/ 1528288 h 4726463"/>
                <a:gd name="connsiteX110" fmla="*/ 1096963 w 1189040"/>
                <a:gd name="connsiteY110" fmla="*/ 1106328 h 4726463"/>
                <a:gd name="connsiteX111" fmla="*/ 1139826 w 1189040"/>
                <a:gd name="connsiteY111" fmla="*/ 1064102 h 4726463"/>
                <a:gd name="connsiteX112" fmla="*/ 591344 w 1189040"/>
                <a:gd name="connsiteY112" fmla="*/ 1064102 h 4726463"/>
                <a:gd name="connsiteX113" fmla="*/ 633413 w 1189040"/>
                <a:gd name="connsiteY113" fmla="*/ 1106328 h 4726463"/>
                <a:gd name="connsiteX114" fmla="*/ 633413 w 1189040"/>
                <a:gd name="connsiteY114" fmla="*/ 1528288 h 4726463"/>
                <a:gd name="connsiteX115" fmla="*/ 591344 w 1189040"/>
                <a:gd name="connsiteY115" fmla="*/ 1570515 h 4726463"/>
                <a:gd name="connsiteX116" fmla="*/ 549275 w 1189040"/>
                <a:gd name="connsiteY116" fmla="*/ 1528288 h 4726463"/>
                <a:gd name="connsiteX117" fmla="*/ 549275 w 1189040"/>
                <a:gd name="connsiteY117" fmla="*/ 1106328 h 4726463"/>
                <a:gd name="connsiteX118" fmla="*/ 591344 w 1189040"/>
                <a:gd name="connsiteY118" fmla="*/ 1064102 h 4726463"/>
                <a:gd name="connsiteX119" fmla="*/ 42069 w 1189040"/>
                <a:gd name="connsiteY119" fmla="*/ 1064102 h 4726463"/>
                <a:gd name="connsiteX120" fmla="*/ 84138 w 1189040"/>
                <a:gd name="connsiteY120" fmla="*/ 1106328 h 4726463"/>
                <a:gd name="connsiteX121" fmla="*/ 84138 w 1189040"/>
                <a:gd name="connsiteY121" fmla="*/ 1528288 h 4726463"/>
                <a:gd name="connsiteX122" fmla="*/ 42069 w 1189040"/>
                <a:gd name="connsiteY122" fmla="*/ 1570515 h 4726463"/>
                <a:gd name="connsiteX123" fmla="*/ 0 w 1189040"/>
                <a:gd name="connsiteY123" fmla="*/ 1528288 h 4726463"/>
                <a:gd name="connsiteX124" fmla="*/ 0 w 1189040"/>
                <a:gd name="connsiteY124" fmla="*/ 1106328 h 4726463"/>
                <a:gd name="connsiteX125" fmla="*/ 42069 w 1189040"/>
                <a:gd name="connsiteY125" fmla="*/ 1064102 h 4726463"/>
                <a:gd name="connsiteX126" fmla="*/ 866132 w 1189040"/>
                <a:gd name="connsiteY126" fmla="*/ 1064102 h 4726463"/>
                <a:gd name="connsiteX127" fmla="*/ 908051 w 1189040"/>
                <a:gd name="connsiteY127" fmla="*/ 1106328 h 4726463"/>
                <a:gd name="connsiteX128" fmla="*/ 908051 w 1189040"/>
                <a:gd name="connsiteY128" fmla="*/ 1528288 h 4726463"/>
                <a:gd name="connsiteX129" fmla="*/ 866132 w 1189040"/>
                <a:gd name="connsiteY129" fmla="*/ 1570514 h 4726463"/>
                <a:gd name="connsiteX130" fmla="*/ 823913 w 1189040"/>
                <a:gd name="connsiteY130" fmla="*/ 1528288 h 4726463"/>
                <a:gd name="connsiteX131" fmla="*/ 823913 w 1189040"/>
                <a:gd name="connsiteY131" fmla="*/ 1106328 h 4726463"/>
                <a:gd name="connsiteX132" fmla="*/ 866132 w 1189040"/>
                <a:gd name="connsiteY132" fmla="*/ 1064102 h 4726463"/>
                <a:gd name="connsiteX133" fmla="*/ 316707 w 1189040"/>
                <a:gd name="connsiteY133" fmla="*/ 1064102 h 4726463"/>
                <a:gd name="connsiteX134" fmla="*/ 358776 w 1189040"/>
                <a:gd name="connsiteY134" fmla="*/ 1106328 h 4726463"/>
                <a:gd name="connsiteX135" fmla="*/ 358776 w 1189040"/>
                <a:gd name="connsiteY135" fmla="*/ 1528288 h 4726463"/>
                <a:gd name="connsiteX136" fmla="*/ 316707 w 1189040"/>
                <a:gd name="connsiteY136" fmla="*/ 1570514 h 4726463"/>
                <a:gd name="connsiteX137" fmla="*/ 274638 w 1189040"/>
                <a:gd name="connsiteY137" fmla="*/ 1528288 h 4726463"/>
                <a:gd name="connsiteX138" fmla="*/ 274638 w 1189040"/>
                <a:gd name="connsiteY138" fmla="*/ 1106328 h 4726463"/>
                <a:gd name="connsiteX139" fmla="*/ 316707 w 1189040"/>
                <a:gd name="connsiteY139" fmla="*/ 1064102 h 4726463"/>
                <a:gd name="connsiteX140" fmla="*/ 823913 w 1189040"/>
                <a:gd name="connsiteY140" fmla="*/ 55245 h 4726463"/>
                <a:gd name="connsiteX141" fmla="*/ 908051 w 1189040"/>
                <a:gd name="connsiteY141" fmla="*/ 55245 h 4726463"/>
                <a:gd name="connsiteX142" fmla="*/ 908051 w 1189040"/>
                <a:gd name="connsiteY142" fmla="*/ 475933 h 4726463"/>
                <a:gd name="connsiteX143" fmla="*/ 866132 w 1189040"/>
                <a:gd name="connsiteY143" fmla="*/ 518001 h 4726463"/>
                <a:gd name="connsiteX144" fmla="*/ 823913 w 1189040"/>
                <a:gd name="connsiteY144" fmla="*/ 475933 h 4726463"/>
                <a:gd name="connsiteX145" fmla="*/ 823913 w 1189040"/>
                <a:gd name="connsiteY145" fmla="*/ 55245 h 4726463"/>
                <a:gd name="connsiteX146" fmla="*/ 274638 w 1189040"/>
                <a:gd name="connsiteY146" fmla="*/ 55245 h 4726463"/>
                <a:gd name="connsiteX147" fmla="*/ 358776 w 1189040"/>
                <a:gd name="connsiteY147" fmla="*/ 55245 h 4726463"/>
                <a:gd name="connsiteX148" fmla="*/ 358776 w 1189040"/>
                <a:gd name="connsiteY148" fmla="*/ 475933 h 4726463"/>
                <a:gd name="connsiteX149" fmla="*/ 316707 w 1189040"/>
                <a:gd name="connsiteY149" fmla="*/ 518001 h 4726463"/>
                <a:gd name="connsiteX150" fmla="*/ 274638 w 1189040"/>
                <a:gd name="connsiteY150" fmla="*/ 55245 h 4726463"/>
                <a:gd name="connsiteX151" fmla="*/ 549275 w 1189040"/>
                <a:gd name="connsiteY151" fmla="*/ 55245 h 4726463"/>
                <a:gd name="connsiteX152" fmla="*/ 633413 w 1189040"/>
                <a:gd name="connsiteY152" fmla="*/ 55245 h 4726463"/>
                <a:gd name="connsiteX153" fmla="*/ 633413 w 1189040"/>
                <a:gd name="connsiteY153" fmla="*/ 475933 h 4726463"/>
                <a:gd name="connsiteX154" fmla="*/ 591344 w 1189040"/>
                <a:gd name="connsiteY154" fmla="*/ 518001 h 4726463"/>
                <a:gd name="connsiteX155" fmla="*/ 549275 w 1189040"/>
                <a:gd name="connsiteY155" fmla="*/ 475933 h 4726463"/>
                <a:gd name="connsiteX156" fmla="*/ 549275 w 1189040"/>
                <a:gd name="connsiteY156" fmla="*/ 55245 h 4726463"/>
                <a:gd name="connsiteX157" fmla="*/ 1096963 w 1189040"/>
                <a:gd name="connsiteY157" fmla="*/ 55245 h 4726463"/>
                <a:gd name="connsiteX158" fmla="*/ 1182688 w 1189040"/>
                <a:gd name="connsiteY158" fmla="*/ 55245 h 4726463"/>
                <a:gd name="connsiteX159" fmla="*/ 1182688 w 1189040"/>
                <a:gd name="connsiteY159" fmla="*/ 475932 h 4726463"/>
                <a:gd name="connsiteX160" fmla="*/ 1139826 w 1189040"/>
                <a:gd name="connsiteY160" fmla="*/ 518001 h 4726463"/>
                <a:gd name="connsiteX161" fmla="*/ 1096963 w 1189040"/>
                <a:gd name="connsiteY161" fmla="*/ 475932 h 4726463"/>
                <a:gd name="connsiteX162" fmla="*/ 1096963 w 1189040"/>
                <a:gd name="connsiteY162" fmla="*/ 55245 h 4726463"/>
                <a:gd name="connsiteX0" fmla="*/ 1139826 w 1189040"/>
                <a:gd name="connsiteY0" fmla="*/ 4218977 h 4723802"/>
                <a:gd name="connsiteX1" fmla="*/ 1182688 w 1189040"/>
                <a:gd name="connsiteY1" fmla="*/ 4261046 h 4723802"/>
                <a:gd name="connsiteX2" fmla="*/ 1182688 w 1189040"/>
                <a:gd name="connsiteY2" fmla="*/ 4681733 h 4723802"/>
                <a:gd name="connsiteX3" fmla="*/ 1139826 w 1189040"/>
                <a:gd name="connsiteY3" fmla="*/ 4723802 h 4723802"/>
                <a:gd name="connsiteX4" fmla="*/ 1096963 w 1189040"/>
                <a:gd name="connsiteY4" fmla="*/ 4681733 h 4723802"/>
                <a:gd name="connsiteX5" fmla="*/ 1096963 w 1189040"/>
                <a:gd name="connsiteY5" fmla="*/ 4261046 h 4723802"/>
                <a:gd name="connsiteX6" fmla="*/ 1139826 w 1189040"/>
                <a:gd name="connsiteY6" fmla="*/ 4218977 h 4723802"/>
                <a:gd name="connsiteX7" fmla="*/ 866132 w 1189040"/>
                <a:gd name="connsiteY7" fmla="*/ 4218977 h 4723802"/>
                <a:gd name="connsiteX8" fmla="*/ 908051 w 1189040"/>
                <a:gd name="connsiteY8" fmla="*/ 4261046 h 4723802"/>
                <a:gd name="connsiteX9" fmla="*/ 908051 w 1189040"/>
                <a:gd name="connsiteY9" fmla="*/ 4681733 h 4723802"/>
                <a:gd name="connsiteX10" fmla="*/ 866132 w 1189040"/>
                <a:gd name="connsiteY10" fmla="*/ 4723802 h 4723802"/>
                <a:gd name="connsiteX11" fmla="*/ 823913 w 1189040"/>
                <a:gd name="connsiteY11" fmla="*/ 4681733 h 4723802"/>
                <a:gd name="connsiteX12" fmla="*/ 823913 w 1189040"/>
                <a:gd name="connsiteY12" fmla="*/ 4261046 h 4723802"/>
                <a:gd name="connsiteX13" fmla="*/ 866132 w 1189040"/>
                <a:gd name="connsiteY13" fmla="*/ 4218977 h 4723802"/>
                <a:gd name="connsiteX14" fmla="*/ 591344 w 1189040"/>
                <a:gd name="connsiteY14" fmla="*/ 4218977 h 4723802"/>
                <a:gd name="connsiteX15" fmla="*/ 633413 w 1189040"/>
                <a:gd name="connsiteY15" fmla="*/ 4261046 h 4723802"/>
                <a:gd name="connsiteX16" fmla="*/ 633413 w 1189040"/>
                <a:gd name="connsiteY16" fmla="*/ 4681733 h 4723802"/>
                <a:gd name="connsiteX17" fmla="*/ 591344 w 1189040"/>
                <a:gd name="connsiteY17" fmla="*/ 4723802 h 4723802"/>
                <a:gd name="connsiteX18" fmla="*/ 549275 w 1189040"/>
                <a:gd name="connsiteY18" fmla="*/ 4681733 h 4723802"/>
                <a:gd name="connsiteX19" fmla="*/ 549275 w 1189040"/>
                <a:gd name="connsiteY19" fmla="*/ 4261046 h 4723802"/>
                <a:gd name="connsiteX20" fmla="*/ 591344 w 1189040"/>
                <a:gd name="connsiteY20" fmla="*/ 4218977 h 4723802"/>
                <a:gd name="connsiteX21" fmla="*/ 316707 w 1189040"/>
                <a:gd name="connsiteY21" fmla="*/ 4218977 h 4723802"/>
                <a:gd name="connsiteX22" fmla="*/ 358776 w 1189040"/>
                <a:gd name="connsiteY22" fmla="*/ 4261046 h 4723802"/>
                <a:gd name="connsiteX23" fmla="*/ 358776 w 1189040"/>
                <a:gd name="connsiteY23" fmla="*/ 4681733 h 4723802"/>
                <a:gd name="connsiteX24" fmla="*/ 316707 w 1189040"/>
                <a:gd name="connsiteY24" fmla="*/ 4723802 h 4723802"/>
                <a:gd name="connsiteX25" fmla="*/ 274638 w 1189040"/>
                <a:gd name="connsiteY25" fmla="*/ 4681733 h 4723802"/>
                <a:gd name="connsiteX26" fmla="*/ 274638 w 1189040"/>
                <a:gd name="connsiteY26" fmla="*/ 4261046 h 4723802"/>
                <a:gd name="connsiteX27" fmla="*/ 316707 w 1189040"/>
                <a:gd name="connsiteY27" fmla="*/ 4218977 h 4723802"/>
                <a:gd name="connsiteX28" fmla="*/ 42069 w 1189040"/>
                <a:gd name="connsiteY28" fmla="*/ 4218977 h 4723802"/>
                <a:gd name="connsiteX29" fmla="*/ 84138 w 1189040"/>
                <a:gd name="connsiteY29" fmla="*/ 4261046 h 4723802"/>
                <a:gd name="connsiteX30" fmla="*/ 84138 w 1189040"/>
                <a:gd name="connsiteY30" fmla="*/ 4681733 h 4723802"/>
                <a:gd name="connsiteX31" fmla="*/ 42069 w 1189040"/>
                <a:gd name="connsiteY31" fmla="*/ 4723802 h 4723802"/>
                <a:gd name="connsiteX32" fmla="*/ 0 w 1189040"/>
                <a:gd name="connsiteY32" fmla="*/ 4681733 h 4723802"/>
                <a:gd name="connsiteX33" fmla="*/ 0 w 1189040"/>
                <a:gd name="connsiteY33" fmla="*/ 4261046 h 4723802"/>
                <a:gd name="connsiteX34" fmla="*/ 42069 w 1189040"/>
                <a:gd name="connsiteY34" fmla="*/ 4218977 h 4723802"/>
                <a:gd name="connsiteX35" fmla="*/ 1139826 w 1189040"/>
                <a:gd name="connsiteY35" fmla="*/ 3164877 h 4723802"/>
                <a:gd name="connsiteX36" fmla="*/ 1182688 w 1189040"/>
                <a:gd name="connsiteY36" fmla="*/ 3207078 h 4723802"/>
                <a:gd name="connsiteX37" fmla="*/ 1182688 w 1189040"/>
                <a:gd name="connsiteY37" fmla="*/ 3629089 h 4723802"/>
                <a:gd name="connsiteX38" fmla="*/ 1139826 w 1189040"/>
                <a:gd name="connsiteY38" fmla="*/ 3671290 h 4723802"/>
                <a:gd name="connsiteX39" fmla="*/ 1096963 w 1189040"/>
                <a:gd name="connsiteY39" fmla="*/ 3629089 h 4723802"/>
                <a:gd name="connsiteX40" fmla="*/ 1096963 w 1189040"/>
                <a:gd name="connsiteY40" fmla="*/ 3207078 h 4723802"/>
                <a:gd name="connsiteX41" fmla="*/ 1139826 w 1189040"/>
                <a:gd name="connsiteY41" fmla="*/ 3164877 h 4723802"/>
                <a:gd name="connsiteX42" fmla="*/ 866132 w 1189040"/>
                <a:gd name="connsiteY42" fmla="*/ 3164877 h 4723802"/>
                <a:gd name="connsiteX43" fmla="*/ 908051 w 1189040"/>
                <a:gd name="connsiteY43" fmla="*/ 3207078 h 4723802"/>
                <a:gd name="connsiteX44" fmla="*/ 908051 w 1189040"/>
                <a:gd name="connsiteY44" fmla="*/ 3629089 h 4723802"/>
                <a:gd name="connsiteX45" fmla="*/ 866132 w 1189040"/>
                <a:gd name="connsiteY45" fmla="*/ 3671290 h 4723802"/>
                <a:gd name="connsiteX46" fmla="*/ 823913 w 1189040"/>
                <a:gd name="connsiteY46" fmla="*/ 3629089 h 4723802"/>
                <a:gd name="connsiteX47" fmla="*/ 823913 w 1189040"/>
                <a:gd name="connsiteY47" fmla="*/ 3207078 h 4723802"/>
                <a:gd name="connsiteX48" fmla="*/ 866132 w 1189040"/>
                <a:gd name="connsiteY48" fmla="*/ 3164877 h 4723802"/>
                <a:gd name="connsiteX49" fmla="*/ 591344 w 1189040"/>
                <a:gd name="connsiteY49" fmla="*/ 3164877 h 4723802"/>
                <a:gd name="connsiteX50" fmla="*/ 633413 w 1189040"/>
                <a:gd name="connsiteY50" fmla="*/ 3207078 h 4723802"/>
                <a:gd name="connsiteX51" fmla="*/ 633413 w 1189040"/>
                <a:gd name="connsiteY51" fmla="*/ 3629089 h 4723802"/>
                <a:gd name="connsiteX52" fmla="*/ 591344 w 1189040"/>
                <a:gd name="connsiteY52" fmla="*/ 3671290 h 4723802"/>
                <a:gd name="connsiteX53" fmla="*/ 549275 w 1189040"/>
                <a:gd name="connsiteY53" fmla="*/ 3629089 h 4723802"/>
                <a:gd name="connsiteX54" fmla="*/ 549275 w 1189040"/>
                <a:gd name="connsiteY54" fmla="*/ 3207078 h 4723802"/>
                <a:gd name="connsiteX55" fmla="*/ 591344 w 1189040"/>
                <a:gd name="connsiteY55" fmla="*/ 3164877 h 4723802"/>
                <a:gd name="connsiteX56" fmla="*/ 316707 w 1189040"/>
                <a:gd name="connsiteY56" fmla="*/ 3164877 h 4723802"/>
                <a:gd name="connsiteX57" fmla="*/ 358776 w 1189040"/>
                <a:gd name="connsiteY57" fmla="*/ 3207078 h 4723802"/>
                <a:gd name="connsiteX58" fmla="*/ 358776 w 1189040"/>
                <a:gd name="connsiteY58" fmla="*/ 3629089 h 4723802"/>
                <a:gd name="connsiteX59" fmla="*/ 316707 w 1189040"/>
                <a:gd name="connsiteY59" fmla="*/ 3671290 h 4723802"/>
                <a:gd name="connsiteX60" fmla="*/ 274638 w 1189040"/>
                <a:gd name="connsiteY60" fmla="*/ 3629089 h 4723802"/>
                <a:gd name="connsiteX61" fmla="*/ 274638 w 1189040"/>
                <a:gd name="connsiteY61" fmla="*/ 3207078 h 4723802"/>
                <a:gd name="connsiteX62" fmla="*/ 316707 w 1189040"/>
                <a:gd name="connsiteY62" fmla="*/ 3164877 h 4723802"/>
                <a:gd name="connsiteX63" fmla="*/ 42069 w 1189040"/>
                <a:gd name="connsiteY63" fmla="*/ 3164877 h 4723802"/>
                <a:gd name="connsiteX64" fmla="*/ 84138 w 1189040"/>
                <a:gd name="connsiteY64" fmla="*/ 3207078 h 4723802"/>
                <a:gd name="connsiteX65" fmla="*/ 84138 w 1189040"/>
                <a:gd name="connsiteY65" fmla="*/ 3629089 h 4723802"/>
                <a:gd name="connsiteX66" fmla="*/ 42069 w 1189040"/>
                <a:gd name="connsiteY66" fmla="*/ 3671290 h 4723802"/>
                <a:gd name="connsiteX67" fmla="*/ 0 w 1189040"/>
                <a:gd name="connsiteY67" fmla="*/ 3629089 h 4723802"/>
                <a:gd name="connsiteX68" fmla="*/ 0 w 1189040"/>
                <a:gd name="connsiteY68" fmla="*/ 3207078 h 4723802"/>
                <a:gd name="connsiteX69" fmla="*/ 42069 w 1189040"/>
                <a:gd name="connsiteY69" fmla="*/ 3164877 h 4723802"/>
                <a:gd name="connsiteX70" fmla="*/ 1139826 w 1189040"/>
                <a:gd name="connsiteY70" fmla="*/ 2113952 h 4723802"/>
                <a:gd name="connsiteX71" fmla="*/ 1182688 w 1189040"/>
                <a:gd name="connsiteY71" fmla="*/ 2156021 h 4723802"/>
                <a:gd name="connsiteX72" fmla="*/ 1182688 w 1189040"/>
                <a:gd name="connsiteY72" fmla="*/ 2576708 h 4723802"/>
                <a:gd name="connsiteX73" fmla="*/ 1139826 w 1189040"/>
                <a:gd name="connsiteY73" fmla="*/ 2618777 h 4723802"/>
                <a:gd name="connsiteX74" fmla="*/ 1096963 w 1189040"/>
                <a:gd name="connsiteY74" fmla="*/ 2576708 h 4723802"/>
                <a:gd name="connsiteX75" fmla="*/ 1096963 w 1189040"/>
                <a:gd name="connsiteY75" fmla="*/ 2156021 h 4723802"/>
                <a:gd name="connsiteX76" fmla="*/ 1139826 w 1189040"/>
                <a:gd name="connsiteY76" fmla="*/ 2113952 h 4723802"/>
                <a:gd name="connsiteX77" fmla="*/ 866132 w 1189040"/>
                <a:gd name="connsiteY77" fmla="*/ 2113952 h 4723802"/>
                <a:gd name="connsiteX78" fmla="*/ 908051 w 1189040"/>
                <a:gd name="connsiteY78" fmla="*/ 2156021 h 4723802"/>
                <a:gd name="connsiteX79" fmla="*/ 908051 w 1189040"/>
                <a:gd name="connsiteY79" fmla="*/ 2576708 h 4723802"/>
                <a:gd name="connsiteX80" fmla="*/ 866132 w 1189040"/>
                <a:gd name="connsiteY80" fmla="*/ 2618777 h 4723802"/>
                <a:gd name="connsiteX81" fmla="*/ 823913 w 1189040"/>
                <a:gd name="connsiteY81" fmla="*/ 2576708 h 4723802"/>
                <a:gd name="connsiteX82" fmla="*/ 823913 w 1189040"/>
                <a:gd name="connsiteY82" fmla="*/ 2156021 h 4723802"/>
                <a:gd name="connsiteX83" fmla="*/ 866132 w 1189040"/>
                <a:gd name="connsiteY83" fmla="*/ 2113952 h 4723802"/>
                <a:gd name="connsiteX84" fmla="*/ 591344 w 1189040"/>
                <a:gd name="connsiteY84" fmla="*/ 2113952 h 4723802"/>
                <a:gd name="connsiteX85" fmla="*/ 633413 w 1189040"/>
                <a:gd name="connsiteY85" fmla="*/ 2156021 h 4723802"/>
                <a:gd name="connsiteX86" fmla="*/ 633413 w 1189040"/>
                <a:gd name="connsiteY86" fmla="*/ 2576708 h 4723802"/>
                <a:gd name="connsiteX87" fmla="*/ 591344 w 1189040"/>
                <a:gd name="connsiteY87" fmla="*/ 2618777 h 4723802"/>
                <a:gd name="connsiteX88" fmla="*/ 549275 w 1189040"/>
                <a:gd name="connsiteY88" fmla="*/ 2576708 h 4723802"/>
                <a:gd name="connsiteX89" fmla="*/ 549275 w 1189040"/>
                <a:gd name="connsiteY89" fmla="*/ 2156021 h 4723802"/>
                <a:gd name="connsiteX90" fmla="*/ 591344 w 1189040"/>
                <a:gd name="connsiteY90" fmla="*/ 2113952 h 4723802"/>
                <a:gd name="connsiteX91" fmla="*/ 316707 w 1189040"/>
                <a:gd name="connsiteY91" fmla="*/ 2113952 h 4723802"/>
                <a:gd name="connsiteX92" fmla="*/ 358776 w 1189040"/>
                <a:gd name="connsiteY92" fmla="*/ 2156021 h 4723802"/>
                <a:gd name="connsiteX93" fmla="*/ 358776 w 1189040"/>
                <a:gd name="connsiteY93" fmla="*/ 2576708 h 4723802"/>
                <a:gd name="connsiteX94" fmla="*/ 316707 w 1189040"/>
                <a:gd name="connsiteY94" fmla="*/ 2618777 h 4723802"/>
                <a:gd name="connsiteX95" fmla="*/ 274638 w 1189040"/>
                <a:gd name="connsiteY95" fmla="*/ 2576708 h 4723802"/>
                <a:gd name="connsiteX96" fmla="*/ 274638 w 1189040"/>
                <a:gd name="connsiteY96" fmla="*/ 2156021 h 4723802"/>
                <a:gd name="connsiteX97" fmla="*/ 316707 w 1189040"/>
                <a:gd name="connsiteY97" fmla="*/ 2113952 h 4723802"/>
                <a:gd name="connsiteX98" fmla="*/ 42069 w 1189040"/>
                <a:gd name="connsiteY98" fmla="*/ 2113952 h 4723802"/>
                <a:gd name="connsiteX99" fmla="*/ 84138 w 1189040"/>
                <a:gd name="connsiteY99" fmla="*/ 2156021 h 4723802"/>
                <a:gd name="connsiteX100" fmla="*/ 84138 w 1189040"/>
                <a:gd name="connsiteY100" fmla="*/ 2576708 h 4723802"/>
                <a:gd name="connsiteX101" fmla="*/ 42069 w 1189040"/>
                <a:gd name="connsiteY101" fmla="*/ 2618777 h 4723802"/>
                <a:gd name="connsiteX102" fmla="*/ 0 w 1189040"/>
                <a:gd name="connsiteY102" fmla="*/ 2576708 h 4723802"/>
                <a:gd name="connsiteX103" fmla="*/ 0 w 1189040"/>
                <a:gd name="connsiteY103" fmla="*/ 2156021 h 4723802"/>
                <a:gd name="connsiteX104" fmla="*/ 42069 w 1189040"/>
                <a:gd name="connsiteY104" fmla="*/ 2113952 h 4723802"/>
                <a:gd name="connsiteX105" fmla="*/ 1139826 w 1189040"/>
                <a:gd name="connsiteY105" fmla="*/ 1061441 h 4723802"/>
                <a:gd name="connsiteX106" fmla="*/ 1182688 w 1189040"/>
                <a:gd name="connsiteY106" fmla="*/ 1103667 h 4723802"/>
                <a:gd name="connsiteX107" fmla="*/ 1182688 w 1189040"/>
                <a:gd name="connsiteY107" fmla="*/ 1525627 h 4723802"/>
                <a:gd name="connsiteX108" fmla="*/ 1139826 w 1189040"/>
                <a:gd name="connsiteY108" fmla="*/ 1567854 h 4723802"/>
                <a:gd name="connsiteX109" fmla="*/ 1096963 w 1189040"/>
                <a:gd name="connsiteY109" fmla="*/ 1525627 h 4723802"/>
                <a:gd name="connsiteX110" fmla="*/ 1096963 w 1189040"/>
                <a:gd name="connsiteY110" fmla="*/ 1103667 h 4723802"/>
                <a:gd name="connsiteX111" fmla="*/ 1139826 w 1189040"/>
                <a:gd name="connsiteY111" fmla="*/ 1061441 h 4723802"/>
                <a:gd name="connsiteX112" fmla="*/ 591344 w 1189040"/>
                <a:gd name="connsiteY112" fmla="*/ 1061441 h 4723802"/>
                <a:gd name="connsiteX113" fmla="*/ 633413 w 1189040"/>
                <a:gd name="connsiteY113" fmla="*/ 1103667 h 4723802"/>
                <a:gd name="connsiteX114" fmla="*/ 633413 w 1189040"/>
                <a:gd name="connsiteY114" fmla="*/ 1525627 h 4723802"/>
                <a:gd name="connsiteX115" fmla="*/ 591344 w 1189040"/>
                <a:gd name="connsiteY115" fmla="*/ 1567854 h 4723802"/>
                <a:gd name="connsiteX116" fmla="*/ 549275 w 1189040"/>
                <a:gd name="connsiteY116" fmla="*/ 1525627 h 4723802"/>
                <a:gd name="connsiteX117" fmla="*/ 549275 w 1189040"/>
                <a:gd name="connsiteY117" fmla="*/ 1103667 h 4723802"/>
                <a:gd name="connsiteX118" fmla="*/ 591344 w 1189040"/>
                <a:gd name="connsiteY118" fmla="*/ 1061441 h 4723802"/>
                <a:gd name="connsiteX119" fmla="*/ 42069 w 1189040"/>
                <a:gd name="connsiteY119" fmla="*/ 1061441 h 4723802"/>
                <a:gd name="connsiteX120" fmla="*/ 84138 w 1189040"/>
                <a:gd name="connsiteY120" fmla="*/ 1103667 h 4723802"/>
                <a:gd name="connsiteX121" fmla="*/ 84138 w 1189040"/>
                <a:gd name="connsiteY121" fmla="*/ 1525627 h 4723802"/>
                <a:gd name="connsiteX122" fmla="*/ 42069 w 1189040"/>
                <a:gd name="connsiteY122" fmla="*/ 1567854 h 4723802"/>
                <a:gd name="connsiteX123" fmla="*/ 0 w 1189040"/>
                <a:gd name="connsiteY123" fmla="*/ 1525627 h 4723802"/>
                <a:gd name="connsiteX124" fmla="*/ 0 w 1189040"/>
                <a:gd name="connsiteY124" fmla="*/ 1103667 h 4723802"/>
                <a:gd name="connsiteX125" fmla="*/ 42069 w 1189040"/>
                <a:gd name="connsiteY125" fmla="*/ 1061441 h 4723802"/>
                <a:gd name="connsiteX126" fmla="*/ 866132 w 1189040"/>
                <a:gd name="connsiteY126" fmla="*/ 1061441 h 4723802"/>
                <a:gd name="connsiteX127" fmla="*/ 908051 w 1189040"/>
                <a:gd name="connsiteY127" fmla="*/ 1103667 h 4723802"/>
                <a:gd name="connsiteX128" fmla="*/ 908051 w 1189040"/>
                <a:gd name="connsiteY128" fmla="*/ 1525627 h 4723802"/>
                <a:gd name="connsiteX129" fmla="*/ 866132 w 1189040"/>
                <a:gd name="connsiteY129" fmla="*/ 1567853 h 4723802"/>
                <a:gd name="connsiteX130" fmla="*/ 823913 w 1189040"/>
                <a:gd name="connsiteY130" fmla="*/ 1525627 h 4723802"/>
                <a:gd name="connsiteX131" fmla="*/ 823913 w 1189040"/>
                <a:gd name="connsiteY131" fmla="*/ 1103667 h 4723802"/>
                <a:gd name="connsiteX132" fmla="*/ 866132 w 1189040"/>
                <a:gd name="connsiteY132" fmla="*/ 1061441 h 4723802"/>
                <a:gd name="connsiteX133" fmla="*/ 316707 w 1189040"/>
                <a:gd name="connsiteY133" fmla="*/ 1061441 h 4723802"/>
                <a:gd name="connsiteX134" fmla="*/ 358776 w 1189040"/>
                <a:gd name="connsiteY134" fmla="*/ 1103667 h 4723802"/>
                <a:gd name="connsiteX135" fmla="*/ 358776 w 1189040"/>
                <a:gd name="connsiteY135" fmla="*/ 1525627 h 4723802"/>
                <a:gd name="connsiteX136" fmla="*/ 316707 w 1189040"/>
                <a:gd name="connsiteY136" fmla="*/ 1567853 h 4723802"/>
                <a:gd name="connsiteX137" fmla="*/ 274638 w 1189040"/>
                <a:gd name="connsiteY137" fmla="*/ 1525627 h 4723802"/>
                <a:gd name="connsiteX138" fmla="*/ 274638 w 1189040"/>
                <a:gd name="connsiteY138" fmla="*/ 1103667 h 4723802"/>
                <a:gd name="connsiteX139" fmla="*/ 316707 w 1189040"/>
                <a:gd name="connsiteY139" fmla="*/ 1061441 h 4723802"/>
                <a:gd name="connsiteX140" fmla="*/ 823913 w 1189040"/>
                <a:gd name="connsiteY140" fmla="*/ 52584 h 4723802"/>
                <a:gd name="connsiteX141" fmla="*/ 908051 w 1189040"/>
                <a:gd name="connsiteY141" fmla="*/ 52584 h 4723802"/>
                <a:gd name="connsiteX142" fmla="*/ 908051 w 1189040"/>
                <a:gd name="connsiteY142" fmla="*/ 473272 h 4723802"/>
                <a:gd name="connsiteX143" fmla="*/ 866132 w 1189040"/>
                <a:gd name="connsiteY143" fmla="*/ 515340 h 4723802"/>
                <a:gd name="connsiteX144" fmla="*/ 823913 w 1189040"/>
                <a:gd name="connsiteY144" fmla="*/ 473272 h 4723802"/>
                <a:gd name="connsiteX145" fmla="*/ 823913 w 1189040"/>
                <a:gd name="connsiteY145" fmla="*/ 52584 h 4723802"/>
                <a:gd name="connsiteX146" fmla="*/ 274638 w 1189040"/>
                <a:gd name="connsiteY146" fmla="*/ 52584 h 4723802"/>
                <a:gd name="connsiteX147" fmla="*/ 358776 w 1189040"/>
                <a:gd name="connsiteY147" fmla="*/ 52584 h 4723802"/>
                <a:gd name="connsiteX148" fmla="*/ 358776 w 1189040"/>
                <a:gd name="connsiteY148" fmla="*/ 473272 h 4723802"/>
                <a:gd name="connsiteX149" fmla="*/ 274638 w 1189040"/>
                <a:gd name="connsiteY149" fmla="*/ 52584 h 4723802"/>
                <a:gd name="connsiteX150" fmla="*/ 549275 w 1189040"/>
                <a:gd name="connsiteY150" fmla="*/ 52584 h 4723802"/>
                <a:gd name="connsiteX151" fmla="*/ 633413 w 1189040"/>
                <a:gd name="connsiteY151" fmla="*/ 52584 h 4723802"/>
                <a:gd name="connsiteX152" fmla="*/ 633413 w 1189040"/>
                <a:gd name="connsiteY152" fmla="*/ 473272 h 4723802"/>
                <a:gd name="connsiteX153" fmla="*/ 591344 w 1189040"/>
                <a:gd name="connsiteY153" fmla="*/ 515340 h 4723802"/>
                <a:gd name="connsiteX154" fmla="*/ 549275 w 1189040"/>
                <a:gd name="connsiteY154" fmla="*/ 473272 h 4723802"/>
                <a:gd name="connsiteX155" fmla="*/ 549275 w 1189040"/>
                <a:gd name="connsiteY155" fmla="*/ 52584 h 4723802"/>
                <a:gd name="connsiteX156" fmla="*/ 1096963 w 1189040"/>
                <a:gd name="connsiteY156" fmla="*/ 52584 h 4723802"/>
                <a:gd name="connsiteX157" fmla="*/ 1182688 w 1189040"/>
                <a:gd name="connsiteY157" fmla="*/ 52584 h 4723802"/>
                <a:gd name="connsiteX158" fmla="*/ 1182688 w 1189040"/>
                <a:gd name="connsiteY158" fmla="*/ 473271 h 4723802"/>
                <a:gd name="connsiteX159" fmla="*/ 1139826 w 1189040"/>
                <a:gd name="connsiteY159" fmla="*/ 515340 h 4723802"/>
                <a:gd name="connsiteX160" fmla="*/ 1096963 w 1189040"/>
                <a:gd name="connsiteY160" fmla="*/ 473271 h 4723802"/>
                <a:gd name="connsiteX161" fmla="*/ 1096963 w 1189040"/>
                <a:gd name="connsiteY161" fmla="*/ 52584 h 4723802"/>
                <a:gd name="connsiteX0" fmla="*/ 1139826 w 1189040"/>
                <a:gd name="connsiteY0" fmla="*/ 4218977 h 4723802"/>
                <a:gd name="connsiteX1" fmla="*/ 1182688 w 1189040"/>
                <a:gd name="connsiteY1" fmla="*/ 4261046 h 4723802"/>
                <a:gd name="connsiteX2" fmla="*/ 1182688 w 1189040"/>
                <a:gd name="connsiteY2" fmla="*/ 4681733 h 4723802"/>
                <a:gd name="connsiteX3" fmla="*/ 1139826 w 1189040"/>
                <a:gd name="connsiteY3" fmla="*/ 4723802 h 4723802"/>
                <a:gd name="connsiteX4" fmla="*/ 1096963 w 1189040"/>
                <a:gd name="connsiteY4" fmla="*/ 4681733 h 4723802"/>
                <a:gd name="connsiteX5" fmla="*/ 1096963 w 1189040"/>
                <a:gd name="connsiteY5" fmla="*/ 4261046 h 4723802"/>
                <a:gd name="connsiteX6" fmla="*/ 1139826 w 1189040"/>
                <a:gd name="connsiteY6" fmla="*/ 4218977 h 4723802"/>
                <a:gd name="connsiteX7" fmla="*/ 866132 w 1189040"/>
                <a:gd name="connsiteY7" fmla="*/ 4218977 h 4723802"/>
                <a:gd name="connsiteX8" fmla="*/ 908051 w 1189040"/>
                <a:gd name="connsiteY8" fmla="*/ 4261046 h 4723802"/>
                <a:gd name="connsiteX9" fmla="*/ 908051 w 1189040"/>
                <a:gd name="connsiteY9" fmla="*/ 4681733 h 4723802"/>
                <a:gd name="connsiteX10" fmla="*/ 866132 w 1189040"/>
                <a:gd name="connsiteY10" fmla="*/ 4723802 h 4723802"/>
                <a:gd name="connsiteX11" fmla="*/ 823913 w 1189040"/>
                <a:gd name="connsiteY11" fmla="*/ 4681733 h 4723802"/>
                <a:gd name="connsiteX12" fmla="*/ 823913 w 1189040"/>
                <a:gd name="connsiteY12" fmla="*/ 4261046 h 4723802"/>
                <a:gd name="connsiteX13" fmla="*/ 866132 w 1189040"/>
                <a:gd name="connsiteY13" fmla="*/ 4218977 h 4723802"/>
                <a:gd name="connsiteX14" fmla="*/ 591344 w 1189040"/>
                <a:gd name="connsiteY14" fmla="*/ 4218977 h 4723802"/>
                <a:gd name="connsiteX15" fmla="*/ 633413 w 1189040"/>
                <a:gd name="connsiteY15" fmla="*/ 4261046 h 4723802"/>
                <a:gd name="connsiteX16" fmla="*/ 633413 w 1189040"/>
                <a:gd name="connsiteY16" fmla="*/ 4681733 h 4723802"/>
                <a:gd name="connsiteX17" fmla="*/ 591344 w 1189040"/>
                <a:gd name="connsiteY17" fmla="*/ 4723802 h 4723802"/>
                <a:gd name="connsiteX18" fmla="*/ 549275 w 1189040"/>
                <a:gd name="connsiteY18" fmla="*/ 4681733 h 4723802"/>
                <a:gd name="connsiteX19" fmla="*/ 549275 w 1189040"/>
                <a:gd name="connsiteY19" fmla="*/ 4261046 h 4723802"/>
                <a:gd name="connsiteX20" fmla="*/ 591344 w 1189040"/>
                <a:gd name="connsiteY20" fmla="*/ 4218977 h 4723802"/>
                <a:gd name="connsiteX21" fmla="*/ 316707 w 1189040"/>
                <a:gd name="connsiteY21" fmla="*/ 4218977 h 4723802"/>
                <a:gd name="connsiteX22" fmla="*/ 358776 w 1189040"/>
                <a:gd name="connsiteY22" fmla="*/ 4261046 h 4723802"/>
                <a:gd name="connsiteX23" fmla="*/ 358776 w 1189040"/>
                <a:gd name="connsiteY23" fmla="*/ 4681733 h 4723802"/>
                <a:gd name="connsiteX24" fmla="*/ 316707 w 1189040"/>
                <a:gd name="connsiteY24" fmla="*/ 4723802 h 4723802"/>
                <a:gd name="connsiteX25" fmla="*/ 274638 w 1189040"/>
                <a:gd name="connsiteY25" fmla="*/ 4681733 h 4723802"/>
                <a:gd name="connsiteX26" fmla="*/ 274638 w 1189040"/>
                <a:gd name="connsiteY26" fmla="*/ 4261046 h 4723802"/>
                <a:gd name="connsiteX27" fmla="*/ 316707 w 1189040"/>
                <a:gd name="connsiteY27" fmla="*/ 4218977 h 4723802"/>
                <a:gd name="connsiteX28" fmla="*/ 42069 w 1189040"/>
                <a:gd name="connsiteY28" fmla="*/ 4218977 h 4723802"/>
                <a:gd name="connsiteX29" fmla="*/ 84138 w 1189040"/>
                <a:gd name="connsiteY29" fmla="*/ 4261046 h 4723802"/>
                <a:gd name="connsiteX30" fmla="*/ 84138 w 1189040"/>
                <a:gd name="connsiteY30" fmla="*/ 4681733 h 4723802"/>
                <a:gd name="connsiteX31" fmla="*/ 42069 w 1189040"/>
                <a:gd name="connsiteY31" fmla="*/ 4723802 h 4723802"/>
                <a:gd name="connsiteX32" fmla="*/ 0 w 1189040"/>
                <a:gd name="connsiteY32" fmla="*/ 4681733 h 4723802"/>
                <a:gd name="connsiteX33" fmla="*/ 0 w 1189040"/>
                <a:gd name="connsiteY33" fmla="*/ 4261046 h 4723802"/>
                <a:gd name="connsiteX34" fmla="*/ 42069 w 1189040"/>
                <a:gd name="connsiteY34" fmla="*/ 4218977 h 4723802"/>
                <a:gd name="connsiteX35" fmla="*/ 1139826 w 1189040"/>
                <a:gd name="connsiteY35" fmla="*/ 3164877 h 4723802"/>
                <a:gd name="connsiteX36" fmla="*/ 1182688 w 1189040"/>
                <a:gd name="connsiteY36" fmla="*/ 3207078 h 4723802"/>
                <a:gd name="connsiteX37" fmla="*/ 1182688 w 1189040"/>
                <a:gd name="connsiteY37" fmla="*/ 3629089 h 4723802"/>
                <a:gd name="connsiteX38" fmla="*/ 1139826 w 1189040"/>
                <a:gd name="connsiteY38" fmla="*/ 3671290 h 4723802"/>
                <a:gd name="connsiteX39" fmla="*/ 1096963 w 1189040"/>
                <a:gd name="connsiteY39" fmla="*/ 3629089 h 4723802"/>
                <a:gd name="connsiteX40" fmla="*/ 1096963 w 1189040"/>
                <a:gd name="connsiteY40" fmla="*/ 3207078 h 4723802"/>
                <a:gd name="connsiteX41" fmla="*/ 1139826 w 1189040"/>
                <a:gd name="connsiteY41" fmla="*/ 3164877 h 4723802"/>
                <a:gd name="connsiteX42" fmla="*/ 866132 w 1189040"/>
                <a:gd name="connsiteY42" fmla="*/ 3164877 h 4723802"/>
                <a:gd name="connsiteX43" fmla="*/ 908051 w 1189040"/>
                <a:gd name="connsiteY43" fmla="*/ 3207078 h 4723802"/>
                <a:gd name="connsiteX44" fmla="*/ 908051 w 1189040"/>
                <a:gd name="connsiteY44" fmla="*/ 3629089 h 4723802"/>
                <a:gd name="connsiteX45" fmla="*/ 866132 w 1189040"/>
                <a:gd name="connsiteY45" fmla="*/ 3671290 h 4723802"/>
                <a:gd name="connsiteX46" fmla="*/ 823913 w 1189040"/>
                <a:gd name="connsiteY46" fmla="*/ 3629089 h 4723802"/>
                <a:gd name="connsiteX47" fmla="*/ 823913 w 1189040"/>
                <a:gd name="connsiteY47" fmla="*/ 3207078 h 4723802"/>
                <a:gd name="connsiteX48" fmla="*/ 866132 w 1189040"/>
                <a:gd name="connsiteY48" fmla="*/ 3164877 h 4723802"/>
                <a:gd name="connsiteX49" fmla="*/ 591344 w 1189040"/>
                <a:gd name="connsiteY49" fmla="*/ 3164877 h 4723802"/>
                <a:gd name="connsiteX50" fmla="*/ 633413 w 1189040"/>
                <a:gd name="connsiteY50" fmla="*/ 3207078 h 4723802"/>
                <a:gd name="connsiteX51" fmla="*/ 633413 w 1189040"/>
                <a:gd name="connsiteY51" fmla="*/ 3629089 h 4723802"/>
                <a:gd name="connsiteX52" fmla="*/ 591344 w 1189040"/>
                <a:gd name="connsiteY52" fmla="*/ 3671290 h 4723802"/>
                <a:gd name="connsiteX53" fmla="*/ 549275 w 1189040"/>
                <a:gd name="connsiteY53" fmla="*/ 3629089 h 4723802"/>
                <a:gd name="connsiteX54" fmla="*/ 549275 w 1189040"/>
                <a:gd name="connsiteY54" fmla="*/ 3207078 h 4723802"/>
                <a:gd name="connsiteX55" fmla="*/ 591344 w 1189040"/>
                <a:gd name="connsiteY55" fmla="*/ 3164877 h 4723802"/>
                <a:gd name="connsiteX56" fmla="*/ 316707 w 1189040"/>
                <a:gd name="connsiteY56" fmla="*/ 3164877 h 4723802"/>
                <a:gd name="connsiteX57" fmla="*/ 358776 w 1189040"/>
                <a:gd name="connsiteY57" fmla="*/ 3207078 h 4723802"/>
                <a:gd name="connsiteX58" fmla="*/ 358776 w 1189040"/>
                <a:gd name="connsiteY58" fmla="*/ 3629089 h 4723802"/>
                <a:gd name="connsiteX59" fmla="*/ 316707 w 1189040"/>
                <a:gd name="connsiteY59" fmla="*/ 3671290 h 4723802"/>
                <a:gd name="connsiteX60" fmla="*/ 274638 w 1189040"/>
                <a:gd name="connsiteY60" fmla="*/ 3629089 h 4723802"/>
                <a:gd name="connsiteX61" fmla="*/ 274638 w 1189040"/>
                <a:gd name="connsiteY61" fmla="*/ 3207078 h 4723802"/>
                <a:gd name="connsiteX62" fmla="*/ 316707 w 1189040"/>
                <a:gd name="connsiteY62" fmla="*/ 3164877 h 4723802"/>
                <a:gd name="connsiteX63" fmla="*/ 42069 w 1189040"/>
                <a:gd name="connsiteY63" fmla="*/ 3164877 h 4723802"/>
                <a:gd name="connsiteX64" fmla="*/ 84138 w 1189040"/>
                <a:gd name="connsiteY64" fmla="*/ 3207078 h 4723802"/>
                <a:gd name="connsiteX65" fmla="*/ 84138 w 1189040"/>
                <a:gd name="connsiteY65" fmla="*/ 3629089 h 4723802"/>
                <a:gd name="connsiteX66" fmla="*/ 42069 w 1189040"/>
                <a:gd name="connsiteY66" fmla="*/ 3671290 h 4723802"/>
                <a:gd name="connsiteX67" fmla="*/ 0 w 1189040"/>
                <a:gd name="connsiteY67" fmla="*/ 3629089 h 4723802"/>
                <a:gd name="connsiteX68" fmla="*/ 0 w 1189040"/>
                <a:gd name="connsiteY68" fmla="*/ 3207078 h 4723802"/>
                <a:gd name="connsiteX69" fmla="*/ 42069 w 1189040"/>
                <a:gd name="connsiteY69" fmla="*/ 3164877 h 4723802"/>
                <a:gd name="connsiteX70" fmla="*/ 1139826 w 1189040"/>
                <a:gd name="connsiteY70" fmla="*/ 2113952 h 4723802"/>
                <a:gd name="connsiteX71" fmla="*/ 1182688 w 1189040"/>
                <a:gd name="connsiteY71" fmla="*/ 2156021 h 4723802"/>
                <a:gd name="connsiteX72" fmla="*/ 1182688 w 1189040"/>
                <a:gd name="connsiteY72" fmla="*/ 2576708 h 4723802"/>
                <a:gd name="connsiteX73" fmla="*/ 1139826 w 1189040"/>
                <a:gd name="connsiteY73" fmla="*/ 2618777 h 4723802"/>
                <a:gd name="connsiteX74" fmla="*/ 1096963 w 1189040"/>
                <a:gd name="connsiteY74" fmla="*/ 2576708 h 4723802"/>
                <a:gd name="connsiteX75" fmla="*/ 1096963 w 1189040"/>
                <a:gd name="connsiteY75" fmla="*/ 2156021 h 4723802"/>
                <a:gd name="connsiteX76" fmla="*/ 1139826 w 1189040"/>
                <a:gd name="connsiteY76" fmla="*/ 2113952 h 4723802"/>
                <a:gd name="connsiteX77" fmla="*/ 866132 w 1189040"/>
                <a:gd name="connsiteY77" fmla="*/ 2113952 h 4723802"/>
                <a:gd name="connsiteX78" fmla="*/ 908051 w 1189040"/>
                <a:gd name="connsiteY78" fmla="*/ 2156021 h 4723802"/>
                <a:gd name="connsiteX79" fmla="*/ 908051 w 1189040"/>
                <a:gd name="connsiteY79" fmla="*/ 2576708 h 4723802"/>
                <a:gd name="connsiteX80" fmla="*/ 866132 w 1189040"/>
                <a:gd name="connsiteY80" fmla="*/ 2618777 h 4723802"/>
                <a:gd name="connsiteX81" fmla="*/ 823913 w 1189040"/>
                <a:gd name="connsiteY81" fmla="*/ 2576708 h 4723802"/>
                <a:gd name="connsiteX82" fmla="*/ 823913 w 1189040"/>
                <a:gd name="connsiteY82" fmla="*/ 2156021 h 4723802"/>
                <a:gd name="connsiteX83" fmla="*/ 866132 w 1189040"/>
                <a:gd name="connsiteY83" fmla="*/ 2113952 h 4723802"/>
                <a:gd name="connsiteX84" fmla="*/ 591344 w 1189040"/>
                <a:gd name="connsiteY84" fmla="*/ 2113952 h 4723802"/>
                <a:gd name="connsiteX85" fmla="*/ 633413 w 1189040"/>
                <a:gd name="connsiteY85" fmla="*/ 2156021 h 4723802"/>
                <a:gd name="connsiteX86" fmla="*/ 633413 w 1189040"/>
                <a:gd name="connsiteY86" fmla="*/ 2576708 h 4723802"/>
                <a:gd name="connsiteX87" fmla="*/ 591344 w 1189040"/>
                <a:gd name="connsiteY87" fmla="*/ 2618777 h 4723802"/>
                <a:gd name="connsiteX88" fmla="*/ 549275 w 1189040"/>
                <a:gd name="connsiteY88" fmla="*/ 2576708 h 4723802"/>
                <a:gd name="connsiteX89" fmla="*/ 549275 w 1189040"/>
                <a:gd name="connsiteY89" fmla="*/ 2156021 h 4723802"/>
                <a:gd name="connsiteX90" fmla="*/ 591344 w 1189040"/>
                <a:gd name="connsiteY90" fmla="*/ 2113952 h 4723802"/>
                <a:gd name="connsiteX91" fmla="*/ 316707 w 1189040"/>
                <a:gd name="connsiteY91" fmla="*/ 2113952 h 4723802"/>
                <a:gd name="connsiteX92" fmla="*/ 358776 w 1189040"/>
                <a:gd name="connsiteY92" fmla="*/ 2156021 h 4723802"/>
                <a:gd name="connsiteX93" fmla="*/ 358776 w 1189040"/>
                <a:gd name="connsiteY93" fmla="*/ 2576708 h 4723802"/>
                <a:gd name="connsiteX94" fmla="*/ 316707 w 1189040"/>
                <a:gd name="connsiteY94" fmla="*/ 2618777 h 4723802"/>
                <a:gd name="connsiteX95" fmla="*/ 274638 w 1189040"/>
                <a:gd name="connsiteY95" fmla="*/ 2576708 h 4723802"/>
                <a:gd name="connsiteX96" fmla="*/ 274638 w 1189040"/>
                <a:gd name="connsiteY96" fmla="*/ 2156021 h 4723802"/>
                <a:gd name="connsiteX97" fmla="*/ 316707 w 1189040"/>
                <a:gd name="connsiteY97" fmla="*/ 2113952 h 4723802"/>
                <a:gd name="connsiteX98" fmla="*/ 42069 w 1189040"/>
                <a:gd name="connsiteY98" fmla="*/ 2113952 h 4723802"/>
                <a:gd name="connsiteX99" fmla="*/ 84138 w 1189040"/>
                <a:gd name="connsiteY99" fmla="*/ 2156021 h 4723802"/>
                <a:gd name="connsiteX100" fmla="*/ 84138 w 1189040"/>
                <a:gd name="connsiteY100" fmla="*/ 2576708 h 4723802"/>
                <a:gd name="connsiteX101" fmla="*/ 42069 w 1189040"/>
                <a:gd name="connsiteY101" fmla="*/ 2618777 h 4723802"/>
                <a:gd name="connsiteX102" fmla="*/ 0 w 1189040"/>
                <a:gd name="connsiteY102" fmla="*/ 2576708 h 4723802"/>
                <a:gd name="connsiteX103" fmla="*/ 0 w 1189040"/>
                <a:gd name="connsiteY103" fmla="*/ 2156021 h 4723802"/>
                <a:gd name="connsiteX104" fmla="*/ 42069 w 1189040"/>
                <a:gd name="connsiteY104" fmla="*/ 2113952 h 4723802"/>
                <a:gd name="connsiteX105" fmla="*/ 1139826 w 1189040"/>
                <a:gd name="connsiteY105" fmla="*/ 1061441 h 4723802"/>
                <a:gd name="connsiteX106" fmla="*/ 1182688 w 1189040"/>
                <a:gd name="connsiteY106" fmla="*/ 1103667 h 4723802"/>
                <a:gd name="connsiteX107" fmla="*/ 1182688 w 1189040"/>
                <a:gd name="connsiteY107" fmla="*/ 1525627 h 4723802"/>
                <a:gd name="connsiteX108" fmla="*/ 1139826 w 1189040"/>
                <a:gd name="connsiteY108" fmla="*/ 1567854 h 4723802"/>
                <a:gd name="connsiteX109" fmla="*/ 1096963 w 1189040"/>
                <a:gd name="connsiteY109" fmla="*/ 1525627 h 4723802"/>
                <a:gd name="connsiteX110" fmla="*/ 1096963 w 1189040"/>
                <a:gd name="connsiteY110" fmla="*/ 1103667 h 4723802"/>
                <a:gd name="connsiteX111" fmla="*/ 1139826 w 1189040"/>
                <a:gd name="connsiteY111" fmla="*/ 1061441 h 4723802"/>
                <a:gd name="connsiteX112" fmla="*/ 591344 w 1189040"/>
                <a:gd name="connsiteY112" fmla="*/ 1061441 h 4723802"/>
                <a:gd name="connsiteX113" fmla="*/ 633413 w 1189040"/>
                <a:gd name="connsiteY113" fmla="*/ 1103667 h 4723802"/>
                <a:gd name="connsiteX114" fmla="*/ 633413 w 1189040"/>
                <a:gd name="connsiteY114" fmla="*/ 1525627 h 4723802"/>
                <a:gd name="connsiteX115" fmla="*/ 591344 w 1189040"/>
                <a:gd name="connsiteY115" fmla="*/ 1567854 h 4723802"/>
                <a:gd name="connsiteX116" fmla="*/ 549275 w 1189040"/>
                <a:gd name="connsiteY116" fmla="*/ 1525627 h 4723802"/>
                <a:gd name="connsiteX117" fmla="*/ 549275 w 1189040"/>
                <a:gd name="connsiteY117" fmla="*/ 1103667 h 4723802"/>
                <a:gd name="connsiteX118" fmla="*/ 591344 w 1189040"/>
                <a:gd name="connsiteY118" fmla="*/ 1061441 h 4723802"/>
                <a:gd name="connsiteX119" fmla="*/ 42069 w 1189040"/>
                <a:gd name="connsiteY119" fmla="*/ 1061441 h 4723802"/>
                <a:gd name="connsiteX120" fmla="*/ 84138 w 1189040"/>
                <a:gd name="connsiteY120" fmla="*/ 1103667 h 4723802"/>
                <a:gd name="connsiteX121" fmla="*/ 84138 w 1189040"/>
                <a:gd name="connsiteY121" fmla="*/ 1525627 h 4723802"/>
                <a:gd name="connsiteX122" fmla="*/ 42069 w 1189040"/>
                <a:gd name="connsiteY122" fmla="*/ 1567854 h 4723802"/>
                <a:gd name="connsiteX123" fmla="*/ 0 w 1189040"/>
                <a:gd name="connsiteY123" fmla="*/ 1525627 h 4723802"/>
                <a:gd name="connsiteX124" fmla="*/ 0 w 1189040"/>
                <a:gd name="connsiteY124" fmla="*/ 1103667 h 4723802"/>
                <a:gd name="connsiteX125" fmla="*/ 42069 w 1189040"/>
                <a:gd name="connsiteY125" fmla="*/ 1061441 h 4723802"/>
                <a:gd name="connsiteX126" fmla="*/ 866132 w 1189040"/>
                <a:gd name="connsiteY126" fmla="*/ 1061441 h 4723802"/>
                <a:gd name="connsiteX127" fmla="*/ 908051 w 1189040"/>
                <a:gd name="connsiteY127" fmla="*/ 1103667 h 4723802"/>
                <a:gd name="connsiteX128" fmla="*/ 908051 w 1189040"/>
                <a:gd name="connsiteY128" fmla="*/ 1525627 h 4723802"/>
                <a:gd name="connsiteX129" fmla="*/ 866132 w 1189040"/>
                <a:gd name="connsiteY129" fmla="*/ 1567853 h 4723802"/>
                <a:gd name="connsiteX130" fmla="*/ 823913 w 1189040"/>
                <a:gd name="connsiteY130" fmla="*/ 1525627 h 4723802"/>
                <a:gd name="connsiteX131" fmla="*/ 823913 w 1189040"/>
                <a:gd name="connsiteY131" fmla="*/ 1103667 h 4723802"/>
                <a:gd name="connsiteX132" fmla="*/ 866132 w 1189040"/>
                <a:gd name="connsiteY132" fmla="*/ 1061441 h 4723802"/>
                <a:gd name="connsiteX133" fmla="*/ 316707 w 1189040"/>
                <a:gd name="connsiteY133" fmla="*/ 1061441 h 4723802"/>
                <a:gd name="connsiteX134" fmla="*/ 358776 w 1189040"/>
                <a:gd name="connsiteY134" fmla="*/ 1103667 h 4723802"/>
                <a:gd name="connsiteX135" fmla="*/ 358776 w 1189040"/>
                <a:gd name="connsiteY135" fmla="*/ 1525627 h 4723802"/>
                <a:gd name="connsiteX136" fmla="*/ 316707 w 1189040"/>
                <a:gd name="connsiteY136" fmla="*/ 1567853 h 4723802"/>
                <a:gd name="connsiteX137" fmla="*/ 274638 w 1189040"/>
                <a:gd name="connsiteY137" fmla="*/ 1525627 h 4723802"/>
                <a:gd name="connsiteX138" fmla="*/ 274638 w 1189040"/>
                <a:gd name="connsiteY138" fmla="*/ 1103667 h 4723802"/>
                <a:gd name="connsiteX139" fmla="*/ 316707 w 1189040"/>
                <a:gd name="connsiteY139" fmla="*/ 1061441 h 4723802"/>
                <a:gd name="connsiteX140" fmla="*/ 823913 w 1189040"/>
                <a:gd name="connsiteY140" fmla="*/ 52584 h 4723802"/>
                <a:gd name="connsiteX141" fmla="*/ 908051 w 1189040"/>
                <a:gd name="connsiteY141" fmla="*/ 52584 h 4723802"/>
                <a:gd name="connsiteX142" fmla="*/ 908051 w 1189040"/>
                <a:gd name="connsiteY142" fmla="*/ 473272 h 4723802"/>
                <a:gd name="connsiteX143" fmla="*/ 866132 w 1189040"/>
                <a:gd name="connsiteY143" fmla="*/ 515340 h 4723802"/>
                <a:gd name="connsiteX144" fmla="*/ 823913 w 1189040"/>
                <a:gd name="connsiteY144" fmla="*/ 473272 h 4723802"/>
                <a:gd name="connsiteX145" fmla="*/ 823913 w 1189040"/>
                <a:gd name="connsiteY145" fmla="*/ 52584 h 4723802"/>
                <a:gd name="connsiteX146" fmla="*/ 358776 w 1189040"/>
                <a:gd name="connsiteY146" fmla="*/ 473272 h 4723802"/>
                <a:gd name="connsiteX147" fmla="*/ 358776 w 1189040"/>
                <a:gd name="connsiteY147" fmla="*/ 52584 h 4723802"/>
                <a:gd name="connsiteX148" fmla="*/ 358776 w 1189040"/>
                <a:gd name="connsiteY148" fmla="*/ 473272 h 4723802"/>
                <a:gd name="connsiteX149" fmla="*/ 549275 w 1189040"/>
                <a:gd name="connsiteY149" fmla="*/ 52584 h 4723802"/>
                <a:gd name="connsiteX150" fmla="*/ 633413 w 1189040"/>
                <a:gd name="connsiteY150" fmla="*/ 52584 h 4723802"/>
                <a:gd name="connsiteX151" fmla="*/ 633413 w 1189040"/>
                <a:gd name="connsiteY151" fmla="*/ 473272 h 4723802"/>
                <a:gd name="connsiteX152" fmla="*/ 591344 w 1189040"/>
                <a:gd name="connsiteY152" fmla="*/ 515340 h 4723802"/>
                <a:gd name="connsiteX153" fmla="*/ 549275 w 1189040"/>
                <a:gd name="connsiteY153" fmla="*/ 473272 h 4723802"/>
                <a:gd name="connsiteX154" fmla="*/ 549275 w 1189040"/>
                <a:gd name="connsiteY154" fmla="*/ 52584 h 4723802"/>
                <a:gd name="connsiteX155" fmla="*/ 1096963 w 1189040"/>
                <a:gd name="connsiteY155" fmla="*/ 52584 h 4723802"/>
                <a:gd name="connsiteX156" fmla="*/ 1182688 w 1189040"/>
                <a:gd name="connsiteY156" fmla="*/ 52584 h 4723802"/>
                <a:gd name="connsiteX157" fmla="*/ 1182688 w 1189040"/>
                <a:gd name="connsiteY157" fmla="*/ 473271 h 4723802"/>
                <a:gd name="connsiteX158" fmla="*/ 1139826 w 1189040"/>
                <a:gd name="connsiteY158" fmla="*/ 515340 h 4723802"/>
                <a:gd name="connsiteX159" fmla="*/ 1096963 w 1189040"/>
                <a:gd name="connsiteY159" fmla="*/ 473271 h 4723802"/>
                <a:gd name="connsiteX160" fmla="*/ 1096963 w 1189040"/>
                <a:gd name="connsiteY160" fmla="*/ 52584 h 4723802"/>
                <a:gd name="connsiteX0" fmla="*/ 1139826 w 1189040"/>
                <a:gd name="connsiteY0" fmla="*/ 4218977 h 4723802"/>
                <a:gd name="connsiteX1" fmla="*/ 1182688 w 1189040"/>
                <a:gd name="connsiteY1" fmla="*/ 4261046 h 4723802"/>
                <a:gd name="connsiteX2" fmla="*/ 1182688 w 1189040"/>
                <a:gd name="connsiteY2" fmla="*/ 4681733 h 4723802"/>
                <a:gd name="connsiteX3" fmla="*/ 1139826 w 1189040"/>
                <a:gd name="connsiteY3" fmla="*/ 4723802 h 4723802"/>
                <a:gd name="connsiteX4" fmla="*/ 1096963 w 1189040"/>
                <a:gd name="connsiteY4" fmla="*/ 4681733 h 4723802"/>
                <a:gd name="connsiteX5" fmla="*/ 1096963 w 1189040"/>
                <a:gd name="connsiteY5" fmla="*/ 4261046 h 4723802"/>
                <a:gd name="connsiteX6" fmla="*/ 1139826 w 1189040"/>
                <a:gd name="connsiteY6" fmla="*/ 4218977 h 4723802"/>
                <a:gd name="connsiteX7" fmla="*/ 866132 w 1189040"/>
                <a:gd name="connsiteY7" fmla="*/ 4218977 h 4723802"/>
                <a:gd name="connsiteX8" fmla="*/ 908051 w 1189040"/>
                <a:gd name="connsiteY8" fmla="*/ 4261046 h 4723802"/>
                <a:gd name="connsiteX9" fmla="*/ 908051 w 1189040"/>
                <a:gd name="connsiteY9" fmla="*/ 4681733 h 4723802"/>
                <a:gd name="connsiteX10" fmla="*/ 866132 w 1189040"/>
                <a:gd name="connsiteY10" fmla="*/ 4723802 h 4723802"/>
                <a:gd name="connsiteX11" fmla="*/ 823913 w 1189040"/>
                <a:gd name="connsiteY11" fmla="*/ 4681733 h 4723802"/>
                <a:gd name="connsiteX12" fmla="*/ 823913 w 1189040"/>
                <a:gd name="connsiteY12" fmla="*/ 4261046 h 4723802"/>
                <a:gd name="connsiteX13" fmla="*/ 866132 w 1189040"/>
                <a:gd name="connsiteY13" fmla="*/ 4218977 h 4723802"/>
                <a:gd name="connsiteX14" fmla="*/ 591344 w 1189040"/>
                <a:gd name="connsiteY14" fmla="*/ 4218977 h 4723802"/>
                <a:gd name="connsiteX15" fmla="*/ 633413 w 1189040"/>
                <a:gd name="connsiteY15" fmla="*/ 4261046 h 4723802"/>
                <a:gd name="connsiteX16" fmla="*/ 633413 w 1189040"/>
                <a:gd name="connsiteY16" fmla="*/ 4681733 h 4723802"/>
                <a:gd name="connsiteX17" fmla="*/ 591344 w 1189040"/>
                <a:gd name="connsiteY17" fmla="*/ 4723802 h 4723802"/>
                <a:gd name="connsiteX18" fmla="*/ 549275 w 1189040"/>
                <a:gd name="connsiteY18" fmla="*/ 4681733 h 4723802"/>
                <a:gd name="connsiteX19" fmla="*/ 549275 w 1189040"/>
                <a:gd name="connsiteY19" fmla="*/ 4261046 h 4723802"/>
                <a:gd name="connsiteX20" fmla="*/ 591344 w 1189040"/>
                <a:gd name="connsiteY20" fmla="*/ 4218977 h 4723802"/>
                <a:gd name="connsiteX21" fmla="*/ 316707 w 1189040"/>
                <a:gd name="connsiteY21" fmla="*/ 4218977 h 4723802"/>
                <a:gd name="connsiteX22" fmla="*/ 358776 w 1189040"/>
                <a:gd name="connsiteY22" fmla="*/ 4261046 h 4723802"/>
                <a:gd name="connsiteX23" fmla="*/ 358776 w 1189040"/>
                <a:gd name="connsiteY23" fmla="*/ 4681733 h 4723802"/>
                <a:gd name="connsiteX24" fmla="*/ 316707 w 1189040"/>
                <a:gd name="connsiteY24" fmla="*/ 4723802 h 4723802"/>
                <a:gd name="connsiteX25" fmla="*/ 274638 w 1189040"/>
                <a:gd name="connsiteY25" fmla="*/ 4681733 h 4723802"/>
                <a:gd name="connsiteX26" fmla="*/ 274638 w 1189040"/>
                <a:gd name="connsiteY26" fmla="*/ 4261046 h 4723802"/>
                <a:gd name="connsiteX27" fmla="*/ 316707 w 1189040"/>
                <a:gd name="connsiteY27" fmla="*/ 4218977 h 4723802"/>
                <a:gd name="connsiteX28" fmla="*/ 42069 w 1189040"/>
                <a:gd name="connsiteY28" fmla="*/ 4218977 h 4723802"/>
                <a:gd name="connsiteX29" fmla="*/ 84138 w 1189040"/>
                <a:gd name="connsiteY29" fmla="*/ 4261046 h 4723802"/>
                <a:gd name="connsiteX30" fmla="*/ 84138 w 1189040"/>
                <a:gd name="connsiteY30" fmla="*/ 4681733 h 4723802"/>
                <a:gd name="connsiteX31" fmla="*/ 42069 w 1189040"/>
                <a:gd name="connsiteY31" fmla="*/ 4723802 h 4723802"/>
                <a:gd name="connsiteX32" fmla="*/ 0 w 1189040"/>
                <a:gd name="connsiteY32" fmla="*/ 4681733 h 4723802"/>
                <a:gd name="connsiteX33" fmla="*/ 0 w 1189040"/>
                <a:gd name="connsiteY33" fmla="*/ 4261046 h 4723802"/>
                <a:gd name="connsiteX34" fmla="*/ 42069 w 1189040"/>
                <a:gd name="connsiteY34" fmla="*/ 4218977 h 4723802"/>
                <a:gd name="connsiteX35" fmla="*/ 1139826 w 1189040"/>
                <a:gd name="connsiteY35" fmla="*/ 3164877 h 4723802"/>
                <a:gd name="connsiteX36" fmla="*/ 1182688 w 1189040"/>
                <a:gd name="connsiteY36" fmla="*/ 3207078 h 4723802"/>
                <a:gd name="connsiteX37" fmla="*/ 1182688 w 1189040"/>
                <a:gd name="connsiteY37" fmla="*/ 3629089 h 4723802"/>
                <a:gd name="connsiteX38" fmla="*/ 1139826 w 1189040"/>
                <a:gd name="connsiteY38" fmla="*/ 3671290 h 4723802"/>
                <a:gd name="connsiteX39" fmla="*/ 1096963 w 1189040"/>
                <a:gd name="connsiteY39" fmla="*/ 3629089 h 4723802"/>
                <a:gd name="connsiteX40" fmla="*/ 1096963 w 1189040"/>
                <a:gd name="connsiteY40" fmla="*/ 3207078 h 4723802"/>
                <a:gd name="connsiteX41" fmla="*/ 1139826 w 1189040"/>
                <a:gd name="connsiteY41" fmla="*/ 3164877 h 4723802"/>
                <a:gd name="connsiteX42" fmla="*/ 866132 w 1189040"/>
                <a:gd name="connsiteY42" fmla="*/ 3164877 h 4723802"/>
                <a:gd name="connsiteX43" fmla="*/ 908051 w 1189040"/>
                <a:gd name="connsiteY43" fmla="*/ 3207078 h 4723802"/>
                <a:gd name="connsiteX44" fmla="*/ 908051 w 1189040"/>
                <a:gd name="connsiteY44" fmla="*/ 3629089 h 4723802"/>
                <a:gd name="connsiteX45" fmla="*/ 866132 w 1189040"/>
                <a:gd name="connsiteY45" fmla="*/ 3671290 h 4723802"/>
                <a:gd name="connsiteX46" fmla="*/ 823913 w 1189040"/>
                <a:gd name="connsiteY46" fmla="*/ 3629089 h 4723802"/>
                <a:gd name="connsiteX47" fmla="*/ 823913 w 1189040"/>
                <a:gd name="connsiteY47" fmla="*/ 3207078 h 4723802"/>
                <a:gd name="connsiteX48" fmla="*/ 866132 w 1189040"/>
                <a:gd name="connsiteY48" fmla="*/ 3164877 h 4723802"/>
                <a:gd name="connsiteX49" fmla="*/ 591344 w 1189040"/>
                <a:gd name="connsiteY49" fmla="*/ 3164877 h 4723802"/>
                <a:gd name="connsiteX50" fmla="*/ 633413 w 1189040"/>
                <a:gd name="connsiteY50" fmla="*/ 3207078 h 4723802"/>
                <a:gd name="connsiteX51" fmla="*/ 633413 w 1189040"/>
                <a:gd name="connsiteY51" fmla="*/ 3629089 h 4723802"/>
                <a:gd name="connsiteX52" fmla="*/ 591344 w 1189040"/>
                <a:gd name="connsiteY52" fmla="*/ 3671290 h 4723802"/>
                <a:gd name="connsiteX53" fmla="*/ 549275 w 1189040"/>
                <a:gd name="connsiteY53" fmla="*/ 3629089 h 4723802"/>
                <a:gd name="connsiteX54" fmla="*/ 549275 w 1189040"/>
                <a:gd name="connsiteY54" fmla="*/ 3207078 h 4723802"/>
                <a:gd name="connsiteX55" fmla="*/ 591344 w 1189040"/>
                <a:gd name="connsiteY55" fmla="*/ 3164877 h 4723802"/>
                <a:gd name="connsiteX56" fmla="*/ 316707 w 1189040"/>
                <a:gd name="connsiteY56" fmla="*/ 3164877 h 4723802"/>
                <a:gd name="connsiteX57" fmla="*/ 358776 w 1189040"/>
                <a:gd name="connsiteY57" fmla="*/ 3207078 h 4723802"/>
                <a:gd name="connsiteX58" fmla="*/ 358776 w 1189040"/>
                <a:gd name="connsiteY58" fmla="*/ 3629089 h 4723802"/>
                <a:gd name="connsiteX59" fmla="*/ 316707 w 1189040"/>
                <a:gd name="connsiteY59" fmla="*/ 3671290 h 4723802"/>
                <a:gd name="connsiteX60" fmla="*/ 274638 w 1189040"/>
                <a:gd name="connsiteY60" fmla="*/ 3629089 h 4723802"/>
                <a:gd name="connsiteX61" fmla="*/ 274638 w 1189040"/>
                <a:gd name="connsiteY61" fmla="*/ 3207078 h 4723802"/>
                <a:gd name="connsiteX62" fmla="*/ 316707 w 1189040"/>
                <a:gd name="connsiteY62" fmla="*/ 3164877 h 4723802"/>
                <a:gd name="connsiteX63" fmla="*/ 42069 w 1189040"/>
                <a:gd name="connsiteY63" fmla="*/ 3164877 h 4723802"/>
                <a:gd name="connsiteX64" fmla="*/ 84138 w 1189040"/>
                <a:gd name="connsiteY64" fmla="*/ 3207078 h 4723802"/>
                <a:gd name="connsiteX65" fmla="*/ 84138 w 1189040"/>
                <a:gd name="connsiteY65" fmla="*/ 3629089 h 4723802"/>
                <a:gd name="connsiteX66" fmla="*/ 42069 w 1189040"/>
                <a:gd name="connsiteY66" fmla="*/ 3671290 h 4723802"/>
                <a:gd name="connsiteX67" fmla="*/ 0 w 1189040"/>
                <a:gd name="connsiteY67" fmla="*/ 3629089 h 4723802"/>
                <a:gd name="connsiteX68" fmla="*/ 0 w 1189040"/>
                <a:gd name="connsiteY68" fmla="*/ 3207078 h 4723802"/>
                <a:gd name="connsiteX69" fmla="*/ 42069 w 1189040"/>
                <a:gd name="connsiteY69" fmla="*/ 3164877 h 4723802"/>
                <a:gd name="connsiteX70" fmla="*/ 1139826 w 1189040"/>
                <a:gd name="connsiteY70" fmla="*/ 2113952 h 4723802"/>
                <a:gd name="connsiteX71" fmla="*/ 1182688 w 1189040"/>
                <a:gd name="connsiteY71" fmla="*/ 2156021 h 4723802"/>
                <a:gd name="connsiteX72" fmla="*/ 1182688 w 1189040"/>
                <a:gd name="connsiteY72" fmla="*/ 2576708 h 4723802"/>
                <a:gd name="connsiteX73" fmla="*/ 1139826 w 1189040"/>
                <a:gd name="connsiteY73" fmla="*/ 2618777 h 4723802"/>
                <a:gd name="connsiteX74" fmla="*/ 1096963 w 1189040"/>
                <a:gd name="connsiteY74" fmla="*/ 2576708 h 4723802"/>
                <a:gd name="connsiteX75" fmla="*/ 1096963 w 1189040"/>
                <a:gd name="connsiteY75" fmla="*/ 2156021 h 4723802"/>
                <a:gd name="connsiteX76" fmla="*/ 1139826 w 1189040"/>
                <a:gd name="connsiteY76" fmla="*/ 2113952 h 4723802"/>
                <a:gd name="connsiteX77" fmla="*/ 866132 w 1189040"/>
                <a:gd name="connsiteY77" fmla="*/ 2113952 h 4723802"/>
                <a:gd name="connsiteX78" fmla="*/ 908051 w 1189040"/>
                <a:gd name="connsiteY78" fmla="*/ 2156021 h 4723802"/>
                <a:gd name="connsiteX79" fmla="*/ 908051 w 1189040"/>
                <a:gd name="connsiteY79" fmla="*/ 2576708 h 4723802"/>
                <a:gd name="connsiteX80" fmla="*/ 866132 w 1189040"/>
                <a:gd name="connsiteY80" fmla="*/ 2618777 h 4723802"/>
                <a:gd name="connsiteX81" fmla="*/ 823913 w 1189040"/>
                <a:gd name="connsiteY81" fmla="*/ 2576708 h 4723802"/>
                <a:gd name="connsiteX82" fmla="*/ 823913 w 1189040"/>
                <a:gd name="connsiteY82" fmla="*/ 2156021 h 4723802"/>
                <a:gd name="connsiteX83" fmla="*/ 866132 w 1189040"/>
                <a:gd name="connsiteY83" fmla="*/ 2113952 h 4723802"/>
                <a:gd name="connsiteX84" fmla="*/ 591344 w 1189040"/>
                <a:gd name="connsiteY84" fmla="*/ 2113952 h 4723802"/>
                <a:gd name="connsiteX85" fmla="*/ 633413 w 1189040"/>
                <a:gd name="connsiteY85" fmla="*/ 2156021 h 4723802"/>
                <a:gd name="connsiteX86" fmla="*/ 633413 w 1189040"/>
                <a:gd name="connsiteY86" fmla="*/ 2576708 h 4723802"/>
                <a:gd name="connsiteX87" fmla="*/ 591344 w 1189040"/>
                <a:gd name="connsiteY87" fmla="*/ 2618777 h 4723802"/>
                <a:gd name="connsiteX88" fmla="*/ 549275 w 1189040"/>
                <a:gd name="connsiteY88" fmla="*/ 2576708 h 4723802"/>
                <a:gd name="connsiteX89" fmla="*/ 549275 w 1189040"/>
                <a:gd name="connsiteY89" fmla="*/ 2156021 h 4723802"/>
                <a:gd name="connsiteX90" fmla="*/ 591344 w 1189040"/>
                <a:gd name="connsiteY90" fmla="*/ 2113952 h 4723802"/>
                <a:gd name="connsiteX91" fmla="*/ 316707 w 1189040"/>
                <a:gd name="connsiteY91" fmla="*/ 2113952 h 4723802"/>
                <a:gd name="connsiteX92" fmla="*/ 358776 w 1189040"/>
                <a:gd name="connsiteY92" fmla="*/ 2156021 h 4723802"/>
                <a:gd name="connsiteX93" fmla="*/ 358776 w 1189040"/>
                <a:gd name="connsiteY93" fmla="*/ 2576708 h 4723802"/>
                <a:gd name="connsiteX94" fmla="*/ 316707 w 1189040"/>
                <a:gd name="connsiteY94" fmla="*/ 2618777 h 4723802"/>
                <a:gd name="connsiteX95" fmla="*/ 274638 w 1189040"/>
                <a:gd name="connsiteY95" fmla="*/ 2576708 h 4723802"/>
                <a:gd name="connsiteX96" fmla="*/ 274638 w 1189040"/>
                <a:gd name="connsiteY96" fmla="*/ 2156021 h 4723802"/>
                <a:gd name="connsiteX97" fmla="*/ 316707 w 1189040"/>
                <a:gd name="connsiteY97" fmla="*/ 2113952 h 4723802"/>
                <a:gd name="connsiteX98" fmla="*/ 42069 w 1189040"/>
                <a:gd name="connsiteY98" fmla="*/ 2113952 h 4723802"/>
                <a:gd name="connsiteX99" fmla="*/ 84138 w 1189040"/>
                <a:gd name="connsiteY99" fmla="*/ 2156021 h 4723802"/>
                <a:gd name="connsiteX100" fmla="*/ 84138 w 1189040"/>
                <a:gd name="connsiteY100" fmla="*/ 2576708 h 4723802"/>
                <a:gd name="connsiteX101" fmla="*/ 42069 w 1189040"/>
                <a:gd name="connsiteY101" fmla="*/ 2618777 h 4723802"/>
                <a:gd name="connsiteX102" fmla="*/ 0 w 1189040"/>
                <a:gd name="connsiteY102" fmla="*/ 2576708 h 4723802"/>
                <a:gd name="connsiteX103" fmla="*/ 0 w 1189040"/>
                <a:gd name="connsiteY103" fmla="*/ 2156021 h 4723802"/>
                <a:gd name="connsiteX104" fmla="*/ 42069 w 1189040"/>
                <a:gd name="connsiteY104" fmla="*/ 2113952 h 4723802"/>
                <a:gd name="connsiteX105" fmla="*/ 1139826 w 1189040"/>
                <a:gd name="connsiteY105" fmla="*/ 1061441 h 4723802"/>
                <a:gd name="connsiteX106" fmla="*/ 1182688 w 1189040"/>
                <a:gd name="connsiteY106" fmla="*/ 1103667 h 4723802"/>
                <a:gd name="connsiteX107" fmla="*/ 1182688 w 1189040"/>
                <a:gd name="connsiteY107" fmla="*/ 1525627 h 4723802"/>
                <a:gd name="connsiteX108" fmla="*/ 1139826 w 1189040"/>
                <a:gd name="connsiteY108" fmla="*/ 1567854 h 4723802"/>
                <a:gd name="connsiteX109" fmla="*/ 1096963 w 1189040"/>
                <a:gd name="connsiteY109" fmla="*/ 1525627 h 4723802"/>
                <a:gd name="connsiteX110" fmla="*/ 1096963 w 1189040"/>
                <a:gd name="connsiteY110" fmla="*/ 1103667 h 4723802"/>
                <a:gd name="connsiteX111" fmla="*/ 1139826 w 1189040"/>
                <a:gd name="connsiteY111" fmla="*/ 1061441 h 4723802"/>
                <a:gd name="connsiteX112" fmla="*/ 591344 w 1189040"/>
                <a:gd name="connsiteY112" fmla="*/ 1061441 h 4723802"/>
                <a:gd name="connsiteX113" fmla="*/ 633413 w 1189040"/>
                <a:gd name="connsiteY113" fmla="*/ 1103667 h 4723802"/>
                <a:gd name="connsiteX114" fmla="*/ 633413 w 1189040"/>
                <a:gd name="connsiteY114" fmla="*/ 1525627 h 4723802"/>
                <a:gd name="connsiteX115" fmla="*/ 591344 w 1189040"/>
                <a:gd name="connsiteY115" fmla="*/ 1567854 h 4723802"/>
                <a:gd name="connsiteX116" fmla="*/ 549275 w 1189040"/>
                <a:gd name="connsiteY116" fmla="*/ 1525627 h 4723802"/>
                <a:gd name="connsiteX117" fmla="*/ 549275 w 1189040"/>
                <a:gd name="connsiteY117" fmla="*/ 1103667 h 4723802"/>
                <a:gd name="connsiteX118" fmla="*/ 591344 w 1189040"/>
                <a:gd name="connsiteY118" fmla="*/ 1061441 h 4723802"/>
                <a:gd name="connsiteX119" fmla="*/ 42069 w 1189040"/>
                <a:gd name="connsiteY119" fmla="*/ 1061441 h 4723802"/>
                <a:gd name="connsiteX120" fmla="*/ 84138 w 1189040"/>
                <a:gd name="connsiteY120" fmla="*/ 1103667 h 4723802"/>
                <a:gd name="connsiteX121" fmla="*/ 84138 w 1189040"/>
                <a:gd name="connsiteY121" fmla="*/ 1525627 h 4723802"/>
                <a:gd name="connsiteX122" fmla="*/ 42069 w 1189040"/>
                <a:gd name="connsiteY122" fmla="*/ 1567854 h 4723802"/>
                <a:gd name="connsiteX123" fmla="*/ 0 w 1189040"/>
                <a:gd name="connsiteY123" fmla="*/ 1525627 h 4723802"/>
                <a:gd name="connsiteX124" fmla="*/ 0 w 1189040"/>
                <a:gd name="connsiteY124" fmla="*/ 1103667 h 4723802"/>
                <a:gd name="connsiteX125" fmla="*/ 42069 w 1189040"/>
                <a:gd name="connsiteY125" fmla="*/ 1061441 h 4723802"/>
                <a:gd name="connsiteX126" fmla="*/ 866132 w 1189040"/>
                <a:gd name="connsiteY126" fmla="*/ 1061441 h 4723802"/>
                <a:gd name="connsiteX127" fmla="*/ 908051 w 1189040"/>
                <a:gd name="connsiteY127" fmla="*/ 1103667 h 4723802"/>
                <a:gd name="connsiteX128" fmla="*/ 908051 w 1189040"/>
                <a:gd name="connsiteY128" fmla="*/ 1525627 h 4723802"/>
                <a:gd name="connsiteX129" fmla="*/ 866132 w 1189040"/>
                <a:gd name="connsiteY129" fmla="*/ 1567853 h 4723802"/>
                <a:gd name="connsiteX130" fmla="*/ 823913 w 1189040"/>
                <a:gd name="connsiteY130" fmla="*/ 1525627 h 4723802"/>
                <a:gd name="connsiteX131" fmla="*/ 823913 w 1189040"/>
                <a:gd name="connsiteY131" fmla="*/ 1103667 h 4723802"/>
                <a:gd name="connsiteX132" fmla="*/ 866132 w 1189040"/>
                <a:gd name="connsiteY132" fmla="*/ 1061441 h 4723802"/>
                <a:gd name="connsiteX133" fmla="*/ 316707 w 1189040"/>
                <a:gd name="connsiteY133" fmla="*/ 1061441 h 4723802"/>
                <a:gd name="connsiteX134" fmla="*/ 358776 w 1189040"/>
                <a:gd name="connsiteY134" fmla="*/ 1103667 h 4723802"/>
                <a:gd name="connsiteX135" fmla="*/ 358776 w 1189040"/>
                <a:gd name="connsiteY135" fmla="*/ 1525627 h 4723802"/>
                <a:gd name="connsiteX136" fmla="*/ 316707 w 1189040"/>
                <a:gd name="connsiteY136" fmla="*/ 1567853 h 4723802"/>
                <a:gd name="connsiteX137" fmla="*/ 274638 w 1189040"/>
                <a:gd name="connsiteY137" fmla="*/ 1525627 h 4723802"/>
                <a:gd name="connsiteX138" fmla="*/ 274638 w 1189040"/>
                <a:gd name="connsiteY138" fmla="*/ 1103667 h 4723802"/>
                <a:gd name="connsiteX139" fmla="*/ 316707 w 1189040"/>
                <a:gd name="connsiteY139" fmla="*/ 1061441 h 4723802"/>
                <a:gd name="connsiteX140" fmla="*/ 823913 w 1189040"/>
                <a:gd name="connsiteY140" fmla="*/ 52584 h 4723802"/>
                <a:gd name="connsiteX141" fmla="*/ 908051 w 1189040"/>
                <a:gd name="connsiteY141" fmla="*/ 52584 h 4723802"/>
                <a:gd name="connsiteX142" fmla="*/ 908051 w 1189040"/>
                <a:gd name="connsiteY142" fmla="*/ 473272 h 4723802"/>
                <a:gd name="connsiteX143" fmla="*/ 866132 w 1189040"/>
                <a:gd name="connsiteY143" fmla="*/ 515340 h 4723802"/>
                <a:gd name="connsiteX144" fmla="*/ 823913 w 1189040"/>
                <a:gd name="connsiteY144" fmla="*/ 473272 h 4723802"/>
                <a:gd name="connsiteX145" fmla="*/ 823913 w 1189040"/>
                <a:gd name="connsiteY145" fmla="*/ 52584 h 4723802"/>
                <a:gd name="connsiteX146" fmla="*/ 549275 w 1189040"/>
                <a:gd name="connsiteY146" fmla="*/ 52584 h 4723802"/>
                <a:gd name="connsiteX147" fmla="*/ 633413 w 1189040"/>
                <a:gd name="connsiteY147" fmla="*/ 52584 h 4723802"/>
                <a:gd name="connsiteX148" fmla="*/ 633413 w 1189040"/>
                <a:gd name="connsiteY148" fmla="*/ 473272 h 4723802"/>
                <a:gd name="connsiteX149" fmla="*/ 591344 w 1189040"/>
                <a:gd name="connsiteY149" fmla="*/ 515340 h 4723802"/>
                <a:gd name="connsiteX150" fmla="*/ 549275 w 1189040"/>
                <a:gd name="connsiteY150" fmla="*/ 473272 h 4723802"/>
                <a:gd name="connsiteX151" fmla="*/ 549275 w 1189040"/>
                <a:gd name="connsiteY151" fmla="*/ 52584 h 4723802"/>
                <a:gd name="connsiteX152" fmla="*/ 1096963 w 1189040"/>
                <a:gd name="connsiteY152" fmla="*/ 52584 h 4723802"/>
                <a:gd name="connsiteX153" fmla="*/ 1182688 w 1189040"/>
                <a:gd name="connsiteY153" fmla="*/ 52584 h 4723802"/>
                <a:gd name="connsiteX154" fmla="*/ 1182688 w 1189040"/>
                <a:gd name="connsiteY154" fmla="*/ 473271 h 4723802"/>
                <a:gd name="connsiteX155" fmla="*/ 1139826 w 1189040"/>
                <a:gd name="connsiteY155" fmla="*/ 515340 h 4723802"/>
                <a:gd name="connsiteX156" fmla="*/ 1096963 w 1189040"/>
                <a:gd name="connsiteY156" fmla="*/ 473271 h 4723802"/>
                <a:gd name="connsiteX157" fmla="*/ 1096963 w 1189040"/>
                <a:gd name="connsiteY157" fmla="*/ 52584 h 4723802"/>
                <a:gd name="connsiteX0" fmla="*/ 1139826 w 1189040"/>
                <a:gd name="connsiteY0" fmla="*/ 4221638 h 4726463"/>
                <a:gd name="connsiteX1" fmla="*/ 1182688 w 1189040"/>
                <a:gd name="connsiteY1" fmla="*/ 4263707 h 4726463"/>
                <a:gd name="connsiteX2" fmla="*/ 1182688 w 1189040"/>
                <a:gd name="connsiteY2" fmla="*/ 4684394 h 4726463"/>
                <a:gd name="connsiteX3" fmla="*/ 1139826 w 1189040"/>
                <a:gd name="connsiteY3" fmla="*/ 4726463 h 4726463"/>
                <a:gd name="connsiteX4" fmla="*/ 1096963 w 1189040"/>
                <a:gd name="connsiteY4" fmla="*/ 4684394 h 4726463"/>
                <a:gd name="connsiteX5" fmla="*/ 1096963 w 1189040"/>
                <a:gd name="connsiteY5" fmla="*/ 4263707 h 4726463"/>
                <a:gd name="connsiteX6" fmla="*/ 1139826 w 1189040"/>
                <a:gd name="connsiteY6" fmla="*/ 4221638 h 4726463"/>
                <a:gd name="connsiteX7" fmla="*/ 866132 w 1189040"/>
                <a:gd name="connsiteY7" fmla="*/ 4221638 h 4726463"/>
                <a:gd name="connsiteX8" fmla="*/ 908051 w 1189040"/>
                <a:gd name="connsiteY8" fmla="*/ 4263707 h 4726463"/>
                <a:gd name="connsiteX9" fmla="*/ 908051 w 1189040"/>
                <a:gd name="connsiteY9" fmla="*/ 4684394 h 4726463"/>
                <a:gd name="connsiteX10" fmla="*/ 866132 w 1189040"/>
                <a:gd name="connsiteY10" fmla="*/ 4726463 h 4726463"/>
                <a:gd name="connsiteX11" fmla="*/ 823913 w 1189040"/>
                <a:gd name="connsiteY11" fmla="*/ 4684394 h 4726463"/>
                <a:gd name="connsiteX12" fmla="*/ 823913 w 1189040"/>
                <a:gd name="connsiteY12" fmla="*/ 4263707 h 4726463"/>
                <a:gd name="connsiteX13" fmla="*/ 866132 w 1189040"/>
                <a:gd name="connsiteY13" fmla="*/ 4221638 h 4726463"/>
                <a:gd name="connsiteX14" fmla="*/ 591344 w 1189040"/>
                <a:gd name="connsiteY14" fmla="*/ 4221638 h 4726463"/>
                <a:gd name="connsiteX15" fmla="*/ 633413 w 1189040"/>
                <a:gd name="connsiteY15" fmla="*/ 4263707 h 4726463"/>
                <a:gd name="connsiteX16" fmla="*/ 633413 w 1189040"/>
                <a:gd name="connsiteY16" fmla="*/ 4684394 h 4726463"/>
                <a:gd name="connsiteX17" fmla="*/ 591344 w 1189040"/>
                <a:gd name="connsiteY17" fmla="*/ 4726463 h 4726463"/>
                <a:gd name="connsiteX18" fmla="*/ 549275 w 1189040"/>
                <a:gd name="connsiteY18" fmla="*/ 4684394 h 4726463"/>
                <a:gd name="connsiteX19" fmla="*/ 549275 w 1189040"/>
                <a:gd name="connsiteY19" fmla="*/ 4263707 h 4726463"/>
                <a:gd name="connsiteX20" fmla="*/ 591344 w 1189040"/>
                <a:gd name="connsiteY20" fmla="*/ 4221638 h 4726463"/>
                <a:gd name="connsiteX21" fmla="*/ 316707 w 1189040"/>
                <a:gd name="connsiteY21" fmla="*/ 4221638 h 4726463"/>
                <a:gd name="connsiteX22" fmla="*/ 358776 w 1189040"/>
                <a:gd name="connsiteY22" fmla="*/ 4263707 h 4726463"/>
                <a:gd name="connsiteX23" fmla="*/ 358776 w 1189040"/>
                <a:gd name="connsiteY23" fmla="*/ 4684394 h 4726463"/>
                <a:gd name="connsiteX24" fmla="*/ 316707 w 1189040"/>
                <a:gd name="connsiteY24" fmla="*/ 4726463 h 4726463"/>
                <a:gd name="connsiteX25" fmla="*/ 274638 w 1189040"/>
                <a:gd name="connsiteY25" fmla="*/ 4684394 h 4726463"/>
                <a:gd name="connsiteX26" fmla="*/ 274638 w 1189040"/>
                <a:gd name="connsiteY26" fmla="*/ 4263707 h 4726463"/>
                <a:gd name="connsiteX27" fmla="*/ 316707 w 1189040"/>
                <a:gd name="connsiteY27" fmla="*/ 4221638 h 4726463"/>
                <a:gd name="connsiteX28" fmla="*/ 42069 w 1189040"/>
                <a:gd name="connsiteY28" fmla="*/ 4221638 h 4726463"/>
                <a:gd name="connsiteX29" fmla="*/ 84138 w 1189040"/>
                <a:gd name="connsiteY29" fmla="*/ 4263707 h 4726463"/>
                <a:gd name="connsiteX30" fmla="*/ 84138 w 1189040"/>
                <a:gd name="connsiteY30" fmla="*/ 4684394 h 4726463"/>
                <a:gd name="connsiteX31" fmla="*/ 42069 w 1189040"/>
                <a:gd name="connsiteY31" fmla="*/ 4726463 h 4726463"/>
                <a:gd name="connsiteX32" fmla="*/ 0 w 1189040"/>
                <a:gd name="connsiteY32" fmla="*/ 4684394 h 4726463"/>
                <a:gd name="connsiteX33" fmla="*/ 0 w 1189040"/>
                <a:gd name="connsiteY33" fmla="*/ 4263707 h 4726463"/>
                <a:gd name="connsiteX34" fmla="*/ 42069 w 1189040"/>
                <a:gd name="connsiteY34" fmla="*/ 4221638 h 4726463"/>
                <a:gd name="connsiteX35" fmla="*/ 1139826 w 1189040"/>
                <a:gd name="connsiteY35" fmla="*/ 3167538 h 4726463"/>
                <a:gd name="connsiteX36" fmla="*/ 1182688 w 1189040"/>
                <a:gd name="connsiteY36" fmla="*/ 3209739 h 4726463"/>
                <a:gd name="connsiteX37" fmla="*/ 1182688 w 1189040"/>
                <a:gd name="connsiteY37" fmla="*/ 3631750 h 4726463"/>
                <a:gd name="connsiteX38" fmla="*/ 1139826 w 1189040"/>
                <a:gd name="connsiteY38" fmla="*/ 3673951 h 4726463"/>
                <a:gd name="connsiteX39" fmla="*/ 1096963 w 1189040"/>
                <a:gd name="connsiteY39" fmla="*/ 3631750 h 4726463"/>
                <a:gd name="connsiteX40" fmla="*/ 1096963 w 1189040"/>
                <a:gd name="connsiteY40" fmla="*/ 3209739 h 4726463"/>
                <a:gd name="connsiteX41" fmla="*/ 1139826 w 1189040"/>
                <a:gd name="connsiteY41" fmla="*/ 3167538 h 4726463"/>
                <a:gd name="connsiteX42" fmla="*/ 866132 w 1189040"/>
                <a:gd name="connsiteY42" fmla="*/ 3167538 h 4726463"/>
                <a:gd name="connsiteX43" fmla="*/ 908051 w 1189040"/>
                <a:gd name="connsiteY43" fmla="*/ 3209739 h 4726463"/>
                <a:gd name="connsiteX44" fmla="*/ 908051 w 1189040"/>
                <a:gd name="connsiteY44" fmla="*/ 3631750 h 4726463"/>
                <a:gd name="connsiteX45" fmla="*/ 866132 w 1189040"/>
                <a:gd name="connsiteY45" fmla="*/ 3673951 h 4726463"/>
                <a:gd name="connsiteX46" fmla="*/ 823913 w 1189040"/>
                <a:gd name="connsiteY46" fmla="*/ 3631750 h 4726463"/>
                <a:gd name="connsiteX47" fmla="*/ 823913 w 1189040"/>
                <a:gd name="connsiteY47" fmla="*/ 3209739 h 4726463"/>
                <a:gd name="connsiteX48" fmla="*/ 866132 w 1189040"/>
                <a:gd name="connsiteY48" fmla="*/ 3167538 h 4726463"/>
                <a:gd name="connsiteX49" fmla="*/ 591344 w 1189040"/>
                <a:gd name="connsiteY49" fmla="*/ 3167538 h 4726463"/>
                <a:gd name="connsiteX50" fmla="*/ 633413 w 1189040"/>
                <a:gd name="connsiteY50" fmla="*/ 3209739 h 4726463"/>
                <a:gd name="connsiteX51" fmla="*/ 633413 w 1189040"/>
                <a:gd name="connsiteY51" fmla="*/ 3631750 h 4726463"/>
                <a:gd name="connsiteX52" fmla="*/ 591344 w 1189040"/>
                <a:gd name="connsiteY52" fmla="*/ 3673951 h 4726463"/>
                <a:gd name="connsiteX53" fmla="*/ 549275 w 1189040"/>
                <a:gd name="connsiteY53" fmla="*/ 3631750 h 4726463"/>
                <a:gd name="connsiteX54" fmla="*/ 549275 w 1189040"/>
                <a:gd name="connsiteY54" fmla="*/ 3209739 h 4726463"/>
                <a:gd name="connsiteX55" fmla="*/ 591344 w 1189040"/>
                <a:gd name="connsiteY55" fmla="*/ 3167538 h 4726463"/>
                <a:gd name="connsiteX56" fmla="*/ 316707 w 1189040"/>
                <a:gd name="connsiteY56" fmla="*/ 3167538 h 4726463"/>
                <a:gd name="connsiteX57" fmla="*/ 358776 w 1189040"/>
                <a:gd name="connsiteY57" fmla="*/ 3209739 h 4726463"/>
                <a:gd name="connsiteX58" fmla="*/ 358776 w 1189040"/>
                <a:gd name="connsiteY58" fmla="*/ 3631750 h 4726463"/>
                <a:gd name="connsiteX59" fmla="*/ 316707 w 1189040"/>
                <a:gd name="connsiteY59" fmla="*/ 3673951 h 4726463"/>
                <a:gd name="connsiteX60" fmla="*/ 274638 w 1189040"/>
                <a:gd name="connsiteY60" fmla="*/ 3631750 h 4726463"/>
                <a:gd name="connsiteX61" fmla="*/ 274638 w 1189040"/>
                <a:gd name="connsiteY61" fmla="*/ 3209739 h 4726463"/>
                <a:gd name="connsiteX62" fmla="*/ 316707 w 1189040"/>
                <a:gd name="connsiteY62" fmla="*/ 3167538 h 4726463"/>
                <a:gd name="connsiteX63" fmla="*/ 42069 w 1189040"/>
                <a:gd name="connsiteY63" fmla="*/ 3167538 h 4726463"/>
                <a:gd name="connsiteX64" fmla="*/ 84138 w 1189040"/>
                <a:gd name="connsiteY64" fmla="*/ 3209739 h 4726463"/>
                <a:gd name="connsiteX65" fmla="*/ 84138 w 1189040"/>
                <a:gd name="connsiteY65" fmla="*/ 3631750 h 4726463"/>
                <a:gd name="connsiteX66" fmla="*/ 42069 w 1189040"/>
                <a:gd name="connsiteY66" fmla="*/ 3673951 h 4726463"/>
                <a:gd name="connsiteX67" fmla="*/ 0 w 1189040"/>
                <a:gd name="connsiteY67" fmla="*/ 3631750 h 4726463"/>
                <a:gd name="connsiteX68" fmla="*/ 0 w 1189040"/>
                <a:gd name="connsiteY68" fmla="*/ 3209739 h 4726463"/>
                <a:gd name="connsiteX69" fmla="*/ 42069 w 1189040"/>
                <a:gd name="connsiteY69" fmla="*/ 3167538 h 4726463"/>
                <a:gd name="connsiteX70" fmla="*/ 1139826 w 1189040"/>
                <a:gd name="connsiteY70" fmla="*/ 2116613 h 4726463"/>
                <a:gd name="connsiteX71" fmla="*/ 1182688 w 1189040"/>
                <a:gd name="connsiteY71" fmla="*/ 2158682 h 4726463"/>
                <a:gd name="connsiteX72" fmla="*/ 1182688 w 1189040"/>
                <a:gd name="connsiteY72" fmla="*/ 2579369 h 4726463"/>
                <a:gd name="connsiteX73" fmla="*/ 1139826 w 1189040"/>
                <a:gd name="connsiteY73" fmla="*/ 2621438 h 4726463"/>
                <a:gd name="connsiteX74" fmla="*/ 1096963 w 1189040"/>
                <a:gd name="connsiteY74" fmla="*/ 2579369 h 4726463"/>
                <a:gd name="connsiteX75" fmla="*/ 1096963 w 1189040"/>
                <a:gd name="connsiteY75" fmla="*/ 2158682 h 4726463"/>
                <a:gd name="connsiteX76" fmla="*/ 1139826 w 1189040"/>
                <a:gd name="connsiteY76" fmla="*/ 2116613 h 4726463"/>
                <a:gd name="connsiteX77" fmla="*/ 866132 w 1189040"/>
                <a:gd name="connsiteY77" fmla="*/ 2116613 h 4726463"/>
                <a:gd name="connsiteX78" fmla="*/ 908051 w 1189040"/>
                <a:gd name="connsiteY78" fmla="*/ 2158682 h 4726463"/>
                <a:gd name="connsiteX79" fmla="*/ 908051 w 1189040"/>
                <a:gd name="connsiteY79" fmla="*/ 2579369 h 4726463"/>
                <a:gd name="connsiteX80" fmla="*/ 866132 w 1189040"/>
                <a:gd name="connsiteY80" fmla="*/ 2621438 h 4726463"/>
                <a:gd name="connsiteX81" fmla="*/ 823913 w 1189040"/>
                <a:gd name="connsiteY81" fmla="*/ 2579369 h 4726463"/>
                <a:gd name="connsiteX82" fmla="*/ 823913 w 1189040"/>
                <a:gd name="connsiteY82" fmla="*/ 2158682 h 4726463"/>
                <a:gd name="connsiteX83" fmla="*/ 866132 w 1189040"/>
                <a:gd name="connsiteY83" fmla="*/ 2116613 h 4726463"/>
                <a:gd name="connsiteX84" fmla="*/ 591344 w 1189040"/>
                <a:gd name="connsiteY84" fmla="*/ 2116613 h 4726463"/>
                <a:gd name="connsiteX85" fmla="*/ 633413 w 1189040"/>
                <a:gd name="connsiteY85" fmla="*/ 2158682 h 4726463"/>
                <a:gd name="connsiteX86" fmla="*/ 633413 w 1189040"/>
                <a:gd name="connsiteY86" fmla="*/ 2579369 h 4726463"/>
                <a:gd name="connsiteX87" fmla="*/ 591344 w 1189040"/>
                <a:gd name="connsiteY87" fmla="*/ 2621438 h 4726463"/>
                <a:gd name="connsiteX88" fmla="*/ 549275 w 1189040"/>
                <a:gd name="connsiteY88" fmla="*/ 2579369 h 4726463"/>
                <a:gd name="connsiteX89" fmla="*/ 549275 w 1189040"/>
                <a:gd name="connsiteY89" fmla="*/ 2158682 h 4726463"/>
                <a:gd name="connsiteX90" fmla="*/ 591344 w 1189040"/>
                <a:gd name="connsiteY90" fmla="*/ 2116613 h 4726463"/>
                <a:gd name="connsiteX91" fmla="*/ 316707 w 1189040"/>
                <a:gd name="connsiteY91" fmla="*/ 2116613 h 4726463"/>
                <a:gd name="connsiteX92" fmla="*/ 358776 w 1189040"/>
                <a:gd name="connsiteY92" fmla="*/ 2158682 h 4726463"/>
                <a:gd name="connsiteX93" fmla="*/ 358776 w 1189040"/>
                <a:gd name="connsiteY93" fmla="*/ 2579369 h 4726463"/>
                <a:gd name="connsiteX94" fmla="*/ 316707 w 1189040"/>
                <a:gd name="connsiteY94" fmla="*/ 2621438 h 4726463"/>
                <a:gd name="connsiteX95" fmla="*/ 274638 w 1189040"/>
                <a:gd name="connsiteY95" fmla="*/ 2579369 h 4726463"/>
                <a:gd name="connsiteX96" fmla="*/ 274638 w 1189040"/>
                <a:gd name="connsiteY96" fmla="*/ 2158682 h 4726463"/>
                <a:gd name="connsiteX97" fmla="*/ 316707 w 1189040"/>
                <a:gd name="connsiteY97" fmla="*/ 2116613 h 4726463"/>
                <a:gd name="connsiteX98" fmla="*/ 42069 w 1189040"/>
                <a:gd name="connsiteY98" fmla="*/ 2116613 h 4726463"/>
                <a:gd name="connsiteX99" fmla="*/ 84138 w 1189040"/>
                <a:gd name="connsiteY99" fmla="*/ 2158682 h 4726463"/>
                <a:gd name="connsiteX100" fmla="*/ 84138 w 1189040"/>
                <a:gd name="connsiteY100" fmla="*/ 2579369 h 4726463"/>
                <a:gd name="connsiteX101" fmla="*/ 42069 w 1189040"/>
                <a:gd name="connsiteY101" fmla="*/ 2621438 h 4726463"/>
                <a:gd name="connsiteX102" fmla="*/ 0 w 1189040"/>
                <a:gd name="connsiteY102" fmla="*/ 2579369 h 4726463"/>
                <a:gd name="connsiteX103" fmla="*/ 0 w 1189040"/>
                <a:gd name="connsiteY103" fmla="*/ 2158682 h 4726463"/>
                <a:gd name="connsiteX104" fmla="*/ 42069 w 1189040"/>
                <a:gd name="connsiteY104" fmla="*/ 2116613 h 4726463"/>
                <a:gd name="connsiteX105" fmla="*/ 1139826 w 1189040"/>
                <a:gd name="connsiteY105" fmla="*/ 1064102 h 4726463"/>
                <a:gd name="connsiteX106" fmla="*/ 1182688 w 1189040"/>
                <a:gd name="connsiteY106" fmla="*/ 1106328 h 4726463"/>
                <a:gd name="connsiteX107" fmla="*/ 1182688 w 1189040"/>
                <a:gd name="connsiteY107" fmla="*/ 1528288 h 4726463"/>
                <a:gd name="connsiteX108" fmla="*/ 1139826 w 1189040"/>
                <a:gd name="connsiteY108" fmla="*/ 1570515 h 4726463"/>
                <a:gd name="connsiteX109" fmla="*/ 1096963 w 1189040"/>
                <a:gd name="connsiteY109" fmla="*/ 1528288 h 4726463"/>
                <a:gd name="connsiteX110" fmla="*/ 1096963 w 1189040"/>
                <a:gd name="connsiteY110" fmla="*/ 1106328 h 4726463"/>
                <a:gd name="connsiteX111" fmla="*/ 1139826 w 1189040"/>
                <a:gd name="connsiteY111" fmla="*/ 1064102 h 4726463"/>
                <a:gd name="connsiteX112" fmla="*/ 591344 w 1189040"/>
                <a:gd name="connsiteY112" fmla="*/ 1064102 h 4726463"/>
                <a:gd name="connsiteX113" fmla="*/ 633413 w 1189040"/>
                <a:gd name="connsiteY113" fmla="*/ 1106328 h 4726463"/>
                <a:gd name="connsiteX114" fmla="*/ 633413 w 1189040"/>
                <a:gd name="connsiteY114" fmla="*/ 1528288 h 4726463"/>
                <a:gd name="connsiteX115" fmla="*/ 591344 w 1189040"/>
                <a:gd name="connsiteY115" fmla="*/ 1570515 h 4726463"/>
                <a:gd name="connsiteX116" fmla="*/ 549275 w 1189040"/>
                <a:gd name="connsiteY116" fmla="*/ 1528288 h 4726463"/>
                <a:gd name="connsiteX117" fmla="*/ 549275 w 1189040"/>
                <a:gd name="connsiteY117" fmla="*/ 1106328 h 4726463"/>
                <a:gd name="connsiteX118" fmla="*/ 591344 w 1189040"/>
                <a:gd name="connsiteY118" fmla="*/ 1064102 h 4726463"/>
                <a:gd name="connsiteX119" fmla="*/ 42069 w 1189040"/>
                <a:gd name="connsiteY119" fmla="*/ 1064102 h 4726463"/>
                <a:gd name="connsiteX120" fmla="*/ 84138 w 1189040"/>
                <a:gd name="connsiteY120" fmla="*/ 1106328 h 4726463"/>
                <a:gd name="connsiteX121" fmla="*/ 84138 w 1189040"/>
                <a:gd name="connsiteY121" fmla="*/ 1528288 h 4726463"/>
                <a:gd name="connsiteX122" fmla="*/ 42069 w 1189040"/>
                <a:gd name="connsiteY122" fmla="*/ 1570515 h 4726463"/>
                <a:gd name="connsiteX123" fmla="*/ 0 w 1189040"/>
                <a:gd name="connsiteY123" fmla="*/ 1528288 h 4726463"/>
                <a:gd name="connsiteX124" fmla="*/ 0 w 1189040"/>
                <a:gd name="connsiteY124" fmla="*/ 1106328 h 4726463"/>
                <a:gd name="connsiteX125" fmla="*/ 42069 w 1189040"/>
                <a:gd name="connsiteY125" fmla="*/ 1064102 h 4726463"/>
                <a:gd name="connsiteX126" fmla="*/ 866132 w 1189040"/>
                <a:gd name="connsiteY126" fmla="*/ 1064102 h 4726463"/>
                <a:gd name="connsiteX127" fmla="*/ 908051 w 1189040"/>
                <a:gd name="connsiteY127" fmla="*/ 1106328 h 4726463"/>
                <a:gd name="connsiteX128" fmla="*/ 908051 w 1189040"/>
                <a:gd name="connsiteY128" fmla="*/ 1528288 h 4726463"/>
                <a:gd name="connsiteX129" fmla="*/ 866132 w 1189040"/>
                <a:gd name="connsiteY129" fmla="*/ 1570514 h 4726463"/>
                <a:gd name="connsiteX130" fmla="*/ 823913 w 1189040"/>
                <a:gd name="connsiteY130" fmla="*/ 1528288 h 4726463"/>
                <a:gd name="connsiteX131" fmla="*/ 823913 w 1189040"/>
                <a:gd name="connsiteY131" fmla="*/ 1106328 h 4726463"/>
                <a:gd name="connsiteX132" fmla="*/ 866132 w 1189040"/>
                <a:gd name="connsiteY132" fmla="*/ 1064102 h 4726463"/>
                <a:gd name="connsiteX133" fmla="*/ 316707 w 1189040"/>
                <a:gd name="connsiteY133" fmla="*/ 1064102 h 4726463"/>
                <a:gd name="connsiteX134" fmla="*/ 358776 w 1189040"/>
                <a:gd name="connsiteY134" fmla="*/ 1106328 h 4726463"/>
                <a:gd name="connsiteX135" fmla="*/ 358776 w 1189040"/>
                <a:gd name="connsiteY135" fmla="*/ 1528288 h 4726463"/>
                <a:gd name="connsiteX136" fmla="*/ 316707 w 1189040"/>
                <a:gd name="connsiteY136" fmla="*/ 1570514 h 4726463"/>
                <a:gd name="connsiteX137" fmla="*/ 274638 w 1189040"/>
                <a:gd name="connsiteY137" fmla="*/ 1528288 h 4726463"/>
                <a:gd name="connsiteX138" fmla="*/ 274638 w 1189040"/>
                <a:gd name="connsiteY138" fmla="*/ 1106328 h 4726463"/>
                <a:gd name="connsiteX139" fmla="*/ 316707 w 1189040"/>
                <a:gd name="connsiteY139" fmla="*/ 1064102 h 4726463"/>
                <a:gd name="connsiteX140" fmla="*/ 823913 w 1189040"/>
                <a:gd name="connsiteY140" fmla="*/ 55245 h 4726463"/>
                <a:gd name="connsiteX141" fmla="*/ 908051 w 1189040"/>
                <a:gd name="connsiteY141" fmla="*/ 55245 h 4726463"/>
                <a:gd name="connsiteX142" fmla="*/ 908051 w 1189040"/>
                <a:gd name="connsiteY142" fmla="*/ 475933 h 4726463"/>
                <a:gd name="connsiteX143" fmla="*/ 866132 w 1189040"/>
                <a:gd name="connsiteY143" fmla="*/ 518001 h 4726463"/>
                <a:gd name="connsiteX144" fmla="*/ 823913 w 1189040"/>
                <a:gd name="connsiteY144" fmla="*/ 475933 h 4726463"/>
                <a:gd name="connsiteX145" fmla="*/ 823913 w 1189040"/>
                <a:gd name="connsiteY145" fmla="*/ 55245 h 4726463"/>
                <a:gd name="connsiteX146" fmla="*/ 549275 w 1189040"/>
                <a:gd name="connsiteY146" fmla="*/ 55245 h 4726463"/>
                <a:gd name="connsiteX147" fmla="*/ 633413 w 1189040"/>
                <a:gd name="connsiteY147" fmla="*/ 55245 h 4726463"/>
                <a:gd name="connsiteX148" fmla="*/ 633413 w 1189040"/>
                <a:gd name="connsiteY148" fmla="*/ 475933 h 4726463"/>
                <a:gd name="connsiteX149" fmla="*/ 591344 w 1189040"/>
                <a:gd name="connsiteY149" fmla="*/ 518001 h 4726463"/>
                <a:gd name="connsiteX150" fmla="*/ 549275 w 1189040"/>
                <a:gd name="connsiteY150" fmla="*/ 55245 h 4726463"/>
                <a:gd name="connsiteX151" fmla="*/ 1096963 w 1189040"/>
                <a:gd name="connsiteY151" fmla="*/ 55245 h 4726463"/>
                <a:gd name="connsiteX152" fmla="*/ 1182688 w 1189040"/>
                <a:gd name="connsiteY152" fmla="*/ 55245 h 4726463"/>
                <a:gd name="connsiteX153" fmla="*/ 1182688 w 1189040"/>
                <a:gd name="connsiteY153" fmla="*/ 475932 h 4726463"/>
                <a:gd name="connsiteX154" fmla="*/ 1139826 w 1189040"/>
                <a:gd name="connsiteY154" fmla="*/ 518001 h 4726463"/>
                <a:gd name="connsiteX155" fmla="*/ 1096963 w 1189040"/>
                <a:gd name="connsiteY155" fmla="*/ 475932 h 4726463"/>
                <a:gd name="connsiteX156" fmla="*/ 1096963 w 1189040"/>
                <a:gd name="connsiteY156" fmla="*/ 55245 h 4726463"/>
                <a:gd name="connsiteX0" fmla="*/ 1139826 w 1189040"/>
                <a:gd name="connsiteY0" fmla="*/ 4218977 h 4723802"/>
                <a:gd name="connsiteX1" fmla="*/ 1182688 w 1189040"/>
                <a:gd name="connsiteY1" fmla="*/ 4261046 h 4723802"/>
                <a:gd name="connsiteX2" fmla="*/ 1182688 w 1189040"/>
                <a:gd name="connsiteY2" fmla="*/ 4681733 h 4723802"/>
                <a:gd name="connsiteX3" fmla="*/ 1139826 w 1189040"/>
                <a:gd name="connsiteY3" fmla="*/ 4723802 h 4723802"/>
                <a:gd name="connsiteX4" fmla="*/ 1096963 w 1189040"/>
                <a:gd name="connsiteY4" fmla="*/ 4681733 h 4723802"/>
                <a:gd name="connsiteX5" fmla="*/ 1096963 w 1189040"/>
                <a:gd name="connsiteY5" fmla="*/ 4261046 h 4723802"/>
                <a:gd name="connsiteX6" fmla="*/ 1139826 w 1189040"/>
                <a:gd name="connsiteY6" fmla="*/ 4218977 h 4723802"/>
                <a:gd name="connsiteX7" fmla="*/ 866132 w 1189040"/>
                <a:gd name="connsiteY7" fmla="*/ 4218977 h 4723802"/>
                <a:gd name="connsiteX8" fmla="*/ 908051 w 1189040"/>
                <a:gd name="connsiteY8" fmla="*/ 4261046 h 4723802"/>
                <a:gd name="connsiteX9" fmla="*/ 908051 w 1189040"/>
                <a:gd name="connsiteY9" fmla="*/ 4681733 h 4723802"/>
                <a:gd name="connsiteX10" fmla="*/ 866132 w 1189040"/>
                <a:gd name="connsiteY10" fmla="*/ 4723802 h 4723802"/>
                <a:gd name="connsiteX11" fmla="*/ 823913 w 1189040"/>
                <a:gd name="connsiteY11" fmla="*/ 4681733 h 4723802"/>
                <a:gd name="connsiteX12" fmla="*/ 823913 w 1189040"/>
                <a:gd name="connsiteY12" fmla="*/ 4261046 h 4723802"/>
                <a:gd name="connsiteX13" fmla="*/ 866132 w 1189040"/>
                <a:gd name="connsiteY13" fmla="*/ 4218977 h 4723802"/>
                <a:gd name="connsiteX14" fmla="*/ 591344 w 1189040"/>
                <a:gd name="connsiteY14" fmla="*/ 4218977 h 4723802"/>
                <a:gd name="connsiteX15" fmla="*/ 633413 w 1189040"/>
                <a:gd name="connsiteY15" fmla="*/ 4261046 h 4723802"/>
                <a:gd name="connsiteX16" fmla="*/ 633413 w 1189040"/>
                <a:gd name="connsiteY16" fmla="*/ 4681733 h 4723802"/>
                <a:gd name="connsiteX17" fmla="*/ 591344 w 1189040"/>
                <a:gd name="connsiteY17" fmla="*/ 4723802 h 4723802"/>
                <a:gd name="connsiteX18" fmla="*/ 549275 w 1189040"/>
                <a:gd name="connsiteY18" fmla="*/ 4681733 h 4723802"/>
                <a:gd name="connsiteX19" fmla="*/ 549275 w 1189040"/>
                <a:gd name="connsiteY19" fmla="*/ 4261046 h 4723802"/>
                <a:gd name="connsiteX20" fmla="*/ 591344 w 1189040"/>
                <a:gd name="connsiteY20" fmla="*/ 4218977 h 4723802"/>
                <a:gd name="connsiteX21" fmla="*/ 316707 w 1189040"/>
                <a:gd name="connsiteY21" fmla="*/ 4218977 h 4723802"/>
                <a:gd name="connsiteX22" fmla="*/ 358776 w 1189040"/>
                <a:gd name="connsiteY22" fmla="*/ 4261046 h 4723802"/>
                <a:gd name="connsiteX23" fmla="*/ 358776 w 1189040"/>
                <a:gd name="connsiteY23" fmla="*/ 4681733 h 4723802"/>
                <a:gd name="connsiteX24" fmla="*/ 316707 w 1189040"/>
                <a:gd name="connsiteY24" fmla="*/ 4723802 h 4723802"/>
                <a:gd name="connsiteX25" fmla="*/ 274638 w 1189040"/>
                <a:gd name="connsiteY25" fmla="*/ 4681733 h 4723802"/>
                <a:gd name="connsiteX26" fmla="*/ 274638 w 1189040"/>
                <a:gd name="connsiteY26" fmla="*/ 4261046 h 4723802"/>
                <a:gd name="connsiteX27" fmla="*/ 316707 w 1189040"/>
                <a:gd name="connsiteY27" fmla="*/ 4218977 h 4723802"/>
                <a:gd name="connsiteX28" fmla="*/ 42069 w 1189040"/>
                <a:gd name="connsiteY28" fmla="*/ 4218977 h 4723802"/>
                <a:gd name="connsiteX29" fmla="*/ 84138 w 1189040"/>
                <a:gd name="connsiteY29" fmla="*/ 4261046 h 4723802"/>
                <a:gd name="connsiteX30" fmla="*/ 84138 w 1189040"/>
                <a:gd name="connsiteY30" fmla="*/ 4681733 h 4723802"/>
                <a:gd name="connsiteX31" fmla="*/ 42069 w 1189040"/>
                <a:gd name="connsiteY31" fmla="*/ 4723802 h 4723802"/>
                <a:gd name="connsiteX32" fmla="*/ 0 w 1189040"/>
                <a:gd name="connsiteY32" fmla="*/ 4681733 h 4723802"/>
                <a:gd name="connsiteX33" fmla="*/ 0 w 1189040"/>
                <a:gd name="connsiteY33" fmla="*/ 4261046 h 4723802"/>
                <a:gd name="connsiteX34" fmla="*/ 42069 w 1189040"/>
                <a:gd name="connsiteY34" fmla="*/ 4218977 h 4723802"/>
                <a:gd name="connsiteX35" fmla="*/ 1139826 w 1189040"/>
                <a:gd name="connsiteY35" fmla="*/ 3164877 h 4723802"/>
                <a:gd name="connsiteX36" fmla="*/ 1182688 w 1189040"/>
                <a:gd name="connsiteY36" fmla="*/ 3207078 h 4723802"/>
                <a:gd name="connsiteX37" fmla="*/ 1182688 w 1189040"/>
                <a:gd name="connsiteY37" fmla="*/ 3629089 h 4723802"/>
                <a:gd name="connsiteX38" fmla="*/ 1139826 w 1189040"/>
                <a:gd name="connsiteY38" fmla="*/ 3671290 h 4723802"/>
                <a:gd name="connsiteX39" fmla="*/ 1096963 w 1189040"/>
                <a:gd name="connsiteY39" fmla="*/ 3629089 h 4723802"/>
                <a:gd name="connsiteX40" fmla="*/ 1096963 w 1189040"/>
                <a:gd name="connsiteY40" fmla="*/ 3207078 h 4723802"/>
                <a:gd name="connsiteX41" fmla="*/ 1139826 w 1189040"/>
                <a:gd name="connsiteY41" fmla="*/ 3164877 h 4723802"/>
                <a:gd name="connsiteX42" fmla="*/ 866132 w 1189040"/>
                <a:gd name="connsiteY42" fmla="*/ 3164877 h 4723802"/>
                <a:gd name="connsiteX43" fmla="*/ 908051 w 1189040"/>
                <a:gd name="connsiteY43" fmla="*/ 3207078 h 4723802"/>
                <a:gd name="connsiteX44" fmla="*/ 908051 w 1189040"/>
                <a:gd name="connsiteY44" fmla="*/ 3629089 h 4723802"/>
                <a:gd name="connsiteX45" fmla="*/ 866132 w 1189040"/>
                <a:gd name="connsiteY45" fmla="*/ 3671290 h 4723802"/>
                <a:gd name="connsiteX46" fmla="*/ 823913 w 1189040"/>
                <a:gd name="connsiteY46" fmla="*/ 3629089 h 4723802"/>
                <a:gd name="connsiteX47" fmla="*/ 823913 w 1189040"/>
                <a:gd name="connsiteY47" fmla="*/ 3207078 h 4723802"/>
                <a:gd name="connsiteX48" fmla="*/ 866132 w 1189040"/>
                <a:gd name="connsiteY48" fmla="*/ 3164877 h 4723802"/>
                <a:gd name="connsiteX49" fmla="*/ 591344 w 1189040"/>
                <a:gd name="connsiteY49" fmla="*/ 3164877 h 4723802"/>
                <a:gd name="connsiteX50" fmla="*/ 633413 w 1189040"/>
                <a:gd name="connsiteY50" fmla="*/ 3207078 h 4723802"/>
                <a:gd name="connsiteX51" fmla="*/ 633413 w 1189040"/>
                <a:gd name="connsiteY51" fmla="*/ 3629089 h 4723802"/>
                <a:gd name="connsiteX52" fmla="*/ 591344 w 1189040"/>
                <a:gd name="connsiteY52" fmla="*/ 3671290 h 4723802"/>
                <a:gd name="connsiteX53" fmla="*/ 549275 w 1189040"/>
                <a:gd name="connsiteY53" fmla="*/ 3629089 h 4723802"/>
                <a:gd name="connsiteX54" fmla="*/ 549275 w 1189040"/>
                <a:gd name="connsiteY54" fmla="*/ 3207078 h 4723802"/>
                <a:gd name="connsiteX55" fmla="*/ 591344 w 1189040"/>
                <a:gd name="connsiteY55" fmla="*/ 3164877 h 4723802"/>
                <a:gd name="connsiteX56" fmla="*/ 316707 w 1189040"/>
                <a:gd name="connsiteY56" fmla="*/ 3164877 h 4723802"/>
                <a:gd name="connsiteX57" fmla="*/ 358776 w 1189040"/>
                <a:gd name="connsiteY57" fmla="*/ 3207078 h 4723802"/>
                <a:gd name="connsiteX58" fmla="*/ 358776 w 1189040"/>
                <a:gd name="connsiteY58" fmla="*/ 3629089 h 4723802"/>
                <a:gd name="connsiteX59" fmla="*/ 316707 w 1189040"/>
                <a:gd name="connsiteY59" fmla="*/ 3671290 h 4723802"/>
                <a:gd name="connsiteX60" fmla="*/ 274638 w 1189040"/>
                <a:gd name="connsiteY60" fmla="*/ 3629089 h 4723802"/>
                <a:gd name="connsiteX61" fmla="*/ 274638 w 1189040"/>
                <a:gd name="connsiteY61" fmla="*/ 3207078 h 4723802"/>
                <a:gd name="connsiteX62" fmla="*/ 316707 w 1189040"/>
                <a:gd name="connsiteY62" fmla="*/ 3164877 h 4723802"/>
                <a:gd name="connsiteX63" fmla="*/ 42069 w 1189040"/>
                <a:gd name="connsiteY63" fmla="*/ 3164877 h 4723802"/>
                <a:gd name="connsiteX64" fmla="*/ 84138 w 1189040"/>
                <a:gd name="connsiteY64" fmla="*/ 3207078 h 4723802"/>
                <a:gd name="connsiteX65" fmla="*/ 84138 w 1189040"/>
                <a:gd name="connsiteY65" fmla="*/ 3629089 h 4723802"/>
                <a:gd name="connsiteX66" fmla="*/ 42069 w 1189040"/>
                <a:gd name="connsiteY66" fmla="*/ 3671290 h 4723802"/>
                <a:gd name="connsiteX67" fmla="*/ 0 w 1189040"/>
                <a:gd name="connsiteY67" fmla="*/ 3629089 h 4723802"/>
                <a:gd name="connsiteX68" fmla="*/ 0 w 1189040"/>
                <a:gd name="connsiteY68" fmla="*/ 3207078 h 4723802"/>
                <a:gd name="connsiteX69" fmla="*/ 42069 w 1189040"/>
                <a:gd name="connsiteY69" fmla="*/ 3164877 h 4723802"/>
                <a:gd name="connsiteX70" fmla="*/ 1139826 w 1189040"/>
                <a:gd name="connsiteY70" fmla="*/ 2113952 h 4723802"/>
                <a:gd name="connsiteX71" fmla="*/ 1182688 w 1189040"/>
                <a:gd name="connsiteY71" fmla="*/ 2156021 h 4723802"/>
                <a:gd name="connsiteX72" fmla="*/ 1182688 w 1189040"/>
                <a:gd name="connsiteY72" fmla="*/ 2576708 h 4723802"/>
                <a:gd name="connsiteX73" fmla="*/ 1139826 w 1189040"/>
                <a:gd name="connsiteY73" fmla="*/ 2618777 h 4723802"/>
                <a:gd name="connsiteX74" fmla="*/ 1096963 w 1189040"/>
                <a:gd name="connsiteY74" fmla="*/ 2576708 h 4723802"/>
                <a:gd name="connsiteX75" fmla="*/ 1096963 w 1189040"/>
                <a:gd name="connsiteY75" fmla="*/ 2156021 h 4723802"/>
                <a:gd name="connsiteX76" fmla="*/ 1139826 w 1189040"/>
                <a:gd name="connsiteY76" fmla="*/ 2113952 h 4723802"/>
                <a:gd name="connsiteX77" fmla="*/ 866132 w 1189040"/>
                <a:gd name="connsiteY77" fmla="*/ 2113952 h 4723802"/>
                <a:gd name="connsiteX78" fmla="*/ 908051 w 1189040"/>
                <a:gd name="connsiteY78" fmla="*/ 2156021 h 4723802"/>
                <a:gd name="connsiteX79" fmla="*/ 908051 w 1189040"/>
                <a:gd name="connsiteY79" fmla="*/ 2576708 h 4723802"/>
                <a:gd name="connsiteX80" fmla="*/ 866132 w 1189040"/>
                <a:gd name="connsiteY80" fmla="*/ 2618777 h 4723802"/>
                <a:gd name="connsiteX81" fmla="*/ 823913 w 1189040"/>
                <a:gd name="connsiteY81" fmla="*/ 2576708 h 4723802"/>
                <a:gd name="connsiteX82" fmla="*/ 823913 w 1189040"/>
                <a:gd name="connsiteY82" fmla="*/ 2156021 h 4723802"/>
                <a:gd name="connsiteX83" fmla="*/ 866132 w 1189040"/>
                <a:gd name="connsiteY83" fmla="*/ 2113952 h 4723802"/>
                <a:gd name="connsiteX84" fmla="*/ 591344 w 1189040"/>
                <a:gd name="connsiteY84" fmla="*/ 2113952 h 4723802"/>
                <a:gd name="connsiteX85" fmla="*/ 633413 w 1189040"/>
                <a:gd name="connsiteY85" fmla="*/ 2156021 h 4723802"/>
                <a:gd name="connsiteX86" fmla="*/ 633413 w 1189040"/>
                <a:gd name="connsiteY86" fmla="*/ 2576708 h 4723802"/>
                <a:gd name="connsiteX87" fmla="*/ 591344 w 1189040"/>
                <a:gd name="connsiteY87" fmla="*/ 2618777 h 4723802"/>
                <a:gd name="connsiteX88" fmla="*/ 549275 w 1189040"/>
                <a:gd name="connsiteY88" fmla="*/ 2576708 h 4723802"/>
                <a:gd name="connsiteX89" fmla="*/ 549275 w 1189040"/>
                <a:gd name="connsiteY89" fmla="*/ 2156021 h 4723802"/>
                <a:gd name="connsiteX90" fmla="*/ 591344 w 1189040"/>
                <a:gd name="connsiteY90" fmla="*/ 2113952 h 4723802"/>
                <a:gd name="connsiteX91" fmla="*/ 316707 w 1189040"/>
                <a:gd name="connsiteY91" fmla="*/ 2113952 h 4723802"/>
                <a:gd name="connsiteX92" fmla="*/ 358776 w 1189040"/>
                <a:gd name="connsiteY92" fmla="*/ 2156021 h 4723802"/>
                <a:gd name="connsiteX93" fmla="*/ 358776 w 1189040"/>
                <a:gd name="connsiteY93" fmla="*/ 2576708 h 4723802"/>
                <a:gd name="connsiteX94" fmla="*/ 316707 w 1189040"/>
                <a:gd name="connsiteY94" fmla="*/ 2618777 h 4723802"/>
                <a:gd name="connsiteX95" fmla="*/ 274638 w 1189040"/>
                <a:gd name="connsiteY95" fmla="*/ 2576708 h 4723802"/>
                <a:gd name="connsiteX96" fmla="*/ 274638 w 1189040"/>
                <a:gd name="connsiteY96" fmla="*/ 2156021 h 4723802"/>
                <a:gd name="connsiteX97" fmla="*/ 316707 w 1189040"/>
                <a:gd name="connsiteY97" fmla="*/ 2113952 h 4723802"/>
                <a:gd name="connsiteX98" fmla="*/ 42069 w 1189040"/>
                <a:gd name="connsiteY98" fmla="*/ 2113952 h 4723802"/>
                <a:gd name="connsiteX99" fmla="*/ 84138 w 1189040"/>
                <a:gd name="connsiteY99" fmla="*/ 2156021 h 4723802"/>
                <a:gd name="connsiteX100" fmla="*/ 84138 w 1189040"/>
                <a:gd name="connsiteY100" fmla="*/ 2576708 h 4723802"/>
                <a:gd name="connsiteX101" fmla="*/ 42069 w 1189040"/>
                <a:gd name="connsiteY101" fmla="*/ 2618777 h 4723802"/>
                <a:gd name="connsiteX102" fmla="*/ 0 w 1189040"/>
                <a:gd name="connsiteY102" fmla="*/ 2576708 h 4723802"/>
                <a:gd name="connsiteX103" fmla="*/ 0 w 1189040"/>
                <a:gd name="connsiteY103" fmla="*/ 2156021 h 4723802"/>
                <a:gd name="connsiteX104" fmla="*/ 42069 w 1189040"/>
                <a:gd name="connsiteY104" fmla="*/ 2113952 h 4723802"/>
                <a:gd name="connsiteX105" fmla="*/ 1139826 w 1189040"/>
                <a:gd name="connsiteY105" fmla="*/ 1061441 h 4723802"/>
                <a:gd name="connsiteX106" fmla="*/ 1182688 w 1189040"/>
                <a:gd name="connsiteY106" fmla="*/ 1103667 h 4723802"/>
                <a:gd name="connsiteX107" fmla="*/ 1182688 w 1189040"/>
                <a:gd name="connsiteY107" fmla="*/ 1525627 h 4723802"/>
                <a:gd name="connsiteX108" fmla="*/ 1139826 w 1189040"/>
                <a:gd name="connsiteY108" fmla="*/ 1567854 h 4723802"/>
                <a:gd name="connsiteX109" fmla="*/ 1096963 w 1189040"/>
                <a:gd name="connsiteY109" fmla="*/ 1525627 h 4723802"/>
                <a:gd name="connsiteX110" fmla="*/ 1096963 w 1189040"/>
                <a:gd name="connsiteY110" fmla="*/ 1103667 h 4723802"/>
                <a:gd name="connsiteX111" fmla="*/ 1139826 w 1189040"/>
                <a:gd name="connsiteY111" fmla="*/ 1061441 h 4723802"/>
                <a:gd name="connsiteX112" fmla="*/ 591344 w 1189040"/>
                <a:gd name="connsiteY112" fmla="*/ 1061441 h 4723802"/>
                <a:gd name="connsiteX113" fmla="*/ 633413 w 1189040"/>
                <a:gd name="connsiteY113" fmla="*/ 1103667 h 4723802"/>
                <a:gd name="connsiteX114" fmla="*/ 633413 w 1189040"/>
                <a:gd name="connsiteY114" fmla="*/ 1525627 h 4723802"/>
                <a:gd name="connsiteX115" fmla="*/ 591344 w 1189040"/>
                <a:gd name="connsiteY115" fmla="*/ 1567854 h 4723802"/>
                <a:gd name="connsiteX116" fmla="*/ 549275 w 1189040"/>
                <a:gd name="connsiteY116" fmla="*/ 1525627 h 4723802"/>
                <a:gd name="connsiteX117" fmla="*/ 549275 w 1189040"/>
                <a:gd name="connsiteY117" fmla="*/ 1103667 h 4723802"/>
                <a:gd name="connsiteX118" fmla="*/ 591344 w 1189040"/>
                <a:gd name="connsiteY118" fmla="*/ 1061441 h 4723802"/>
                <a:gd name="connsiteX119" fmla="*/ 42069 w 1189040"/>
                <a:gd name="connsiteY119" fmla="*/ 1061441 h 4723802"/>
                <a:gd name="connsiteX120" fmla="*/ 84138 w 1189040"/>
                <a:gd name="connsiteY120" fmla="*/ 1103667 h 4723802"/>
                <a:gd name="connsiteX121" fmla="*/ 84138 w 1189040"/>
                <a:gd name="connsiteY121" fmla="*/ 1525627 h 4723802"/>
                <a:gd name="connsiteX122" fmla="*/ 42069 w 1189040"/>
                <a:gd name="connsiteY122" fmla="*/ 1567854 h 4723802"/>
                <a:gd name="connsiteX123" fmla="*/ 0 w 1189040"/>
                <a:gd name="connsiteY123" fmla="*/ 1525627 h 4723802"/>
                <a:gd name="connsiteX124" fmla="*/ 0 w 1189040"/>
                <a:gd name="connsiteY124" fmla="*/ 1103667 h 4723802"/>
                <a:gd name="connsiteX125" fmla="*/ 42069 w 1189040"/>
                <a:gd name="connsiteY125" fmla="*/ 1061441 h 4723802"/>
                <a:gd name="connsiteX126" fmla="*/ 866132 w 1189040"/>
                <a:gd name="connsiteY126" fmla="*/ 1061441 h 4723802"/>
                <a:gd name="connsiteX127" fmla="*/ 908051 w 1189040"/>
                <a:gd name="connsiteY127" fmla="*/ 1103667 h 4723802"/>
                <a:gd name="connsiteX128" fmla="*/ 908051 w 1189040"/>
                <a:gd name="connsiteY128" fmla="*/ 1525627 h 4723802"/>
                <a:gd name="connsiteX129" fmla="*/ 866132 w 1189040"/>
                <a:gd name="connsiteY129" fmla="*/ 1567853 h 4723802"/>
                <a:gd name="connsiteX130" fmla="*/ 823913 w 1189040"/>
                <a:gd name="connsiteY130" fmla="*/ 1525627 h 4723802"/>
                <a:gd name="connsiteX131" fmla="*/ 823913 w 1189040"/>
                <a:gd name="connsiteY131" fmla="*/ 1103667 h 4723802"/>
                <a:gd name="connsiteX132" fmla="*/ 866132 w 1189040"/>
                <a:gd name="connsiteY132" fmla="*/ 1061441 h 4723802"/>
                <a:gd name="connsiteX133" fmla="*/ 316707 w 1189040"/>
                <a:gd name="connsiteY133" fmla="*/ 1061441 h 4723802"/>
                <a:gd name="connsiteX134" fmla="*/ 358776 w 1189040"/>
                <a:gd name="connsiteY134" fmla="*/ 1103667 h 4723802"/>
                <a:gd name="connsiteX135" fmla="*/ 358776 w 1189040"/>
                <a:gd name="connsiteY135" fmla="*/ 1525627 h 4723802"/>
                <a:gd name="connsiteX136" fmla="*/ 316707 w 1189040"/>
                <a:gd name="connsiteY136" fmla="*/ 1567853 h 4723802"/>
                <a:gd name="connsiteX137" fmla="*/ 274638 w 1189040"/>
                <a:gd name="connsiteY137" fmla="*/ 1525627 h 4723802"/>
                <a:gd name="connsiteX138" fmla="*/ 274638 w 1189040"/>
                <a:gd name="connsiteY138" fmla="*/ 1103667 h 4723802"/>
                <a:gd name="connsiteX139" fmla="*/ 316707 w 1189040"/>
                <a:gd name="connsiteY139" fmla="*/ 1061441 h 4723802"/>
                <a:gd name="connsiteX140" fmla="*/ 823913 w 1189040"/>
                <a:gd name="connsiteY140" fmla="*/ 52584 h 4723802"/>
                <a:gd name="connsiteX141" fmla="*/ 908051 w 1189040"/>
                <a:gd name="connsiteY141" fmla="*/ 52584 h 4723802"/>
                <a:gd name="connsiteX142" fmla="*/ 908051 w 1189040"/>
                <a:gd name="connsiteY142" fmla="*/ 473272 h 4723802"/>
                <a:gd name="connsiteX143" fmla="*/ 866132 w 1189040"/>
                <a:gd name="connsiteY143" fmla="*/ 515340 h 4723802"/>
                <a:gd name="connsiteX144" fmla="*/ 823913 w 1189040"/>
                <a:gd name="connsiteY144" fmla="*/ 473272 h 4723802"/>
                <a:gd name="connsiteX145" fmla="*/ 823913 w 1189040"/>
                <a:gd name="connsiteY145" fmla="*/ 52584 h 4723802"/>
                <a:gd name="connsiteX146" fmla="*/ 549275 w 1189040"/>
                <a:gd name="connsiteY146" fmla="*/ 52584 h 4723802"/>
                <a:gd name="connsiteX147" fmla="*/ 633413 w 1189040"/>
                <a:gd name="connsiteY147" fmla="*/ 52584 h 4723802"/>
                <a:gd name="connsiteX148" fmla="*/ 633413 w 1189040"/>
                <a:gd name="connsiteY148" fmla="*/ 473272 h 4723802"/>
                <a:gd name="connsiteX149" fmla="*/ 549275 w 1189040"/>
                <a:gd name="connsiteY149" fmla="*/ 52584 h 4723802"/>
                <a:gd name="connsiteX150" fmla="*/ 1096963 w 1189040"/>
                <a:gd name="connsiteY150" fmla="*/ 52584 h 4723802"/>
                <a:gd name="connsiteX151" fmla="*/ 1182688 w 1189040"/>
                <a:gd name="connsiteY151" fmla="*/ 52584 h 4723802"/>
                <a:gd name="connsiteX152" fmla="*/ 1182688 w 1189040"/>
                <a:gd name="connsiteY152" fmla="*/ 473271 h 4723802"/>
                <a:gd name="connsiteX153" fmla="*/ 1139826 w 1189040"/>
                <a:gd name="connsiteY153" fmla="*/ 515340 h 4723802"/>
                <a:gd name="connsiteX154" fmla="*/ 1096963 w 1189040"/>
                <a:gd name="connsiteY154" fmla="*/ 473271 h 4723802"/>
                <a:gd name="connsiteX155" fmla="*/ 1096963 w 1189040"/>
                <a:gd name="connsiteY155" fmla="*/ 52584 h 4723802"/>
                <a:gd name="connsiteX0" fmla="*/ 1139826 w 1189040"/>
                <a:gd name="connsiteY0" fmla="*/ 4218977 h 4723802"/>
                <a:gd name="connsiteX1" fmla="*/ 1182688 w 1189040"/>
                <a:gd name="connsiteY1" fmla="*/ 4261046 h 4723802"/>
                <a:gd name="connsiteX2" fmla="*/ 1182688 w 1189040"/>
                <a:gd name="connsiteY2" fmla="*/ 4681733 h 4723802"/>
                <a:gd name="connsiteX3" fmla="*/ 1139826 w 1189040"/>
                <a:gd name="connsiteY3" fmla="*/ 4723802 h 4723802"/>
                <a:gd name="connsiteX4" fmla="*/ 1096963 w 1189040"/>
                <a:gd name="connsiteY4" fmla="*/ 4681733 h 4723802"/>
                <a:gd name="connsiteX5" fmla="*/ 1096963 w 1189040"/>
                <a:gd name="connsiteY5" fmla="*/ 4261046 h 4723802"/>
                <a:gd name="connsiteX6" fmla="*/ 1139826 w 1189040"/>
                <a:gd name="connsiteY6" fmla="*/ 4218977 h 4723802"/>
                <a:gd name="connsiteX7" fmla="*/ 866132 w 1189040"/>
                <a:gd name="connsiteY7" fmla="*/ 4218977 h 4723802"/>
                <a:gd name="connsiteX8" fmla="*/ 908051 w 1189040"/>
                <a:gd name="connsiteY8" fmla="*/ 4261046 h 4723802"/>
                <a:gd name="connsiteX9" fmla="*/ 908051 w 1189040"/>
                <a:gd name="connsiteY9" fmla="*/ 4681733 h 4723802"/>
                <a:gd name="connsiteX10" fmla="*/ 866132 w 1189040"/>
                <a:gd name="connsiteY10" fmla="*/ 4723802 h 4723802"/>
                <a:gd name="connsiteX11" fmla="*/ 823913 w 1189040"/>
                <a:gd name="connsiteY11" fmla="*/ 4681733 h 4723802"/>
                <a:gd name="connsiteX12" fmla="*/ 823913 w 1189040"/>
                <a:gd name="connsiteY12" fmla="*/ 4261046 h 4723802"/>
                <a:gd name="connsiteX13" fmla="*/ 866132 w 1189040"/>
                <a:gd name="connsiteY13" fmla="*/ 4218977 h 4723802"/>
                <a:gd name="connsiteX14" fmla="*/ 591344 w 1189040"/>
                <a:gd name="connsiteY14" fmla="*/ 4218977 h 4723802"/>
                <a:gd name="connsiteX15" fmla="*/ 633413 w 1189040"/>
                <a:gd name="connsiteY15" fmla="*/ 4261046 h 4723802"/>
                <a:gd name="connsiteX16" fmla="*/ 633413 w 1189040"/>
                <a:gd name="connsiteY16" fmla="*/ 4681733 h 4723802"/>
                <a:gd name="connsiteX17" fmla="*/ 591344 w 1189040"/>
                <a:gd name="connsiteY17" fmla="*/ 4723802 h 4723802"/>
                <a:gd name="connsiteX18" fmla="*/ 549275 w 1189040"/>
                <a:gd name="connsiteY18" fmla="*/ 4681733 h 4723802"/>
                <a:gd name="connsiteX19" fmla="*/ 549275 w 1189040"/>
                <a:gd name="connsiteY19" fmla="*/ 4261046 h 4723802"/>
                <a:gd name="connsiteX20" fmla="*/ 591344 w 1189040"/>
                <a:gd name="connsiteY20" fmla="*/ 4218977 h 4723802"/>
                <a:gd name="connsiteX21" fmla="*/ 316707 w 1189040"/>
                <a:gd name="connsiteY21" fmla="*/ 4218977 h 4723802"/>
                <a:gd name="connsiteX22" fmla="*/ 358776 w 1189040"/>
                <a:gd name="connsiteY22" fmla="*/ 4261046 h 4723802"/>
                <a:gd name="connsiteX23" fmla="*/ 358776 w 1189040"/>
                <a:gd name="connsiteY23" fmla="*/ 4681733 h 4723802"/>
                <a:gd name="connsiteX24" fmla="*/ 316707 w 1189040"/>
                <a:gd name="connsiteY24" fmla="*/ 4723802 h 4723802"/>
                <a:gd name="connsiteX25" fmla="*/ 274638 w 1189040"/>
                <a:gd name="connsiteY25" fmla="*/ 4681733 h 4723802"/>
                <a:gd name="connsiteX26" fmla="*/ 274638 w 1189040"/>
                <a:gd name="connsiteY26" fmla="*/ 4261046 h 4723802"/>
                <a:gd name="connsiteX27" fmla="*/ 316707 w 1189040"/>
                <a:gd name="connsiteY27" fmla="*/ 4218977 h 4723802"/>
                <a:gd name="connsiteX28" fmla="*/ 42069 w 1189040"/>
                <a:gd name="connsiteY28" fmla="*/ 4218977 h 4723802"/>
                <a:gd name="connsiteX29" fmla="*/ 84138 w 1189040"/>
                <a:gd name="connsiteY29" fmla="*/ 4261046 h 4723802"/>
                <a:gd name="connsiteX30" fmla="*/ 84138 w 1189040"/>
                <a:gd name="connsiteY30" fmla="*/ 4681733 h 4723802"/>
                <a:gd name="connsiteX31" fmla="*/ 42069 w 1189040"/>
                <a:gd name="connsiteY31" fmla="*/ 4723802 h 4723802"/>
                <a:gd name="connsiteX32" fmla="*/ 0 w 1189040"/>
                <a:gd name="connsiteY32" fmla="*/ 4681733 h 4723802"/>
                <a:gd name="connsiteX33" fmla="*/ 0 w 1189040"/>
                <a:gd name="connsiteY33" fmla="*/ 4261046 h 4723802"/>
                <a:gd name="connsiteX34" fmla="*/ 42069 w 1189040"/>
                <a:gd name="connsiteY34" fmla="*/ 4218977 h 4723802"/>
                <a:gd name="connsiteX35" fmla="*/ 1139826 w 1189040"/>
                <a:gd name="connsiteY35" fmla="*/ 3164877 h 4723802"/>
                <a:gd name="connsiteX36" fmla="*/ 1182688 w 1189040"/>
                <a:gd name="connsiteY36" fmla="*/ 3207078 h 4723802"/>
                <a:gd name="connsiteX37" fmla="*/ 1182688 w 1189040"/>
                <a:gd name="connsiteY37" fmla="*/ 3629089 h 4723802"/>
                <a:gd name="connsiteX38" fmla="*/ 1139826 w 1189040"/>
                <a:gd name="connsiteY38" fmla="*/ 3671290 h 4723802"/>
                <a:gd name="connsiteX39" fmla="*/ 1096963 w 1189040"/>
                <a:gd name="connsiteY39" fmla="*/ 3629089 h 4723802"/>
                <a:gd name="connsiteX40" fmla="*/ 1096963 w 1189040"/>
                <a:gd name="connsiteY40" fmla="*/ 3207078 h 4723802"/>
                <a:gd name="connsiteX41" fmla="*/ 1139826 w 1189040"/>
                <a:gd name="connsiteY41" fmla="*/ 3164877 h 4723802"/>
                <a:gd name="connsiteX42" fmla="*/ 866132 w 1189040"/>
                <a:gd name="connsiteY42" fmla="*/ 3164877 h 4723802"/>
                <a:gd name="connsiteX43" fmla="*/ 908051 w 1189040"/>
                <a:gd name="connsiteY43" fmla="*/ 3207078 h 4723802"/>
                <a:gd name="connsiteX44" fmla="*/ 908051 w 1189040"/>
                <a:gd name="connsiteY44" fmla="*/ 3629089 h 4723802"/>
                <a:gd name="connsiteX45" fmla="*/ 866132 w 1189040"/>
                <a:gd name="connsiteY45" fmla="*/ 3671290 h 4723802"/>
                <a:gd name="connsiteX46" fmla="*/ 823913 w 1189040"/>
                <a:gd name="connsiteY46" fmla="*/ 3629089 h 4723802"/>
                <a:gd name="connsiteX47" fmla="*/ 823913 w 1189040"/>
                <a:gd name="connsiteY47" fmla="*/ 3207078 h 4723802"/>
                <a:gd name="connsiteX48" fmla="*/ 866132 w 1189040"/>
                <a:gd name="connsiteY48" fmla="*/ 3164877 h 4723802"/>
                <a:gd name="connsiteX49" fmla="*/ 591344 w 1189040"/>
                <a:gd name="connsiteY49" fmla="*/ 3164877 h 4723802"/>
                <a:gd name="connsiteX50" fmla="*/ 633413 w 1189040"/>
                <a:gd name="connsiteY50" fmla="*/ 3207078 h 4723802"/>
                <a:gd name="connsiteX51" fmla="*/ 633413 w 1189040"/>
                <a:gd name="connsiteY51" fmla="*/ 3629089 h 4723802"/>
                <a:gd name="connsiteX52" fmla="*/ 591344 w 1189040"/>
                <a:gd name="connsiteY52" fmla="*/ 3671290 h 4723802"/>
                <a:gd name="connsiteX53" fmla="*/ 549275 w 1189040"/>
                <a:gd name="connsiteY53" fmla="*/ 3629089 h 4723802"/>
                <a:gd name="connsiteX54" fmla="*/ 549275 w 1189040"/>
                <a:gd name="connsiteY54" fmla="*/ 3207078 h 4723802"/>
                <a:gd name="connsiteX55" fmla="*/ 591344 w 1189040"/>
                <a:gd name="connsiteY55" fmla="*/ 3164877 h 4723802"/>
                <a:gd name="connsiteX56" fmla="*/ 316707 w 1189040"/>
                <a:gd name="connsiteY56" fmla="*/ 3164877 h 4723802"/>
                <a:gd name="connsiteX57" fmla="*/ 358776 w 1189040"/>
                <a:gd name="connsiteY57" fmla="*/ 3207078 h 4723802"/>
                <a:gd name="connsiteX58" fmla="*/ 358776 w 1189040"/>
                <a:gd name="connsiteY58" fmla="*/ 3629089 h 4723802"/>
                <a:gd name="connsiteX59" fmla="*/ 316707 w 1189040"/>
                <a:gd name="connsiteY59" fmla="*/ 3671290 h 4723802"/>
                <a:gd name="connsiteX60" fmla="*/ 274638 w 1189040"/>
                <a:gd name="connsiteY60" fmla="*/ 3629089 h 4723802"/>
                <a:gd name="connsiteX61" fmla="*/ 274638 w 1189040"/>
                <a:gd name="connsiteY61" fmla="*/ 3207078 h 4723802"/>
                <a:gd name="connsiteX62" fmla="*/ 316707 w 1189040"/>
                <a:gd name="connsiteY62" fmla="*/ 3164877 h 4723802"/>
                <a:gd name="connsiteX63" fmla="*/ 42069 w 1189040"/>
                <a:gd name="connsiteY63" fmla="*/ 3164877 h 4723802"/>
                <a:gd name="connsiteX64" fmla="*/ 84138 w 1189040"/>
                <a:gd name="connsiteY64" fmla="*/ 3207078 h 4723802"/>
                <a:gd name="connsiteX65" fmla="*/ 84138 w 1189040"/>
                <a:gd name="connsiteY65" fmla="*/ 3629089 h 4723802"/>
                <a:gd name="connsiteX66" fmla="*/ 42069 w 1189040"/>
                <a:gd name="connsiteY66" fmla="*/ 3671290 h 4723802"/>
                <a:gd name="connsiteX67" fmla="*/ 0 w 1189040"/>
                <a:gd name="connsiteY67" fmla="*/ 3629089 h 4723802"/>
                <a:gd name="connsiteX68" fmla="*/ 0 w 1189040"/>
                <a:gd name="connsiteY68" fmla="*/ 3207078 h 4723802"/>
                <a:gd name="connsiteX69" fmla="*/ 42069 w 1189040"/>
                <a:gd name="connsiteY69" fmla="*/ 3164877 h 4723802"/>
                <a:gd name="connsiteX70" fmla="*/ 1139826 w 1189040"/>
                <a:gd name="connsiteY70" fmla="*/ 2113952 h 4723802"/>
                <a:gd name="connsiteX71" fmla="*/ 1182688 w 1189040"/>
                <a:gd name="connsiteY71" fmla="*/ 2156021 h 4723802"/>
                <a:gd name="connsiteX72" fmla="*/ 1182688 w 1189040"/>
                <a:gd name="connsiteY72" fmla="*/ 2576708 h 4723802"/>
                <a:gd name="connsiteX73" fmla="*/ 1139826 w 1189040"/>
                <a:gd name="connsiteY73" fmla="*/ 2618777 h 4723802"/>
                <a:gd name="connsiteX74" fmla="*/ 1096963 w 1189040"/>
                <a:gd name="connsiteY74" fmla="*/ 2576708 h 4723802"/>
                <a:gd name="connsiteX75" fmla="*/ 1096963 w 1189040"/>
                <a:gd name="connsiteY75" fmla="*/ 2156021 h 4723802"/>
                <a:gd name="connsiteX76" fmla="*/ 1139826 w 1189040"/>
                <a:gd name="connsiteY76" fmla="*/ 2113952 h 4723802"/>
                <a:gd name="connsiteX77" fmla="*/ 866132 w 1189040"/>
                <a:gd name="connsiteY77" fmla="*/ 2113952 h 4723802"/>
                <a:gd name="connsiteX78" fmla="*/ 908051 w 1189040"/>
                <a:gd name="connsiteY78" fmla="*/ 2156021 h 4723802"/>
                <a:gd name="connsiteX79" fmla="*/ 908051 w 1189040"/>
                <a:gd name="connsiteY79" fmla="*/ 2576708 h 4723802"/>
                <a:gd name="connsiteX80" fmla="*/ 866132 w 1189040"/>
                <a:gd name="connsiteY80" fmla="*/ 2618777 h 4723802"/>
                <a:gd name="connsiteX81" fmla="*/ 823913 w 1189040"/>
                <a:gd name="connsiteY81" fmla="*/ 2576708 h 4723802"/>
                <a:gd name="connsiteX82" fmla="*/ 823913 w 1189040"/>
                <a:gd name="connsiteY82" fmla="*/ 2156021 h 4723802"/>
                <a:gd name="connsiteX83" fmla="*/ 866132 w 1189040"/>
                <a:gd name="connsiteY83" fmla="*/ 2113952 h 4723802"/>
                <a:gd name="connsiteX84" fmla="*/ 591344 w 1189040"/>
                <a:gd name="connsiteY84" fmla="*/ 2113952 h 4723802"/>
                <a:gd name="connsiteX85" fmla="*/ 633413 w 1189040"/>
                <a:gd name="connsiteY85" fmla="*/ 2156021 h 4723802"/>
                <a:gd name="connsiteX86" fmla="*/ 633413 w 1189040"/>
                <a:gd name="connsiteY86" fmla="*/ 2576708 h 4723802"/>
                <a:gd name="connsiteX87" fmla="*/ 591344 w 1189040"/>
                <a:gd name="connsiteY87" fmla="*/ 2618777 h 4723802"/>
                <a:gd name="connsiteX88" fmla="*/ 549275 w 1189040"/>
                <a:gd name="connsiteY88" fmla="*/ 2576708 h 4723802"/>
                <a:gd name="connsiteX89" fmla="*/ 549275 w 1189040"/>
                <a:gd name="connsiteY89" fmla="*/ 2156021 h 4723802"/>
                <a:gd name="connsiteX90" fmla="*/ 591344 w 1189040"/>
                <a:gd name="connsiteY90" fmla="*/ 2113952 h 4723802"/>
                <a:gd name="connsiteX91" fmla="*/ 316707 w 1189040"/>
                <a:gd name="connsiteY91" fmla="*/ 2113952 h 4723802"/>
                <a:gd name="connsiteX92" fmla="*/ 358776 w 1189040"/>
                <a:gd name="connsiteY92" fmla="*/ 2156021 h 4723802"/>
                <a:gd name="connsiteX93" fmla="*/ 358776 w 1189040"/>
                <a:gd name="connsiteY93" fmla="*/ 2576708 h 4723802"/>
                <a:gd name="connsiteX94" fmla="*/ 316707 w 1189040"/>
                <a:gd name="connsiteY94" fmla="*/ 2618777 h 4723802"/>
                <a:gd name="connsiteX95" fmla="*/ 274638 w 1189040"/>
                <a:gd name="connsiteY95" fmla="*/ 2576708 h 4723802"/>
                <a:gd name="connsiteX96" fmla="*/ 274638 w 1189040"/>
                <a:gd name="connsiteY96" fmla="*/ 2156021 h 4723802"/>
                <a:gd name="connsiteX97" fmla="*/ 316707 w 1189040"/>
                <a:gd name="connsiteY97" fmla="*/ 2113952 h 4723802"/>
                <a:gd name="connsiteX98" fmla="*/ 42069 w 1189040"/>
                <a:gd name="connsiteY98" fmla="*/ 2113952 h 4723802"/>
                <a:gd name="connsiteX99" fmla="*/ 84138 w 1189040"/>
                <a:gd name="connsiteY99" fmla="*/ 2156021 h 4723802"/>
                <a:gd name="connsiteX100" fmla="*/ 84138 w 1189040"/>
                <a:gd name="connsiteY100" fmla="*/ 2576708 h 4723802"/>
                <a:gd name="connsiteX101" fmla="*/ 42069 w 1189040"/>
                <a:gd name="connsiteY101" fmla="*/ 2618777 h 4723802"/>
                <a:gd name="connsiteX102" fmla="*/ 0 w 1189040"/>
                <a:gd name="connsiteY102" fmla="*/ 2576708 h 4723802"/>
                <a:gd name="connsiteX103" fmla="*/ 0 w 1189040"/>
                <a:gd name="connsiteY103" fmla="*/ 2156021 h 4723802"/>
                <a:gd name="connsiteX104" fmla="*/ 42069 w 1189040"/>
                <a:gd name="connsiteY104" fmla="*/ 2113952 h 4723802"/>
                <a:gd name="connsiteX105" fmla="*/ 1139826 w 1189040"/>
                <a:gd name="connsiteY105" fmla="*/ 1061441 h 4723802"/>
                <a:gd name="connsiteX106" fmla="*/ 1182688 w 1189040"/>
                <a:gd name="connsiteY106" fmla="*/ 1103667 h 4723802"/>
                <a:gd name="connsiteX107" fmla="*/ 1182688 w 1189040"/>
                <a:gd name="connsiteY107" fmla="*/ 1525627 h 4723802"/>
                <a:gd name="connsiteX108" fmla="*/ 1139826 w 1189040"/>
                <a:gd name="connsiteY108" fmla="*/ 1567854 h 4723802"/>
                <a:gd name="connsiteX109" fmla="*/ 1096963 w 1189040"/>
                <a:gd name="connsiteY109" fmla="*/ 1525627 h 4723802"/>
                <a:gd name="connsiteX110" fmla="*/ 1096963 w 1189040"/>
                <a:gd name="connsiteY110" fmla="*/ 1103667 h 4723802"/>
                <a:gd name="connsiteX111" fmla="*/ 1139826 w 1189040"/>
                <a:gd name="connsiteY111" fmla="*/ 1061441 h 4723802"/>
                <a:gd name="connsiteX112" fmla="*/ 591344 w 1189040"/>
                <a:gd name="connsiteY112" fmla="*/ 1061441 h 4723802"/>
                <a:gd name="connsiteX113" fmla="*/ 633413 w 1189040"/>
                <a:gd name="connsiteY113" fmla="*/ 1103667 h 4723802"/>
                <a:gd name="connsiteX114" fmla="*/ 633413 w 1189040"/>
                <a:gd name="connsiteY114" fmla="*/ 1525627 h 4723802"/>
                <a:gd name="connsiteX115" fmla="*/ 591344 w 1189040"/>
                <a:gd name="connsiteY115" fmla="*/ 1567854 h 4723802"/>
                <a:gd name="connsiteX116" fmla="*/ 549275 w 1189040"/>
                <a:gd name="connsiteY116" fmla="*/ 1525627 h 4723802"/>
                <a:gd name="connsiteX117" fmla="*/ 549275 w 1189040"/>
                <a:gd name="connsiteY117" fmla="*/ 1103667 h 4723802"/>
                <a:gd name="connsiteX118" fmla="*/ 591344 w 1189040"/>
                <a:gd name="connsiteY118" fmla="*/ 1061441 h 4723802"/>
                <a:gd name="connsiteX119" fmla="*/ 42069 w 1189040"/>
                <a:gd name="connsiteY119" fmla="*/ 1061441 h 4723802"/>
                <a:gd name="connsiteX120" fmla="*/ 84138 w 1189040"/>
                <a:gd name="connsiteY120" fmla="*/ 1103667 h 4723802"/>
                <a:gd name="connsiteX121" fmla="*/ 84138 w 1189040"/>
                <a:gd name="connsiteY121" fmla="*/ 1525627 h 4723802"/>
                <a:gd name="connsiteX122" fmla="*/ 42069 w 1189040"/>
                <a:gd name="connsiteY122" fmla="*/ 1567854 h 4723802"/>
                <a:gd name="connsiteX123" fmla="*/ 0 w 1189040"/>
                <a:gd name="connsiteY123" fmla="*/ 1525627 h 4723802"/>
                <a:gd name="connsiteX124" fmla="*/ 0 w 1189040"/>
                <a:gd name="connsiteY124" fmla="*/ 1103667 h 4723802"/>
                <a:gd name="connsiteX125" fmla="*/ 42069 w 1189040"/>
                <a:gd name="connsiteY125" fmla="*/ 1061441 h 4723802"/>
                <a:gd name="connsiteX126" fmla="*/ 866132 w 1189040"/>
                <a:gd name="connsiteY126" fmla="*/ 1061441 h 4723802"/>
                <a:gd name="connsiteX127" fmla="*/ 908051 w 1189040"/>
                <a:gd name="connsiteY127" fmla="*/ 1103667 h 4723802"/>
                <a:gd name="connsiteX128" fmla="*/ 908051 w 1189040"/>
                <a:gd name="connsiteY128" fmla="*/ 1525627 h 4723802"/>
                <a:gd name="connsiteX129" fmla="*/ 866132 w 1189040"/>
                <a:gd name="connsiteY129" fmla="*/ 1567853 h 4723802"/>
                <a:gd name="connsiteX130" fmla="*/ 823913 w 1189040"/>
                <a:gd name="connsiteY130" fmla="*/ 1525627 h 4723802"/>
                <a:gd name="connsiteX131" fmla="*/ 823913 w 1189040"/>
                <a:gd name="connsiteY131" fmla="*/ 1103667 h 4723802"/>
                <a:gd name="connsiteX132" fmla="*/ 866132 w 1189040"/>
                <a:gd name="connsiteY132" fmla="*/ 1061441 h 4723802"/>
                <a:gd name="connsiteX133" fmla="*/ 316707 w 1189040"/>
                <a:gd name="connsiteY133" fmla="*/ 1061441 h 4723802"/>
                <a:gd name="connsiteX134" fmla="*/ 358776 w 1189040"/>
                <a:gd name="connsiteY134" fmla="*/ 1103667 h 4723802"/>
                <a:gd name="connsiteX135" fmla="*/ 358776 w 1189040"/>
                <a:gd name="connsiteY135" fmla="*/ 1525627 h 4723802"/>
                <a:gd name="connsiteX136" fmla="*/ 316707 w 1189040"/>
                <a:gd name="connsiteY136" fmla="*/ 1567853 h 4723802"/>
                <a:gd name="connsiteX137" fmla="*/ 274638 w 1189040"/>
                <a:gd name="connsiteY137" fmla="*/ 1525627 h 4723802"/>
                <a:gd name="connsiteX138" fmla="*/ 274638 w 1189040"/>
                <a:gd name="connsiteY138" fmla="*/ 1103667 h 4723802"/>
                <a:gd name="connsiteX139" fmla="*/ 316707 w 1189040"/>
                <a:gd name="connsiteY139" fmla="*/ 1061441 h 4723802"/>
                <a:gd name="connsiteX140" fmla="*/ 823913 w 1189040"/>
                <a:gd name="connsiteY140" fmla="*/ 52584 h 4723802"/>
                <a:gd name="connsiteX141" fmla="*/ 908051 w 1189040"/>
                <a:gd name="connsiteY141" fmla="*/ 52584 h 4723802"/>
                <a:gd name="connsiteX142" fmla="*/ 908051 w 1189040"/>
                <a:gd name="connsiteY142" fmla="*/ 473272 h 4723802"/>
                <a:gd name="connsiteX143" fmla="*/ 866132 w 1189040"/>
                <a:gd name="connsiteY143" fmla="*/ 515340 h 4723802"/>
                <a:gd name="connsiteX144" fmla="*/ 823913 w 1189040"/>
                <a:gd name="connsiteY144" fmla="*/ 473272 h 4723802"/>
                <a:gd name="connsiteX145" fmla="*/ 823913 w 1189040"/>
                <a:gd name="connsiteY145" fmla="*/ 52584 h 4723802"/>
                <a:gd name="connsiteX146" fmla="*/ 549275 w 1189040"/>
                <a:gd name="connsiteY146" fmla="*/ 52584 h 4723802"/>
                <a:gd name="connsiteX147" fmla="*/ 633413 w 1189040"/>
                <a:gd name="connsiteY147" fmla="*/ 52584 h 4723802"/>
                <a:gd name="connsiteX148" fmla="*/ 549275 w 1189040"/>
                <a:gd name="connsiteY148" fmla="*/ 52584 h 4723802"/>
                <a:gd name="connsiteX149" fmla="*/ 1096963 w 1189040"/>
                <a:gd name="connsiteY149" fmla="*/ 52584 h 4723802"/>
                <a:gd name="connsiteX150" fmla="*/ 1182688 w 1189040"/>
                <a:gd name="connsiteY150" fmla="*/ 52584 h 4723802"/>
                <a:gd name="connsiteX151" fmla="*/ 1182688 w 1189040"/>
                <a:gd name="connsiteY151" fmla="*/ 473271 h 4723802"/>
                <a:gd name="connsiteX152" fmla="*/ 1139826 w 1189040"/>
                <a:gd name="connsiteY152" fmla="*/ 515340 h 4723802"/>
                <a:gd name="connsiteX153" fmla="*/ 1096963 w 1189040"/>
                <a:gd name="connsiteY153" fmla="*/ 473271 h 4723802"/>
                <a:gd name="connsiteX154" fmla="*/ 1096963 w 1189040"/>
                <a:gd name="connsiteY154" fmla="*/ 52584 h 4723802"/>
                <a:gd name="connsiteX0" fmla="*/ 1139826 w 1189040"/>
                <a:gd name="connsiteY0" fmla="*/ 4221638 h 4726463"/>
                <a:gd name="connsiteX1" fmla="*/ 1182688 w 1189040"/>
                <a:gd name="connsiteY1" fmla="*/ 4263707 h 4726463"/>
                <a:gd name="connsiteX2" fmla="*/ 1182688 w 1189040"/>
                <a:gd name="connsiteY2" fmla="*/ 4684394 h 4726463"/>
                <a:gd name="connsiteX3" fmla="*/ 1139826 w 1189040"/>
                <a:gd name="connsiteY3" fmla="*/ 4726463 h 4726463"/>
                <a:gd name="connsiteX4" fmla="*/ 1096963 w 1189040"/>
                <a:gd name="connsiteY4" fmla="*/ 4684394 h 4726463"/>
                <a:gd name="connsiteX5" fmla="*/ 1096963 w 1189040"/>
                <a:gd name="connsiteY5" fmla="*/ 4263707 h 4726463"/>
                <a:gd name="connsiteX6" fmla="*/ 1139826 w 1189040"/>
                <a:gd name="connsiteY6" fmla="*/ 4221638 h 4726463"/>
                <a:gd name="connsiteX7" fmla="*/ 866132 w 1189040"/>
                <a:gd name="connsiteY7" fmla="*/ 4221638 h 4726463"/>
                <a:gd name="connsiteX8" fmla="*/ 908051 w 1189040"/>
                <a:gd name="connsiteY8" fmla="*/ 4263707 h 4726463"/>
                <a:gd name="connsiteX9" fmla="*/ 908051 w 1189040"/>
                <a:gd name="connsiteY9" fmla="*/ 4684394 h 4726463"/>
                <a:gd name="connsiteX10" fmla="*/ 866132 w 1189040"/>
                <a:gd name="connsiteY10" fmla="*/ 4726463 h 4726463"/>
                <a:gd name="connsiteX11" fmla="*/ 823913 w 1189040"/>
                <a:gd name="connsiteY11" fmla="*/ 4684394 h 4726463"/>
                <a:gd name="connsiteX12" fmla="*/ 823913 w 1189040"/>
                <a:gd name="connsiteY12" fmla="*/ 4263707 h 4726463"/>
                <a:gd name="connsiteX13" fmla="*/ 866132 w 1189040"/>
                <a:gd name="connsiteY13" fmla="*/ 4221638 h 4726463"/>
                <a:gd name="connsiteX14" fmla="*/ 591344 w 1189040"/>
                <a:gd name="connsiteY14" fmla="*/ 4221638 h 4726463"/>
                <a:gd name="connsiteX15" fmla="*/ 633413 w 1189040"/>
                <a:gd name="connsiteY15" fmla="*/ 4263707 h 4726463"/>
                <a:gd name="connsiteX16" fmla="*/ 633413 w 1189040"/>
                <a:gd name="connsiteY16" fmla="*/ 4684394 h 4726463"/>
                <a:gd name="connsiteX17" fmla="*/ 591344 w 1189040"/>
                <a:gd name="connsiteY17" fmla="*/ 4726463 h 4726463"/>
                <a:gd name="connsiteX18" fmla="*/ 549275 w 1189040"/>
                <a:gd name="connsiteY18" fmla="*/ 4684394 h 4726463"/>
                <a:gd name="connsiteX19" fmla="*/ 549275 w 1189040"/>
                <a:gd name="connsiteY19" fmla="*/ 4263707 h 4726463"/>
                <a:gd name="connsiteX20" fmla="*/ 591344 w 1189040"/>
                <a:gd name="connsiteY20" fmla="*/ 4221638 h 4726463"/>
                <a:gd name="connsiteX21" fmla="*/ 316707 w 1189040"/>
                <a:gd name="connsiteY21" fmla="*/ 4221638 h 4726463"/>
                <a:gd name="connsiteX22" fmla="*/ 358776 w 1189040"/>
                <a:gd name="connsiteY22" fmla="*/ 4263707 h 4726463"/>
                <a:gd name="connsiteX23" fmla="*/ 358776 w 1189040"/>
                <a:gd name="connsiteY23" fmla="*/ 4684394 h 4726463"/>
                <a:gd name="connsiteX24" fmla="*/ 316707 w 1189040"/>
                <a:gd name="connsiteY24" fmla="*/ 4726463 h 4726463"/>
                <a:gd name="connsiteX25" fmla="*/ 274638 w 1189040"/>
                <a:gd name="connsiteY25" fmla="*/ 4684394 h 4726463"/>
                <a:gd name="connsiteX26" fmla="*/ 274638 w 1189040"/>
                <a:gd name="connsiteY26" fmla="*/ 4263707 h 4726463"/>
                <a:gd name="connsiteX27" fmla="*/ 316707 w 1189040"/>
                <a:gd name="connsiteY27" fmla="*/ 4221638 h 4726463"/>
                <a:gd name="connsiteX28" fmla="*/ 42069 w 1189040"/>
                <a:gd name="connsiteY28" fmla="*/ 4221638 h 4726463"/>
                <a:gd name="connsiteX29" fmla="*/ 84138 w 1189040"/>
                <a:gd name="connsiteY29" fmla="*/ 4263707 h 4726463"/>
                <a:gd name="connsiteX30" fmla="*/ 84138 w 1189040"/>
                <a:gd name="connsiteY30" fmla="*/ 4684394 h 4726463"/>
                <a:gd name="connsiteX31" fmla="*/ 42069 w 1189040"/>
                <a:gd name="connsiteY31" fmla="*/ 4726463 h 4726463"/>
                <a:gd name="connsiteX32" fmla="*/ 0 w 1189040"/>
                <a:gd name="connsiteY32" fmla="*/ 4684394 h 4726463"/>
                <a:gd name="connsiteX33" fmla="*/ 0 w 1189040"/>
                <a:gd name="connsiteY33" fmla="*/ 4263707 h 4726463"/>
                <a:gd name="connsiteX34" fmla="*/ 42069 w 1189040"/>
                <a:gd name="connsiteY34" fmla="*/ 4221638 h 4726463"/>
                <a:gd name="connsiteX35" fmla="*/ 1139826 w 1189040"/>
                <a:gd name="connsiteY35" fmla="*/ 3167538 h 4726463"/>
                <a:gd name="connsiteX36" fmla="*/ 1182688 w 1189040"/>
                <a:gd name="connsiteY36" fmla="*/ 3209739 h 4726463"/>
                <a:gd name="connsiteX37" fmla="*/ 1182688 w 1189040"/>
                <a:gd name="connsiteY37" fmla="*/ 3631750 h 4726463"/>
                <a:gd name="connsiteX38" fmla="*/ 1139826 w 1189040"/>
                <a:gd name="connsiteY38" fmla="*/ 3673951 h 4726463"/>
                <a:gd name="connsiteX39" fmla="*/ 1096963 w 1189040"/>
                <a:gd name="connsiteY39" fmla="*/ 3631750 h 4726463"/>
                <a:gd name="connsiteX40" fmla="*/ 1096963 w 1189040"/>
                <a:gd name="connsiteY40" fmla="*/ 3209739 h 4726463"/>
                <a:gd name="connsiteX41" fmla="*/ 1139826 w 1189040"/>
                <a:gd name="connsiteY41" fmla="*/ 3167538 h 4726463"/>
                <a:gd name="connsiteX42" fmla="*/ 866132 w 1189040"/>
                <a:gd name="connsiteY42" fmla="*/ 3167538 h 4726463"/>
                <a:gd name="connsiteX43" fmla="*/ 908051 w 1189040"/>
                <a:gd name="connsiteY43" fmla="*/ 3209739 h 4726463"/>
                <a:gd name="connsiteX44" fmla="*/ 908051 w 1189040"/>
                <a:gd name="connsiteY44" fmla="*/ 3631750 h 4726463"/>
                <a:gd name="connsiteX45" fmla="*/ 866132 w 1189040"/>
                <a:gd name="connsiteY45" fmla="*/ 3673951 h 4726463"/>
                <a:gd name="connsiteX46" fmla="*/ 823913 w 1189040"/>
                <a:gd name="connsiteY46" fmla="*/ 3631750 h 4726463"/>
                <a:gd name="connsiteX47" fmla="*/ 823913 w 1189040"/>
                <a:gd name="connsiteY47" fmla="*/ 3209739 h 4726463"/>
                <a:gd name="connsiteX48" fmla="*/ 866132 w 1189040"/>
                <a:gd name="connsiteY48" fmla="*/ 3167538 h 4726463"/>
                <a:gd name="connsiteX49" fmla="*/ 591344 w 1189040"/>
                <a:gd name="connsiteY49" fmla="*/ 3167538 h 4726463"/>
                <a:gd name="connsiteX50" fmla="*/ 633413 w 1189040"/>
                <a:gd name="connsiteY50" fmla="*/ 3209739 h 4726463"/>
                <a:gd name="connsiteX51" fmla="*/ 633413 w 1189040"/>
                <a:gd name="connsiteY51" fmla="*/ 3631750 h 4726463"/>
                <a:gd name="connsiteX52" fmla="*/ 591344 w 1189040"/>
                <a:gd name="connsiteY52" fmla="*/ 3673951 h 4726463"/>
                <a:gd name="connsiteX53" fmla="*/ 549275 w 1189040"/>
                <a:gd name="connsiteY53" fmla="*/ 3631750 h 4726463"/>
                <a:gd name="connsiteX54" fmla="*/ 549275 w 1189040"/>
                <a:gd name="connsiteY54" fmla="*/ 3209739 h 4726463"/>
                <a:gd name="connsiteX55" fmla="*/ 591344 w 1189040"/>
                <a:gd name="connsiteY55" fmla="*/ 3167538 h 4726463"/>
                <a:gd name="connsiteX56" fmla="*/ 316707 w 1189040"/>
                <a:gd name="connsiteY56" fmla="*/ 3167538 h 4726463"/>
                <a:gd name="connsiteX57" fmla="*/ 358776 w 1189040"/>
                <a:gd name="connsiteY57" fmla="*/ 3209739 h 4726463"/>
                <a:gd name="connsiteX58" fmla="*/ 358776 w 1189040"/>
                <a:gd name="connsiteY58" fmla="*/ 3631750 h 4726463"/>
                <a:gd name="connsiteX59" fmla="*/ 316707 w 1189040"/>
                <a:gd name="connsiteY59" fmla="*/ 3673951 h 4726463"/>
                <a:gd name="connsiteX60" fmla="*/ 274638 w 1189040"/>
                <a:gd name="connsiteY60" fmla="*/ 3631750 h 4726463"/>
                <a:gd name="connsiteX61" fmla="*/ 274638 w 1189040"/>
                <a:gd name="connsiteY61" fmla="*/ 3209739 h 4726463"/>
                <a:gd name="connsiteX62" fmla="*/ 316707 w 1189040"/>
                <a:gd name="connsiteY62" fmla="*/ 3167538 h 4726463"/>
                <a:gd name="connsiteX63" fmla="*/ 42069 w 1189040"/>
                <a:gd name="connsiteY63" fmla="*/ 3167538 h 4726463"/>
                <a:gd name="connsiteX64" fmla="*/ 84138 w 1189040"/>
                <a:gd name="connsiteY64" fmla="*/ 3209739 h 4726463"/>
                <a:gd name="connsiteX65" fmla="*/ 84138 w 1189040"/>
                <a:gd name="connsiteY65" fmla="*/ 3631750 h 4726463"/>
                <a:gd name="connsiteX66" fmla="*/ 42069 w 1189040"/>
                <a:gd name="connsiteY66" fmla="*/ 3673951 h 4726463"/>
                <a:gd name="connsiteX67" fmla="*/ 0 w 1189040"/>
                <a:gd name="connsiteY67" fmla="*/ 3631750 h 4726463"/>
                <a:gd name="connsiteX68" fmla="*/ 0 w 1189040"/>
                <a:gd name="connsiteY68" fmla="*/ 3209739 h 4726463"/>
                <a:gd name="connsiteX69" fmla="*/ 42069 w 1189040"/>
                <a:gd name="connsiteY69" fmla="*/ 3167538 h 4726463"/>
                <a:gd name="connsiteX70" fmla="*/ 1139826 w 1189040"/>
                <a:gd name="connsiteY70" fmla="*/ 2116613 h 4726463"/>
                <a:gd name="connsiteX71" fmla="*/ 1182688 w 1189040"/>
                <a:gd name="connsiteY71" fmla="*/ 2158682 h 4726463"/>
                <a:gd name="connsiteX72" fmla="*/ 1182688 w 1189040"/>
                <a:gd name="connsiteY72" fmla="*/ 2579369 h 4726463"/>
                <a:gd name="connsiteX73" fmla="*/ 1139826 w 1189040"/>
                <a:gd name="connsiteY73" fmla="*/ 2621438 h 4726463"/>
                <a:gd name="connsiteX74" fmla="*/ 1096963 w 1189040"/>
                <a:gd name="connsiteY74" fmla="*/ 2579369 h 4726463"/>
                <a:gd name="connsiteX75" fmla="*/ 1096963 w 1189040"/>
                <a:gd name="connsiteY75" fmla="*/ 2158682 h 4726463"/>
                <a:gd name="connsiteX76" fmla="*/ 1139826 w 1189040"/>
                <a:gd name="connsiteY76" fmla="*/ 2116613 h 4726463"/>
                <a:gd name="connsiteX77" fmla="*/ 866132 w 1189040"/>
                <a:gd name="connsiteY77" fmla="*/ 2116613 h 4726463"/>
                <a:gd name="connsiteX78" fmla="*/ 908051 w 1189040"/>
                <a:gd name="connsiteY78" fmla="*/ 2158682 h 4726463"/>
                <a:gd name="connsiteX79" fmla="*/ 908051 w 1189040"/>
                <a:gd name="connsiteY79" fmla="*/ 2579369 h 4726463"/>
                <a:gd name="connsiteX80" fmla="*/ 866132 w 1189040"/>
                <a:gd name="connsiteY80" fmla="*/ 2621438 h 4726463"/>
                <a:gd name="connsiteX81" fmla="*/ 823913 w 1189040"/>
                <a:gd name="connsiteY81" fmla="*/ 2579369 h 4726463"/>
                <a:gd name="connsiteX82" fmla="*/ 823913 w 1189040"/>
                <a:gd name="connsiteY82" fmla="*/ 2158682 h 4726463"/>
                <a:gd name="connsiteX83" fmla="*/ 866132 w 1189040"/>
                <a:gd name="connsiteY83" fmla="*/ 2116613 h 4726463"/>
                <a:gd name="connsiteX84" fmla="*/ 591344 w 1189040"/>
                <a:gd name="connsiteY84" fmla="*/ 2116613 h 4726463"/>
                <a:gd name="connsiteX85" fmla="*/ 633413 w 1189040"/>
                <a:gd name="connsiteY85" fmla="*/ 2158682 h 4726463"/>
                <a:gd name="connsiteX86" fmla="*/ 633413 w 1189040"/>
                <a:gd name="connsiteY86" fmla="*/ 2579369 h 4726463"/>
                <a:gd name="connsiteX87" fmla="*/ 591344 w 1189040"/>
                <a:gd name="connsiteY87" fmla="*/ 2621438 h 4726463"/>
                <a:gd name="connsiteX88" fmla="*/ 549275 w 1189040"/>
                <a:gd name="connsiteY88" fmla="*/ 2579369 h 4726463"/>
                <a:gd name="connsiteX89" fmla="*/ 549275 w 1189040"/>
                <a:gd name="connsiteY89" fmla="*/ 2158682 h 4726463"/>
                <a:gd name="connsiteX90" fmla="*/ 591344 w 1189040"/>
                <a:gd name="connsiteY90" fmla="*/ 2116613 h 4726463"/>
                <a:gd name="connsiteX91" fmla="*/ 316707 w 1189040"/>
                <a:gd name="connsiteY91" fmla="*/ 2116613 h 4726463"/>
                <a:gd name="connsiteX92" fmla="*/ 358776 w 1189040"/>
                <a:gd name="connsiteY92" fmla="*/ 2158682 h 4726463"/>
                <a:gd name="connsiteX93" fmla="*/ 358776 w 1189040"/>
                <a:gd name="connsiteY93" fmla="*/ 2579369 h 4726463"/>
                <a:gd name="connsiteX94" fmla="*/ 316707 w 1189040"/>
                <a:gd name="connsiteY94" fmla="*/ 2621438 h 4726463"/>
                <a:gd name="connsiteX95" fmla="*/ 274638 w 1189040"/>
                <a:gd name="connsiteY95" fmla="*/ 2579369 h 4726463"/>
                <a:gd name="connsiteX96" fmla="*/ 274638 w 1189040"/>
                <a:gd name="connsiteY96" fmla="*/ 2158682 h 4726463"/>
                <a:gd name="connsiteX97" fmla="*/ 316707 w 1189040"/>
                <a:gd name="connsiteY97" fmla="*/ 2116613 h 4726463"/>
                <a:gd name="connsiteX98" fmla="*/ 42069 w 1189040"/>
                <a:gd name="connsiteY98" fmla="*/ 2116613 h 4726463"/>
                <a:gd name="connsiteX99" fmla="*/ 84138 w 1189040"/>
                <a:gd name="connsiteY99" fmla="*/ 2158682 h 4726463"/>
                <a:gd name="connsiteX100" fmla="*/ 84138 w 1189040"/>
                <a:gd name="connsiteY100" fmla="*/ 2579369 h 4726463"/>
                <a:gd name="connsiteX101" fmla="*/ 42069 w 1189040"/>
                <a:gd name="connsiteY101" fmla="*/ 2621438 h 4726463"/>
                <a:gd name="connsiteX102" fmla="*/ 0 w 1189040"/>
                <a:gd name="connsiteY102" fmla="*/ 2579369 h 4726463"/>
                <a:gd name="connsiteX103" fmla="*/ 0 w 1189040"/>
                <a:gd name="connsiteY103" fmla="*/ 2158682 h 4726463"/>
                <a:gd name="connsiteX104" fmla="*/ 42069 w 1189040"/>
                <a:gd name="connsiteY104" fmla="*/ 2116613 h 4726463"/>
                <a:gd name="connsiteX105" fmla="*/ 1139826 w 1189040"/>
                <a:gd name="connsiteY105" fmla="*/ 1064102 h 4726463"/>
                <a:gd name="connsiteX106" fmla="*/ 1182688 w 1189040"/>
                <a:gd name="connsiteY106" fmla="*/ 1106328 h 4726463"/>
                <a:gd name="connsiteX107" fmla="*/ 1182688 w 1189040"/>
                <a:gd name="connsiteY107" fmla="*/ 1528288 h 4726463"/>
                <a:gd name="connsiteX108" fmla="*/ 1139826 w 1189040"/>
                <a:gd name="connsiteY108" fmla="*/ 1570515 h 4726463"/>
                <a:gd name="connsiteX109" fmla="*/ 1096963 w 1189040"/>
                <a:gd name="connsiteY109" fmla="*/ 1528288 h 4726463"/>
                <a:gd name="connsiteX110" fmla="*/ 1096963 w 1189040"/>
                <a:gd name="connsiteY110" fmla="*/ 1106328 h 4726463"/>
                <a:gd name="connsiteX111" fmla="*/ 1139826 w 1189040"/>
                <a:gd name="connsiteY111" fmla="*/ 1064102 h 4726463"/>
                <a:gd name="connsiteX112" fmla="*/ 591344 w 1189040"/>
                <a:gd name="connsiteY112" fmla="*/ 1064102 h 4726463"/>
                <a:gd name="connsiteX113" fmla="*/ 633413 w 1189040"/>
                <a:gd name="connsiteY113" fmla="*/ 1106328 h 4726463"/>
                <a:gd name="connsiteX114" fmla="*/ 633413 w 1189040"/>
                <a:gd name="connsiteY114" fmla="*/ 1528288 h 4726463"/>
                <a:gd name="connsiteX115" fmla="*/ 591344 w 1189040"/>
                <a:gd name="connsiteY115" fmla="*/ 1570515 h 4726463"/>
                <a:gd name="connsiteX116" fmla="*/ 549275 w 1189040"/>
                <a:gd name="connsiteY116" fmla="*/ 1528288 h 4726463"/>
                <a:gd name="connsiteX117" fmla="*/ 549275 w 1189040"/>
                <a:gd name="connsiteY117" fmla="*/ 1106328 h 4726463"/>
                <a:gd name="connsiteX118" fmla="*/ 591344 w 1189040"/>
                <a:gd name="connsiteY118" fmla="*/ 1064102 h 4726463"/>
                <a:gd name="connsiteX119" fmla="*/ 42069 w 1189040"/>
                <a:gd name="connsiteY119" fmla="*/ 1064102 h 4726463"/>
                <a:gd name="connsiteX120" fmla="*/ 84138 w 1189040"/>
                <a:gd name="connsiteY120" fmla="*/ 1106328 h 4726463"/>
                <a:gd name="connsiteX121" fmla="*/ 84138 w 1189040"/>
                <a:gd name="connsiteY121" fmla="*/ 1528288 h 4726463"/>
                <a:gd name="connsiteX122" fmla="*/ 42069 w 1189040"/>
                <a:gd name="connsiteY122" fmla="*/ 1570515 h 4726463"/>
                <a:gd name="connsiteX123" fmla="*/ 0 w 1189040"/>
                <a:gd name="connsiteY123" fmla="*/ 1528288 h 4726463"/>
                <a:gd name="connsiteX124" fmla="*/ 0 w 1189040"/>
                <a:gd name="connsiteY124" fmla="*/ 1106328 h 4726463"/>
                <a:gd name="connsiteX125" fmla="*/ 42069 w 1189040"/>
                <a:gd name="connsiteY125" fmla="*/ 1064102 h 4726463"/>
                <a:gd name="connsiteX126" fmla="*/ 866132 w 1189040"/>
                <a:gd name="connsiteY126" fmla="*/ 1064102 h 4726463"/>
                <a:gd name="connsiteX127" fmla="*/ 908051 w 1189040"/>
                <a:gd name="connsiteY127" fmla="*/ 1106328 h 4726463"/>
                <a:gd name="connsiteX128" fmla="*/ 908051 w 1189040"/>
                <a:gd name="connsiteY128" fmla="*/ 1528288 h 4726463"/>
                <a:gd name="connsiteX129" fmla="*/ 866132 w 1189040"/>
                <a:gd name="connsiteY129" fmla="*/ 1570514 h 4726463"/>
                <a:gd name="connsiteX130" fmla="*/ 823913 w 1189040"/>
                <a:gd name="connsiteY130" fmla="*/ 1528288 h 4726463"/>
                <a:gd name="connsiteX131" fmla="*/ 823913 w 1189040"/>
                <a:gd name="connsiteY131" fmla="*/ 1106328 h 4726463"/>
                <a:gd name="connsiteX132" fmla="*/ 866132 w 1189040"/>
                <a:gd name="connsiteY132" fmla="*/ 1064102 h 4726463"/>
                <a:gd name="connsiteX133" fmla="*/ 316707 w 1189040"/>
                <a:gd name="connsiteY133" fmla="*/ 1064102 h 4726463"/>
                <a:gd name="connsiteX134" fmla="*/ 358776 w 1189040"/>
                <a:gd name="connsiteY134" fmla="*/ 1106328 h 4726463"/>
                <a:gd name="connsiteX135" fmla="*/ 358776 w 1189040"/>
                <a:gd name="connsiteY135" fmla="*/ 1528288 h 4726463"/>
                <a:gd name="connsiteX136" fmla="*/ 316707 w 1189040"/>
                <a:gd name="connsiteY136" fmla="*/ 1570514 h 4726463"/>
                <a:gd name="connsiteX137" fmla="*/ 274638 w 1189040"/>
                <a:gd name="connsiteY137" fmla="*/ 1528288 h 4726463"/>
                <a:gd name="connsiteX138" fmla="*/ 274638 w 1189040"/>
                <a:gd name="connsiteY138" fmla="*/ 1106328 h 4726463"/>
                <a:gd name="connsiteX139" fmla="*/ 316707 w 1189040"/>
                <a:gd name="connsiteY139" fmla="*/ 1064102 h 4726463"/>
                <a:gd name="connsiteX140" fmla="*/ 823913 w 1189040"/>
                <a:gd name="connsiteY140" fmla="*/ 55245 h 4726463"/>
                <a:gd name="connsiteX141" fmla="*/ 908051 w 1189040"/>
                <a:gd name="connsiteY141" fmla="*/ 55245 h 4726463"/>
                <a:gd name="connsiteX142" fmla="*/ 908051 w 1189040"/>
                <a:gd name="connsiteY142" fmla="*/ 475933 h 4726463"/>
                <a:gd name="connsiteX143" fmla="*/ 866132 w 1189040"/>
                <a:gd name="connsiteY143" fmla="*/ 518001 h 4726463"/>
                <a:gd name="connsiteX144" fmla="*/ 823913 w 1189040"/>
                <a:gd name="connsiteY144" fmla="*/ 55245 h 4726463"/>
                <a:gd name="connsiteX145" fmla="*/ 549275 w 1189040"/>
                <a:gd name="connsiteY145" fmla="*/ 55245 h 4726463"/>
                <a:gd name="connsiteX146" fmla="*/ 633413 w 1189040"/>
                <a:gd name="connsiteY146" fmla="*/ 55245 h 4726463"/>
                <a:gd name="connsiteX147" fmla="*/ 549275 w 1189040"/>
                <a:gd name="connsiteY147" fmla="*/ 55245 h 4726463"/>
                <a:gd name="connsiteX148" fmla="*/ 1096963 w 1189040"/>
                <a:gd name="connsiteY148" fmla="*/ 55245 h 4726463"/>
                <a:gd name="connsiteX149" fmla="*/ 1182688 w 1189040"/>
                <a:gd name="connsiteY149" fmla="*/ 55245 h 4726463"/>
                <a:gd name="connsiteX150" fmla="*/ 1182688 w 1189040"/>
                <a:gd name="connsiteY150" fmla="*/ 475932 h 4726463"/>
                <a:gd name="connsiteX151" fmla="*/ 1139826 w 1189040"/>
                <a:gd name="connsiteY151" fmla="*/ 518001 h 4726463"/>
                <a:gd name="connsiteX152" fmla="*/ 1096963 w 1189040"/>
                <a:gd name="connsiteY152" fmla="*/ 475932 h 4726463"/>
                <a:gd name="connsiteX153" fmla="*/ 1096963 w 1189040"/>
                <a:gd name="connsiteY153" fmla="*/ 55245 h 4726463"/>
                <a:gd name="connsiteX0" fmla="*/ 1139826 w 1189040"/>
                <a:gd name="connsiteY0" fmla="*/ 4218977 h 4723802"/>
                <a:gd name="connsiteX1" fmla="*/ 1182688 w 1189040"/>
                <a:gd name="connsiteY1" fmla="*/ 4261046 h 4723802"/>
                <a:gd name="connsiteX2" fmla="*/ 1182688 w 1189040"/>
                <a:gd name="connsiteY2" fmla="*/ 4681733 h 4723802"/>
                <a:gd name="connsiteX3" fmla="*/ 1139826 w 1189040"/>
                <a:gd name="connsiteY3" fmla="*/ 4723802 h 4723802"/>
                <a:gd name="connsiteX4" fmla="*/ 1096963 w 1189040"/>
                <a:gd name="connsiteY4" fmla="*/ 4681733 h 4723802"/>
                <a:gd name="connsiteX5" fmla="*/ 1096963 w 1189040"/>
                <a:gd name="connsiteY5" fmla="*/ 4261046 h 4723802"/>
                <a:gd name="connsiteX6" fmla="*/ 1139826 w 1189040"/>
                <a:gd name="connsiteY6" fmla="*/ 4218977 h 4723802"/>
                <a:gd name="connsiteX7" fmla="*/ 866132 w 1189040"/>
                <a:gd name="connsiteY7" fmla="*/ 4218977 h 4723802"/>
                <a:gd name="connsiteX8" fmla="*/ 908051 w 1189040"/>
                <a:gd name="connsiteY8" fmla="*/ 4261046 h 4723802"/>
                <a:gd name="connsiteX9" fmla="*/ 908051 w 1189040"/>
                <a:gd name="connsiteY9" fmla="*/ 4681733 h 4723802"/>
                <a:gd name="connsiteX10" fmla="*/ 866132 w 1189040"/>
                <a:gd name="connsiteY10" fmla="*/ 4723802 h 4723802"/>
                <a:gd name="connsiteX11" fmla="*/ 823913 w 1189040"/>
                <a:gd name="connsiteY11" fmla="*/ 4681733 h 4723802"/>
                <a:gd name="connsiteX12" fmla="*/ 823913 w 1189040"/>
                <a:gd name="connsiteY12" fmla="*/ 4261046 h 4723802"/>
                <a:gd name="connsiteX13" fmla="*/ 866132 w 1189040"/>
                <a:gd name="connsiteY13" fmla="*/ 4218977 h 4723802"/>
                <a:gd name="connsiteX14" fmla="*/ 591344 w 1189040"/>
                <a:gd name="connsiteY14" fmla="*/ 4218977 h 4723802"/>
                <a:gd name="connsiteX15" fmla="*/ 633413 w 1189040"/>
                <a:gd name="connsiteY15" fmla="*/ 4261046 h 4723802"/>
                <a:gd name="connsiteX16" fmla="*/ 633413 w 1189040"/>
                <a:gd name="connsiteY16" fmla="*/ 4681733 h 4723802"/>
                <a:gd name="connsiteX17" fmla="*/ 591344 w 1189040"/>
                <a:gd name="connsiteY17" fmla="*/ 4723802 h 4723802"/>
                <a:gd name="connsiteX18" fmla="*/ 549275 w 1189040"/>
                <a:gd name="connsiteY18" fmla="*/ 4681733 h 4723802"/>
                <a:gd name="connsiteX19" fmla="*/ 549275 w 1189040"/>
                <a:gd name="connsiteY19" fmla="*/ 4261046 h 4723802"/>
                <a:gd name="connsiteX20" fmla="*/ 591344 w 1189040"/>
                <a:gd name="connsiteY20" fmla="*/ 4218977 h 4723802"/>
                <a:gd name="connsiteX21" fmla="*/ 316707 w 1189040"/>
                <a:gd name="connsiteY21" fmla="*/ 4218977 h 4723802"/>
                <a:gd name="connsiteX22" fmla="*/ 358776 w 1189040"/>
                <a:gd name="connsiteY22" fmla="*/ 4261046 h 4723802"/>
                <a:gd name="connsiteX23" fmla="*/ 358776 w 1189040"/>
                <a:gd name="connsiteY23" fmla="*/ 4681733 h 4723802"/>
                <a:gd name="connsiteX24" fmla="*/ 316707 w 1189040"/>
                <a:gd name="connsiteY24" fmla="*/ 4723802 h 4723802"/>
                <a:gd name="connsiteX25" fmla="*/ 274638 w 1189040"/>
                <a:gd name="connsiteY25" fmla="*/ 4681733 h 4723802"/>
                <a:gd name="connsiteX26" fmla="*/ 274638 w 1189040"/>
                <a:gd name="connsiteY26" fmla="*/ 4261046 h 4723802"/>
                <a:gd name="connsiteX27" fmla="*/ 316707 w 1189040"/>
                <a:gd name="connsiteY27" fmla="*/ 4218977 h 4723802"/>
                <a:gd name="connsiteX28" fmla="*/ 42069 w 1189040"/>
                <a:gd name="connsiteY28" fmla="*/ 4218977 h 4723802"/>
                <a:gd name="connsiteX29" fmla="*/ 84138 w 1189040"/>
                <a:gd name="connsiteY29" fmla="*/ 4261046 h 4723802"/>
                <a:gd name="connsiteX30" fmla="*/ 84138 w 1189040"/>
                <a:gd name="connsiteY30" fmla="*/ 4681733 h 4723802"/>
                <a:gd name="connsiteX31" fmla="*/ 42069 w 1189040"/>
                <a:gd name="connsiteY31" fmla="*/ 4723802 h 4723802"/>
                <a:gd name="connsiteX32" fmla="*/ 0 w 1189040"/>
                <a:gd name="connsiteY32" fmla="*/ 4681733 h 4723802"/>
                <a:gd name="connsiteX33" fmla="*/ 0 w 1189040"/>
                <a:gd name="connsiteY33" fmla="*/ 4261046 h 4723802"/>
                <a:gd name="connsiteX34" fmla="*/ 42069 w 1189040"/>
                <a:gd name="connsiteY34" fmla="*/ 4218977 h 4723802"/>
                <a:gd name="connsiteX35" fmla="*/ 1139826 w 1189040"/>
                <a:gd name="connsiteY35" fmla="*/ 3164877 h 4723802"/>
                <a:gd name="connsiteX36" fmla="*/ 1182688 w 1189040"/>
                <a:gd name="connsiteY36" fmla="*/ 3207078 h 4723802"/>
                <a:gd name="connsiteX37" fmla="*/ 1182688 w 1189040"/>
                <a:gd name="connsiteY37" fmla="*/ 3629089 h 4723802"/>
                <a:gd name="connsiteX38" fmla="*/ 1139826 w 1189040"/>
                <a:gd name="connsiteY38" fmla="*/ 3671290 h 4723802"/>
                <a:gd name="connsiteX39" fmla="*/ 1096963 w 1189040"/>
                <a:gd name="connsiteY39" fmla="*/ 3629089 h 4723802"/>
                <a:gd name="connsiteX40" fmla="*/ 1096963 w 1189040"/>
                <a:gd name="connsiteY40" fmla="*/ 3207078 h 4723802"/>
                <a:gd name="connsiteX41" fmla="*/ 1139826 w 1189040"/>
                <a:gd name="connsiteY41" fmla="*/ 3164877 h 4723802"/>
                <a:gd name="connsiteX42" fmla="*/ 866132 w 1189040"/>
                <a:gd name="connsiteY42" fmla="*/ 3164877 h 4723802"/>
                <a:gd name="connsiteX43" fmla="*/ 908051 w 1189040"/>
                <a:gd name="connsiteY43" fmla="*/ 3207078 h 4723802"/>
                <a:gd name="connsiteX44" fmla="*/ 908051 w 1189040"/>
                <a:gd name="connsiteY44" fmla="*/ 3629089 h 4723802"/>
                <a:gd name="connsiteX45" fmla="*/ 866132 w 1189040"/>
                <a:gd name="connsiteY45" fmla="*/ 3671290 h 4723802"/>
                <a:gd name="connsiteX46" fmla="*/ 823913 w 1189040"/>
                <a:gd name="connsiteY46" fmla="*/ 3629089 h 4723802"/>
                <a:gd name="connsiteX47" fmla="*/ 823913 w 1189040"/>
                <a:gd name="connsiteY47" fmla="*/ 3207078 h 4723802"/>
                <a:gd name="connsiteX48" fmla="*/ 866132 w 1189040"/>
                <a:gd name="connsiteY48" fmla="*/ 3164877 h 4723802"/>
                <a:gd name="connsiteX49" fmla="*/ 591344 w 1189040"/>
                <a:gd name="connsiteY49" fmla="*/ 3164877 h 4723802"/>
                <a:gd name="connsiteX50" fmla="*/ 633413 w 1189040"/>
                <a:gd name="connsiteY50" fmla="*/ 3207078 h 4723802"/>
                <a:gd name="connsiteX51" fmla="*/ 633413 w 1189040"/>
                <a:gd name="connsiteY51" fmla="*/ 3629089 h 4723802"/>
                <a:gd name="connsiteX52" fmla="*/ 591344 w 1189040"/>
                <a:gd name="connsiteY52" fmla="*/ 3671290 h 4723802"/>
                <a:gd name="connsiteX53" fmla="*/ 549275 w 1189040"/>
                <a:gd name="connsiteY53" fmla="*/ 3629089 h 4723802"/>
                <a:gd name="connsiteX54" fmla="*/ 549275 w 1189040"/>
                <a:gd name="connsiteY54" fmla="*/ 3207078 h 4723802"/>
                <a:gd name="connsiteX55" fmla="*/ 591344 w 1189040"/>
                <a:gd name="connsiteY55" fmla="*/ 3164877 h 4723802"/>
                <a:gd name="connsiteX56" fmla="*/ 316707 w 1189040"/>
                <a:gd name="connsiteY56" fmla="*/ 3164877 h 4723802"/>
                <a:gd name="connsiteX57" fmla="*/ 358776 w 1189040"/>
                <a:gd name="connsiteY57" fmla="*/ 3207078 h 4723802"/>
                <a:gd name="connsiteX58" fmla="*/ 358776 w 1189040"/>
                <a:gd name="connsiteY58" fmla="*/ 3629089 h 4723802"/>
                <a:gd name="connsiteX59" fmla="*/ 316707 w 1189040"/>
                <a:gd name="connsiteY59" fmla="*/ 3671290 h 4723802"/>
                <a:gd name="connsiteX60" fmla="*/ 274638 w 1189040"/>
                <a:gd name="connsiteY60" fmla="*/ 3629089 h 4723802"/>
                <a:gd name="connsiteX61" fmla="*/ 274638 w 1189040"/>
                <a:gd name="connsiteY61" fmla="*/ 3207078 h 4723802"/>
                <a:gd name="connsiteX62" fmla="*/ 316707 w 1189040"/>
                <a:gd name="connsiteY62" fmla="*/ 3164877 h 4723802"/>
                <a:gd name="connsiteX63" fmla="*/ 42069 w 1189040"/>
                <a:gd name="connsiteY63" fmla="*/ 3164877 h 4723802"/>
                <a:gd name="connsiteX64" fmla="*/ 84138 w 1189040"/>
                <a:gd name="connsiteY64" fmla="*/ 3207078 h 4723802"/>
                <a:gd name="connsiteX65" fmla="*/ 84138 w 1189040"/>
                <a:gd name="connsiteY65" fmla="*/ 3629089 h 4723802"/>
                <a:gd name="connsiteX66" fmla="*/ 42069 w 1189040"/>
                <a:gd name="connsiteY66" fmla="*/ 3671290 h 4723802"/>
                <a:gd name="connsiteX67" fmla="*/ 0 w 1189040"/>
                <a:gd name="connsiteY67" fmla="*/ 3629089 h 4723802"/>
                <a:gd name="connsiteX68" fmla="*/ 0 w 1189040"/>
                <a:gd name="connsiteY68" fmla="*/ 3207078 h 4723802"/>
                <a:gd name="connsiteX69" fmla="*/ 42069 w 1189040"/>
                <a:gd name="connsiteY69" fmla="*/ 3164877 h 4723802"/>
                <a:gd name="connsiteX70" fmla="*/ 1139826 w 1189040"/>
                <a:gd name="connsiteY70" fmla="*/ 2113952 h 4723802"/>
                <a:gd name="connsiteX71" fmla="*/ 1182688 w 1189040"/>
                <a:gd name="connsiteY71" fmla="*/ 2156021 h 4723802"/>
                <a:gd name="connsiteX72" fmla="*/ 1182688 w 1189040"/>
                <a:gd name="connsiteY72" fmla="*/ 2576708 h 4723802"/>
                <a:gd name="connsiteX73" fmla="*/ 1139826 w 1189040"/>
                <a:gd name="connsiteY73" fmla="*/ 2618777 h 4723802"/>
                <a:gd name="connsiteX74" fmla="*/ 1096963 w 1189040"/>
                <a:gd name="connsiteY74" fmla="*/ 2576708 h 4723802"/>
                <a:gd name="connsiteX75" fmla="*/ 1096963 w 1189040"/>
                <a:gd name="connsiteY75" fmla="*/ 2156021 h 4723802"/>
                <a:gd name="connsiteX76" fmla="*/ 1139826 w 1189040"/>
                <a:gd name="connsiteY76" fmla="*/ 2113952 h 4723802"/>
                <a:gd name="connsiteX77" fmla="*/ 866132 w 1189040"/>
                <a:gd name="connsiteY77" fmla="*/ 2113952 h 4723802"/>
                <a:gd name="connsiteX78" fmla="*/ 908051 w 1189040"/>
                <a:gd name="connsiteY78" fmla="*/ 2156021 h 4723802"/>
                <a:gd name="connsiteX79" fmla="*/ 908051 w 1189040"/>
                <a:gd name="connsiteY79" fmla="*/ 2576708 h 4723802"/>
                <a:gd name="connsiteX80" fmla="*/ 866132 w 1189040"/>
                <a:gd name="connsiteY80" fmla="*/ 2618777 h 4723802"/>
                <a:gd name="connsiteX81" fmla="*/ 823913 w 1189040"/>
                <a:gd name="connsiteY81" fmla="*/ 2576708 h 4723802"/>
                <a:gd name="connsiteX82" fmla="*/ 823913 w 1189040"/>
                <a:gd name="connsiteY82" fmla="*/ 2156021 h 4723802"/>
                <a:gd name="connsiteX83" fmla="*/ 866132 w 1189040"/>
                <a:gd name="connsiteY83" fmla="*/ 2113952 h 4723802"/>
                <a:gd name="connsiteX84" fmla="*/ 591344 w 1189040"/>
                <a:gd name="connsiteY84" fmla="*/ 2113952 h 4723802"/>
                <a:gd name="connsiteX85" fmla="*/ 633413 w 1189040"/>
                <a:gd name="connsiteY85" fmla="*/ 2156021 h 4723802"/>
                <a:gd name="connsiteX86" fmla="*/ 633413 w 1189040"/>
                <a:gd name="connsiteY86" fmla="*/ 2576708 h 4723802"/>
                <a:gd name="connsiteX87" fmla="*/ 591344 w 1189040"/>
                <a:gd name="connsiteY87" fmla="*/ 2618777 h 4723802"/>
                <a:gd name="connsiteX88" fmla="*/ 549275 w 1189040"/>
                <a:gd name="connsiteY88" fmla="*/ 2576708 h 4723802"/>
                <a:gd name="connsiteX89" fmla="*/ 549275 w 1189040"/>
                <a:gd name="connsiteY89" fmla="*/ 2156021 h 4723802"/>
                <a:gd name="connsiteX90" fmla="*/ 591344 w 1189040"/>
                <a:gd name="connsiteY90" fmla="*/ 2113952 h 4723802"/>
                <a:gd name="connsiteX91" fmla="*/ 316707 w 1189040"/>
                <a:gd name="connsiteY91" fmla="*/ 2113952 h 4723802"/>
                <a:gd name="connsiteX92" fmla="*/ 358776 w 1189040"/>
                <a:gd name="connsiteY92" fmla="*/ 2156021 h 4723802"/>
                <a:gd name="connsiteX93" fmla="*/ 358776 w 1189040"/>
                <a:gd name="connsiteY93" fmla="*/ 2576708 h 4723802"/>
                <a:gd name="connsiteX94" fmla="*/ 316707 w 1189040"/>
                <a:gd name="connsiteY94" fmla="*/ 2618777 h 4723802"/>
                <a:gd name="connsiteX95" fmla="*/ 274638 w 1189040"/>
                <a:gd name="connsiteY95" fmla="*/ 2576708 h 4723802"/>
                <a:gd name="connsiteX96" fmla="*/ 274638 w 1189040"/>
                <a:gd name="connsiteY96" fmla="*/ 2156021 h 4723802"/>
                <a:gd name="connsiteX97" fmla="*/ 316707 w 1189040"/>
                <a:gd name="connsiteY97" fmla="*/ 2113952 h 4723802"/>
                <a:gd name="connsiteX98" fmla="*/ 42069 w 1189040"/>
                <a:gd name="connsiteY98" fmla="*/ 2113952 h 4723802"/>
                <a:gd name="connsiteX99" fmla="*/ 84138 w 1189040"/>
                <a:gd name="connsiteY99" fmla="*/ 2156021 h 4723802"/>
                <a:gd name="connsiteX100" fmla="*/ 84138 w 1189040"/>
                <a:gd name="connsiteY100" fmla="*/ 2576708 h 4723802"/>
                <a:gd name="connsiteX101" fmla="*/ 42069 w 1189040"/>
                <a:gd name="connsiteY101" fmla="*/ 2618777 h 4723802"/>
                <a:gd name="connsiteX102" fmla="*/ 0 w 1189040"/>
                <a:gd name="connsiteY102" fmla="*/ 2576708 h 4723802"/>
                <a:gd name="connsiteX103" fmla="*/ 0 w 1189040"/>
                <a:gd name="connsiteY103" fmla="*/ 2156021 h 4723802"/>
                <a:gd name="connsiteX104" fmla="*/ 42069 w 1189040"/>
                <a:gd name="connsiteY104" fmla="*/ 2113952 h 4723802"/>
                <a:gd name="connsiteX105" fmla="*/ 1139826 w 1189040"/>
                <a:gd name="connsiteY105" fmla="*/ 1061441 h 4723802"/>
                <a:gd name="connsiteX106" fmla="*/ 1182688 w 1189040"/>
                <a:gd name="connsiteY106" fmla="*/ 1103667 h 4723802"/>
                <a:gd name="connsiteX107" fmla="*/ 1182688 w 1189040"/>
                <a:gd name="connsiteY107" fmla="*/ 1525627 h 4723802"/>
                <a:gd name="connsiteX108" fmla="*/ 1139826 w 1189040"/>
                <a:gd name="connsiteY108" fmla="*/ 1567854 h 4723802"/>
                <a:gd name="connsiteX109" fmla="*/ 1096963 w 1189040"/>
                <a:gd name="connsiteY109" fmla="*/ 1525627 h 4723802"/>
                <a:gd name="connsiteX110" fmla="*/ 1096963 w 1189040"/>
                <a:gd name="connsiteY110" fmla="*/ 1103667 h 4723802"/>
                <a:gd name="connsiteX111" fmla="*/ 1139826 w 1189040"/>
                <a:gd name="connsiteY111" fmla="*/ 1061441 h 4723802"/>
                <a:gd name="connsiteX112" fmla="*/ 591344 w 1189040"/>
                <a:gd name="connsiteY112" fmla="*/ 1061441 h 4723802"/>
                <a:gd name="connsiteX113" fmla="*/ 633413 w 1189040"/>
                <a:gd name="connsiteY113" fmla="*/ 1103667 h 4723802"/>
                <a:gd name="connsiteX114" fmla="*/ 633413 w 1189040"/>
                <a:gd name="connsiteY114" fmla="*/ 1525627 h 4723802"/>
                <a:gd name="connsiteX115" fmla="*/ 591344 w 1189040"/>
                <a:gd name="connsiteY115" fmla="*/ 1567854 h 4723802"/>
                <a:gd name="connsiteX116" fmla="*/ 549275 w 1189040"/>
                <a:gd name="connsiteY116" fmla="*/ 1525627 h 4723802"/>
                <a:gd name="connsiteX117" fmla="*/ 549275 w 1189040"/>
                <a:gd name="connsiteY117" fmla="*/ 1103667 h 4723802"/>
                <a:gd name="connsiteX118" fmla="*/ 591344 w 1189040"/>
                <a:gd name="connsiteY118" fmla="*/ 1061441 h 4723802"/>
                <a:gd name="connsiteX119" fmla="*/ 42069 w 1189040"/>
                <a:gd name="connsiteY119" fmla="*/ 1061441 h 4723802"/>
                <a:gd name="connsiteX120" fmla="*/ 84138 w 1189040"/>
                <a:gd name="connsiteY120" fmla="*/ 1103667 h 4723802"/>
                <a:gd name="connsiteX121" fmla="*/ 84138 w 1189040"/>
                <a:gd name="connsiteY121" fmla="*/ 1525627 h 4723802"/>
                <a:gd name="connsiteX122" fmla="*/ 42069 w 1189040"/>
                <a:gd name="connsiteY122" fmla="*/ 1567854 h 4723802"/>
                <a:gd name="connsiteX123" fmla="*/ 0 w 1189040"/>
                <a:gd name="connsiteY123" fmla="*/ 1525627 h 4723802"/>
                <a:gd name="connsiteX124" fmla="*/ 0 w 1189040"/>
                <a:gd name="connsiteY124" fmla="*/ 1103667 h 4723802"/>
                <a:gd name="connsiteX125" fmla="*/ 42069 w 1189040"/>
                <a:gd name="connsiteY125" fmla="*/ 1061441 h 4723802"/>
                <a:gd name="connsiteX126" fmla="*/ 866132 w 1189040"/>
                <a:gd name="connsiteY126" fmla="*/ 1061441 h 4723802"/>
                <a:gd name="connsiteX127" fmla="*/ 908051 w 1189040"/>
                <a:gd name="connsiteY127" fmla="*/ 1103667 h 4723802"/>
                <a:gd name="connsiteX128" fmla="*/ 908051 w 1189040"/>
                <a:gd name="connsiteY128" fmla="*/ 1525627 h 4723802"/>
                <a:gd name="connsiteX129" fmla="*/ 866132 w 1189040"/>
                <a:gd name="connsiteY129" fmla="*/ 1567853 h 4723802"/>
                <a:gd name="connsiteX130" fmla="*/ 823913 w 1189040"/>
                <a:gd name="connsiteY130" fmla="*/ 1525627 h 4723802"/>
                <a:gd name="connsiteX131" fmla="*/ 823913 w 1189040"/>
                <a:gd name="connsiteY131" fmla="*/ 1103667 h 4723802"/>
                <a:gd name="connsiteX132" fmla="*/ 866132 w 1189040"/>
                <a:gd name="connsiteY132" fmla="*/ 1061441 h 4723802"/>
                <a:gd name="connsiteX133" fmla="*/ 316707 w 1189040"/>
                <a:gd name="connsiteY133" fmla="*/ 1061441 h 4723802"/>
                <a:gd name="connsiteX134" fmla="*/ 358776 w 1189040"/>
                <a:gd name="connsiteY134" fmla="*/ 1103667 h 4723802"/>
                <a:gd name="connsiteX135" fmla="*/ 358776 w 1189040"/>
                <a:gd name="connsiteY135" fmla="*/ 1525627 h 4723802"/>
                <a:gd name="connsiteX136" fmla="*/ 316707 w 1189040"/>
                <a:gd name="connsiteY136" fmla="*/ 1567853 h 4723802"/>
                <a:gd name="connsiteX137" fmla="*/ 274638 w 1189040"/>
                <a:gd name="connsiteY137" fmla="*/ 1525627 h 4723802"/>
                <a:gd name="connsiteX138" fmla="*/ 274638 w 1189040"/>
                <a:gd name="connsiteY138" fmla="*/ 1103667 h 4723802"/>
                <a:gd name="connsiteX139" fmla="*/ 316707 w 1189040"/>
                <a:gd name="connsiteY139" fmla="*/ 1061441 h 4723802"/>
                <a:gd name="connsiteX140" fmla="*/ 823913 w 1189040"/>
                <a:gd name="connsiteY140" fmla="*/ 52584 h 4723802"/>
                <a:gd name="connsiteX141" fmla="*/ 908051 w 1189040"/>
                <a:gd name="connsiteY141" fmla="*/ 52584 h 4723802"/>
                <a:gd name="connsiteX142" fmla="*/ 908051 w 1189040"/>
                <a:gd name="connsiteY142" fmla="*/ 473272 h 4723802"/>
                <a:gd name="connsiteX143" fmla="*/ 823913 w 1189040"/>
                <a:gd name="connsiteY143" fmla="*/ 52584 h 4723802"/>
                <a:gd name="connsiteX144" fmla="*/ 549275 w 1189040"/>
                <a:gd name="connsiteY144" fmla="*/ 52584 h 4723802"/>
                <a:gd name="connsiteX145" fmla="*/ 633413 w 1189040"/>
                <a:gd name="connsiteY145" fmla="*/ 52584 h 4723802"/>
                <a:gd name="connsiteX146" fmla="*/ 549275 w 1189040"/>
                <a:gd name="connsiteY146" fmla="*/ 52584 h 4723802"/>
                <a:gd name="connsiteX147" fmla="*/ 1096963 w 1189040"/>
                <a:gd name="connsiteY147" fmla="*/ 52584 h 4723802"/>
                <a:gd name="connsiteX148" fmla="*/ 1182688 w 1189040"/>
                <a:gd name="connsiteY148" fmla="*/ 52584 h 4723802"/>
                <a:gd name="connsiteX149" fmla="*/ 1182688 w 1189040"/>
                <a:gd name="connsiteY149" fmla="*/ 473271 h 4723802"/>
                <a:gd name="connsiteX150" fmla="*/ 1139826 w 1189040"/>
                <a:gd name="connsiteY150" fmla="*/ 515340 h 4723802"/>
                <a:gd name="connsiteX151" fmla="*/ 1096963 w 1189040"/>
                <a:gd name="connsiteY151" fmla="*/ 473271 h 4723802"/>
                <a:gd name="connsiteX152" fmla="*/ 1096963 w 1189040"/>
                <a:gd name="connsiteY152" fmla="*/ 52584 h 4723802"/>
                <a:gd name="connsiteX0" fmla="*/ 1139826 w 1189040"/>
                <a:gd name="connsiteY0" fmla="*/ 4218977 h 4723802"/>
                <a:gd name="connsiteX1" fmla="*/ 1182688 w 1189040"/>
                <a:gd name="connsiteY1" fmla="*/ 4261046 h 4723802"/>
                <a:gd name="connsiteX2" fmla="*/ 1182688 w 1189040"/>
                <a:gd name="connsiteY2" fmla="*/ 4681733 h 4723802"/>
                <a:gd name="connsiteX3" fmla="*/ 1139826 w 1189040"/>
                <a:gd name="connsiteY3" fmla="*/ 4723802 h 4723802"/>
                <a:gd name="connsiteX4" fmla="*/ 1096963 w 1189040"/>
                <a:gd name="connsiteY4" fmla="*/ 4681733 h 4723802"/>
                <a:gd name="connsiteX5" fmla="*/ 1096963 w 1189040"/>
                <a:gd name="connsiteY5" fmla="*/ 4261046 h 4723802"/>
                <a:gd name="connsiteX6" fmla="*/ 1139826 w 1189040"/>
                <a:gd name="connsiteY6" fmla="*/ 4218977 h 4723802"/>
                <a:gd name="connsiteX7" fmla="*/ 866132 w 1189040"/>
                <a:gd name="connsiteY7" fmla="*/ 4218977 h 4723802"/>
                <a:gd name="connsiteX8" fmla="*/ 908051 w 1189040"/>
                <a:gd name="connsiteY8" fmla="*/ 4261046 h 4723802"/>
                <a:gd name="connsiteX9" fmla="*/ 908051 w 1189040"/>
                <a:gd name="connsiteY9" fmla="*/ 4681733 h 4723802"/>
                <a:gd name="connsiteX10" fmla="*/ 866132 w 1189040"/>
                <a:gd name="connsiteY10" fmla="*/ 4723802 h 4723802"/>
                <a:gd name="connsiteX11" fmla="*/ 823913 w 1189040"/>
                <a:gd name="connsiteY11" fmla="*/ 4681733 h 4723802"/>
                <a:gd name="connsiteX12" fmla="*/ 823913 w 1189040"/>
                <a:gd name="connsiteY12" fmla="*/ 4261046 h 4723802"/>
                <a:gd name="connsiteX13" fmla="*/ 866132 w 1189040"/>
                <a:gd name="connsiteY13" fmla="*/ 4218977 h 4723802"/>
                <a:gd name="connsiteX14" fmla="*/ 591344 w 1189040"/>
                <a:gd name="connsiteY14" fmla="*/ 4218977 h 4723802"/>
                <a:gd name="connsiteX15" fmla="*/ 633413 w 1189040"/>
                <a:gd name="connsiteY15" fmla="*/ 4261046 h 4723802"/>
                <a:gd name="connsiteX16" fmla="*/ 633413 w 1189040"/>
                <a:gd name="connsiteY16" fmla="*/ 4681733 h 4723802"/>
                <a:gd name="connsiteX17" fmla="*/ 591344 w 1189040"/>
                <a:gd name="connsiteY17" fmla="*/ 4723802 h 4723802"/>
                <a:gd name="connsiteX18" fmla="*/ 549275 w 1189040"/>
                <a:gd name="connsiteY18" fmla="*/ 4681733 h 4723802"/>
                <a:gd name="connsiteX19" fmla="*/ 549275 w 1189040"/>
                <a:gd name="connsiteY19" fmla="*/ 4261046 h 4723802"/>
                <a:gd name="connsiteX20" fmla="*/ 591344 w 1189040"/>
                <a:gd name="connsiteY20" fmla="*/ 4218977 h 4723802"/>
                <a:gd name="connsiteX21" fmla="*/ 316707 w 1189040"/>
                <a:gd name="connsiteY21" fmla="*/ 4218977 h 4723802"/>
                <a:gd name="connsiteX22" fmla="*/ 358776 w 1189040"/>
                <a:gd name="connsiteY22" fmla="*/ 4261046 h 4723802"/>
                <a:gd name="connsiteX23" fmla="*/ 358776 w 1189040"/>
                <a:gd name="connsiteY23" fmla="*/ 4681733 h 4723802"/>
                <a:gd name="connsiteX24" fmla="*/ 316707 w 1189040"/>
                <a:gd name="connsiteY24" fmla="*/ 4723802 h 4723802"/>
                <a:gd name="connsiteX25" fmla="*/ 274638 w 1189040"/>
                <a:gd name="connsiteY25" fmla="*/ 4681733 h 4723802"/>
                <a:gd name="connsiteX26" fmla="*/ 274638 w 1189040"/>
                <a:gd name="connsiteY26" fmla="*/ 4261046 h 4723802"/>
                <a:gd name="connsiteX27" fmla="*/ 316707 w 1189040"/>
                <a:gd name="connsiteY27" fmla="*/ 4218977 h 4723802"/>
                <a:gd name="connsiteX28" fmla="*/ 42069 w 1189040"/>
                <a:gd name="connsiteY28" fmla="*/ 4218977 h 4723802"/>
                <a:gd name="connsiteX29" fmla="*/ 84138 w 1189040"/>
                <a:gd name="connsiteY29" fmla="*/ 4261046 h 4723802"/>
                <a:gd name="connsiteX30" fmla="*/ 84138 w 1189040"/>
                <a:gd name="connsiteY30" fmla="*/ 4681733 h 4723802"/>
                <a:gd name="connsiteX31" fmla="*/ 42069 w 1189040"/>
                <a:gd name="connsiteY31" fmla="*/ 4723802 h 4723802"/>
                <a:gd name="connsiteX32" fmla="*/ 0 w 1189040"/>
                <a:gd name="connsiteY32" fmla="*/ 4681733 h 4723802"/>
                <a:gd name="connsiteX33" fmla="*/ 0 w 1189040"/>
                <a:gd name="connsiteY33" fmla="*/ 4261046 h 4723802"/>
                <a:gd name="connsiteX34" fmla="*/ 42069 w 1189040"/>
                <a:gd name="connsiteY34" fmla="*/ 4218977 h 4723802"/>
                <a:gd name="connsiteX35" fmla="*/ 1139826 w 1189040"/>
                <a:gd name="connsiteY35" fmla="*/ 3164877 h 4723802"/>
                <a:gd name="connsiteX36" fmla="*/ 1182688 w 1189040"/>
                <a:gd name="connsiteY36" fmla="*/ 3207078 h 4723802"/>
                <a:gd name="connsiteX37" fmla="*/ 1182688 w 1189040"/>
                <a:gd name="connsiteY37" fmla="*/ 3629089 h 4723802"/>
                <a:gd name="connsiteX38" fmla="*/ 1139826 w 1189040"/>
                <a:gd name="connsiteY38" fmla="*/ 3671290 h 4723802"/>
                <a:gd name="connsiteX39" fmla="*/ 1096963 w 1189040"/>
                <a:gd name="connsiteY39" fmla="*/ 3629089 h 4723802"/>
                <a:gd name="connsiteX40" fmla="*/ 1096963 w 1189040"/>
                <a:gd name="connsiteY40" fmla="*/ 3207078 h 4723802"/>
                <a:gd name="connsiteX41" fmla="*/ 1139826 w 1189040"/>
                <a:gd name="connsiteY41" fmla="*/ 3164877 h 4723802"/>
                <a:gd name="connsiteX42" fmla="*/ 866132 w 1189040"/>
                <a:gd name="connsiteY42" fmla="*/ 3164877 h 4723802"/>
                <a:gd name="connsiteX43" fmla="*/ 908051 w 1189040"/>
                <a:gd name="connsiteY43" fmla="*/ 3207078 h 4723802"/>
                <a:gd name="connsiteX44" fmla="*/ 908051 w 1189040"/>
                <a:gd name="connsiteY44" fmla="*/ 3629089 h 4723802"/>
                <a:gd name="connsiteX45" fmla="*/ 866132 w 1189040"/>
                <a:gd name="connsiteY45" fmla="*/ 3671290 h 4723802"/>
                <a:gd name="connsiteX46" fmla="*/ 823913 w 1189040"/>
                <a:gd name="connsiteY46" fmla="*/ 3629089 h 4723802"/>
                <a:gd name="connsiteX47" fmla="*/ 823913 w 1189040"/>
                <a:gd name="connsiteY47" fmla="*/ 3207078 h 4723802"/>
                <a:gd name="connsiteX48" fmla="*/ 866132 w 1189040"/>
                <a:gd name="connsiteY48" fmla="*/ 3164877 h 4723802"/>
                <a:gd name="connsiteX49" fmla="*/ 591344 w 1189040"/>
                <a:gd name="connsiteY49" fmla="*/ 3164877 h 4723802"/>
                <a:gd name="connsiteX50" fmla="*/ 633413 w 1189040"/>
                <a:gd name="connsiteY50" fmla="*/ 3207078 h 4723802"/>
                <a:gd name="connsiteX51" fmla="*/ 633413 w 1189040"/>
                <a:gd name="connsiteY51" fmla="*/ 3629089 h 4723802"/>
                <a:gd name="connsiteX52" fmla="*/ 591344 w 1189040"/>
                <a:gd name="connsiteY52" fmla="*/ 3671290 h 4723802"/>
                <a:gd name="connsiteX53" fmla="*/ 549275 w 1189040"/>
                <a:gd name="connsiteY53" fmla="*/ 3629089 h 4723802"/>
                <a:gd name="connsiteX54" fmla="*/ 549275 w 1189040"/>
                <a:gd name="connsiteY54" fmla="*/ 3207078 h 4723802"/>
                <a:gd name="connsiteX55" fmla="*/ 591344 w 1189040"/>
                <a:gd name="connsiteY55" fmla="*/ 3164877 h 4723802"/>
                <a:gd name="connsiteX56" fmla="*/ 316707 w 1189040"/>
                <a:gd name="connsiteY56" fmla="*/ 3164877 h 4723802"/>
                <a:gd name="connsiteX57" fmla="*/ 358776 w 1189040"/>
                <a:gd name="connsiteY57" fmla="*/ 3207078 h 4723802"/>
                <a:gd name="connsiteX58" fmla="*/ 358776 w 1189040"/>
                <a:gd name="connsiteY58" fmla="*/ 3629089 h 4723802"/>
                <a:gd name="connsiteX59" fmla="*/ 316707 w 1189040"/>
                <a:gd name="connsiteY59" fmla="*/ 3671290 h 4723802"/>
                <a:gd name="connsiteX60" fmla="*/ 274638 w 1189040"/>
                <a:gd name="connsiteY60" fmla="*/ 3629089 h 4723802"/>
                <a:gd name="connsiteX61" fmla="*/ 274638 w 1189040"/>
                <a:gd name="connsiteY61" fmla="*/ 3207078 h 4723802"/>
                <a:gd name="connsiteX62" fmla="*/ 316707 w 1189040"/>
                <a:gd name="connsiteY62" fmla="*/ 3164877 h 4723802"/>
                <a:gd name="connsiteX63" fmla="*/ 42069 w 1189040"/>
                <a:gd name="connsiteY63" fmla="*/ 3164877 h 4723802"/>
                <a:gd name="connsiteX64" fmla="*/ 84138 w 1189040"/>
                <a:gd name="connsiteY64" fmla="*/ 3207078 h 4723802"/>
                <a:gd name="connsiteX65" fmla="*/ 84138 w 1189040"/>
                <a:gd name="connsiteY65" fmla="*/ 3629089 h 4723802"/>
                <a:gd name="connsiteX66" fmla="*/ 42069 w 1189040"/>
                <a:gd name="connsiteY66" fmla="*/ 3671290 h 4723802"/>
                <a:gd name="connsiteX67" fmla="*/ 0 w 1189040"/>
                <a:gd name="connsiteY67" fmla="*/ 3629089 h 4723802"/>
                <a:gd name="connsiteX68" fmla="*/ 0 w 1189040"/>
                <a:gd name="connsiteY68" fmla="*/ 3207078 h 4723802"/>
                <a:gd name="connsiteX69" fmla="*/ 42069 w 1189040"/>
                <a:gd name="connsiteY69" fmla="*/ 3164877 h 4723802"/>
                <a:gd name="connsiteX70" fmla="*/ 1139826 w 1189040"/>
                <a:gd name="connsiteY70" fmla="*/ 2113952 h 4723802"/>
                <a:gd name="connsiteX71" fmla="*/ 1182688 w 1189040"/>
                <a:gd name="connsiteY71" fmla="*/ 2156021 h 4723802"/>
                <a:gd name="connsiteX72" fmla="*/ 1182688 w 1189040"/>
                <a:gd name="connsiteY72" fmla="*/ 2576708 h 4723802"/>
                <a:gd name="connsiteX73" fmla="*/ 1139826 w 1189040"/>
                <a:gd name="connsiteY73" fmla="*/ 2618777 h 4723802"/>
                <a:gd name="connsiteX74" fmla="*/ 1096963 w 1189040"/>
                <a:gd name="connsiteY74" fmla="*/ 2576708 h 4723802"/>
                <a:gd name="connsiteX75" fmla="*/ 1096963 w 1189040"/>
                <a:gd name="connsiteY75" fmla="*/ 2156021 h 4723802"/>
                <a:gd name="connsiteX76" fmla="*/ 1139826 w 1189040"/>
                <a:gd name="connsiteY76" fmla="*/ 2113952 h 4723802"/>
                <a:gd name="connsiteX77" fmla="*/ 866132 w 1189040"/>
                <a:gd name="connsiteY77" fmla="*/ 2113952 h 4723802"/>
                <a:gd name="connsiteX78" fmla="*/ 908051 w 1189040"/>
                <a:gd name="connsiteY78" fmla="*/ 2156021 h 4723802"/>
                <a:gd name="connsiteX79" fmla="*/ 908051 w 1189040"/>
                <a:gd name="connsiteY79" fmla="*/ 2576708 h 4723802"/>
                <a:gd name="connsiteX80" fmla="*/ 866132 w 1189040"/>
                <a:gd name="connsiteY80" fmla="*/ 2618777 h 4723802"/>
                <a:gd name="connsiteX81" fmla="*/ 823913 w 1189040"/>
                <a:gd name="connsiteY81" fmla="*/ 2576708 h 4723802"/>
                <a:gd name="connsiteX82" fmla="*/ 823913 w 1189040"/>
                <a:gd name="connsiteY82" fmla="*/ 2156021 h 4723802"/>
                <a:gd name="connsiteX83" fmla="*/ 866132 w 1189040"/>
                <a:gd name="connsiteY83" fmla="*/ 2113952 h 4723802"/>
                <a:gd name="connsiteX84" fmla="*/ 591344 w 1189040"/>
                <a:gd name="connsiteY84" fmla="*/ 2113952 h 4723802"/>
                <a:gd name="connsiteX85" fmla="*/ 633413 w 1189040"/>
                <a:gd name="connsiteY85" fmla="*/ 2156021 h 4723802"/>
                <a:gd name="connsiteX86" fmla="*/ 633413 w 1189040"/>
                <a:gd name="connsiteY86" fmla="*/ 2576708 h 4723802"/>
                <a:gd name="connsiteX87" fmla="*/ 591344 w 1189040"/>
                <a:gd name="connsiteY87" fmla="*/ 2618777 h 4723802"/>
                <a:gd name="connsiteX88" fmla="*/ 549275 w 1189040"/>
                <a:gd name="connsiteY88" fmla="*/ 2576708 h 4723802"/>
                <a:gd name="connsiteX89" fmla="*/ 549275 w 1189040"/>
                <a:gd name="connsiteY89" fmla="*/ 2156021 h 4723802"/>
                <a:gd name="connsiteX90" fmla="*/ 591344 w 1189040"/>
                <a:gd name="connsiteY90" fmla="*/ 2113952 h 4723802"/>
                <a:gd name="connsiteX91" fmla="*/ 316707 w 1189040"/>
                <a:gd name="connsiteY91" fmla="*/ 2113952 h 4723802"/>
                <a:gd name="connsiteX92" fmla="*/ 358776 w 1189040"/>
                <a:gd name="connsiteY92" fmla="*/ 2156021 h 4723802"/>
                <a:gd name="connsiteX93" fmla="*/ 358776 w 1189040"/>
                <a:gd name="connsiteY93" fmla="*/ 2576708 h 4723802"/>
                <a:gd name="connsiteX94" fmla="*/ 316707 w 1189040"/>
                <a:gd name="connsiteY94" fmla="*/ 2618777 h 4723802"/>
                <a:gd name="connsiteX95" fmla="*/ 274638 w 1189040"/>
                <a:gd name="connsiteY95" fmla="*/ 2576708 h 4723802"/>
                <a:gd name="connsiteX96" fmla="*/ 274638 w 1189040"/>
                <a:gd name="connsiteY96" fmla="*/ 2156021 h 4723802"/>
                <a:gd name="connsiteX97" fmla="*/ 316707 w 1189040"/>
                <a:gd name="connsiteY97" fmla="*/ 2113952 h 4723802"/>
                <a:gd name="connsiteX98" fmla="*/ 42069 w 1189040"/>
                <a:gd name="connsiteY98" fmla="*/ 2113952 h 4723802"/>
                <a:gd name="connsiteX99" fmla="*/ 84138 w 1189040"/>
                <a:gd name="connsiteY99" fmla="*/ 2156021 h 4723802"/>
                <a:gd name="connsiteX100" fmla="*/ 84138 w 1189040"/>
                <a:gd name="connsiteY100" fmla="*/ 2576708 h 4723802"/>
                <a:gd name="connsiteX101" fmla="*/ 42069 w 1189040"/>
                <a:gd name="connsiteY101" fmla="*/ 2618777 h 4723802"/>
                <a:gd name="connsiteX102" fmla="*/ 0 w 1189040"/>
                <a:gd name="connsiteY102" fmla="*/ 2576708 h 4723802"/>
                <a:gd name="connsiteX103" fmla="*/ 0 w 1189040"/>
                <a:gd name="connsiteY103" fmla="*/ 2156021 h 4723802"/>
                <a:gd name="connsiteX104" fmla="*/ 42069 w 1189040"/>
                <a:gd name="connsiteY104" fmla="*/ 2113952 h 4723802"/>
                <a:gd name="connsiteX105" fmla="*/ 1139826 w 1189040"/>
                <a:gd name="connsiteY105" fmla="*/ 1061441 h 4723802"/>
                <a:gd name="connsiteX106" fmla="*/ 1182688 w 1189040"/>
                <a:gd name="connsiteY106" fmla="*/ 1103667 h 4723802"/>
                <a:gd name="connsiteX107" fmla="*/ 1182688 w 1189040"/>
                <a:gd name="connsiteY107" fmla="*/ 1525627 h 4723802"/>
                <a:gd name="connsiteX108" fmla="*/ 1139826 w 1189040"/>
                <a:gd name="connsiteY108" fmla="*/ 1567854 h 4723802"/>
                <a:gd name="connsiteX109" fmla="*/ 1096963 w 1189040"/>
                <a:gd name="connsiteY109" fmla="*/ 1525627 h 4723802"/>
                <a:gd name="connsiteX110" fmla="*/ 1096963 w 1189040"/>
                <a:gd name="connsiteY110" fmla="*/ 1103667 h 4723802"/>
                <a:gd name="connsiteX111" fmla="*/ 1139826 w 1189040"/>
                <a:gd name="connsiteY111" fmla="*/ 1061441 h 4723802"/>
                <a:gd name="connsiteX112" fmla="*/ 591344 w 1189040"/>
                <a:gd name="connsiteY112" fmla="*/ 1061441 h 4723802"/>
                <a:gd name="connsiteX113" fmla="*/ 633413 w 1189040"/>
                <a:gd name="connsiteY113" fmla="*/ 1103667 h 4723802"/>
                <a:gd name="connsiteX114" fmla="*/ 633413 w 1189040"/>
                <a:gd name="connsiteY114" fmla="*/ 1525627 h 4723802"/>
                <a:gd name="connsiteX115" fmla="*/ 591344 w 1189040"/>
                <a:gd name="connsiteY115" fmla="*/ 1567854 h 4723802"/>
                <a:gd name="connsiteX116" fmla="*/ 549275 w 1189040"/>
                <a:gd name="connsiteY116" fmla="*/ 1525627 h 4723802"/>
                <a:gd name="connsiteX117" fmla="*/ 549275 w 1189040"/>
                <a:gd name="connsiteY117" fmla="*/ 1103667 h 4723802"/>
                <a:gd name="connsiteX118" fmla="*/ 591344 w 1189040"/>
                <a:gd name="connsiteY118" fmla="*/ 1061441 h 4723802"/>
                <a:gd name="connsiteX119" fmla="*/ 42069 w 1189040"/>
                <a:gd name="connsiteY119" fmla="*/ 1061441 h 4723802"/>
                <a:gd name="connsiteX120" fmla="*/ 84138 w 1189040"/>
                <a:gd name="connsiteY120" fmla="*/ 1103667 h 4723802"/>
                <a:gd name="connsiteX121" fmla="*/ 84138 w 1189040"/>
                <a:gd name="connsiteY121" fmla="*/ 1525627 h 4723802"/>
                <a:gd name="connsiteX122" fmla="*/ 42069 w 1189040"/>
                <a:gd name="connsiteY122" fmla="*/ 1567854 h 4723802"/>
                <a:gd name="connsiteX123" fmla="*/ 0 w 1189040"/>
                <a:gd name="connsiteY123" fmla="*/ 1525627 h 4723802"/>
                <a:gd name="connsiteX124" fmla="*/ 0 w 1189040"/>
                <a:gd name="connsiteY124" fmla="*/ 1103667 h 4723802"/>
                <a:gd name="connsiteX125" fmla="*/ 42069 w 1189040"/>
                <a:gd name="connsiteY125" fmla="*/ 1061441 h 4723802"/>
                <a:gd name="connsiteX126" fmla="*/ 866132 w 1189040"/>
                <a:gd name="connsiteY126" fmla="*/ 1061441 h 4723802"/>
                <a:gd name="connsiteX127" fmla="*/ 908051 w 1189040"/>
                <a:gd name="connsiteY127" fmla="*/ 1103667 h 4723802"/>
                <a:gd name="connsiteX128" fmla="*/ 908051 w 1189040"/>
                <a:gd name="connsiteY128" fmla="*/ 1525627 h 4723802"/>
                <a:gd name="connsiteX129" fmla="*/ 866132 w 1189040"/>
                <a:gd name="connsiteY129" fmla="*/ 1567853 h 4723802"/>
                <a:gd name="connsiteX130" fmla="*/ 823913 w 1189040"/>
                <a:gd name="connsiteY130" fmla="*/ 1525627 h 4723802"/>
                <a:gd name="connsiteX131" fmla="*/ 823913 w 1189040"/>
                <a:gd name="connsiteY131" fmla="*/ 1103667 h 4723802"/>
                <a:gd name="connsiteX132" fmla="*/ 866132 w 1189040"/>
                <a:gd name="connsiteY132" fmla="*/ 1061441 h 4723802"/>
                <a:gd name="connsiteX133" fmla="*/ 316707 w 1189040"/>
                <a:gd name="connsiteY133" fmla="*/ 1061441 h 4723802"/>
                <a:gd name="connsiteX134" fmla="*/ 358776 w 1189040"/>
                <a:gd name="connsiteY134" fmla="*/ 1103667 h 4723802"/>
                <a:gd name="connsiteX135" fmla="*/ 358776 w 1189040"/>
                <a:gd name="connsiteY135" fmla="*/ 1525627 h 4723802"/>
                <a:gd name="connsiteX136" fmla="*/ 316707 w 1189040"/>
                <a:gd name="connsiteY136" fmla="*/ 1567853 h 4723802"/>
                <a:gd name="connsiteX137" fmla="*/ 274638 w 1189040"/>
                <a:gd name="connsiteY137" fmla="*/ 1525627 h 4723802"/>
                <a:gd name="connsiteX138" fmla="*/ 274638 w 1189040"/>
                <a:gd name="connsiteY138" fmla="*/ 1103667 h 4723802"/>
                <a:gd name="connsiteX139" fmla="*/ 316707 w 1189040"/>
                <a:gd name="connsiteY139" fmla="*/ 1061441 h 4723802"/>
                <a:gd name="connsiteX140" fmla="*/ 823913 w 1189040"/>
                <a:gd name="connsiteY140" fmla="*/ 52584 h 4723802"/>
                <a:gd name="connsiteX141" fmla="*/ 908051 w 1189040"/>
                <a:gd name="connsiteY141" fmla="*/ 52584 h 4723802"/>
                <a:gd name="connsiteX142" fmla="*/ 823913 w 1189040"/>
                <a:gd name="connsiteY142" fmla="*/ 52584 h 4723802"/>
                <a:gd name="connsiteX143" fmla="*/ 549275 w 1189040"/>
                <a:gd name="connsiteY143" fmla="*/ 52584 h 4723802"/>
                <a:gd name="connsiteX144" fmla="*/ 633413 w 1189040"/>
                <a:gd name="connsiteY144" fmla="*/ 52584 h 4723802"/>
                <a:gd name="connsiteX145" fmla="*/ 549275 w 1189040"/>
                <a:gd name="connsiteY145" fmla="*/ 52584 h 4723802"/>
                <a:gd name="connsiteX146" fmla="*/ 1096963 w 1189040"/>
                <a:gd name="connsiteY146" fmla="*/ 52584 h 4723802"/>
                <a:gd name="connsiteX147" fmla="*/ 1182688 w 1189040"/>
                <a:gd name="connsiteY147" fmla="*/ 52584 h 4723802"/>
                <a:gd name="connsiteX148" fmla="*/ 1182688 w 1189040"/>
                <a:gd name="connsiteY148" fmla="*/ 473271 h 4723802"/>
                <a:gd name="connsiteX149" fmla="*/ 1139826 w 1189040"/>
                <a:gd name="connsiteY149" fmla="*/ 515340 h 4723802"/>
                <a:gd name="connsiteX150" fmla="*/ 1096963 w 1189040"/>
                <a:gd name="connsiteY150" fmla="*/ 473271 h 4723802"/>
                <a:gd name="connsiteX151" fmla="*/ 1096963 w 1189040"/>
                <a:gd name="connsiteY151" fmla="*/ 52584 h 4723802"/>
                <a:gd name="connsiteX0" fmla="*/ 1139826 w 1189040"/>
                <a:gd name="connsiteY0" fmla="*/ 4221638 h 4726463"/>
                <a:gd name="connsiteX1" fmla="*/ 1182688 w 1189040"/>
                <a:gd name="connsiteY1" fmla="*/ 4263707 h 4726463"/>
                <a:gd name="connsiteX2" fmla="*/ 1182688 w 1189040"/>
                <a:gd name="connsiteY2" fmla="*/ 4684394 h 4726463"/>
                <a:gd name="connsiteX3" fmla="*/ 1139826 w 1189040"/>
                <a:gd name="connsiteY3" fmla="*/ 4726463 h 4726463"/>
                <a:gd name="connsiteX4" fmla="*/ 1096963 w 1189040"/>
                <a:gd name="connsiteY4" fmla="*/ 4684394 h 4726463"/>
                <a:gd name="connsiteX5" fmla="*/ 1096963 w 1189040"/>
                <a:gd name="connsiteY5" fmla="*/ 4263707 h 4726463"/>
                <a:gd name="connsiteX6" fmla="*/ 1139826 w 1189040"/>
                <a:gd name="connsiteY6" fmla="*/ 4221638 h 4726463"/>
                <a:gd name="connsiteX7" fmla="*/ 866132 w 1189040"/>
                <a:gd name="connsiteY7" fmla="*/ 4221638 h 4726463"/>
                <a:gd name="connsiteX8" fmla="*/ 908051 w 1189040"/>
                <a:gd name="connsiteY8" fmla="*/ 4263707 h 4726463"/>
                <a:gd name="connsiteX9" fmla="*/ 908051 w 1189040"/>
                <a:gd name="connsiteY9" fmla="*/ 4684394 h 4726463"/>
                <a:gd name="connsiteX10" fmla="*/ 866132 w 1189040"/>
                <a:gd name="connsiteY10" fmla="*/ 4726463 h 4726463"/>
                <a:gd name="connsiteX11" fmla="*/ 823913 w 1189040"/>
                <a:gd name="connsiteY11" fmla="*/ 4684394 h 4726463"/>
                <a:gd name="connsiteX12" fmla="*/ 823913 w 1189040"/>
                <a:gd name="connsiteY12" fmla="*/ 4263707 h 4726463"/>
                <a:gd name="connsiteX13" fmla="*/ 866132 w 1189040"/>
                <a:gd name="connsiteY13" fmla="*/ 4221638 h 4726463"/>
                <a:gd name="connsiteX14" fmla="*/ 591344 w 1189040"/>
                <a:gd name="connsiteY14" fmla="*/ 4221638 h 4726463"/>
                <a:gd name="connsiteX15" fmla="*/ 633413 w 1189040"/>
                <a:gd name="connsiteY15" fmla="*/ 4263707 h 4726463"/>
                <a:gd name="connsiteX16" fmla="*/ 633413 w 1189040"/>
                <a:gd name="connsiteY16" fmla="*/ 4684394 h 4726463"/>
                <a:gd name="connsiteX17" fmla="*/ 591344 w 1189040"/>
                <a:gd name="connsiteY17" fmla="*/ 4726463 h 4726463"/>
                <a:gd name="connsiteX18" fmla="*/ 549275 w 1189040"/>
                <a:gd name="connsiteY18" fmla="*/ 4684394 h 4726463"/>
                <a:gd name="connsiteX19" fmla="*/ 549275 w 1189040"/>
                <a:gd name="connsiteY19" fmla="*/ 4263707 h 4726463"/>
                <a:gd name="connsiteX20" fmla="*/ 591344 w 1189040"/>
                <a:gd name="connsiteY20" fmla="*/ 4221638 h 4726463"/>
                <a:gd name="connsiteX21" fmla="*/ 316707 w 1189040"/>
                <a:gd name="connsiteY21" fmla="*/ 4221638 h 4726463"/>
                <a:gd name="connsiteX22" fmla="*/ 358776 w 1189040"/>
                <a:gd name="connsiteY22" fmla="*/ 4263707 h 4726463"/>
                <a:gd name="connsiteX23" fmla="*/ 358776 w 1189040"/>
                <a:gd name="connsiteY23" fmla="*/ 4684394 h 4726463"/>
                <a:gd name="connsiteX24" fmla="*/ 316707 w 1189040"/>
                <a:gd name="connsiteY24" fmla="*/ 4726463 h 4726463"/>
                <a:gd name="connsiteX25" fmla="*/ 274638 w 1189040"/>
                <a:gd name="connsiteY25" fmla="*/ 4684394 h 4726463"/>
                <a:gd name="connsiteX26" fmla="*/ 274638 w 1189040"/>
                <a:gd name="connsiteY26" fmla="*/ 4263707 h 4726463"/>
                <a:gd name="connsiteX27" fmla="*/ 316707 w 1189040"/>
                <a:gd name="connsiteY27" fmla="*/ 4221638 h 4726463"/>
                <a:gd name="connsiteX28" fmla="*/ 42069 w 1189040"/>
                <a:gd name="connsiteY28" fmla="*/ 4221638 h 4726463"/>
                <a:gd name="connsiteX29" fmla="*/ 84138 w 1189040"/>
                <a:gd name="connsiteY29" fmla="*/ 4263707 h 4726463"/>
                <a:gd name="connsiteX30" fmla="*/ 84138 w 1189040"/>
                <a:gd name="connsiteY30" fmla="*/ 4684394 h 4726463"/>
                <a:gd name="connsiteX31" fmla="*/ 42069 w 1189040"/>
                <a:gd name="connsiteY31" fmla="*/ 4726463 h 4726463"/>
                <a:gd name="connsiteX32" fmla="*/ 0 w 1189040"/>
                <a:gd name="connsiteY32" fmla="*/ 4684394 h 4726463"/>
                <a:gd name="connsiteX33" fmla="*/ 0 w 1189040"/>
                <a:gd name="connsiteY33" fmla="*/ 4263707 h 4726463"/>
                <a:gd name="connsiteX34" fmla="*/ 42069 w 1189040"/>
                <a:gd name="connsiteY34" fmla="*/ 4221638 h 4726463"/>
                <a:gd name="connsiteX35" fmla="*/ 1139826 w 1189040"/>
                <a:gd name="connsiteY35" fmla="*/ 3167538 h 4726463"/>
                <a:gd name="connsiteX36" fmla="*/ 1182688 w 1189040"/>
                <a:gd name="connsiteY36" fmla="*/ 3209739 h 4726463"/>
                <a:gd name="connsiteX37" fmla="*/ 1182688 w 1189040"/>
                <a:gd name="connsiteY37" fmla="*/ 3631750 h 4726463"/>
                <a:gd name="connsiteX38" fmla="*/ 1139826 w 1189040"/>
                <a:gd name="connsiteY38" fmla="*/ 3673951 h 4726463"/>
                <a:gd name="connsiteX39" fmla="*/ 1096963 w 1189040"/>
                <a:gd name="connsiteY39" fmla="*/ 3631750 h 4726463"/>
                <a:gd name="connsiteX40" fmla="*/ 1096963 w 1189040"/>
                <a:gd name="connsiteY40" fmla="*/ 3209739 h 4726463"/>
                <a:gd name="connsiteX41" fmla="*/ 1139826 w 1189040"/>
                <a:gd name="connsiteY41" fmla="*/ 3167538 h 4726463"/>
                <a:gd name="connsiteX42" fmla="*/ 866132 w 1189040"/>
                <a:gd name="connsiteY42" fmla="*/ 3167538 h 4726463"/>
                <a:gd name="connsiteX43" fmla="*/ 908051 w 1189040"/>
                <a:gd name="connsiteY43" fmla="*/ 3209739 h 4726463"/>
                <a:gd name="connsiteX44" fmla="*/ 908051 w 1189040"/>
                <a:gd name="connsiteY44" fmla="*/ 3631750 h 4726463"/>
                <a:gd name="connsiteX45" fmla="*/ 866132 w 1189040"/>
                <a:gd name="connsiteY45" fmla="*/ 3673951 h 4726463"/>
                <a:gd name="connsiteX46" fmla="*/ 823913 w 1189040"/>
                <a:gd name="connsiteY46" fmla="*/ 3631750 h 4726463"/>
                <a:gd name="connsiteX47" fmla="*/ 823913 w 1189040"/>
                <a:gd name="connsiteY47" fmla="*/ 3209739 h 4726463"/>
                <a:gd name="connsiteX48" fmla="*/ 866132 w 1189040"/>
                <a:gd name="connsiteY48" fmla="*/ 3167538 h 4726463"/>
                <a:gd name="connsiteX49" fmla="*/ 591344 w 1189040"/>
                <a:gd name="connsiteY49" fmla="*/ 3167538 h 4726463"/>
                <a:gd name="connsiteX50" fmla="*/ 633413 w 1189040"/>
                <a:gd name="connsiteY50" fmla="*/ 3209739 h 4726463"/>
                <a:gd name="connsiteX51" fmla="*/ 633413 w 1189040"/>
                <a:gd name="connsiteY51" fmla="*/ 3631750 h 4726463"/>
                <a:gd name="connsiteX52" fmla="*/ 591344 w 1189040"/>
                <a:gd name="connsiteY52" fmla="*/ 3673951 h 4726463"/>
                <a:gd name="connsiteX53" fmla="*/ 549275 w 1189040"/>
                <a:gd name="connsiteY53" fmla="*/ 3631750 h 4726463"/>
                <a:gd name="connsiteX54" fmla="*/ 549275 w 1189040"/>
                <a:gd name="connsiteY54" fmla="*/ 3209739 h 4726463"/>
                <a:gd name="connsiteX55" fmla="*/ 591344 w 1189040"/>
                <a:gd name="connsiteY55" fmla="*/ 3167538 h 4726463"/>
                <a:gd name="connsiteX56" fmla="*/ 316707 w 1189040"/>
                <a:gd name="connsiteY56" fmla="*/ 3167538 h 4726463"/>
                <a:gd name="connsiteX57" fmla="*/ 358776 w 1189040"/>
                <a:gd name="connsiteY57" fmla="*/ 3209739 h 4726463"/>
                <a:gd name="connsiteX58" fmla="*/ 358776 w 1189040"/>
                <a:gd name="connsiteY58" fmla="*/ 3631750 h 4726463"/>
                <a:gd name="connsiteX59" fmla="*/ 316707 w 1189040"/>
                <a:gd name="connsiteY59" fmla="*/ 3673951 h 4726463"/>
                <a:gd name="connsiteX60" fmla="*/ 274638 w 1189040"/>
                <a:gd name="connsiteY60" fmla="*/ 3631750 h 4726463"/>
                <a:gd name="connsiteX61" fmla="*/ 274638 w 1189040"/>
                <a:gd name="connsiteY61" fmla="*/ 3209739 h 4726463"/>
                <a:gd name="connsiteX62" fmla="*/ 316707 w 1189040"/>
                <a:gd name="connsiteY62" fmla="*/ 3167538 h 4726463"/>
                <a:gd name="connsiteX63" fmla="*/ 42069 w 1189040"/>
                <a:gd name="connsiteY63" fmla="*/ 3167538 h 4726463"/>
                <a:gd name="connsiteX64" fmla="*/ 84138 w 1189040"/>
                <a:gd name="connsiteY64" fmla="*/ 3209739 h 4726463"/>
                <a:gd name="connsiteX65" fmla="*/ 84138 w 1189040"/>
                <a:gd name="connsiteY65" fmla="*/ 3631750 h 4726463"/>
                <a:gd name="connsiteX66" fmla="*/ 42069 w 1189040"/>
                <a:gd name="connsiteY66" fmla="*/ 3673951 h 4726463"/>
                <a:gd name="connsiteX67" fmla="*/ 0 w 1189040"/>
                <a:gd name="connsiteY67" fmla="*/ 3631750 h 4726463"/>
                <a:gd name="connsiteX68" fmla="*/ 0 w 1189040"/>
                <a:gd name="connsiteY68" fmla="*/ 3209739 h 4726463"/>
                <a:gd name="connsiteX69" fmla="*/ 42069 w 1189040"/>
                <a:gd name="connsiteY69" fmla="*/ 3167538 h 4726463"/>
                <a:gd name="connsiteX70" fmla="*/ 1139826 w 1189040"/>
                <a:gd name="connsiteY70" fmla="*/ 2116613 h 4726463"/>
                <a:gd name="connsiteX71" fmla="*/ 1182688 w 1189040"/>
                <a:gd name="connsiteY71" fmla="*/ 2158682 h 4726463"/>
                <a:gd name="connsiteX72" fmla="*/ 1182688 w 1189040"/>
                <a:gd name="connsiteY72" fmla="*/ 2579369 h 4726463"/>
                <a:gd name="connsiteX73" fmla="*/ 1139826 w 1189040"/>
                <a:gd name="connsiteY73" fmla="*/ 2621438 h 4726463"/>
                <a:gd name="connsiteX74" fmla="*/ 1096963 w 1189040"/>
                <a:gd name="connsiteY74" fmla="*/ 2579369 h 4726463"/>
                <a:gd name="connsiteX75" fmla="*/ 1096963 w 1189040"/>
                <a:gd name="connsiteY75" fmla="*/ 2158682 h 4726463"/>
                <a:gd name="connsiteX76" fmla="*/ 1139826 w 1189040"/>
                <a:gd name="connsiteY76" fmla="*/ 2116613 h 4726463"/>
                <a:gd name="connsiteX77" fmla="*/ 866132 w 1189040"/>
                <a:gd name="connsiteY77" fmla="*/ 2116613 h 4726463"/>
                <a:gd name="connsiteX78" fmla="*/ 908051 w 1189040"/>
                <a:gd name="connsiteY78" fmla="*/ 2158682 h 4726463"/>
                <a:gd name="connsiteX79" fmla="*/ 908051 w 1189040"/>
                <a:gd name="connsiteY79" fmla="*/ 2579369 h 4726463"/>
                <a:gd name="connsiteX80" fmla="*/ 866132 w 1189040"/>
                <a:gd name="connsiteY80" fmla="*/ 2621438 h 4726463"/>
                <a:gd name="connsiteX81" fmla="*/ 823913 w 1189040"/>
                <a:gd name="connsiteY81" fmla="*/ 2579369 h 4726463"/>
                <a:gd name="connsiteX82" fmla="*/ 823913 w 1189040"/>
                <a:gd name="connsiteY82" fmla="*/ 2158682 h 4726463"/>
                <a:gd name="connsiteX83" fmla="*/ 866132 w 1189040"/>
                <a:gd name="connsiteY83" fmla="*/ 2116613 h 4726463"/>
                <a:gd name="connsiteX84" fmla="*/ 591344 w 1189040"/>
                <a:gd name="connsiteY84" fmla="*/ 2116613 h 4726463"/>
                <a:gd name="connsiteX85" fmla="*/ 633413 w 1189040"/>
                <a:gd name="connsiteY85" fmla="*/ 2158682 h 4726463"/>
                <a:gd name="connsiteX86" fmla="*/ 633413 w 1189040"/>
                <a:gd name="connsiteY86" fmla="*/ 2579369 h 4726463"/>
                <a:gd name="connsiteX87" fmla="*/ 591344 w 1189040"/>
                <a:gd name="connsiteY87" fmla="*/ 2621438 h 4726463"/>
                <a:gd name="connsiteX88" fmla="*/ 549275 w 1189040"/>
                <a:gd name="connsiteY88" fmla="*/ 2579369 h 4726463"/>
                <a:gd name="connsiteX89" fmla="*/ 549275 w 1189040"/>
                <a:gd name="connsiteY89" fmla="*/ 2158682 h 4726463"/>
                <a:gd name="connsiteX90" fmla="*/ 591344 w 1189040"/>
                <a:gd name="connsiteY90" fmla="*/ 2116613 h 4726463"/>
                <a:gd name="connsiteX91" fmla="*/ 316707 w 1189040"/>
                <a:gd name="connsiteY91" fmla="*/ 2116613 h 4726463"/>
                <a:gd name="connsiteX92" fmla="*/ 358776 w 1189040"/>
                <a:gd name="connsiteY92" fmla="*/ 2158682 h 4726463"/>
                <a:gd name="connsiteX93" fmla="*/ 358776 w 1189040"/>
                <a:gd name="connsiteY93" fmla="*/ 2579369 h 4726463"/>
                <a:gd name="connsiteX94" fmla="*/ 316707 w 1189040"/>
                <a:gd name="connsiteY94" fmla="*/ 2621438 h 4726463"/>
                <a:gd name="connsiteX95" fmla="*/ 274638 w 1189040"/>
                <a:gd name="connsiteY95" fmla="*/ 2579369 h 4726463"/>
                <a:gd name="connsiteX96" fmla="*/ 274638 w 1189040"/>
                <a:gd name="connsiteY96" fmla="*/ 2158682 h 4726463"/>
                <a:gd name="connsiteX97" fmla="*/ 316707 w 1189040"/>
                <a:gd name="connsiteY97" fmla="*/ 2116613 h 4726463"/>
                <a:gd name="connsiteX98" fmla="*/ 42069 w 1189040"/>
                <a:gd name="connsiteY98" fmla="*/ 2116613 h 4726463"/>
                <a:gd name="connsiteX99" fmla="*/ 84138 w 1189040"/>
                <a:gd name="connsiteY99" fmla="*/ 2158682 h 4726463"/>
                <a:gd name="connsiteX100" fmla="*/ 84138 w 1189040"/>
                <a:gd name="connsiteY100" fmla="*/ 2579369 h 4726463"/>
                <a:gd name="connsiteX101" fmla="*/ 42069 w 1189040"/>
                <a:gd name="connsiteY101" fmla="*/ 2621438 h 4726463"/>
                <a:gd name="connsiteX102" fmla="*/ 0 w 1189040"/>
                <a:gd name="connsiteY102" fmla="*/ 2579369 h 4726463"/>
                <a:gd name="connsiteX103" fmla="*/ 0 w 1189040"/>
                <a:gd name="connsiteY103" fmla="*/ 2158682 h 4726463"/>
                <a:gd name="connsiteX104" fmla="*/ 42069 w 1189040"/>
                <a:gd name="connsiteY104" fmla="*/ 2116613 h 4726463"/>
                <a:gd name="connsiteX105" fmla="*/ 1139826 w 1189040"/>
                <a:gd name="connsiteY105" fmla="*/ 1064102 h 4726463"/>
                <a:gd name="connsiteX106" fmla="*/ 1182688 w 1189040"/>
                <a:gd name="connsiteY106" fmla="*/ 1106328 h 4726463"/>
                <a:gd name="connsiteX107" fmla="*/ 1182688 w 1189040"/>
                <a:gd name="connsiteY107" fmla="*/ 1528288 h 4726463"/>
                <a:gd name="connsiteX108" fmla="*/ 1139826 w 1189040"/>
                <a:gd name="connsiteY108" fmla="*/ 1570515 h 4726463"/>
                <a:gd name="connsiteX109" fmla="*/ 1096963 w 1189040"/>
                <a:gd name="connsiteY109" fmla="*/ 1528288 h 4726463"/>
                <a:gd name="connsiteX110" fmla="*/ 1096963 w 1189040"/>
                <a:gd name="connsiteY110" fmla="*/ 1106328 h 4726463"/>
                <a:gd name="connsiteX111" fmla="*/ 1139826 w 1189040"/>
                <a:gd name="connsiteY111" fmla="*/ 1064102 h 4726463"/>
                <a:gd name="connsiteX112" fmla="*/ 591344 w 1189040"/>
                <a:gd name="connsiteY112" fmla="*/ 1064102 h 4726463"/>
                <a:gd name="connsiteX113" fmla="*/ 633413 w 1189040"/>
                <a:gd name="connsiteY113" fmla="*/ 1106328 h 4726463"/>
                <a:gd name="connsiteX114" fmla="*/ 633413 w 1189040"/>
                <a:gd name="connsiteY114" fmla="*/ 1528288 h 4726463"/>
                <a:gd name="connsiteX115" fmla="*/ 591344 w 1189040"/>
                <a:gd name="connsiteY115" fmla="*/ 1570515 h 4726463"/>
                <a:gd name="connsiteX116" fmla="*/ 549275 w 1189040"/>
                <a:gd name="connsiteY116" fmla="*/ 1528288 h 4726463"/>
                <a:gd name="connsiteX117" fmla="*/ 549275 w 1189040"/>
                <a:gd name="connsiteY117" fmla="*/ 1106328 h 4726463"/>
                <a:gd name="connsiteX118" fmla="*/ 591344 w 1189040"/>
                <a:gd name="connsiteY118" fmla="*/ 1064102 h 4726463"/>
                <a:gd name="connsiteX119" fmla="*/ 42069 w 1189040"/>
                <a:gd name="connsiteY119" fmla="*/ 1064102 h 4726463"/>
                <a:gd name="connsiteX120" fmla="*/ 84138 w 1189040"/>
                <a:gd name="connsiteY120" fmla="*/ 1106328 h 4726463"/>
                <a:gd name="connsiteX121" fmla="*/ 84138 w 1189040"/>
                <a:gd name="connsiteY121" fmla="*/ 1528288 h 4726463"/>
                <a:gd name="connsiteX122" fmla="*/ 42069 w 1189040"/>
                <a:gd name="connsiteY122" fmla="*/ 1570515 h 4726463"/>
                <a:gd name="connsiteX123" fmla="*/ 0 w 1189040"/>
                <a:gd name="connsiteY123" fmla="*/ 1528288 h 4726463"/>
                <a:gd name="connsiteX124" fmla="*/ 0 w 1189040"/>
                <a:gd name="connsiteY124" fmla="*/ 1106328 h 4726463"/>
                <a:gd name="connsiteX125" fmla="*/ 42069 w 1189040"/>
                <a:gd name="connsiteY125" fmla="*/ 1064102 h 4726463"/>
                <a:gd name="connsiteX126" fmla="*/ 866132 w 1189040"/>
                <a:gd name="connsiteY126" fmla="*/ 1064102 h 4726463"/>
                <a:gd name="connsiteX127" fmla="*/ 908051 w 1189040"/>
                <a:gd name="connsiteY127" fmla="*/ 1106328 h 4726463"/>
                <a:gd name="connsiteX128" fmla="*/ 908051 w 1189040"/>
                <a:gd name="connsiteY128" fmla="*/ 1528288 h 4726463"/>
                <a:gd name="connsiteX129" fmla="*/ 866132 w 1189040"/>
                <a:gd name="connsiteY129" fmla="*/ 1570514 h 4726463"/>
                <a:gd name="connsiteX130" fmla="*/ 823913 w 1189040"/>
                <a:gd name="connsiteY130" fmla="*/ 1528288 h 4726463"/>
                <a:gd name="connsiteX131" fmla="*/ 823913 w 1189040"/>
                <a:gd name="connsiteY131" fmla="*/ 1106328 h 4726463"/>
                <a:gd name="connsiteX132" fmla="*/ 866132 w 1189040"/>
                <a:gd name="connsiteY132" fmla="*/ 1064102 h 4726463"/>
                <a:gd name="connsiteX133" fmla="*/ 316707 w 1189040"/>
                <a:gd name="connsiteY133" fmla="*/ 1064102 h 4726463"/>
                <a:gd name="connsiteX134" fmla="*/ 358776 w 1189040"/>
                <a:gd name="connsiteY134" fmla="*/ 1106328 h 4726463"/>
                <a:gd name="connsiteX135" fmla="*/ 358776 w 1189040"/>
                <a:gd name="connsiteY135" fmla="*/ 1528288 h 4726463"/>
                <a:gd name="connsiteX136" fmla="*/ 316707 w 1189040"/>
                <a:gd name="connsiteY136" fmla="*/ 1570514 h 4726463"/>
                <a:gd name="connsiteX137" fmla="*/ 274638 w 1189040"/>
                <a:gd name="connsiteY137" fmla="*/ 1528288 h 4726463"/>
                <a:gd name="connsiteX138" fmla="*/ 274638 w 1189040"/>
                <a:gd name="connsiteY138" fmla="*/ 1106328 h 4726463"/>
                <a:gd name="connsiteX139" fmla="*/ 316707 w 1189040"/>
                <a:gd name="connsiteY139" fmla="*/ 1064102 h 4726463"/>
                <a:gd name="connsiteX140" fmla="*/ 823913 w 1189040"/>
                <a:gd name="connsiteY140" fmla="*/ 55245 h 4726463"/>
                <a:gd name="connsiteX141" fmla="*/ 908051 w 1189040"/>
                <a:gd name="connsiteY141" fmla="*/ 55245 h 4726463"/>
                <a:gd name="connsiteX142" fmla="*/ 823913 w 1189040"/>
                <a:gd name="connsiteY142" fmla="*/ 55245 h 4726463"/>
                <a:gd name="connsiteX143" fmla="*/ 549275 w 1189040"/>
                <a:gd name="connsiteY143" fmla="*/ 55245 h 4726463"/>
                <a:gd name="connsiteX144" fmla="*/ 633413 w 1189040"/>
                <a:gd name="connsiteY144" fmla="*/ 55245 h 4726463"/>
                <a:gd name="connsiteX145" fmla="*/ 549275 w 1189040"/>
                <a:gd name="connsiteY145" fmla="*/ 55245 h 4726463"/>
                <a:gd name="connsiteX146" fmla="*/ 1096963 w 1189040"/>
                <a:gd name="connsiteY146" fmla="*/ 55245 h 4726463"/>
                <a:gd name="connsiteX147" fmla="*/ 1182688 w 1189040"/>
                <a:gd name="connsiteY147" fmla="*/ 55245 h 4726463"/>
                <a:gd name="connsiteX148" fmla="*/ 1182688 w 1189040"/>
                <a:gd name="connsiteY148" fmla="*/ 475932 h 4726463"/>
                <a:gd name="connsiteX149" fmla="*/ 1139826 w 1189040"/>
                <a:gd name="connsiteY149" fmla="*/ 518001 h 4726463"/>
                <a:gd name="connsiteX150" fmla="*/ 1096963 w 1189040"/>
                <a:gd name="connsiteY150" fmla="*/ 55245 h 4726463"/>
                <a:gd name="connsiteX0" fmla="*/ 1139826 w 1193405"/>
                <a:gd name="connsiteY0" fmla="*/ 4221638 h 4726463"/>
                <a:gd name="connsiteX1" fmla="*/ 1182688 w 1193405"/>
                <a:gd name="connsiteY1" fmla="*/ 4263707 h 4726463"/>
                <a:gd name="connsiteX2" fmla="*/ 1182688 w 1193405"/>
                <a:gd name="connsiteY2" fmla="*/ 4684394 h 4726463"/>
                <a:gd name="connsiteX3" fmla="*/ 1139826 w 1193405"/>
                <a:gd name="connsiteY3" fmla="*/ 4726463 h 4726463"/>
                <a:gd name="connsiteX4" fmla="*/ 1096963 w 1193405"/>
                <a:gd name="connsiteY4" fmla="*/ 4684394 h 4726463"/>
                <a:gd name="connsiteX5" fmla="*/ 1096963 w 1193405"/>
                <a:gd name="connsiteY5" fmla="*/ 4263707 h 4726463"/>
                <a:gd name="connsiteX6" fmla="*/ 1139826 w 1193405"/>
                <a:gd name="connsiteY6" fmla="*/ 4221638 h 4726463"/>
                <a:gd name="connsiteX7" fmla="*/ 866132 w 1193405"/>
                <a:gd name="connsiteY7" fmla="*/ 4221638 h 4726463"/>
                <a:gd name="connsiteX8" fmla="*/ 908051 w 1193405"/>
                <a:gd name="connsiteY8" fmla="*/ 4263707 h 4726463"/>
                <a:gd name="connsiteX9" fmla="*/ 908051 w 1193405"/>
                <a:gd name="connsiteY9" fmla="*/ 4684394 h 4726463"/>
                <a:gd name="connsiteX10" fmla="*/ 866132 w 1193405"/>
                <a:gd name="connsiteY10" fmla="*/ 4726463 h 4726463"/>
                <a:gd name="connsiteX11" fmla="*/ 823913 w 1193405"/>
                <a:gd name="connsiteY11" fmla="*/ 4684394 h 4726463"/>
                <a:gd name="connsiteX12" fmla="*/ 823913 w 1193405"/>
                <a:gd name="connsiteY12" fmla="*/ 4263707 h 4726463"/>
                <a:gd name="connsiteX13" fmla="*/ 866132 w 1193405"/>
                <a:gd name="connsiteY13" fmla="*/ 4221638 h 4726463"/>
                <a:gd name="connsiteX14" fmla="*/ 591344 w 1193405"/>
                <a:gd name="connsiteY14" fmla="*/ 4221638 h 4726463"/>
                <a:gd name="connsiteX15" fmla="*/ 633413 w 1193405"/>
                <a:gd name="connsiteY15" fmla="*/ 4263707 h 4726463"/>
                <a:gd name="connsiteX16" fmla="*/ 633413 w 1193405"/>
                <a:gd name="connsiteY16" fmla="*/ 4684394 h 4726463"/>
                <a:gd name="connsiteX17" fmla="*/ 591344 w 1193405"/>
                <a:gd name="connsiteY17" fmla="*/ 4726463 h 4726463"/>
                <a:gd name="connsiteX18" fmla="*/ 549275 w 1193405"/>
                <a:gd name="connsiteY18" fmla="*/ 4684394 h 4726463"/>
                <a:gd name="connsiteX19" fmla="*/ 549275 w 1193405"/>
                <a:gd name="connsiteY19" fmla="*/ 4263707 h 4726463"/>
                <a:gd name="connsiteX20" fmla="*/ 591344 w 1193405"/>
                <a:gd name="connsiteY20" fmla="*/ 4221638 h 4726463"/>
                <a:gd name="connsiteX21" fmla="*/ 316707 w 1193405"/>
                <a:gd name="connsiteY21" fmla="*/ 4221638 h 4726463"/>
                <a:gd name="connsiteX22" fmla="*/ 358776 w 1193405"/>
                <a:gd name="connsiteY22" fmla="*/ 4263707 h 4726463"/>
                <a:gd name="connsiteX23" fmla="*/ 358776 w 1193405"/>
                <a:gd name="connsiteY23" fmla="*/ 4684394 h 4726463"/>
                <a:gd name="connsiteX24" fmla="*/ 316707 w 1193405"/>
                <a:gd name="connsiteY24" fmla="*/ 4726463 h 4726463"/>
                <a:gd name="connsiteX25" fmla="*/ 274638 w 1193405"/>
                <a:gd name="connsiteY25" fmla="*/ 4684394 h 4726463"/>
                <a:gd name="connsiteX26" fmla="*/ 274638 w 1193405"/>
                <a:gd name="connsiteY26" fmla="*/ 4263707 h 4726463"/>
                <a:gd name="connsiteX27" fmla="*/ 316707 w 1193405"/>
                <a:gd name="connsiteY27" fmla="*/ 4221638 h 4726463"/>
                <a:gd name="connsiteX28" fmla="*/ 42069 w 1193405"/>
                <a:gd name="connsiteY28" fmla="*/ 4221638 h 4726463"/>
                <a:gd name="connsiteX29" fmla="*/ 84138 w 1193405"/>
                <a:gd name="connsiteY29" fmla="*/ 4263707 h 4726463"/>
                <a:gd name="connsiteX30" fmla="*/ 84138 w 1193405"/>
                <a:gd name="connsiteY30" fmla="*/ 4684394 h 4726463"/>
                <a:gd name="connsiteX31" fmla="*/ 42069 w 1193405"/>
                <a:gd name="connsiteY31" fmla="*/ 4726463 h 4726463"/>
                <a:gd name="connsiteX32" fmla="*/ 0 w 1193405"/>
                <a:gd name="connsiteY32" fmla="*/ 4684394 h 4726463"/>
                <a:gd name="connsiteX33" fmla="*/ 0 w 1193405"/>
                <a:gd name="connsiteY33" fmla="*/ 4263707 h 4726463"/>
                <a:gd name="connsiteX34" fmla="*/ 42069 w 1193405"/>
                <a:gd name="connsiteY34" fmla="*/ 4221638 h 4726463"/>
                <a:gd name="connsiteX35" fmla="*/ 1139826 w 1193405"/>
                <a:gd name="connsiteY35" fmla="*/ 3167538 h 4726463"/>
                <a:gd name="connsiteX36" fmla="*/ 1182688 w 1193405"/>
                <a:gd name="connsiteY36" fmla="*/ 3209739 h 4726463"/>
                <a:gd name="connsiteX37" fmla="*/ 1182688 w 1193405"/>
                <a:gd name="connsiteY37" fmla="*/ 3631750 h 4726463"/>
                <a:gd name="connsiteX38" fmla="*/ 1139826 w 1193405"/>
                <a:gd name="connsiteY38" fmla="*/ 3673951 h 4726463"/>
                <a:gd name="connsiteX39" fmla="*/ 1096963 w 1193405"/>
                <a:gd name="connsiteY39" fmla="*/ 3631750 h 4726463"/>
                <a:gd name="connsiteX40" fmla="*/ 1096963 w 1193405"/>
                <a:gd name="connsiteY40" fmla="*/ 3209739 h 4726463"/>
                <a:gd name="connsiteX41" fmla="*/ 1139826 w 1193405"/>
                <a:gd name="connsiteY41" fmla="*/ 3167538 h 4726463"/>
                <a:gd name="connsiteX42" fmla="*/ 866132 w 1193405"/>
                <a:gd name="connsiteY42" fmla="*/ 3167538 h 4726463"/>
                <a:gd name="connsiteX43" fmla="*/ 908051 w 1193405"/>
                <a:gd name="connsiteY43" fmla="*/ 3209739 h 4726463"/>
                <a:gd name="connsiteX44" fmla="*/ 908051 w 1193405"/>
                <a:gd name="connsiteY44" fmla="*/ 3631750 h 4726463"/>
                <a:gd name="connsiteX45" fmla="*/ 866132 w 1193405"/>
                <a:gd name="connsiteY45" fmla="*/ 3673951 h 4726463"/>
                <a:gd name="connsiteX46" fmla="*/ 823913 w 1193405"/>
                <a:gd name="connsiteY46" fmla="*/ 3631750 h 4726463"/>
                <a:gd name="connsiteX47" fmla="*/ 823913 w 1193405"/>
                <a:gd name="connsiteY47" fmla="*/ 3209739 h 4726463"/>
                <a:gd name="connsiteX48" fmla="*/ 866132 w 1193405"/>
                <a:gd name="connsiteY48" fmla="*/ 3167538 h 4726463"/>
                <a:gd name="connsiteX49" fmla="*/ 591344 w 1193405"/>
                <a:gd name="connsiteY49" fmla="*/ 3167538 h 4726463"/>
                <a:gd name="connsiteX50" fmla="*/ 633413 w 1193405"/>
                <a:gd name="connsiteY50" fmla="*/ 3209739 h 4726463"/>
                <a:gd name="connsiteX51" fmla="*/ 633413 w 1193405"/>
                <a:gd name="connsiteY51" fmla="*/ 3631750 h 4726463"/>
                <a:gd name="connsiteX52" fmla="*/ 591344 w 1193405"/>
                <a:gd name="connsiteY52" fmla="*/ 3673951 h 4726463"/>
                <a:gd name="connsiteX53" fmla="*/ 549275 w 1193405"/>
                <a:gd name="connsiteY53" fmla="*/ 3631750 h 4726463"/>
                <a:gd name="connsiteX54" fmla="*/ 549275 w 1193405"/>
                <a:gd name="connsiteY54" fmla="*/ 3209739 h 4726463"/>
                <a:gd name="connsiteX55" fmla="*/ 591344 w 1193405"/>
                <a:gd name="connsiteY55" fmla="*/ 3167538 h 4726463"/>
                <a:gd name="connsiteX56" fmla="*/ 316707 w 1193405"/>
                <a:gd name="connsiteY56" fmla="*/ 3167538 h 4726463"/>
                <a:gd name="connsiteX57" fmla="*/ 358776 w 1193405"/>
                <a:gd name="connsiteY57" fmla="*/ 3209739 h 4726463"/>
                <a:gd name="connsiteX58" fmla="*/ 358776 w 1193405"/>
                <a:gd name="connsiteY58" fmla="*/ 3631750 h 4726463"/>
                <a:gd name="connsiteX59" fmla="*/ 316707 w 1193405"/>
                <a:gd name="connsiteY59" fmla="*/ 3673951 h 4726463"/>
                <a:gd name="connsiteX60" fmla="*/ 274638 w 1193405"/>
                <a:gd name="connsiteY60" fmla="*/ 3631750 h 4726463"/>
                <a:gd name="connsiteX61" fmla="*/ 274638 w 1193405"/>
                <a:gd name="connsiteY61" fmla="*/ 3209739 h 4726463"/>
                <a:gd name="connsiteX62" fmla="*/ 316707 w 1193405"/>
                <a:gd name="connsiteY62" fmla="*/ 3167538 h 4726463"/>
                <a:gd name="connsiteX63" fmla="*/ 42069 w 1193405"/>
                <a:gd name="connsiteY63" fmla="*/ 3167538 h 4726463"/>
                <a:gd name="connsiteX64" fmla="*/ 84138 w 1193405"/>
                <a:gd name="connsiteY64" fmla="*/ 3209739 h 4726463"/>
                <a:gd name="connsiteX65" fmla="*/ 84138 w 1193405"/>
                <a:gd name="connsiteY65" fmla="*/ 3631750 h 4726463"/>
                <a:gd name="connsiteX66" fmla="*/ 42069 w 1193405"/>
                <a:gd name="connsiteY66" fmla="*/ 3673951 h 4726463"/>
                <a:gd name="connsiteX67" fmla="*/ 0 w 1193405"/>
                <a:gd name="connsiteY67" fmla="*/ 3631750 h 4726463"/>
                <a:gd name="connsiteX68" fmla="*/ 0 w 1193405"/>
                <a:gd name="connsiteY68" fmla="*/ 3209739 h 4726463"/>
                <a:gd name="connsiteX69" fmla="*/ 42069 w 1193405"/>
                <a:gd name="connsiteY69" fmla="*/ 3167538 h 4726463"/>
                <a:gd name="connsiteX70" fmla="*/ 1139826 w 1193405"/>
                <a:gd name="connsiteY70" fmla="*/ 2116613 h 4726463"/>
                <a:gd name="connsiteX71" fmla="*/ 1182688 w 1193405"/>
                <a:gd name="connsiteY71" fmla="*/ 2158682 h 4726463"/>
                <a:gd name="connsiteX72" fmla="*/ 1182688 w 1193405"/>
                <a:gd name="connsiteY72" fmla="*/ 2579369 h 4726463"/>
                <a:gd name="connsiteX73" fmla="*/ 1139826 w 1193405"/>
                <a:gd name="connsiteY73" fmla="*/ 2621438 h 4726463"/>
                <a:gd name="connsiteX74" fmla="*/ 1096963 w 1193405"/>
                <a:gd name="connsiteY74" fmla="*/ 2579369 h 4726463"/>
                <a:gd name="connsiteX75" fmla="*/ 1096963 w 1193405"/>
                <a:gd name="connsiteY75" fmla="*/ 2158682 h 4726463"/>
                <a:gd name="connsiteX76" fmla="*/ 1139826 w 1193405"/>
                <a:gd name="connsiteY76" fmla="*/ 2116613 h 4726463"/>
                <a:gd name="connsiteX77" fmla="*/ 866132 w 1193405"/>
                <a:gd name="connsiteY77" fmla="*/ 2116613 h 4726463"/>
                <a:gd name="connsiteX78" fmla="*/ 908051 w 1193405"/>
                <a:gd name="connsiteY78" fmla="*/ 2158682 h 4726463"/>
                <a:gd name="connsiteX79" fmla="*/ 908051 w 1193405"/>
                <a:gd name="connsiteY79" fmla="*/ 2579369 h 4726463"/>
                <a:gd name="connsiteX80" fmla="*/ 866132 w 1193405"/>
                <a:gd name="connsiteY80" fmla="*/ 2621438 h 4726463"/>
                <a:gd name="connsiteX81" fmla="*/ 823913 w 1193405"/>
                <a:gd name="connsiteY81" fmla="*/ 2579369 h 4726463"/>
                <a:gd name="connsiteX82" fmla="*/ 823913 w 1193405"/>
                <a:gd name="connsiteY82" fmla="*/ 2158682 h 4726463"/>
                <a:gd name="connsiteX83" fmla="*/ 866132 w 1193405"/>
                <a:gd name="connsiteY83" fmla="*/ 2116613 h 4726463"/>
                <a:gd name="connsiteX84" fmla="*/ 591344 w 1193405"/>
                <a:gd name="connsiteY84" fmla="*/ 2116613 h 4726463"/>
                <a:gd name="connsiteX85" fmla="*/ 633413 w 1193405"/>
                <a:gd name="connsiteY85" fmla="*/ 2158682 h 4726463"/>
                <a:gd name="connsiteX86" fmla="*/ 633413 w 1193405"/>
                <a:gd name="connsiteY86" fmla="*/ 2579369 h 4726463"/>
                <a:gd name="connsiteX87" fmla="*/ 591344 w 1193405"/>
                <a:gd name="connsiteY87" fmla="*/ 2621438 h 4726463"/>
                <a:gd name="connsiteX88" fmla="*/ 549275 w 1193405"/>
                <a:gd name="connsiteY88" fmla="*/ 2579369 h 4726463"/>
                <a:gd name="connsiteX89" fmla="*/ 549275 w 1193405"/>
                <a:gd name="connsiteY89" fmla="*/ 2158682 h 4726463"/>
                <a:gd name="connsiteX90" fmla="*/ 591344 w 1193405"/>
                <a:gd name="connsiteY90" fmla="*/ 2116613 h 4726463"/>
                <a:gd name="connsiteX91" fmla="*/ 316707 w 1193405"/>
                <a:gd name="connsiteY91" fmla="*/ 2116613 h 4726463"/>
                <a:gd name="connsiteX92" fmla="*/ 358776 w 1193405"/>
                <a:gd name="connsiteY92" fmla="*/ 2158682 h 4726463"/>
                <a:gd name="connsiteX93" fmla="*/ 358776 w 1193405"/>
                <a:gd name="connsiteY93" fmla="*/ 2579369 h 4726463"/>
                <a:gd name="connsiteX94" fmla="*/ 316707 w 1193405"/>
                <a:gd name="connsiteY94" fmla="*/ 2621438 h 4726463"/>
                <a:gd name="connsiteX95" fmla="*/ 274638 w 1193405"/>
                <a:gd name="connsiteY95" fmla="*/ 2579369 h 4726463"/>
                <a:gd name="connsiteX96" fmla="*/ 274638 w 1193405"/>
                <a:gd name="connsiteY96" fmla="*/ 2158682 h 4726463"/>
                <a:gd name="connsiteX97" fmla="*/ 316707 w 1193405"/>
                <a:gd name="connsiteY97" fmla="*/ 2116613 h 4726463"/>
                <a:gd name="connsiteX98" fmla="*/ 42069 w 1193405"/>
                <a:gd name="connsiteY98" fmla="*/ 2116613 h 4726463"/>
                <a:gd name="connsiteX99" fmla="*/ 84138 w 1193405"/>
                <a:gd name="connsiteY99" fmla="*/ 2158682 h 4726463"/>
                <a:gd name="connsiteX100" fmla="*/ 84138 w 1193405"/>
                <a:gd name="connsiteY100" fmla="*/ 2579369 h 4726463"/>
                <a:gd name="connsiteX101" fmla="*/ 42069 w 1193405"/>
                <a:gd name="connsiteY101" fmla="*/ 2621438 h 4726463"/>
                <a:gd name="connsiteX102" fmla="*/ 0 w 1193405"/>
                <a:gd name="connsiteY102" fmla="*/ 2579369 h 4726463"/>
                <a:gd name="connsiteX103" fmla="*/ 0 w 1193405"/>
                <a:gd name="connsiteY103" fmla="*/ 2158682 h 4726463"/>
                <a:gd name="connsiteX104" fmla="*/ 42069 w 1193405"/>
                <a:gd name="connsiteY104" fmla="*/ 2116613 h 4726463"/>
                <a:gd name="connsiteX105" fmla="*/ 1139826 w 1193405"/>
                <a:gd name="connsiteY105" fmla="*/ 1064102 h 4726463"/>
                <a:gd name="connsiteX106" fmla="*/ 1182688 w 1193405"/>
                <a:gd name="connsiteY106" fmla="*/ 1106328 h 4726463"/>
                <a:gd name="connsiteX107" fmla="*/ 1182688 w 1193405"/>
                <a:gd name="connsiteY107" fmla="*/ 1528288 h 4726463"/>
                <a:gd name="connsiteX108" fmla="*/ 1139826 w 1193405"/>
                <a:gd name="connsiteY108" fmla="*/ 1570515 h 4726463"/>
                <a:gd name="connsiteX109" fmla="*/ 1096963 w 1193405"/>
                <a:gd name="connsiteY109" fmla="*/ 1528288 h 4726463"/>
                <a:gd name="connsiteX110" fmla="*/ 1096963 w 1193405"/>
                <a:gd name="connsiteY110" fmla="*/ 1106328 h 4726463"/>
                <a:gd name="connsiteX111" fmla="*/ 1139826 w 1193405"/>
                <a:gd name="connsiteY111" fmla="*/ 1064102 h 4726463"/>
                <a:gd name="connsiteX112" fmla="*/ 591344 w 1193405"/>
                <a:gd name="connsiteY112" fmla="*/ 1064102 h 4726463"/>
                <a:gd name="connsiteX113" fmla="*/ 633413 w 1193405"/>
                <a:gd name="connsiteY113" fmla="*/ 1106328 h 4726463"/>
                <a:gd name="connsiteX114" fmla="*/ 633413 w 1193405"/>
                <a:gd name="connsiteY114" fmla="*/ 1528288 h 4726463"/>
                <a:gd name="connsiteX115" fmla="*/ 591344 w 1193405"/>
                <a:gd name="connsiteY115" fmla="*/ 1570515 h 4726463"/>
                <a:gd name="connsiteX116" fmla="*/ 549275 w 1193405"/>
                <a:gd name="connsiteY116" fmla="*/ 1528288 h 4726463"/>
                <a:gd name="connsiteX117" fmla="*/ 549275 w 1193405"/>
                <a:gd name="connsiteY117" fmla="*/ 1106328 h 4726463"/>
                <a:gd name="connsiteX118" fmla="*/ 591344 w 1193405"/>
                <a:gd name="connsiteY118" fmla="*/ 1064102 h 4726463"/>
                <a:gd name="connsiteX119" fmla="*/ 42069 w 1193405"/>
                <a:gd name="connsiteY119" fmla="*/ 1064102 h 4726463"/>
                <a:gd name="connsiteX120" fmla="*/ 84138 w 1193405"/>
                <a:gd name="connsiteY120" fmla="*/ 1106328 h 4726463"/>
                <a:gd name="connsiteX121" fmla="*/ 84138 w 1193405"/>
                <a:gd name="connsiteY121" fmla="*/ 1528288 h 4726463"/>
                <a:gd name="connsiteX122" fmla="*/ 42069 w 1193405"/>
                <a:gd name="connsiteY122" fmla="*/ 1570515 h 4726463"/>
                <a:gd name="connsiteX123" fmla="*/ 0 w 1193405"/>
                <a:gd name="connsiteY123" fmla="*/ 1528288 h 4726463"/>
                <a:gd name="connsiteX124" fmla="*/ 0 w 1193405"/>
                <a:gd name="connsiteY124" fmla="*/ 1106328 h 4726463"/>
                <a:gd name="connsiteX125" fmla="*/ 42069 w 1193405"/>
                <a:gd name="connsiteY125" fmla="*/ 1064102 h 4726463"/>
                <a:gd name="connsiteX126" fmla="*/ 866132 w 1193405"/>
                <a:gd name="connsiteY126" fmla="*/ 1064102 h 4726463"/>
                <a:gd name="connsiteX127" fmla="*/ 908051 w 1193405"/>
                <a:gd name="connsiteY127" fmla="*/ 1106328 h 4726463"/>
                <a:gd name="connsiteX128" fmla="*/ 908051 w 1193405"/>
                <a:gd name="connsiteY128" fmla="*/ 1528288 h 4726463"/>
                <a:gd name="connsiteX129" fmla="*/ 866132 w 1193405"/>
                <a:gd name="connsiteY129" fmla="*/ 1570514 h 4726463"/>
                <a:gd name="connsiteX130" fmla="*/ 823913 w 1193405"/>
                <a:gd name="connsiteY130" fmla="*/ 1528288 h 4726463"/>
                <a:gd name="connsiteX131" fmla="*/ 823913 w 1193405"/>
                <a:gd name="connsiteY131" fmla="*/ 1106328 h 4726463"/>
                <a:gd name="connsiteX132" fmla="*/ 866132 w 1193405"/>
                <a:gd name="connsiteY132" fmla="*/ 1064102 h 4726463"/>
                <a:gd name="connsiteX133" fmla="*/ 316707 w 1193405"/>
                <a:gd name="connsiteY133" fmla="*/ 1064102 h 4726463"/>
                <a:gd name="connsiteX134" fmla="*/ 358776 w 1193405"/>
                <a:gd name="connsiteY134" fmla="*/ 1106328 h 4726463"/>
                <a:gd name="connsiteX135" fmla="*/ 358776 w 1193405"/>
                <a:gd name="connsiteY135" fmla="*/ 1528288 h 4726463"/>
                <a:gd name="connsiteX136" fmla="*/ 316707 w 1193405"/>
                <a:gd name="connsiteY136" fmla="*/ 1570514 h 4726463"/>
                <a:gd name="connsiteX137" fmla="*/ 274638 w 1193405"/>
                <a:gd name="connsiteY137" fmla="*/ 1528288 h 4726463"/>
                <a:gd name="connsiteX138" fmla="*/ 274638 w 1193405"/>
                <a:gd name="connsiteY138" fmla="*/ 1106328 h 4726463"/>
                <a:gd name="connsiteX139" fmla="*/ 316707 w 1193405"/>
                <a:gd name="connsiteY139" fmla="*/ 1064102 h 4726463"/>
                <a:gd name="connsiteX140" fmla="*/ 823913 w 1193405"/>
                <a:gd name="connsiteY140" fmla="*/ 55245 h 4726463"/>
                <a:gd name="connsiteX141" fmla="*/ 908051 w 1193405"/>
                <a:gd name="connsiteY141" fmla="*/ 55245 h 4726463"/>
                <a:gd name="connsiteX142" fmla="*/ 823913 w 1193405"/>
                <a:gd name="connsiteY142" fmla="*/ 55245 h 4726463"/>
                <a:gd name="connsiteX143" fmla="*/ 549275 w 1193405"/>
                <a:gd name="connsiteY143" fmla="*/ 55245 h 4726463"/>
                <a:gd name="connsiteX144" fmla="*/ 633413 w 1193405"/>
                <a:gd name="connsiteY144" fmla="*/ 55245 h 4726463"/>
                <a:gd name="connsiteX145" fmla="*/ 549275 w 1193405"/>
                <a:gd name="connsiteY145" fmla="*/ 55245 h 4726463"/>
                <a:gd name="connsiteX146" fmla="*/ 1096963 w 1193405"/>
                <a:gd name="connsiteY146" fmla="*/ 55245 h 4726463"/>
                <a:gd name="connsiteX147" fmla="*/ 1182688 w 1193405"/>
                <a:gd name="connsiteY147" fmla="*/ 55245 h 4726463"/>
                <a:gd name="connsiteX148" fmla="*/ 1182688 w 1193405"/>
                <a:gd name="connsiteY148" fmla="*/ 475932 h 4726463"/>
                <a:gd name="connsiteX149" fmla="*/ 1096963 w 1193405"/>
                <a:gd name="connsiteY149" fmla="*/ 55245 h 4726463"/>
                <a:gd name="connsiteX0" fmla="*/ 1139826 w 1182687"/>
                <a:gd name="connsiteY0" fmla="*/ 4200674 h 4705499"/>
                <a:gd name="connsiteX1" fmla="*/ 1182688 w 1182687"/>
                <a:gd name="connsiteY1" fmla="*/ 4242743 h 4705499"/>
                <a:gd name="connsiteX2" fmla="*/ 1182688 w 1182687"/>
                <a:gd name="connsiteY2" fmla="*/ 4663430 h 4705499"/>
                <a:gd name="connsiteX3" fmla="*/ 1139826 w 1182687"/>
                <a:gd name="connsiteY3" fmla="*/ 4705499 h 4705499"/>
                <a:gd name="connsiteX4" fmla="*/ 1096963 w 1182687"/>
                <a:gd name="connsiteY4" fmla="*/ 4663430 h 4705499"/>
                <a:gd name="connsiteX5" fmla="*/ 1096963 w 1182687"/>
                <a:gd name="connsiteY5" fmla="*/ 4242743 h 4705499"/>
                <a:gd name="connsiteX6" fmla="*/ 1139826 w 1182687"/>
                <a:gd name="connsiteY6" fmla="*/ 4200674 h 4705499"/>
                <a:gd name="connsiteX7" fmla="*/ 866132 w 1182687"/>
                <a:gd name="connsiteY7" fmla="*/ 4200674 h 4705499"/>
                <a:gd name="connsiteX8" fmla="*/ 908051 w 1182687"/>
                <a:gd name="connsiteY8" fmla="*/ 4242743 h 4705499"/>
                <a:gd name="connsiteX9" fmla="*/ 908051 w 1182687"/>
                <a:gd name="connsiteY9" fmla="*/ 4663430 h 4705499"/>
                <a:gd name="connsiteX10" fmla="*/ 866132 w 1182687"/>
                <a:gd name="connsiteY10" fmla="*/ 4705499 h 4705499"/>
                <a:gd name="connsiteX11" fmla="*/ 823913 w 1182687"/>
                <a:gd name="connsiteY11" fmla="*/ 4663430 h 4705499"/>
                <a:gd name="connsiteX12" fmla="*/ 823913 w 1182687"/>
                <a:gd name="connsiteY12" fmla="*/ 4242743 h 4705499"/>
                <a:gd name="connsiteX13" fmla="*/ 866132 w 1182687"/>
                <a:gd name="connsiteY13" fmla="*/ 4200674 h 4705499"/>
                <a:gd name="connsiteX14" fmla="*/ 591344 w 1182687"/>
                <a:gd name="connsiteY14" fmla="*/ 4200674 h 4705499"/>
                <a:gd name="connsiteX15" fmla="*/ 633413 w 1182687"/>
                <a:gd name="connsiteY15" fmla="*/ 4242743 h 4705499"/>
                <a:gd name="connsiteX16" fmla="*/ 633413 w 1182687"/>
                <a:gd name="connsiteY16" fmla="*/ 4663430 h 4705499"/>
                <a:gd name="connsiteX17" fmla="*/ 591344 w 1182687"/>
                <a:gd name="connsiteY17" fmla="*/ 4705499 h 4705499"/>
                <a:gd name="connsiteX18" fmla="*/ 549275 w 1182687"/>
                <a:gd name="connsiteY18" fmla="*/ 4663430 h 4705499"/>
                <a:gd name="connsiteX19" fmla="*/ 549275 w 1182687"/>
                <a:gd name="connsiteY19" fmla="*/ 4242743 h 4705499"/>
                <a:gd name="connsiteX20" fmla="*/ 591344 w 1182687"/>
                <a:gd name="connsiteY20" fmla="*/ 4200674 h 4705499"/>
                <a:gd name="connsiteX21" fmla="*/ 316707 w 1182687"/>
                <a:gd name="connsiteY21" fmla="*/ 4200674 h 4705499"/>
                <a:gd name="connsiteX22" fmla="*/ 358776 w 1182687"/>
                <a:gd name="connsiteY22" fmla="*/ 4242743 h 4705499"/>
                <a:gd name="connsiteX23" fmla="*/ 358776 w 1182687"/>
                <a:gd name="connsiteY23" fmla="*/ 4663430 h 4705499"/>
                <a:gd name="connsiteX24" fmla="*/ 316707 w 1182687"/>
                <a:gd name="connsiteY24" fmla="*/ 4705499 h 4705499"/>
                <a:gd name="connsiteX25" fmla="*/ 274638 w 1182687"/>
                <a:gd name="connsiteY25" fmla="*/ 4663430 h 4705499"/>
                <a:gd name="connsiteX26" fmla="*/ 274638 w 1182687"/>
                <a:gd name="connsiteY26" fmla="*/ 4242743 h 4705499"/>
                <a:gd name="connsiteX27" fmla="*/ 316707 w 1182687"/>
                <a:gd name="connsiteY27" fmla="*/ 4200674 h 4705499"/>
                <a:gd name="connsiteX28" fmla="*/ 42069 w 1182687"/>
                <a:gd name="connsiteY28" fmla="*/ 4200674 h 4705499"/>
                <a:gd name="connsiteX29" fmla="*/ 84138 w 1182687"/>
                <a:gd name="connsiteY29" fmla="*/ 4242743 h 4705499"/>
                <a:gd name="connsiteX30" fmla="*/ 84138 w 1182687"/>
                <a:gd name="connsiteY30" fmla="*/ 4663430 h 4705499"/>
                <a:gd name="connsiteX31" fmla="*/ 42069 w 1182687"/>
                <a:gd name="connsiteY31" fmla="*/ 4705499 h 4705499"/>
                <a:gd name="connsiteX32" fmla="*/ 0 w 1182687"/>
                <a:gd name="connsiteY32" fmla="*/ 4663430 h 4705499"/>
                <a:gd name="connsiteX33" fmla="*/ 0 w 1182687"/>
                <a:gd name="connsiteY33" fmla="*/ 4242743 h 4705499"/>
                <a:gd name="connsiteX34" fmla="*/ 42069 w 1182687"/>
                <a:gd name="connsiteY34" fmla="*/ 4200674 h 4705499"/>
                <a:gd name="connsiteX35" fmla="*/ 1139826 w 1182687"/>
                <a:gd name="connsiteY35" fmla="*/ 3146574 h 4705499"/>
                <a:gd name="connsiteX36" fmla="*/ 1182688 w 1182687"/>
                <a:gd name="connsiteY36" fmla="*/ 3188775 h 4705499"/>
                <a:gd name="connsiteX37" fmla="*/ 1182688 w 1182687"/>
                <a:gd name="connsiteY37" fmla="*/ 3610786 h 4705499"/>
                <a:gd name="connsiteX38" fmla="*/ 1139826 w 1182687"/>
                <a:gd name="connsiteY38" fmla="*/ 3652987 h 4705499"/>
                <a:gd name="connsiteX39" fmla="*/ 1096963 w 1182687"/>
                <a:gd name="connsiteY39" fmla="*/ 3610786 h 4705499"/>
                <a:gd name="connsiteX40" fmla="*/ 1096963 w 1182687"/>
                <a:gd name="connsiteY40" fmla="*/ 3188775 h 4705499"/>
                <a:gd name="connsiteX41" fmla="*/ 1139826 w 1182687"/>
                <a:gd name="connsiteY41" fmla="*/ 3146574 h 4705499"/>
                <a:gd name="connsiteX42" fmla="*/ 866132 w 1182687"/>
                <a:gd name="connsiteY42" fmla="*/ 3146574 h 4705499"/>
                <a:gd name="connsiteX43" fmla="*/ 908051 w 1182687"/>
                <a:gd name="connsiteY43" fmla="*/ 3188775 h 4705499"/>
                <a:gd name="connsiteX44" fmla="*/ 908051 w 1182687"/>
                <a:gd name="connsiteY44" fmla="*/ 3610786 h 4705499"/>
                <a:gd name="connsiteX45" fmla="*/ 866132 w 1182687"/>
                <a:gd name="connsiteY45" fmla="*/ 3652987 h 4705499"/>
                <a:gd name="connsiteX46" fmla="*/ 823913 w 1182687"/>
                <a:gd name="connsiteY46" fmla="*/ 3610786 h 4705499"/>
                <a:gd name="connsiteX47" fmla="*/ 823913 w 1182687"/>
                <a:gd name="connsiteY47" fmla="*/ 3188775 h 4705499"/>
                <a:gd name="connsiteX48" fmla="*/ 866132 w 1182687"/>
                <a:gd name="connsiteY48" fmla="*/ 3146574 h 4705499"/>
                <a:gd name="connsiteX49" fmla="*/ 591344 w 1182687"/>
                <a:gd name="connsiteY49" fmla="*/ 3146574 h 4705499"/>
                <a:gd name="connsiteX50" fmla="*/ 633413 w 1182687"/>
                <a:gd name="connsiteY50" fmla="*/ 3188775 h 4705499"/>
                <a:gd name="connsiteX51" fmla="*/ 633413 w 1182687"/>
                <a:gd name="connsiteY51" fmla="*/ 3610786 h 4705499"/>
                <a:gd name="connsiteX52" fmla="*/ 591344 w 1182687"/>
                <a:gd name="connsiteY52" fmla="*/ 3652987 h 4705499"/>
                <a:gd name="connsiteX53" fmla="*/ 549275 w 1182687"/>
                <a:gd name="connsiteY53" fmla="*/ 3610786 h 4705499"/>
                <a:gd name="connsiteX54" fmla="*/ 549275 w 1182687"/>
                <a:gd name="connsiteY54" fmla="*/ 3188775 h 4705499"/>
                <a:gd name="connsiteX55" fmla="*/ 591344 w 1182687"/>
                <a:gd name="connsiteY55" fmla="*/ 3146574 h 4705499"/>
                <a:gd name="connsiteX56" fmla="*/ 316707 w 1182687"/>
                <a:gd name="connsiteY56" fmla="*/ 3146574 h 4705499"/>
                <a:gd name="connsiteX57" fmla="*/ 358776 w 1182687"/>
                <a:gd name="connsiteY57" fmla="*/ 3188775 h 4705499"/>
                <a:gd name="connsiteX58" fmla="*/ 358776 w 1182687"/>
                <a:gd name="connsiteY58" fmla="*/ 3610786 h 4705499"/>
                <a:gd name="connsiteX59" fmla="*/ 316707 w 1182687"/>
                <a:gd name="connsiteY59" fmla="*/ 3652987 h 4705499"/>
                <a:gd name="connsiteX60" fmla="*/ 274638 w 1182687"/>
                <a:gd name="connsiteY60" fmla="*/ 3610786 h 4705499"/>
                <a:gd name="connsiteX61" fmla="*/ 274638 w 1182687"/>
                <a:gd name="connsiteY61" fmla="*/ 3188775 h 4705499"/>
                <a:gd name="connsiteX62" fmla="*/ 316707 w 1182687"/>
                <a:gd name="connsiteY62" fmla="*/ 3146574 h 4705499"/>
                <a:gd name="connsiteX63" fmla="*/ 42069 w 1182687"/>
                <a:gd name="connsiteY63" fmla="*/ 3146574 h 4705499"/>
                <a:gd name="connsiteX64" fmla="*/ 84138 w 1182687"/>
                <a:gd name="connsiteY64" fmla="*/ 3188775 h 4705499"/>
                <a:gd name="connsiteX65" fmla="*/ 84138 w 1182687"/>
                <a:gd name="connsiteY65" fmla="*/ 3610786 h 4705499"/>
                <a:gd name="connsiteX66" fmla="*/ 42069 w 1182687"/>
                <a:gd name="connsiteY66" fmla="*/ 3652987 h 4705499"/>
                <a:gd name="connsiteX67" fmla="*/ 0 w 1182687"/>
                <a:gd name="connsiteY67" fmla="*/ 3610786 h 4705499"/>
                <a:gd name="connsiteX68" fmla="*/ 0 w 1182687"/>
                <a:gd name="connsiteY68" fmla="*/ 3188775 h 4705499"/>
                <a:gd name="connsiteX69" fmla="*/ 42069 w 1182687"/>
                <a:gd name="connsiteY69" fmla="*/ 3146574 h 4705499"/>
                <a:gd name="connsiteX70" fmla="*/ 1139826 w 1182687"/>
                <a:gd name="connsiteY70" fmla="*/ 2095649 h 4705499"/>
                <a:gd name="connsiteX71" fmla="*/ 1182688 w 1182687"/>
                <a:gd name="connsiteY71" fmla="*/ 2137718 h 4705499"/>
                <a:gd name="connsiteX72" fmla="*/ 1182688 w 1182687"/>
                <a:gd name="connsiteY72" fmla="*/ 2558405 h 4705499"/>
                <a:gd name="connsiteX73" fmla="*/ 1139826 w 1182687"/>
                <a:gd name="connsiteY73" fmla="*/ 2600474 h 4705499"/>
                <a:gd name="connsiteX74" fmla="*/ 1096963 w 1182687"/>
                <a:gd name="connsiteY74" fmla="*/ 2558405 h 4705499"/>
                <a:gd name="connsiteX75" fmla="*/ 1096963 w 1182687"/>
                <a:gd name="connsiteY75" fmla="*/ 2137718 h 4705499"/>
                <a:gd name="connsiteX76" fmla="*/ 1139826 w 1182687"/>
                <a:gd name="connsiteY76" fmla="*/ 2095649 h 4705499"/>
                <a:gd name="connsiteX77" fmla="*/ 866132 w 1182687"/>
                <a:gd name="connsiteY77" fmla="*/ 2095649 h 4705499"/>
                <a:gd name="connsiteX78" fmla="*/ 908051 w 1182687"/>
                <a:gd name="connsiteY78" fmla="*/ 2137718 h 4705499"/>
                <a:gd name="connsiteX79" fmla="*/ 908051 w 1182687"/>
                <a:gd name="connsiteY79" fmla="*/ 2558405 h 4705499"/>
                <a:gd name="connsiteX80" fmla="*/ 866132 w 1182687"/>
                <a:gd name="connsiteY80" fmla="*/ 2600474 h 4705499"/>
                <a:gd name="connsiteX81" fmla="*/ 823913 w 1182687"/>
                <a:gd name="connsiteY81" fmla="*/ 2558405 h 4705499"/>
                <a:gd name="connsiteX82" fmla="*/ 823913 w 1182687"/>
                <a:gd name="connsiteY82" fmla="*/ 2137718 h 4705499"/>
                <a:gd name="connsiteX83" fmla="*/ 866132 w 1182687"/>
                <a:gd name="connsiteY83" fmla="*/ 2095649 h 4705499"/>
                <a:gd name="connsiteX84" fmla="*/ 591344 w 1182687"/>
                <a:gd name="connsiteY84" fmla="*/ 2095649 h 4705499"/>
                <a:gd name="connsiteX85" fmla="*/ 633413 w 1182687"/>
                <a:gd name="connsiteY85" fmla="*/ 2137718 h 4705499"/>
                <a:gd name="connsiteX86" fmla="*/ 633413 w 1182687"/>
                <a:gd name="connsiteY86" fmla="*/ 2558405 h 4705499"/>
                <a:gd name="connsiteX87" fmla="*/ 591344 w 1182687"/>
                <a:gd name="connsiteY87" fmla="*/ 2600474 h 4705499"/>
                <a:gd name="connsiteX88" fmla="*/ 549275 w 1182687"/>
                <a:gd name="connsiteY88" fmla="*/ 2558405 h 4705499"/>
                <a:gd name="connsiteX89" fmla="*/ 549275 w 1182687"/>
                <a:gd name="connsiteY89" fmla="*/ 2137718 h 4705499"/>
                <a:gd name="connsiteX90" fmla="*/ 591344 w 1182687"/>
                <a:gd name="connsiteY90" fmla="*/ 2095649 h 4705499"/>
                <a:gd name="connsiteX91" fmla="*/ 316707 w 1182687"/>
                <a:gd name="connsiteY91" fmla="*/ 2095649 h 4705499"/>
                <a:gd name="connsiteX92" fmla="*/ 358776 w 1182687"/>
                <a:gd name="connsiteY92" fmla="*/ 2137718 h 4705499"/>
                <a:gd name="connsiteX93" fmla="*/ 358776 w 1182687"/>
                <a:gd name="connsiteY93" fmla="*/ 2558405 h 4705499"/>
                <a:gd name="connsiteX94" fmla="*/ 316707 w 1182687"/>
                <a:gd name="connsiteY94" fmla="*/ 2600474 h 4705499"/>
                <a:gd name="connsiteX95" fmla="*/ 274638 w 1182687"/>
                <a:gd name="connsiteY95" fmla="*/ 2558405 h 4705499"/>
                <a:gd name="connsiteX96" fmla="*/ 274638 w 1182687"/>
                <a:gd name="connsiteY96" fmla="*/ 2137718 h 4705499"/>
                <a:gd name="connsiteX97" fmla="*/ 316707 w 1182687"/>
                <a:gd name="connsiteY97" fmla="*/ 2095649 h 4705499"/>
                <a:gd name="connsiteX98" fmla="*/ 42069 w 1182687"/>
                <a:gd name="connsiteY98" fmla="*/ 2095649 h 4705499"/>
                <a:gd name="connsiteX99" fmla="*/ 84138 w 1182687"/>
                <a:gd name="connsiteY99" fmla="*/ 2137718 h 4705499"/>
                <a:gd name="connsiteX100" fmla="*/ 84138 w 1182687"/>
                <a:gd name="connsiteY100" fmla="*/ 2558405 h 4705499"/>
                <a:gd name="connsiteX101" fmla="*/ 42069 w 1182687"/>
                <a:gd name="connsiteY101" fmla="*/ 2600474 h 4705499"/>
                <a:gd name="connsiteX102" fmla="*/ 0 w 1182687"/>
                <a:gd name="connsiteY102" fmla="*/ 2558405 h 4705499"/>
                <a:gd name="connsiteX103" fmla="*/ 0 w 1182687"/>
                <a:gd name="connsiteY103" fmla="*/ 2137718 h 4705499"/>
                <a:gd name="connsiteX104" fmla="*/ 42069 w 1182687"/>
                <a:gd name="connsiteY104" fmla="*/ 2095649 h 4705499"/>
                <a:gd name="connsiteX105" fmla="*/ 1139826 w 1182687"/>
                <a:gd name="connsiteY105" fmla="*/ 1043138 h 4705499"/>
                <a:gd name="connsiteX106" fmla="*/ 1182688 w 1182687"/>
                <a:gd name="connsiteY106" fmla="*/ 1085364 h 4705499"/>
                <a:gd name="connsiteX107" fmla="*/ 1182688 w 1182687"/>
                <a:gd name="connsiteY107" fmla="*/ 1507324 h 4705499"/>
                <a:gd name="connsiteX108" fmla="*/ 1139826 w 1182687"/>
                <a:gd name="connsiteY108" fmla="*/ 1549551 h 4705499"/>
                <a:gd name="connsiteX109" fmla="*/ 1096963 w 1182687"/>
                <a:gd name="connsiteY109" fmla="*/ 1507324 h 4705499"/>
                <a:gd name="connsiteX110" fmla="*/ 1096963 w 1182687"/>
                <a:gd name="connsiteY110" fmla="*/ 1085364 h 4705499"/>
                <a:gd name="connsiteX111" fmla="*/ 1139826 w 1182687"/>
                <a:gd name="connsiteY111" fmla="*/ 1043138 h 4705499"/>
                <a:gd name="connsiteX112" fmla="*/ 591344 w 1182687"/>
                <a:gd name="connsiteY112" fmla="*/ 1043138 h 4705499"/>
                <a:gd name="connsiteX113" fmla="*/ 633413 w 1182687"/>
                <a:gd name="connsiteY113" fmla="*/ 1085364 h 4705499"/>
                <a:gd name="connsiteX114" fmla="*/ 633413 w 1182687"/>
                <a:gd name="connsiteY114" fmla="*/ 1507324 h 4705499"/>
                <a:gd name="connsiteX115" fmla="*/ 591344 w 1182687"/>
                <a:gd name="connsiteY115" fmla="*/ 1549551 h 4705499"/>
                <a:gd name="connsiteX116" fmla="*/ 549275 w 1182687"/>
                <a:gd name="connsiteY116" fmla="*/ 1507324 h 4705499"/>
                <a:gd name="connsiteX117" fmla="*/ 549275 w 1182687"/>
                <a:gd name="connsiteY117" fmla="*/ 1085364 h 4705499"/>
                <a:gd name="connsiteX118" fmla="*/ 591344 w 1182687"/>
                <a:gd name="connsiteY118" fmla="*/ 1043138 h 4705499"/>
                <a:gd name="connsiteX119" fmla="*/ 42069 w 1182687"/>
                <a:gd name="connsiteY119" fmla="*/ 1043138 h 4705499"/>
                <a:gd name="connsiteX120" fmla="*/ 84138 w 1182687"/>
                <a:gd name="connsiteY120" fmla="*/ 1085364 h 4705499"/>
                <a:gd name="connsiteX121" fmla="*/ 84138 w 1182687"/>
                <a:gd name="connsiteY121" fmla="*/ 1507324 h 4705499"/>
                <a:gd name="connsiteX122" fmla="*/ 42069 w 1182687"/>
                <a:gd name="connsiteY122" fmla="*/ 1549551 h 4705499"/>
                <a:gd name="connsiteX123" fmla="*/ 0 w 1182687"/>
                <a:gd name="connsiteY123" fmla="*/ 1507324 h 4705499"/>
                <a:gd name="connsiteX124" fmla="*/ 0 w 1182687"/>
                <a:gd name="connsiteY124" fmla="*/ 1085364 h 4705499"/>
                <a:gd name="connsiteX125" fmla="*/ 42069 w 1182687"/>
                <a:gd name="connsiteY125" fmla="*/ 1043138 h 4705499"/>
                <a:gd name="connsiteX126" fmla="*/ 866132 w 1182687"/>
                <a:gd name="connsiteY126" fmla="*/ 1043138 h 4705499"/>
                <a:gd name="connsiteX127" fmla="*/ 908051 w 1182687"/>
                <a:gd name="connsiteY127" fmla="*/ 1085364 h 4705499"/>
                <a:gd name="connsiteX128" fmla="*/ 908051 w 1182687"/>
                <a:gd name="connsiteY128" fmla="*/ 1507324 h 4705499"/>
                <a:gd name="connsiteX129" fmla="*/ 866132 w 1182687"/>
                <a:gd name="connsiteY129" fmla="*/ 1549550 h 4705499"/>
                <a:gd name="connsiteX130" fmla="*/ 823913 w 1182687"/>
                <a:gd name="connsiteY130" fmla="*/ 1507324 h 4705499"/>
                <a:gd name="connsiteX131" fmla="*/ 823913 w 1182687"/>
                <a:gd name="connsiteY131" fmla="*/ 1085364 h 4705499"/>
                <a:gd name="connsiteX132" fmla="*/ 866132 w 1182687"/>
                <a:gd name="connsiteY132" fmla="*/ 1043138 h 4705499"/>
                <a:gd name="connsiteX133" fmla="*/ 316707 w 1182687"/>
                <a:gd name="connsiteY133" fmla="*/ 1043138 h 4705499"/>
                <a:gd name="connsiteX134" fmla="*/ 358776 w 1182687"/>
                <a:gd name="connsiteY134" fmla="*/ 1085364 h 4705499"/>
                <a:gd name="connsiteX135" fmla="*/ 358776 w 1182687"/>
                <a:gd name="connsiteY135" fmla="*/ 1507324 h 4705499"/>
                <a:gd name="connsiteX136" fmla="*/ 316707 w 1182687"/>
                <a:gd name="connsiteY136" fmla="*/ 1549550 h 4705499"/>
                <a:gd name="connsiteX137" fmla="*/ 274638 w 1182687"/>
                <a:gd name="connsiteY137" fmla="*/ 1507324 h 4705499"/>
                <a:gd name="connsiteX138" fmla="*/ 274638 w 1182687"/>
                <a:gd name="connsiteY138" fmla="*/ 1085364 h 4705499"/>
                <a:gd name="connsiteX139" fmla="*/ 316707 w 1182687"/>
                <a:gd name="connsiteY139" fmla="*/ 1043138 h 4705499"/>
                <a:gd name="connsiteX140" fmla="*/ 823913 w 1182687"/>
                <a:gd name="connsiteY140" fmla="*/ 34281 h 4705499"/>
                <a:gd name="connsiteX141" fmla="*/ 908051 w 1182687"/>
                <a:gd name="connsiteY141" fmla="*/ 34281 h 4705499"/>
                <a:gd name="connsiteX142" fmla="*/ 823913 w 1182687"/>
                <a:gd name="connsiteY142" fmla="*/ 34281 h 4705499"/>
                <a:gd name="connsiteX143" fmla="*/ 549275 w 1182687"/>
                <a:gd name="connsiteY143" fmla="*/ 34281 h 4705499"/>
                <a:gd name="connsiteX144" fmla="*/ 633413 w 1182687"/>
                <a:gd name="connsiteY144" fmla="*/ 34281 h 4705499"/>
                <a:gd name="connsiteX145" fmla="*/ 549275 w 1182687"/>
                <a:gd name="connsiteY145" fmla="*/ 34281 h 4705499"/>
                <a:gd name="connsiteX146" fmla="*/ 1096963 w 1182687"/>
                <a:gd name="connsiteY146" fmla="*/ 34281 h 4705499"/>
                <a:gd name="connsiteX147" fmla="*/ 1182688 w 1182687"/>
                <a:gd name="connsiteY147" fmla="*/ 34281 h 4705499"/>
                <a:gd name="connsiteX148" fmla="*/ 1096963 w 1182687"/>
                <a:gd name="connsiteY148" fmla="*/ 34281 h 4705499"/>
                <a:gd name="connsiteX0" fmla="*/ 1139826 w 1182687"/>
                <a:gd name="connsiteY0" fmla="*/ 4197556 h 4702381"/>
                <a:gd name="connsiteX1" fmla="*/ 1182688 w 1182687"/>
                <a:gd name="connsiteY1" fmla="*/ 4239625 h 4702381"/>
                <a:gd name="connsiteX2" fmla="*/ 1182688 w 1182687"/>
                <a:gd name="connsiteY2" fmla="*/ 4660312 h 4702381"/>
                <a:gd name="connsiteX3" fmla="*/ 1139826 w 1182687"/>
                <a:gd name="connsiteY3" fmla="*/ 4702381 h 4702381"/>
                <a:gd name="connsiteX4" fmla="*/ 1096963 w 1182687"/>
                <a:gd name="connsiteY4" fmla="*/ 4660312 h 4702381"/>
                <a:gd name="connsiteX5" fmla="*/ 1096963 w 1182687"/>
                <a:gd name="connsiteY5" fmla="*/ 4239625 h 4702381"/>
                <a:gd name="connsiteX6" fmla="*/ 1139826 w 1182687"/>
                <a:gd name="connsiteY6" fmla="*/ 4197556 h 4702381"/>
                <a:gd name="connsiteX7" fmla="*/ 866132 w 1182687"/>
                <a:gd name="connsiteY7" fmla="*/ 4197556 h 4702381"/>
                <a:gd name="connsiteX8" fmla="*/ 908051 w 1182687"/>
                <a:gd name="connsiteY8" fmla="*/ 4239625 h 4702381"/>
                <a:gd name="connsiteX9" fmla="*/ 908051 w 1182687"/>
                <a:gd name="connsiteY9" fmla="*/ 4660312 h 4702381"/>
                <a:gd name="connsiteX10" fmla="*/ 866132 w 1182687"/>
                <a:gd name="connsiteY10" fmla="*/ 4702381 h 4702381"/>
                <a:gd name="connsiteX11" fmla="*/ 823913 w 1182687"/>
                <a:gd name="connsiteY11" fmla="*/ 4660312 h 4702381"/>
                <a:gd name="connsiteX12" fmla="*/ 823913 w 1182687"/>
                <a:gd name="connsiteY12" fmla="*/ 4239625 h 4702381"/>
                <a:gd name="connsiteX13" fmla="*/ 866132 w 1182687"/>
                <a:gd name="connsiteY13" fmla="*/ 4197556 h 4702381"/>
                <a:gd name="connsiteX14" fmla="*/ 591344 w 1182687"/>
                <a:gd name="connsiteY14" fmla="*/ 4197556 h 4702381"/>
                <a:gd name="connsiteX15" fmla="*/ 633413 w 1182687"/>
                <a:gd name="connsiteY15" fmla="*/ 4239625 h 4702381"/>
                <a:gd name="connsiteX16" fmla="*/ 633413 w 1182687"/>
                <a:gd name="connsiteY16" fmla="*/ 4660312 h 4702381"/>
                <a:gd name="connsiteX17" fmla="*/ 591344 w 1182687"/>
                <a:gd name="connsiteY17" fmla="*/ 4702381 h 4702381"/>
                <a:gd name="connsiteX18" fmla="*/ 549275 w 1182687"/>
                <a:gd name="connsiteY18" fmla="*/ 4660312 h 4702381"/>
                <a:gd name="connsiteX19" fmla="*/ 549275 w 1182687"/>
                <a:gd name="connsiteY19" fmla="*/ 4239625 h 4702381"/>
                <a:gd name="connsiteX20" fmla="*/ 591344 w 1182687"/>
                <a:gd name="connsiteY20" fmla="*/ 4197556 h 4702381"/>
                <a:gd name="connsiteX21" fmla="*/ 316707 w 1182687"/>
                <a:gd name="connsiteY21" fmla="*/ 4197556 h 4702381"/>
                <a:gd name="connsiteX22" fmla="*/ 358776 w 1182687"/>
                <a:gd name="connsiteY22" fmla="*/ 4239625 h 4702381"/>
                <a:gd name="connsiteX23" fmla="*/ 358776 w 1182687"/>
                <a:gd name="connsiteY23" fmla="*/ 4660312 h 4702381"/>
                <a:gd name="connsiteX24" fmla="*/ 316707 w 1182687"/>
                <a:gd name="connsiteY24" fmla="*/ 4702381 h 4702381"/>
                <a:gd name="connsiteX25" fmla="*/ 274638 w 1182687"/>
                <a:gd name="connsiteY25" fmla="*/ 4660312 h 4702381"/>
                <a:gd name="connsiteX26" fmla="*/ 274638 w 1182687"/>
                <a:gd name="connsiteY26" fmla="*/ 4239625 h 4702381"/>
                <a:gd name="connsiteX27" fmla="*/ 316707 w 1182687"/>
                <a:gd name="connsiteY27" fmla="*/ 4197556 h 4702381"/>
                <a:gd name="connsiteX28" fmla="*/ 42069 w 1182687"/>
                <a:gd name="connsiteY28" fmla="*/ 4197556 h 4702381"/>
                <a:gd name="connsiteX29" fmla="*/ 84138 w 1182687"/>
                <a:gd name="connsiteY29" fmla="*/ 4239625 h 4702381"/>
                <a:gd name="connsiteX30" fmla="*/ 84138 w 1182687"/>
                <a:gd name="connsiteY30" fmla="*/ 4660312 h 4702381"/>
                <a:gd name="connsiteX31" fmla="*/ 42069 w 1182687"/>
                <a:gd name="connsiteY31" fmla="*/ 4702381 h 4702381"/>
                <a:gd name="connsiteX32" fmla="*/ 0 w 1182687"/>
                <a:gd name="connsiteY32" fmla="*/ 4660312 h 4702381"/>
                <a:gd name="connsiteX33" fmla="*/ 0 w 1182687"/>
                <a:gd name="connsiteY33" fmla="*/ 4239625 h 4702381"/>
                <a:gd name="connsiteX34" fmla="*/ 42069 w 1182687"/>
                <a:gd name="connsiteY34" fmla="*/ 4197556 h 4702381"/>
                <a:gd name="connsiteX35" fmla="*/ 1139826 w 1182687"/>
                <a:gd name="connsiteY35" fmla="*/ 3143456 h 4702381"/>
                <a:gd name="connsiteX36" fmla="*/ 1182688 w 1182687"/>
                <a:gd name="connsiteY36" fmla="*/ 3185657 h 4702381"/>
                <a:gd name="connsiteX37" fmla="*/ 1182688 w 1182687"/>
                <a:gd name="connsiteY37" fmla="*/ 3607668 h 4702381"/>
                <a:gd name="connsiteX38" fmla="*/ 1139826 w 1182687"/>
                <a:gd name="connsiteY38" fmla="*/ 3649869 h 4702381"/>
                <a:gd name="connsiteX39" fmla="*/ 1096963 w 1182687"/>
                <a:gd name="connsiteY39" fmla="*/ 3607668 h 4702381"/>
                <a:gd name="connsiteX40" fmla="*/ 1096963 w 1182687"/>
                <a:gd name="connsiteY40" fmla="*/ 3185657 h 4702381"/>
                <a:gd name="connsiteX41" fmla="*/ 1139826 w 1182687"/>
                <a:gd name="connsiteY41" fmla="*/ 3143456 h 4702381"/>
                <a:gd name="connsiteX42" fmla="*/ 866132 w 1182687"/>
                <a:gd name="connsiteY42" fmla="*/ 3143456 h 4702381"/>
                <a:gd name="connsiteX43" fmla="*/ 908051 w 1182687"/>
                <a:gd name="connsiteY43" fmla="*/ 3185657 h 4702381"/>
                <a:gd name="connsiteX44" fmla="*/ 908051 w 1182687"/>
                <a:gd name="connsiteY44" fmla="*/ 3607668 h 4702381"/>
                <a:gd name="connsiteX45" fmla="*/ 866132 w 1182687"/>
                <a:gd name="connsiteY45" fmla="*/ 3649869 h 4702381"/>
                <a:gd name="connsiteX46" fmla="*/ 823913 w 1182687"/>
                <a:gd name="connsiteY46" fmla="*/ 3607668 h 4702381"/>
                <a:gd name="connsiteX47" fmla="*/ 823913 w 1182687"/>
                <a:gd name="connsiteY47" fmla="*/ 3185657 h 4702381"/>
                <a:gd name="connsiteX48" fmla="*/ 866132 w 1182687"/>
                <a:gd name="connsiteY48" fmla="*/ 3143456 h 4702381"/>
                <a:gd name="connsiteX49" fmla="*/ 591344 w 1182687"/>
                <a:gd name="connsiteY49" fmla="*/ 3143456 h 4702381"/>
                <a:gd name="connsiteX50" fmla="*/ 633413 w 1182687"/>
                <a:gd name="connsiteY50" fmla="*/ 3185657 h 4702381"/>
                <a:gd name="connsiteX51" fmla="*/ 633413 w 1182687"/>
                <a:gd name="connsiteY51" fmla="*/ 3607668 h 4702381"/>
                <a:gd name="connsiteX52" fmla="*/ 591344 w 1182687"/>
                <a:gd name="connsiteY52" fmla="*/ 3649869 h 4702381"/>
                <a:gd name="connsiteX53" fmla="*/ 549275 w 1182687"/>
                <a:gd name="connsiteY53" fmla="*/ 3607668 h 4702381"/>
                <a:gd name="connsiteX54" fmla="*/ 549275 w 1182687"/>
                <a:gd name="connsiteY54" fmla="*/ 3185657 h 4702381"/>
                <a:gd name="connsiteX55" fmla="*/ 591344 w 1182687"/>
                <a:gd name="connsiteY55" fmla="*/ 3143456 h 4702381"/>
                <a:gd name="connsiteX56" fmla="*/ 316707 w 1182687"/>
                <a:gd name="connsiteY56" fmla="*/ 3143456 h 4702381"/>
                <a:gd name="connsiteX57" fmla="*/ 358776 w 1182687"/>
                <a:gd name="connsiteY57" fmla="*/ 3185657 h 4702381"/>
                <a:gd name="connsiteX58" fmla="*/ 358776 w 1182687"/>
                <a:gd name="connsiteY58" fmla="*/ 3607668 h 4702381"/>
                <a:gd name="connsiteX59" fmla="*/ 316707 w 1182687"/>
                <a:gd name="connsiteY59" fmla="*/ 3649869 h 4702381"/>
                <a:gd name="connsiteX60" fmla="*/ 274638 w 1182687"/>
                <a:gd name="connsiteY60" fmla="*/ 3607668 h 4702381"/>
                <a:gd name="connsiteX61" fmla="*/ 274638 w 1182687"/>
                <a:gd name="connsiteY61" fmla="*/ 3185657 h 4702381"/>
                <a:gd name="connsiteX62" fmla="*/ 316707 w 1182687"/>
                <a:gd name="connsiteY62" fmla="*/ 3143456 h 4702381"/>
                <a:gd name="connsiteX63" fmla="*/ 42069 w 1182687"/>
                <a:gd name="connsiteY63" fmla="*/ 3143456 h 4702381"/>
                <a:gd name="connsiteX64" fmla="*/ 84138 w 1182687"/>
                <a:gd name="connsiteY64" fmla="*/ 3185657 h 4702381"/>
                <a:gd name="connsiteX65" fmla="*/ 84138 w 1182687"/>
                <a:gd name="connsiteY65" fmla="*/ 3607668 h 4702381"/>
                <a:gd name="connsiteX66" fmla="*/ 42069 w 1182687"/>
                <a:gd name="connsiteY66" fmla="*/ 3649869 h 4702381"/>
                <a:gd name="connsiteX67" fmla="*/ 0 w 1182687"/>
                <a:gd name="connsiteY67" fmla="*/ 3607668 h 4702381"/>
                <a:gd name="connsiteX68" fmla="*/ 0 w 1182687"/>
                <a:gd name="connsiteY68" fmla="*/ 3185657 h 4702381"/>
                <a:gd name="connsiteX69" fmla="*/ 42069 w 1182687"/>
                <a:gd name="connsiteY69" fmla="*/ 3143456 h 4702381"/>
                <a:gd name="connsiteX70" fmla="*/ 1139826 w 1182687"/>
                <a:gd name="connsiteY70" fmla="*/ 2092531 h 4702381"/>
                <a:gd name="connsiteX71" fmla="*/ 1182688 w 1182687"/>
                <a:gd name="connsiteY71" fmla="*/ 2134600 h 4702381"/>
                <a:gd name="connsiteX72" fmla="*/ 1182688 w 1182687"/>
                <a:gd name="connsiteY72" fmla="*/ 2555287 h 4702381"/>
                <a:gd name="connsiteX73" fmla="*/ 1139826 w 1182687"/>
                <a:gd name="connsiteY73" fmla="*/ 2597356 h 4702381"/>
                <a:gd name="connsiteX74" fmla="*/ 1096963 w 1182687"/>
                <a:gd name="connsiteY74" fmla="*/ 2555287 h 4702381"/>
                <a:gd name="connsiteX75" fmla="*/ 1096963 w 1182687"/>
                <a:gd name="connsiteY75" fmla="*/ 2134600 h 4702381"/>
                <a:gd name="connsiteX76" fmla="*/ 1139826 w 1182687"/>
                <a:gd name="connsiteY76" fmla="*/ 2092531 h 4702381"/>
                <a:gd name="connsiteX77" fmla="*/ 866132 w 1182687"/>
                <a:gd name="connsiteY77" fmla="*/ 2092531 h 4702381"/>
                <a:gd name="connsiteX78" fmla="*/ 908051 w 1182687"/>
                <a:gd name="connsiteY78" fmla="*/ 2134600 h 4702381"/>
                <a:gd name="connsiteX79" fmla="*/ 908051 w 1182687"/>
                <a:gd name="connsiteY79" fmla="*/ 2555287 h 4702381"/>
                <a:gd name="connsiteX80" fmla="*/ 866132 w 1182687"/>
                <a:gd name="connsiteY80" fmla="*/ 2597356 h 4702381"/>
                <a:gd name="connsiteX81" fmla="*/ 823913 w 1182687"/>
                <a:gd name="connsiteY81" fmla="*/ 2555287 h 4702381"/>
                <a:gd name="connsiteX82" fmla="*/ 823913 w 1182687"/>
                <a:gd name="connsiteY82" fmla="*/ 2134600 h 4702381"/>
                <a:gd name="connsiteX83" fmla="*/ 866132 w 1182687"/>
                <a:gd name="connsiteY83" fmla="*/ 2092531 h 4702381"/>
                <a:gd name="connsiteX84" fmla="*/ 591344 w 1182687"/>
                <a:gd name="connsiteY84" fmla="*/ 2092531 h 4702381"/>
                <a:gd name="connsiteX85" fmla="*/ 633413 w 1182687"/>
                <a:gd name="connsiteY85" fmla="*/ 2134600 h 4702381"/>
                <a:gd name="connsiteX86" fmla="*/ 633413 w 1182687"/>
                <a:gd name="connsiteY86" fmla="*/ 2555287 h 4702381"/>
                <a:gd name="connsiteX87" fmla="*/ 591344 w 1182687"/>
                <a:gd name="connsiteY87" fmla="*/ 2597356 h 4702381"/>
                <a:gd name="connsiteX88" fmla="*/ 549275 w 1182687"/>
                <a:gd name="connsiteY88" fmla="*/ 2555287 h 4702381"/>
                <a:gd name="connsiteX89" fmla="*/ 549275 w 1182687"/>
                <a:gd name="connsiteY89" fmla="*/ 2134600 h 4702381"/>
                <a:gd name="connsiteX90" fmla="*/ 591344 w 1182687"/>
                <a:gd name="connsiteY90" fmla="*/ 2092531 h 4702381"/>
                <a:gd name="connsiteX91" fmla="*/ 316707 w 1182687"/>
                <a:gd name="connsiteY91" fmla="*/ 2092531 h 4702381"/>
                <a:gd name="connsiteX92" fmla="*/ 358776 w 1182687"/>
                <a:gd name="connsiteY92" fmla="*/ 2134600 h 4702381"/>
                <a:gd name="connsiteX93" fmla="*/ 358776 w 1182687"/>
                <a:gd name="connsiteY93" fmla="*/ 2555287 h 4702381"/>
                <a:gd name="connsiteX94" fmla="*/ 316707 w 1182687"/>
                <a:gd name="connsiteY94" fmla="*/ 2597356 h 4702381"/>
                <a:gd name="connsiteX95" fmla="*/ 274638 w 1182687"/>
                <a:gd name="connsiteY95" fmla="*/ 2555287 h 4702381"/>
                <a:gd name="connsiteX96" fmla="*/ 274638 w 1182687"/>
                <a:gd name="connsiteY96" fmla="*/ 2134600 h 4702381"/>
                <a:gd name="connsiteX97" fmla="*/ 316707 w 1182687"/>
                <a:gd name="connsiteY97" fmla="*/ 2092531 h 4702381"/>
                <a:gd name="connsiteX98" fmla="*/ 42069 w 1182687"/>
                <a:gd name="connsiteY98" fmla="*/ 2092531 h 4702381"/>
                <a:gd name="connsiteX99" fmla="*/ 84138 w 1182687"/>
                <a:gd name="connsiteY99" fmla="*/ 2134600 h 4702381"/>
                <a:gd name="connsiteX100" fmla="*/ 84138 w 1182687"/>
                <a:gd name="connsiteY100" fmla="*/ 2555287 h 4702381"/>
                <a:gd name="connsiteX101" fmla="*/ 42069 w 1182687"/>
                <a:gd name="connsiteY101" fmla="*/ 2597356 h 4702381"/>
                <a:gd name="connsiteX102" fmla="*/ 0 w 1182687"/>
                <a:gd name="connsiteY102" fmla="*/ 2555287 h 4702381"/>
                <a:gd name="connsiteX103" fmla="*/ 0 w 1182687"/>
                <a:gd name="connsiteY103" fmla="*/ 2134600 h 4702381"/>
                <a:gd name="connsiteX104" fmla="*/ 42069 w 1182687"/>
                <a:gd name="connsiteY104" fmla="*/ 2092531 h 4702381"/>
                <a:gd name="connsiteX105" fmla="*/ 1139826 w 1182687"/>
                <a:gd name="connsiteY105" fmla="*/ 1040020 h 4702381"/>
                <a:gd name="connsiteX106" fmla="*/ 1182688 w 1182687"/>
                <a:gd name="connsiteY106" fmla="*/ 1082246 h 4702381"/>
                <a:gd name="connsiteX107" fmla="*/ 1182688 w 1182687"/>
                <a:gd name="connsiteY107" fmla="*/ 1504206 h 4702381"/>
                <a:gd name="connsiteX108" fmla="*/ 1139826 w 1182687"/>
                <a:gd name="connsiteY108" fmla="*/ 1546433 h 4702381"/>
                <a:gd name="connsiteX109" fmla="*/ 1096963 w 1182687"/>
                <a:gd name="connsiteY109" fmla="*/ 1504206 h 4702381"/>
                <a:gd name="connsiteX110" fmla="*/ 1096963 w 1182687"/>
                <a:gd name="connsiteY110" fmla="*/ 1082246 h 4702381"/>
                <a:gd name="connsiteX111" fmla="*/ 1139826 w 1182687"/>
                <a:gd name="connsiteY111" fmla="*/ 1040020 h 4702381"/>
                <a:gd name="connsiteX112" fmla="*/ 591344 w 1182687"/>
                <a:gd name="connsiteY112" fmla="*/ 1040020 h 4702381"/>
                <a:gd name="connsiteX113" fmla="*/ 633413 w 1182687"/>
                <a:gd name="connsiteY113" fmla="*/ 1082246 h 4702381"/>
                <a:gd name="connsiteX114" fmla="*/ 633413 w 1182687"/>
                <a:gd name="connsiteY114" fmla="*/ 1504206 h 4702381"/>
                <a:gd name="connsiteX115" fmla="*/ 591344 w 1182687"/>
                <a:gd name="connsiteY115" fmla="*/ 1546433 h 4702381"/>
                <a:gd name="connsiteX116" fmla="*/ 549275 w 1182687"/>
                <a:gd name="connsiteY116" fmla="*/ 1504206 h 4702381"/>
                <a:gd name="connsiteX117" fmla="*/ 549275 w 1182687"/>
                <a:gd name="connsiteY117" fmla="*/ 1082246 h 4702381"/>
                <a:gd name="connsiteX118" fmla="*/ 591344 w 1182687"/>
                <a:gd name="connsiteY118" fmla="*/ 1040020 h 4702381"/>
                <a:gd name="connsiteX119" fmla="*/ 42069 w 1182687"/>
                <a:gd name="connsiteY119" fmla="*/ 1040020 h 4702381"/>
                <a:gd name="connsiteX120" fmla="*/ 84138 w 1182687"/>
                <a:gd name="connsiteY120" fmla="*/ 1082246 h 4702381"/>
                <a:gd name="connsiteX121" fmla="*/ 84138 w 1182687"/>
                <a:gd name="connsiteY121" fmla="*/ 1504206 h 4702381"/>
                <a:gd name="connsiteX122" fmla="*/ 42069 w 1182687"/>
                <a:gd name="connsiteY122" fmla="*/ 1546433 h 4702381"/>
                <a:gd name="connsiteX123" fmla="*/ 0 w 1182687"/>
                <a:gd name="connsiteY123" fmla="*/ 1504206 h 4702381"/>
                <a:gd name="connsiteX124" fmla="*/ 0 w 1182687"/>
                <a:gd name="connsiteY124" fmla="*/ 1082246 h 4702381"/>
                <a:gd name="connsiteX125" fmla="*/ 42069 w 1182687"/>
                <a:gd name="connsiteY125" fmla="*/ 1040020 h 4702381"/>
                <a:gd name="connsiteX126" fmla="*/ 866132 w 1182687"/>
                <a:gd name="connsiteY126" fmla="*/ 1040020 h 4702381"/>
                <a:gd name="connsiteX127" fmla="*/ 908051 w 1182687"/>
                <a:gd name="connsiteY127" fmla="*/ 1082246 h 4702381"/>
                <a:gd name="connsiteX128" fmla="*/ 908051 w 1182687"/>
                <a:gd name="connsiteY128" fmla="*/ 1504206 h 4702381"/>
                <a:gd name="connsiteX129" fmla="*/ 866132 w 1182687"/>
                <a:gd name="connsiteY129" fmla="*/ 1546432 h 4702381"/>
                <a:gd name="connsiteX130" fmla="*/ 823913 w 1182687"/>
                <a:gd name="connsiteY130" fmla="*/ 1504206 h 4702381"/>
                <a:gd name="connsiteX131" fmla="*/ 823913 w 1182687"/>
                <a:gd name="connsiteY131" fmla="*/ 1082246 h 4702381"/>
                <a:gd name="connsiteX132" fmla="*/ 866132 w 1182687"/>
                <a:gd name="connsiteY132" fmla="*/ 1040020 h 4702381"/>
                <a:gd name="connsiteX133" fmla="*/ 316707 w 1182687"/>
                <a:gd name="connsiteY133" fmla="*/ 1040020 h 4702381"/>
                <a:gd name="connsiteX134" fmla="*/ 358776 w 1182687"/>
                <a:gd name="connsiteY134" fmla="*/ 1082246 h 4702381"/>
                <a:gd name="connsiteX135" fmla="*/ 358776 w 1182687"/>
                <a:gd name="connsiteY135" fmla="*/ 1504206 h 4702381"/>
                <a:gd name="connsiteX136" fmla="*/ 316707 w 1182687"/>
                <a:gd name="connsiteY136" fmla="*/ 1546432 h 4702381"/>
                <a:gd name="connsiteX137" fmla="*/ 274638 w 1182687"/>
                <a:gd name="connsiteY137" fmla="*/ 1504206 h 4702381"/>
                <a:gd name="connsiteX138" fmla="*/ 274638 w 1182687"/>
                <a:gd name="connsiteY138" fmla="*/ 1082246 h 4702381"/>
                <a:gd name="connsiteX139" fmla="*/ 316707 w 1182687"/>
                <a:gd name="connsiteY139" fmla="*/ 1040020 h 4702381"/>
                <a:gd name="connsiteX140" fmla="*/ 823913 w 1182687"/>
                <a:gd name="connsiteY140" fmla="*/ 31163 h 4702381"/>
                <a:gd name="connsiteX141" fmla="*/ 908051 w 1182687"/>
                <a:gd name="connsiteY141" fmla="*/ 31163 h 4702381"/>
                <a:gd name="connsiteX142" fmla="*/ 823913 w 1182687"/>
                <a:gd name="connsiteY142" fmla="*/ 31163 h 4702381"/>
                <a:gd name="connsiteX143" fmla="*/ 549275 w 1182687"/>
                <a:gd name="connsiteY143" fmla="*/ 31163 h 4702381"/>
                <a:gd name="connsiteX144" fmla="*/ 633413 w 1182687"/>
                <a:gd name="connsiteY144" fmla="*/ 31163 h 4702381"/>
                <a:gd name="connsiteX145" fmla="*/ 549275 w 1182687"/>
                <a:gd name="connsiteY145" fmla="*/ 31163 h 4702381"/>
                <a:gd name="connsiteX0" fmla="*/ 1139826 w 1182687"/>
                <a:gd name="connsiteY0" fmla="*/ 4197556 h 4702381"/>
                <a:gd name="connsiteX1" fmla="*/ 1182688 w 1182687"/>
                <a:gd name="connsiteY1" fmla="*/ 4239625 h 4702381"/>
                <a:gd name="connsiteX2" fmla="*/ 1182688 w 1182687"/>
                <a:gd name="connsiteY2" fmla="*/ 4660312 h 4702381"/>
                <a:gd name="connsiteX3" fmla="*/ 1139826 w 1182687"/>
                <a:gd name="connsiteY3" fmla="*/ 4702381 h 4702381"/>
                <a:gd name="connsiteX4" fmla="*/ 1096963 w 1182687"/>
                <a:gd name="connsiteY4" fmla="*/ 4660312 h 4702381"/>
                <a:gd name="connsiteX5" fmla="*/ 1096963 w 1182687"/>
                <a:gd name="connsiteY5" fmla="*/ 4239625 h 4702381"/>
                <a:gd name="connsiteX6" fmla="*/ 1139826 w 1182687"/>
                <a:gd name="connsiteY6" fmla="*/ 4197556 h 4702381"/>
                <a:gd name="connsiteX7" fmla="*/ 866132 w 1182687"/>
                <a:gd name="connsiteY7" fmla="*/ 4197556 h 4702381"/>
                <a:gd name="connsiteX8" fmla="*/ 908051 w 1182687"/>
                <a:gd name="connsiteY8" fmla="*/ 4239625 h 4702381"/>
                <a:gd name="connsiteX9" fmla="*/ 908051 w 1182687"/>
                <a:gd name="connsiteY9" fmla="*/ 4660312 h 4702381"/>
                <a:gd name="connsiteX10" fmla="*/ 866132 w 1182687"/>
                <a:gd name="connsiteY10" fmla="*/ 4702381 h 4702381"/>
                <a:gd name="connsiteX11" fmla="*/ 823913 w 1182687"/>
                <a:gd name="connsiteY11" fmla="*/ 4660312 h 4702381"/>
                <a:gd name="connsiteX12" fmla="*/ 823913 w 1182687"/>
                <a:gd name="connsiteY12" fmla="*/ 4239625 h 4702381"/>
                <a:gd name="connsiteX13" fmla="*/ 866132 w 1182687"/>
                <a:gd name="connsiteY13" fmla="*/ 4197556 h 4702381"/>
                <a:gd name="connsiteX14" fmla="*/ 591344 w 1182687"/>
                <a:gd name="connsiteY14" fmla="*/ 4197556 h 4702381"/>
                <a:gd name="connsiteX15" fmla="*/ 633413 w 1182687"/>
                <a:gd name="connsiteY15" fmla="*/ 4239625 h 4702381"/>
                <a:gd name="connsiteX16" fmla="*/ 633413 w 1182687"/>
                <a:gd name="connsiteY16" fmla="*/ 4660312 h 4702381"/>
                <a:gd name="connsiteX17" fmla="*/ 591344 w 1182687"/>
                <a:gd name="connsiteY17" fmla="*/ 4702381 h 4702381"/>
                <a:gd name="connsiteX18" fmla="*/ 549275 w 1182687"/>
                <a:gd name="connsiteY18" fmla="*/ 4660312 h 4702381"/>
                <a:gd name="connsiteX19" fmla="*/ 549275 w 1182687"/>
                <a:gd name="connsiteY19" fmla="*/ 4239625 h 4702381"/>
                <a:gd name="connsiteX20" fmla="*/ 591344 w 1182687"/>
                <a:gd name="connsiteY20" fmla="*/ 4197556 h 4702381"/>
                <a:gd name="connsiteX21" fmla="*/ 316707 w 1182687"/>
                <a:gd name="connsiteY21" fmla="*/ 4197556 h 4702381"/>
                <a:gd name="connsiteX22" fmla="*/ 358776 w 1182687"/>
                <a:gd name="connsiteY22" fmla="*/ 4239625 h 4702381"/>
                <a:gd name="connsiteX23" fmla="*/ 358776 w 1182687"/>
                <a:gd name="connsiteY23" fmla="*/ 4660312 h 4702381"/>
                <a:gd name="connsiteX24" fmla="*/ 316707 w 1182687"/>
                <a:gd name="connsiteY24" fmla="*/ 4702381 h 4702381"/>
                <a:gd name="connsiteX25" fmla="*/ 274638 w 1182687"/>
                <a:gd name="connsiteY25" fmla="*/ 4660312 h 4702381"/>
                <a:gd name="connsiteX26" fmla="*/ 274638 w 1182687"/>
                <a:gd name="connsiteY26" fmla="*/ 4239625 h 4702381"/>
                <a:gd name="connsiteX27" fmla="*/ 316707 w 1182687"/>
                <a:gd name="connsiteY27" fmla="*/ 4197556 h 4702381"/>
                <a:gd name="connsiteX28" fmla="*/ 42069 w 1182687"/>
                <a:gd name="connsiteY28" fmla="*/ 4197556 h 4702381"/>
                <a:gd name="connsiteX29" fmla="*/ 84138 w 1182687"/>
                <a:gd name="connsiteY29" fmla="*/ 4239625 h 4702381"/>
                <a:gd name="connsiteX30" fmla="*/ 84138 w 1182687"/>
                <a:gd name="connsiteY30" fmla="*/ 4660312 h 4702381"/>
                <a:gd name="connsiteX31" fmla="*/ 42069 w 1182687"/>
                <a:gd name="connsiteY31" fmla="*/ 4702381 h 4702381"/>
                <a:gd name="connsiteX32" fmla="*/ 0 w 1182687"/>
                <a:gd name="connsiteY32" fmla="*/ 4660312 h 4702381"/>
                <a:gd name="connsiteX33" fmla="*/ 0 w 1182687"/>
                <a:gd name="connsiteY33" fmla="*/ 4239625 h 4702381"/>
                <a:gd name="connsiteX34" fmla="*/ 42069 w 1182687"/>
                <a:gd name="connsiteY34" fmla="*/ 4197556 h 4702381"/>
                <a:gd name="connsiteX35" fmla="*/ 1139826 w 1182687"/>
                <a:gd name="connsiteY35" fmla="*/ 3143456 h 4702381"/>
                <a:gd name="connsiteX36" fmla="*/ 1182688 w 1182687"/>
                <a:gd name="connsiteY36" fmla="*/ 3185657 h 4702381"/>
                <a:gd name="connsiteX37" fmla="*/ 1182688 w 1182687"/>
                <a:gd name="connsiteY37" fmla="*/ 3607668 h 4702381"/>
                <a:gd name="connsiteX38" fmla="*/ 1139826 w 1182687"/>
                <a:gd name="connsiteY38" fmla="*/ 3649869 h 4702381"/>
                <a:gd name="connsiteX39" fmla="*/ 1096963 w 1182687"/>
                <a:gd name="connsiteY39" fmla="*/ 3607668 h 4702381"/>
                <a:gd name="connsiteX40" fmla="*/ 1096963 w 1182687"/>
                <a:gd name="connsiteY40" fmla="*/ 3185657 h 4702381"/>
                <a:gd name="connsiteX41" fmla="*/ 1139826 w 1182687"/>
                <a:gd name="connsiteY41" fmla="*/ 3143456 h 4702381"/>
                <a:gd name="connsiteX42" fmla="*/ 866132 w 1182687"/>
                <a:gd name="connsiteY42" fmla="*/ 3143456 h 4702381"/>
                <a:gd name="connsiteX43" fmla="*/ 908051 w 1182687"/>
                <a:gd name="connsiteY43" fmla="*/ 3185657 h 4702381"/>
                <a:gd name="connsiteX44" fmla="*/ 908051 w 1182687"/>
                <a:gd name="connsiteY44" fmla="*/ 3607668 h 4702381"/>
                <a:gd name="connsiteX45" fmla="*/ 866132 w 1182687"/>
                <a:gd name="connsiteY45" fmla="*/ 3649869 h 4702381"/>
                <a:gd name="connsiteX46" fmla="*/ 823913 w 1182687"/>
                <a:gd name="connsiteY46" fmla="*/ 3607668 h 4702381"/>
                <a:gd name="connsiteX47" fmla="*/ 823913 w 1182687"/>
                <a:gd name="connsiteY47" fmla="*/ 3185657 h 4702381"/>
                <a:gd name="connsiteX48" fmla="*/ 866132 w 1182687"/>
                <a:gd name="connsiteY48" fmla="*/ 3143456 h 4702381"/>
                <a:gd name="connsiteX49" fmla="*/ 591344 w 1182687"/>
                <a:gd name="connsiteY49" fmla="*/ 3143456 h 4702381"/>
                <a:gd name="connsiteX50" fmla="*/ 633413 w 1182687"/>
                <a:gd name="connsiteY50" fmla="*/ 3185657 h 4702381"/>
                <a:gd name="connsiteX51" fmla="*/ 633413 w 1182687"/>
                <a:gd name="connsiteY51" fmla="*/ 3607668 h 4702381"/>
                <a:gd name="connsiteX52" fmla="*/ 591344 w 1182687"/>
                <a:gd name="connsiteY52" fmla="*/ 3649869 h 4702381"/>
                <a:gd name="connsiteX53" fmla="*/ 549275 w 1182687"/>
                <a:gd name="connsiteY53" fmla="*/ 3607668 h 4702381"/>
                <a:gd name="connsiteX54" fmla="*/ 549275 w 1182687"/>
                <a:gd name="connsiteY54" fmla="*/ 3185657 h 4702381"/>
                <a:gd name="connsiteX55" fmla="*/ 591344 w 1182687"/>
                <a:gd name="connsiteY55" fmla="*/ 3143456 h 4702381"/>
                <a:gd name="connsiteX56" fmla="*/ 316707 w 1182687"/>
                <a:gd name="connsiteY56" fmla="*/ 3143456 h 4702381"/>
                <a:gd name="connsiteX57" fmla="*/ 358776 w 1182687"/>
                <a:gd name="connsiteY57" fmla="*/ 3185657 h 4702381"/>
                <a:gd name="connsiteX58" fmla="*/ 358776 w 1182687"/>
                <a:gd name="connsiteY58" fmla="*/ 3607668 h 4702381"/>
                <a:gd name="connsiteX59" fmla="*/ 316707 w 1182687"/>
                <a:gd name="connsiteY59" fmla="*/ 3649869 h 4702381"/>
                <a:gd name="connsiteX60" fmla="*/ 274638 w 1182687"/>
                <a:gd name="connsiteY60" fmla="*/ 3607668 h 4702381"/>
                <a:gd name="connsiteX61" fmla="*/ 274638 w 1182687"/>
                <a:gd name="connsiteY61" fmla="*/ 3185657 h 4702381"/>
                <a:gd name="connsiteX62" fmla="*/ 316707 w 1182687"/>
                <a:gd name="connsiteY62" fmla="*/ 3143456 h 4702381"/>
                <a:gd name="connsiteX63" fmla="*/ 42069 w 1182687"/>
                <a:gd name="connsiteY63" fmla="*/ 3143456 h 4702381"/>
                <a:gd name="connsiteX64" fmla="*/ 84138 w 1182687"/>
                <a:gd name="connsiteY64" fmla="*/ 3185657 h 4702381"/>
                <a:gd name="connsiteX65" fmla="*/ 84138 w 1182687"/>
                <a:gd name="connsiteY65" fmla="*/ 3607668 h 4702381"/>
                <a:gd name="connsiteX66" fmla="*/ 42069 w 1182687"/>
                <a:gd name="connsiteY66" fmla="*/ 3649869 h 4702381"/>
                <a:gd name="connsiteX67" fmla="*/ 0 w 1182687"/>
                <a:gd name="connsiteY67" fmla="*/ 3607668 h 4702381"/>
                <a:gd name="connsiteX68" fmla="*/ 0 w 1182687"/>
                <a:gd name="connsiteY68" fmla="*/ 3185657 h 4702381"/>
                <a:gd name="connsiteX69" fmla="*/ 42069 w 1182687"/>
                <a:gd name="connsiteY69" fmla="*/ 3143456 h 4702381"/>
                <a:gd name="connsiteX70" fmla="*/ 1139826 w 1182687"/>
                <a:gd name="connsiteY70" fmla="*/ 2092531 h 4702381"/>
                <a:gd name="connsiteX71" fmla="*/ 1182688 w 1182687"/>
                <a:gd name="connsiteY71" fmla="*/ 2134600 h 4702381"/>
                <a:gd name="connsiteX72" fmla="*/ 1182688 w 1182687"/>
                <a:gd name="connsiteY72" fmla="*/ 2555287 h 4702381"/>
                <a:gd name="connsiteX73" fmla="*/ 1139826 w 1182687"/>
                <a:gd name="connsiteY73" fmla="*/ 2597356 h 4702381"/>
                <a:gd name="connsiteX74" fmla="*/ 1096963 w 1182687"/>
                <a:gd name="connsiteY74" fmla="*/ 2555287 h 4702381"/>
                <a:gd name="connsiteX75" fmla="*/ 1096963 w 1182687"/>
                <a:gd name="connsiteY75" fmla="*/ 2134600 h 4702381"/>
                <a:gd name="connsiteX76" fmla="*/ 1139826 w 1182687"/>
                <a:gd name="connsiteY76" fmla="*/ 2092531 h 4702381"/>
                <a:gd name="connsiteX77" fmla="*/ 866132 w 1182687"/>
                <a:gd name="connsiteY77" fmla="*/ 2092531 h 4702381"/>
                <a:gd name="connsiteX78" fmla="*/ 908051 w 1182687"/>
                <a:gd name="connsiteY78" fmla="*/ 2134600 h 4702381"/>
                <a:gd name="connsiteX79" fmla="*/ 908051 w 1182687"/>
                <a:gd name="connsiteY79" fmla="*/ 2555287 h 4702381"/>
                <a:gd name="connsiteX80" fmla="*/ 866132 w 1182687"/>
                <a:gd name="connsiteY80" fmla="*/ 2597356 h 4702381"/>
                <a:gd name="connsiteX81" fmla="*/ 823913 w 1182687"/>
                <a:gd name="connsiteY81" fmla="*/ 2555287 h 4702381"/>
                <a:gd name="connsiteX82" fmla="*/ 823913 w 1182687"/>
                <a:gd name="connsiteY82" fmla="*/ 2134600 h 4702381"/>
                <a:gd name="connsiteX83" fmla="*/ 866132 w 1182687"/>
                <a:gd name="connsiteY83" fmla="*/ 2092531 h 4702381"/>
                <a:gd name="connsiteX84" fmla="*/ 591344 w 1182687"/>
                <a:gd name="connsiteY84" fmla="*/ 2092531 h 4702381"/>
                <a:gd name="connsiteX85" fmla="*/ 633413 w 1182687"/>
                <a:gd name="connsiteY85" fmla="*/ 2134600 h 4702381"/>
                <a:gd name="connsiteX86" fmla="*/ 633413 w 1182687"/>
                <a:gd name="connsiteY86" fmla="*/ 2555287 h 4702381"/>
                <a:gd name="connsiteX87" fmla="*/ 591344 w 1182687"/>
                <a:gd name="connsiteY87" fmla="*/ 2597356 h 4702381"/>
                <a:gd name="connsiteX88" fmla="*/ 549275 w 1182687"/>
                <a:gd name="connsiteY88" fmla="*/ 2555287 h 4702381"/>
                <a:gd name="connsiteX89" fmla="*/ 549275 w 1182687"/>
                <a:gd name="connsiteY89" fmla="*/ 2134600 h 4702381"/>
                <a:gd name="connsiteX90" fmla="*/ 591344 w 1182687"/>
                <a:gd name="connsiteY90" fmla="*/ 2092531 h 4702381"/>
                <a:gd name="connsiteX91" fmla="*/ 316707 w 1182687"/>
                <a:gd name="connsiteY91" fmla="*/ 2092531 h 4702381"/>
                <a:gd name="connsiteX92" fmla="*/ 358776 w 1182687"/>
                <a:gd name="connsiteY92" fmla="*/ 2134600 h 4702381"/>
                <a:gd name="connsiteX93" fmla="*/ 358776 w 1182687"/>
                <a:gd name="connsiteY93" fmla="*/ 2555287 h 4702381"/>
                <a:gd name="connsiteX94" fmla="*/ 316707 w 1182687"/>
                <a:gd name="connsiteY94" fmla="*/ 2597356 h 4702381"/>
                <a:gd name="connsiteX95" fmla="*/ 274638 w 1182687"/>
                <a:gd name="connsiteY95" fmla="*/ 2555287 h 4702381"/>
                <a:gd name="connsiteX96" fmla="*/ 274638 w 1182687"/>
                <a:gd name="connsiteY96" fmla="*/ 2134600 h 4702381"/>
                <a:gd name="connsiteX97" fmla="*/ 316707 w 1182687"/>
                <a:gd name="connsiteY97" fmla="*/ 2092531 h 4702381"/>
                <a:gd name="connsiteX98" fmla="*/ 42069 w 1182687"/>
                <a:gd name="connsiteY98" fmla="*/ 2092531 h 4702381"/>
                <a:gd name="connsiteX99" fmla="*/ 84138 w 1182687"/>
                <a:gd name="connsiteY99" fmla="*/ 2134600 h 4702381"/>
                <a:gd name="connsiteX100" fmla="*/ 84138 w 1182687"/>
                <a:gd name="connsiteY100" fmla="*/ 2555287 h 4702381"/>
                <a:gd name="connsiteX101" fmla="*/ 42069 w 1182687"/>
                <a:gd name="connsiteY101" fmla="*/ 2597356 h 4702381"/>
                <a:gd name="connsiteX102" fmla="*/ 0 w 1182687"/>
                <a:gd name="connsiteY102" fmla="*/ 2555287 h 4702381"/>
                <a:gd name="connsiteX103" fmla="*/ 0 w 1182687"/>
                <a:gd name="connsiteY103" fmla="*/ 2134600 h 4702381"/>
                <a:gd name="connsiteX104" fmla="*/ 42069 w 1182687"/>
                <a:gd name="connsiteY104" fmla="*/ 2092531 h 4702381"/>
                <a:gd name="connsiteX105" fmla="*/ 1139826 w 1182687"/>
                <a:gd name="connsiteY105" fmla="*/ 1040020 h 4702381"/>
                <a:gd name="connsiteX106" fmla="*/ 1182688 w 1182687"/>
                <a:gd name="connsiteY106" fmla="*/ 1082246 h 4702381"/>
                <a:gd name="connsiteX107" fmla="*/ 1182688 w 1182687"/>
                <a:gd name="connsiteY107" fmla="*/ 1504206 h 4702381"/>
                <a:gd name="connsiteX108" fmla="*/ 1139826 w 1182687"/>
                <a:gd name="connsiteY108" fmla="*/ 1546433 h 4702381"/>
                <a:gd name="connsiteX109" fmla="*/ 1096963 w 1182687"/>
                <a:gd name="connsiteY109" fmla="*/ 1504206 h 4702381"/>
                <a:gd name="connsiteX110" fmla="*/ 1096963 w 1182687"/>
                <a:gd name="connsiteY110" fmla="*/ 1082246 h 4702381"/>
                <a:gd name="connsiteX111" fmla="*/ 1139826 w 1182687"/>
                <a:gd name="connsiteY111" fmla="*/ 1040020 h 4702381"/>
                <a:gd name="connsiteX112" fmla="*/ 591344 w 1182687"/>
                <a:gd name="connsiteY112" fmla="*/ 1040020 h 4702381"/>
                <a:gd name="connsiteX113" fmla="*/ 633413 w 1182687"/>
                <a:gd name="connsiteY113" fmla="*/ 1082246 h 4702381"/>
                <a:gd name="connsiteX114" fmla="*/ 633413 w 1182687"/>
                <a:gd name="connsiteY114" fmla="*/ 1504206 h 4702381"/>
                <a:gd name="connsiteX115" fmla="*/ 591344 w 1182687"/>
                <a:gd name="connsiteY115" fmla="*/ 1546433 h 4702381"/>
                <a:gd name="connsiteX116" fmla="*/ 549275 w 1182687"/>
                <a:gd name="connsiteY116" fmla="*/ 1504206 h 4702381"/>
                <a:gd name="connsiteX117" fmla="*/ 549275 w 1182687"/>
                <a:gd name="connsiteY117" fmla="*/ 1082246 h 4702381"/>
                <a:gd name="connsiteX118" fmla="*/ 591344 w 1182687"/>
                <a:gd name="connsiteY118" fmla="*/ 1040020 h 4702381"/>
                <a:gd name="connsiteX119" fmla="*/ 42069 w 1182687"/>
                <a:gd name="connsiteY119" fmla="*/ 1040020 h 4702381"/>
                <a:gd name="connsiteX120" fmla="*/ 84138 w 1182687"/>
                <a:gd name="connsiteY120" fmla="*/ 1082246 h 4702381"/>
                <a:gd name="connsiteX121" fmla="*/ 84138 w 1182687"/>
                <a:gd name="connsiteY121" fmla="*/ 1504206 h 4702381"/>
                <a:gd name="connsiteX122" fmla="*/ 42069 w 1182687"/>
                <a:gd name="connsiteY122" fmla="*/ 1546433 h 4702381"/>
                <a:gd name="connsiteX123" fmla="*/ 0 w 1182687"/>
                <a:gd name="connsiteY123" fmla="*/ 1504206 h 4702381"/>
                <a:gd name="connsiteX124" fmla="*/ 0 w 1182687"/>
                <a:gd name="connsiteY124" fmla="*/ 1082246 h 4702381"/>
                <a:gd name="connsiteX125" fmla="*/ 42069 w 1182687"/>
                <a:gd name="connsiteY125" fmla="*/ 1040020 h 4702381"/>
                <a:gd name="connsiteX126" fmla="*/ 866132 w 1182687"/>
                <a:gd name="connsiteY126" fmla="*/ 1040020 h 4702381"/>
                <a:gd name="connsiteX127" fmla="*/ 908051 w 1182687"/>
                <a:gd name="connsiteY127" fmla="*/ 1082246 h 4702381"/>
                <a:gd name="connsiteX128" fmla="*/ 908051 w 1182687"/>
                <a:gd name="connsiteY128" fmla="*/ 1504206 h 4702381"/>
                <a:gd name="connsiteX129" fmla="*/ 866132 w 1182687"/>
                <a:gd name="connsiteY129" fmla="*/ 1546432 h 4702381"/>
                <a:gd name="connsiteX130" fmla="*/ 823913 w 1182687"/>
                <a:gd name="connsiteY130" fmla="*/ 1504206 h 4702381"/>
                <a:gd name="connsiteX131" fmla="*/ 823913 w 1182687"/>
                <a:gd name="connsiteY131" fmla="*/ 1082246 h 4702381"/>
                <a:gd name="connsiteX132" fmla="*/ 866132 w 1182687"/>
                <a:gd name="connsiteY132" fmla="*/ 1040020 h 4702381"/>
                <a:gd name="connsiteX133" fmla="*/ 316707 w 1182687"/>
                <a:gd name="connsiteY133" fmla="*/ 1040020 h 4702381"/>
                <a:gd name="connsiteX134" fmla="*/ 358776 w 1182687"/>
                <a:gd name="connsiteY134" fmla="*/ 1082246 h 4702381"/>
                <a:gd name="connsiteX135" fmla="*/ 358776 w 1182687"/>
                <a:gd name="connsiteY135" fmla="*/ 1504206 h 4702381"/>
                <a:gd name="connsiteX136" fmla="*/ 316707 w 1182687"/>
                <a:gd name="connsiteY136" fmla="*/ 1546432 h 4702381"/>
                <a:gd name="connsiteX137" fmla="*/ 274638 w 1182687"/>
                <a:gd name="connsiteY137" fmla="*/ 1504206 h 4702381"/>
                <a:gd name="connsiteX138" fmla="*/ 274638 w 1182687"/>
                <a:gd name="connsiteY138" fmla="*/ 1082246 h 4702381"/>
                <a:gd name="connsiteX139" fmla="*/ 316707 w 1182687"/>
                <a:gd name="connsiteY139" fmla="*/ 1040020 h 4702381"/>
                <a:gd name="connsiteX140" fmla="*/ 549275 w 1182687"/>
                <a:gd name="connsiteY140" fmla="*/ 31163 h 4702381"/>
                <a:gd name="connsiteX141" fmla="*/ 633413 w 1182687"/>
                <a:gd name="connsiteY141" fmla="*/ 31163 h 4702381"/>
                <a:gd name="connsiteX142" fmla="*/ 549275 w 1182687"/>
                <a:gd name="connsiteY142" fmla="*/ 31163 h 4702381"/>
                <a:gd name="connsiteX0" fmla="*/ 1139826 w 1182687"/>
                <a:gd name="connsiteY0" fmla="*/ 3157534 h 3662359"/>
                <a:gd name="connsiteX1" fmla="*/ 1182688 w 1182687"/>
                <a:gd name="connsiteY1" fmla="*/ 3199603 h 3662359"/>
                <a:gd name="connsiteX2" fmla="*/ 1182688 w 1182687"/>
                <a:gd name="connsiteY2" fmla="*/ 3620290 h 3662359"/>
                <a:gd name="connsiteX3" fmla="*/ 1139826 w 1182687"/>
                <a:gd name="connsiteY3" fmla="*/ 3662359 h 3662359"/>
                <a:gd name="connsiteX4" fmla="*/ 1096963 w 1182687"/>
                <a:gd name="connsiteY4" fmla="*/ 3620290 h 3662359"/>
                <a:gd name="connsiteX5" fmla="*/ 1096963 w 1182687"/>
                <a:gd name="connsiteY5" fmla="*/ 3199603 h 3662359"/>
                <a:gd name="connsiteX6" fmla="*/ 1139826 w 1182687"/>
                <a:gd name="connsiteY6" fmla="*/ 3157534 h 3662359"/>
                <a:gd name="connsiteX7" fmla="*/ 866132 w 1182687"/>
                <a:gd name="connsiteY7" fmla="*/ 3157534 h 3662359"/>
                <a:gd name="connsiteX8" fmla="*/ 908051 w 1182687"/>
                <a:gd name="connsiteY8" fmla="*/ 3199603 h 3662359"/>
                <a:gd name="connsiteX9" fmla="*/ 908051 w 1182687"/>
                <a:gd name="connsiteY9" fmla="*/ 3620290 h 3662359"/>
                <a:gd name="connsiteX10" fmla="*/ 866132 w 1182687"/>
                <a:gd name="connsiteY10" fmla="*/ 3662359 h 3662359"/>
                <a:gd name="connsiteX11" fmla="*/ 823913 w 1182687"/>
                <a:gd name="connsiteY11" fmla="*/ 3620290 h 3662359"/>
                <a:gd name="connsiteX12" fmla="*/ 823913 w 1182687"/>
                <a:gd name="connsiteY12" fmla="*/ 3199603 h 3662359"/>
                <a:gd name="connsiteX13" fmla="*/ 866132 w 1182687"/>
                <a:gd name="connsiteY13" fmla="*/ 3157534 h 3662359"/>
                <a:gd name="connsiteX14" fmla="*/ 591344 w 1182687"/>
                <a:gd name="connsiteY14" fmla="*/ 3157534 h 3662359"/>
                <a:gd name="connsiteX15" fmla="*/ 633413 w 1182687"/>
                <a:gd name="connsiteY15" fmla="*/ 3199603 h 3662359"/>
                <a:gd name="connsiteX16" fmla="*/ 633413 w 1182687"/>
                <a:gd name="connsiteY16" fmla="*/ 3620290 h 3662359"/>
                <a:gd name="connsiteX17" fmla="*/ 591344 w 1182687"/>
                <a:gd name="connsiteY17" fmla="*/ 3662359 h 3662359"/>
                <a:gd name="connsiteX18" fmla="*/ 549275 w 1182687"/>
                <a:gd name="connsiteY18" fmla="*/ 3620290 h 3662359"/>
                <a:gd name="connsiteX19" fmla="*/ 549275 w 1182687"/>
                <a:gd name="connsiteY19" fmla="*/ 3199603 h 3662359"/>
                <a:gd name="connsiteX20" fmla="*/ 591344 w 1182687"/>
                <a:gd name="connsiteY20" fmla="*/ 3157534 h 3662359"/>
                <a:gd name="connsiteX21" fmla="*/ 316707 w 1182687"/>
                <a:gd name="connsiteY21" fmla="*/ 3157534 h 3662359"/>
                <a:gd name="connsiteX22" fmla="*/ 358776 w 1182687"/>
                <a:gd name="connsiteY22" fmla="*/ 3199603 h 3662359"/>
                <a:gd name="connsiteX23" fmla="*/ 358776 w 1182687"/>
                <a:gd name="connsiteY23" fmla="*/ 3620290 h 3662359"/>
                <a:gd name="connsiteX24" fmla="*/ 316707 w 1182687"/>
                <a:gd name="connsiteY24" fmla="*/ 3662359 h 3662359"/>
                <a:gd name="connsiteX25" fmla="*/ 274638 w 1182687"/>
                <a:gd name="connsiteY25" fmla="*/ 3620290 h 3662359"/>
                <a:gd name="connsiteX26" fmla="*/ 274638 w 1182687"/>
                <a:gd name="connsiteY26" fmla="*/ 3199603 h 3662359"/>
                <a:gd name="connsiteX27" fmla="*/ 316707 w 1182687"/>
                <a:gd name="connsiteY27" fmla="*/ 3157534 h 3662359"/>
                <a:gd name="connsiteX28" fmla="*/ 42069 w 1182687"/>
                <a:gd name="connsiteY28" fmla="*/ 3157534 h 3662359"/>
                <a:gd name="connsiteX29" fmla="*/ 84138 w 1182687"/>
                <a:gd name="connsiteY29" fmla="*/ 3199603 h 3662359"/>
                <a:gd name="connsiteX30" fmla="*/ 84138 w 1182687"/>
                <a:gd name="connsiteY30" fmla="*/ 3620290 h 3662359"/>
                <a:gd name="connsiteX31" fmla="*/ 42069 w 1182687"/>
                <a:gd name="connsiteY31" fmla="*/ 3662359 h 3662359"/>
                <a:gd name="connsiteX32" fmla="*/ 0 w 1182687"/>
                <a:gd name="connsiteY32" fmla="*/ 3620290 h 3662359"/>
                <a:gd name="connsiteX33" fmla="*/ 0 w 1182687"/>
                <a:gd name="connsiteY33" fmla="*/ 3199603 h 3662359"/>
                <a:gd name="connsiteX34" fmla="*/ 42069 w 1182687"/>
                <a:gd name="connsiteY34" fmla="*/ 3157534 h 3662359"/>
                <a:gd name="connsiteX35" fmla="*/ 1139826 w 1182687"/>
                <a:gd name="connsiteY35" fmla="*/ 2103434 h 3662359"/>
                <a:gd name="connsiteX36" fmla="*/ 1182688 w 1182687"/>
                <a:gd name="connsiteY36" fmla="*/ 2145635 h 3662359"/>
                <a:gd name="connsiteX37" fmla="*/ 1182688 w 1182687"/>
                <a:gd name="connsiteY37" fmla="*/ 2567646 h 3662359"/>
                <a:gd name="connsiteX38" fmla="*/ 1139826 w 1182687"/>
                <a:gd name="connsiteY38" fmla="*/ 2609847 h 3662359"/>
                <a:gd name="connsiteX39" fmla="*/ 1096963 w 1182687"/>
                <a:gd name="connsiteY39" fmla="*/ 2567646 h 3662359"/>
                <a:gd name="connsiteX40" fmla="*/ 1096963 w 1182687"/>
                <a:gd name="connsiteY40" fmla="*/ 2145635 h 3662359"/>
                <a:gd name="connsiteX41" fmla="*/ 1139826 w 1182687"/>
                <a:gd name="connsiteY41" fmla="*/ 2103434 h 3662359"/>
                <a:gd name="connsiteX42" fmla="*/ 866132 w 1182687"/>
                <a:gd name="connsiteY42" fmla="*/ 2103434 h 3662359"/>
                <a:gd name="connsiteX43" fmla="*/ 908051 w 1182687"/>
                <a:gd name="connsiteY43" fmla="*/ 2145635 h 3662359"/>
                <a:gd name="connsiteX44" fmla="*/ 908051 w 1182687"/>
                <a:gd name="connsiteY44" fmla="*/ 2567646 h 3662359"/>
                <a:gd name="connsiteX45" fmla="*/ 866132 w 1182687"/>
                <a:gd name="connsiteY45" fmla="*/ 2609847 h 3662359"/>
                <a:gd name="connsiteX46" fmla="*/ 823913 w 1182687"/>
                <a:gd name="connsiteY46" fmla="*/ 2567646 h 3662359"/>
                <a:gd name="connsiteX47" fmla="*/ 823913 w 1182687"/>
                <a:gd name="connsiteY47" fmla="*/ 2145635 h 3662359"/>
                <a:gd name="connsiteX48" fmla="*/ 866132 w 1182687"/>
                <a:gd name="connsiteY48" fmla="*/ 2103434 h 3662359"/>
                <a:gd name="connsiteX49" fmla="*/ 591344 w 1182687"/>
                <a:gd name="connsiteY49" fmla="*/ 2103434 h 3662359"/>
                <a:gd name="connsiteX50" fmla="*/ 633413 w 1182687"/>
                <a:gd name="connsiteY50" fmla="*/ 2145635 h 3662359"/>
                <a:gd name="connsiteX51" fmla="*/ 633413 w 1182687"/>
                <a:gd name="connsiteY51" fmla="*/ 2567646 h 3662359"/>
                <a:gd name="connsiteX52" fmla="*/ 591344 w 1182687"/>
                <a:gd name="connsiteY52" fmla="*/ 2609847 h 3662359"/>
                <a:gd name="connsiteX53" fmla="*/ 549275 w 1182687"/>
                <a:gd name="connsiteY53" fmla="*/ 2567646 h 3662359"/>
                <a:gd name="connsiteX54" fmla="*/ 549275 w 1182687"/>
                <a:gd name="connsiteY54" fmla="*/ 2145635 h 3662359"/>
                <a:gd name="connsiteX55" fmla="*/ 591344 w 1182687"/>
                <a:gd name="connsiteY55" fmla="*/ 2103434 h 3662359"/>
                <a:gd name="connsiteX56" fmla="*/ 316707 w 1182687"/>
                <a:gd name="connsiteY56" fmla="*/ 2103434 h 3662359"/>
                <a:gd name="connsiteX57" fmla="*/ 358776 w 1182687"/>
                <a:gd name="connsiteY57" fmla="*/ 2145635 h 3662359"/>
                <a:gd name="connsiteX58" fmla="*/ 358776 w 1182687"/>
                <a:gd name="connsiteY58" fmla="*/ 2567646 h 3662359"/>
                <a:gd name="connsiteX59" fmla="*/ 316707 w 1182687"/>
                <a:gd name="connsiteY59" fmla="*/ 2609847 h 3662359"/>
                <a:gd name="connsiteX60" fmla="*/ 274638 w 1182687"/>
                <a:gd name="connsiteY60" fmla="*/ 2567646 h 3662359"/>
                <a:gd name="connsiteX61" fmla="*/ 274638 w 1182687"/>
                <a:gd name="connsiteY61" fmla="*/ 2145635 h 3662359"/>
                <a:gd name="connsiteX62" fmla="*/ 316707 w 1182687"/>
                <a:gd name="connsiteY62" fmla="*/ 2103434 h 3662359"/>
                <a:gd name="connsiteX63" fmla="*/ 42069 w 1182687"/>
                <a:gd name="connsiteY63" fmla="*/ 2103434 h 3662359"/>
                <a:gd name="connsiteX64" fmla="*/ 84138 w 1182687"/>
                <a:gd name="connsiteY64" fmla="*/ 2145635 h 3662359"/>
                <a:gd name="connsiteX65" fmla="*/ 84138 w 1182687"/>
                <a:gd name="connsiteY65" fmla="*/ 2567646 h 3662359"/>
                <a:gd name="connsiteX66" fmla="*/ 42069 w 1182687"/>
                <a:gd name="connsiteY66" fmla="*/ 2609847 h 3662359"/>
                <a:gd name="connsiteX67" fmla="*/ 0 w 1182687"/>
                <a:gd name="connsiteY67" fmla="*/ 2567646 h 3662359"/>
                <a:gd name="connsiteX68" fmla="*/ 0 w 1182687"/>
                <a:gd name="connsiteY68" fmla="*/ 2145635 h 3662359"/>
                <a:gd name="connsiteX69" fmla="*/ 42069 w 1182687"/>
                <a:gd name="connsiteY69" fmla="*/ 2103434 h 3662359"/>
                <a:gd name="connsiteX70" fmla="*/ 1139826 w 1182687"/>
                <a:gd name="connsiteY70" fmla="*/ 1052509 h 3662359"/>
                <a:gd name="connsiteX71" fmla="*/ 1182688 w 1182687"/>
                <a:gd name="connsiteY71" fmla="*/ 1094578 h 3662359"/>
                <a:gd name="connsiteX72" fmla="*/ 1182688 w 1182687"/>
                <a:gd name="connsiteY72" fmla="*/ 1515265 h 3662359"/>
                <a:gd name="connsiteX73" fmla="*/ 1139826 w 1182687"/>
                <a:gd name="connsiteY73" fmla="*/ 1557334 h 3662359"/>
                <a:gd name="connsiteX74" fmla="*/ 1096963 w 1182687"/>
                <a:gd name="connsiteY74" fmla="*/ 1515265 h 3662359"/>
                <a:gd name="connsiteX75" fmla="*/ 1096963 w 1182687"/>
                <a:gd name="connsiteY75" fmla="*/ 1094578 h 3662359"/>
                <a:gd name="connsiteX76" fmla="*/ 1139826 w 1182687"/>
                <a:gd name="connsiteY76" fmla="*/ 1052509 h 3662359"/>
                <a:gd name="connsiteX77" fmla="*/ 866132 w 1182687"/>
                <a:gd name="connsiteY77" fmla="*/ 1052509 h 3662359"/>
                <a:gd name="connsiteX78" fmla="*/ 908051 w 1182687"/>
                <a:gd name="connsiteY78" fmla="*/ 1094578 h 3662359"/>
                <a:gd name="connsiteX79" fmla="*/ 908051 w 1182687"/>
                <a:gd name="connsiteY79" fmla="*/ 1515265 h 3662359"/>
                <a:gd name="connsiteX80" fmla="*/ 866132 w 1182687"/>
                <a:gd name="connsiteY80" fmla="*/ 1557334 h 3662359"/>
                <a:gd name="connsiteX81" fmla="*/ 823913 w 1182687"/>
                <a:gd name="connsiteY81" fmla="*/ 1515265 h 3662359"/>
                <a:gd name="connsiteX82" fmla="*/ 823913 w 1182687"/>
                <a:gd name="connsiteY82" fmla="*/ 1094578 h 3662359"/>
                <a:gd name="connsiteX83" fmla="*/ 866132 w 1182687"/>
                <a:gd name="connsiteY83" fmla="*/ 1052509 h 3662359"/>
                <a:gd name="connsiteX84" fmla="*/ 591344 w 1182687"/>
                <a:gd name="connsiteY84" fmla="*/ 1052509 h 3662359"/>
                <a:gd name="connsiteX85" fmla="*/ 633413 w 1182687"/>
                <a:gd name="connsiteY85" fmla="*/ 1094578 h 3662359"/>
                <a:gd name="connsiteX86" fmla="*/ 633413 w 1182687"/>
                <a:gd name="connsiteY86" fmla="*/ 1515265 h 3662359"/>
                <a:gd name="connsiteX87" fmla="*/ 591344 w 1182687"/>
                <a:gd name="connsiteY87" fmla="*/ 1557334 h 3662359"/>
                <a:gd name="connsiteX88" fmla="*/ 549275 w 1182687"/>
                <a:gd name="connsiteY88" fmla="*/ 1515265 h 3662359"/>
                <a:gd name="connsiteX89" fmla="*/ 549275 w 1182687"/>
                <a:gd name="connsiteY89" fmla="*/ 1094578 h 3662359"/>
                <a:gd name="connsiteX90" fmla="*/ 591344 w 1182687"/>
                <a:gd name="connsiteY90" fmla="*/ 1052509 h 3662359"/>
                <a:gd name="connsiteX91" fmla="*/ 316707 w 1182687"/>
                <a:gd name="connsiteY91" fmla="*/ 1052509 h 3662359"/>
                <a:gd name="connsiteX92" fmla="*/ 358776 w 1182687"/>
                <a:gd name="connsiteY92" fmla="*/ 1094578 h 3662359"/>
                <a:gd name="connsiteX93" fmla="*/ 358776 w 1182687"/>
                <a:gd name="connsiteY93" fmla="*/ 1515265 h 3662359"/>
                <a:gd name="connsiteX94" fmla="*/ 316707 w 1182687"/>
                <a:gd name="connsiteY94" fmla="*/ 1557334 h 3662359"/>
                <a:gd name="connsiteX95" fmla="*/ 274638 w 1182687"/>
                <a:gd name="connsiteY95" fmla="*/ 1515265 h 3662359"/>
                <a:gd name="connsiteX96" fmla="*/ 274638 w 1182687"/>
                <a:gd name="connsiteY96" fmla="*/ 1094578 h 3662359"/>
                <a:gd name="connsiteX97" fmla="*/ 316707 w 1182687"/>
                <a:gd name="connsiteY97" fmla="*/ 1052509 h 3662359"/>
                <a:gd name="connsiteX98" fmla="*/ 42069 w 1182687"/>
                <a:gd name="connsiteY98" fmla="*/ 1052509 h 3662359"/>
                <a:gd name="connsiteX99" fmla="*/ 84138 w 1182687"/>
                <a:gd name="connsiteY99" fmla="*/ 1094578 h 3662359"/>
                <a:gd name="connsiteX100" fmla="*/ 84138 w 1182687"/>
                <a:gd name="connsiteY100" fmla="*/ 1515265 h 3662359"/>
                <a:gd name="connsiteX101" fmla="*/ 42069 w 1182687"/>
                <a:gd name="connsiteY101" fmla="*/ 1557334 h 3662359"/>
                <a:gd name="connsiteX102" fmla="*/ 0 w 1182687"/>
                <a:gd name="connsiteY102" fmla="*/ 1515265 h 3662359"/>
                <a:gd name="connsiteX103" fmla="*/ 0 w 1182687"/>
                <a:gd name="connsiteY103" fmla="*/ 1094578 h 3662359"/>
                <a:gd name="connsiteX104" fmla="*/ 42069 w 1182687"/>
                <a:gd name="connsiteY104" fmla="*/ 1052509 h 3662359"/>
                <a:gd name="connsiteX105" fmla="*/ 1139826 w 1182687"/>
                <a:gd name="connsiteY105" fmla="*/ -2 h 3662359"/>
                <a:gd name="connsiteX106" fmla="*/ 1182688 w 1182687"/>
                <a:gd name="connsiteY106" fmla="*/ 42224 h 3662359"/>
                <a:gd name="connsiteX107" fmla="*/ 1182688 w 1182687"/>
                <a:gd name="connsiteY107" fmla="*/ 464184 h 3662359"/>
                <a:gd name="connsiteX108" fmla="*/ 1139826 w 1182687"/>
                <a:gd name="connsiteY108" fmla="*/ 506411 h 3662359"/>
                <a:gd name="connsiteX109" fmla="*/ 1096963 w 1182687"/>
                <a:gd name="connsiteY109" fmla="*/ 464184 h 3662359"/>
                <a:gd name="connsiteX110" fmla="*/ 1096963 w 1182687"/>
                <a:gd name="connsiteY110" fmla="*/ 42224 h 3662359"/>
                <a:gd name="connsiteX111" fmla="*/ 1139826 w 1182687"/>
                <a:gd name="connsiteY111" fmla="*/ -2 h 3662359"/>
                <a:gd name="connsiteX112" fmla="*/ 591344 w 1182687"/>
                <a:gd name="connsiteY112" fmla="*/ -2 h 3662359"/>
                <a:gd name="connsiteX113" fmla="*/ 633413 w 1182687"/>
                <a:gd name="connsiteY113" fmla="*/ 42224 h 3662359"/>
                <a:gd name="connsiteX114" fmla="*/ 633413 w 1182687"/>
                <a:gd name="connsiteY114" fmla="*/ 464184 h 3662359"/>
                <a:gd name="connsiteX115" fmla="*/ 591344 w 1182687"/>
                <a:gd name="connsiteY115" fmla="*/ 506411 h 3662359"/>
                <a:gd name="connsiteX116" fmla="*/ 549275 w 1182687"/>
                <a:gd name="connsiteY116" fmla="*/ 464184 h 3662359"/>
                <a:gd name="connsiteX117" fmla="*/ 549275 w 1182687"/>
                <a:gd name="connsiteY117" fmla="*/ 42224 h 3662359"/>
                <a:gd name="connsiteX118" fmla="*/ 591344 w 1182687"/>
                <a:gd name="connsiteY118" fmla="*/ -2 h 3662359"/>
                <a:gd name="connsiteX119" fmla="*/ 42069 w 1182687"/>
                <a:gd name="connsiteY119" fmla="*/ -2 h 3662359"/>
                <a:gd name="connsiteX120" fmla="*/ 84138 w 1182687"/>
                <a:gd name="connsiteY120" fmla="*/ 42224 h 3662359"/>
                <a:gd name="connsiteX121" fmla="*/ 84138 w 1182687"/>
                <a:gd name="connsiteY121" fmla="*/ 464184 h 3662359"/>
                <a:gd name="connsiteX122" fmla="*/ 42069 w 1182687"/>
                <a:gd name="connsiteY122" fmla="*/ 506411 h 3662359"/>
                <a:gd name="connsiteX123" fmla="*/ 0 w 1182687"/>
                <a:gd name="connsiteY123" fmla="*/ 464184 h 3662359"/>
                <a:gd name="connsiteX124" fmla="*/ 0 w 1182687"/>
                <a:gd name="connsiteY124" fmla="*/ 42224 h 3662359"/>
                <a:gd name="connsiteX125" fmla="*/ 42069 w 1182687"/>
                <a:gd name="connsiteY125" fmla="*/ -2 h 3662359"/>
                <a:gd name="connsiteX126" fmla="*/ 866132 w 1182687"/>
                <a:gd name="connsiteY126" fmla="*/ -2 h 3662359"/>
                <a:gd name="connsiteX127" fmla="*/ 908051 w 1182687"/>
                <a:gd name="connsiteY127" fmla="*/ 42224 h 3662359"/>
                <a:gd name="connsiteX128" fmla="*/ 908051 w 1182687"/>
                <a:gd name="connsiteY128" fmla="*/ 464184 h 3662359"/>
                <a:gd name="connsiteX129" fmla="*/ 866132 w 1182687"/>
                <a:gd name="connsiteY129" fmla="*/ 506410 h 3662359"/>
                <a:gd name="connsiteX130" fmla="*/ 823913 w 1182687"/>
                <a:gd name="connsiteY130" fmla="*/ 464184 h 3662359"/>
                <a:gd name="connsiteX131" fmla="*/ 823913 w 1182687"/>
                <a:gd name="connsiteY131" fmla="*/ 42224 h 3662359"/>
                <a:gd name="connsiteX132" fmla="*/ 866132 w 1182687"/>
                <a:gd name="connsiteY132" fmla="*/ -2 h 3662359"/>
                <a:gd name="connsiteX133" fmla="*/ 316707 w 1182687"/>
                <a:gd name="connsiteY133" fmla="*/ -2 h 3662359"/>
                <a:gd name="connsiteX134" fmla="*/ 358776 w 1182687"/>
                <a:gd name="connsiteY134" fmla="*/ 42224 h 3662359"/>
                <a:gd name="connsiteX135" fmla="*/ 358776 w 1182687"/>
                <a:gd name="connsiteY135" fmla="*/ 464184 h 3662359"/>
                <a:gd name="connsiteX136" fmla="*/ 316707 w 1182687"/>
                <a:gd name="connsiteY136" fmla="*/ 506410 h 3662359"/>
                <a:gd name="connsiteX137" fmla="*/ 274638 w 1182687"/>
                <a:gd name="connsiteY137" fmla="*/ 464184 h 3662359"/>
                <a:gd name="connsiteX138" fmla="*/ 274638 w 1182687"/>
                <a:gd name="connsiteY138" fmla="*/ 42224 h 3662359"/>
                <a:gd name="connsiteX139" fmla="*/ 316707 w 1182687"/>
                <a:gd name="connsiteY139" fmla="*/ -2 h 3662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182687" h="3662359">
                  <a:moveTo>
                    <a:pt x="1139826" y="3157534"/>
                  </a:moveTo>
                  <a:cubicBezTo>
                    <a:pt x="1163706" y="3157534"/>
                    <a:pt x="1182688" y="3176465"/>
                    <a:pt x="1182688" y="3199603"/>
                  </a:cubicBezTo>
                  <a:lnTo>
                    <a:pt x="1182688" y="3620290"/>
                  </a:lnTo>
                  <a:cubicBezTo>
                    <a:pt x="1182688" y="3643428"/>
                    <a:pt x="1163706" y="3662359"/>
                    <a:pt x="1139826" y="3662359"/>
                  </a:cubicBezTo>
                  <a:cubicBezTo>
                    <a:pt x="1116251" y="3662359"/>
                    <a:pt x="1096963" y="3643428"/>
                    <a:pt x="1096963" y="3620290"/>
                  </a:cubicBezTo>
                  <a:lnTo>
                    <a:pt x="1096963" y="3199603"/>
                  </a:lnTo>
                  <a:cubicBezTo>
                    <a:pt x="1096963" y="3176465"/>
                    <a:pt x="1116251" y="3157534"/>
                    <a:pt x="1139826" y="3157534"/>
                  </a:cubicBezTo>
                  <a:close/>
                  <a:moveTo>
                    <a:pt x="866132" y="3157534"/>
                  </a:moveTo>
                  <a:cubicBezTo>
                    <a:pt x="889188" y="3157534"/>
                    <a:pt x="908051" y="3176465"/>
                    <a:pt x="908051" y="3199603"/>
                  </a:cubicBezTo>
                  <a:lnTo>
                    <a:pt x="908051" y="3620290"/>
                  </a:lnTo>
                  <a:cubicBezTo>
                    <a:pt x="908051" y="3643428"/>
                    <a:pt x="889188" y="3662359"/>
                    <a:pt x="866132" y="3662359"/>
                  </a:cubicBezTo>
                  <a:cubicBezTo>
                    <a:pt x="842777" y="3662359"/>
                    <a:pt x="823913" y="3643428"/>
                    <a:pt x="823913" y="3620290"/>
                  </a:cubicBezTo>
                  <a:lnTo>
                    <a:pt x="823913" y="3199603"/>
                  </a:lnTo>
                  <a:cubicBezTo>
                    <a:pt x="823913" y="3176465"/>
                    <a:pt x="842777" y="3157534"/>
                    <a:pt x="866132" y="3157534"/>
                  </a:cubicBezTo>
                  <a:close/>
                  <a:moveTo>
                    <a:pt x="591344" y="3157534"/>
                  </a:moveTo>
                  <a:cubicBezTo>
                    <a:pt x="614482" y="3157534"/>
                    <a:pt x="633413" y="3176465"/>
                    <a:pt x="633413" y="3199603"/>
                  </a:cubicBezTo>
                  <a:lnTo>
                    <a:pt x="633413" y="3620290"/>
                  </a:lnTo>
                  <a:cubicBezTo>
                    <a:pt x="633413" y="3643428"/>
                    <a:pt x="614482" y="3662359"/>
                    <a:pt x="591344" y="3662359"/>
                  </a:cubicBezTo>
                  <a:cubicBezTo>
                    <a:pt x="567905" y="3662359"/>
                    <a:pt x="549275" y="3643428"/>
                    <a:pt x="549275" y="3620290"/>
                  </a:cubicBezTo>
                  <a:lnTo>
                    <a:pt x="549275" y="3199603"/>
                  </a:lnTo>
                  <a:cubicBezTo>
                    <a:pt x="549275" y="3176465"/>
                    <a:pt x="567905" y="3157534"/>
                    <a:pt x="591344" y="3157534"/>
                  </a:cubicBezTo>
                  <a:close/>
                  <a:moveTo>
                    <a:pt x="316707" y="3157534"/>
                  </a:moveTo>
                  <a:cubicBezTo>
                    <a:pt x="339845" y="3157534"/>
                    <a:pt x="358776" y="3176465"/>
                    <a:pt x="358776" y="3199603"/>
                  </a:cubicBezTo>
                  <a:lnTo>
                    <a:pt x="358776" y="3620290"/>
                  </a:lnTo>
                  <a:cubicBezTo>
                    <a:pt x="358776" y="3643428"/>
                    <a:pt x="339845" y="3662359"/>
                    <a:pt x="316707" y="3662359"/>
                  </a:cubicBezTo>
                  <a:cubicBezTo>
                    <a:pt x="293569" y="3662359"/>
                    <a:pt x="274638" y="3643428"/>
                    <a:pt x="274638" y="3620290"/>
                  </a:cubicBezTo>
                  <a:lnTo>
                    <a:pt x="274638" y="3199603"/>
                  </a:lnTo>
                  <a:cubicBezTo>
                    <a:pt x="274638" y="3176465"/>
                    <a:pt x="293569" y="3157534"/>
                    <a:pt x="316707" y="3157534"/>
                  </a:cubicBezTo>
                  <a:close/>
                  <a:moveTo>
                    <a:pt x="42069" y="3157534"/>
                  </a:moveTo>
                  <a:cubicBezTo>
                    <a:pt x="65507" y="3157534"/>
                    <a:pt x="84138" y="3176465"/>
                    <a:pt x="84138" y="3199603"/>
                  </a:cubicBezTo>
                  <a:lnTo>
                    <a:pt x="84138" y="3620290"/>
                  </a:lnTo>
                  <a:cubicBezTo>
                    <a:pt x="84138" y="3643428"/>
                    <a:pt x="65507" y="3662359"/>
                    <a:pt x="42069" y="3662359"/>
                  </a:cubicBezTo>
                  <a:cubicBezTo>
                    <a:pt x="18931" y="3662359"/>
                    <a:pt x="0" y="3643428"/>
                    <a:pt x="0" y="3620290"/>
                  </a:cubicBezTo>
                  <a:lnTo>
                    <a:pt x="0" y="3199603"/>
                  </a:lnTo>
                  <a:cubicBezTo>
                    <a:pt x="0" y="3176465"/>
                    <a:pt x="18931" y="3157534"/>
                    <a:pt x="42069" y="3157534"/>
                  </a:cubicBezTo>
                  <a:close/>
                  <a:moveTo>
                    <a:pt x="1139826" y="2103434"/>
                  </a:moveTo>
                  <a:cubicBezTo>
                    <a:pt x="1163706" y="2103434"/>
                    <a:pt x="1182688" y="2122424"/>
                    <a:pt x="1182688" y="2145635"/>
                  </a:cubicBezTo>
                  <a:lnTo>
                    <a:pt x="1182688" y="2567646"/>
                  </a:lnTo>
                  <a:cubicBezTo>
                    <a:pt x="1182688" y="2590856"/>
                    <a:pt x="1163706" y="2609847"/>
                    <a:pt x="1139826" y="2609847"/>
                  </a:cubicBezTo>
                  <a:cubicBezTo>
                    <a:pt x="1116251" y="2609847"/>
                    <a:pt x="1096963" y="2590856"/>
                    <a:pt x="1096963" y="2567646"/>
                  </a:cubicBezTo>
                  <a:lnTo>
                    <a:pt x="1096963" y="2145635"/>
                  </a:lnTo>
                  <a:cubicBezTo>
                    <a:pt x="1096963" y="2122424"/>
                    <a:pt x="1116251" y="2103434"/>
                    <a:pt x="1139826" y="2103434"/>
                  </a:cubicBezTo>
                  <a:close/>
                  <a:moveTo>
                    <a:pt x="866132" y="2103434"/>
                  </a:moveTo>
                  <a:cubicBezTo>
                    <a:pt x="889188" y="2103434"/>
                    <a:pt x="908051" y="2122424"/>
                    <a:pt x="908051" y="2145635"/>
                  </a:cubicBezTo>
                  <a:lnTo>
                    <a:pt x="908051" y="2567646"/>
                  </a:lnTo>
                  <a:cubicBezTo>
                    <a:pt x="908051" y="2590856"/>
                    <a:pt x="889188" y="2609847"/>
                    <a:pt x="866132" y="2609847"/>
                  </a:cubicBezTo>
                  <a:cubicBezTo>
                    <a:pt x="842777" y="2609847"/>
                    <a:pt x="823913" y="2590856"/>
                    <a:pt x="823913" y="2567646"/>
                  </a:cubicBezTo>
                  <a:lnTo>
                    <a:pt x="823913" y="2145635"/>
                  </a:lnTo>
                  <a:cubicBezTo>
                    <a:pt x="823913" y="2122424"/>
                    <a:pt x="842777" y="2103434"/>
                    <a:pt x="866132" y="2103434"/>
                  </a:cubicBezTo>
                  <a:close/>
                  <a:moveTo>
                    <a:pt x="591344" y="2103434"/>
                  </a:moveTo>
                  <a:cubicBezTo>
                    <a:pt x="614482" y="2103434"/>
                    <a:pt x="633413" y="2122424"/>
                    <a:pt x="633413" y="2145635"/>
                  </a:cubicBezTo>
                  <a:lnTo>
                    <a:pt x="633413" y="2567646"/>
                  </a:lnTo>
                  <a:cubicBezTo>
                    <a:pt x="633413" y="2590856"/>
                    <a:pt x="614482" y="2609847"/>
                    <a:pt x="591344" y="2609847"/>
                  </a:cubicBezTo>
                  <a:cubicBezTo>
                    <a:pt x="567905" y="2609847"/>
                    <a:pt x="549275" y="2590856"/>
                    <a:pt x="549275" y="2567646"/>
                  </a:cubicBezTo>
                  <a:lnTo>
                    <a:pt x="549275" y="2145635"/>
                  </a:lnTo>
                  <a:cubicBezTo>
                    <a:pt x="549275" y="2122424"/>
                    <a:pt x="567905" y="2103434"/>
                    <a:pt x="591344" y="2103434"/>
                  </a:cubicBezTo>
                  <a:close/>
                  <a:moveTo>
                    <a:pt x="316707" y="2103434"/>
                  </a:moveTo>
                  <a:cubicBezTo>
                    <a:pt x="339845" y="2103434"/>
                    <a:pt x="358776" y="2122424"/>
                    <a:pt x="358776" y="2145635"/>
                  </a:cubicBezTo>
                  <a:lnTo>
                    <a:pt x="358776" y="2567646"/>
                  </a:lnTo>
                  <a:cubicBezTo>
                    <a:pt x="358776" y="2590856"/>
                    <a:pt x="339845" y="2609847"/>
                    <a:pt x="316707" y="2609847"/>
                  </a:cubicBezTo>
                  <a:cubicBezTo>
                    <a:pt x="293569" y="2609847"/>
                    <a:pt x="274638" y="2590856"/>
                    <a:pt x="274638" y="2567646"/>
                  </a:cubicBezTo>
                  <a:lnTo>
                    <a:pt x="274638" y="2145635"/>
                  </a:lnTo>
                  <a:cubicBezTo>
                    <a:pt x="274638" y="2122424"/>
                    <a:pt x="293569" y="2103434"/>
                    <a:pt x="316707" y="2103434"/>
                  </a:cubicBezTo>
                  <a:close/>
                  <a:moveTo>
                    <a:pt x="42069" y="2103434"/>
                  </a:moveTo>
                  <a:cubicBezTo>
                    <a:pt x="65507" y="2103434"/>
                    <a:pt x="84138" y="2122424"/>
                    <a:pt x="84138" y="2145635"/>
                  </a:cubicBezTo>
                  <a:lnTo>
                    <a:pt x="84138" y="2567646"/>
                  </a:lnTo>
                  <a:cubicBezTo>
                    <a:pt x="84138" y="2590856"/>
                    <a:pt x="65507" y="2609847"/>
                    <a:pt x="42069" y="2609847"/>
                  </a:cubicBezTo>
                  <a:cubicBezTo>
                    <a:pt x="18931" y="2609847"/>
                    <a:pt x="0" y="2590856"/>
                    <a:pt x="0" y="2567646"/>
                  </a:cubicBezTo>
                  <a:lnTo>
                    <a:pt x="0" y="2145635"/>
                  </a:lnTo>
                  <a:cubicBezTo>
                    <a:pt x="0" y="2122424"/>
                    <a:pt x="18931" y="2103434"/>
                    <a:pt x="42069" y="2103434"/>
                  </a:cubicBezTo>
                  <a:close/>
                  <a:moveTo>
                    <a:pt x="1139826" y="1052509"/>
                  </a:moveTo>
                  <a:cubicBezTo>
                    <a:pt x="1163706" y="1052509"/>
                    <a:pt x="1182688" y="1071440"/>
                    <a:pt x="1182688" y="1094578"/>
                  </a:cubicBezTo>
                  <a:lnTo>
                    <a:pt x="1182688" y="1515265"/>
                  </a:lnTo>
                  <a:cubicBezTo>
                    <a:pt x="1182688" y="1538403"/>
                    <a:pt x="1163706" y="1557334"/>
                    <a:pt x="1139826" y="1557334"/>
                  </a:cubicBezTo>
                  <a:cubicBezTo>
                    <a:pt x="1116251" y="1557334"/>
                    <a:pt x="1096963" y="1538403"/>
                    <a:pt x="1096963" y="1515265"/>
                  </a:cubicBezTo>
                  <a:lnTo>
                    <a:pt x="1096963" y="1094578"/>
                  </a:lnTo>
                  <a:cubicBezTo>
                    <a:pt x="1096963" y="1071440"/>
                    <a:pt x="1116251" y="1052509"/>
                    <a:pt x="1139826" y="1052509"/>
                  </a:cubicBezTo>
                  <a:close/>
                  <a:moveTo>
                    <a:pt x="866132" y="1052509"/>
                  </a:moveTo>
                  <a:cubicBezTo>
                    <a:pt x="889188" y="1052509"/>
                    <a:pt x="908051" y="1071440"/>
                    <a:pt x="908051" y="1094578"/>
                  </a:cubicBezTo>
                  <a:lnTo>
                    <a:pt x="908051" y="1515265"/>
                  </a:lnTo>
                  <a:cubicBezTo>
                    <a:pt x="908051" y="1538403"/>
                    <a:pt x="889188" y="1557334"/>
                    <a:pt x="866132" y="1557334"/>
                  </a:cubicBezTo>
                  <a:cubicBezTo>
                    <a:pt x="842777" y="1557334"/>
                    <a:pt x="823913" y="1538403"/>
                    <a:pt x="823913" y="1515265"/>
                  </a:cubicBezTo>
                  <a:lnTo>
                    <a:pt x="823913" y="1094578"/>
                  </a:lnTo>
                  <a:cubicBezTo>
                    <a:pt x="823913" y="1071440"/>
                    <a:pt x="842777" y="1052509"/>
                    <a:pt x="866132" y="1052509"/>
                  </a:cubicBezTo>
                  <a:close/>
                  <a:moveTo>
                    <a:pt x="591344" y="1052509"/>
                  </a:moveTo>
                  <a:cubicBezTo>
                    <a:pt x="614482" y="1052509"/>
                    <a:pt x="633413" y="1071440"/>
                    <a:pt x="633413" y="1094578"/>
                  </a:cubicBezTo>
                  <a:lnTo>
                    <a:pt x="633413" y="1515265"/>
                  </a:lnTo>
                  <a:cubicBezTo>
                    <a:pt x="633413" y="1538403"/>
                    <a:pt x="614482" y="1557334"/>
                    <a:pt x="591344" y="1557334"/>
                  </a:cubicBezTo>
                  <a:cubicBezTo>
                    <a:pt x="567905" y="1557334"/>
                    <a:pt x="549275" y="1538403"/>
                    <a:pt x="549275" y="1515265"/>
                  </a:cubicBezTo>
                  <a:lnTo>
                    <a:pt x="549275" y="1094578"/>
                  </a:lnTo>
                  <a:cubicBezTo>
                    <a:pt x="549275" y="1071440"/>
                    <a:pt x="567905" y="1052509"/>
                    <a:pt x="591344" y="1052509"/>
                  </a:cubicBezTo>
                  <a:close/>
                  <a:moveTo>
                    <a:pt x="316707" y="1052509"/>
                  </a:moveTo>
                  <a:cubicBezTo>
                    <a:pt x="339845" y="1052509"/>
                    <a:pt x="358776" y="1071440"/>
                    <a:pt x="358776" y="1094578"/>
                  </a:cubicBezTo>
                  <a:lnTo>
                    <a:pt x="358776" y="1515265"/>
                  </a:lnTo>
                  <a:cubicBezTo>
                    <a:pt x="358776" y="1538403"/>
                    <a:pt x="339845" y="1557334"/>
                    <a:pt x="316707" y="1557334"/>
                  </a:cubicBezTo>
                  <a:cubicBezTo>
                    <a:pt x="293569" y="1557334"/>
                    <a:pt x="274638" y="1538403"/>
                    <a:pt x="274638" y="1515265"/>
                  </a:cubicBezTo>
                  <a:lnTo>
                    <a:pt x="274638" y="1094578"/>
                  </a:lnTo>
                  <a:cubicBezTo>
                    <a:pt x="274638" y="1071440"/>
                    <a:pt x="293569" y="1052509"/>
                    <a:pt x="316707" y="1052509"/>
                  </a:cubicBezTo>
                  <a:close/>
                  <a:moveTo>
                    <a:pt x="42069" y="1052509"/>
                  </a:moveTo>
                  <a:cubicBezTo>
                    <a:pt x="65507" y="1052509"/>
                    <a:pt x="84138" y="1071440"/>
                    <a:pt x="84138" y="1094578"/>
                  </a:cubicBezTo>
                  <a:lnTo>
                    <a:pt x="84138" y="1515265"/>
                  </a:lnTo>
                  <a:cubicBezTo>
                    <a:pt x="84138" y="1538403"/>
                    <a:pt x="65507" y="1557334"/>
                    <a:pt x="42069" y="1557334"/>
                  </a:cubicBezTo>
                  <a:cubicBezTo>
                    <a:pt x="18931" y="1557334"/>
                    <a:pt x="0" y="1538403"/>
                    <a:pt x="0" y="1515265"/>
                  </a:cubicBezTo>
                  <a:lnTo>
                    <a:pt x="0" y="1094578"/>
                  </a:lnTo>
                  <a:cubicBezTo>
                    <a:pt x="0" y="1071440"/>
                    <a:pt x="18931" y="1052509"/>
                    <a:pt x="42069" y="1052509"/>
                  </a:cubicBezTo>
                  <a:close/>
                  <a:moveTo>
                    <a:pt x="1139826" y="-2"/>
                  </a:moveTo>
                  <a:cubicBezTo>
                    <a:pt x="1163706" y="-2"/>
                    <a:pt x="1182688" y="18698"/>
                    <a:pt x="1182688" y="42224"/>
                  </a:cubicBezTo>
                  <a:lnTo>
                    <a:pt x="1182688" y="464184"/>
                  </a:lnTo>
                  <a:cubicBezTo>
                    <a:pt x="1182688" y="487710"/>
                    <a:pt x="1163706" y="506411"/>
                    <a:pt x="1139826" y="506411"/>
                  </a:cubicBezTo>
                  <a:cubicBezTo>
                    <a:pt x="1116251" y="506411"/>
                    <a:pt x="1096963" y="487710"/>
                    <a:pt x="1096963" y="464184"/>
                  </a:cubicBezTo>
                  <a:lnTo>
                    <a:pt x="1096963" y="42224"/>
                  </a:lnTo>
                  <a:cubicBezTo>
                    <a:pt x="1096963" y="18698"/>
                    <a:pt x="1116251" y="-2"/>
                    <a:pt x="1139826" y="-2"/>
                  </a:cubicBezTo>
                  <a:close/>
                  <a:moveTo>
                    <a:pt x="591344" y="-2"/>
                  </a:moveTo>
                  <a:cubicBezTo>
                    <a:pt x="614482" y="-2"/>
                    <a:pt x="633413" y="18698"/>
                    <a:pt x="633413" y="42224"/>
                  </a:cubicBezTo>
                  <a:lnTo>
                    <a:pt x="633413" y="464184"/>
                  </a:lnTo>
                  <a:cubicBezTo>
                    <a:pt x="633413" y="487710"/>
                    <a:pt x="614482" y="506411"/>
                    <a:pt x="591344" y="506411"/>
                  </a:cubicBezTo>
                  <a:cubicBezTo>
                    <a:pt x="567905" y="506411"/>
                    <a:pt x="549275" y="487710"/>
                    <a:pt x="549275" y="464184"/>
                  </a:cubicBezTo>
                  <a:lnTo>
                    <a:pt x="549275" y="42224"/>
                  </a:lnTo>
                  <a:cubicBezTo>
                    <a:pt x="549275" y="18698"/>
                    <a:pt x="567905" y="-2"/>
                    <a:pt x="591344" y="-2"/>
                  </a:cubicBezTo>
                  <a:close/>
                  <a:moveTo>
                    <a:pt x="42069" y="-2"/>
                  </a:moveTo>
                  <a:cubicBezTo>
                    <a:pt x="65507" y="-2"/>
                    <a:pt x="84138" y="18698"/>
                    <a:pt x="84138" y="42224"/>
                  </a:cubicBezTo>
                  <a:lnTo>
                    <a:pt x="84138" y="464184"/>
                  </a:lnTo>
                  <a:cubicBezTo>
                    <a:pt x="84138" y="487710"/>
                    <a:pt x="65507" y="506411"/>
                    <a:pt x="42069" y="506411"/>
                  </a:cubicBezTo>
                  <a:cubicBezTo>
                    <a:pt x="18931" y="506411"/>
                    <a:pt x="0" y="487710"/>
                    <a:pt x="0" y="464184"/>
                  </a:cubicBezTo>
                  <a:lnTo>
                    <a:pt x="0" y="42224"/>
                  </a:lnTo>
                  <a:cubicBezTo>
                    <a:pt x="0" y="18698"/>
                    <a:pt x="18931" y="-2"/>
                    <a:pt x="42069" y="-2"/>
                  </a:cubicBezTo>
                  <a:close/>
                  <a:moveTo>
                    <a:pt x="866132" y="-2"/>
                  </a:moveTo>
                  <a:cubicBezTo>
                    <a:pt x="889188" y="-2"/>
                    <a:pt x="908051" y="18698"/>
                    <a:pt x="908051" y="42224"/>
                  </a:cubicBezTo>
                  <a:lnTo>
                    <a:pt x="908051" y="464184"/>
                  </a:lnTo>
                  <a:cubicBezTo>
                    <a:pt x="908051" y="487710"/>
                    <a:pt x="889188" y="506410"/>
                    <a:pt x="866132" y="506410"/>
                  </a:cubicBezTo>
                  <a:cubicBezTo>
                    <a:pt x="842777" y="506410"/>
                    <a:pt x="823913" y="487710"/>
                    <a:pt x="823913" y="464184"/>
                  </a:cubicBezTo>
                  <a:lnTo>
                    <a:pt x="823913" y="42224"/>
                  </a:lnTo>
                  <a:cubicBezTo>
                    <a:pt x="823913" y="18698"/>
                    <a:pt x="842777" y="-2"/>
                    <a:pt x="866132" y="-2"/>
                  </a:cubicBezTo>
                  <a:close/>
                  <a:moveTo>
                    <a:pt x="316707" y="-2"/>
                  </a:moveTo>
                  <a:cubicBezTo>
                    <a:pt x="339845" y="-2"/>
                    <a:pt x="358776" y="18698"/>
                    <a:pt x="358776" y="42224"/>
                  </a:cubicBezTo>
                  <a:lnTo>
                    <a:pt x="358776" y="464184"/>
                  </a:lnTo>
                  <a:cubicBezTo>
                    <a:pt x="358776" y="487710"/>
                    <a:pt x="339845" y="506410"/>
                    <a:pt x="316707" y="506410"/>
                  </a:cubicBezTo>
                  <a:cubicBezTo>
                    <a:pt x="293569" y="506410"/>
                    <a:pt x="274638" y="487710"/>
                    <a:pt x="274638" y="464184"/>
                  </a:cubicBezTo>
                  <a:lnTo>
                    <a:pt x="274638" y="42224"/>
                  </a:lnTo>
                  <a:cubicBezTo>
                    <a:pt x="274638" y="18698"/>
                    <a:pt x="293569" y="-2"/>
                    <a:pt x="316707" y="-2"/>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a:p>
          </p:txBody>
        </p:sp>
        <p:grpSp>
          <p:nvGrpSpPr>
            <p:cNvPr id="668" name="Group 667">
              <a:extLst>
                <a:ext uri="{FF2B5EF4-FFF2-40B4-BE49-F238E27FC236}">
                  <a16:creationId xmlns:a16="http://schemas.microsoft.com/office/drawing/2014/main" id="{D788FC58-DE83-8348-B3CD-B30B512BA400}"/>
                </a:ext>
              </a:extLst>
            </p:cNvPr>
            <p:cNvGrpSpPr>
              <a:grpSpLocks noChangeAspect="1"/>
            </p:cNvGrpSpPr>
            <p:nvPr/>
          </p:nvGrpSpPr>
          <p:grpSpPr>
            <a:xfrm>
              <a:off x="4761744" y="5217859"/>
              <a:ext cx="181340" cy="182880"/>
              <a:chOff x="12587348" y="2301556"/>
              <a:chExt cx="115021" cy="115998"/>
            </a:xfrm>
            <a:solidFill>
              <a:schemeClr val="accent3"/>
            </a:solidFill>
          </p:grpSpPr>
          <p:sp>
            <p:nvSpPr>
              <p:cNvPr id="685" name="Freeform 36">
                <a:extLst>
                  <a:ext uri="{FF2B5EF4-FFF2-40B4-BE49-F238E27FC236}">
                    <a16:creationId xmlns:a16="http://schemas.microsoft.com/office/drawing/2014/main" id="{5792FED4-2059-A145-A792-658CF5053F7A}"/>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86" name="Freeform 37">
                <a:extLst>
                  <a:ext uri="{FF2B5EF4-FFF2-40B4-BE49-F238E27FC236}">
                    <a16:creationId xmlns:a16="http://schemas.microsoft.com/office/drawing/2014/main" id="{358E42C5-9868-0648-950D-0A322B76E765}"/>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87" name="Freeform 38">
                <a:extLst>
                  <a:ext uri="{FF2B5EF4-FFF2-40B4-BE49-F238E27FC236}">
                    <a16:creationId xmlns:a16="http://schemas.microsoft.com/office/drawing/2014/main" id="{03DA7FFE-18D0-A345-8580-CC5CBD56F047}"/>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88" name="Rectangle 39">
                <a:extLst>
                  <a:ext uri="{FF2B5EF4-FFF2-40B4-BE49-F238E27FC236}">
                    <a16:creationId xmlns:a16="http://schemas.microsoft.com/office/drawing/2014/main" id="{23C77BCF-B09C-2B40-98C3-36E4AAA225BF}"/>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89" name="Rectangle 40">
                <a:extLst>
                  <a:ext uri="{FF2B5EF4-FFF2-40B4-BE49-F238E27FC236}">
                    <a16:creationId xmlns:a16="http://schemas.microsoft.com/office/drawing/2014/main" id="{6F43CB13-49CA-C44C-91C0-0B1203CB74BC}"/>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90" name="Freeform 41">
                <a:extLst>
                  <a:ext uri="{FF2B5EF4-FFF2-40B4-BE49-F238E27FC236}">
                    <a16:creationId xmlns:a16="http://schemas.microsoft.com/office/drawing/2014/main" id="{6670145A-3A2F-FB4B-BB5D-6E61AED3349B}"/>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91" name="Rectangle 42">
                <a:extLst>
                  <a:ext uri="{FF2B5EF4-FFF2-40B4-BE49-F238E27FC236}">
                    <a16:creationId xmlns:a16="http://schemas.microsoft.com/office/drawing/2014/main" id="{D217035A-353E-AD42-9FD6-05B15CFC688B}"/>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92" name="Rectangle 43">
                <a:extLst>
                  <a:ext uri="{FF2B5EF4-FFF2-40B4-BE49-F238E27FC236}">
                    <a16:creationId xmlns:a16="http://schemas.microsoft.com/office/drawing/2014/main" id="{4FF4F011-5F6A-A84D-B52B-812F4D41D059}"/>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94" name="Freeform 44">
                <a:extLst>
                  <a:ext uri="{FF2B5EF4-FFF2-40B4-BE49-F238E27FC236}">
                    <a16:creationId xmlns:a16="http://schemas.microsoft.com/office/drawing/2014/main" id="{ECEF4E0B-828D-3C49-B65C-40BF391DAB48}"/>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95" name="Freeform 45">
                <a:extLst>
                  <a:ext uri="{FF2B5EF4-FFF2-40B4-BE49-F238E27FC236}">
                    <a16:creationId xmlns:a16="http://schemas.microsoft.com/office/drawing/2014/main" id="{B28A6917-0700-0443-AEC2-3764317D054B}"/>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96" name="Freeform 46">
                <a:extLst>
                  <a:ext uri="{FF2B5EF4-FFF2-40B4-BE49-F238E27FC236}">
                    <a16:creationId xmlns:a16="http://schemas.microsoft.com/office/drawing/2014/main" id="{864D54D3-562C-2344-9A11-B8336CE7AB3C}"/>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97" name="Freeform 47">
                <a:extLst>
                  <a:ext uri="{FF2B5EF4-FFF2-40B4-BE49-F238E27FC236}">
                    <a16:creationId xmlns:a16="http://schemas.microsoft.com/office/drawing/2014/main" id="{5225F884-84ED-FC4D-A794-4A42905185EF}"/>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98" name="Oval 48">
                <a:extLst>
                  <a:ext uri="{FF2B5EF4-FFF2-40B4-BE49-F238E27FC236}">
                    <a16:creationId xmlns:a16="http://schemas.microsoft.com/office/drawing/2014/main" id="{24AC6A86-7FD2-EB46-AFE9-6F0E75409F65}"/>
                  </a:ext>
                </a:extLst>
              </p:cNvPr>
              <p:cNvSpPr>
                <a:spLocks noChangeAspect="1" noChangeArrowheads="1"/>
              </p:cNvSpPr>
              <p:nvPr/>
            </p:nvSpPr>
            <p:spPr bwMode="auto">
              <a:xfrm>
                <a:off x="12627372" y="2341557"/>
                <a:ext cx="34999" cy="35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99" name="Freeform 49">
                <a:extLst>
                  <a:ext uri="{FF2B5EF4-FFF2-40B4-BE49-F238E27FC236}">
                    <a16:creationId xmlns:a16="http://schemas.microsoft.com/office/drawing/2014/main" id="{28C05E8A-F226-EE4B-9AB7-D225007B41F8}"/>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grpSp>
          <p:nvGrpSpPr>
            <p:cNvPr id="669" name="Group 668">
              <a:extLst>
                <a:ext uri="{FF2B5EF4-FFF2-40B4-BE49-F238E27FC236}">
                  <a16:creationId xmlns:a16="http://schemas.microsoft.com/office/drawing/2014/main" id="{78FFBB24-1B18-F741-92FA-B892C0D75D96}"/>
                </a:ext>
              </a:extLst>
            </p:cNvPr>
            <p:cNvGrpSpPr>
              <a:grpSpLocks noChangeAspect="1"/>
            </p:cNvGrpSpPr>
            <p:nvPr/>
          </p:nvGrpSpPr>
          <p:grpSpPr>
            <a:xfrm rot="20280033">
              <a:off x="4886231" y="5099120"/>
              <a:ext cx="181305" cy="182880"/>
              <a:chOff x="12587345" y="2301556"/>
              <a:chExt cx="114999" cy="115998"/>
            </a:xfrm>
            <a:solidFill>
              <a:schemeClr val="accent5"/>
            </a:solidFill>
          </p:grpSpPr>
          <p:sp>
            <p:nvSpPr>
              <p:cNvPr id="671" name="Freeform 36">
                <a:extLst>
                  <a:ext uri="{FF2B5EF4-FFF2-40B4-BE49-F238E27FC236}">
                    <a16:creationId xmlns:a16="http://schemas.microsoft.com/office/drawing/2014/main" id="{DF76022F-9244-D44A-8F91-9F7725620E60}"/>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72" name="Freeform 37">
                <a:extLst>
                  <a:ext uri="{FF2B5EF4-FFF2-40B4-BE49-F238E27FC236}">
                    <a16:creationId xmlns:a16="http://schemas.microsoft.com/office/drawing/2014/main" id="{5FA16328-E404-044C-B976-82CB0F10E018}"/>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73" name="Freeform 38">
                <a:extLst>
                  <a:ext uri="{FF2B5EF4-FFF2-40B4-BE49-F238E27FC236}">
                    <a16:creationId xmlns:a16="http://schemas.microsoft.com/office/drawing/2014/main" id="{EE8862BF-C488-1247-AB34-669D35800B21}"/>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74" name="Rectangle 39">
                <a:extLst>
                  <a:ext uri="{FF2B5EF4-FFF2-40B4-BE49-F238E27FC236}">
                    <a16:creationId xmlns:a16="http://schemas.microsoft.com/office/drawing/2014/main" id="{3D793BD5-815C-4640-8AE0-2BB5A2983719}"/>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75" name="Rectangle 40">
                <a:extLst>
                  <a:ext uri="{FF2B5EF4-FFF2-40B4-BE49-F238E27FC236}">
                    <a16:creationId xmlns:a16="http://schemas.microsoft.com/office/drawing/2014/main" id="{475267EF-B248-2B4F-89AA-5D298B21AFDF}"/>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76" name="Freeform 41">
                <a:extLst>
                  <a:ext uri="{FF2B5EF4-FFF2-40B4-BE49-F238E27FC236}">
                    <a16:creationId xmlns:a16="http://schemas.microsoft.com/office/drawing/2014/main" id="{0B370317-71EE-E742-BE8A-08C78B6DD1C7}"/>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77" name="Rectangle 42">
                <a:extLst>
                  <a:ext uri="{FF2B5EF4-FFF2-40B4-BE49-F238E27FC236}">
                    <a16:creationId xmlns:a16="http://schemas.microsoft.com/office/drawing/2014/main" id="{E3C91593-6E10-F942-8EF6-CD4F7D09764D}"/>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78" name="Rectangle 43">
                <a:extLst>
                  <a:ext uri="{FF2B5EF4-FFF2-40B4-BE49-F238E27FC236}">
                    <a16:creationId xmlns:a16="http://schemas.microsoft.com/office/drawing/2014/main" id="{3F75A03F-7231-DA44-8B40-DC4238ED4A1B}"/>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79" name="Freeform 44">
                <a:extLst>
                  <a:ext uri="{FF2B5EF4-FFF2-40B4-BE49-F238E27FC236}">
                    <a16:creationId xmlns:a16="http://schemas.microsoft.com/office/drawing/2014/main" id="{BA278CCB-591B-0C43-99C9-0E751ADB689F}"/>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80" name="Freeform 45">
                <a:extLst>
                  <a:ext uri="{FF2B5EF4-FFF2-40B4-BE49-F238E27FC236}">
                    <a16:creationId xmlns:a16="http://schemas.microsoft.com/office/drawing/2014/main" id="{E337C277-67F8-D04C-A7AB-FC1651F686AF}"/>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81" name="Freeform 46">
                <a:extLst>
                  <a:ext uri="{FF2B5EF4-FFF2-40B4-BE49-F238E27FC236}">
                    <a16:creationId xmlns:a16="http://schemas.microsoft.com/office/drawing/2014/main" id="{17EB7F66-12FB-F945-B51C-C2044C42EE28}"/>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82" name="Freeform 47">
                <a:extLst>
                  <a:ext uri="{FF2B5EF4-FFF2-40B4-BE49-F238E27FC236}">
                    <a16:creationId xmlns:a16="http://schemas.microsoft.com/office/drawing/2014/main" id="{DE1B6BD7-B25A-A64E-82D7-9DD83DE0C237}"/>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83" name="Oval 48">
                <a:extLst>
                  <a:ext uri="{FF2B5EF4-FFF2-40B4-BE49-F238E27FC236}">
                    <a16:creationId xmlns:a16="http://schemas.microsoft.com/office/drawing/2014/main" id="{F41DAE1A-8AFD-C54E-92F8-A4B54EDFB504}"/>
                  </a:ext>
                </a:extLst>
              </p:cNvPr>
              <p:cNvSpPr>
                <a:spLocks noChangeAspect="1" noChangeArrowheads="1"/>
              </p:cNvSpPr>
              <p:nvPr/>
            </p:nvSpPr>
            <p:spPr bwMode="auto">
              <a:xfrm>
                <a:off x="12627372" y="2341557"/>
                <a:ext cx="34999" cy="35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84" name="Freeform 49">
                <a:extLst>
                  <a:ext uri="{FF2B5EF4-FFF2-40B4-BE49-F238E27FC236}">
                    <a16:creationId xmlns:a16="http://schemas.microsoft.com/office/drawing/2014/main" id="{8733DA99-D784-7347-AC0D-995FC45FA781}"/>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sp>
          <p:nvSpPr>
            <p:cNvPr id="670" name="Freeform 4">
              <a:extLst>
                <a:ext uri="{FF2B5EF4-FFF2-40B4-BE49-F238E27FC236}">
                  <a16:creationId xmlns:a16="http://schemas.microsoft.com/office/drawing/2014/main" id="{2BF0AE81-24A5-8649-8A47-30C344A50D1C}"/>
                </a:ext>
              </a:extLst>
            </p:cNvPr>
            <p:cNvSpPr>
              <a:spLocks noChangeArrowheads="1"/>
            </p:cNvSpPr>
            <p:nvPr/>
          </p:nvSpPr>
          <p:spPr bwMode="auto">
            <a:xfrm>
              <a:off x="4588384" y="5110512"/>
              <a:ext cx="494694" cy="296416"/>
            </a:xfrm>
            <a:custGeom>
              <a:avLst/>
              <a:gdLst>
                <a:gd name="T0" fmla="*/ 13496 w 14205"/>
                <a:gd name="T1" fmla="*/ 0 h 8512"/>
                <a:gd name="T2" fmla="*/ 13496 w 14205"/>
                <a:gd name="T3" fmla="*/ 0 h 8512"/>
                <a:gd name="T4" fmla="*/ 13496 w 14205"/>
                <a:gd name="T5" fmla="*/ 0 h 8512"/>
                <a:gd name="T6" fmla="*/ 723 w 14205"/>
                <a:gd name="T7" fmla="*/ 0 h 8512"/>
                <a:gd name="T8" fmla="*/ 723 w 14205"/>
                <a:gd name="T9" fmla="*/ 0 h 8512"/>
                <a:gd name="T10" fmla="*/ 0 w 14205"/>
                <a:gd name="T11" fmla="*/ 708 h 8512"/>
                <a:gd name="T12" fmla="*/ 0 w 14205"/>
                <a:gd name="T13" fmla="*/ 7803 h 8512"/>
                <a:gd name="T14" fmla="*/ 723 w 14205"/>
                <a:gd name="T15" fmla="*/ 8511 h 8512"/>
                <a:gd name="T16" fmla="*/ 723 w 14205"/>
                <a:gd name="T17" fmla="*/ 8511 h 8512"/>
                <a:gd name="T18" fmla="*/ 13496 w 14205"/>
                <a:gd name="T19" fmla="*/ 8511 h 8512"/>
                <a:gd name="T20" fmla="*/ 13496 w 14205"/>
                <a:gd name="T21" fmla="*/ 8511 h 8512"/>
                <a:gd name="T22" fmla="*/ 14204 w 14205"/>
                <a:gd name="T23" fmla="*/ 7803 h 8512"/>
                <a:gd name="T24" fmla="*/ 14204 w 14205"/>
                <a:gd name="T25" fmla="*/ 708 h 8512"/>
                <a:gd name="T26" fmla="*/ 13496 w 14205"/>
                <a:gd name="T27" fmla="*/ 0 h 8512"/>
                <a:gd name="T28" fmla="*/ 13420 w 14205"/>
                <a:gd name="T29" fmla="*/ 7742 h 8512"/>
                <a:gd name="T30" fmla="*/ 13420 w 14205"/>
                <a:gd name="T31" fmla="*/ 7742 h 8512"/>
                <a:gd name="T32" fmla="*/ 783 w 14205"/>
                <a:gd name="T33" fmla="*/ 7742 h 8512"/>
                <a:gd name="T34" fmla="*/ 783 w 14205"/>
                <a:gd name="T35" fmla="*/ 768 h 8512"/>
                <a:gd name="T36" fmla="*/ 13420 w 14205"/>
                <a:gd name="T37" fmla="*/ 768 h 8512"/>
                <a:gd name="T38" fmla="*/ 13420 w 14205"/>
                <a:gd name="T39" fmla="*/ 7742 h 8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05" h="8512">
                  <a:moveTo>
                    <a:pt x="13496" y="0"/>
                  </a:moveTo>
                  <a:lnTo>
                    <a:pt x="13496" y="0"/>
                  </a:lnTo>
                  <a:lnTo>
                    <a:pt x="13496" y="0"/>
                  </a:lnTo>
                  <a:cubicBezTo>
                    <a:pt x="723" y="0"/>
                    <a:pt x="723" y="0"/>
                    <a:pt x="723" y="0"/>
                  </a:cubicBezTo>
                  <a:lnTo>
                    <a:pt x="723" y="0"/>
                  </a:lnTo>
                  <a:cubicBezTo>
                    <a:pt x="331" y="0"/>
                    <a:pt x="0" y="317"/>
                    <a:pt x="0" y="708"/>
                  </a:cubicBezTo>
                  <a:cubicBezTo>
                    <a:pt x="0" y="7803"/>
                    <a:pt x="0" y="7803"/>
                    <a:pt x="0" y="7803"/>
                  </a:cubicBezTo>
                  <a:cubicBezTo>
                    <a:pt x="0" y="8195"/>
                    <a:pt x="331" y="8511"/>
                    <a:pt x="723" y="8511"/>
                  </a:cubicBezTo>
                  <a:lnTo>
                    <a:pt x="723" y="8511"/>
                  </a:lnTo>
                  <a:cubicBezTo>
                    <a:pt x="13496" y="8511"/>
                    <a:pt x="13496" y="8511"/>
                    <a:pt x="13496" y="8511"/>
                  </a:cubicBezTo>
                  <a:lnTo>
                    <a:pt x="13496" y="8511"/>
                  </a:lnTo>
                  <a:cubicBezTo>
                    <a:pt x="13887" y="8511"/>
                    <a:pt x="14204" y="8195"/>
                    <a:pt x="14204" y="7803"/>
                  </a:cubicBezTo>
                  <a:cubicBezTo>
                    <a:pt x="14204" y="708"/>
                    <a:pt x="14204" y="708"/>
                    <a:pt x="14204" y="708"/>
                  </a:cubicBezTo>
                  <a:cubicBezTo>
                    <a:pt x="14204" y="317"/>
                    <a:pt x="13887" y="0"/>
                    <a:pt x="13496" y="0"/>
                  </a:cubicBezTo>
                  <a:close/>
                  <a:moveTo>
                    <a:pt x="13420" y="7742"/>
                  </a:moveTo>
                  <a:lnTo>
                    <a:pt x="13420" y="7742"/>
                  </a:lnTo>
                  <a:cubicBezTo>
                    <a:pt x="783" y="7742"/>
                    <a:pt x="783" y="7742"/>
                    <a:pt x="783" y="7742"/>
                  </a:cubicBezTo>
                  <a:cubicBezTo>
                    <a:pt x="783" y="768"/>
                    <a:pt x="783" y="768"/>
                    <a:pt x="783" y="768"/>
                  </a:cubicBezTo>
                  <a:cubicBezTo>
                    <a:pt x="13420" y="768"/>
                    <a:pt x="13420" y="768"/>
                    <a:pt x="13420" y="768"/>
                  </a:cubicBezTo>
                  <a:lnTo>
                    <a:pt x="13420" y="7742"/>
                  </a:lnTo>
                  <a:close/>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458" name="Shape 828">
            <a:extLst>
              <a:ext uri="{FF2B5EF4-FFF2-40B4-BE49-F238E27FC236}">
                <a16:creationId xmlns:a16="http://schemas.microsoft.com/office/drawing/2014/main" id="{D1EF8CB3-C440-FB40-BFCA-DB31D0D02FB6}"/>
              </a:ext>
            </a:extLst>
          </p:cNvPr>
          <p:cNvSpPr txBox="1"/>
          <p:nvPr/>
        </p:nvSpPr>
        <p:spPr>
          <a:xfrm>
            <a:off x="327882" y="2539554"/>
            <a:ext cx="1561056" cy="416400"/>
          </a:xfrm>
          <a:prstGeom prst="rect">
            <a:avLst/>
          </a:prstGeom>
          <a:noFill/>
          <a:ln>
            <a:noFill/>
          </a:ln>
        </p:spPr>
        <p:txBody>
          <a:bodyPr spcFirstLastPara="1" wrap="square" lIns="91425" tIns="91425" rIns="91425" bIns="91425" anchor="ctr" anchorCtr="0">
            <a:noAutofit/>
          </a:bodyPr>
          <a:lstStyle/>
          <a:p>
            <a:pPr algn="ctr"/>
            <a:r>
              <a:rPr lang="en-US" sz="1200" dirty="0">
                <a:latin typeface="CiscoSansTT Light" panose="020B0503020201020303" pitchFamily="34" charset="0"/>
                <a:ea typeface="Calibri" charset="0"/>
                <a:cs typeface="CiscoSansTT Light" panose="020B0503020201020303" pitchFamily="34" charset="0"/>
                <a:sym typeface="Oxygen"/>
              </a:rPr>
              <a:t>Health Insights</a:t>
            </a:r>
          </a:p>
          <a:p>
            <a:pPr algn="ctr"/>
            <a:r>
              <a:rPr lang="en-US" sz="825" dirty="0">
                <a:solidFill>
                  <a:schemeClr val="accent4"/>
                </a:solidFill>
                <a:latin typeface="CiscoSansTT Light" panose="020B0503020201020303" pitchFamily="34" charset="0"/>
                <a:ea typeface="Calibri" charset="0"/>
                <a:cs typeface="CiscoSansTT Light" panose="020B0503020201020303" pitchFamily="34" charset="0"/>
                <a:sym typeface="Oxygen"/>
              </a:rPr>
              <a:t>learn and measure health of network elements.</a:t>
            </a:r>
            <a:endParaRPr sz="825" dirty="0">
              <a:solidFill>
                <a:schemeClr val="accent4"/>
              </a:solidFill>
              <a:latin typeface="CiscoSansTT Light" panose="020B0503020201020303" pitchFamily="34" charset="0"/>
              <a:ea typeface="Calibri" charset="0"/>
              <a:cs typeface="CiscoSansTT Light" panose="020B0503020201020303" pitchFamily="34" charset="0"/>
              <a:sym typeface="Oxygen"/>
            </a:endParaRPr>
          </a:p>
        </p:txBody>
      </p:sp>
      <p:grpSp>
        <p:nvGrpSpPr>
          <p:cNvPr id="655" name="Group 654">
            <a:extLst>
              <a:ext uri="{FF2B5EF4-FFF2-40B4-BE49-F238E27FC236}">
                <a16:creationId xmlns:a16="http://schemas.microsoft.com/office/drawing/2014/main" id="{DD7B8A85-572F-9B42-BC90-A2B7E90753C9}"/>
              </a:ext>
            </a:extLst>
          </p:cNvPr>
          <p:cNvGrpSpPr>
            <a:grpSpLocks noChangeAspect="1"/>
          </p:cNvGrpSpPr>
          <p:nvPr/>
        </p:nvGrpSpPr>
        <p:grpSpPr>
          <a:xfrm>
            <a:off x="907330" y="2094050"/>
            <a:ext cx="342175" cy="342900"/>
            <a:chOff x="3403598" y="2386014"/>
            <a:chExt cx="749300" cy="750887"/>
          </a:xfrm>
        </p:grpSpPr>
        <p:sp>
          <p:nvSpPr>
            <p:cNvPr id="656" name="Oval 162">
              <a:extLst>
                <a:ext uri="{FF2B5EF4-FFF2-40B4-BE49-F238E27FC236}">
                  <a16:creationId xmlns:a16="http://schemas.microsoft.com/office/drawing/2014/main" id="{8C2446A3-2C79-2A40-87DF-85373D947EB3}"/>
                </a:ext>
              </a:extLst>
            </p:cNvPr>
            <p:cNvSpPr>
              <a:spLocks noChangeArrowheads="1"/>
            </p:cNvSpPr>
            <p:nvPr/>
          </p:nvSpPr>
          <p:spPr bwMode="auto">
            <a:xfrm>
              <a:off x="3403598" y="2386014"/>
              <a:ext cx="749300" cy="750887"/>
            </a:xfrm>
            <a:prstGeom prst="ellipse">
              <a:avLst/>
            </a:pr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57" name="Freeform 163">
              <a:extLst>
                <a:ext uri="{FF2B5EF4-FFF2-40B4-BE49-F238E27FC236}">
                  <a16:creationId xmlns:a16="http://schemas.microsoft.com/office/drawing/2014/main" id="{B04345EC-5D07-7840-94E3-B494ECB7127A}"/>
                </a:ext>
              </a:extLst>
            </p:cNvPr>
            <p:cNvSpPr>
              <a:spLocks/>
            </p:cNvSpPr>
            <p:nvPr/>
          </p:nvSpPr>
          <p:spPr bwMode="auto">
            <a:xfrm>
              <a:off x="3494088" y="2887663"/>
              <a:ext cx="153988" cy="150812"/>
            </a:xfrm>
            <a:custGeom>
              <a:avLst/>
              <a:gdLst>
                <a:gd name="T0" fmla="*/ 0 w 97"/>
                <a:gd name="T1" fmla="*/ 61 h 95"/>
                <a:gd name="T2" fmla="*/ 34 w 97"/>
                <a:gd name="T3" fmla="*/ 95 h 95"/>
                <a:gd name="T4" fmla="*/ 97 w 97"/>
                <a:gd name="T5" fmla="*/ 34 h 95"/>
                <a:gd name="T6" fmla="*/ 62 w 97"/>
                <a:gd name="T7" fmla="*/ 0 h 95"/>
                <a:gd name="T8" fmla="*/ 0 w 97"/>
                <a:gd name="T9" fmla="*/ 61 h 95"/>
              </a:gdLst>
              <a:ahLst/>
              <a:cxnLst>
                <a:cxn ang="0">
                  <a:pos x="T0" y="T1"/>
                </a:cxn>
                <a:cxn ang="0">
                  <a:pos x="T2" y="T3"/>
                </a:cxn>
                <a:cxn ang="0">
                  <a:pos x="T4" y="T5"/>
                </a:cxn>
                <a:cxn ang="0">
                  <a:pos x="T6" y="T7"/>
                </a:cxn>
                <a:cxn ang="0">
                  <a:pos x="T8" y="T9"/>
                </a:cxn>
              </a:cxnLst>
              <a:rect l="0" t="0" r="r" b="b"/>
              <a:pathLst>
                <a:path w="97" h="95">
                  <a:moveTo>
                    <a:pt x="0" y="61"/>
                  </a:moveTo>
                  <a:lnTo>
                    <a:pt x="34" y="95"/>
                  </a:lnTo>
                  <a:lnTo>
                    <a:pt x="97" y="34"/>
                  </a:lnTo>
                  <a:lnTo>
                    <a:pt x="62" y="0"/>
                  </a:lnTo>
                  <a:lnTo>
                    <a:pt x="0"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58" name="Oval 164">
              <a:extLst>
                <a:ext uri="{FF2B5EF4-FFF2-40B4-BE49-F238E27FC236}">
                  <a16:creationId xmlns:a16="http://schemas.microsoft.com/office/drawing/2014/main" id="{7ABB3F9B-1D36-354C-94E7-763874DC1EDC}"/>
                </a:ext>
              </a:extLst>
            </p:cNvPr>
            <p:cNvSpPr>
              <a:spLocks noChangeArrowheads="1"/>
            </p:cNvSpPr>
            <p:nvPr/>
          </p:nvSpPr>
          <p:spPr bwMode="auto">
            <a:xfrm>
              <a:off x="3543300" y="2525713"/>
              <a:ext cx="469900" cy="471487"/>
            </a:xfrm>
            <a:prstGeom prst="ellipse">
              <a:avLst/>
            </a:prstGeom>
            <a:noFill/>
            <a:ln w="63500" cap="flat">
              <a:solidFill>
                <a:srgbClr val="02BBE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a:p>
          </p:txBody>
        </p:sp>
        <p:sp>
          <p:nvSpPr>
            <p:cNvPr id="659" name="Freeform 165">
              <a:extLst>
                <a:ext uri="{FF2B5EF4-FFF2-40B4-BE49-F238E27FC236}">
                  <a16:creationId xmlns:a16="http://schemas.microsoft.com/office/drawing/2014/main" id="{680FA979-C76D-314C-9D87-132CB825136D}"/>
                </a:ext>
              </a:extLst>
            </p:cNvPr>
            <p:cNvSpPr>
              <a:spLocks/>
            </p:cNvSpPr>
            <p:nvPr/>
          </p:nvSpPr>
          <p:spPr bwMode="auto">
            <a:xfrm>
              <a:off x="3748088" y="2654300"/>
              <a:ext cx="58738" cy="214312"/>
            </a:xfrm>
            <a:custGeom>
              <a:avLst/>
              <a:gdLst>
                <a:gd name="T0" fmla="*/ 73 w 145"/>
                <a:gd name="T1" fmla="*/ 531 h 531"/>
                <a:gd name="T2" fmla="*/ 73 w 145"/>
                <a:gd name="T3" fmla="*/ 531 h 531"/>
                <a:gd name="T4" fmla="*/ 0 w 145"/>
                <a:gd name="T5" fmla="*/ 459 h 531"/>
                <a:gd name="T6" fmla="*/ 0 w 145"/>
                <a:gd name="T7" fmla="*/ 73 h 531"/>
                <a:gd name="T8" fmla="*/ 73 w 145"/>
                <a:gd name="T9" fmla="*/ 0 h 531"/>
                <a:gd name="T10" fmla="*/ 145 w 145"/>
                <a:gd name="T11" fmla="*/ 73 h 531"/>
                <a:gd name="T12" fmla="*/ 145 w 145"/>
                <a:gd name="T13" fmla="*/ 459 h 531"/>
                <a:gd name="T14" fmla="*/ 73 w 145"/>
                <a:gd name="T15" fmla="*/ 531 h 5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531">
                  <a:moveTo>
                    <a:pt x="73" y="531"/>
                  </a:moveTo>
                  <a:cubicBezTo>
                    <a:pt x="73" y="531"/>
                    <a:pt x="73" y="531"/>
                    <a:pt x="73" y="531"/>
                  </a:cubicBezTo>
                  <a:cubicBezTo>
                    <a:pt x="33" y="531"/>
                    <a:pt x="0" y="499"/>
                    <a:pt x="0" y="459"/>
                  </a:cubicBezTo>
                  <a:cubicBezTo>
                    <a:pt x="0" y="73"/>
                    <a:pt x="0" y="73"/>
                    <a:pt x="0" y="73"/>
                  </a:cubicBezTo>
                  <a:cubicBezTo>
                    <a:pt x="0" y="33"/>
                    <a:pt x="33" y="0"/>
                    <a:pt x="73" y="0"/>
                  </a:cubicBezTo>
                  <a:cubicBezTo>
                    <a:pt x="113" y="0"/>
                    <a:pt x="145" y="33"/>
                    <a:pt x="145" y="73"/>
                  </a:cubicBezTo>
                  <a:cubicBezTo>
                    <a:pt x="145" y="459"/>
                    <a:pt x="145" y="459"/>
                    <a:pt x="145" y="459"/>
                  </a:cubicBezTo>
                  <a:cubicBezTo>
                    <a:pt x="145" y="499"/>
                    <a:pt x="113" y="531"/>
                    <a:pt x="73" y="531"/>
                  </a:cubicBezTo>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60" name="Freeform 166">
              <a:extLst>
                <a:ext uri="{FF2B5EF4-FFF2-40B4-BE49-F238E27FC236}">
                  <a16:creationId xmlns:a16="http://schemas.microsoft.com/office/drawing/2014/main" id="{CF66625F-23CC-C844-8D71-E4CBFB62A605}"/>
                </a:ext>
              </a:extLst>
            </p:cNvPr>
            <p:cNvSpPr>
              <a:spLocks/>
            </p:cNvSpPr>
            <p:nvPr/>
          </p:nvSpPr>
          <p:spPr bwMode="auto">
            <a:xfrm>
              <a:off x="3670300" y="2732088"/>
              <a:ext cx="214313" cy="58737"/>
            </a:xfrm>
            <a:custGeom>
              <a:avLst/>
              <a:gdLst>
                <a:gd name="T0" fmla="*/ 0 w 531"/>
                <a:gd name="T1" fmla="*/ 73 h 145"/>
                <a:gd name="T2" fmla="*/ 0 w 531"/>
                <a:gd name="T3" fmla="*/ 73 h 145"/>
                <a:gd name="T4" fmla="*/ 73 w 531"/>
                <a:gd name="T5" fmla="*/ 0 h 145"/>
                <a:gd name="T6" fmla="*/ 459 w 531"/>
                <a:gd name="T7" fmla="*/ 0 h 145"/>
                <a:gd name="T8" fmla="*/ 531 w 531"/>
                <a:gd name="T9" fmla="*/ 73 h 145"/>
                <a:gd name="T10" fmla="*/ 459 w 531"/>
                <a:gd name="T11" fmla="*/ 145 h 145"/>
                <a:gd name="T12" fmla="*/ 73 w 531"/>
                <a:gd name="T13" fmla="*/ 145 h 145"/>
                <a:gd name="T14" fmla="*/ 0 w 531"/>
                <a:gd name="T15" fmla="*/ 73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1" h="145">
                  <a:moveTo>
                    <a:pt x="0" y="73"/>
                  </a:moveTo>
                  <a:cubicBezTo>
                    <a:pt x="0" y="73"/>
                    <a:pt x="0" y="73"/>
                    <a:pt x="0" y="73"/>
                  </a:cubicBezTo>
                  <a:cubicBezTo>
                    <a:pt x="0" y="33"/>
                    <a:pt x="33" y="0"/>
                    <a:pt x="73" y="0"/>
                  </a:cubicBezTo>
                  <a:cubicBezTo>
                    <a:pt x="459" y="0"/>
                    <a:pt x="459" y="0"/>
                    <a:pt x="459" y="0"/>
                  </a:cubicBezTo>
                  <a:cubicBezTo>
                    <a:pt x="499" y="0"/>
                    <a:pt x="531" y="33"/>
                    <a:pt x="531" y="73"/>
                  </a:cubicBezTo>
                  <a:cubicBezTo>
                    <a:pt x="531" y="113"/>
                    <a:pt x="499" y="145"/>
                    <a:pt x="459" y="145"/>
                  </a:cubicBezTo>
                  <a:cubicBezTo>
                    <a:pt x="73" y="145"/>
                    <a:pt x="73" y="145"/>
                    <a:pt x="73" y="145"/>
                  </a:cubicBezTo>
                  <a:cubicBezTo>
                    <a:pt x="33" y="145"/>
                    <a:pt x="0" y="113"/>
                    <a:pt x="0" y="73"/>
                  </a:cubicBezTo>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61" name="Freeform 167">
              <a:extLst>
                <a:ext uri="{FF2B5EF4-FFF2-40B4-BE49-F238E27FC236}">
                  <a16:creationId xmlns:a16="http://schemas.microsoft.com/office/drawing/2014/main" id="{318B98EE-E4A7-6248-B7CC-FED1B4D80012}"/>
                </a:ext>
              </a:extLst>
            </p:cNvPr>
            <p:cNvSpPr>
              <a:spLocks/>
            </p:cNvSpPr>
            <p:nvPr/>
          </p:nvSpPr>
          <p:spPr bwMode="auto">
            <a:xfrm>
              <a:off x="3451225" y="2911475"/>
              <a:ext cx="173038" cy="174625"/>
            </a:xfrm>
            <a:custGeom>
              <a:avLst/>
              <a:gdLst>
                <a:gd name="T0" fmla="*/ 395 w 430"/>
                <a:gd name="T1" fmla="*/ 253 h 433"/>
                <a:gd name="T2" fmla="*/ 177 w 430"/>
                <a:gd name="T3" fmla="*/ 35 h 433"/>
                <a:gd name="T4" fmla="*/ 50 w 430"/>
                <a:gd name="T5" fmla="*/ 35 h 433"/>
                <a:gd name="T6" fmla="*/ 0 w 430"/>
                <a:gd name="T7" fmla="*/ 84 h 433"/>
                <a:gd name="T8" fmla="*/ 342 w 430"/>
                <a:gd name="T9" fmla="*/ 433 h 433"/>
                <a:gd name="T10" fmla="*/ 395 w 430"/>
                <a:gd name="T11" fmla="*/ 380 h 433"/>
                <a:gd name="T12" fmla="*/ 395 w 430"/>
                <a:gd name="T13" fmla="*/ 253 h 433"/>
              </a:gdLst>
              <a:ahLst/>
              <a:cxnLst>
                <a:cxn ang="0">
                  <a:pos x="T0" y="T1"/>
                </a:cxn>
                <a:cxn ang="0">
                  <a:pos x="T2" y="T3"/>
                </a:cxn>
                <a:cxn ang="0">
                  <a:pos x="T4" y="T5"/>
                </a:cxn>
                <a:cxn ang="0">
                  <a:pos x="T6" y="T7"/>
                </a:cxn>
                <a:cxn ang="0">
                  <a:pos x="T8" y="T9"/>
                </a:cxn>
                <a:cxn ang="0">
                  <a:pos x="T10" y="T11"/>
                </a:cxn>
                <a:cxn ang="0">
                  <a:pos x="T12" y="T13"/>
                </a:cxn>
              </a:cxnLst>
              <a:rect l="0" t="0" r="r" b="b"/>
              <a:pathLst>
                <a:path w="430" h="433">
                  <a:moveTo>
                    <a:pt x="395" y="253"/>
                  </a:moveTo>
                  <a:cubicBezTo>
                    <a:pt x="177" y="35"/>
                    <a:pt x="177" y="35"/>
                    <a:pt x="177" y="35"/>
                  </a:cubicBezTo>
                  <a:cubicBezTo>
                    <a:pt x="142" y="0"/>
                    <a:pt x="85" y="0"/>
                    <a:pt x="50" y="35"/>
                  </a:cubicBezTo>
                  <a:cubicBezTo>
                    <a:pt x="0" y="84"/>
                    <a:pt x="0" y="84"/>
                    <a:pt x="0" y="84"/>
                  </a:cubicBezTo>
                  <a:cubicBezTo>
                    <a:pt x="81" y="229"/>
                    <a:pt x="200" y="349"/>
                    <a:pt x="342" y="433"/>
                  </a:cubicBezTo>
                  <a:cubicBezTo>
                    <a:pt x="395" y="380"/>
                    <a:pt x="395" y="380"/>
                    <a:pt x="395" y="380"/>
                  </a:cubicBezTo>
                  <a:cubicBezTo>
                    <a:pt x="430" y="345"/>
                    <a:pt x="430" y="288"/>
                    <a:pt x="395" y="253"/>
                  </a:cubicBezTo>
                  <a:close/>
                </a:path>
              </a:pathLst>
            </a:custGeom>
            <a:solidFill>
              <a:srgbClr val="BCBD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cxnSp>
        <p:nvCxnSpPr>
          <p:cNvPr id="358" name="Straight Arrow Connector 357">
            <a:extLst>
              <a:ext uri="{FF2B5EF4-FFF2-40B4-BE49-F238E27FC236}">
                <a16:creationId xmlns:a16="http://schemas.microsoft.com/office/drawing/2014/main" id="{F632378A-E989-DB48-BFD5-D649602306DE}"/>
              </a:ext>
            </a:extLst>
          </p:cNvPr>
          <p:cNvCxnSpPr>
            <a:cxnSpLocks/>
          </p:cNvCxnSpPr>
          <p:nvPr/>
        </p:nvCxnSpPr>
        <p:spPr>
          <a:xfrm flipH="1" flipV="1">
            <a:off x="3029779" y="1597827"/>
            <a:ext cx="1542221" cy="635798"/>
          </a:xfrm>
          <a:prstGeom prst="straightConnector1">
            <a:avLst/>
          </a:prstGeom>
          <a:ln w="25400">
            <a:solidFill>
              <a:schemeClr val="accent4">
                <a:lumMod val="40000"/>
                <a:lumOff val="60000"/>
              </a:schemeClr>
            </a:solidFill>
            <a:prstDash val="sysDot"/>
            <a:headEnd type="triangle"/>
            <a:tailEnd type="triangle"/>
          </a:ln>
          <a:effectLst/>
        </p:spPr>
        <p:style>
          <a:lnRef idx="1">
            <a:schemeClr val="accent1"/>
          </a:lnRef>
          <a:fillRef idx="0">
            <a:schemeClr val="accent1"/>
          </a:fillRef>
          <a:effectRef idx="0">
            <a:schemeClr val="accent1"/>
          </a:effectRef>
          <a:fontRef idx="minor">
            <a:schemeClr val="tx1"/>
          </a:fontRef>
        </p:style>
      </p:cxnSp>
      <p:pic>
        <p:nvPicPr>
          <p:cNvPr id="350" name="Picture 349">
            <a:extLst>
              <a:ext uri="{FF2B5EF4-FFF2-40B4-BE49-F238E27FC236}">
                <a16:creationId xmlns:a16="http://schemas.microsoft.com/office/drawing/2014/main" id="{94A1D48E-E683-4142-A3B4-74A770F6DBAE}"/>
              </a:ext>
            </a:extLst>
          </p:cNvPr>
          <p:cNvPicPr>
            <a:picLocks noChangeAspect="1"/>
          </p:cNvPicPr>
          <p:nvPr/>
        </p:nvPicPr>
        <p:blipFill>
          <a:blip r:embed="rId6"/>
          <a:stretch>
            <a:fillRect/>
          </a:stretch>
        </p:blipFill>
        <p:spPr>
          <a:xfrm>
            <a:off x="4629752" y="2079854"/>
            <a:ext cx="342900" cy="342900"/>
          </a:xfrm>
          <a:prstGeom prst="rect">
            <a:avLst/>
          </a:prstGeom>
        </p:spPr>
      </p:pic>
      <p:cxnSp>
        <p:nvCxnSpPr>
          <p:cNvPr id="15" name="Straight Arrow Connector 14">
            <a:extLst>
              <a:ext uri="{FF2B5EF4-FFF2-40B4-BE49-F238E27FC236}">
                <a16:creationId xmlns:a16="http://schemas.microsoft.com/office/drawing/2014/main" id="{F1F7BA3A-DF63-BE40-B790-5F78A82F5407}"/>
              </a:ext>
            </a:extLst>
          </p:cNvPr>
          <p:cNvCxnSpPr>
            <a:cxnSpLocks/>
          </p:cNvCxnSpPr>
          <p:nvPr/>
        </p:nvCxnSpPr>
        <p:spPr>
          <a:xfrm flipH="1" flipV="1">
            <a:off x="3746488" y="3472731"/>
            <a:ext cx="721541" cy="561780"/>
          </a:xfrm>
          <a:prstGeom prst="straightConnector1">
            <a:avLst/>
          </a:prstGeom>
          <a:ln w="28575">
            <a:solidFill>
              <a:schemeClr val="accent4">
                <a:lumMod val="20000"/>
                <a:lumOff val="8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31" name="Straight Arrow Connector 830">
            <a:extLst>
              <a:ext uri="{FF2B5EF4-FFF2-40B4-BE49-F238E27FC236}">
                <a16:creationId xmlns:a16="http://schemas.microsoft.com/office/drawing/2014/main" id="{178E6FF5-8224-144A-880B-D0EC4F00D748}"/>
              </a:ext>
            </a:extLst>
          </p:cNvPr>
          <p:cNvCxnSpPr>
            <a:cxnSpLocks/>
          </p:cNvCxnSpPr>
          <p:nvPr/>
        </p:nvCxnSpPr>
        <p:spPr>
          <a:xfrm flipH="1">
            <a:off x="5456172" y="3575637"/>
            <a:ext cx="438443" cy="458875"/>
          </a:xfrm>
          <a:prstGeom prst="straightConnector1">
            <a:avLst/>
          </a:prstGeom>
          <a:ln w="28575">
            <a:solidFill>
              <a:schemeClr val="accent4">
                <a:lumMod val="20000"/>
                <a:lumOff val="8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526" name="Picture 525">
            <a:extLst>
              <a:ext uri="{FF2B5EF4-FFF2-40B4-BE49-F238E27FC236}">
                <a16:creationId xmlns:a16="http://schemas.microsoft.com/office/drawing/2014/main" id="{693DB56C-5CD1-4701-ACF9-AA9332EF1D4E}"/>
              </a:ext>
            </a:extLst>
          </p:cNvPr>
          <p:cNvPicPr>
            <a:picLocks noChangeAspect="1"/>
          </p:cNvPicPr>
          <p:nvPr/>
        </p:nvPicPr>
        <p:blipFill>
          <a:blip r:embed="rId7"/>
          <a:stretch>
            <a:fillRect/>
          </a:stretch>
        </p:blipFill>
        <p:spPr>
          <a:xfrm>
            <a:off x="2564990" y="3655110"/>
            <a:ext cx="3708000" cy="1113322"/>
          </a:xfrm>
          <a:prstGeom prst="rect">
            <a:avLst/>
          </a:prstGeom>
        </p:spPr>
      </p:pic>
    </p:spTree>
    <p:extLst>
      <p:ext uri="{BB962C8B-B14F-4D97-AF65-F5344CB8AC3E}">
        <p14:creationId xmlns:p14="http://schemas.microsoft.com/office/powerpoint/2010/main" val="298919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e network operation lifecycle</a:t>
            </a:r>
          </a:p>
        </p:txBody>
      </p:sp>
      <p:sp>
        <p:nvSpPr>
          <p:cNvPr id="3" name="Rounded Rectangle 2"/>
          <p:cNvSpPr/>
          <p:nvPr/>
        </p:nvSpPr>
        <p:spPr>
          <a:xfrm>
            <a:off x="547688" y="1082467"/>
            <a:ext cx="4207986" cy="36576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3"/>
          <p:cNvSpPr/>
          <p:nvPr/>
        </p:nvSpPr>
        <p:spPr>
          <a:xfrm>
            <a:off x="4389914" y="1082467"/>
            <a:ext cx="4207986" cy="36576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p:cNvSpPr>
            <a:spLocks noChangeAspect="1"/>
          </p:cNvSpPr>
          <p:nvPr/>
        </p:nvSpPr>
        <p:spPr>
          <a:xfrm>
            <a:off x="4389914" y="1082467"/>
            <a:ext cx="365760" cy="365760"/>
          </a:xfrm>
          <a:prstGeom prst="ellipse">
            <a:avLst/>
          </a:prstGeom>
          <a:solidFill>
            <a:schemeClr val="tx2">
              <a:lumMod val="75000"/>
            </a:schemeClr>
          </a:solidFill>
          <a:ln w="19050">
            <a:solidFill>
              <a:schemeClr val="bg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Straight Arrow Connector 6"/>
          <p:cNvCxnSpPr/>
          <p:nvPr/>
        </p:nvCxnSpPr>
        <p:spPr>
          <a:xfrm>
            <a:off x="4472210" y="1265347"/>
            <a:ext cx="201168" cy="0"/>
          </a:xfrm>
          <a:prstGeom prst="straightConnector1">
            <a:avLst/>
          </a:prstGeom>
          <a:ln w="31750" cap="rnd">
            <a:solidFill>
              <a:schemeClr val="bg2"/>
            </a:solidFill>
            <a:tailEnd type="arrow" w="med" len="sm"/>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166613" y="1111459"/>
            <a:ext cx="970137" cy="307777"/>
          </a:xfrm>
          <a:prstGeom prst="rect">
            <a:avLst/>
          </a:prstGeom>
        </p:spPr>
        <p:txBody>
          <a:bodyPr wrap="none">
            <a:spAutoFit/>
          </a:bodyPr>
          <a:lstStyle/>
          <a:p>
            <a:pPr algn="ctr" defTabSz="457189"/>
            <a:r>
              <a:rPr lang="en-GB" sz="1400" b="1" dirty="0">
                <a:solidFill>
                  <a:srgbClr val="FFFFFF"/>
                </a:solidFill>
                <a:latin typeface="+mj-lt"/>
              </a:rPr>
              <a:t>R</a:t>
            </a:r>
            <a:r>
              <a:rPr lang="en-US" sz="1400" b="1" dirty="0">
                <a:solidFill>
                  <a:srgbClr val="FFFFFF"/>
                </a:solidFill>
                <a:latin typeface="+mj-lt"/>
              </a:rPr>
              <a:t>e-active</a:t>
            </a:r>
          </a:p>
        </p:txBody>
      </p:sp>
      <p:sp>
        <p:nvSpPr>
          <p:cNvPr id="9" name="Rectangle 8"/>
          <p:cNvSpPr/>
          <p:nvPr/>
        </p:nvSpPr>
        <p:spPr>
          <a:xfrm>
            <a:off x="6008839" y="1111459"/>
            <a:ext cx="970137" cy="307777"/>
          </a:xfrm>
          <a:prstGeom prst="rect">
            <a:avLst/>
          </a:prstGeom>
        </p:spPr>
        <p:txBody>
          <a:bodyPr wrap="none">
            <a:spAutoFit/>
          </a:bodyPr>
          <a:lstStyle/>
          <a:p>
            <a:pPr algn="ctr" defTabSz="457189"/>
            <a:r>
              <a:rPr lang="en-GB" sz="1400" b="1" dirty="0">
                <a:solidFill>
                  <a:schemeClr val="bg1"/>
                </a:solidFill>
                <a:latin typeface="+mj-lt"/>
              </a:rPr>
              <a:t>Proactive</a:t>
            </a:r>
          </a:p>
        </p:txBody>
      </p:sp>
      <p:sp>
        <p:nvSpPr>
          <p:cNvPr id="10" name="Rounded Rectangle 9"/>
          <p:cNvSpPr/>
          <p:nvPr/>
        </p:nvSpPr>
        <p:spPr>
          <a:xfrm>
            <a:off x="547688" y="4451350"/>
            <a:ext cx="8050212" cy="266700"/>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Degree of automation</a:t>
            </a:r>
          </a:p>
        </p:txBody>
      </p:sp>
      <p:sp>
        <p:nvSpPr>
          <p:cNvPr id="12" name="Rounded Rectangle 11"/>
          <p:cNvSpPr/>
          <p:nvPr/>
        </p:nvSpPr>
        <p:spPr>
          <a:xfrm>
            <a:off x="547688" y="1495598"/>
            <a:ext cx="8050212" cy="548640"/>
          </a:xfrm>
          <a:prstGeom prst="roundRect">
            <a:avLst>
              <a:gd name="adj" fmla="val 6094"/>
            </a:avLst>
          </a:prstGeom>
          <a:solidFill>
            <a:schemeClr val="bg2">
              <a:lumMod val="9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ounded Rectangle 13"/>
          <p:cNvSpPr/>
          <p:nvPr/>
        </p:nvSpPr>
        <p:spPr>
          <a:xfrm>
            <a:off x="547688" y="2091609"/>
            <a:ext cx="8050212" cy="548640"/>
          </a:xfrm>
          <a:prstGeom prst="roundRect">
            <a:avLst>
              <a:gd name="adj" fmla="val 6094"/>
            </a:avLst>
          </a:prstGeom>
          <a:solidFill>
            <a:schemeClr val="bg2">
              <a:lumMod val="9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ounded Rectangle 14"/>
          <p:cNvSpPr/>
          <p:nvPr/>
        </p:nvSpPr>
        <p:spPr>
          <a:xfrm>
            <a:off x="547688" y="2687620"/>
            <a:ext cx="8050212" cy="548640"/>
          </a:xfrm>
          <a:prstGeom prst="roundRect">
            <a:avLst>
              <a:gd name="adj" fmla="val 6094"/>
            </a:avLst>
          </a:prstGeom>
          <a:solidFill>
            <a:schemeClr val="bg2">
              <a:lumMod val="95000"/>
            </a:schemeClr>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ed Rectangle 15"/>
          <p:cNvSpPr/>
          <p:nvPr/>
        </p:nvSpPr>
        <p:spPr>
          <a:xfrm>
            <a:off x="547688" y="3283631"/>
            <a:ext cx="8050212" cy="1115568"/>
          </a:xfrm>
          <a:prstGeom prst="roundRect">
            <a:avLst>
              <a:gd name="adj" fmla="val 6094"/>
            </a:avLst>
          </a:prstGeom>
          <a:solidFill>
            <a:schemeClr val="bg2">
              <a:lumMod val="95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7" name="Straight Arrow Connector 16"/>
          <p:cNvCxnSpPr/>
          <p:nvPr/>
        </p:nvCxnSpPr>
        <p:spPr>
          <a:xfrm>
            <a:off x="4572000" y="1901116"/>
            <a:ext cx="0" cy="333616"/>
          </a:xfrm>
          <a:prstGeom prst="straightConnector1">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4572000" y="3093138"/>
            <a:ext cx="0" cy="317945"/>
          </a:xfrm>
          <a:prstGeom prst="straightConnector1">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572000" y="2497127"/>
            <a:ext cx="794" cy="333616"/>
          </a:xfrm>
          <a:prstGeom prst="straightConnector1">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Elbow Connector 19"/>
          <p:cNvCxnSpPr>
            <a:cxnSpLocks/>
          </p:cNvCxnSpPr>
          <p:nvPr/>
        </p:nvCxnSpPr>
        <p:spPr>
          <a:xfrm flipV="1">
            <a:off x="5006340" y="3391143"/>
            <a:ext cx="607998" cy="151138"/>
          </a:xfrm>
          <a:prstGeom prst="bentConnector2">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Elbow Connector 23"/>
          <p:cNvCxnSpPr>
            <a:cxnSpLocks/>
          </p:cNvCxnSpPr>
          <p:nvPr/>
        </p:nvCxnSpPr>
        <p:spPr>
          <a:xfrm rot="5400000" flipH="1" flipV="1">
            <a:off x="4779997" y="2289130"/>
            <a:ext cx="1176351" cy="1592346"/>
          </a:xfrm>
          <a:prstGeom prst="bentConnector3">
            <a:avLst>
              <a:gd name="adj1" fmla="val -46963"/>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318885" y="3922379"/>
            <a:ext cx="894473" cy="276868"/>
          </a:xfrm>
          <a:prstGeom prst="rect">
            <a:avLst/>
          </a:prstGeom>
          <a:noFill/>
        </p:spPr>
        <p:txBody>
          <a:bodyPr wrap="square">
            <a:spAutoFit/>
          </a:bodyPr>
          <a:lstStyle/>
          <a:p>
            <a:pPr algn="ctr" defTabSz="514337" eaLnBrk="0" hangingPunct="0">
              <a:lnSpc>
                <a:spcPct val="90000"/>
              </a:lnSpc>
              <a:defRPr/>
            </a:pPr>
            <a:r>
              <a:rPr lang="en-US" sz="800" dirty="0">
                <a:solidFill>
                  <a:srgbClr val="282828"/>
                </a:solidFill>
                <a:latin typeface="+mn-lt"/>
                <a:ea typeface="Arial" pitchFamily="-107" charset="0"/>
                <a:cs typeface="CiscoSansTT" panose="020B0503020201020303" pitchFamily="34" charset="0"/>
              </a:rPr>
              <a:t>Near Real-time </a:t>
            </a:r>
          </a:p>
          <a:p>
            <a:pPr algn="ctr" defTabSz="514337" eaLnBrk="0" hangingPunct="0">
              <a:lnSpc>
                <a:spcPct val="90000"/>
              </a:lnSpc>
              <a:defRPr/>
            </a:pPr>
            <a:r>
              <a:rPr lang="en-US" sz="800" dirty="0">
                <a:solidFill>
                  <a:srgbClr val="282828"/>
                </a:solidFill>
                <a:latin typeface="+mn-lt"/>
                <a:ea typeface="Arial" pitchFamily="-107" charset="0"/>
                <a:cs typeface="CiscoSansTT" panose="020B0503020201020303" pitchFamily="34" charset="0"/>
              </a:rPr>
              <a:t>feedback loop </a:t>
            </a:r>
          </a:p>
        </p:txBody>
      </p:sp>
      <p:sp>
        <p:nvSpPr>
          <p:cNvPr id="26" name="TextBox 45"/>
          <p:cNvSpPr txBox="1">
            <a:spLocks noChangeArrowheads="1"/>
          </p:cNvSpPr>
          <p:nvPr/>
        </p:nvSpPr>
        <p:spPr bwMode="auto">
          <a:xfrm>
            <a:off x="5019333" y="3586591"/>
            <a:ext cx="71067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514350">
              <a:defRPr sz="2400">
                <a:solidFill>
                  <a:schemeClr val="tx1"/>
                </a:solidFill>
                <a:latin typeface="Arial" panose="020B0604020202020204" pitchFamily="34" charset="0"/>
                <a:ea typeface="MS PGothic" panose="020B0600070205080204" pitchFamily="34" charset="-128"/>
              </a:defRPr>
            </a:lvl1pPr>
            <a:lvl2pPr marL="742950" indent="-285750" defTabSz="514350">
              <a:defRPr sz="2400">
                <a:solidFill>
                  <a:schemeClr val="tx1"/>
                </a:solidFill>
                <a:latin typeface="Arial" panose="020B0604020202020204" pitchFamily="34" charset="0"/>
                <a:ea typeface="MS PGothic" panose="020B0600070205080204" pitchFamily="34" charset="-128"/>
              </a:defRPr>
            </a:lvl2pPr>
            <a:lvl3pPr marL="1143000" indent="-228600" defTabSz="514350">
              <a:defRPr sz="2400">
                <a:solidFill>
                  <a:schemeClr val="tx1"/>
                </a:solidFill>
                <a:latin typeface="Arial" panose="020B0604020202020204" pitchFamily="34" charset="0"/>
                <a:ea typeface="MS PGothic" panose="020B0600070205080204" pitchFamily="34" charset="-128"/>
              </a:defRPr>
            </a:lvl3pPr>
            <a:lvl4pPr marL="1600200" indent="-228600" defTabSz="514350">
              <a:defRPr sz="2400">
                <a:solidFill>
                  <a:schemeClr val="tx1"/>
                </a:solidFill>
                <a:latin typeface="Arial" panose="020B0604020202020204" pitchFamily="34" charset="0"/>
                <a:ea typeface="MS PGothic" panose="020B0600070205080204" pitchFamily="34" charset="-128"/>
              </a:defRPr>
            </a:lvl4pPr>
            <a:lvl5pPr marL="2057400" indent="-228600" defTabSz="514350">
              <a:defRPr sz="2400">
                <a:solidFill>
                  <a:schemeClr val="tx1"/>
                </a:solidFill>
                <a:latin typeface="Arial" panose="020B0604020202020204" pitchFamily="34" charset="0"/>
                <a:ea typeface="MS PGothic" panose="020B0600070205080204" pitchFamily="34" charset="-128"/>
              </a:defRPr>
            </a:lvl5pPr>
            <a:lvl6pPr marL="2514600" indent="-228600" defTabSz="514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514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514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514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defTabSz="514337" eaLnBrk="0" hangingPunct="0">
              <a:defRPr/>
            </a:pPr>
            <a:r>
              <a:rPr lang="en-US" altLang="en-US" sz="800" dirty="0">
                <a:solidFill>
                  <a:srgbClr val="282828"/>
                </a:solidFill>
                <a:latin typeface="+mn-lt"/>
                <a:cs typeface="CiscoSansTT" panose="020B0503020201020303" pitchFamily="34" charset="0"/>
              </a:rPr>
              <a:t>Real Time</a:t>
            </a:r>
            <a:br>
              <a:rPr lang="en-US" altLang="en-US" sz="800" dirty="0">
                <a:solidFill>
                  <a:srgbClr val="282828"/>
                </a:solidFill>
                <a:latin typeface="+mn-lt"/>
                <a:cs typeface="CiscoSansTT" panose="020B0503020201020303" pitchFamily="34" charset="0"/>
              </a:rPr>
            </a:br>
            <a:r>
              <a:rPr lang="en-US" altLang="en-US" sz="800" dirty="0">
                <a:solidFill>
                  <a:srgbClr val="282828"/>
                </a:solidFill>
                <a:latin typeface="+mn-lt"/>
                <a:cs typeface="CiscoSansTT" panose="020B0503020201020303" pitchFamily="34" charset="0"/>
              </a:rPr>
              <a:t>feedback loop</a:t>
            </a:r>
          </a:p>
        </p:txBody>
      </p:sp>
      <p:cxnSp>
        <p:nvCxnSpPr>
          <p:cNvPr id="27" name="Elbow Connector 26"/>
          <p:cNvCxnSpPr/>
          <p:nvPr/>
        </p:nvCxnSpPr>
        <p:spPr>
          <a:xfrm rot="16200000" flipV="1">
            <a:off x="5226936" y="2741346"/>
            <a:ext cx="166807" cy="607998"/>
          </a:xfrm>
          <a:prstGeom prst="bentConnector2">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245750" y="3586591"/>
            <a:ext cx="657231" cy="246221"/>
          </a:xfrm>
          <a:prstGeom prst="rect">
            <a:avLst/>
          </a:prstGeom>
          <a:noFill/>
        </p:spPr>
        <p:txBody>
          <a:bodyPr wrap="square" lIns="0" tIns="0" rIns="0" bIns="0">
            <a:spAutoFit/>
          </a:bodyPr>
          <a:lstStyle/>
          <a:p>
            <a:pPr algn="ctr" defTabSz="514337" eaLnBrk="0" hangingPunct="0">
              <a:defRPr/>
            </a:pPr>
            <a:r>
              <a:rPr lang="en-US" sz="800" dirty="0">
                <a:solidFill>
                  <a:srgbClr val="282828"/>
                </a:solidFill>
                <a:latin typeface="+mn-lt"/>
                <a:ea typeface="Arial" pitchFamily="-107" charset="0"/>
                <a:cs typeface="CiscoSansTT" panose="020B0503020201020303" pitchFamily="34" charset="0"/>
              </a:rPr>
              <a:t>Offline </a:t>
            </a:r>
          </a:p>
          <a:p>
            <a:pPr algn="ctr" defTabSz="514337" eaLnBrk="0" hangingPunct="0">
              <a:defRPr/>
            </a:pPr>
            <a:r>
              <a:rPr lang="en-US" sz="800" dirty="0">
                <a:solidFill>
                  <a:srgbClr val="282828"/>
                </a:solidFill>
                <a:latin typeface="+mn-lt"/>
                <a:ea typeface="Arial" pitchFamily="-107" charset="0"/>
                <a:cs typeface="CiscoSansTT" panose="020B0503020201020303" pitchFamily="34" charset="0"/>
              </a:rPr>
              <a:t>feedback loop</a:t>
            </a:r>
          </a:p>
        </p:txBody>
      </p:sp>
      <p:cxnSp>
        <p:nvCxnSpPr>
          <p:cNvPr id="29" name="Elbow Connector 28"/>
          <p:cNvCxnSpPr>
            <a:cxnSpLocks/>
          </p:cNvCxnSpPr>
          <p:nvPr/>
        </p:nvCxnSpPr>
        <p:spPr bwMode="auto">
          <a:xfrm rot="10800000">
            <a:off x="2997058" y="1901117"/>
            <a:ext cx="1140603" cy="1641165"/>
          </a:xfrm>
          <a:prstGeom prst="bentConnector2">
            <a:avLst/>
          </a:prstGeom>
          <a:solidFill>
            <a:srgbClr val="0183B7"/>
          </a:solidFill>
          <a:ln w="9525" cap="flat" cmpd="sng" algn="ctr">
            <a:solidFill>
              <a:schemeClr val="tx1">
                <a:lumMod val="75000"/>
                <a:lumOff val="25000"/>
              </a:schemeClr>
            </a:solidFill>
            <a:prstDash val="solid"/>
            <a:round/>
            <a:headEnd type="none" w="med" len="med"/>
            <a:tailEnd type="triangle"/>
          </a:ln>
          <a:effectLst/>
        </p:spPr>
      </p:cxnSp>
      <p:cxnSp>
        <p:nvCxnSpPr>
          <p:cNvPr id="32" name="Straight Arrow Connector 31"/>
          <p:cNvCxnSpPr>
            <a:cxnSpLocks/>
          </p:cNvCxnSpPr>
          <p:nvPr/>
        </p:nvCxnSpPr>
        <p:spPr bwMode="auto">
          <a:xfrm>
            <a:off x="3431397" y="1769919"/>
            <a:ext cx="706263" cy="0"/>
          </a:xfrm>
          <a:prstGeom prst="straightConnector1">
            <a:avLst/>
          </a:prstGeom>
          <a:solidFill>
            <a:srgbClr val="0183B7"/>
          </a:solidFill>
          <a:ln w="9525" cap="flat" cmpd="sng" algn="ctr">
            <a:solidFill>
              <a:schemeClr val="tx1">
                <a:lumMod val="75000"/>
                <a:lumOff val="25000"/>
              </a:schemeClr>
            </a:solidFill>
            <a:prstDash val="solid"/>
            <a:round/>
            <a:headEnd type="none" w="med" len="med"/>
            <a:tailEnd type="triangle"/>
          </a:ln>
          <a:effectLst/>
        </p:spPr>
      </p:cxnSp>
      <p:cxnSp>
        <p:nvCxnSpPr>
          <p:cNvPr id="34" name="Straight Arrow Connector 33"/>
          <p:cNvCxnSpPr>
            <a:cxnSpLocks/>
          </p:cNvCxnSpPr>
          <p:nvPr/>
        </p:nvCxnSpPr>
        <p:spPr bwMode="auto">
          <a:xfrm flipH="1">
            <a:off x="5006340" y="2365930"/>
            <a:ext cx="723666" cy="0"/>
          </a:xfrm>
          <a:prstGeom prst="straightConnector1">
            <a:avLst/>
          </a:prstGeom>
          <a:solidFill>
            <a:srgbClr val="0183B7"/>
          </a:solidFill>
          <a:ln w="9525" cap="flat" cmpd="sng" algn="ctr">
            <a:solidFill>
              <a:schemeClr val="tx1">
                <a:lumMod val="75000"/>
                <a:lumOff val="25000"/>
              </a:schemeClr>
            </a:solidFill>
            <a:prstDash val="solid"/>
            <a:round/>
            <a:headEnd type="none" w="med" len="med"/>
            <a:tailEnd type="triangle"/>
          </a:ln>
          <a:effectLst/>
        </p:spPr>
      </p:cxnSp>
      <p:sp>
        <p:nvSpPr>
          <p:cNvPr id="21" name="Rounded Rectangle 20"/>
          <p:cNvSpPr/>
          <p:nvPr/>
        </p:nvSpPr>
        <p:spPr>
          <a:xfrm>
            <a:off x="4137660" y="1638721"/>
            <a:ext cx="868680" cy="262395"/>
          </a:xfrm>
          <a:prstGeom prst="roundRect">
            <a:avLst/>
          </a:prstGeom>
          <a:solidFill>
            <a:schemeClr val="tx2"/>
          </a:solidFill>
          <a:ln>
            <a:noFill/>
          </a:ln>
          <a:effectLst/>
        </p:spPr>
        <p:style>
          <a:lnRef idx="3">
            <a:schemeClr val="lt1"/>
          </a:lnRef>
          <a:fillRef idx="1">
            <a:schemeClr val="accent6"/>
          </a:fillRef>
          <a:effectRef idx="1">
            <a:schemeClr val="accent6"/>
          </a:effectRef>
          <a:fontRef idx="minor">
            <a:schemeClr val="lt1"/>
          </a:fontRef>
        </p:style>
        <p:txBody>
          <a:bodyPr lIns="0" tIns="0" rIns="0" bIns="0" anchor="ctr">
            <a:normAutofit/>
          </a:bodyPr>
          <a:lstStyle/>
          <a:p>
            <a:pPr algn="ctr" defTabSz="457189" eaLnBrk="0" hangingPunct="0">
              <a:defRPr/>
            </a:pPr>
            <a:r>
              <a:rPr lang="en-GB" sz="1000" dirty="0">
                <a:solidFill>
                  <a:schemeClr val="bg2"/>
                </a:solidFill>
                <a:latin typeface="+mj-lt"/>
              </a:rPr>
              <a:t>Plan</a:t>
            </a:r>
          </a:p>
        </p:txBody>
      </p:sp>
      <p:sp>
        <p:nvSpPr>
          <p:cNvPr id="22" name="Rounded Rectangle 21"/>
          <p:cNvSpPr/>
          <p:nvPr/>
        </p:nvSpPr>
        <p:spPr>
          <a:xfrm>
            <a:off x="4137660" y="2830743"/>
            <a:ext cx="868680" cy="262395"/>
          </a:xfrm>
          <a:prstGeom prst="roundRect">
            <a:avLst/>
          </a:prstGeom>
          <a:solidFill>
            <a:schemeClr val="accent2"/>
          </a:solidFill>
          <a:ln>
            <a:noFill/>
          </a:ln>
          <a:effectLst/>
        </p:spPr>
        <p:style>
          <a:lnRef idx="3">
            <a:schemeClr val="lt1"/>
          </a:lnRef>
          <a:fillRef idx="1">
            <a:schemeClr val="accent2"/>
          </a:fillRef>
          <a:effectRef idx="1">
            <a:schemeClr val="accent2"/>
          </a:effectRef>
          <a:fontRef idx="minor">
            <a:schemeClr val="lt1"/>
          </a:fontRef>
        </p:style>
        <p:txBody>
          <a:bodyPr lIns="0" tIns="0" rIns="0" bIns="0" anchor="ctr">
            <a:normAutofit/>
          </a:bodyPr>
          <a:lstStyle/>
          <a:p>
            <a:pPr algn="ctr" defTabSz="457189" eaLnBrk="0" hangingPunct="0">
              <a:defRPr/>
            </a:pPr>
            <a:r>
              <a:rPr lang="en-GB" sz="1000" dirty="0">
                <a:solidFill>
                  <a:schemeClr val="bg1"/>
                </a:solidFill>
                <a:latin typeface="+mj-lt"/>
              </a:rPr>
              <a:t>Implement</a:t>
            </a:r>
          </a:p>
        </p:txBody>
      </p:sp>
      <p:sp>
        <p:nvSpPr>
          <p:cNvPr id="23" name="Rounded Rectangle 22"/>
          <p:cNvSpPr/>
          <p:nvPr/>
        </p:nvSpPr>
        <p:spPr>
          <a:xfrm>
            <a:off x="4137660" y="2234732"/>
            <a:ext cx="868680" cy="262395"/>
          </a:xfrm>
          <a:prstGeom prst="roundRect">
            <a:avLst/>
          </a:prstGeom>
          <a:solidFill>
            <a:schemeClr val="accent5"/>
          </a:solidFill>
          <a:ln>
            <a:noFill/>
          </a:ln>
          <a:effectLst/>
        </p:spPr>
        <p:style>
          <a:lnRef idx="3">
            <a:schemeClr val="lt1"/>
          </a:lnRef>
          <a:fillRef idx="1">
            <a:schemeClr val="accent4"/>
          </a:fillRef>
          <a:effectRef idx="1">
            <a:schemeClr val="accent4"/>
          </a:effectRef>
          <a:fontRef idx="minor">
            <a:schemeClr val="lt1"/>
          </a:fontRef>
        </p:style>
        <p:txBody>
          <a:bodyPr lIns="0" tIns="0" rIns="0" bIns="0" anchor="ctr">
            <a:normAutofit/>
          </a:bodyPr>
          <a:lstStyle/>
          <a:p>
            <a:pPr algn="ctr" defTabSz="457189" eaLnBrk="0" hangingPunct="0">
              <a:defRPr/>
            </a:pPr>
            <a:r>
              <a:rPr lang="en-GB" sz="1000" dirty="0">
                <a:solidFill>
                  <a:schemeClr val="bg1"/>
                </a:solidFill>
                <a:latin typeface="+mj-lt"/>
              </a:rPr>
              <a:t>Design</a:t>
            </a:r>
          </a:p>
        </p:txBody>
      </p:sp>
      <p:sp>
        <p:nvSpPr>
          <p:cNvPr id="30" name="Rounded Rectangle 29"/>
          <p:cNvSpPr/>
          <p:nvPr/>
        </p:nvSpPr>
        <p:spPr>
          <a:xfrm>
            <a:off x="5179998" y="3128748"/>
            <a:ext cx="868680" cy="262395"/>
          </a:xfrm>
          <a:prstGeom prst="roundRect">
            <a:avLst/>
          </a:prstGeom>
          <a:solidFill>
            <a:schemeClr val="accent1">
              <a:lumMod val="20000"/>
              <a:lumOff val="80000"/>
            </a:schemeClr>
          </a:solidFill>
          <a:ln>
            <a:noFill/>
          </a:ln>
          <a:effectLst/>
        </p:spPr>
        <p:style>
          <a:lnRef idx="3">
            <a:schemeClr val="lt1"/>
          </a:lnRef>
          <a:fillRef idx="1">
            <a:schemeClr val="accent5"/>
          </a:fillRef>
          <a:effectRef idx="1">
            <a:schemeClr val="accent5"/>
          </a:effectRef>
          <a:fontRef idx="minor">
            <a:schemeClr val="lt1"/>
          </a:fontRef>
        </p:style>
        <p:txBody>
          <a:bodyPr lIns="0" tIns="0" rIns="0" bIns="0" anchor="ctr">
            <a:normAutofit/>
          </a:bodyPr>
          <a:lstStyle/>
          <a:p>
            <a:pPr algn="ctr" defTabSz="457189" eaLnBrk="0" hangingPunct="0">
              <a:defRPr/>
            </a:pPr>
            <a:r>
              <a:rPr lang="en-GB" sz="1000" dirty="0">
                <a:solidFill>
                  <a:schemeClr val="bg1"/>
                </a:solidFill>
                <a:latin typeface="+mj-lt"/>
              </a:rPr>
              <a:t>Remediation </a:t>
            </a:r>
          </a:p>
        </p:txBody>
      </p:sp>
      <p:sp>
        <p:nvSpPr>
          <p:cNvPr id="31" name="Rounded Rectangle 30"/>
          <p:cNvSpPr/>
          <p:nvPr/>
        </p:nvSpPr>
        <p:spPr>
          <a:xfrm>
            <a:off x="4137660" y="3411083"/>
            <a:ext cx="868680" cy="262395"/>
          </a:xfrm>
          <a:prstGeom prst="roundRect">
            <a:avLst/>
          </a:prstGeom>
          <a:solidFill>
            <a:schemeClr val="bg1">
              <a:lumMod val="25000"/>
              <a:lumOff val="75000"/>
            </a:schemeClr>
          </a:solidFill>
          <a:ln>
            <a:noFill/>
          </a:ln>
          <a:effectLst/>
        </p:spPr>
        <p:style>
          <a:lnRef idx="3">
            <a:schemeClr val="lt1"/>
          </a:lnRef>
          <a:fillRef idx="1">
            <a:schemeClr val="accent1"/>
          </a:fillRef>
          <a:effectRef idx="1">
            <a:schemeClr val="accent1"/>
          </a:effectRef>
          <a:fontRef idx="minor">
            <a:schemeClr val="lt1"/>
          </a:fontRef>
        </p:style>
        <p:txBody>
          <a:bodyPr lIns="0" tIns="0" rIns="0" bIns="0" anchor="ctr">
            <a:normAutofit/>
          </a:bodyPr>
          <a:lstStyle/>
          <a:p>
            <a:pPr algn="ctr" defTabSz="457189" eaLnBrk="0" hangingPunct="0">
              <a:defRPr/>
            </a:pPr>
            <a:r>
              <a:rPr lang="en-GB" sz="1000" dirty="0">
                <a:solidFill>
                  <a:schemeClr val="bg1"/>
                </a:solidFill>
                <a:latin typeface="+mj-lt"/>
              </a:rPr>
              <a:t>Operate</a:t>
            </a:r>
          </a:p>
        </p:txBody>
      </p:sp>
      <p:sp>
        <p:nvSpPr>
          <p:cNvPr id="33" name="Rounded Rectangle 32"/>
          <p:cNvSpPr/>
          <p:nvPr/>
        </p:nvSpPr>
        <p:spPr>
          <a:xfrm>
            <a:off x="2562717" y="1638721"/>
            <a:ext cx="868680" cy="262395"/>
          </a:xfrm>
          <a:prstGeom prst="roundRect">
            <a:avLst/>
          </a:prstGeom>
          <a:solidFill>
            <a:schemeClr val="accent4">
              <a:lumMod val="75000"/>
              <a:alpha val="60000"/>
            </a:schemeClr>
          </a:solidFill>
          <a:ln>
            <a:noFill/>
          </a:ln>
          <a:effectLst/>
        </p:spPr>
        <p:style>
          <a:lnRef idx="3">
            <a:schemeClr val="lt1"/>
          </a:lnRef>
          <a:fillRef idx="1">
            <a:schemeClr val="accent5"/>
          </a:fillRef>
          <a:effectRef idx="1">
            <a:schemeClr val="accent5"/>
          </a:effectRef>
          <a:fontRef idx="minor">
            <a:schemeClr val="lt1"/>
          </a:fontRef>
        </p:style>
        <p:txBody>
          <a:bodyPr lIns="0" tIns="0" rIns="0" bIns="0" anchor="ctr">
            <a:normAutofit/>
          </a:bodyPr>
          <a:lstStyle/>
          <a:p>
            <a:pPr algn="ctr" defTabSz="457189" eaLnBrk="0" hangingPunct="0">
              <a:defRPr/>
            </a:pPr>
            <a:r>
              <a:rPr lang="en-GB" sz="1000" dirty="0">
                <a:solidFill>
                  <a:srgbClr val="FFFFFF"/>
                </a:solidFill>
                <a:latin typeface="+mj-lt"/>
              </a:rPr>
              <a:t>Forecast </a:t>
            </a:r>
          </a:p>
        </p:txBody>
      </p:sp>
      <p:sp>
        <p:nvSpPr>
          <p:cNvPr id="35" name="Rounded Rectangle 34"/>
          <p:cNvSpPr/>
          <p:nvPr/>
        </p:nvSpPr>
        <p:spPr>
          <a:xfrm>
            <a:off x="5730006" y="2234732"/>
            <a:ext cx="868680" cy="262395"/>
          </a:xfrm>
          <a:prstGeom prst="roundRect">
            <a:avLst/>
          </a:prstGeom>
          <a:solidFill>
            <a:schemeClr val="accent1">
              <a:lumMod val="75000"/>
            </a:schemeClr>
          </a:solidFill>
          <a:ln>
            <a:noFill/>
          </a:ln>
          <a:effectLst/>
        </p:spPr>
        <p:style>
          <a:lnRef idx="3">
            <a:schemeClr val="lt1"/>
          </a:lnRef>
          <a:fillRef idx="1">
            <a:schemeClr val="accent3"/>
          </a:fillRef>
          <a:effectRef idx="1">
            <a:schemeClr val="accent3"/>
          </a:effectRef>
          <a:fontRef idx="minor">
            <a:schemeClr val="lt1"/>
          </a:fontRef>
        </p:style>
        <p:txBody>
          <a:bodyPr lIns="0" tIns="0" rIns="0" bIns="0" anchor="ctr">
            <a:normAutofit/>
          </a:bodyPr>
          <a:lstStyle/>
          <a:p>
            <a:pPr algn="ctr" defTabSz="457189" eaLnBrk="0" hangingPunct="0">
              <a:defRPr/>
            </a:pPr>
            <a:r>
              <a:rPr lang="en-GB" sz="1000" dirty="0">
                <a:solidFill>
                  <a:srgbClr val="FFFFFF"/>
                </a:solidFill>
                <a:latin typeface="+mj-lt"/>
              </a:rPr>
              <a:t>Optimize </a:t>
            </a:r>
          </a:p>
        </p:txBody>
      </p:sp>
      <p:sp>
        <p:nvSpPr>
          <p:cNvPr id="71" name="TextBox 45"/>
          <p:cNvSpPr txBox="1">
            <a:spLocks noChangeArrowheads="1"/>
          </p:cNvSpPr>
          <p:nvPr/>
        </p:nvSpPr>
        <p:spPr bwMode="auto">
          <a:xfrm>
            <a:off x="6912621" y="2461670"/>
            <a:ext cx="90730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514350">
              <a:defRPr sz="2400">
                <a:solidFill>
                  <a:schemeClr val="tx1"/>
                </a:solidFill>
                <a:latin typeface="Arial" panose="020B0604020202020204" pitchFamily="34" charset="0"/>
                <a:ea typeface="MS PGothic" panose="020B0600070205080204" pitchFamily="34" charset="-128"/>
              </a:defRPr>
            </a:lvl1pPr>
            <a:lvl2pPr marL="742950" indent="-285750" defTabSz="514350">
              <a:defRPr sz="2400">
                <a:solidFill>
                  <a:schemeClr val="tx1"/>
                </a:solidFill>
                <a:latin typeface="Arial" panose="020B0604020202020204" pitchFamily="34" charset="0"/>
                <a:ea typeface="MS PGothic" panose="020B0600070205080204" pitchFamily="34" charset="-128"/>
              </a:defRPr>
            </a:lvl2pPr>
            <a:lvl3pPr marL="1143000" indent="-228600" defTabSz="514350">
              <a:defRPr sz="2400">
                <a:solidFill>
                  <a:schemeClr val="tx1"/>
                </a:solidFill>
                <a:latin typeface="Arial" panose="020B0604020202020204" pitchFamily="34" charset="0"/>
                <a:ea typeface="MS PGothic" panose="020B0600070205080204" pitchFamily="34" charset="-128"/>
              </a:defRPr>
            </a:lvl3pPr>
            <a:lvl4pPr marL="1600200" indent="-228600" defTabSz="514350">
              <a:defRPr sz="2400">
                <a:solidFill>
                  <a:schemeClr val="tx1"/>
                </a:solidFill>
                <a:latin typeface="Arial" panose="020B0604020202020204" pitchFamily="34" charset="0"/>
                <a:ea typeface="MS PGothic" panose="020B0600070205080204" pitchFamily="34" charset="-128"/>
              </a:defRPr>
            </a:lvl4pPr>
            <a:lvl5pPr marL="2057400" indent="-228600" defTabSz="514350">
              <a:defRPr sz="2400">
                <a:solidFill>
                  <a:schemeClr val="tx1"/>
                </a:solidFill>
                <a:latin typeface="Arial" panose="020B0604020202020204" pitchFamily="34" charset="0"/>
                <a:ea typeface="MS PGothic" panose="020B0600070205080204" pitchFamily="34" charset="-128"/>
              </a:defRPr>
            </a:lvl5pPr>
            <a:lvl6pPr marL="2514600" indent="-228600" defTabSz="514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514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514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514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defTabSz="514337" eaLnBrk="0" hangingPunct="0">
              <a:defRPr/>
            </a:pPr>
            <a:r>
              <a:rPr lang="en-US" altLang="en-US" sz="800" dirty="0">
                <a:solidFill>
                  <a:schemeClr val="bg1"/>
                </a:solidFill>
                <a:latin typeface="+mn-lt"/>
                <a:cs typeface="CiscoSansTT" panose="020B0503020201020303" pitchFamily="34" charset="0"/>
              </a:rPr>
              <a:t>Optimization Engine</a:t>
            </a:r>
          </a:p>
        </p:txBody>
      </p:sp>
      <p:sp>
        <p:nvSpPr>
          <p:cNvPr id="110" name="Rectangle 109"/>
          <p:cNvSpPr/>
          <p:nvPr/>
        </p:nvSpPr>
        <p:spPr>
          <a:xfrm>
            <a:off x="6583016" y="2837878"/>
            <a:ext cx="714611" cy="246221"/>
          </a:xfrm>
          <a:prstGeom prst="rect">
            <a:avLst/>
          </a:prstGeom>
        </p:spPr>
        <p:txBody>
          <a:bodyPr wrap="square" lIns="91440" tIns="0" rIns="0" bIns="0">
            <a:spAutoFit/>
          </a:bodyPr>
          <a:lstStyle/>
          <a:p>
            <a:r>
              <a:rPr lang="en-US" sz="800" dirty="0">
                <a:solidFill>
                  <a:schemeClr val="bg1"/>
                </a:solidFill>
                <a:latin typeface="+mj-lt"/>
                <a:ea typeface="Calibri" charset="0"/>
                <a:cs typeface="CiscoSansTT Light" panose="020B0503020201020303" pitchFamily="34" charset="0"/>
                <a:sym typeface="Oxygen"/>
              </a:rPr>
              <a:t>Change</a:t>
            </a:r>
            <a:br>
              <a:rPr lang="en-US" sz="800" dirty="0">
                <a:solidFill>
                  <a:schemeClr val="bg1"/>
                </a:solidFill>
                <a:latin typeface="+mj-lt"/>
                <a:ea typeface="Calibri" charset="0"/>
                <a:cs typeface="CiscoSansTT Light" panose="020B0503020201020303" pitchFamily="34" charset="0"/>
                <a:sym typeface="Oxygen"/>
              </a:rPr>
            </a:br>
            <a:r>
              <a:rPr lang="en-US" sz="800" dirty="0">
                <a:solidFill>
                  <a:schemeClr val="bg1"/>
                </a:solidFill>
                <a:latin typeface="+mj-lt"/>
                <a:ea typeface="Calibri" charset="0"/>
                <a:cs typeface="CiscoSansTT Light" panose="020B0503020201020303" pitchFamily="34" charset="0"/>
                <a:sym typeface="Oxygen"/>
              </a:rPr>
              <a:t>Automation</a:t>
            </a:r>
          </a:p>
        </p:txBody>
      </p:sp>
      <p:sp>
        <p:nvSpPr>
          <p:cNvPr id="146" name="Rectangle 145"/>
          <p:cNvSpPr/>
          <p:nvPr/>
        </p:nvSpPr>
        <p:spPr>
          <a:xfrm>
            <a:off x="7835256" y="2777274"/>
            <a:ext cx="714611" cy="369332"/>
          </a:xfrm>
          <a:prstGeom prst="rect">
            <a:avLst/>
          </a:prstGeom>
        </p:spPr>
        <p:txBody>
          <a:bodyPr wrap="square" lIns="91440" tIns="0" rIns="0" bIns="0">
            <a:spAutoFit/>
          </a:bodyPr>
          <a:lstStyle/>
          <a:p>
            <a:r>
              <a:rPr lang="en-US" sz="800" dirty="0">
                <a:solidFill>
                  <a:schemeClr val="bg1"/>
                </a:solidFill>
                <a:latin typeface="+mj-lt"/>
                <a:ea typeface="Calibri" charset="0"/>
                <a:cs typeface="CiscoSansTT Light" panose="020B0503020201020303" pitchFamily="34" charset="0"/>
                <a:sym typeface="Oxygen"/>
              </a:rPr>
              <a:t>Network Service Orchestrator</a:t>
            </a:r>
          </a:p>
        </p:txBody>
      </p:sp>
      <p:grpSp>
        <p:nvGrpSpPr>
          <p:cNvPr id="182" name="Group 181"/>
          <p:cNvGrpSpPr>
            <a:grpSpLocks noChangeAspect="1"/>
          </p:cNvGrpSpPr>
          <p:nvPr/>
        </p:nvGrpSpPr>
        <p:grpSpPr>
          <a:xfrm>
            <a:off x="7271553" y="2866774"/>
            <a:ext cx="166265" cy="165262"/>
            <a:chOff x="1579730" y="2192898"/>
            <a:chExt cx="496987" cy="493985"/>
          </a:xfrm>
        </p:grpSpPr>
        <p:sp>
          <p:nvSpPr>
            <p:cNvPr id="183" name="Freeform 664"/>
            <p:cNvSpPr>
              <a:spLocks noChangeAspect="1"/>
            </p:cNvSpPr>
            <p:nvPr/>
          </p:nvSpPr>
          <p:spPr bwMode="auto">
            <a:xfrm>
              <a:off x="1762419" y="2192898"/>
              <a:ext cx="134995" cy="493985"/>
            </a:xfrm>
            <a:custGeom>
              <a:avLst/>
              <a:gdLst>
                <a:gd name="T0" fmla="*/ 29 w 57"/>
                <a:gd name="T1" fmla="*/ 209 h 209"/>
                <a:gd name="T2" fmla="*/ 29 w 57"/>
                <a:gd name="T3" fmla="*/ 209 h 209"/>
                <a:gd name="T4" fmla="*/ 0 w 57"/>
                <a:gd name="T5" fmla="*/ 181 h 209"/>
                <a:gd name="T6" fmla="*/ 0 w 57"/>
                <a:gd name="T7" fmla="*/ 28 h 209"/>
                <a:gd name="T8" fmla="*/ 29 w 57"/>
                <a:gd name="T9" fmla="*/ 0 h 209"/>
                <a:gd name="T10" fmla="*/ 57 w 57"/>
                <a:gd name="T11" fmla="*/ 28 h 209"/>
                <a:gd name="T12" fmla="*/ 57 w 57"/>
                <a:gd name="T13" fmla="*/ 181 h 209"/>
                <a:gd name="T14" fmla="*/ 29 w 57"/>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9">
                  <a:moveTo>
                    <a:pt x="29" y="209"/>
                  </a:moveTo>
                  <a:cubicBezTo>
                    <a:pt x="29" y="209"/>
                    <a:pt x="29" y="209"/>
                    <a:pt x="29" y="209"/>
                  </a:cubicBezTo>
                  <a:cubicBezTo>
                    <a:pt x="13" y="209"/>
                    <a:pt x="0" y="196"/>
                    <a:pt x="0" y="181"/>
                  </a:cubicBezTo>
                  <a:cubicBezTo>
                    <a:pt x="0" y="28"/>
                    <a:pt x="0" y="28"/>
                    <a:pt x="0" y="28"/>
                  </a:cubicBezTo>
                  <a:cubicBezTo>
                    <a:pt x="0" y="13"/>
                    <a:pt x="13" y="0"/>
                    <a:pt x="29" y="0"/>
                  </a:cubicBezTo>
                  <a:cubicBezTo>
                    <a:pt x="45" y="0"/>
                    <a:pt x="57" y="13"/>
                    <a:pt x="57" y="28"/>
                  </a:cubicBezTo>
                  <a:cubicBezTo>
                    <a:pt x="57" y="181"/>
                    <a:pt x="57" y="181"/>
                    <a:pt x="57" y="181"/>
                  </a:cubicBezTo>
                  <a:cubicBezTo>
                    <a:pt x="57" y="196"/>
                    <a:pt x="45" y="209"/>
                    <a:pt x="29" y="209"/>
                  </a:cubicBezTo>
                </a:path>
              </a:pathLst>
            </a:custGeom>
            <a:solidFill>
              <a:schemeClr val="accent2"/>
            </a:solidFill>
            <a:ln w="3175">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184" name="Freeform 665"/>
            <p:cNvSpPr>
              <a:spLocks noChangeAspect="1"/>
            </p:cNvSpPr>
            <p:nvPr/>
          </p:nvSpPr>
          <p:spPr bwMode="auto">
            <a:xfrm>
              <a:off x="1579730" y="2368938"/>
              <a:ext cx="496987" cy="134997"/>
            </a:xfrm>
            <a:custGeom>
              <a:avLst/>
              <a:gdLst>
                <a:gd name="T0" fmla="*/ 0 w 210"/>
                <a:gd name="T1" fmla="*/ 28 h 57"/>
                <a:gd name="T2" fmla="*/ 0 w 210"/>
                <a:gd name="T3" fmla="*/ 28 h 57"/>
                <a:gd name="T4" fmla="*/ 29 w 210"/>
                <a:gd name="T5" fmla="*/ 0 h 57"/>
                <a:gd name="T6" fmla="*/ 181 w 210"/>
                <a:gd name="T7" fmla="*/ 0 h 57"/>
                <a:gd name="T8" fmla="*/ 210 w 210"/>
                <a:gd name="T9" fmla="*/ 28 h 57"/>
                <a:gd name="T10" fmla="*/ 181 w 210"/>
                <a:gd name="T11" fmla="*/ 57 h 57"/>
                <a:gd name="T12" fmla="*/ 29 w 210"/>
                <a:gd name="T13" fmla="*/ 57 h 57"/>
                <a:gd name="T14" fmla="*/ 0 w 210"/>
                <a:gd name="T15" fmla="*/ 2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7">
                  <a:moveTo>
                    <a:pt x="0" y="28"/>
                  </a:moveTo>
                  <a:cubicBezTo>
                    <a:pt x="0" y="28"/>
                    <a:pt x="0" y="28"/>
                    <a:pt x="0" y="28"/>
                  </a:cubicBezTo>
                  <a:cubicBezTo>
                    <a:pt x="0" y="13"/>
                    <a:pt x="13" y="0"/>
                    <a:pt x="29" y="0"/>
                  </a:cubicBezTo>
                  <a:cubicBezTo>
                    <a:pt x="181" y="0"/>
                    <a:pt x="181" y="0"/>
                    <a:pt x="181" y="0"/>
                  </a:cubicBezTo>
                  <a:cubicBezTo>
                    <a:pt x="197" y="0"/>
                    <a:pt x="210" y="13"/>
                    <a:pt x="210" y="28"/>
                  </a:cubicBezTo>
                  <a:cubicBezTo>
                    <a:pt x="210" y="44"/>
                    <a:pt x="197" y="57"/>
                    <a:pt x="181" y="57"/>
                  </a:cubicBezTo>
                  <a:cubicBezTo>
                    <a:pt x="29" y="57"/>
                    <a:pt x="29" y="57"/>
                    <a:pt x="29" y="57"/>
                  </a:cubicBezTo>
                  <a:cubicBezTo>
                    <a:pt x="13" y="57"/>
                    <a:pt x="0" y="44"/>
                    <a:pt x="0" y="28"/>
                  </a:cubicBezTo>
                </a:path>
              </a:pathLst>
            </a:custGeom>
            <a:solidFill>
              <a:schemeClr val="accent2"/>
            </a:solidFill>
            <a:ln w="3175">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185" name="Rectangle 184"/>
            <p:cNvSpPr/>
            <p:nvPr/>
          </p:nvSpPr>
          <p:spPr>
            <a:xfrm>
              <a:off x="1762330" y="2367856"/>
              <a:ext cx="137159" cy="137161"/>
            </a:xfrm>
            <a:prstGeom prst="rect">
              <a:avLst/>
            </a:prstGeom>
            <a:solidFill>
              <a:srgbClr val="017E18"/>
            </a:solidFill>
            <a:ln w="0">
              <a:solidFill>
                <a:srgbClr val="017E1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0" name="Rectangle 229"/>
          <p:cNvSpPr/>
          <p:nvPr/>
        </p:nvSpPr>
        <p:spPr>
          <a:xfrm>
            <a:off x="7200342" y="3662071"/>
            <a:ext cx="347852" cy="233910"/>
          </a:xfrm>
          <a:prstGeom prst="rect">
            <a:avLst/>
          </a:prstGeom>
        </p:spPr>
        <p:txBody>
          <a:bodyPr wrap="square" lIns="0" tIns="0" rIns="0" bIns="0">
            <a:spAutoFit/>
          </a:bodyPr>
          <a:lstStyle/>
          <a:p>
            <a:pPr algn="ctr">
              <a:lnSpc>
                <a:spcPct val="95000"/>
              </a:lnSpc>
            </a:pPr>
            <a:r>
              <a:rPr lang="en-US" sz="800" dirty="0">
                <a:solidFill>
                  <a:schemeClr val="bg1"/>
                </a:solidFill>
                <a:latin typeface="+mj-lt"/>
                <a:ea typeface="Calibri" charset="0"/>
                <a:cs typeface="CiscoSansTT Light" panose="020B0503020201020303" pitchFamily="34" charset="0"/>
                <a:sym typeface="Oxygen"/>
              </a:rPr>
              <a:t>Health</a:t>
            </a:r>
            <a:br>
              <a:rPr lang="en-US" sz="800" dirty="0">
                <a:solidFill>
                  <a:schemeClr val="bg1"/>
                </a:solidFill>
                <a:latin typeface="+mj-lt"/>
                <a:ea typeface="Calibri" charset="0"/>
                <a:cs typeface="CiscoSansTT Light" panose="020B0503020201020303" pitchFamily="34" charset="0"/>
                <a:sym typeface="Oxygen"/>
              </a:rPr>
            </a:br>
            <a:r>
              <a:rPr lang="en-US" sz="800" dirty="0">
                <a:solidFill>
                  <a:schemeClr val="bg1"/>
                </a:solidFill>
                <a:latin typeface="+mj-lt"/>
                <a:ea typeface="Calibri" charset="0"/>
                <a:cs typeface="CiscoSansTT Light" panose="020B0503020201020303" pitchFamily="34" charset="0"/>
                <a:sym typeface="Oxygen"/>
              </a:rPr>
              <a:t>Insights</a:t>
            </a:r>
          </a:p>
        </p:txBody>
      </p:sp>
      <p:sp>
        <p:nvSpPr>
          <p:cNvPr id="231" name="Rectangle 230"/>
          <p:cNvSpPr/>
          <p:nvPr/>
        </p:nvSpPr>
        <p:spPr>
          <a:xfrm>
            <a:off x="7936502" y="3662071"/>
            <a:ext cx="386324" cy="233910"/>
          </a:xfrm>
          <a:prstGeom prst="rect">
            <a:avLst/>
          </a:prstGeom>
        </p:spPr>
        <p:txBody>
          <a:bodyPr wrap="square" lIns="0" tIns="0" rIns="0" bIns="0">
            <a:spAutoFit/>
          </a:bodyPr>
          <a:lstStyle/>
          <a:p>
            <a:pPr algn="ctr">
              <a:lnSpc>
                <a:spcPct val="95000"/>
              </a:lnSpc>
            </a:pPr>
            <a:r>
              <a:rPr lang="en-US" sz="800" dirty="0">
                <a:solidFill>
                  <a:schemeClr val="bg1"/>
                </a:solidFill>
                <a:latin typeface="+mj-lt"/>
                <a:ea typeface="Calibri" charset="0"/>
                <a:cs typeface="CiscoSansTT Light" panose="020B0503020201020303" pitchFamily="34" charset="0"/>
                <a:sym typeface="Oxygen"/>
              </a:rPr>
              <a:t>Network</a:t>
            </a:r>
            <a:br>
              <a:rPr lang="en-US" sz="800" dirty="0">
                <a:solidFill>
                  <a:schemeClr val="bg1"/>
                </a:solidFill>
                <a:latin typeface="+mj-lt"/>
                <a:ea typeface="Calibri" charset="0"/>
                <a:cs typeface="CiscoSansTT Light" panose="020B0503020201020303" pitchFamily="34" charset="0"/>
                <a:sym typeface="Oxygen"/>
              </a:rPr>
            </a:br>
            <a:r>
              <a:rPr lang="en-US" sz="800" dirty="0">
                <a:solidFill>
                  <a:schemeClr val="bg1"/>
                </a:solidFill>
                <a:latin typeface="+mj-lt"/>
                <a:ea typeface="Calibri" charset="0"/>
                <a:cs typeface="CiscoSansTT Light" panose="020B0503020201020303" pitchFamily="34" charset="0"/>
                <a:sym typeface="Oxygen"/>
              </a:rPr>
              <a:t>Insights</a:t>
            </a:r>
          </a:p>
        </p:txBody>
      </p:sp>
      <p:sp>
        <p:nvSpPr>
          <p:cNvPr id="386" name="Rectangle 385"/>
          <p:cNvSpPr/>
          <p:nvPr/>
        </p:nvSpPr>
        <p:spPr>
          <a:xfrm>
            <a:off x="7567867" y="4102337"/>
            <a:ext cx="478378" cy="246221"/>
          </a:xfrm>
          <a:prstGeom prst="rect">
            <a:avLst/>
          </a:prstGeom>
        </p:spPr>
        <p:txBody>
          <a:bodyPr wrap="square" lIns="0" tIns="0" rIns="0" bIns="0">
            <a:spAutoFit/>
          </a:bodyPr>
          <a:lstStyle/>
          <a:p>
            <a:r>
              <a:rPr lang="en-US" sz="800" dirty="0">
                <a:solidFill>
                  <a:schemeClr val="bg1"/>
                </a:solidFill>
                <a:latin typeface="+mj-lt"/>
                <a:ea typeface="Calibri" charset="0"/>
                <a:cs typeface="CiscoSansTT Light" panose="020B0503020201020303" pitchFamily="34" charset="0"/>
                <a:sym typeface="Oxygen"/>
              </a:rPr>
              <a:t>Data Gateway</a:t>
            </a:r>
          </a:p>
        </p:txBody>
      </p:sp>
      <p:cxnSp>
        <p:nvCxnSpPr>
          <p:cNvPr id="511" name="Elbow Connector 510"/>
          <p:cNvCxnSpPr>
            <a:endCxn id="188" idx="2"/>
          </p:cNvCxnSpPr>
          <p:nvPr/>
        </p:nvCxnSpPr>
        <p:spPr>
          <a:xfrm rot="16200000" flipV="1">
            <a:off x="6900848" y="3604388"/>
            <a:ext cx="181829" cy="765015"/>
          </a:xfrm>
          <a:prstGeom prst="bentConnector3">
            <a:avLst>
              <a:gd name="adj1" fmla="val 31666"/>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4" name="Elbow Connector 513"/>
          <p:cNvCxnSpPr>
            <a:endCxn id="231" idx="2"/>
          </p:cNvCxnSpPr>
          <p:nvPr/>
        </p:nvCxnSpPr>
        <p:spPr>
          <a:xfrm rot="5400000" flipH="1" flipV="1">
            <a:off x="7661052" y="3609199"/>
            <a:ext cx="181829" cy="755395"/>
          </a:xfrm>
          <a:prstGeom prst="bentConnector3">
            <a:avLst>
              <a:gd name="adj1" fmla="val 31665"/>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7" name="Elbow Connector 516"/>
          <p:cNvCxnSpPr>
            <a:endCxn id="230" idx="2"/>
          </p:cNvCxnSpPr>
          <p:nvPr/>
        </p:nvCxnSpPr>
        <p:spPr>
          <a:xfrm flipH="1" flipV="1">
            <a:off x="7374268" y="3895981"/>
            <a:ext cx="1" cy="181829"/>
          </a:xfrm>
          <a:prstGeom prst="straightConnector1">
            <a:avLst/>
          </a:prstGeom>
          <a:ln>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4" name="Rounded Rectangle 523"/>
          <p:cNvSpPr/>
          <p:nvPr/>
        </p:nvSpPr>
        <p:spPr>
          <a:xfrm>
            <a:off x="759695" y="1836686"/>
            <a:ext cx="1406918" cy="462475"/>
          </a:xfrm>
          <a:prstGeom prst="roundRect">
            <a:avLst>
              <a:gd name="adj" fmla="val 13063"/>
            </a:avLst>
          </a:prstGeom>
          <a:solidFill>
            <a:schemeClr val="bg2">
              <a:lumMod val="95000"/>
            </a:schemeClr>
          </a:solidFill>
          <a:ln w="9525">
            <a:solidFill>
              <a:schemeClr val="bg1"/>
            </a:solidFill>
          </a:ln>
          <a:effectLst/>
        </p:spPr>
        <p:style>
          <a:lnRef idx="3">
            <a:schemeClr val="lt1"/>
          </a:lnRef>
          <a:fillRef idx="1">
            <a:schemeClr val="accent5"/>
          </a:fillRef>
          <a:effectRef idx="1">
            <a:schemeClr val="accent5"/>
          </a:effectRef>
          <a:fontRef idx="minor">
            <a:schemeClr val="lt1"/>
          </a:fontRef>
        </p:style>
        <p:txBody>
          <a:bodyPr lIns="0" tIns="0" rIns="0" bIns="0" anchor="ctr">
            <a:noAutofit/>
          </a:bodyPr>
          <a:lstStyle/>
          <a:p>
            <a:pPr algn="ctr" defTabSz="457189" eaLnBrk="0" hangingPunct="0">
              <a:defRPr/>
            </a:pPr>
            <a:r>
              <a:rPr lang="en-US" sz="900" b="1" dirty="0">
                <a:solidFill>
                  <a:schemeClr val="bg1"/>
                </a:solidFill>
                <a:latin typeface="+mj-lt"/>
              </a:rPr>
              <a:t>WAE Planning</a:t>
            </a:r>
          </a:p>
          <a:p>
            <a:pPr algn="ctr" defTabSz="457189" eaLnBrk="0" hangingPunct="0">
              <a:defRPr/>
            </a:pPr>
            <a:r>
              <a:rPr lang="en-US" sz="800" dirty="0">
                <a:solidFill>
                  <a:schemeClr val="bg1"/>
                </a:solidFill>
                <a:latin typeface="+mj-lt"/>
              </a:rPr>
              <a:t>Network Design</a:t>
            </a:r>
            <a:br>
              <a:rPr lang="en-US" sz="800" dirty="0">
                <a:solidFill>
                  <a:schemeClr val="bg1"/>
                </a:solidFill>
                <a:latin typeface="+mj-lt"/>
              </a:rPr>
            </a:br>
            <a:r>
              <a:rPr lang="en-US" sz="800" dirty="0">
                <a:solidFill>
                  <a:schemeClr val="bg1"/>
                </a:solidFill>
                <a:latin typeface="+mj-lt"/>
              </a:rPr>
              <a:t>and Planning</a:t>
            </a:r>
          </a:p>
        </p:txBody>
      </p:sp>
      <p:sp>
        <p:nvSpPr>
          <p:cNvPr id="525" name="Rounded Rectangle 524"/>
          <p:cNvSpPr/>
          <p:nvPr/>
        </p:nvSpPr>
        <p:spPr>
          <a:xfrm>
            <a:off x="759695" y="2957878"/>
            <a:ext cx="1406918" cy="604135"/>
          </a:xfrm>
          <a:prstGeom prst="roundRect">
            <a:avLst>
              <a:gd name="adj" fmla="val 7191"/>
            </a:avLst>
          </a:prstGeom>
          <a:solidFill>
            <a:schemeClr val="bg2">
              <a:lumMod val="95000"/>
            </a:schemeClr>
          </a:solidFill>
          <a:ln w="9525">
            <a:solidFill>
              <a:schemeClr val="accent1"/>
            </a:solidFill>
          </a:ln>
          <a:effectLst/>
        </p:spPr>
        <p:style>
          <a:lnRef idx="3">
            <a:schemeClr val="lt1"/>
          </a:lnRef>
          <a:fillRef idx="1">
            <a:schemeClr val="accent5"/>
          </a:fillRef>
          <a:effectRef idx="1">
            <a:schemeClr val="accent5"/>
          </a:effectRef>
          <a:fontRef idx="minor">
            <a:schemeClr val="lt1"/>
          </a:fontRef>
        </p:style>
        <p:txBody>
          <a:bodyPr lIns="0" tIns="0" rIns="0" bIns="0" anchor="ctr">
            <a:noAutofit/>
          </a:bodyPr>
          <a:lstStyle/>
          <a:p>
            <a:pPr algn="ctr" defTabSz="457189" eaLnBrk="0" hangingPunct="0">
              <a:defRPr/>
            </a:pPr>
            <a:r>
              <a:rPr lang="en-US" sz="900" b="1" dirty="0">
                <a:solidFill>
                  <a:schemeClr val="bg1"/>
                </a:solidFill>
                <a:latin typeface="+mj-lt"/>
              </a:rPr>
              <a:t>EPN-M Manager</a:t>
            </a:r>
          </a:p>
          <a:p>
            <a:pPr algn="ctr" defTabSz="457189" eaLnBrk="0" hangingPunct="0">
              <a:defRPr/>
            </a:pPr>
            <a:r>
              <a:rPr lang="en-US" sz="800" dirty="0">
                <a:solidFill>
                  <a:schemeClr val="bg1"/>
                </a:solidFill>
                <a:latin typeface="+mj-lt"/>
              </a:rPr>
              <a:t>Optical, Cable, IP Manageability in Multi-layer, Multi-service environment</a:t>
            </a:r>
          </a:p>
        </p:txBody>
      </p:sp>
      <p:sp>
        <p:nvSpPr>
          <p:cNvPr id="4117" name="Oval 4116"/>
          <p:cNvSpPr>
            <a:spLocks noChangeAspect="1"/>
          </p:cNvSpPr>
          <p:nvPr/>
        </p:nvSpPr>
        <p:spPr>
          <a:xfrm>
            <a:off x="8332724" y="4452874"/>
            <a:ext cx="265176" cy="265176"/>
          </a:xfrm>
          <a:prstGeom prst="ellips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27" name="Straight Arrow Connector 526"/>
          <p:cNvCxnSpPr>
            <a:cxnSpLocks/>
          </p:cNvCxnSpPr>
          <p:nvPr/>
        </p:nvCxnSpPr>
        <p:spPr bwMode="auto">
          <a:xfrm>
            <a:off x="8385327" y="4585462"/>
            <a:ext cx="159970" cy="0"/>
          </a:xfrm>
          <a:prstGeom prst="straightConnector1">
            <a:avLst/>
          </a:prstGeom>
          <a:solidFill>
            <a:srgbClr val="0183B7"/>
          </a:solidFill>
          <a:ln w="25400" cap="rnd" cmpd="sng" algn="ctr">
            <a:solidFill>
              <a:schemeClr val="bg2"/>
            </a:solidFill>
            <a:prstDash val="solid"/>
            <a:round/>
            <a:headEnd type="none" w="med" len="med"/>
            <a:tailEnd type="arrow" w="med" len="sm"/>
          </a:ln>
          <a:effectLst/>
        </p:spPr>
      </p:cxnSp>
      <p:grpSp>
        <p:nvGrpSpPr>
          <p:cNvPr id="6" name="Group 5"/>
          <p:cNvGrpSpPr/>
          <p:nvPr/>
        </p:nvGrpSpPr>
        <p:grpSpPr>
          <a:xfrm>
            <a:off x="7753438" y="54253"/>
            <a:ext cx="856595" cy="886238"/>
            <a:chOff x="7753438" y="54253"/>
            <a:chExt cx="856595" cy="886238"/>
          </a:xfrm>
        </p:grpSpPr>
        <p:sp>
          <p:nvSpPr>
            <p:cNvPr id="530" name="Rectangle 529">
              <a:extLst>
                <a:ext uri="{FF2B5EF4-FFF2-40B4-BE49-F238E27FC236}">
                  <a16:creationId xmlns:a16="http://schemas.microsoft.com/office/drawing/2014/main" id="{1012E0F2-3D69-D843-97F0-3984A71FFB83}"/>
                </a:ext>
              </a:extLst>
            </p:cNvPr>
            <p:cNvSpPr/>
            <p:nvPr/>
          </p:nvSpPr>
          <p:spPr>
            <a:xfrm>
              <a:off x="7927982" y="376397"/>
              <a:ext cx="567423" cy="230832"/>
            </a:xfrm>
            <a:prstGeom prst="rect">
              <a:avLst/>
            </a:prstGeom>
          </p:spPr>
          <p:txBody>
            <a:bodyPr wrap="square" anchor="ctr">
              <a:spAutoFit/>
            </a:bodyPr>
            <a:lstStyle/>
            <a:p>
              <a:pPr marL="0" marR="0" lvl="0" indent="0" algn="ctr" defTabSz="457178" rtl="0" eaLnBrk="1" fontAlgn="base" latinLnBrk="0" hangingPunct="1">
                <a:lnSpc>
                  <a:spcPct val="90000"/>
                </a:lnSpc>
                <a:spcBef>
                  <a:spcPct val="0"/>
                </a:spcBef>
                <a:spcAft>
                  <a:spcPts val="600"/>
                </a:spcAft>
                <a:buClrTx/>
                <a:buSzTx/>
                <a:buFontTx/>
                <a:buNone/>
                <a:tabLst/>
                <a:defRPr/>
              </a:pPr>
              <a:r>
                <a:rPr kumimoji="0" lang="en-US" sz="500" b="1" i="0" u="none" strike="noStrike" kern="1200" cap="none" spc="0" normalizeH="0" baseline="0" noProof="0" dirty="0">
                  <a:ln>
                    <a:noFill/>
                  </a:ln>
                  <a:solidFill>
                    <a:schemeClr val="bg1"/>
                  </a:solidFill>
                  <a:effectLst/>
                  <a:uLnTx/>
                  <a:uFillTx/>
                  <a:latin typeface="+mj-lt"/>
                  <a:ea typeface="ＭＳ Ｐゴシック" charset="0"/>
                </a:rPr>
                <a:t>Closed-loop automation</a:t>
              </a:r>
            </a:p>
          </p:txBody>
        </p:sp>
        <p:sp>
          <p:nvSpPr>
            <p:cNvPr id="531" name="AutoShape 28">
              <a:extLst>
                <a:ext uri="{FF2B5EF4-FFF2-40B4-BE49-F238E27FC236}">
                  <a16:creationId xmlns:a16="http://schemas.microsoft.com/office/drawing/2014/main" id="{DAC756C5-9422-FD45-97C3-E87EF89887D4}"/>
                </a:ext>
              </a:extLst>
            </p:cNvPr>
            <p:cNvSpPr>
              <a:spLocks noChangeAspect="1" noChangeArrowheads="1" noTextEdit="1"/>
            </p:cNvSpPr>
            <p:nvPr/>
          </p:nvSpPr>
          <p:spPr bwMode="auto">
            <a:xfrm rot="12965615" flipH="1">
              <a:off x="7834568" y="119388"/>
              <a:ext cx="760324" cy="758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32" name="Freeform 30">
              <a:extLst>
                <a:ext uri="{FF2B5EF4-FFF2-40B4-BE49-F238E27FC236}">
                  <a16:creationId xmlns:a16="http://schemas.microsoft.com/office/drawing/2014/main" id="{A518925A-A859-8247-940F-8BF45F48EB89}"/>
                </a:ext>
              </a:extLst>
            </p:cNvPr>
            <p:cNvSpPr>
              <a:spLocks noEditPoints="1"/>
            </p:cNvSpPr>
            <p:nvPr/>
          </p:nvSpPr>
          <p:spPr bwMode="auto">
            <a:xfrm rot="12965615" flipH="1">
              <a:off x="7753438" y="428555"/>
              <a:ext cx="360111" cy="299686"/>
            </a:xfrm>
            <a:custGeom>
              <a:avLst/>
              <a:gdLst>
                <a:gd name="T0" fmla="*/ 178 w 561"/>
                <a:gd name="T1" fmla="*/ 466 h 467"/>
                <a:gd name="T2" fmla="*/ 178 w 561"/>
                <a:gd name="T3" fmla="*/ 466 h 467"/>
                <a:gd name="T4" fmla="*/ 178 w 561"/>
                <a:gd name="T5" fmla="*/ 466 h 467"/>
                <a:gd name="T6" fmla="*/ 178 w 561"/>
                <a:gd name="T7" fmla="*/ 467 h 467"/>
                <a:gd name="T8" fmla="*/ 178 w 561"/>
                <a:gd name="T9" fmla="*/ 466 h 467"/>
                <a:gd name="T10" fmla="*/ 561 w 561"/>
                <a:gd name="T11" fmla="*/ 0 h 467"/>
                <a:gd name="T12" fmla="*/ 375 w 561"/>
                <a:gd name="T13" fmla="*/ 29 h 467"/>
                <a:gd name="T14" fmla="*/ 144 w 561"/>
                <a:gd name="T15" fmla="*/ 171 h 467"/>
                <a:gd name="T16" fmla="*/ 0 w 561"/>
                <a:gd name="T17" fmla="*/ 408 h 467"/>
                <a:gd name="T18" fmla="*/ 89 w 561"/>
                <a:gd name="T19" fmla="*/ 343 h 467"/>
                <a:gd name="T20" fmla="*/ 118 w 561"/>
                <a:gd name="T21" fmla="*/ 348 h 467"/>
                <a:gd name="T22" fmla="*/ 178 w 561"/>
                <a:gd name="T23" fmla="*/ 466 h 467"/>
                <a:gd name="T24" fmla="*/ 237 w 561"/>
                <a:gd name="T25" fmla="*/ 351 h 467"/>
                <a:gd name="T26" fmla="*/ 376 w 561"/>
                <a:gd name="T27" fmla="*/ 232 h 467"/>
                <a:gd name="T28" fmla="*/ 561 w 561"/>
                <a:gd name="T29" fmla="*/ 188 h 467"/>
                <a:gd name="T30" fmla="*/ 561 w 561"/>
                <a:gd name="T31" fmla="*/ 188 h 467"/>
                <a:gd name="T32" fmla="*/ 561 w 561"/>
                <a:gd name="T33" fmla="*/ 188 h 467"/>
                <a:gd name="T34" fmla="*/ 467 w 561"/>
                <a:gd name="T35" fmla="*/ 94 h 467"/>
                <a:gd name="T36" fmla="*/ 561 w 561"/>
                <a:gd name="T3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1" h="467">
                  <a:moveTo>
                    <a:pt x="178" y="466"/>
                  </a:moveTo>
                  <a:cubicBezTo>
                    <a:pt x="178" y="466"/>
                    <a:pt x="178" y="466"/>
                    <a:pt x="178" y="466"/>
                  </a:cubicBezTo>
                  <a:cubicBezTo>
                    <a:pt x="178" y="466"/>
                    <a:pt x="178" y="466"/>
                    <a:pt x="178" y="466"/>
                  </a:cubicBezTo>
                  <a:cubicBezTo>
                    <a:pt x="178" y="466"/>
                    <a:pt x="178" y="466"/>
                    <a:pt x="178" y="467"/>
                  </a:cubicBezTo>
                  <a:cubicBezTo>
                    <a:pt x="178" y="466"/>
                    <a:pt x="178" y="466"/>
                    <a:pt x="178" y="466"/>
                  </a:cubicBezTo>
                  <a:moveTo>
                    <a:pt x="561" y="0"/>
                  </a:moveTo>
                  <a:cubicBezTo>
                    <a:pt x="497" y="0"/>
                    <a:pt x="434" y="10"/>
                    <a:pt x="375" y="29"/>
                  </a:cubicBezTo>
                  <a:cubicBezTo>
                    <a:pt x="287" y="57"/>
                    <a:pt x="208" y="106"/>
                    <a:pt x="144" y="171"/>
                  </a:cubicBezTo>
                  <a:cubicBezTo>
                    <a:pt x="79" y="235"/>
                    <a:pt x="29" y="316"/>
                    <a:pt x="0" y="408"/>
                  </a:cubicBezTo>
                  <a:cubicBezTo>
                    <a:pt x="13" y="368"/>
                    <a:pt x="49" y="343"/>
                    <a:pt x="89" y="343"/>
                  </a:cubicBezTo>
                  <a:cubicBezTo>
                    <a:pt x="98" y="343"/>
                    <a:pt x="108" y="345"/>
                    <a:pt x="118" y="348"/>
                  </a:cubicBezTo>
                  <a:cubicBezTo>
                    <a:pt x="167" y="364"/>
                    <a:pt x="194" y="417"/>
                    <a:pt x="178" y="466"/>
                  </a:cubicBezTo>
                  <a:cubicBezTo>
                    <a:pt x="192" y="423"/>
                    <a:pt x="212" y="385"/>
                    <a:pt x="237" y="351"/>
                  </a:cubicBezTo>
                  <a:cubicBezTo>
                    <a:pt x="273" y="300"/>
                    <a:pt x="321" y="259"/>
                    <a:pt x="376" y="232"/>
                  </a:cubicBezTo>
                  <a:cubicBezTo>
                    <a:pt x="431" y="204"/>
                    <a:pt x="493" y="188"/>
                    <a:pt x="561" y="188"/>
                  </a:cubicBezTo>
                  <a:cubicBezTo>
                    <a:pt x="561" y="188"/>
                    <a:pt x="561" y="188"/>
                    <a:pt x="561" y="188"/>
                  </a:cubicBezTo>
                  <a:cubicBezTo>
                    <a:pt x="561" y="188"/>
                    <a:pt x="561" y="188"/>
                    <a:pt x="561" y="188"/>
                  </a:cubicBezTo>
                  <a:cubicBezTo>
                    <a:pt x="509" y="188"/>
                    <a:pt x="467" y="146"/>
                    <a:pt x="467" y="94"/>
                  </a:cubicBezTo>
                  <a:cubicBezTo>
                    <a:pt x="467" y="42"/>
                    <a:pt x="509" y="0"/>
                    <a:pt x="561" y="0"/>
                  </a:cubicBezTo>
                </a:path>
              </a:pathLst>
            </a:custGeom>
            <a:solidFill>
              <a:schemeClr val="accent1">
                <a:lumMod val="75000"/>
              </a:schemeClr>
            </a:solid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33" name="Freeform 31">
              <a:extLst>
                <a:ext uri="{FF2B5EF4-FFF2-40B4-BE49-F238E27FC236}">
                  <a16:creationId xmlns:a16="http://schemas.microsoft.com/office/drawing/2014/main" id="{B949D740-2B21-7147-AE1A-A883A5DA9C61}"/>
                </a:ext>
              </a:extLst>
            </p:cNvPr>
            <p:cNvSpPr>
              <a:spLocks noEditPoints="1"/>
            </p:cNvSpPr>
            <p:nvPr/>
          </p:nvSpPr>
          <p:spPr bwMode="auto">
            <a:xfrm rot="12965615" flipH="1">
              <a:off x="7940898" y="54253"/>
              <a:ext cx="227880" cy="423787"/>
            </a:xfrm>
            <a:custGeom>
              <a:avLst/>
              <a:gdLst>
                <a:gd name="T0" fmla="*/ 209 w 355"/>
                <a:gd name="T1" fmla="*/ 58 h 660"/>
                <a:gd name="T2" fmla="*/ 209 w 355"/>
                <a:gd name="T3" fmla="*/ 58 h 660"/>
                <a:gd name="T4" fmla="*/ 209 w 355"/>
                <a:gd name="T5" fmla="*/ 58 h 660"/>
                <a:gd name="T6" fmla="*/ 209 w 355"/>
                <a:gd name="T7" fmla="*/ 58 h 660"/>
                <a:gd name="T8" fmla="*/ 31 w 355"/>
                <a:gd name="T9" fmla="*/ 0 h 660"/>
                <a:gd name="T10" fmla="*/ 30 w 355"/>
                <a:gd name="T11" fmla="*/ 0 h 660"/>
                <a:gd name="T12" fmla="*/ 0 w 355"/>
                <a:gd name="T13" fmla="*/ 187 h 660"/>
                <a:gd name="T14" fmla="*/ 64 w 355"/>
                <a:gd name="T15" fmla="*/ 451 h 660"/>
                <a:gd name="T16" fmla="*/ 245 w 355"/>
                <a:gd name="T17" fmla="*/ 660 h 660"/>
                <a:gd name="T18" fmla="*/ 245 w 355"/>
                <a:gd name="T19" fmla="*/ 660 h 660"/>
                <a:gd name="T20" fmla="*/ 245 w 355"/>
                <a:gd name="T21" fmla="*/ 660 h 660"/>
                <a:gd name="T22" fmla="*/ 224 w 355"/>
                <a:gd name="T23" fmla="*/ 529 h 660"/>
                <a:gd name="T24" fmla="*/ 300 w 355"/>
                <a:gd name="T25" fmla="*/ 490 h 660"/>
                <a:gd name="T26" fmla="*/ 355 w 355"/>
                <a:gd name="T27" fmla="*/ 508 h 660"/>
                <a:gd name="T28" fmla="*/ 231 w 355"/>
                <a:gd name="T29" fmla="*/ 365 h 660"/>
                <a:gd name="T30" fmla="*/ 188 w 355"/>
                <a:gd name="T31" fmla="*/ 187 h 660"/>
                <a:gd name="T32" fmla="*/ 209 w 355"/>
                <a:gd name="T33" fmla="*/ 59 h 660"/>
                <a:gd name="T34" fmla="*/ 120 w 355"/>
                <a:gd name="T35" fmla="*/ 123 h 660"/>
                <a:gd name="T36" fmla="*/ 91 w 355"/>
                <a:gd name="T37" fmla="*/ 119 h 660"/>
                <a:gd name="T38" fmla="*/ 30 w 355"/>
                <a:gd name="T39" fmla="*/ 0 h 660"/>
                <a:gd name="T40" fmla="*/ 31 w 355"/>
                <a:gd name="T41"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5" h="660">
                  <a:moveTo>
                    <a:pt x="209" y="58"/>
                  </a:moveTo>
                  <a:cubicBezTo>
                    <a:pt x="209" y="58"/>
                    <a:pt x="209" y="58"/>
                    <a:pt x="209" y="58"/>
                  </a:cubicBezTo>
                  <a:cubicBezTo>
                    <a:pt x="209" y="58"/>
                    <a:pt x="209" y="58"/>
                    <a:pt x="209" y="58"/>
                  </a:cubicBezTo>
                  <a:cubicBezTo>
                    <a:pt x="209" y="58"/>
                    <a:pt x="209" y="58"/>
                    <a:pt x="209" y="58"/>
                  </a:cubicBezTo>
                  <a:moveTo>
                    <a:pt x="31" y="0"/>
                  </a:moveTo>
                  <a:cubicBezTo>
                    <a:pt x="30" y="0"/>
                    <a:pt x="30" y="0"/>
                    <a:pt x="30" y="0"/>
                  </a:cubicBezTo>
                  <a:cubicBezTo>
                    <a:pt x="10" y="62"/>
                    <a:pt x="0" y="125"/>
                    <a:pt x="0" y="187"/>
                  </a:cubicBezTo>
                  <a:cubicBezTo>
                    <a:pt x="0" y="279"/>
                    <a:pt x="22" y="369"/>
                    <a:pt x="64" y="451"/>
                  </a:cubicBezTo>
                  <a:cubicBezTo>
                    <a:pt x="105" y="532"/>
                    <a:pt x="167" y="604"/>
                    <a:pt x="245" y="660"/>
                  </a:cubicBezTo>
                  <a:cubicBezTo>
                    <a:pt x="245" y="660"/>
                    <a:pt x="245" y="660"/>
                    <a:pt x="245" y="660"/>
                  </a:cubicBezTo>
                  <a:cubicBezTo>
                    <a:pt x="245" y="660"/>
                    <a:pt x="245" y="660"/>
                    <a:pt x="245" y="660"/>
                  </a:cubicBezTo>
                  <a:cubicBezTo>
                    <a:pt x="203" y="630"/>
                    <a:pt x="194" y="571"/>
                    <a:pt x="224" y="529"/>
                  </a:cubicBezTo>
                  <a:cubicBezTo>
                    <a:pt x="242" y="504"/>
                    <a:pt x="271" y="490"/>
                    <a:pt x="300" y="490"/>
                  </a:cubicBezTo>
                  <a:cubicBezTo>
                    <a:pt x="319" y="490"/>
                    <a:pt x="339" y="496"/>
                    <a:pt x="355" y="508"/>
                  </a:cubicBezTo>
                  <a:cubicBezTo>
                    <a:pt x="301" y="469"/>
                    <a:pt x="259" y="419"/>
                    <a:pt x="231" y="365"/>
                  </a:cubicBezTo>
                  <a:cubicBezTo>
                    <a:pt x="203" y="310"/>
                    <a:pt x="188" y="250"/>
                    <a:pt x="188" y="187"/>
                  </a:cubicBezTo>
                  <a:cubicBezTo>
                    <a:pt x="188" y="145"/>
                    <a:pt x="195" y="102"/>
                    <a:pt x="209" y="59"/>
                  </a:cubicBezTo>
                  <a:cubicBezTo>
                    <a:pt x="196" y="98"/>
                    <a:pt x="159" y="123"/>
                    <a:pt x="120" y="123"/>
                  </a:cubicBezTo>
                  <a:cubicBezTo>
                    <a:pt x="110" y="123"/>
                    <a:pt x="100" y="122"/>
                    <a:pt x="91" y="119"/>
                  </a:cubicBezTo>
                  <a:cubicBezTo>
                    <a:pt x="41" y="103"/>
                    <a:pt x="14" y="50"/>
                    <a:pt x="30" y="0"/>
                  </a:cubicBezTo>
                  <a:cubicBezTo>
                    <a:pt x="30" y="0"/>
                    <a:pt x="30" y="0"/>
                    <a:pt x="31" y="0"/>
                  </a:cubicBezTo>
                </a:path>
              </a:pathLst>
            </a:custGeom>
            <a:solidFill>
              <a:schemeClr val="accent5"/>
            </a:solidFill>
            <a:ln w="12700">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34" name="Freeform 32">
              <a:extLst>
                <a:ext uri="{FF2B5EF4-FFF2-40B4-BE49-F238E27FC236}">
                  <a16:creationId xmlns:a16="http://schemas.microsoft.com/office/drawing/2014/main" id="{1E170F7A-6657-DA44-BDAC-32F0ED317CCC}"/>
                </a:ext>
              </a:extLst>
            </p:cNvPr>
            <p:cNvSpPr>
              <a:spLocks/>
            </p:cNvSpPr>
            <p:nvPr/>
          </p:nvSpPr>
          <p:spPr bwMode="auto">
            <a:xfrm rot="12965615" flipH="1">
              <a:off x="7843098" y="340132"/>
              <a:ext cx="135482" cy="120579"/>
            </a:xfrm>
            <a:custGeom>
              <a:avLst/>
              <a:gdLst>
                <a:gd name="T0" fmla="*/ 106 w 211"/>
                <a:gd name="T1" fmla="*/ 0 h 188"/>
                <a:gd name="T2" fmla="*/ 17 w 211"/>
                <a:gd name="T3" fmla="*/ 65 h 188"/>
                <a:gd name="T4" fmla="*/ 16 w 211"/>
                <a:gd name="T5" fmla="*/ 65 h 188"/>
                <a:gd name="T6" fmla="*/ 77 w 211"/>
                <a:gd name="T7" fmla="*/ 184 h 188"/>
                <a:gd name="T8" fmla="*/ 106 w 211"/>
                <a:gd name="T9" fmla="*/ 188 h 188"/>
                <a:gd name="T10" fmla="*/ 195 w 211"/>
                <a:gd name="T11" fmla="*/ 124 h 188"/>
                <a:gd name="T12" fmla="*/ 195 w 211"/>
                <a:gd name="T13" fmla="*/ 123 h 188"/>
                <a:gd name="T14" fmla="*/ 195 w 211"/>
                <a:gd name="T15" fmla="*/ 123 h 188"/>
                <a:gd name="T16" fmla="*/ 195 w 211"/>
                <a:gd name="T17" fmla="*/ 123 h 188"/>
                <a:gd name="T18" fmla="*/ 195 w 211"/>
                <a:gd name="T19" fmla="*/ 123 h 188"/>
                <a:gd name="T20" fmla="*/ 135 w 211"/>
                <a:gd name="T21" fmla="*/ 5 h 188"/>
                <a:gd name="T22" fmla="*/ 106 w 211"/>
                <a:gd name="T2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188">
                  <a:moveTo>
                    <a:pt x="106" y="0"/>
                  </a:moveTo>
                  <a:cubicBezTo>
                    <a:pt x="66" y="0"/>
                    <a:pt x="30" y="25"/>
                    <a:pt x="17" y="65"/>
                  </a:cubicBezTo>
                  <a:cubicBezTo>
                    <a:pt x="16" y="65"/>
                    <a:pt x="16" y="65"/>
                    <a:pt x="16" y="65"/>
                  </a:cubicBezTo>
                  <a:cubicBezTo>
                    <a:pt x="0" y="115"/>
                    <a:pt x="27" y="168"/>
                    <a:pt x="77" y="184"/>
                  </a:cubicBezTo>
                  <a:cubicBezTo>
                    <a:pt x="86" y="187"/>
                    <a:pt x="96" y="188"/>
                    <a:pt x="106" y="188"/>
                  </a:cubicBezTo>
                  <a:cubicBezTo>
                    <a:pt x="145" y="188"/>
                    <a:pt x="182" y="163"/>
                    <a:pt x="195" y="124"/>
                  </a:cubicBezTo>
                  <a:cubicBezTo>
                    <a:pt x="195" y="123"/>
                    <a:pt x="195" y="123"/>
                    <a:pt x="195" y="123"/>
                  </a:cubicBezTo>
                  <a:cubicBezTo>
                    <a:pt x="195" y="123"/>
                    <a:pt x="195" y="123"/>
                    <a:pt x="195" y="123"/>
                  </a:cubicBezTo>
                  <a:cubicBezTo>
                    <a:pt x="195" y="123"/>
                    <a:pt x="195" y="123"/>
                    <a:pt x="195" y="123"/>
                  </a:cubicBezTo>
                  <a:cubicBezTo>
                    <a:pt x="195" y="123"/>
                    <a:pt x="195" y="123"/>
                    <a:pt x="195" y="123"/>
                  </a:cubicBezTo>
                  <a:cubicBezTo>
                    <a:pt x="211" y="74"/>
                    <a:pt x="184" y="21"/>
                    <a:pt x="135" y="5"/>
                  </a:cubicBezTo>
                  <a:cubicBezTo>
                    <a:pt x="125" y="2"/>
                    <a:pt x="115" y="0"/>
                    <a:pt x="106" y="0"/>
                  </a:cubicBezTo>
                </a:path>
              </a:pathLst>
            </a:custGeom>
            <a:solidFill>
              <a:schemeClr val="accent1">
                <a:lumMod val="50000"/>
              </a:schemeClr>
            </a:solidFill>
            <a:ln w="12700">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35" name="Freeform 33">
              <a:extLst>
                <a:ext uri="{FF2B5EF4-FFF2-40B4-BE49-F238E27FC236}">
                  <a16:creationId xmlns:a16="http://schemas.microsoft.com/office/drawing/2014/main" id="{B8C29439-336C-1F46-904D-8E895574E0E3}"/>
                </a:ext>
              </a:extLst>
            </p:cNvPr>
            <p:cNvSpPr>
              <a:spLocks/>
            </p:cNvSpPr>
            <p:nvPr/>
          </p:nvSpPr>
          <p:spPr bwMode="auto">
            <a:xfrm rot="12965615" flipH="1">
              <a:off x="8164840" y="175528"/>
              <a:ext cx="445193" cy="171249"/>
            </a:xfrm>
            <a:custGeom>
              <a:avLst/>
              <a:gdLst>
                <a:gd name="T0" fmla="*/ 584 w 694"/>
                <a:gd name="T1" fmla="*/ 0 h 267"/>
                <a:gd name="T2" fmla="*/ 468 w 694"/>
                <a:gd name="T3" fmla="*/ 60 h 267"/>
                <a:gd name="T4" fmla="*/ 347 w 694"/>
                <a:gd name="T5" fmla="*/ 79 h 267"/>
                <a:gd name="T6" fmla="*/ 226 w 694"/>
                <a:gd name="T7" fmla="*/ 60 h 267"/>
                <a:gd name="T8" fmla="*/ 110 w 694"/>
                <a:gd name="T9" fmla="*/ 0 h 267"/>
                <a:gd name="T10" fmla="*/ 110 w 694"/>
                <a:gd name="T11" fmla="*/ 0 h 267"/>
                <a:gd name="T12" fmla="*/ 110 w 694"/>
                <a:gd name="T13" fmla="*/ 0 h 267"/>
                <a:gd name="T14" fmla="*/ 131 w 694"/>
                <a:gd name="T15" fmla="*/ 132 h 267"/>
                <a:gd name="T16" fmla="*/ 55 w 694"/>
                <a:gd name="T17" fmla="*/ 170 h 267"/>
                <a:gd name="T18" fmla="*/ 0 w 694"/>
                <a:gd name="T19" fmla="*/ 152 h 267"/>
                <a:gd name="T20" fmla="*/ 167 w 694"/>
                <a:gd name="T21" fmla="*/ 238 h 267"/>
                <a:gd name="T22" fmla="*/ 347 w 694"/>
                <a:gd name="T23" fmla="*/ 267 h 267"/>
                <a:gd name="T24" fmla="*/ 347 w 694"/>
                <a:gd name="T25" fmla="*/ 267 h 267"/>
                <a:gd name="T26" fmla="*/ 527 w 694"/>
                <a:gd name="T27" fmla="*/ 238 h 267"/>
                <a:gd name="T28" fmla="*/ 694 w 694"/>
                <a:gd name="T29" fmla="*/ 153 h 267"/>
                <a:gd name="T30" fmla="*/ 639 w 694"/>
                <a:gd name="T31" fmla="*/ 170 h 267"/>
                <a:gd name="T32" fmla="*/ 563 w 694"/>
                <a:gd name="T33" fmla="*/ 132 h 267"/>
                <a:gd name="T34" fmla="*/ 584 w 694"/>
                <a:gd name="T35"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4" h="267">
                  <a:moveTo>
                    <a:pt x="584" y="0"/>
                  </a:moveTo>
                  <a:cubicBezTo>
                    <a:pt x="547" y="27"/>
                    <a:pt x="508" y="47"/>
                    <a:pt x="468" y="60"/>
                  </a:cubicBezTo>
                  <a:cubicBezTo>
                    <a:pt x="429" y="73"/>
                    <a:pt x="388" y="79"/>
                    <a:pt x="347" y="79"/>
                  </a:cubicBezTo>
                  <a:cubicBezTo>
                    <a:pt x="306" y="79"/>
                    <a:pt x="265" y="73"/>
                    <a:pt x="226" y="60"/>
                  </a:cubicBezTo>
                  <a:cubicBezTo>
                    <a:pt x="186" y="47"/>
                    <a:pt x="147" y="27"/>
                    <a:pt x="110" y="0"/>
                  </a:cubicBezTo>
                  <a:cubicBezTo>
                    <a:pt x="110" y="0"/>
                    <a:pt x="110" y="0"/>
                    <a:pt x="110" y="0"/>
                  </a:cubicBezTo>
                  <a:cubicBezTo>
                    <a:pt x="110" y="0"/>
                    <a:pt x="110" y="0"/>
                    <a:pt x="110" y="0"/>
                  </a:cubicBezTo>
                  <a:cubicBezTo>
                    <a:pt x="152" y="31"/>
                    <a:pt x="162" y="90"/>
                    <a:pt x="131" y="132"/>
                  </a:cubicBezTo>
                  <a:cubicBezTo>
                    <a:pt x="113" y="157"/>
                    <a:pt x="84" y="170"/>
                    <a:pt x="55" y="170"/>
                  </a:cubicBezTo>
                  <a:cubicBezTo>
                    <a:pt x="36" y="170"/>
                    <a:pt x="17" y="165"/>
                    <a:pt x="0" y="152"/>
                  </a:cubicBezTo>
                  <a:cubicBezTo>
                    <a:pt x="52" y="190"/>
                    <a:pt x="108" y="219"/>
                    <a:pt x="167" y="238"/>
                  </a:cubicBezTo>
                  <a:cubicBezTo>
                    <a:pt x="226" y="257"/>
                    <a:pt x="286" y="267"/>
                    <a:pt x="347" y="267"/>
                  </a:cubicBezTo>
                  <a:cubicBezTo>
                    <a:pt x="347" y="267"/>
                    <a:pt x="347" y="267"/>
                    <a:pt x="347" y="267"/>
                  </a:cubicBezTo>
                  <a:cubicBezTo>
                    <a:pt x="408" y="267"/>
                    <a:pt x="468" y="257"/>
                    <a:pt x="527" y="238"/>
                  </a:cubicBezTo>
                  <a:cubicBezTo>
                    <a:pt x="585" y="219"/>
                    <a:pt x="642" y="190"/>
                    <a:pt x="694" y="153"/>
                  </a:cubicBezTo>
                  <a:cubicBezTo>
                    <a:pt x="677" y="165"/>
                    <a:pt x="658" y="170"/>
                    <a:pt x="639" y="170"/>
                  </a:cubicBezTo>
                  <a:cubicBezTo>
                    <a:pt x="610" y="170"/>
                    <a:pt x="581" y="157"/>
                    <a:pt x="563" y="132"/>
                  </a:cubicBezTo>
                  <a:cubicBezTo>
                    <a:pt x="532" y="90"/>
                    <a:pt x="542" y="31"/>
                    <a:pt x="584" y="0"/>
                  </a:cubicBezTo>
                </a:path>
              </a:pathLst>
            </a:custGeom>
            <a:solidFill>
              <a:schemeClr val="bg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36" name="Freeform 34">
              <a:extLst>
                <a:ext uri="{FF2B5EF4-FFF2-40B4-BE49-F238E27FC236}">
                  <a16:creationId xmlns:a16="http://schemas.microsoft.com/office/drawing/2014/main" id="{10EDC8F5-4DA2-6C43-B2B1-DF4A9E448285}"/>
                </a:ext>
              </a:extLst>
            </p:cNvPr>
            <p:cNvSpPr>
              <a:spLocks/>
            </p:cNvSpPr>
            <p:nvPr/>
          </p:nvSpPr>
          <p:spPr bwMode="auto">
            <a:xfrm rot="12965615" flipH="1">
              <a:off x="8146151" y="120608"/>
              <a:ext cx="136837" cy="120579"/>
            </a:xfrm>
            <a:custGeom>
              <a:avLst/>
              <a:gdLst>
                <a:gd name="T0" fmla="*/ 106 w 213"/>
                <a:gd name="T1" fmla="*/ 0 h 188"/>
                <a:gd name="T2" fmla="*/ 30 w 213"/>
                <a:gd name="T3" fmla="*/ 39 h 188"/>
                <a:gd name="T4" fmla="*/ 51 w 213"/>
                <a:gd name="T5" fmla="*/ 170 h 188"/>
                <a:gd name="T6" fmla="*/ 51 w 213"/>
                <a:gd name="T7" fmla="*/ 170 h 188"/>
                <a:gd name="T8" fmla="*/ 106 w 213"/>
                <a:gd name="T9" fmla="*/ 188 h 188"/>
                <a:gd name="T10" fmla="*/ 182 w 213"/>
                <a:gd name="T11" fmla="*/ 150 h 188"/>
                <a:gd name="T12" fmla="*/ 161 w 213"/>
                <a:gd name="T13" fmla="*/ 18 h 188"/>
                <a:gd name="T14" fmla="*/ 161 w 213"/>
                <a:gd name="T15" fmla="*/ 18 h 188"/>
                <a:gd name="T16" fmla="*/ 106 w 213"/>
                <a:gd name="T1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188">
                  <a:moveTo>
                    <a:pt x="106" y="0"/>
                  </a:moveTo>
                  <a:cubicBezTo>
                    <a:pt x="77" y="0"/>
                    <a:pt x="48" y="14"/>
                    <a:pt x="30" y="39"/>
                  </a:cubicBezTo>
                  <a:cubicBezTo>
                    <a:pt x="0" y="81"/>
                    <a:pt x="9" y="140"/>
                    <a:pt x="51" y="170"/>
                  </a:cubicBezTo>
                  <a:cubicBezTo>
                    <a:pt x="51" y="170"/>
                    <a:pt x="51" y="170"/>
                    <a:pt x="51" y="170"/>
                  </a:cubicBezTo>
                  <a:cubicBezTo>
                    <a:pt x="68" y="183"/>
                    <a:pt x="87" y="188"/>
                    <a:pt x="106" y="188"/>
                  </a:cubicBezTo>
                  <a:cubicBezTo>
                    <a:pt x="135" y="188"/>
                    <a:pt x="164" y="175"/>
                    <a:pt x="182" y="150"/>
                  </a:cubicBezTo>
                  <a:cubicBezTo>
                    <a:pt x="213" y="108"/>
                    <a:pt x="203" y="49"/>
                    <a:pt x="161" y="18"/>
                  </a:cubicBezTo>
                  <a:cubicBezTo>
                    <a:pt x="161" y="18"/>
                    <a:pt x="161" y="18"/>
                    <a:pt x="161" y="18"/>
                  </a:cubicBezTo>
                  <a:cubicBezTo>
                    <a:pt x="145" y="6"/>
                    <a:pt x="125" y="0"/>
                    <a:pt x="106" y="0"/>
                  </a:cubicBezTo>
                </a:path>
              </a:pathLst>
            </a:custGeom>
            <a:solidFill>
              <a:schemeClr val="accent5">
                <a:lumMod val="75000"/>
              </a:schemeClr>
            </a:solidFill>
            <a:ln w="12700">
              <a:solidFill>
                <a:schemeClr val="accent5">
                  <a:lumMod val="75000"/>
                </a:schemeClr>
              </a:solidFill>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37" name="Freeform 35">
              <a:extLst>
                <a:ext uri="{FF2B5EF4-FFF2-40B4-BE49-F238E27FC236}">
                  <a16:creationId xmlns:a16="http://schemas.microsoft.com/office/drawing/2014/main" id="{770F8EF2-BF1E-1F4E-A4AC-40103E730319}"/>
                </a:ext>
              </a:extLst>
            </p:cNvPr>
            <p:cNvSpPr>
              <a:spLocks/>
            </p:cNvSpPr>
            <p:nvPr/>
          </p:nvSpPr>
          <p:spPr bwMode="auto">
            <a:xfrm rot="12965615" flipH="1">
              <a:off x="8044216" y="641348"/>
              <a:ext cx="360652" cy="299143"/>
            </a:xfrm>
            <a:custGeom>
              <a:avLst/>
              <a:gdLst>
                <a:gd name="T0" fmla="*/ 0 w 562"/>
                <a:gd name="T1" fmla="*/ 0 h 466"/>
                <a:gd name="T2" fmla="*/ 0 w 562"/>
                <a:gd name="T3" fmla="*/ 0 h 466"/>
                <a:gd name="T4" fmla="*/ 0 w 562"/>
                <a:gd name="T5" fmla="*/ 0 h 466"/>
                <a:gd name="T6" fmla="*/ 0 w 562"/>
                <a:gd name="T7" fmla="*/ 0 h 466"/>
                <a:gd name="T8" fmla="*/ 94 w 562"/>
                <a:gd name="T9" fmla="*/ 94 h 466"/>
                <a:gd name="T10" fmla="*/ 0 w 562"/>
                <a:gd name="T11" fmla="*/ 188 h 466"/>
                <a:gd name="T12" fmla="*/ 128 w 562"/>
                <a:gd name="T13" fmla="*/ 208 h 466"/>
                <a:gd name="T14" fmla="*/ 284 w 562"/>
                <a:gd name="T15" fmla="*/ 303 h 466"/>
                <a:gd name="T16" fmla="*/ 383 w 562"/>
                <a:gd name="T17" fmla="*/ 466 h 466"/>
                <a:gd name="T18" fmla="*/ 383 w 562"/>
                <a:gd name="T19" fmla="*/ 466 h 466"/>
                <a:gd name="T20" fmla="*/ 383 w 562"/>
                <a:gd name="T21" fmla="*/ 466 h 466"/>
                <a:gd name="T22" fmla="*/ 443 w 562"/>
                <a:gd name="T23" fmla="*/ 348 h 466"/>
                <a:gd name="T24" fmla="*/ 472 w 562"/>
                <a:gd name="T25" fmla="*/ 343 h 466"/>
                <a:gd name="T26" fmla="*/ 562 w 562"/>
                <a:gd name="T27" fmla="*/ 408 h 466"/>
                <a:gd name="T28" fmla="*/ 477 w 562"/>
                <a:gd name="T29" fmla="*/ 241 h 466"/>
                <a:gd name="T30" fmla="*/ 270 w 562"/>
                <a:gd name="T31" fmla="*/ 64 h 466"/>
                <a:gd name="T32" fmla="*/ 0 w 562"/>
                <a:gd name="T33"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466">
                  <a:moveTo>
                    <a:pt x="0" y="0"/>
                  </a:moveTo>
                  <a:cubicBezTo>
                    <a:pt x="0" y="0"/>
                    <a:pt x="0" y="0"/>
                    <a:pt x="0" y="0"/>
                  </a:cubicBezTo>
                  <a:cubicBezTo>
                    <a:pt x="0" y="0"/>
                    <a:pt x="0" y="0"/>
                    <a:pt x="0" y="0"/>
                  </a:cubicBezTo>
                  <a:cubicBezTo>
                    <a:pt x="0" y="0"/>
                    <a:pt x="0" y="0"/>
                    <a:pt x="0" y="0"/>
                  </a:cubicBezTo>
                  <a:cubicBezTo>
                    <a:pt x="52" y="0"/>
                    <a:pt x="94" y="42"/>
                    <a:pt x="94" y="94"/>
                  </a:cubicBezTo>
                  <a:cubicBezTo>
                    <a:pt x="94" y="146"/>
                    <a:pt x="52" y="188"/>
                    <a:pt x="0" y="188"/>
                  </a:cubicBezTo>
                  <a:cubicBezTo>
                    <a:pt x="45" y="188"/>
                    <a:pt x="88" y="195"/>
                    <a:pt x="128" y="208"/>
                  </a:cubicBezTo>
                  <a:cubicBezTo>
                    <a:pt x="188" y="227"/>
                    <a:pt x="241" y="260"/>
                    <a:pt x="284" y="303"/>
                  </a:cubicBezTo>
                  <a:cubicBezTo>
                    <a:pt x="328" y="347"/>
                    <a:pt x="362" y="402"/>
                    <a:pt x="383" y="466"/>
                  </a:cubicBezTo>
                  <a:cubicBezTo>
                    <a:pt x="383" y="466"/>
                    <a:pt x="383" y="466"/>
                    <a:pt x="383" y="466"/>
                  </a:cubicBezTo>
                  <a:cubicBezTo>
                    <a:pt x="383" y="466"/>
                    <a:pt x="383" y="466"/>
                    <a:pt x="383" y="466"/>
                  </a:cubicBezTo>
                  <a:cubicBezTo>
                    <a:pt x="367" y="417"/>
                    <a:pt x="394" y="364"/>
                    <a:pt x="443" y="348"/>
                  </a:cubicBezTo>
                  <a:cubicBezTo>
                    <a:pt x="453" y="345"/>
                    <a:pt x="463" y="343"/>
                    <a:pt x="472" y="343"/>
                  </a:cubicBezTo>
                  <a:cubicBezTo>
                    <a:pt x="512" y="343"/>
                    <a:pt x="549" y="368"/>
                    <a:pt x="562" y="408"/>
                  </a:cubicBezTo>
                  <a:cubicBezTo>
                    <a:pt x="542" y="347"/>
                    <a:pt x="513" y="291"/>
                    <a:pt x="477" y="241"/>
                  </a:cubicBezTo>
                  <a:cubicBezTo>
                    <a:pt x="423" y="166"/>
                    <a:pt x="352" y="105"/>
                    <a:pt x="270" y="64"/>
                  </a:cubicBezTo>
                  <a:cubicBezTo>
                    <a:pt x="189" y="22"/>
                    <a:pt x="97" y="0"/>
                    <a:pt x="0" y="0"/>
                  </a:cubicBezTo>
                </a:path>
              </a:pathLst>
            </a:custGeom>
            <a:solidFill>
              <a:schemeClr val="accent1">
                <a:lumMod val="40000"/>
                <a:lumOff val="60000"/>
              </a:schemeClr>
            </a:solidFill>
            <a:ln w="9525">
              <a:solidFill>
                <a:schemeClr val="accent1">
                  <a:lumMod val="40000"/>
                  <a:lumOff val="6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38" name="Freeform 36">
              <a:extLst>
                <a:ext uri="{FF2B5EF4-FFF2-40B4-BE49-F238E27FC236}">
                  <a16:creationId xmlns:a16="http://schemas.microsoft.com/office/drawing/2014/main" id="{A7641CE1-2ED3-464A-990F-E716C14BC6F4}"/>
                </a:ext>
              </a:extLst>
            </p:cNvPr>
            <p:cNvSpPr>
              <a:spLocks/>
            </p:cNvSpPr>
            <p:nvPr/>
          </p:nvSpPr>
          <p:spPr bwMode="auto">
            <a:xfrm rot="12965615" flipH="1">
              <a:off x="7965833" y="696464"/>
              <a:ext cx="120579" cy="120579"/>
            </a:xfrm>
            <a:custGeom>
              <a:avLst/>
              <a:gdLst>
                <a:gd name="T0" fmla="*/ 94 w 188"/>
                <a:gd name="T1" fmla="*/ 0 h 188"/>
                <a:gd name="T2" fmla="*/ 94 w 188"/>
                <a:gd name="T3" fmla="*/ 0 h 188"/>
                <a:gd name="T4" fmla="*/ 0 w 188"/>
                <a:gd name="T5" fmla="*/ 94 h 188"/>
                <a:gd name="T6" fmla="*/ 94 w 188"/>
                <a:gd name="T7" fmla="*/ 188 h 188"/>
                <a:gd name="T8" fmla="*/ 94 w 188"/>
                <a:gd name="T9" fmla="*/ 188 h 188"/>
                <a:gd name="T10" fmla="*/ 188 w 188"/>
                <a:gd name="T11" fmla="*/ 94 h 188"/>
                <a:gd name="T12" fmla="*/ 94 w 18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88" h="188">
                  <a:moveTo>
                    <a:pt x="94" y="0"/>
                  </a:moveTo>
                  <a:cubicBezTo>
                    <a:pt x="94" y="0"/>
                    <a:pt x="94" y="0"/>
                    <a:pt x="94" y="0"/>
                  </a:cubicBezTo>
                  <a:cubicBezTo>
                    <a:pt x="42" y="0"/>
                    <a:pt x="0" y="42"/>
                    <a:pt x="0" y="94"/>
                  </a:cubicBezTo>
                  <a:cubicBezTo>
                    <a:pt x="0" y="146"/>
                    <a:pt x="42" y="188"/>
                    <a:pt x="94" y="188"/>
                  </a:cubicBezTo>
                  <a:cubicBezTo>
                    <a:pt x="94" y="188"/>
                    <a:pt x="94" y="188"/>
                    <a:pt x="94" y="188"/>
                  </a:cubicBezTo>
                  <a:cubicBezTo>
                    <a:pt x="146" y="188"/>
                    <a:pt x="188" y="146"/>
                    <a:pt x="188" y="94"/>
                  </a:cubicBezTo>
                  <a:cubicBezTo>
                    <a:pt x="188" y="42"/>
                    <a:pt x="146" y="0"/>
                    <a:pt x="94" y="0"/>
                  </a:cubicBezTo>
                </a:path>
              </a:pathLst>
            </a:custGeom>
            <a:solidFill>
              <a:srgbClr val="17B0D8"/>
            </a:solidFill>
            <a:ln w="12700">
              <a:solidFill>
                <a:srgbClr val="17B0D8"/>
              </a:solidFill>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39" name="Freeform 37">
              <a:extLst>
                <a:ext uri="{FF2B5EF4-FFF2-40B4-BE49-F238E27FC236}">
                  <a16:creationId xmlns:a16="http://schemas.microsoft.com/office/drawing/2014/main" id="{73185778-C77E-5348-A999-02C1476450D1}"/>
                </a:ext>
              </a:extLst>
            </p:cNvPr>
            <p:cNvSpPr>
              <a:spLocks/>
            </p:cNvSpPr>
            <p:nvPr/>
          </p:nvSpPr>
          <p:spPr bwMode="auto">
            <a:xfrm rot="12965615" flipH="1">
              <a:off x="8370864" y="367110"/>
              <a:ext cx="227880" cy="424329"/>
            </a:xfrm>
            <a:custGeom>
              <a:avLst/>
              <a:gdLst>
                <a:gd name="T0" fmla="*/ 325 w 355"/>
                <a:gd name="T1" fmla="*/ 0 h 661"/>
                <a:gd name="T2" fmla="*/ 325 w 355"/>
                <a:gd name="T3" fmla="*/ 0 h 661"/>
                <a:gd name="T4" fmla="*/ 264 w 355"/>
                <a:gd name="T5" fmla="*/ 119 h 661"/>
                <a:gd name="T6" fmla="*/ 235 w 355"/>
                <a:gd name="T7" fmla="*/ 123 h 661"/>
                <a:gd name="T8" fmla="*/ 146 w 355"/>
                <a:gd name="T9" fmla="*/ 58 h 661"/>
                <a:gd name="T10" fmla="*/ 167 w 355"/>
                <a:gd name="T11" fmla="*/ 187 h 661"/>
                <a:gd name="T12" fmla="*/ 124 w 355"/>
                <a:gd name="T13" fmla="*/ 365 h 661"/>
                <a:gd name="T14" fmla="*/ 0 w 355"/>
                <a:gd name="T15" fmla="*/ 508 h 661"/>
                <a:gd name="T16" fmla="*/ 0 w 355"/>
                <a:gd name="T17" fmla="*/ 508 h 661"/>
                <a:gd name="T18" fmla="*/ 0 w 355"/>
                <a:gd name="T19" fmla="*/ 508 h 661"/>
                <a:gd name="T20" fmla="*/ 55 w 355"/>
                <a:gd name="T21" fmla="*/ 490 h 661"/>
                <a:gd name="T22" fmla="*/ 131 w 355"/>
                <a:gd name="T23" fmla="*/ 529 h 661"/>
                <a:gd name="T24" fmla="*/ 110 w 355"/>
                <a:gd name="T25" fmla="*/ 660 h 661"/>
                <a:gd name="T26" fmla="*/ 110 w 355"/>
                <a:gd name="T27" fmla="*/ 661 h 661"/>
                <a:gd name="T28" fmla="*/ 110 w 355"/>
                <a:gd name="T29" fmla="*/ 660 h 661"/>
                <a:gd name="T30" fmla="*/ 291 w 355"/>
                <a:gd name="T31" fmla="*/ 451 h 661"/>
                <a:gd name="T32" fmla="*/ 355 w 355"/>
                <a:gd name="T33" fmla="*/ 187 h 661"/>
                <a:gd name="T34" fmla="*/ 325 w 355"/>
                <a:gd name="T35" fmla="*/ 0 h 661"/>
                <a:gd name="T36" fmla="*/ 325 w 355"/>
                <a:gd name="T3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5" h="661">
                  <a:moveTo>
                    <a:pt x="325" y="0"/>
                  </a:moveTo>
                  <a:cubicBezTo>
                    <a:pt x="325" y="0"/>
                    <a:pt x="325" y="0"/>
                    <a:pt x="325" y="0"/>
                  </a:cubicBezTo>
                  <a:cubicBezTo>
                    <a:pt x="341" y="50"/>
                    <a:pt x="314" y="103"/>
                    <a:pt x="264" y="119"/>
                  </a:cubicBezTo>
                  <a:cubicBezTo>
                    <a:pt x="255" y="122"/>
                    <a:pt x="245" y="123"/>
                    <a:pt x="235" y="123"/>
                  </a:cubicBezTo>
                  <a:cubicBezTo>
                    <a:pt x="196" y="123"/>
                    <a:pt x="159" y="98"/>
                    <a:pt x="146" y="58"/>
                  </a:cubicBezTo>
                  <a:cubicBezTo>
                    <a:pt x="160" y="102"/>
                    <a:pt x="167" y="145"/>
                    <a:pt x="167" y="187"/>
                  </a:cubicBezTo>
                  <a:cubicBezTo>
                    <a:pt x="167" y="250"/>
                    <a:pt x="152" y="310"/>
                    <a:pt x="124" y="365"/>
                  </a:cubicBezTo>
                  <a:cubicBezTo>
                    <a:pt x="96" y="419"/>
                    <a:pt x="54" y="469"/>
                    <a:pt x="0" y="508"/>
                  </a:cubicBezTo>
                  <a:cubicBezTo>
                    <a:pt x="0" y="508"/>
                    <a:pt x="0" y="508"/>
                    <a:pt x="0" y="508"/>
                  </a:cubicBezTo>
                  <a:cubicBezTo>
                    <a:pt x="0" y="508"/>
                    <a:pt x="0" y="508"/>
                    <a:pt x="0" y="508"/>
                  </a:cubicBezTo>
                  <a:cubicBezTo>
                    <a:pt x="16" y="496"/>
                    <a:pt x="36" y="490"/>
                    <a:pt x="55" y="490"/>
                  </a:cubicBezTo>
                  <a:cubicBezTo>
                    <a:pt x="84" y="490"/>
                    <a:pt x="113" y="504"/>
                    <a:pt x="131" y="529"/>
                  </a:cubicBezTo>
                  <a:cubicBezTo>
                    <a:pt x="161" y="571"/>
                    <a:pt x="152" y="630"/>
                    <a:pt x="110" y="660"/>
                  </a:cubicBezTo>
                  <a:cubicBezTo>
                    <a:pt x="110" y="661"/>
                    <a:pt x="110" y="661"/>
                    <a:pt x="110" y="661"/>
                  </a:cubicBezTo>
                  <a:cubicBezTo>
                    <a:pt x="110" y="661"/>
                    <a:pt x="110" y="661"/>
                    <a:pt x="110" y="660"/>
                  </a:cubicBezTo>
                  <a:cubicBezTo>
                    <a:pt x="188" y="604"/>
                    <a:pt x="250" y="532"/>
                    <a:pt x="291" y="451"/>
                  </a:cubicBezTo>
                  <a:cubicBezTo>
                    <a:pt x="333" y="369"/>
                    <a:pt x="355" y="279"/>
                    <a:pt x="355" y="187"/>
                  </a:cubicBezTo>
                  <a:cubicBezTo>
                    <a:pt x="355" y="125"/>
                    <a:pt x="345" y="62"/>
                    <a:pt x="325" y="0"/>
                  </a:cubicBezTo>
                  <a:cubicBezTo>
                    <a:pt x="325" y="0"/>
                    <a:pt x="325" y="0"/>
                    <a:pt x="325" y="0"/>
                  </a:cubicBezTo>
                </a:path>
              </a:pathLst>
            </a:custGeom>
            <a:solidFill>
              <a:srgbClr val="7DC55C"/>
            </a:solid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40" name="Freeform 38">
              <a:extLst>
                <a:ext uri="{FF2B5EF4-FFF2-40B4-BE49-F238E27FC236}">
                  <a16:creationId xmlns:a16="http://schemas.microsoft.com/office/drawing/2014/main" id="{E6793FCC-B869-6546-88CB-FE84E6087FDA}"/>
                </a:ext>
              </a:extLst>
            </p:cNvPr>
            <p:cNvSpPr>
              <a:spLocks/>
            </p:cNvSpPr>
            <p:nvPr/>
          </p:nvSpPr>
          <p:spPr bwMode="auto">
            <a:xfrm rot="12965615" flipH="1">
              <a:off x="8448552" y="340972"/>
              <a:ext cx="136565" cy="120579"/>
            </a:xfrm>
            <a:custGeom>
              <a:avLst/>
              <a:gdLst>
                <a:gd name="T0" fmla="*/ 107 w 213"/>
                <a:gd name="T1" fmla="*/ 0 h 188"/>
                <a:gd name="T2" fmla="*/ 52 w 213"/>
                <a:gd name="T3" fmla="*/ 18 h 188"/>
                <a:gd name="T4" fmla="*/ 52 w 213"/>
                <a:gd name="T5" fmla="*/ 18 h 188"/>
                <a:gd name="T6" fmla="*/ 31 w 213"/>
                <a:gd name="T7" fmla="*/ 150 h 188"/>
                <a:gd name="T8" fmla="*/ 107 w 213"/>
                <a:gd name="T9" fmla="*/ 188 h 188"/>
                <a:gd name="T10" fmla="*/ 162 w 213"/>
                <a:gd name="T11" fmla="*/ 171 h 188"/>
                <a:gd name="T12" fmla="*/ 162 w 213"/>
                <a:gd name="T13" fmla="*/ 170 h 188"/>
                <a:gd name="T14" fmla="*/ 183 w 213"/>
                <a:gd name="T15" fmla="*/ 39 h 188"/>
                <a:gd name="T16" fmla="*/ 107 w 213"/>
                <a:gd name="T1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188">
                  <a:moveTo>
                    <a:pt x="107" y="0"/>
                  </a:moveTo>
                  <a:cubicBezTo>
                    <a:pt x="88" y="0"/>
                    <a:pt x="68" y="6"/>
                    <a:pt x="52" y="18"/>
                  </a:cubicBezTo>
                  <a:cubicBezTo>
                    <a:pt x="52" y="18"/>
                    <a:pt x="52" y="18"/>
                    <a:pt x="52" y="18"/>
                  </a:cubicBezTo>
                  <a:cubicBezTo>
                    <a:pt x="10" y="49"/>
                    <a:pt x="0" y="108"/>
                    <a:pt x="31" y="150"/>
                  </a:cubicBezTo>
                  <a:cubicBezTo>
                    <a:pt x="49" y="175"/>
                    <a:pt x="78" y="188"/>
                    <a:pt x="107" y="188"/>
                  </a:cubicBezTo>
                  <a:cubicBezTo>
                    <a:pt x="126" y="188"/>
                    <a:pt x="145" y="183"/>
                    <a:pt x="162" y="171"/>
                  </a:cubicBezTo>
                  <a:cubicBezTo>
                    <a:pt x="162" y="171"/>
                    <a:pt x="162" y="171"/>
                    <a:pt x="162" y="170"/>
                  </a:cubicBezTo>
                  <a:cubicBezTo>
                    <a:pt x="204" y="140"/>
                    <a:pt x="213" y="81"/>
                    <a:pt x="183" y="39"/>
                  </a:cubicBezTo>
                  <a:cubicBezTo>
                    <a:pt x="165" y="14"/>
                    <a:pt x="136" y="0"/>
                    <a:pt x="107" y="0"/>
                  </a:cubicBezTo>
                </a:path>
              </a:pathLst>
            </a:custGeom>
            <a:solidFill>
              <a:schemeClr val="accent3">
                <a:lumMod val="75000"/>
              </a:schemeClr>
            </a:solidFill>
            <a:ln w="12700">
              <a:solidFill>
                <a:schemeClr val="accent3">
                  <a:lumMod val="75000"/>
                </a:schemeClr>
              </a:solidFill>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41" name="Freeform 39">
              <a:extLst>
                <a:ext uri="{FF2B5EF4-FFF2-40B4-BE49-F238E27FC236}">
                  <a16:creationId xmlns:a16="http://schemas.microsoft.com/office/drawing/2014/main" id="{37537770-6895-4748-A2FF-4E88F625A553}"/>
                </a:ext>
              </a:extLst>
            </p:cNvPr>
            <p:cNvSpPr>
              <a:spLocks/>
            </p:cNvSpPr>
            <p:nvPr/>
          </p:nvSpPr>
          <p:spPr bwMode="auto">
            <a:xfrm rot="12965615" flipH="1">
              <a:off x="8333143" y="697296"/>
              <a:ext cx="135211" cy="120579"/>
            </a:xfrm>
            <a:custGeom>
              <a:avLst/>
              <a:gdLst>
                <a:gd name="T0" fmla="*/ 105 w 211"/>
                <a:gd name="T1" fmla="*/ 0 h 188"/>
                <a:gd name="T2" fmla="*/ 76 w 211"/>
                <a:gd name="T3" fmla="*/ 5 h 188"/>
                <a:gd name="T4" fmla="*/ 16 w 211"/>
                <a:gd name="T5" fmla="*/ 123 h 188"/>
                <a:gd name="T6" fmla="*/ 16 w 211"/>
                <a:gd name="T7" fmla="*/ 123 h 188"/>
                <a:gd name="T8" fmla="*/ 105 w 211"/>
                <a:gd name="T9" fmla="*/ 188 h 188"/>
                <a:gd name="T10" fmla="*/ 134 w 211"/>
                <a:gd name="T11" fmla="*/ 184 h 188"/>
                <a:gd name="T12" fmla="*/ 195 w 211"/>
                <a:gd name="T13" fmla="*/ 65 h 188"/>
                <a:gd name="T14" fmla="*/ 195 w 211"/>
                <a:gd name="T15" fmla="*/ 65 h 188"/>
                <a:gd name="T16" fmla="*/ 105 w 211"/>
                <a:gd name="T1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8">
                  <a:moveTo>
                    <a:pt x="105" y="0"/>
                  </a:moveTo>
                  <a:cubicBezTo>
                    <a:pt x="96" y="0"/>
                    <a:pt x="86" y="2"/>
                    <a:pt x="76" y="5"/>
                  </a:cubicBezTo>
                  <a:cubicBezTo>
                    <a:pt x="27" y="21"/>
                    <a:pt x="0" y="74"/>
                    <a:pt x="16" y="123"/>
                  </a:cubicBezTo>
                  <a:cubicBezTo>
                    <a:pt x="16" y="123"/>
                    <a:pt x="16" y="123"/>
                    <a:pt x="16" y="123"/>
                  </a:cubicBezTo>
                  <a:cubicBezTo>
                    <a:pt x="29" y="163"/>
                    <a:pt x="66" y="188"/>
                    <a:pt x="105" y="188"/>
                  </a:cubicBezTo>
                  <a:cubicBezTo>
                    <a:pt x="115" y="188"/>
                    <a:pt x="125" y="187"/>
                    <a:pt x="134" y="184"/>
                  </a:cubicBezTo>
                  <a:cubicBezTo>
                    <a:pt x="184" y="168"/>
                    <a:pt x="211" y="115"/>
                    <a:pt x="195" y="65"/>
                  </a:cubicBezTo>
                  <a:cubicBezTo>
                    <a:pt x="195" y="65"/>
                    <a:pt x="195" y="65"/>
                    <a:pt x="195" y="65"/>
                  </a:cubicBezTo>
                  <a:cubicBezTo>
                    <a:pt x="182" y="25"/>
                    <a:pt x="145" y="0"/>
                    <a:pt x="105" y="0"/>
                  </a:cubicBezTo>
                </a:path>
              </a:pathLst>
            </a:custGeom>
            <a:solidFill>
              <a:schemeClr val="accent2">
                <a:lumMod val="75000"/>
              </a:schemeClr>
            </a:solidFill>
            <a:ln w="12700">
              <a:solidFill>
                <a:schemeClr val="accent2">
                  <a:lumMod val="75000"/>
                </a:schemeClr>
              </a:solidFill>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542" name="TextBox 541">
              <a:extLst>
                <a:ext uri="{FF2B5EF4-FFF2-40B4-BE49-F238E27FC236}">
                  <a16:creationId xmlns:a16="http://schemas.microsoft.com/office/drawing/2014/main" id="{3D1D94D7-2286-8141-ACF2-BF53DF5E6AB7}"/>
                </a:ext>
              </a:extLst>
            </p:cNvPr>
            <p:cNvSpPr txBox="1"/>
            <p:nvPr/>
          </p:nvSpPr>
          <p:spPr bwMode="auto">
            <a:xfrm rot="19434678">
              <a:off x="7868734" y="222156"/>
              <a:ext cx="476725" cy="250680"/>
            </a:xfrm>
            <a:prstGeom prst="rect">
              <a:avLst/>
            </a:prstGeom>
            <a:noFill/>
          </p:spPr>
          <p:txBody>
            <a:bodyPr spcFirstLastPara="1">
              <a:prstTxWarp prst="textArchUp">
                <a:avLst>
                  <a:gd name="adj" fmla="val 10592119"/>
                </a:avLst>
              </a:prstTxWarp>
              <a:spAutoFit/>
            </a:bodyPr>
            <a:lstStyle/>
            <a:p>
              <a:pPr marL="0" marR="0" lvl="0" indent="0" algn="ctr" defTabSz="446071" rtl="0" eaLnBrk="1" fontAlgn="base" latinLnBrk="0" hangingPunct="1">
                <a:lnSpc>
                  <a:spcPct val="100000"/>
                </a:lnSpc>
                <a:spcBef>
                  <a:spcPct val="0"/>
                </a:spcBef>
                <a:spcAft>
                  <a:spcPct val="0"/>
                </a:spcAft>
                <a:buClrTx/>
                <a:buSzTx/>
                <a:buFontTx/>
                <a:buNone/>
                <a:tabLst/>
                <a:defRPr/>
              </a:pPr>
              <a:r>
                <a:rPr kumimoji="0" lang="en-US" sz="400" i="0" u="none" strike="noStrike" kern="1200" cap="none" spc="0" normalizeH="0" baseline="0" noProof="0" dirty="0">
                  <a:ln>
                    <a:noFill/>
                  </a:ln>
                  <a:solidFill>
                    <a:schemeClr val="bg1"/>
                  </a:solidFill>
                  <a:effectLst/>
                  <a:uLnTx/>
                  <a:uFillTx/>
                  <a:latin typeface="+mj-lt"/>
                  <a:ea typeface="ＭＳ Ｐゴシック" charset="0"/>
                  <a:cs typeface="CiscoSansTT" panose="020B0503020201020303" pitchFamily="34" charset="0"/>
                </a:rPr>
                <a:t>Plan</a:t>
              </a:r>
            </a:p>
          </p:txBody>
        </p:sp>
        <p:sp>
          <p:nvSpPr>
            <p:cNvPr id="543" name="TextBox 542">
              <a:extLst>
                <a:ext uri="{FF2B5EF4-FFF2-40B4-BE49-F238E27FC236}">
                  <a16:creationId xmlns:a16="http://schemas.microsoft.com/office/drawing/2014/main" id="{3CC1071C-509B-1049-BF3C-9BF3E2B8EF37}"/>
                </a:ext>
              </a:extLst>
            </p:cNvPr>
            <p:cNvSpPr txBox="1"/>
            <p:nvPr/>
          </p:nvSpPr>
          <p:spPr bwMode="auto">
            <a:xfrm rot="2323344">
              <a:off x="8090293" y="225906"/>
              <a:ext cx="476725" cy="250680"/>
            </a:xfrm>
            <a:prstGeom prst="rect">
              <a:avLst/>
            </a:prstGeom>
            <a:noFill/>
          </p:spPr>
          <p:txBody>
            <a:bodyPr spcFirstLastPara="1">
              <a:prstTxWarp prst="textArchUp">
                <a:avLst>
                  <a:gd name="adj" fmla="val 10592119"/>
                </a:avLst>
              </a:prstTxWarp>
              <a:spAutoFit/>
            </a:bodyPr>
            <a:lstStyle/>
            <a:p>
              <a:pPr marL="0" marR="0" lvl="0" indent="0" algn="ctr" defTabSz="446071" rtl="0" eaLnBrk="1" fontAlgn="base" latinLnBrk="0" hangingPunct="1">
                <a:lnSpc>
                  <a:spcPct val="100000"/>
                </a:lnSpc>
                <a:spcBef>
                  <a:spcPct val="0"/>
                </a:spcBef>
                <a:spcAft>
                  <a:spcPct val="0"/>
                </a:spcAft>
                <a:buClrTx/>
                <a:buSzTx/>
                <a:buFontTx/>
                <a:buNone/>
                <a:tabLst/>
                <a:defRPr/>
              </a:pPr>
              <a:r>
                <a:rPr kumimoji="0" lang="en-US" sz="400" i="0" u="none" strike="noStrike" kern="1200" cap="none" spc="0" normalizeH="0" baseline="0" noProof="0" dirty="0">
                  <a:ln>
                    <a:noFill/>
                  </a:ln>
                  <a:solidFill>
                    <a:srgbClr val="FFFFFF"/>
                  </a:solidFill>
                  <a:effectLst/>
                  <a:uLnTx/>
                  <a:uFillTx/>
                  <a:latin typeface="+mj-lt"/>
                  <a:ea typeface="ＭＳ Ｐゴシック" charset="0"/>
                  <a:cs typeface="CiscoSansTT" panose="020B0503020201020303" pitchFamily="34" charset="0"/>
                </a:rPr>
                <a:t>Design</a:t>
              </a:r>
            </a:p>
          </p:txBody>
        </p:sp>
        <p:sp>
          <p:nvSpPr>
            <p:cNvPr id="544" name="TextBox 543">
              <a:extLst>
                <a:ext uri="{FF2B5EF4-FFF2-40B4-BE49-F238E27FC236}">
                  <a16:creationId xmlns:a16="http://schemas.microsoft.com/office/drawing/2014/main" id="{6C62217F-0CF9-364F-9D41-F8062643BA82}"/>
                </a:ext>
              </a:extLst>
            </p:cNvPr>
            <p:cNvSpPr txBox="1"/>
            <p:nvPr/>
          </p:nvSpPr>
          <p:spPr bwMode="auto">
            <a:xfrm>
              <a:off x="7969972" y="564670"/>
              <a:ext cx="491381" cy="263483"/>
            </a:xfrm>
            <a:prstGeom prst="rect">
              <a:avLst/>
            </a:prstGeom>
            <a:noFill/>
          </p:spPr>
          <p:txBody>
            <a:bodyPr spcFirstLastPara="1">
              <a:prstTxWarp prst="textArchDown">
                <a:avLst>
                  <a:gd name="adj" fmla="val 114676"/>
                </a:avLst>
              </a:prstTxWarp>
              <a:spAutoFit/>
            </a:bodyPr>
            <a:lstStyle/>
            <a:p>
              <a:pPr marL="0" marR="0" lvl="0" indent="0" algn="ctr" defTabSz="446071" rtl="0" eaLnBrk="1" fontAlgn="base" latinLnBrk="0" hangingPunct="1">
                <a:lnSpc>
                  <a:spcPct val="100000"/>
                </a:lnSpc>
                <a:spcBef>
                  <a:spcPct val="0"/>
                </a:spcBef>
                <a:spcAft>
                  <a:spcPct val="0"/>
                </a:spcAft>
                <a:buClrTx/>
                <a:buSzTx/>
                <a:buFontTx/>
                <a:buNone/>
                <a:tabLst/>
                <a:defRPr/>
              </a:pPr>
              <a:r>
                <a:rPr kumimoji="0" lang="en-US" sz="400" i="0" u="none" strike="noStrike" kern="1200" cap="none" spc="0" normalizeH="0" baseline="0" noProof="0" dirty="0">
                  <a:ln>
                    <a:noFill/>
                  </a:ln>
                  <a:solidFill>
                    <a:schemeClr val="bg1"/>
                  </a:solidFill>
                  <a:effectLst/>
                  <a:uLnTx/>
                  <a:uFillTx/>
                  <a:latin typeface="+mj-lt"/>
                  <a:ea typeface="ＭＳ Ｐゴシック" charset="0"/>
                  <a:cs typeface="CiscoSansTT" panose="020B0503020201020303" pitchFamily="34" charset="0"/>
                </a:rPr>
                <a:t>Operate</a:t>
              </a:r>
            </a:p>
          </p:txBody>
        </p:sp>
        <p:sp>
          <p:nvSpPr>
            <p:cNvPr id="545" name="TextBox 544">
              <a:extLst>
                <a:ext uri="{FF2B5EF4-FFF2-40B4-BE49-F238E27FC236}">
                  <a16:creationId xmlns:a16="http://schemas.microsoft.com/office/drawing/2014/main" id="{93737118-03CC-8D43-B253-F42BFC4288CE}"/>
                </a:ext>
              </a:extLst>
            </p:cNvPr>
            <p:cNvSpPr txBox="1"/>
            <p:nvPr/>
          </p:nvSpPr>
          <p:spPr bwMode="auto">
            <a:xfrm rot="4346626">
              <a:off x="7786805" y="425827"/>
              <a:ext cx="491381" cy="269725"/>
            </a:xfrm>
            <a:prstGeom prst="rect">
              <a:avLst/>
            </a:prstGeom>
            <a:noFill/>
          </p:spPr>
          <p:txBody>
            <a:bodyPr spcFirstLastPara="1">
              <a:prstTxWarp prst="textArchDown">
                <a:avLst>
                  <a:gd name="adj" fmla="val 114676"/>
                </a:avLst>
              </a:prstTxWarp>
              <a:spAutoFit/>
            </a:bodyPr>
            <a:lstStyle/>
            <a:p>
              <a:pPr marL="0" marR="0" lvl="0" indent="0" algn="ctr" defTabSz="446071" rtl="0" eaLnBrk="1" fontAlgn="base" latinLnBrk="0" hangingPunct="1">
                <a:lnSpc>
                  <a:spcPct val="100000"/>
                </a:lnSpc>
                <a:spcBef>
                  <a:spcPct val="0"/>
                </a:spcBef>
                <a:spcAft>
                  <a:spcPct val="0"/>
                </a:spcAft>
                <a:buClrTx/>
                <a:buSzTx/>
                <a:buFontTx/>
                <a:buNone/>
                <a:tabLst/>
                <a:defRPr/>
              </a:pPr>
              <a:r>
                <a:rPr kumimoji="0" lang="en-US" sz="400" i="0" u="none" strike="noStrike" kern="1200" cap="none" spc="0" normalizeH="0" baseline="0" noProof="0" dirty="0">
                  <a:ln>
                    <a:noFill/>
                  </a:ln>
                  <a:solidFill>
                    <a:srgbClr val="FFFFFF"/>
                  </a:solidFill>
                  <a:effectLst/>
                  <a:uLnTx/>
                  <a:uFillTx/>
                  <a:latin typeface="+mj-lt"/>
                  <a:ea typeface="ＭＳ Ｐゴシック" charset="0"/>
                  <a:cs typeface="CiscoSansTT" panose="020B0503020201020303" pitchFamily="34" charset="0"/>
                </a:rPr>
                <a:t>Optimize</a:t>
              </a:r>
            </a:p>
          </p:txBody>
        </p:sp>
        <p:sp>
          <p:nvSpPr>
            <p:cNvPr id="546" name="TextBox 545">
              <a:extLst>
                <a:ext uri="{FF2B5EF4-FFF2-40B4-BE49-F238E27FC236}">
                  <a16:creationId xmlns:a16="http://schemas.microsoft.com/office/drawing/2014/main" id="{51C30CAF-95DC-4C4E-8F19-B262FFE75A4C}"/>
                </a:ext>
              </a:extLst>
            </p:cNvPr>
            <p:cNvSpPr txBox="1"/>
            <p:nvPr/>
          </p:nvSpPr>
          <p:spPr bwMode="auto">
            <a:xfrm rot="17230953">
              <a:off x="8162592" y="434991"/>
              <a:ext cx="476725" cy="250680"/>
            </a:xfrm>
            <a:prstGeom prst="rect">
              <a:avLst/>
            </a:prstGeom>
            <a:noFill/>
          </p:spPr>
          <p:txBody>
            <a:bodyPr spcFirstLastPara="1">
              <a:prstTxWarp prst="textArchDown">
                <a:avLst/>
              </a:prstTxWarp>
              <a:spAutoFit/>
            </a:bodyPr>
            <a:lstStyle/>
            <a:p>
              <a:pPr marL="0" marR="0" lvl="0" indent="0" algn="ctr" defTabSz="446071" rtl="0" eaLnBrk="1" fontAlgn="base" latinLnBrk="0" hangingPunct="1">
                <a:lnSpc>
                  <a:spcPct val="100000"/>
                </a:lnSpc>
                <a:spcBef>
                  <a:spcPct val="0"/>
                </a:spcBef>
                <a:spcAft>
                  <a:spcPct val="0"/>
                </a:spcAft>
                <a:buClrTx/>
                <a:buSzTx/>
                <a:buFontTx/>
                <a:buNone/>
                <a:tabLst/>
                <a:defRPr/>
              </a:pPr>
              <a:r>
                <a:rPr kumimoji="0" lang="en-US" sz="400" i="0" u="none" strike="noStrike" kern="1200" cap="none" spc="-10" normalizeH="0" noProof="0" dirty="0">
                  <a:ln>
                    <a:noFill/>
                  </a:ln>
                  <a:solidFill>
                    <a:schemeClr val="bg1"/>
                  </a:solidFill>
                  <a:effectLst/>
                  <a:uLnTx/>
                  <a:uFillTx/>
                  <a:latin typeface="+mj-lt"/>
                  <a:ea typeface="ＭＳ Ｐゴシック" charset="0"/>
                  <a:cs typeface="CiscoSansTT" panose="020B0503020201020303" pitchFamily="34" charset="0"/>
                </a:rPr>
                <a:t>Implement</a:t>
              </a:r>
            </a:p>
          </p:txBody>
        </p:sp>
      </p:grpSp>
      <p:pic>
        <p:nvPicPr>
          <p:cNvPr id="253" name="Picture 252"/>
          <p:cNvPicPr>
            <a:picLocks noChangeAspect="1"/>
          </p:cNvPicPr>
          <p:nvPr/>
        </p:nvPicPr>
        <p:blipFill rotWithShape="1">
          <a:blip r:embed="rId3">
            <a:extLst>
              <a:ext uri="{28A0092B-C50C-407E-A947-70E740481C1C}">
                <a14:useLocalDpi xmlns:a14="http://schemas.microsoft.com/office/drawing/2010/main" val="0"/>
              </a:ext>
            </a:extLst>
          </a:blip>
          <a:srcRect t="2459" b="2459"/>
          <a:stretch/>
        </p:blipFill>
        <p:spPr>
          <a:xfrm>
            <a:off x="7549803" y="2775758"/>
            <a:ext cx="320040" cy="320040"/>
          </a:xfrm>
          <a:prstGeom prst="rect">
            <a:avLst/>
          </a:prstGeom>
        </p:spPr>
      </p:pic>
      <p:pic>
        <p:nvPicPr>
          <p:cNvPr id="268" name="Picture 26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47136" y="3308432"/>
            <a:ext cx="321869" cy="321869"/>
          </a:xfrm>
          <a:prstGeom prst="rect">
            <a:avLst/>
          </a:prstGeom>
        </p:spPr>
      </p:pic>
      <p:sp>
        <p:nvSpPr>
          <p:cNvPr id="188" name="Rectangle 187"/>
          <p:cNvSpPr/>
          <p:nvPr/>
        </p:nvSpPr>
        <p:spPr>
          <a:xfrm>
            <a:off x="6406474" y="3662071"/>
            <a:ext cx="405560" cy="233910"/>
          </a:xfrm>
          <a:prstGeom prst="rect">
            <a:avLst/>
          </a:prstGeom>
        </p:spPr>
        <p:txBody>
          <a:bodyPr wrap="square" lIns="0" tIns="0" rIns="0" bIns="0">
            <a:spAutoFit/>
          </a:bodyPr>
          <a:lstStyle/>
          <a:p>
            <a:pPr algn="ctr">
              <a:lnSpc>
                <a:spcPct val="95000"/>
              </a:lnSpc>
            </a:pPr>
            <a:r>
              <a:rPr lang="en-US" sz="800" dirty="0">
                <a:solidFill>
                  <a:schemeClr val="bg1"/>
                </a:solidFill>
                <a:latin typeface="+mj-lt"/>
                <a:ea typeface="Calibri" charset="0"/>
                <a:cs typeface="CiscoSansTT Light" panose="020B0503020201020303" pitchFamily="34" charset="0"/>
                <a:sym typeface="Oxygen"/>
              </a:rPr>
              <a:t>Situation</a:t>
            </a:r>
            <a:br>
              <a:rPr lang="en-US" sz="800" dirty="0">
                <a:solidFill>
                  <a:schemeClr val="bg1"/>
                </a:solidFill>
                <a:latin typeface="+mj-lt"/>
                <a:ea typeface="Calibri" charset="0"/>
                <a:cs typeface="CiscoSansTT Light" panose="020B0503020201020303" pitchFamily="34" charset="0"/>
                <a:sym typeface="Oxygen"/>
              </a:rPr>
            </a:br>
            <a:r>
              <a:rPr lang="en-US" sz="800" dirty="0">
                <a:solidFill>
                  <a:schemeClr val="bg1"/>
                </a:solidFill>
                <a:latin typeface="+mj-lt"/>
                <a:ea typeface="Calibri" charset="0"/>
                <a:cs typeface="CiscoSansTT Light" panose="020B0503020201020303" pitchFamily="34" charset="0"/>
                <a:sym typeface="Oxygen"/>
              </a:rPr>
              <a:t>Manager</a:t>
            </a:r>
          </a:p>
        </p:txBody>
      </p:sp>
      <p:pic>
        <p:nvPicPr>
          <p:cNvPr id="271" name="Picture 2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93751" y="3291898"/>
            <a:ext cx="321869" cy="321869"/>
          </a:xfrm>
          <a:prstGeom prst="rect">
            <a:avLst/>
          </a:prstGeom>
        </p:spPr>
      </p:pic>
      <p:pic>
        <p:nvPicPr>
          <p:cNvPr id="272" name="Picture 27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12130" y="2121556"/>
            <a:ext cx="321869" cy="321869"/>
          </a:xfrm>
          <a:prstGeom prst="rect">
            <a:avLst/>
          </a:prstGeom>
        </p:spPr>
      </p:pic>
      <p:pic>
        <p:nvPicPr>
          <p:cNvPr id="274" name="Picture 27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15401" y="2774844"/>
            <a:ext cx="321869" cy="321869"/>
          </a:xfrm>
          <a:prstGeom prst="rect">
            <a:avLst/>
          </a:prstGeom>
        </p:spPr>
      </p:pic>
      <p:pic>
        <p:nvPicPr>
          <p:cNvPr id="275" name="Picture 27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65260" y="3300165"/>
            <a:ext cx="321869" cy="321869"/>
          </a:xfrm>
          <a:prstGeom prst="rect">
            <a:avLst/>
          </a:prstGeom>
        </p:spPr>
      </p:pic>
      <p:pic>
        <p:nvPicPr>
          <p:cNvPr id="276" name="Picture 27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13395" y="4062751"/>
            <a:ext cx="320040" cy="320040"/>
          </a:xfrm>
          <a:prstGeom prst="rect">
            <a:avLst/>
          </a:prstGeom>
        </p:spPr>
      </p:pic>
    </p:spTree>
    <p:extLst>
      <p:ext uri="{BB962C8B-B14F-4D97-AF65-F5344CB8AC3E}">
        <p14:creationId xmlns:p14="http://schemas.microsoft.com/office/powerpoint/2010/main" val="424378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operations lifecycle</a:t>
            </a:r>
          </a:p>
        </p:txBody>
      </p:sp>
      <p:sp>
        <p:nvSpPr>
          <p:cNvPr id="3" name="Rounded Rectangle 2"/>
          <p:cNvSpPr/>
          <p:nvPr/>
        </p:nvSpPr>
        <p:spPr>
          <a:xfrm>
            <a:off x="1724446" y="3936688"/>
            <a:ext cx="6895493" cy="784086"/>
          </a:xfrm>
          <a:prstGeom prst="roundRect">
            <a:avLst>
              <a:gd name="adj" fmla="val 6646"/>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3"/>
          <p:cNvSpPr/>
          <p:nvPr/>
        </p:nvSpPr>
        <p:spPr>
          <a:xfrm>
            <a:off x="1690433" y="2188497"/>
            <a:ext cx="6895493" cy="1679756"/>
          </a:xfrm>
          <a:prstGeom prst="roundRect">
            <a:avLst>
              <a:gd name="adj" fmla="val 249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1690433" y="1435523"/>
            <a:ext cx="6895493" cy="701704"/>
          </a:xfrm>
          <a:prstGeom prst="roundRect">
            <a:avLst>
              <a:gd name="adj" fmla="val 6646"/>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a:extLst>
              <a:ext uri="{FF2B5EF4-FFF2-40B4-BE49-F238E27FC236}">
                <a16:creationId xmlns:a16="http://schemas.microsoft.com/office/drawing/2014/main" id="{82047284-02A9-0548-8C6F-B5ABC3B59574}"/>
              </a:ext>
            </a:extLst>
          </p:cNvPr>
          <p:cNvSpPr/>
          <p:nvPr/>
        </p:nvSpPr>
        <p:spPr>
          <a:xfrm>
            <a:off x="1690433" y="1103365"/>
            <a:ext cx="2226747" cy="259675"/>
          </a:xfrm>
          <a:prstGeom prst="roundRect">
            <a:avLst>
              <a:gd name="adj" fmla="val 50000"/>
            </a:avLst>
          </a:prstGeom>
          <a:solidFill>
            <a:schemeClr val="bg1"/>
          </a:solidFill>
        </p:spPr>
        <p:txBody>
          <a:bodyPr wrap="square" tIns="0" bIns="0" anchor="ctr" anchorCtr="0">
            <a:spAutoFit/>
          </a:bodyPr>
          <a:lstStyle/>
          <a:p>
            <a:pPr algn="ctr"/>
            <a:r>
              <a:rPr lang="en-US" sz="1200" dirty="0">
                <a:solidFill>
                  <a:schemeClr val="bg2"/>
                </a:solidFill>
                <a:latin typeface="+mn-lt"/>
              </a:rPr>
              <a:t>Day “-1”</a:t>
            </a:r>
          </a:p>
        </p:txBody>
      </p:sp>
      <p:grpSp>
        <p:nvGrpSpPr>
          <p:cNvPr id="7" name="Group 6"/>
          <p:cNvGrpSpPr/>
          <p:nvPr/>
        </p:nvGrpSpPr>
        <p:grpSpPr>
          <a:xfrm>
            <a:off x="1928874" y="4189864"/>
            <a:ext cx="6517649" cy="286022"/>
            <a:chOff x="1844560" y="4189864"/>
            <a:chExt cx="7087825" cy="286022"/>
          </a:xfrm>
          <a:solidFill>
            <a:schemeClr val="accent4">
              <a:lumMod val="75000"/>
            </a:schemeClr>
          </a:solidFill>
        </p:grpSpPr>
        <p:sp>
          <p:nvSpPr>
            <p:cNvPr id="8" name="Rounded Rectangle 42">
              <a:extLst>
                <a:ext uri="{FF2B5EF4-FFF2-40B4-BE49-F238E27FC236}">
                  <a16:creationId xmlns:a16="http://schemas.microsoft.com/office/drawing/2014/main" id="{FFFC776D-BF58-3948-B01E-5871EB7EAD17}"/>
                </a:ext>
              </a:extLst>
            </p:cNvPr>
            <p:cNvSpPr/>
            <p:nvPr/>
          </p:nvSpPr>
          <p:spPr>
            <a:xfrm>
              <a:off x="1844560" y="4195668"/>
              <a:ext cx="1353312" cy="2743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2"/>
                  </a:solidFill>
                  <a:latin typeface="CiscoSansTT Light" panose="020B0503020201020303" pitchFamily="34" charset="0"/>
                  <a:cs typeface="CiscoSansTT Light" panose="020B0503020201020303" pitchFamily="34" charset="0"/>
                </a:rPr>
                <a:t>Transport</a:t>
              </a:r>
            </a:p>
          </p:txBody>
        </p:sp>
        <p:sp>
          <p:nvSpPr>
            <p:cNvPr id="9" name="Rounded Rectangle 43">
              <a:extLst>
                <a:ext uri="{FF2B5EF4-FFF2-40B4-BE49-F238E27FC236}">
                  <a16:creationId xmlns:a16="http://schemas.microsoft.com/office/drawing/2014/main" id="{F426379B-A44E-2140-BA4C-908BBD2A8F3D}"/>
                </a:ext>
              </a:extLst>
            </p:cNvPr>
            <p:cNvSpPr/>
            <p:nvPr/>
          </p:nvSpPr>
          <p:spPr>
            <a:xfrm>
              <a:off x="3278066" y="4195668"/>
              <a:ext cx="1353800" cy="2743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2"/>
                  </a:solidFill>
                  <a:latin typeface="CiscoSansTT Light" panose="020B0503020201020303" pitchFamily="34" charset="0"/>
                  <a:cs typeface="CiscoSansTT Light" panose="020B0503020201020303" pitchFamily="34" charset="0"/>
                </a:rPr>
                <a:t>Edge</a:t>
              </a:r>
            </a:p>
          </p:txBody>
        </p:sp>
        <p:sp>
          <p:nvSpPr>
            <p:cNvPr id="10" name="Rounded Rectangle 46">
              <a:extLst>
                <a:ext uri="{FF2B5EF4-FFF2-40B4-BE49-F238E27FC236}">
                  <a16:creationId xmlns:a16="http://schemas.microsoft.com/office/drawing/2014/main" id="{20EB73E5-1DA8-C645-A6E6-5288A692C552}"/>
                </a:ext>
              </a:extLst>
            </p:cNvPr>
            <p:cNvSpPr/>
            <p:nvPr/>
          </p:nvSpPr>
          <p:spPr>
            <a:xfrm>
              <a:off x="7579073" y="4189864"/>
              <a:ext cx="1353312" cy="2743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2"/>
                  </a:solidFill>
                  <a:latin typeface="CiscoSansTT Light" panose="020B0503020201020303" pitchFamily="34" charset="0"/>
                  <a:cs typeface="CiscoSansTT Light" panose="020B0503020201020303" pitchFamily="34" charset="0"/>
                </a:rPr>
                <a:t>Security</a:t>
              </a:r>
            </a:p>
          </p:txBody>
        </p:sp>
        <p:sp>
          <p:nvSpPr>
            <p:cNvPr id="11" name="Rounded Rectangle 48">
              <a:extLst>
                <a:ext uri="{FF2B5EF4-FFF2-40B4-BE49-F238E27FC236}">
                  <a16:creationId xmlns:a16="http://schemas.microsoft.com/office/drawing/2014/main" id="{B34B774B-1EA7-BE4B-9D6D-7AD876012886}"/>
                </a:ext>
              </a:extLst>
            </p:cNvPr>
            <p:cNvSpPr/>
            <p:nvPr/>
          </p:nvSpPr>
          <p:spPr>
            <a:xfrm>
              <a:off x="4712060" y="4189864"/>
              <a:ext cx="1353312" cy="2743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2"/>
                  </a:solidFill>
                  <a:latin typeface="CiscoSansTT Light" panose="020B0503020201020303" pitchFamily="34" charset="0"/>
                  <a:cs typeface="CiscoSansTT Light" panose="020B0503020201020303" pitchFamily="34" charset="0"/>
                </a:rPr>
                <a:t>RAN</a:t>
              </a:r>
            </a:p>
          </p:txBody>
        </p:sp>
        <p:sp>
          <p:nvSpPr>
            <p:cNvPr id="12" name="Rounded Rectangle 49">
              <a:extLst>
                <a:ext uri="{FF2B5EF4-FFF2-40B4-BE49-F238E27FC236}">
                  <a16:creationId xmlns:a16="http://schemas.microsoft.com/office/drawing/2014/main" id="{A57EC35E-CCB4-854A-BD30-1E7C3AA9778D}"/>
                </a:ext>
              </a:extLst>
            </p:cNvPr>
            <p:cNvSpPr/>
            <p:nvPr/>
          </p:nvSpPr>
          <p:spPr>
            <a:xfrm>
              <a:off x="6145566" y="4201566"/>
              <a:ext cx="1353312" cy="2743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2"/>
                  </a:solidFill>
                  <a:latin typeface="CiscoSansTT Light" panose="020B0503020201020303" pitchFamily="34" charset="0"/>
                  <a:cs typeface="CiscoSansTT Light" panose="020B0503020201020303" pitchFamily="34" charset="0"/>
                </a:rPr>
                <a:t>Peering</a:t>
              </a:r>
            </a:p>
          </p:txBody>
        </p:sp>
      </p:grpSp>
      <p:sp>
        <p:nvSpPr>
          <p:cNvPr id="13" name="Rounded Rectangle 12">
            <a:extLst>
              <a:ext uri="{FF2B5EF4-FFF2-40B4-BE49-F238E27FC236}">
                <a16:creationId xmlns:a16="http://schemas.microsoft.com/office/drawing/2014/main" id="{104C091D-BDAC-F348-BAE5-42FFCA784B47}"/>
              </a:ext>
            </a:extLst>
          </p:cNvPr>
          <p:cNvSpPr/>
          <p:nvPr/>
        </p:nvSpPr>
        <p:spPr>
          <a:xfrm>
            <a:off x="4024806" y="1103365"/>
            <a:ext cx="2226747" cy="259675"/>
          </a:xfrm>
          <a:prstGeom prst="roundRect">
            <a:avLst>
              <a:gd name="adj" fmla="val 50000"/>
            </a:avLst>
          </a:prstGeom>
          <a:solidFill>
            <a:schemeClr val="bg1"/>
          </a:solidFill>
        </p:spPr>
        <p:txBody>
          <a:bodyPr wrap="square" tIns="0" bIns="0" anchor="ctr" anchorCtr="0">
            <a:spAutoFit/>
          </a:bodyPr>
          <a:lstStyle/>
          <a:p>
            <a:pPr algn="ctr"/>
            <a:r>
              <a:rPr lang="en-US" sz="1200" dirty="0">
                <a:solidFill>
                  <a:schemeClr val="bg2"/>
                </a:solidFill>
                <a:latin typeface="+mn-lt"/>
              </a:rPr>
              <a:t>Day “0”</a:t>
            </a:r>
          </a:p>
        </p:txBody>
      </p:sp>
      <p:sp>
        <p:nvSpPr>
          <p:cNvPr id="14" name="Rounded Rectangle 33">
            <a:extLst>
              <a:ext uri="{FF2B5EF4-FFF2-40B4-BE49-F238E27FC236}">
                <a16:creationId xmlns:a16="http://schemas.microsoft.com/office/drawing/2014/main" id="{CAE0100D-D819-B944-A31B-C5D477DC8376}"/>
              </a:ext>
            </a:extLst>
          </p:cNvPr>
          <p:cNvSpPr/>
          <p:nvPr/>
        </p:nvSpPr>
        <p:spPr>
          <a:xfrm>
            <a:off x="6469111" y="3195804"/>
            <a:ext cx="1925697" cy="25460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endParaRPr lang="en-US" sz="1000" dirty="0">
              <a:solidFill>
                <a:schemeClr val="bg2"/>
              </a:solidFill>
              <a:latin typeface="CiscoSansTT Light" panose="020B0503020201020303" pitchFamily="34" charset="0"/>
              <a:cs typeface="CiscoSansTT Light" panose="020B0503020201020303" pitchFamily="34" charset="0"/>
            </a:endParaRPr>
          </a:p>
        </p:txBody>
      </p:sp>
      <p:sp>
        <p:nvSpPr>
          <p:cNvPr id="15" name="Rounded Rectangle 33">
            <a:extLst>
              <a:ext uri="{FF2B5EF4-FFF2-40B4-BE49-F238E27FC236}">
                <a16:creationId xmlns:a16="http://schemas.microsoft.com/office/drawing/2014/main" id="{E30A0E6E-6513-7A41-B77D-1BD206E68842}"/>
              </a:ext>
            </a:extLst>
          </p:cNvPr>
          <p:cNvSpPr/>
          <p:nvPr/>
        </p:nvSpPr>
        <p:spPr>
          <a:xfrm>
            <a:off x="6469111" y="2890201"/>
            <a:ext cx="1925703" cy="25460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endParaRPr lang="en-US" sz="1000" dirty="0">
              <a:solidFill>
                <a:schemeClr val="bg2"/>
              </a:solidFill>
              <a:latin typeface="CiscoSansTT Light" panose="020B0503020201020303" pitchFamily="34" charset="0"/>
              <a:cs typeface="CiscoSansTT Light" panose="020B0503020201020303" pitchFamily="34" charset="0"/>
            </a:endParaRPr>
          </a:p>
        </p:txBody>
      </p:sp>
      <p:grpSp>
        <p:nvGrpSpPr>
          <p:cNvPr id="16" name="Group 15"/>
          <p:cNvGrpSpPr/>
          <p:nvPr/>
        </p:nvGrpSpPr>
        <p:grpSpPr>
          <a:xfrm>
            <a:off x="1894862" y="1649215"/>
            <a:ext cx="6517648" cy="274320"/>
            <a:chOff x="1863866" y="1789578"/>
            <a:chExt cx="6517648" cy="274320"/>
          </a:xfrm>
        </p:grpSpPr>
        <p:grpSp>
          <p:nvGrpSpPr>
            <p:cNvPr id="17" name="Group 16"/>
            <p:cNvGrpSpPr/>
            <p:nvPr/>
          </p:nvGrpSpPr>
          <p:grpSpPr>
            <a:xfrm>
              <a:off x="1863866" y="1789578"/>
              <a:ext cx="1872132" cy="274320"/>
              <a:chOff x="1780871" y="1789578"/>
              <a:chExt cx="1870225" cy="274320"/>
            </a:xfrm>
          </p:grpSpPr>
          <p:sp>
            <p:nvSpPr>
              <p:cNvPr id="22" name="Rounded Rectangle 42">
                <a:extLst>
                  <a:ext uri="{FF2B5EF4-FFF2-40B4-BE49-F238E27FC236}">
                    <a16:creationId xmlns:a16="http://schemas.microsoft.com/office/drawing/2014/main" id="{EE7C22B9-0CC5-3849-84E8-D618B38348B2}"/>
                  </a:ext>
                </a:extLst>
              </p:cNvPr>
              <p:cNvSpPr/>
              <p:nvPr/>
            </p:nvSpPr>
            <p:spPr>
              <a:xfrm>
                <a:off x="2741654" y="1789578"/>
                <a:ext cx="909442" cy="27432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1"/>
                    </a:solidFill>
                    <a:latin typeface="CiscoSansTT Light" panose="020B0503020201020303" pitchFamily="34" charset="0"/>
                    <a:cs typeface="CiscoSansTT Light" panose="020B0503020201020303" pitchFamily="34" charset="0"/>
                  </a:rPr>
                  <a:t>Design</a:t>
                </a:r>
              </a:p>
            </p:txBody>
          </p:sp>
          <p:sp>
            <p:nvSpPr>
              <p:cNvPr id="23" name="Rounded Rectangle 42">
                <a:extLst>
                  <a:ext uri="{FF2B5EF4-FFF2-40B4-BE49-F238E27FC236}">
                    <a16:creationId xmlns:a16="http://schemas.microsoft.com/office/drawing/2014/main" id="{5921E58A-BF96-8347-8E60-9F9B29911E38}"/>
                  </a:ext>
                </a:extLst>
              </p:cNvPr>
              <p:cNvSpPr/>
              <p:nvPr/>
            </p:nvSpPr>
            <p:spPr>
              <a:xfrm>
                <a:off x="1780871" y="1789578"/>
                <a:ext cx="909442" cy="27432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1"/>
                    </a:solidFill>
                    <a:latin typeface="CiscoSansTT Light" panose="020B0503020201020303" pitchFamily="34" charset="0"/>
                    <a:cs typeface="CiscoSansTT Light" panose="020B0503020201020303" pitchFamily="34" charset="0"/>
                  </a:rPr>
                  <a:t>Plan</a:t>
                </a:r>
              </a:p>
            </p:txBody>
          </p:sp>
        </p:grpSp>
        <p:sp>
          <p:nvSpPr>
            <p:cNvPr id="18" name="Rounded Rectangle 42">
              <a:extLst>
                <a:ext uri="{FF2B5EF4-FFF2-40B4-BE49-F238E27FC236}">
                  <a16:creationId xmlns:a16="http://schemas.microsoft.com/office/drawing/2014/main" id="{556A420B-DC85-B547-A2D4-C446C7C441F8}"/>
                </a:ext>
              </a:extLst>
            </p:cNvPr>
            <p:cNvSpPr/>
            <p:nvPr/>
          </p:nvSpPr>
          <p:spPr>
            <a:xfrm>
              <a:off x="4651419" y="1789578"/>
              <a:ext cx="909442" cy="274320"/>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1"/>
                  </a:solidFill>
                  <a:latin typeface="CiscoSansTT Light" panose="020B0503020201020303" pitchFamily="34" charset="0"/>
                  <a:cs typeface="CiscoSansTT Light" panose="020B0503020201020303" pitchFamily="34" charset="0"/>
                </a:rPr>
                <a:t>Implement</a:t>
              </a:r>
            </a:p>
          </p:txBody>
        </p:sp>
        <p:grpSp>
          <p:nvGrpSpPr>
            <p:cNvPr id="19" name="Group 18"/>
            <p:cNvGrpSpPr/>
            <p:nvPr/>
          </p:nvGrpSpPr>
          <p:grpSpPr>
            <a:xfrm>
              <a:off x="6455805" y="1789578"/>
              <a:ext cx="1925709" cy="274320"/>
              <a:chOff x="6453687" y="1789578"/>
              <a:chExt cx="1861279" cy="274320"/>
            </a:xfrm>
          </p:grpSpPr>
          <p:sp>
            <p:nvSpPr>
              <p:cNvPr id="20" name="Rounded Rectangle 42">
                <a:extLst>
                  <a:ext uri="{FF2B5EF4-FFF2-40B4-BE49-F238E27FC236}">
                    <a16:creationId xmlns:a16="http://schemas.microsoft.com/office/drawing/2014/main" id="{8EE0CC5D-6C10-C44F-A2D3-AD125EFD5761}"/>
                  </a:ext>
                </a:extLst>
              </p:cNvPr>
              <p:cNvSpPr/>
              <p:nvPr/>
            </p:nvSpPr>
            <p:spPr>
              <a:xfrm>
                <a:off x="6453687" y="1789578"/>
                <a:ext cx="909442" cy="274320"/>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1"/>
                    </a:solidFill>
                    <a:latin typeface="CiscoSansTT Light" panose="020B0503020201020303" pitchFamily="34" charset="0"/>
                    <a:cs typeface="CiscoSansTT Light" panose="020B0503020201020303" pitchFamily="34" charset="0"/>
                  </a:rPr>
                  <a:t>Operate</a:t>
                </a:r>
              </a:p>
            </p:txBody>
          </p:sp>
          <p:sp>
            <p:nvSpPr>
              <p:cNvPr id="21" name="Rounded Rectangle 42">
                <a:extLst>
                  <a:ext uri="{FF2B5EF4-FFF2-40B4-BE49-F238E27FC236}">
                    <a16:creationId xmlns:a16="http://schemas.microsoft.com/office/drawing/2014/main" id="{46790FEC-4EA5-E34A-91FD-21B421FE6576}"/>
                  </a:ext>
                </a:extLst>
              </p:cNvPr>
              <p:cNvSpPr/>
              <p:nvPr/>
            </p:nvSpPr>
            <p:spPr>
              <a:xfrm>
                <a:off x="7405524" y="1789578"/>
                <a:ext cx="909442" cy="274320"/>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457178">
                  <a:defRPr/>
                </a:pPr>
                <a:r>
                  <a:rPr lang="en-US" sz="1000" dirty="0">
                    <a:solidFill>
                      <a:schemeClr val="bg1"/>
                    </a:solidFill>
                    <a:latin typeface="CiscoSansTT Light" panose="020B0503020201020303" pitchFamily="34" charset="0"/>
                    <a:cs typeface="CiscoSansTT Light" panose="020B0503020201020303" pitchFamily="34" charset="0"/>
                  </a:rPr>
                  <a:t>Optimize</a:t>
                </a:r>
              </a:p>
            </p:txBody>
          </p:sp>
        </p:grpSp>
      </p:grpSp>
      <p:sp>
        <p:nvSpPr>
          <p:cNvPr id="25" name="Rounded Rectangle 33">
            <a:extLst>
              <a:ext uri="{FF2B5EF4-FFF2-40B4-BE49-F238E27FC236}">
                <a16:creationId xmlns:a16="http://schemas.microsoft.com/office/drawing/2014/main" id="{69A35FE4-EF6A-4149-872D-79BAF78E5F5F}"/>
              </a:ext>
            </a:extLst>
          </p:cNvPr>
          <p:cNvSpPr/>
          <p:nvPr/>
        </p:nvSpPr>
        <p:spPr>
          <a:xfrm>
            <a:off x="1894862" y="2342086"/>
            <a:ext cx="1872132" cy="1372580"/>
          </a:xfrm>
          <a:prstGeom prst="roundRect">
            <a:avLst>
              <a:gd name="adj" fmla="val 8199"/>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182880" tIns="91440" rtlCol="0" anchor="ctr" anchorCtr="0">
            <a:noAutofit/>
          </a:bodyPr>
          <a:lstStyle/>
          <a:p>
            <a:pPr algn="ctr"/>
            <a:r>
              <a:rPr lang="en-US" sz="1000" dirty="0">
                <a:latin typeface="CiscoSansTT Light" panose="020B0503020201020303" pitchFamily="34" charset="0"/>
                <a:ea typeface="Calibri" charset="0"/>
                <a:cs typeface="CiscoSansTT Light" panose="020B0503020201020303" pitchFamily="34" charset="0"/>
                <a:sym typeface="Oxygen"/>
              </a:rPr>
              <a:t>Network Planning </a:t>
            </a:r>
          </a:p>
        </p:txBody>
      </p:sp>
      <p:sp>
        <p:nvSpPr>
          <p:cNvPr id="26" name="Rounded Rectangle 33">
            <a:extLst>
              <a:ext uri="{FF2B5EF4-FFF2-40B4-BE49-F238E27FC236}">
                <a16:creationId xmlns:a16="http://schemas.microsoft.com/office/drawing/2014/main" id="{F31B1180-01FD-7348-B6A7-9AF7BE77A1C4}"/>
              </a:ext>
            </a:extLst>
          </p:cNvPr>
          <p:cNvSpPr/>
          <p:nvPr/>
        </p:nvSpPr>
        <p:spPr>
          <a:xfrm>
            <a:off x="4184356" y="2342085"/>
            <a:ext cx="1905560" cy="1372580"/>
          </a:xfrm>
          <a:prstGeom prst="roundRect">
            <a:avLst>
              <a:gd name="adj" fmla="val 8199"/>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182880" tIns="91440" rtlCol="0" anchor="ctr" anchorCtr="0"/>
          <a:lstStyle/>
          <a:p>
            <a:pPr algn="ctr">
              <a:spcBef>
                <a:spcPts val="600"/>
              </a:spcBef>
            </a:pPr>
            <a:r>
              <a:rPr lang="en-US" sz="1000" dirty="0">
                <a:latin typeface="CiscoSansTT Light" panose="020B0503020201020303" pitchFamily="34" charset="0"/>
                <a:ea typeface="CiscoSans" charset="0"/>
                <a:cs typeface="CiscoSansTT Light" panose="020B0503020201020303" pitchFamily="34" charset="0"/>
              </a:rPr>
              <a:t>Deploy @ Scale</a:t>
            </a:r>
          </a:p>
          <a:p>
            <a:pPr algn="ctr">
              <a:spcBef>
                <a:spcPts val="600"/>
              </a:spcBef>
            </a:pPr>
            <a:r>
              <a:rPr lang="en-US" sz="1000" dirty="0">
                <a:latin typeface="CiscoSansTT Light" panose="020B0503020201020303" pitchFamily="34" charset="0"/>
                <a:ea typeface="CiscoSans" charset="0"/>
                <a:cs typeface="CiscoSansTT Light" panose="020B0503020201020303" pitchFamily="34" charset="0"/>
              </a:rPr>
              <a:t>Continuous Deployment</a:t>
            </a:r>
          </a:p>
        </p:txBody>
      </p:sp>
      <p:sp>
        <p:nvSpPr>
          <p:cNvPr id="28" name="Rounded Rectangle 27">
            <a:extLst>
              <a:ext uri="{FF2B5EF4-FFF2-40B4-BE49-F238E27FC236}">
                <a16:creationId xmlns:a16="http://schemas.microsoft.com/office/drawing/2014/main" id="{072B8AAF-B54F-4F4F-AAC5-B30F4105A877}"/>
              </a:ext>
            </a:extLst>
          </p:cNvPr>
          <p:cNvSpPr/>
          <p:nvPr/>
        </p:nvSpPr>
        <p:spPr>
          <a:xfrm>
            <a:off x="6359179" y="1096545"/>
            <a:ext cx="2226747" cy="259675"/>
          </a:xfrm>
          <a:prstGeom prst="roundRect">
            <a:avLst>
              <a:gd name="adj" fmla="val 50000"/>
            </a:avLst>
          </a:prstGeom>
          <a:solidFill>
            <a:schemeClr val="bg1"/>
          </a:solidFill>
        </p:spPr>
        <p:txBody>
          <a:bodyPr wrap="square" tIns="0" bIns="0" anchor="ctr" anchorCtr="0">
            <a:spAutoFit/>
          </a:bodyPr>
          <a:lstStyle/>
          <a:p>
            <a:pPr algn="ctr"/>
            <a:r>
              <a:rPr lang="en-US" sz="1200" dirty="0">
                <a:solidFill>
                  <a:schemeClr val="bg2"/>
                </a:solidFill>
                <a:latin typeface="+mn-lt"/>
              </a:rPr>
              <a:t>Day “1-N”</a:t>
            </a:r>
          </a:p>
        </p:txBody>
      </p:sp>
      <p:grpSp>
        <p:nvGrpSpPr>
          <p:cNvPr id="29" name="Group 28"/>
          <p:cNvGrpSpPr/>
          <p:nvPr/>
        </p:nvGrpSpPr>
        <p:grpSpPr>
          <a:xfrm>
            <a:off x="3971423" y="1435523"/>
            <a:ext cx="2331425" cy="701704"/>
            <a:chOff x="3940427" y="1420024"/>
            <a:chExt cx="2331425" cy="2448229"/>
          </a:xfrm>
        </p:grpSpPr>
        <p:cxnSp>
          <p:nvCxnSpPr>
            <p:cNvPr id="30" name="Straight Connector 29">
              <a:extLst>
                <a:ext uri="{FF2B5EF4-FFF2-40B4-BE49-F238E27FC236}">
                  <a16:creationId xmlns:a16="http://schemas.microsoft.com/office/drawing/2014/main" id="{C14F9311-E42F-9F4A-AD2E-1AFFE82E4AD7}"/>
                </a:ext>
              </a:extLst>
            </p:cNvPr>
            <p:cNvCxnSpPr>
              <a:cxnSpLocks/>
            </p:cNvCxnSpPr>
            <p:nvPr/>
          </p:nvCxnSpPr>
          <p:spPr>
            <a:xfrm flipV="1">
              <a:off x="6271852" y="1420024"/>
              <a:ext cx="0" cy="2448229"/>
            </a:xfrm>
            <a:prstGeom prst="line">
              <a:avLst/>
            </a:prstGeom>
            <a:ln w="190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14F9311-E42F-9F4A-AD2E-1AFFE82E4AD7}"/>
                </a:ext>
              </a:extLst>
            </p:cNvPr>
            <p:cNvCxnSpPr>
              <a:cxnSpLocks/>
            </p:cNvCxnSpPr>
            <p:nvPr/>
          </p:nvCxnSpPr>
          <p:spPr>
            <a:xfrm flipV="1">
              <a:off x="3940427" y="1420024"/>
              <a:ext cx="0" cy="2448229"/>
            </a:xfrm>
            <a:prstGeom prst="line">
              <a:avLst/>
            </a:prstGeom>
            <a:ln w="190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3971423" y="2188117"/>
            <a:ext cx="2331425" cy="1680136"/>
            <a:chOff x="3940427" y="1420024"/>
            <a:chExt cx="2331425" cy="2448229"/>
          </a:xfrm>
        </p:grpSpPr>
        <p:cxnSp>
          <p:nvCxnSpPr>
            <p:cNvPr id="33" name="Straight Connector 32">
              <a:extLst>
                <a:ext uri="{FF2B5EF4-FFF2-40B4-BE49-F238E27FC236}">
                  <a16:creationId xmlns:a16="http://schemas.microsoft.com/office/drawing/2014/main" id="{C14F9311-E42F-9F4A-AD2E-1AFFE82E4AD7}"/>
                </a:ext>
              </a:extLst>
            </p:cNvPr>
            <p:cNvCxnSpPr>
              <a:cxnSpLocks/>
            </p:cNvCxnSpPr>
            <p:nvPr/>
          </p:nvCxnSpPr>
          <p:spPr>
            <a:xfrm flipV="1">
              <a:off x="6271852" y="1420024"/>
              <a:ext cx="0" cy="2448229"/>
            </a:xfrm>
            <a:prstGeom prst="line">
              <a:avLst/>
            </a:prstGeom>
            <a:ln w="190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14F9311-E42F-9F4A-AD2E-1AFFE82E4AD7}"/>
                </a:ext>
              </a:extLst>
            </p:cNvPr>
            <p:cNvCxnSpPr>
              <a:cxnSpLocks/>
            </p:cNvCxnSpPr>
            <p:nvPr/>
          </p:nvCxnSpPr>
          <p:spPr>
            <a:xfrm flipV="1">
              <a:off x="3940427" y="1420024"/>
              <a:ext cx="0" cy="2448229"/>
            </a:xfrm>
            <a:prstGeom prst="line">
              <a:avLst/>
            </a:prstGeom>
            <a:ln w="190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547688" y="1519912"/>
            <a:ext cx="1040191" cy="532927"/>
            <a:chOff x="547688" y="1519912"/>
            <a:chExt cx="1040191" cy="532927"/>
          </a:xfrm>
        </p:grpSpPr>
        <p:sp>
          <p:nvSpPr>
            <p:cNvPr id="36" name="Rounded Rectangle 35">
              <a:extLst>
                <a:ext uri="{FF2B5EF4-FFF2-40B4-BE49-F238E27FC236}">
                  <a16:creationId xmlns:a16="http://schemas.microsoft.com/office/drawing/2014/main" id="{151D1E67-8661-FF4E-96DF-3A9469615188}"/>
                </a:ext>
              </a:extLst>
            </p:cNvPr>
            <p:cNvSpPr/>
            <p:nvPr/>
          </p:nvSpPr>
          <p:spPr>
            <a:xfrm>
              <a:off x="547688" y="1519912"/>
              <a:ext cx="963397" cy="532927"/>
            </a:xfrm>
            <a:prstGeom prst="roundRect">
              <a:avLst>
                <a:gd name="adj" fmla="val 12305"/>
              </a:avLst>
            </a:prstGeom>
            <a:solidFill>
              <a:schemeClr val="bg2">
                <a:lumMod val="85000"/>
              </a:schemeClr>
            </a:solidFill>
          </p:spPr>
          <p:txBody>
            <a:bodyPr wrap="square" lIns="45720" rIns="91440" rtlCol="0" anchor="ctr" anchorCtr="0">
              <a:noAutofit/>
            </a:bodyPr>
            <a:lstStyle/>
            <a:p>
              <a:pPr algn="ctr"/>
              <a:r>
                <a:rPr lang="en-US" sz="1000" dirty="0">
                  <a:latin typeface="+mn-lt"/>
                  <a:ea typeface="Calibri" charset="0"/>
                  <a:cs typeface="CiscoSansTT Light" panose="020B0503020201020303" pitchFamily="34" charset="0"/>
                </a:rPr>
                <a:t>Phases</a:t>
              </a:r>
            </a:p>
          </p:txBody>
        </p:sp>
        <p:sp>
          <p:nvSpPr>
            <p:cNvPr id="37" name="Chevron 36"/>
            <p:cNvSpPr/>
            <p:nvPr/>
          </p:nvSpPr>
          <p:spPr>
            <a:xfrm>
              <a:off x="1434290" y="1709581"/>
              <a:ext cx="153589" cy="153589"/>
            </a:xfrm>
            <a:prstGeom prst="chevron">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47" name="Rounded Rectangle 33">
            <a:extLst>
              <a:ext uri="{FF2B5EF4-FFF2-40B4-BE49-F238E27FC236}">
                <a16:creationId xmlns:a16="http://schemas.microsoft.com/office/drawing/2014/main" id="{F31B1180-01FD-7348-B6A7-9AF7BE77A1C4}"/>
              </a:ext>
            </a:extLst>
          </p:cNvPr>
          <p:cNvSpPr/>
          <p:nvPr/>
        </p:nvSpPr>
        <p:spPr>
          <a:xfrm>
            <a:off x="6486801" y="2342085"/>
            <a:ext cx="1905560" cy="1372580"/>
          </a:xfrm>
          <a:prstGeom prst="roundRect">
            <a:avLst>
              <a:gd name="adj" fmla="val 8199"/>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182880" tIns="45720" rtlCol="0" anchor="ctr" anchorCtr="0"/>
          <a:lstStyle/>
          <a:p>
            <a:pPr algn="ctr">
              <a:spcBef>
                <a:spcPts val="200"/>
              </a:spcBef>
              <a:spcAft>
                <a:spcPts val="400"/>
              </a:spcAft>
            </a:pPr>
            <a:r>
              <a:rPr lang="en-US" sz="1000" dirty="0">
                <a:latin typeface="CiscoSansTT Light" panose="020B0503020201020303" pitchFamily="34" charset="0"/>
                <a:ea typeface="CiscoSans" charset="0"/>
                <a:cs typeface="CiscoSansTT Light" panose="020B0503020201020303" pitchFamily="34" charset="0"/>
              </a:rPr>
              <a:t>Optimized Network Experiences</a:t>
            </a:r>
          </a:p>
          <a:p>
            <a:pPr algn="ctr">
              <a:spcBef>
                <a:spcPts val="200"/>
              </a:spcBef>
              <a:spcAft>
                <a:spcPts val="400"/>
              </a:spcAft>
            </a:pPr>
            <a:r>
              <a:rPr lang="en-US" sz="1000" dirty="0">
                <a:latin typeface="CiscoSansTT Light" panose="020B0503020201020303" pitchFamily="34" charset="0"/>
                <a:ea typeface="CiscoSans" charset="0"/>
                <a:cs typeface="CiscoSansTT Light" panose="020B0503020201020303" pitchFamily="34" charset="0"/>
              </a:rPr>
              <a:t>Proactive Prevention</a:t>
            </a:r>
          </a:p>
          <a:p>
            <a:pPr algn="ctr">
              <a:spcBef>
                <a:spcPts val="200"/>
              </a:spcBef>
              <a:spcAft>
                <a:spcPts val="400"/>
              </a:spcAft>
            </a:pPr>
            <a:r>
              <a:rPr lang="en-US" sz="1000" dirty="0">
                <a:latin typeface="CiscoSansTT Light" panose="020B0503020201020303" pitchFamily="34" charset="0"/>
                <a:ea typeface="CiscoSans" charset="0"/>
                <a:cs typeface="CiscoSansTT Light" panose="020B0503020201020303" pitchFamily="34" charset="0"/>
              </a:rPr>
              <a:t>Data-Driven Closed </a:t>
            </a:r>
            <a:br>
              <a:rPr lang="en-US" sz="1000" dirty="0">
                <a:latin typeface="CiscoSansTT Light" panose="020B0503020201020303" pitchFamily="34" charset="0"/>
                <a:ea typeface="CiscoSans" charset="0"/>
                <a:cs typeface="CiscoSansTT Light" panose="020B0503020201020303" pitchFamily="34" charset="0"/>
              </a:rPr>
            </a:br>
            <a:r>
              <a:rPr lang="en-US" sz="1000" dirty="0">
                <a:latin typeface="CiscoSansTT Light" panose="020B0503020201020303" pitchFamily="34" charset="0"/>
                <a:ea typeface="CiscoSans" charset="0"/>
                <a:cs typeface="CiscoSansTT Light" panose="020B0503020201020303" pitchFamily="34" charset="0"/>
              </a:rPr>
              <a:t>Loop Operations</a:t>
            </a:r>
          </a:p>
          <a:p>
            <a:pPr algn="ctr">
              <a:spcBef>
                <a:spcPts val="200"/>
              </a:spcBef>
              <a:spcAft>
                <a:spcPts val="400"/>
              </a:spcAft>
            </a:pPr>
            <a:r>
              <a:rPr lang="en-US" sz="1000" dirty="0">
                <a:latin typeface="CiscoSansTT Light" panose="020B0503020201020303" pitchFamily="34" charset="0"/>
                <a:ea typeface="CiscoSans" charset="0"/>
                <a:cs typeface="CiscoSansTT Light" panose="020B0503020201020303" pitchFamily="34" charset="0"/>
              </a:rPr>
              <a:t>Cross-Domain Resolutions</a:t>
            </a:r>
          </a:p>
        </p:txBody>
      </p:sp>
      <p:grpSp>
        <p:nvGrpSpPr>
          <p:cNvPr id="50" name="Group 49"/>
          <p:cNvGrpSpPr/>
          <p:nvPr/>
        </p:nvGrpSpPr>
        <p:grpSpPr>
          <a:xfrm>
            <a:off x="547688" y="2761912"/>
            <a:ext cx="1040191" cy="532927"/>
            <a:chOff x="547688" y="2761912"/>
            <a:chExt cx="1040191" cy="532927"/>
          </a:xfrm>
        </p:grpSpPr>
        <p:sp>
          <p:nvSpPr>
            <p:cNvPr id="51" name="Rounded Rectangle 50">
              <a:extLst>
                <a:ext uri="{FF2B5EF4-FFF2-40B4-BE49-F238E27FC236}">
                  <a16:creationId xmlns:a16="http://schemas.microsoft.com/office/drawing/2014/main" id="{82B4A240-F4B9-A845-B646-53443CFEEBD5}"/>
                </a:ext>
              </a:extLst>
            </p:cNvPr>
            <p:cNvSpPr/>
            <p:nvPr/>
          </p:nvSpPr>
          <p:spPr>
            <a:xfrm>
              <a:off x="547688" y="2761912"/>
              <a:ext cx="963397" cy="532927"/>
            </a:xfrm>
            <a:prstGeom prst="roundRect">
              <a:avLst>
                <a:gd name="adj" fmla="val 10851"/>
              </a:avLst>
            </a:prstGeom>
            <a:solidFill>
              <a:schemeClr val="bg2">
                <a:lumMod val="85000"/>
              </a:schemeClr>
            </a:solidFill>
          </p:spPr>
          <p:txBody>
            <a:bodyPr wrap="square" lIns="45720" rIns="91440" rtlCol="0" anchor="ctr" anchorCtr="0">
              <a:noAutofit/>
            </a:bodyPr>
            <a:lstStyle/>
            <a:p>
              <a:pPr algn="ctr"/>
              <a:r>
                <a:rPr lang="en-US" sz="1000" dirty="0">
                  <a:latin typeface="+mn-lt"/>
                  <a:ea typeface="Calibri" charset="0"/>
                  <a:cs typeface="CiscoSansTT Light" panose="020B0503020201020303" pitchFamily="34" charset="0"/>
                </a:rPr>
                <a:t>Operation</a:t>
              </a:r>
            </a:p>
          </p:txBody>
        </p:sp>
        <p:sp>
          <p:nvSpPr>
            <p:cNvPr id="52" name="Chevron 51"/>
            <p:cNvSpPr/>
            <p:nvPr/>
          </p:nvSpPr>
          <p:spPr>
            <a:xfrm>
              <a:off x="1434290" y="2951581"/>
              <a:ext cx="153589" cy="153589"/>
            </a:xfrm>
            <a:prstGeom prst="chevron">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53" name="Group 52"/>
          <p:cNvGrpSpPr/>
          <p:nvPr/>
        </p:nvGrpSpPr>
        <p:grpSpPr>
          <a:xfrm>
            <a:off x="547688" y="4060560"/>
            <a:ext cx="1040191" cy="532927"/>
            <a:chOff x="547688" y="2761912"/>
            <a:chExt cx="1040191" cy="532927"/>
          </a:xfrm>
        </p:grpSpPr>
        <p:sp>
          <p:nvSpPr>
            <p:cNvPr id="54" name="Rounded Rectangle 53">
              <a:extLst>
                <a:ext uri="{FF2B5EF4-FFF2-40B4-BE49-F238E27FC236}">
                  <a16:creationId xmlns:a16="http://schemas.microsoft.com/office/drawing/2014/main" id="{82B4A240-F4B9-A845-B646-53443CFEEBD5}"/>
                </a:ext>
              </a:extLst>
            </p:cNvPr>
            <p:cNvSpPr/>
            <p:nvPr/>
          </p:nvSpPr>
          <p:spPr>
            <a:xfrm>
              <a:off x="547688" y="2761912"/>
              <a:ext cx="963397" cy="532927"/>
            </a:xfrm>
            <a:prstGeom prst="roundRect">
              <a:avLst>
                <a:gd name="adj" fmla="val 10851"/>
              </a:avLst>
            </a:prstGeom>
            <a:solidFill>
              <a:schemeClr val="bg2">
                <a:lumMod val="85000"/>
              </a:schemeClr>
            </a:solidFill>
          </p:spPr>
          <p:txBody>
            <a:bodyPr wrap="square" lIns="45720" rIns="91440" rtlCol="0" anchor="ctr" anchorCtr="0">
              <a:noAutofit/>
            </a:bodyPr>
            <a:lstStyle/>
            <a:p>
              <a:pPr algn="ctr"/>
              <a:r>
                <a:rPr lang="en-US" sz="1000" dirty="0">
                  <a:latin typeface="+mn-lt"/>
                  <a:ea typeface="Calibri" charset="0"/>
                  <a:cs typeface="CiscoSansTT Light" panose="020B0503020201020303" pitchFamily="34" charset="0"/>
                </a:rPr>
                <a:t>Service Provider Infrastructure</a:t>
              </a:r>
            </a:p>
          </p:txBody>
        </p:sp>
        <p:sp>
          <p:nvSpPr>
            <p:cNvPr id="55" name="Chevron 54"/>
            <p:cNvSpPr/>
            <p:nvPr/>
          </p:nvSpPr>
          <p:spPr>
            <a:xfrm>
              <a:off x="1434290" y="2951581"/>
              <a:ext cx="153589" cy="153589"/>
            </a:xfrm>
            <a:prstGeom prst="chevron">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610991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26C3E-DA00-B94B-B331-C1F39443CBFA}"/>
              </a:ext>
            </a:extLst>
          </p:cNvPr>
          <p:cNvSpPr>
            <a:spLocks noGrp="1"/>
          </p:cNvSpPr>
          <p:nvPr>
            <p:ph type="title"/>
          </p:nvPr>
        </p:nvSpPr>
        <p:spPr/>
        <p:txBody>
          <a:bodyPr/>
          <a:lstStyle/>
          <a:p>
            <a:r>
              <a:rPr lang="en-US" dirty="0"/>
              <a:t>Cross-domain Automation</a:t>
            </a:r>
          </a:p>
        </p:txBody>
      </p:sp>
      <p:grpSp>
        <p:nvGrpSpPr>
          <p:cNvPr id="9" name="Group 8">
            <a:extLst>
              <a:ext uri="{FF2B5EF4-FFF2-40B4-BE49-F238E27FC236}">
                <a16:creationId xmlns:a16="http://schemas.microsoft.com/office/drawing/2014/main" id="{D58676DB-CA97-F14E-908A-3357F1522949}"/>
              </a:ext>
            </a:extLst>
          </p:cNvPr>
          <p:cNvGrpSpPr/>
          <p:nvPr/>
        </p:nvGrpSpPr>
        <p:grpSpPr>
          <a:xfrm>
            <a:off x="548795" y="1073151"/>
            <a:ext cx="8168683" cy="3390740"/>
            <a:chOff x="731371" y="1258225"/>
            <a:chExt cx="10891576" cy="4520989"/>
          </a:xfrm>
        </p:grpSpPr>
        <p:sp>
          <p:nvSpPr>
            <p:cNvPr id="3" name="Rectangle 2">
              <a:extLst>
                <a:ext uri="{FF2B5EF4-FFF2-40B4-BE49-F238E27FC236}">
                  <a16:creationId xmlns:a16="http://schemas.microsoft.com/office/drawing/2014/main" id="{719E2088-0DEF-EE4F-B360-1CA82186744D}"/>
                </a:ext>
              </a:extLst>
            </p:cNvPr>
            <p:cNvSpPr/>
            <p:nvPr/>
          </p:nvSpPr>
          <p:spPr>
            <a:xfrm>
              <a:off x="7010112" y="5286771"/>
              <a:ext cx="4449810" cy="492443"/>
            </a:xfrm>
            <a:prstGeom prst="rect">
              <a:avLst/>
            </a:prstGeom>
          </p:spPr>
          <p:txBody>
            <a:bodyPr wrap="square">
              <a:spAutoFit/>
            </a:bodyPr>
            <a:lstStyle/>
            <a:p>
              <a:pPr algn="ctr" defTabSz="342892"/>
              <a:r>
                <a:rPr lang="en-US" dirty="0">
                  <a:solidFill>
                    <a:srgbClr val="005073"/>
                  </a:solidFill>
                  <a:latin typeface="CiscoSansTT ExtraLight"/>
                </a:rPr>
                <a:t>Transform Operations </a:t>
              </a:r>
            </a:p>
          </p:txBody>
        </p:sp>
        <p:sp>
          <p:nvSpPr>
            <p:cNvPr id="360" name="Rectangle 359">
              <a:extLst>
                <a:ext uri="{FF2B5EF4-FFF2-40B4-BE49-F238E27FC236}">
                  <a16:creationId xmlns:a16="http://schemas.microsoft.com/office/drawing/2014/main" id="{D5EB1A1A-4949-944D-96C2-1E842528EE74}"/>
                </a:ext>
              </a:extLst>
            </p:cNvPr>
            <p:cNvSpPr/>
            <p:nvPr/>
          </p:nvSpPr>
          <p:spPr>
            <a:xfrm>
              <a:off x="731371" y="5286771"/>
              <a:ext cx="5361348" cy="492443"/>
            </a:xfrm>
            <a:prstGeom prst="rect">
              <a:avLst/>
            </a:prstGeom>
          </p:spPr>
          <p:txBody>
            <a:bodyPr wrap="square">
              <a:spAutoFit/>
            </a:bodyPr>
            <a:lstStyle/>
            <a:p>
              <a:pPr algn="ctr" defTabSz="342892"/>
              <a:r>
                <a:rPr lang="en-US" dirty="0">
                  <a:solidFill>
                    <a:srgbClr val="005073"/>
                  </a:solidFill>
                  <a:latin typeface="CiscoSansTT ExtraLight"/>
                  <a:ea typeface="Calibri" panose="020F0502020204030204" pitchFamily="34" charset="0"/>
                  <a:cs typeface="Times New Roman" panose="02020603050405020304" pitchFamily="18" charset="0"/>
                </a:rPr>
                <a:t>Modernize Automation</a:t>
              </a:r>
            </a:p>
          </p:txBody>
        </p:sp>
        <p:grpSp>
          <p:nvGrpSpPr>
            <p:cNvPr id="74" name="Group 73">
              <a:extLst>
                <a:ext uri="{FF2B5EF4-FFF2-40B4-BE49-F238E27FC236}">
                  <a16:creationId xmlns:a16="http://schemas.microsoft.com/office/drawing/2014/main" id="{D7E28F22-FE46-8A49-A70B-4CA0DAB165B4}"/>
                </a:ext>
              </a:extLst>
            </p:cNvPr>
            <p:cNvGrpSpPr/>
            <p:nvPr/>
          </p:nvGrpSpPr>
          <p:grpSpPr>
            <a:xfrm rot="16200000">
              <a:off x="2283496" y="2196277"/>
              <a:ext cx="1078703" cy="1078703"/>
              <a:chOff x="3794760" y="1807812"/>
              <a:chExt cx="1554480" cy="1554480"/>
            </a:xfrm>
          </p:grpSpPr>
          <p:sp>
            <p:nvSpPr>
              <p:cNvPr id="75" name="Freeform 9">
                <a:extLst>
                  <a:ext uri="{FF2B5EF4-FFF2-40B4-BE49-F238E27FC236}">
                    <a16:creationId xmlns:a16="http://schemas.microsoft.com/office/drawing/2014/main" id="{B3952B4E-6AC5-3742-A68C-BB5DE55F5AAC}"/>
                  </a:ext>
                </a:extLst>
              </p:cNvPr>
              <p:cNvSpPr>
                <a:spLocks noChangeArrowheads="1"/>
              </p:cNvSpPr>
              <p:nvPr/>
            </p:nvSpPr>
            <p:spPr bwMode="auto">
              <a:xfrm>
                <a:off x="3794760" y="1807812"/>
                <a:ext cx="1554480" cy="1554480"/>
              </a:xfrm>
              <a:custGeom>
                <a:avLst/>
                <a:gdLst>
                  <a:gd name="T0" fmla="*/ 4448 w 4449"/>
                  <a:gd name="T1" fmla="*/ 2312 h 4625"/>
                  <a:gd name="T2" fmla="*/ 4448 w 4449"/>
                  <a:gd name="T3" fmla="*/ 2312 h 4625"/>
                  <a:gd name="T4" fmla="*/ 2224 w 4449"/>
                  <a:gd name="T5" fmla="*/ 4624 h 4625"/>
                  <a:gd name="T6" fmla="*/ 0 w 4449"/>
                  <a:gd name="T7" fmla="*/ 2312 h 4625"/>
                  <a:gd name="T8" fmla="*/ 2224 w 4449"/>
                  <a:gd name="T9" fmla="*/ 0 h 4625"/>
                  <a:gd name="T10" fmla="*/ 4448 w 4449"/>
                  <a:gd name="T11" fmla="*/ 2312 h 4625"/>
                </a:gdLst>
                <a:ahLst/>
                <a:cxnLst>
                  <a:cxn ang="0">
                    <a:pos x="T0" y="T1"/>
                  </a:cxn>
                  <a:cxn ang="0">
                    <a:pos x="T2" y="T3"/>
                  </a:cxn>
                  <a:cxn ang="0">
                    <a:pos x="T4" y="T5"/>
                  </a:cxn>
                  <a:cxn ang="0">
                    <a:pos x="T6" y="T7"/>
                  </a:cxn>
                  <a:cxn ang="0">
                    <a:pos x="T8" y="T9"/>
                  </a:cxn>
                  <a:cxn ang="0">
                    <a:pos x="T10" y="T11"/>
                  </a:cxn>
                </a:cxnLst>
                <a:rect l="0" t="0" r="r" b="b"/>
                <a:pathLst>
                  <a:path w="4449" h="4625">
                    <a:moveTo>
                      <a:pt x="4448" y="2312"/>
                    </a:moveTo>
                    <a:lnTo>
                      <a:pt x="4448" y="2312"/>
                    </a:lnTo>
                    <a:cubicBezTo>
                      <a:pt x="4448" y="3589"/>
                      <a:pt x="3452" y="4624"/>
                      <a:pt x="2224" y="4624"/>
                    </a:cubicBezTo>
                    <a:cubicBezTo>
                      <a:pt x="996" y="4624"/>
                      <a:pt x="0" y="3589"/>
                      <a:pt x="0" y="2312"/>
                    </a:cubicBezTo>
                    <a:cubicBezTo>
                      <a:pt x="0" y="1034"/>
                      <a:pt x="996" y="0"/>
                      <a:pt x="2224" y="0"/>
                    </a:cubicBezTo>
                    <a:cubicBezTo>
                      <a:pt x="3452" y="0"/>
                      <a:pt x="4448" y="1034"/>
                      <a:pt x="4448" y="2312"/>
                    </a:cubicBezTo>
                  </a:path>
                </a:pathLst>
              </a:custGeom>
              <a:solidFill>
                <a:schemeClr val="tx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342892"/>
                <a:endParaRPr lang="en-US" dirty="0">
                  <a:solidFill>
                    <a:srgbClr val="282828"/>
                  </a:solidFill>
                </a:endParaRPr>
              </a:p>
            </p:txBody>
          </p:sp>
          <p:grpSp>
            <p:nvGrpSpPr>
              <p:cNvPr id="76" name="Group 75">
                <a:extLst>
                  <a:ext uri="{FF2B5EF4-FFF2-40B4-BE49-F238E27FC236}">
                    <a16:creationId xmlns:a16="http://schemas.microsoft.com/office/drawing/2014/main" id="{D524E99B-35AA-FC4C-90E1-F369EB60F789}"/>
                  </a:ext>
                </a:extLst>
              </p:cNvPr>
              <p:cNvGrpSpPr/>
              <p:nvPr/>
            </p:nvGrpSpPr>
            <p:grpSpPr>
              <a:xfrm>
                <a:off x="3995913" y="2037993"/>
                <a:ext cx="1169233" cy="1210959"/>
                <a:chOff x="985837" y="4086224"/>
                <a:chExt cx="455612" cy="454025"/>
              </a:xfrm>
            </p:grpSpPr>
            <p:sp>
              <p:nvSpPr>
                <p:cNvPr id="77" name="Freeform 638">
                  <a:extLst>
                    <a:ext uri="{FF2B5EF4-FFF2-40B4-BE49-F238E27FC236}">
                      <a16:creationId xmlns:a16="http://schemas.microsoft.com/office/drawing/2014/main" id="{1EA0C834-78E1-5842-BB47-B42528BE7CFF}"/>
                    </a:ext>
                  </a:extLst>
                </p:cNvPr>
                <p:cNvSpPr>
                  <a:spLocks noChangeArrowheads="1"/>
                </p:cNvSpPr>
                <p:nvPr/>
              </p:nvSpPr>
              <p:spPr bwMode="auto">
                <a:xfrm>
                  <a:off x="1069974" y="4275137"/>
                  <a:ext cx="288925" cy="265112"/>
                </a:xfrm>
                <a:custGeom>
                  <a:avLst/>
                  <a:gdLst>
                    <a:gd name="T0" fmla="*/ 787 w 801"/>
                    <a:gd name="T1" fmla="*/ 242 h 738"/>
                    <a:gd name="T2" fmla="*/ 800 w 801"/>
                    <a:gd name="T3" fmla="*/ 337 h 738"/>
                    <a:gd name="T4" fmla="*/ 399 w 801"/>
                    <a:gd name="T5" fmla="*/ 737 h 738"/>
                    <a:gd name="T6" fmla="*/ 0 w 801"/>
                    <a:gd name="T7" fmla="*/ 337 h 738"/>
                    <a:gd name="T8" fmla="*/ 12 w 801"/>
                    <a:gd name="T9" fmla="*/ 242 h 738"/>
                    <a:gd name="T10" fmla="*/ 399 w 801"/>
                    <a:gd name="T11" fmla="*/ 0 h 738"/>
                    <a:gd name="T12" fmla="*/ 787 w 801"/>
                    <a:gd name="T13" fmla="*/ 242 h 738"/>
                    <a:gd name="T14" fmla="*/ 787 w 801"/>
                    <a:gd name="T15" fmla="*/ 242 h 7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1" h="738">
                      <a:moveTo>
                        <a:pt x="787" y="242"/>
                      </a:moveTo>
                      <a:cubicBezTo>
                        <a:pt x="795" y="273"/>
                        <a:pt x="800" y="304"/>
                        <a:pt x="800" y="337"/>
                      </a:cubicBezTo>
                      <a:cubicBezTo>
                        <a:pt x="800" y="558"/>
                        <a:pt x="620" y="737"/>
                        <a:pt x="399" y="737"/>
                      </a:cubicBezTo>
                      <a:cubicBezTo>
                        <a:pt x="179" y="737"/>
                        <a:pt x="0" y="558"/>
                        <a:pt x="0" y="337"/>
                      </a:cubicBezTo>
                      <a:cubicBezTo>
                        <a:pt x="0" y="304"/>
                        <a:pt x="4" y="273"/>
                        <a:pt x="12" y="242"/>
                      </a:cubicBezTo>
                      <a:cubicBezTo>
                        <a:pt x="12" y="242"/>
                        <a:pt x="12" y="242"/>
                        <a:pt x="399" y="0"/>
                      </a:cubicBezTo>
                      <a:cubicBezTo>
                        <a:pt x="399" y="0"/>
                        <a:pt x="399" y="0"/>
                        <a:pt x="787" y="242"/>
                      </a:cubicBezTo>
                      <a:lnTo>
                        <a:pt x="787" y="242"/>
                      </a:lnTo>
                    </a:path>
                  </a:pathLst>
                </a:custGeom>
                <a:solidFill>
                  <a:schemeClr val="accent2"/>
                </a:solidFill>
                <a:ln>
                  <a:noFill/>
                </a:ln>
                <a:effectLst/>
                <a:extLst>
                  <a:ext uri="{91240B29-F687-4F45-9708-019B960494DF}">
                    <a14:hiddenLine xmlns:a14="http://schemas.microsoft.com/office/drawing/2010/main" w="9525" cap="flat">
                      <a:solidFill>
                        <a:srgbClr val="474F59"/>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342892"/>
                  <a:endParaRPr lang="en-US" dirty="0">
                    <a:solidFill>
                      <a:srgbClr val="282828"/>
                    </a:solidFill>
                  </a:endParaRPr>
                </a:p>
              </p:txBody>
            </p:sp>
            <p:sp>
              <p:nvSpPr>
                <p:cNvPr id="78" name="Freeform 639">
                  <a:extLst>
                    <a:ext uri="{FF2B5EF4-FFF2-40B4-BE49-F238E27FC236}">
                      <a16:creationId xmlns:a16="http://schemas.microsoft.com/office/drawing/2014/main" id="{D7AB93C9-D333-D040-836E-F51FD41E5016}"/>
                    </a:ext>
                  </a:extLst>
                </p:cNvPr>
                <p:cNvSpPr>
                  <a:spLocks noChangeArrowheads="1"/>
                </p:cNvSpPr>
                <p:nvPr/>
              </p:nvSpPr>
              <p:spPr bwMode="auto">
                <a:xfrm>
                  <a:off x="985837" y="4086224"/>
                  <a:ext cx="227012" cy="276225"/>
                </a:xfrm>
                <a:custGeom>
                  <a:avLst/>
                  <a:gdLst>
                    <a:gd name="T0" fmla="*/ 400 w 632"/>
                    <a:gd name="T1" fmla="*/ 0 h 768"/>
                    <a:gd name="T2" fmla="*/ 631 w 632"/>
                    <a:gd name="T3" fmla="*/ 74 h 768"/>
                    <a:gd name="T4" fmla="*/ 631 w 632"/>
                    <a:gd name="T5" fmla="*/ 525 h 768"/>
                    <a:gd name="T6" fmla="*/ 244 w 632"/>
                    <a:gd name="T7" fmla="*/ 767 h 768"/>
                    <a:gd name="T8" fmla="*/ 0 w 632"/>
                    <a:gd name="T9" fmla="*/ 400 h 768"/>
                    <a:gd name="T10" fmla="*/ 400 w 632"/>
                    <a:gd name="T11" fmla="*/ 0 h 768"/>
                    <a:gd name="T12" fmla="*/ 400 w 632"/>
                    <a:gd name="T13" fmla="*/ 0 h 768"/>
                  </a:gdLst>
                  <a:ahLst/>
                  <a:cxnLst>
                    <a:cxn ang="0">
                      <a:pos x="T0" y="T1"/>
                    </a:cxn>
                    <a:cxn ang="0">
                      <a:pos x="T2" y="T3"/>
                    </a:cxn>
                    <a:cxn ang="0">
                      <a:pos x="T4" y="T5"/>
                    </a:cxn>
                    <a:cxn ang="0">
                      <a:pos x="T6" y="T7"/>
                    </a:cxn>
                    <a:cxn ang="0">
                      <a:pos x="T8" y="T9"/>
                    </a:cxn>
                    <a:cxn ang="0">
                      <a:pos x="T10" y="T11"/>
                    </a:cxn>
                    <a:cxn ang="0">
                      <a:pos x="T12" y="T13"/>
                    </a:cxn>
                  </a:cxnLst>
                  <a:rect l="0" t="0" r="r" b="b"/>
                  <a:pathLst>
                    <a:path w="632" h="768">
                      <a:moveTo>
                        <a:pt x="400" y="0"/>
                      </a:moveTo>
                      <a:cubicBezTo>
                        <a:pt x="487" y="0"/>
                        <a:pt x="566" y="27"/>
                        <a:pt x="631" y="74"/>
                      </a:cubicBezTo>
                      <a:cubicBezTo>
                        <a:pt x="631" y="74"/>
                        <a:pt x="631" y="74"/>
                        <a:pt x="631" y="525"/>
                      </a:cubicBezTo>
                      <a:cubicBezTo>
                        <a:pt x="631" y="525"/>
                        <a:pt x="631" y="525"/>
                        <a:pt x="244" y="767"/>
                      </a:cubicBezTo>
                      <a:cubicBezTo>
                        <a:pt x="101" y="706"/>
                        <a:pt x="0" y="565"/>
                        <a:pt x="0" y="400"/>
                      </a:cubicBezTo>
                      <a:cubicBezTo>
                        <a:pt x="0" y="179"/>
                        <a:pt x="179" y="0"/>
                        <a:pt x="400" y="0"/>
                      </a:cubicBezTo>
                      <a:lnTo>
                        <a:pt x="400" y="0"/>
                      </a:lnTo>
                    </a:path>
                  </a:pathLst>
                </a:custGeom>
                <a:solidFill>
                  <a:schemeClr val="accent1"/>
                </a:solidFill>
                <a:ln>
                  <a:noFill/>
                </a:ln>
                <a:effectLst/>
                <a:extLst>
                  <a:ext uri="{91240B29-F687-4F45-9708-019B960494DF}">
                    <a14:hiddenLine xmlns:a14="http://schemas.microsoft.com/office/drawing/2010/main" w="9525" cap="flat">
                      <a:solidFill>
                        <a:srgbClr val="474F59"/>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342892"/>
                  <a:endParaRPr lang="en-US" dirty="0">
                    <a:solidFill>
                      <a:srgbClr val="282828"/>
                    </a:solidFill>
                  </a:endParaRPr>
                </a:p>
              </p:txBody>
            </p:sp>
            <p:sp>
              <p:nvSpPr>
                <p:cNvPr id="79" name="Freeform 640">
                  <a:extLst>
                    <a:ext uri="{FF2B5EF4-FFF2-40B4-BE49-F238E27FC236}">
                      <a16:creationId xmlns:a16="http://schemas.microsoft.com/office/drawing/2014/main" id="{BDFF25BD-92D4-7E44-A899-7ED343B519CA}"/>
                    </a:ext>
                  </a:extLst>
                </p:cNvPr>
                <p:cNvSpPr>
                  <a:spLocks noChangeArrowheads="1"/>
                </p:cNvSpPr>
                <p:nvPr/>
              </p:nvSpPr>
              <p:spPr bwMode="auto">
                <a:xfrm>
                  <a:off x="1212849" y="4086224"/>
                  <a:ext cx="228600" cy="276225"/>
                </a:xfrm>
                <a:custGeom>
                  <a:avLst/>
                  <a:gdLst>
                    <a:gd name="T0" fmla="*/ 232 w 633"/>
                    <a:gd name="T1" fmla="*/ 0 h 768"/>
                    <a:gd name="T2" fmla="*/ 632 w 633"/>
                    <a:gd name="T3" fmla="*/ 400 h 768"/>
                    <a:gd name="T4" fmla="*/ 389 w 633"/>
                    <a:gd name="T5" fmla="*/ 767 h 768"/>
                    <a:gd name="T6" fmla="*/ 0 w 633"/>
                    <a:gd name="T7" fmla="*/ 525 h 768"/>
                    <a:gd name="T8" fmla="*/ 0 w 633"/>
                    <a:gd name="T9" fmla="*/ 74 h 768"/>
                    <a:gd name="T10" fmla="*/ 232 w 633"/>
                    <a:gd name="T11" fmla="*/ 0 h 768"/>
                    <a:gd name="T12" fmla="*/ 232 w 633"/>
                    <a:gd name="T13" fmla="*/ 0 h 768"/>
                  </a:gdLst>
                  <a:ahLst/>
                  <a:cxnLst>
                    <a:cxn ang="0">
                      <a:pos x="T0" y="T1"/>
                    </a:cxn>
                    <a:cxn ang="0">
                      <a:pos x="T2" y="T3"/>
                    </a:cxn>
                    <a:cxn ang="0">
                      <a:pos x="T4" y="T5"/>
                    </a:cxn>
                    <a:cxn ang="0">
                      <a:pos x="T6" y="T7"/>
                    </a:cxn>
                    <a:cxn ang="0">
                      <a:pos x="T8" y="T9"/>
                    </a:cxn>
                    <a:cxn ang="0">
                      <a:pos x="T10" y="T11"/>
                    </a:cxn>
                    <a:cxn ang="0">
                      <a:pos x="T12" y="T13"/>
                    </a:cxn>
                  </a:cxnLst>
                  <a:rect l="0" t="0" r="r" b="b"/>
                  <a:pathLst>
                    <a:path w="633" h="768">
                      <a:moveTo>
                        <a:pt x="232" y="0"/>
                      </a:moveTo>
                      <a:cubicBezTo>
                        <a:pt x="452" y="0"/>
                        <a:pt x="632" y="179"/>
                        <a:pt x="632" y="400"/>
                      </a:cubicBezTo>
                      <a:cubicBezTo>
                        <a:pt x="632" y="565"/>
                        <a:pt x="531" y="706"/>
                        <a:pt x="389" y="767"/>
                      </a:cubicBezTo>
                      <a:cubicBezTo>
                        <a:pt x="389" y="767"/>
                        <a:pt x="389" y="767"/>
                        <a:pt x="0" y="525"/>
                      </a:cubicBezTo>
                      <a:cubicBezTo>
                        <a:pt x="0" y="525"/>
                        <a:pt x="0" y="525"/>
                        <a:pt x="0" y="74"/>
                      </a:cubicBezTo>
                      <a:cubicBezTo>
                        <a:pt x="66" y="27"/>
                        <a:pt x="146" y="0"/>
                        <a:pt x="232" y="0"/>
                      </a:cubicBezTo>
                      <a:lnTo>
                        <a:pt x="232" y="0"/>
                      </a:lnTo>
                    </a:path>
                  </a:pathLst>
                </a:custGeom>
                <a:solidFill>
                  <a:schemeClr val="accent5"/>
                </a:solidFill>
                <a:ln>
                  <a:noFill/>
                </a:ln>
                <a:effectLst/>
                <a:extLst>
                  <a:ext uri="{91240B29-F687-4F45-9708-019B960494DF}">
                    <a14:hiddenLine xmlns:a14="http://schemas.microsoft.com/office/drawing/2010/main" w="9525" cap="flat">
                      <a:solidFill>
                        <a:srgbClr val="474F59"/>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342892"/>
                  <a:endParaRPr lang="en-US" dirty="0">
                    <a:solidFill>
                      <a:srgbClr val="282828"/>
                    </a:solidFill>
                  </a:endParaRPr>
                </a:p>
              </p:txBody>
            </p:sp>
            <p:sp>
              <p:nvSpPr>
                <p:cNvPr id="80" name="Freeform 641">
                  <a:extLst>
                    <a:ext uri="{FF2B5EF4-FFF2-40B4-BE49-F238E27FC236}">
                      <a16:creationId xmlns:a16="http://schemas.microsoft.com/office/drawing/2014/main" id="{5E56AE6C-AE27-0B44-B86C-7542926FB1DB}"/>
                    </a:ext>
                  </a:extLst>
                </p:cNvPr>
                <p:cNvSpPr>
                  <a:spLocks noChangeArrowheads="1"/>
                </p:cNvSpPr>
                <p:nvPr/>
              </p:nvSpPr>
              <p:spPr bwMode="auto">
                <a:xfrm>
                  <a:off x="1078328" y="4117232"/>
                  <a:ext cx="279400" cy="261937"/>
                </a:xfrm>
                <a:custGeom>
                  <a:avLst/>
                  <a:gdLst>
                    <a:gd name="T0" fmla="*/ 544 w 777"/>
                    <a:gd name="T1" fmla="*/ 420 h 726"/>
                    <a:gd name="T2" fmla="*/ 776 w 777"/>
                    <a:gd name="T3" fmla="*/ 693 h 726"/>
                    <a:gd name="T4" fmla="*/ 619 w 777"/>
                    <a:gd name="T5" fmla="*/ 725 h 726"/>
                    <a:gd name="T6" fmla="*/ 387 w 777"/>
                    <a:gd name="T7" fmla="*/ 652 h 726"/>
                    <a:gd name="T8" fmla="*/ 156 w 777"/>
                    <a:gd name="T9" fmla="*/ 725 h 726"/>
                    <a:gd name="T10" fmla="*/ 0 w 777"/>
                    <a:gd name="T11" fmla="*/ 693 h 726"/>
                    <a:gd name="T12" fmla="*/ 231 w 777"/>
                    <a:gd name="T13" fmla="*/ 420 h 726"/>
                    <a:gd name="T14" fmla="*/ 219 w 777"/>
                    <a:gd name="T15" fmla="*/ 326 h 726"/>
                    <a:gd name="T16" fmla="*/ 387 w 777"/>
                    <a:gd name="T17" fmla="*/ 0 h 726"/>
                    <a:gd name="T18" fmla="*/ 556 w 777"/>
                    <a:gd name="T19" fmla="*/ 326 h 726"/>
                    <a:gd name="T20" fmla="*/ 544 w 777"/>
                    <a:gd name="T21" fmla="*/ 420 h 726"/>
                    <a:gd name="T22" fmla="*/ 544 w 777"/>
                    <a:gd name="T23" fmla="*/ 420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7" h="726">
                      <a:moveTo>
                        <a:pt x="544" y="420"/>
                      </a:moveTo>
                      <a:cubicBezTo>
                        <a:pt x="659" y="470"/>
                        <a:pt x="746" y="570"/>
                        <a:pt x="776" y="693"/>
                      </a:cubicBezTo>
                      <a:cubicBezTo>
                        <a:pt x="727" y="714"/>
                        <a:pt x="675" y="725"/>
                        <a:pt x="619" y="725"/>
                      </a:cubicBezTo>
                      <a:cubicBezTo>
                        <a:pt x="533" y="725"/>
                        <a:pt x="453" y="698"/>
                        <a:pt x="387" y="652"/>
                      </a:cubicBezTo>
                      <a:cubicBezTo>
                        <a:pt x="322" y="698"/>
                        <a:pt x="243" y="725"/>
                        <a:pt x="156" y="725"/>
                      </a:cubicBezTo>
                      <a:cubicBezTo>
                        <a:pt x="101" y="725"/>
                        <a:pt x="47" y="714"/>
                        <a:pt x="0" y="693"/>
                      </a:cubicBezTo>
                      <a:cubicBezTo>
                        <a:pt x="29" y="570"/>
                        <a:pt x="116" y="470"/>
                        <a:pt x="231" y="420"/>
                      </a:cubicBezTo>
                      <a:cubicBezTo>
                        <a:pt x="223" y="390"/>
                        <a:pt x="219" y="359"/>
                        <a:pt x="219" y="326"/>
                      </a:cubicBezTo>
                      <a:cubicBezTo>
                        <a:pt x="219" y="191"/>
                        <a:pt x="286" y="72"/>
                        <a:pt x="387" y="0"/>
                      </a:cubicBezTo>
                      <a:cubicBezTo>
                        <a:pt x="490" y="72"/>
                        <a:pt x="556" y="191"/>
                        <a:pt x="556" y="326"/>
                      </a:cubicBezTo>
                      <a:cubicBezTo>
                        <a:pt x="556" y="359"/>
                        <a:pt x="551" y="390"/>
                        <a:pt x="544" y="420"/>
                      </a:cubicBezTo>
                      <a:lnTo>
                        <a:pt x="544" y="420"/>
                      </a:lnTo>
                    </a:path>
                  </a:pathLst>
                </a:custGeom>
                <a:solidFill>
                  <a:schemeClr val="accent4"/>
                </a:solidFill>
                <a:ln>
                  <a:noFill/>
                </a:ln>
                <a:effectLst/>
                <a:extLst>
                  <a:ext uri="{91240B29-F687-4F45-9708-019B960494DF}">
                    <a14:hiddenLine xmlns:a14="http://schemas.microsoft.com/office/drawing/2010/main" w="9525" cap="flat">
                      <a:solidFill>
                        <a:srgbClr val="474F59"/>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342892"/>
                  <a:endParaRPr lang="en-US" dirty="0">
                    <a:solidFill>
                      <a:srgbClr val="282828"/>
                    </a:solidFill>
                  </a:endParaRPr>
                </a:p>
              </p:txBody>
            </p:sp>
            <p:sp>
              <p:nvSpPr>
                <p:cNvPr id="81" name="Freeform 642">
                  <a:extLst>
                    <a:ext uri="{FF2B5EF4-FFF2-40B4-BE49-F238E27FC236}">
                      <a16:creationId xmlns:a16="http://schemas.microsoft.com/office/drawing/2014/main" id="{A96B0BF5-79A9-CD40-88DB-EB117C006024}"/>
                    </a:ext>
                  </a:extLst>
                </p:cNvPr>
                <p:cNvSpPr>
                  <a:spLocks noChangeArrowheads="1"/>
                </p:cNvSpPr>
                <p:nvPr/>
              </p:nvSpPr>
              <p:spPr bwMode="auto">
                <a:xfrm>
                  <a:off x="1157287" y="4252912"/>
                  <a:ext cx="112712" cy="95250"/>
                </a:xfrm>
                <a:custGeom>
                  <a:avLst/>
                  <a:gdLst>
                    <a:gd name="T0" fmla="*/ 156 w 314"/>
                    <a:gd name="T1" fmla="*/ 263 h 264"/>
                    <a:gd name="T2" fmla="*/ 156 w 314"/>
                    <a:gd name="T3" fmla="*/ 263 h 264"/>
                    <a:gd name="T4" fmla="*/ 0 w 314"/>
                    <a:gd name="T5" fmla="*/ 31 h 264"/>
                    <a:gd name="T6" fmla="*/ 156 w 314"/>
                    <a:gd name="T7" fmla="*/ 0 h 264"/>
                    <a:gd name="T8" fmla="*/ 313 w 314"/>
                    <a:gd name="T9" fmla="*/ 31 h 264"/>
                    <a:gd name="T10" fmla="*/ 156 w 314"/>
                    <a:gd name="T11" fmla="*/ 263 h 264"/>
                  </a:gdLst>
                  <a:ahLst/>
                  <a:cxnLst>
                    <a:cxn ang="0">
                      <a:pos x="T0" y="T1"/>
                    </a:cxn>
                    <a:cxn ang="0">
                      <a:pos x="T2" y="T3"/>
                    </a:cxn>
                    <a:cxn ang="0">
                      <a:pos x="T4" y="T5"/>
                    </a:cxn>
                    <a:cxn ang="0">
                      <a:pos x="T6" y="T7"/>
                    </a:cxn>
                    <a:cxn ang="0">
                      <a:pos x="T8" y="T9"/>
                    </a:cxn>
                    <a:cxn ang="0">
                      <a:pos x="T10" y="T11"/>
                    </a:cxn>
                  </a:cxnLst>
                  <a:rect l="0" t="0" r="r" b="b"/>
                  <a:pathLst>
                    <a:path w="314" h="264">
                      <a:moveTo>
                        <a:pt x="156" y="263"/>
                      </a:moveTo>
                      <a:lnTo>
                        <a:pt x="156" y="263"/>
                      </a:lnTo>
                      <a:cubicBezTo>
                        <a:pt x="79" y="208"/>
                        <a:pt x="22" y="126"/>
                        <a:pt x="0" y="31"/>
                      </a:cubicBezTo>
                      <a:cubicBezTo>
                        <a:pt x="48" y="11"/>
                        <a:pt x="101" y="0"/>
                        <a:pt x="156" y="0"/>
                      </a:cubicBezTo>
                      <a:cubicBezTo>
                        <a:pt x="212" y="0"/>
                        <a:pt x="265" y="11"/>
                        <a:pt x="313" y="31"/>
                      </a:cubicBezTo>
                      <a:cubicBezTo>
                        <a:pt x="290" y="126"/>
                        <a:pt x="233" y="208"/>
                        <a:pt x="156" y="263"/>
                      </a:cubicBezTo>
                    </a:path>
                  </a:pathLst>
                </a:custGeom>
                <a:solidFill>
                  <a:schemeClr val="tx1"/>
                </a:solidFill>
                <a:ln>
                  <a:noFill/>
                </a:ln>
                <a:effectLst/>
                <a:extLst>
                  <a:ext uri="{91240B29-F687-4F45-9708-019B960494DF}">
                    <a14:hiddenLine xmlns:a14="http://schemas.microsoft.com/office/drawing/2010/main" w="9525" cap="flat">
                      <a:solidFill>
                        <a:srgbClr val="474F59"/>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342892"/>
                  <a:endParaRPr lang="en-US" dirty="0">
                    <a:solidFill>
                      <a:srgbClr val="282828"/>
                    </a:solidFill>
                  </a:endParaRPr>
                </a:p>
              </p:txBody>
            </p:sp>
          </p:grpSp>
        </p:grpSp>
        <p:grpSp>
          <p:nvGrpSpPr>
            <p:cNvPr id="103" name="Group 102">
              <a:extLst>
                <a:ext uri="{FF2B5EF4-FFF2-40B4-BE49-F238E27FC236}">
                  <a16:creationId xmlns:a16="http://schemas.microsoft.com/office/drawing/2014/main" id="{F7E6C213-C9B8-FA47-93CB-366348BEA085}"/>
                </a:ext>
              </a:extLst>
            </p:cNvPr>
            <p:cNvGrpSpPr/>
            <p:nvPr/>
          </p:nvGrpSpPr>
          <p:grpSpPr>
            <a:xfrm>
              <a:off x="3447671" y="3370034"/>
              <a:ext cx="1078992" cy="1078992"/>
              <a:chOff x="5938818" y="2083461"/>
              <a:chExt cx="647980" cy="647980"/>
            </a:xfrm>
          </p:grpSpPr>
          <p:sp>
            <p:nvSpPr>
              <p:cNvPr id="104" name="Oval 705">
                <a:extLst>
                  <a:ext uri="{FF2B5EF4-FFF2-40B4-BE49-F238E27FC236}">
                    <a16:creationId xmlns:a16="http://schemas.microsoft.com/office/drawing/2014/main" id="{D68F4B8A-DFEB-9C40-84C5-06D9D9A7E295}"/>
                  </a:ext>
                </a:extLst>
              </p:cNvPr>
              <p:cNvSpPr>
                <a:spLocks noChangeArrowheads="1"/>
              </p:cNvSpPr>
              <p:nvPr/>
            </p:nvSpPr>
            <p:spPr bwMode="auto">
              <a:xfrm>
                <a:off x="5938818" y="2083461"/>
                <a:ext cx="647980" cy="647980"/>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05" name="Freeform 706">
                <a:extLst>
                  <a:ext uri="{FF2B5EF4-FFF2-40B4-BE49-F238E27FC236}">
                    <a16:creationId xmlns:a16="http://schemas.microsoft.com/office/drawing/2014/main" id="{5BC52909-4F74-BA40-816F-5DA4FA3D20D9}"/>
                  </a:ext>
                </a:extLst>
              </p:cNvPr>
              <p:cNvSpPr>
                <a:spLocks/>
              </p:cNvSpPr>
              <p:nvPr/>
            </p:nvSpPr>
            <p:spPr bwMode="auto">
              <a:xfrm>
                <a:off x="6132812" y="2437450"/>
                <a:ext cx="443986" cy="293991"/>
              </a:xfrm>
              <a:custGeom>
                <a:avLst/>
                <a:gdLst>
                  <a:gd name="T0" fmla="*/ 170 w 188"/>
                  <a:gd name="T1" fmla="*/ 0 h 124"/>
                  <a:gd name="T2" fmla="*/ 170 w 188"/>
                  <a:gd name="T3" fmla="*/ 2 h 124"/>
                  <a:gd name="T4" fmla="*/ 168 w 188"/>
                  <a:gd name="T5" fmla="*/ 8 h 124"/>
                  <a:gd name="T6" fmla="*/ 161 w 188"/>
                  <a:gd name="T7" fmla="*/ 12 h 124"/>
                  <a:gd name="T8" fmla="*/ 154 w 188"/>
                  <a:gd name="T9" fmla="*/ 9 h 124"/>
                  <a:gd name="T10" fmla="*/ 149 w 188"/>
                  <a:gd name="T11" fmla="*/ 4 h 124"/>
                  <a:gd name="T12" fmla="*/ 131 w 188"/>
                  <a:gd name="T13" fmla="*/ 51 h 124"/>
                  <a:gd name="T14" fmla="*/ 68 w 188"/>
                  <a:gd name="T15" fmla="*/ 88 h 124"/>
                  <a:gd name="T16" fmla="*/ 55 w 188"/>
                  <a:gd name="T17" fmla="*/ 89 h 124"/>
                  <a:gd name="T18" fmla="*/ 0 w 188"/>
                  <a:gd name="T19" fmla="*/ 72 h 124"/>
                  <a:gd name="T20" fmla="*/ 54 w 188"/>
                  <a:gd name="T21" fmla="*/ 124 h 124"/>
                  <a:gd name="T22" fmla="*/ 55 w 188"/>
                  <a:gd name="T23" fmla="*/ 124 h 124"/>
                  <a:gd name="T24" fmla="*/ 188 w 188"/>
                  <a:gd name="T25" fmla="*/ 18 h 124"/>
                  <a:gd name="T26" fmla="*/ 170 w 188"/>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24">
                    <a:moveTo>
                      <a:pt x="170" y="0"/>
                    </a:moveTo>
                    <a:cubicBezTo>
                      <a:pt x="170" y="0"/>
                      <a:pt x="170" y="1"/>
                      <a:pt x="170" y="2"/>
                    </a:cubicBezTo>
                    <a:cubicBezTo>
                      <a:pt x="170" y="4"/>
                      <a:pt x="170" y="7"/>
                      <a:pt x="168" y="8"/>
                    </a:cubicBezTo>
                    <a:cubicBezTo>
                      <a:pt x="166" y="10"/>
                      <a:pt x="164" y="12"/>
                      <a:pt x="161" y="12"/>
                    </a:cubicBezTo>
                    <a:cubicBezTo>
                      <a:pt x="158" y="12"/>
                      <a:pt x="156" y="11"/>
                      <a:pt x="154" y="9"/>
                    </a:cubicBezTo>
                    <a:cubicBezTo>
                      <a:pt x="149" y="4"/>
                      <a:pt x="149" y="4"/>
                      <a:pt x="149" y="4"/>
                    </a:cubicBezTo>
                    <a:cubicBezTo>
                      <a:pt x="148" y="21"/>
                      <a:pt x="141" y="38"/>
                      <a:pt x="131" y="51"/>
                    </a:cubicBezTo>
                    <a:cubicBezTo>
                      <a:pt x="116" y="72"/>
                      <a:pt x="93" y="85"/>
                      <a:pt x="68" y="88"/>
                    </a:cubicBezTo>
                    <a:cubicBezTo>
                      <a:pt x="64" y="89"/>
                      <a:pt x="60" y="89"/>
                      <a:pt x="55" y="89"/>
                    </a:cubicBezTo>
                    <a:cubicBezTo>
                      <a:pt x="35" y="89"/>
                      <a:pt x="16" y="83"/>
                      <a:pt x="0" y="72"/>
                    </a:cubicBezTo>
                    <a:cubicBezTo>
                      <a:pt x="54" y="124"/>
                      <a:pt x="54" y="124"/>
                      <a:pt x="54" y="124"/>
                    </a:cubicBezTo>
                    <a:cubicBezTo>
                      <a:pt x="54" y="124"/>
                      <a:pt x="55" y="124"/>
                      <a:pt x="55" y="124"/>
                    </a:cubicBezTo>
                    <a:cubicBezTo>
                      <a:pt x="120" y="124"/>
                      <a:pt x="175" y="79"/>
                      <a:pt x="188" y="18"/>
                    </a:cubicBezTo>
                    <a:cubicBezTo>
                      <a:pt x="170" y="0"/>
                      <a:pt x="170" y="0"/>
                      <a:pt x="170" y="0"/>
                    </a:cubicBezTo>
                  </a:path>
                </a:pathLst>
              </a:custGeom>
              <a:solidFill>
                <a:srgbClr val="003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06" name="Freeform 707">
                <a:extLst>
                  <a:ext uri="{FF2B5EF4-FFF2-40B4-BE49-F238E27FC236}">
                    <a16:creationId xmlns:a16="http://schemas.microsoft.com/office/drawing/2014/main" id="{6258D0FC-988E-B345-B46E-01CB15D2D1A1}"/>
                  </a:ext>
                </a:extLst>
              </p:cNvPr>
              <p:cNvSpPr>
                <a:spLocks/>
              </p:cNvSpPr>
              <p:nvPr/>
            </p:nvSpPr>
            <p:spPr bwMode="auto">
              <a:xfrm>
                <a:off x="5987816" y="2156459"/>
                <a:ext cx="484985" cy="283991"/>
              </a:xfrm>
              <a:custGeom>
                <a:avLst/>
                <a:gdLst>
                  <a:gd name="T0" fmla="*/ 25 w 205"/>
                  <a:gd name="T1" fmla="*/ 119 h 120"/>
                  <a:gd name="T2" fmla="*/ 25 w 205"/>
                  <a:gd name="T3" fmla="*/ 119 h 120"/>
                  <a:gd name="T4" fmla="*/ 26 w 205"/>
                  <a:gd name="T5" fmla="*/ 119 h 120"/>
                  <a:gd name="T6" fmla="*/ 26 w 205"/>
                  <a:gd name="T7" fmla="*/ 119 h 120"/>
                  <a:gd name="T8" fmla="*/ 27 w 205"/>
                  <a:gd name="T9" fmla="*/ 119 h 120"/>
                  <a:gd name="T10" fmla="*/ 27 w 205"/>
                  <a:gd name="T11" fmla="*/ 120 h 120"/>
                  <a:gd name="T12" fmla="*/ 27 w 205"/>
                  <a:gd name="T13" fmla="*/ 120 h 120"/>
                  <a:gd name="T14" fmla="*/ 27 w 205"/>
                  <a:gd name="T15" fmla="*/ 120 h 120"/>
                  <a:gd name="T16" fmla="*/ 28 w 205"/>
                  <a:gd name="T17" fmla="*/ 120 h 120"/>
                  <a:gd name="T18" fmla="*/ 28 w 205"/>
                  <a:gd name="T19" fmla="*/ 120 h 120"/>
                  <a:gd name="T20" fmla="*/ 28 w 205"/>
                  <a:gd name="T21" fmla="*/ 120 h 120"/>
                  <a:gd name="T22" fmla="*/ 28 w 205"/>
                  <a:gd name="T23" fmla="*/ 120 h 120"/>
                  <a:gd name="T24" fmla="*/ 30 w 205"/>
                  <a:gd name="T25" fmla="*/ 120 h 120"/>
                  <a:gd name="T26" fmla="*/ 30 w 205"/>
                  <a:gd name="T27" fmla="*/ 120 h 120"/>
                  <a:gd name="T28" fmla="*/ 31 w 205"/>
                  <a:gd name="T29" fmla="*/ 120 h 120"/>
                  <a:gd name="T30" fmla="*/ 31 w 205"/>
                  <a:gd name="T31" fmla="*/ 120 h 120"/>
                  <a:gd name="T32" fmla="*/ 32 w 205"/>
                  <a:gd name="T33" fmla="*/ 120 h 120"/>
                  <a:gd name="T34" fmla="*/ 32 w 205"/>
                  <a:gd name="T35" fmla="*/ 120 h 120"/>
                  <a:gd name="T36" fmla="*/ 32 w 205"/>
                  <a:gd name="T37" fmla="*/ 120 h 120"/>
                  <a:gd name="T38" fmla="*/ 33 w 205"/>
                  <a:gd name="T39" fmla="*/ 120 h 120"/>
                  <a:gd name="T40" fmla="*/ 33 w 205"/>
                  <a:gd name="T41" fmla="*/ 120 h 120"/>
                  <a:gd name="T42" fmla="*/ 33 w 205"/>
                  <a:gd name="T43" fmla="*/ 120 h 120"/>
                  <a:gd name="T44" fmla="*/ 34 w 205"/>
                  <a:gd name="T45" fmla="*/ 119 h 120"/>
                  <a:gd name="T46" fmla="*/ 34 w 205"/>
                  <a:gd name="T47" fmla="*/ 119 h 120"/>
                  <a:gd name="T48" fmla="*/ 34 w 205"/>
                  <a:gd name="T49" fmla="*/ 119 h 120"/>
                  <a:gd name="T50" fmla="*/ 35 w 205"/>
                  <a:gd name="T51" fmla="*/ 119 h 120"/>
                  <a:gd name="T52" fmla="*/ 35 w 205"/>
                  <a:gd name="T53" fmla="*/ 119 h 120"/>
                  <a:gd name="T54" fmla="*/ 36 w 205"/>
                  <a:gd name="T55" fmla="*/ 118 h 120"/>
                  <a:gd name="T56" fmla="*/ 36 w 205"/>
                  <a:gd name="T57" fmla="*/ 118 h 120"/>
                  <a:gd name="T58" fmla="*/ 36 w 205"/>
                  <a:gd name="T59" fmla="*/ 118 h 120"/>
                  <a:gd name="T60" fmla="*/ 36 w 205"/>
                  <a:gd name="T61" fmla="*/ 118 h 120"/>
                  <a:gd name="T62" fmla="*/ 57 w 205"/>
                  <a:gd name="T63" fmla="*/ 97 h 120"/>
                  <a:gd name="T64" fmla="*/ 57 w 205"/>
                  <a:gd name="T65" fmla="*/ 85 h 120"/>
                  <a:gd name="T66" fmla="*/ 45 w 205"/>
                  <a:gd name="T67" fmla="*/ 85 h 120"/>
                  <a:gd name="T68" fmla="*/ 39 w 205"/>
                  <a:gd name="T69" fmla="*/ 90 h 120"/>
                  <a:gd name="T70" fmla="*/ 53 w 205"/>
                  <a:gd name="T71" fmla="*/ 53 h 120"/>
                  <a:gd name="T72" fmla="*/ 104 w 205"/>
                  <a:gd name="T73" fmla="*/ 24 h 120"/>
                  <a:gd name="T74" fmla="*/ 186 w 205"/>
                  <a:gd name="T75" fmla="*/ 74 h 120"/>
                  <a:gd name="T76" fmla="*/ 198 w 205"/>
                  <a:gd name="T77" fmla="*/ 79 h 120"/>
                  <a:gd name="T78" fmla="*/ 203 w 205"/>
                  <a:gd name="T79" fmla="*/ 68 h 120"/>
                  <a:gd name="T80" fmla="*/ 101 w 205"/>
                  <a:gd name="T81" fmla="*/ 6 h 120"/>
                  <a:gd name="T82" fmla="*/ 39 w 205"/>
                  <a:gd name="T83" fmla="*/ 43 h 120"/>
                  <a:gd name="T84" fmla="*/ 21 w 205"/>
                  <a:gd name="T85" fmla="*/ 89 h 120"/>
                  <a:gd name="T86" fmla="*/ 16 w 205"/>
                  <a:gd name="T87" fmla="*/ 84 h 120"/>
                  <a:gd name="T88" fmla="*/ 3 w 205"/>
                  <a:gd name="T89" fmla="*/ 84 h 120"/>
                  <a:gd name="T90" fmla="*/ 3 w 205"/>
                  <a:gd name="T91" fmla="*/ 97 h 120"/>
                  <a:gd name="T92" fmla="*/ 24 w 205"/>
                  <a:gd name="T93" fmla="*/ 117 h 120"/>
                  <a:gd name="T94" fmla="*/ 24 w 205"/>
                  <a:gd name="T95" fmla="*/ 118 h 120"/>
                  <a:gd name="T96" fmla="*/ 25 w 205"/>
                  <a:gd name="T97" fmla="*/ 118 h 120"/>
                  <a:gd name="T98" fmla="*/ 25 w 205"/>
                  <a:gd name="T9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5" h="120">
                    <a:moveTo>
                      <a:pt x="25" y="119"/>
                    </a:moveTo>
                    <a:cubicBezTo>
                      <a:pt x="25" y="119"/>
                      <a:pt x="25" y="119"/>
                      <a:pt x="25" y="119"/>
                    </a:cubicBezTo>
                    <a:cubicBezTo>
                      <a:pt x="26" y="119"/>
                      <a:pt x="26" y="119"/>
                      <a:pt x="26" y="119"/>
                    </a:cubicBezTo>
                    <a:cubicBezTo>
                      <a:pt x="26" y="119"/>
                      <a:pt x="26" y="119"/>
                      <a:pt x="26" y="119"/>
                    </a:cubicBezTo>
                    <a:cubicBezTo>
                      <a:pt x="27" y="119"/>
                      <a:pt x="27" y="119"/>
                      <a:pt x="27" y="119"/>
                    </a:cubicBezTo>
                    <a:cubicBezTo>
                      <a:pt x="27" y="120"/>
                      <a:pt x="27" y="120"/>
                      <a:pt x="27" y="120"/>
                    </a:cubicBezTo>
                    <a:cubicBezTo>
                      <a:pt x="27" y="120"/>
                      <a:pt x="27" y="120"/>
                      <a:pt x="27" y="120"/>
                    </a:cubicBezTo>
                    <a:cubicBezTo>
                      <a:pt x="27" y="120"/>
                      <a:pt x="27" y="120"/>
                      <a:pt x="27" y="120"/>
                    </a:cubicBezTo>
                    <a:cubicBezTo>
                      <a:pt x="28" y="120"/>
                      <a:pt x="28" y="120"/>
                      <a:pt x="28" y="120"/>
                    </a:cubicBezTo>
                    <a:cubicBezTo>
                      <a:pt x="28" y="120"/>
                      <a:pt x="28" y="120"/>
                      <a:pt x="28" y="120"/>
                    </a:cubicBezTo>
                    <a:cubicBezTo>
                      <a:pt x="28" y="120"/>
                      <a:pt x="28" y="120"/>
                      <a:pt x="28" y="120"/>
                    </a:cubicBezTo>
                    <a:cubicBezTo>
                      <a:pt x="28" y="120"/>
                      <a:pt x="28" y="120"/>
                      <a:pt x="28" y="120"/>
                    </a:cubicBezTo>
                    <a:cubicBezTo>
                      <a:pt x="29" y="120"/>
                      <a:pt x="30" y="120"/>
                      <a:pt x="30" y="120"/>
                    </a:cubicBezTo>
                    <a:cubicBezTo>
                      <a:pt x="30" y="120"/>
                      <a:pt x="30" y="120"/>
                      <a:pt x="30" y="120"/>
                    </a:cubicBezTo>
                    <a:cubicBezTo>
                      <a:pt x="30" y="120"/>
                      <a:pt x="31" y="120"/>
                      <a:pt x="31" y="120"/>
                    </a:cubicBezTo>
                    <a:cubicBezTo>
                      <a:pt x="31" y="120"/>
                      <a:pt x="31" y="120"/>
                      <a:pt x="31" y="120"/>
                    </a:cubicBezTo>
                    <a:cubicBezTo>
                      <a:pt x="32" y="120"/>
                      <a:pt x="32" y="120"/>
                      <a:pt x="32" y="120"/>
                    </a:cubicBezTo>
                    <a:cubicBezTo>
                      <a:pt x="32" y="120"/>
                      <a:pt x="32" y="120"/>
                      <a:pt x="32" y="120"/>
                    </a:cubicBezTo>
                    <a:cubicBezTo>
                      <a:pt x="32" y="120"/>
                      <a:pt x="32" y="120"/>
                      <a:pt x="32" y="120"/>
                    </a:cubicBezTo>
                    <a:cubicBezTo>
                      <a:pt x="33" y="120"/>
                      <a:pt x="33" y="120"/>
                      <a:pt x="33" y="120"/>
                    </a:cubicBezTo>
                    <a:cubicBezTo>
                      <a:pt x="33" y="120"/>
                      <a:pt x="33" y="120"/>
                      <a:pt x="33" y="120"/>
                    </a:cubicBezTo>
                    <a:cubicBezTo>
                      <a:pt x="33" y="120"/>
                      <a:pt x="33" y="120"/>
                      <a:pt x="33" y="120"/>
                    </a:cubicBezTo>
                    <a:cubicBezTo>
                      <a:pt x="34" y="119"/>
                      <a:pt x="34" y="119"/>
                      <a:pt x="34" y="119"/>
                    </a:cubicBezTo>
                    <a:cubicBezTo>
                      <a:pt x="34" y="119"/>
                      <a:pt x="34" y="119"/>
                      <a:pt x="34" y="119"/>
                    </a:cubicBezTo>
                    <a:cubicBezTo>
                      <a:pt x="34" y="119"/>
                      <a:pt x="34" y="119"/>
                      <a:pt x="34" y="119"/>
                    </a:cubicBezTo>
                    <a:cubicBezTo>
                      <a:pt x="35" y="119"/>
                      <a:pt x="35" y="119"/>
                      <a:pt x="35" y="119"/>
                    </a:cubicBezTo>
                    <a:cubicBezTo>
                      <a:pt x="35" y="119"/>
                      <a:pt x="35" y="119"/>
                      <a:pt x="35" y="119"/>
                    </a:cubicBezTo>
                    <a:cubicBezTo>
                      <a:pt x="36" y="118"/>
                      <a:pt x="36" y="118"/>
                      <a:pt x="36" y="118"/>
                    </a:cubicBezTo>
                    <a:cubicBezTo>
                      <a:pt x="36" y="118"/>
                      <a:pt x="36" y="118"/>
                      <a:pt x="36" y="118"/>
                    </a:cubicBezTo>
                    <a:cubicBezTo>
                      <a:pt x="36" y="118"/>
                      <a:pt x="36" y="118"/>
                      <a:pt x="36" y="118"/>
                    </a:cubicBezTo>
                    <a:cubicBezTo>
                      <a:pt x="36" y="118"/>
                      <a:pt x="36" y="118"/>
                      <a:pt x="36" y="118"/>
                    </a:cubicBezTo>
                    <a:cubicBezTo>
                      <a:pt x="57" y="97"/>
                      <a:pt x="57" y="97"/>
                      <a:pt x="57" y="97"/>
                    </a:cubicBezTo>
                    <a:cubicBezTo>
                      <a:pt x="61" y="94"/>
                      <a:pt x="61" y="88"/>
                      <a:pt x="57" y="85"/>
                    </a:cubicBezTo>
                    <a:cubicBezTo>
                      <a:pt x="54" y="81"/>
                      <a:pt x="48" y="81"/>
                      <a:pt x="45" y="85"/>
                    </a:cubicBezTo>
                    <a:cubicBezTo>
                      <a:pt x="39" y="90"/>
                      <a:pt x="39" y="90"/>
                      <a:pt x="39" y="90"/>
                    </a:cubicBezTo>
                    <a:cubicBezTo>
                      <a:pt x="40" y="77"/>
                      <a:pt x="45" y="64"/>
                      <a:pt x="53" y="53"/>
                    </a:cubicBezTo>
                    <a:cubicBezTo>
                      <a:pt x="66" y="37"/>
                      <a:pt x="84" y="27"/>
                      <a:pt x="104" y="24"/>
                    </a:cubicBezTo>
                    <a:cubicBezTo>
                      <a:pt x="139" y="19"/>
                      <a:pt x="174" y="40"/>
                      <a:pt x="186" y="74"/>
                    </a:cubicBezTo>
                    <a:cubicBezTo>
                      <a:pt x="188" y="78"/>
                      <a:pt x="193" y="81"/>
                      <a:pt x="198" y="79"/>
                    </a:cubicBezTo>
                    <a:cubicBezTo>
                      <a:pt x="202" y="77"/>
                      <a:pt x="205" y="72"/>
                      <a:pt x="203" y="68"/>
                    </a:cubicBezTo>
                    <a:cubicBezTo>
                      <a:pt x="188" y="26"/>
                      <a:pt x="145" y="0"/>
                      <a:pt x="101" y="6"/>
                    </a:cubicBezTo>
                    <a:cubicBezTo>
                      <a:pt x="76" y="10"/>
                      <a:pt x="54" y="23"/>
                      <a:pt x="39" y="43"/>
                    </a:cubicBezTo>
                    <a:cubicBezTo>
                      <a:pt x="29" y="57"/>
                      <a:pt x="23" y="73"/>
                      <a:pt x="21" y="89"/>
                    </a:cubicBezTo>
                    <a:cubicBezTo>
                      <a:pt x="16" y="84"/>
                      <a:pt x="16" y="84"/>
                      <a:pt x="16" y="84"/>
                    </a:cubicBezTo>
                    <a:cubicBezTo>
                      <a:pt x="13" y="81"/>
                      <a:pt x="7" y="81"/>
                      <a:pt x="3" y="84"/>
                    </a:cubicBezTo>
                    <a:cubicBezTo>
                      <a:pt x="0" y="88"/>
                      <a:pt x="0" y="93"/>
                      <a:pt x="3" y="97"/>
                    </a:cubicBezTo>
                    <a:cubicBezTo>
                      <a:pt x="24" y="117"/>
                      <a:pt x="24" y="117"/>
                      <a:pt x="24" y="117"/>
                    </a:cubicBezTo>
                    <a:cubicBezTo>
                      <a:pt x="24" y="118"/>
                      <a:pt x="24" y="118"/>
                      <a:pt x="24" y="118"/>
                    </a:cubicBezTo>
                    <a:cubicBezTo>
                      <a:pt x="25" y="118"/>
                      <a:pt x="25" y="118"/>
                      <a:pt x="25" y="118"/>
                    </a:cubicBezTo>
                    <a:cubicBezTo>
                      <a:pt x="25" y="119"/>
                      <a:pt x="25" y="119"/>
                      <a:pt x="25" y="1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07" name="Freeform 708">
                <a:extLst>
                  <a:ext uri="{FF2B5EF4-FFF2-40B4-BE49-F238E27FC236}">
                    <a16:creationId xmlns:a16="http://schemas.microsoft.com/office/drawing/2014/main" id="{5DA3BFCB-3DBA-7840-82D9-0298ECB2965C}"/>
                  </a:ext>
                </a:extLst>
              </p:cNvPr>
              <p:cNvSpPr>
                <a:spLocks noEditPoints="1"/>
              </p:cNvSpPr>
              <p:nvPr/>
            </p:nvSpPr>
            <p:spPr bwMode="auto">
              <a:xfrm>
                <a:off x="5987816" y="2154459"/>
                <a:ext cx="484985" cy="287991"/>
              </a:xfrm>
              <a:custGeom>
                <a:avLst/>
                <a:gdLst>
                  <a:gd name="T0" fmla="*/ 28 w 205"/>
                  <a:gd name="T1" fmla="*/ 122 h 122"/>
                  <a:gd name="T2" fmla="*/ 27 w 205"/>
                  <a:gd name="T3" fmla="*/ 121 h 122"/>
                  <a:gd name="T4" fmla="*/ 27 w 205"/>
                  <a:gd name="T5" fmla="*/ 121 h 122"/>
                  <a:gd name="T6" fmla="*/ 26 w 205"/>
                  <a:gd name="T7" fmla="*/ 121 h 122"/>
                  <a:gd name="T8" fmla="*/ 25 w 205"/>
                  <a:gd name="T9" fmla="*/ 120 h 122"/>
                  <a:gd name="T10" fmla="*/ 24 w 205"/>
                  <a:gd name="T11" fmla="*/ 120 h 122"/>
                  <a:gd name="T12" fmla="*/ 23 w 205"/>
                  <a:gd name="T13" fmla="*/ 119 h 122"/>
                  <a:gd name="T14" fmla="*/ 0 w 205"/>
                  <a:gd name="T15" fmla="*/ 92 h 122"/>
                  <a:gd name="T16" fmla="*/ 10 w 205"/>
                  <a:gd name="T17" fmla="*/ 82 h 122"/>
                  <a:gd name="T18" fmla="*/ 20 w 205"/>
                  <a:gd name="T19" fmla="*/ 89 h 122"/>
                  <a:gd name="T20" fmla="*/ 101 w 205"/>
                  <a:gd name="T21" fmla="*/ 7 h 122"/>
                  <a:gd name="T22" fmla="*/ 198 w 205"/>
                  <a:gd name="T23" fmla="*/ 81 h 122"/>
                  <a:gd name="T24" fmla="*/ 186 w 205"/>
                  <a:gd name="T25" fmla="*/ 75 h 122"/>
                  <a:gd name="T26" fmla="*/ 54 w 205"/>
                  <a:gd name="T27" fmla="*/ 55 h 122"/>
                  <a:gd name="T28" fmla="*/ 44 w 205"/>
                  <a:gd name="T29" fmla="*/ 85 h 122"/>
                  <a:gd name="T30" fmla="*/ 51 w 205"/>
                  <a:gd name="T31" fmla="*/ 82 h 122"/>
                  <a:gd name="T32" fmla="*/ 58 w 205"/>
                  <a:gd name="T33" fmla="*/ 99 h 122"/>
                  <a:gd name="T34" fmla="*/ 36 w 205"/>
                  <a:gd name="T35" fmla="*/ 120 h 122"/>
                  <a:gd name="T36" fmla="*/ 36 w 205"/>
                  <a:gd name="T37" fmla="*/ 120 h 122"/>
                  <a:gd name="T38" fmla="*/ 35 w 205"/>
                  <a:gd name="T39" fmla="*/ 121 h 122"/>
                  <a:gd name="T40" fmla="*/ 34 w 205"/>
                  <a:gd name="T41" fmla="*/ 121 h 122"/>
                  <a:gd name="T42" fmla="*/ 33 w 205"/>
                  <a:gd name="T43" fmla="*/ 121 h 122"/>
                  <a:gd name="T44" fmla="*/ 33 w 205"/>
                  <a:gd name="T45" fmla="*/ 121 h 122"/>
                  <a:gd name="T46" fmla="*/ 32 w 205"/>
                  <a:gd name="T47" fmla="*/ 122 h 122"/>
                  <a:gd name="T48" fmla="*/ 30 w 205"/>
                  <a:gd name="T49" fmla="*/ 122 h 122"/>
                  <a:gd name="T50" fmla="*/ 28 w 205"/>
                  <a:gd name="T51" fmla="*/ 120 h 122"/>
                  <a:gd name="T52" fmla="*/ 29 w 205"/>
                  <a:gd name="T53" fmla="*/ 120 h 122"/>
                  <a:gd name="T54" fmla="*/ 31 w 205"/>
                  <a:gd name="T55" fmla="*/ 120 h 122"/>
                  <a:gd name="T56" fmla="*/ 32 w 205"/>
                  <a:gd name="T57" fmla="*/ 120 h 122"/>
                  <a:gd name="T58" fmla="*/ 33 w 205"/>
                  <a:gd name="T59" fmla="*/ 120 h 122"/>
                  <a:gd name="T60" fmla="*/ 33 w 205"/>
                  <a:gd name="T61" fmla="*/ 120 h 122"/>
                  <a:gd name="T62" fmla="*/ 34 w 205"/>
                  <a:gd name="T63" fmla="*/ 119 h 122"/>
                  <a:gd name="T64" fmla="*/ 35 w 205"/>
                  <a:gd name="T65" fmla="*/ 119 h 122"/>
                  <a:gd name="T66" fmla="*/ 35 w 205"/>
                  <a:gd name="T67" fmla="*/ 119 h 122"/>
                  <a:gd name="T68" fmla="*/ 36 w 205"/>
                  <a:gd name="T69" fmla="*/ 118 h 122"/>
                  <a:gd name="T70" fmla="*/ 57 w 205"/>
                  <a:gd name="T71" fmla="*/ 86 h 122"/>
                  <a:gd name="T72" fmla="*/ 51 w 205"/>
                  <a:gd name="T73" fmla="*/ 84 h 122"/>
                  <a:gd name="T74" fmla="*/ 38 w 205"/>
                  <a:gd name="T75" fmla="*/ 93 h 122"/>
                  <a:gd name="T76" fmla="*/ 53 w 205"/>
                  <a:gd name="T77" fmla="*/ 54 h 122"/>
                  <a:gd name="T78" fmla="*/ 187 w 205"/>
                  <a:gd name="T79" fmla="*/ 74 h 122"/>
                  <a:gd name="T80" fmla="*/ 198 w 205"/>
                  <a:gd name="T81" fmla="*/ 79 h 122"/>
                  <a:gd name="T82" fmla="*/ 101 w 205"/>
                  <a:gd name="T83" fmla="*/ 8 h 122"/>
                  <a:gd name="T84" fmla="*/ 21 w 205"/>
                  <a:gd name="T85" fmla="*/ 90 h 122"/>
                  <a:gd name="T86" fmla="*/ 16 w 205"/>
                  <a:gd name="T87" fmla="*/ 86 h 122"/>
                  <a:gd name="T88" fmla="*/ 10 w 205"/>
                  <a:gd name="T89" fmla="*/ 83 h 122"/>
                  <a:gd name="T90" fmla="*/ 1 w 205"/>
                  <a:gd name="T91" fmla="*/ 92 h 122"/>
                  <a:gd name="T92" fmla="*/ 24 w 205"/>
                  <a:gd name="T93" fmla="*/ 118 h 122"/>
                  <a:gd name="T94" fmla="*/ 25 w 205"/>
                  <a:gd name="T95" fmla="*/ 119 h 122"/>
                  <a:gd name="T96" fmla="*/ 25 w 205"/>
                  <a:gd name="T97" fmla="*/ 119 h 122"/>
                  <a:gd name="T98" fmla="*/ 26 w 205"/>
                  <a:gd name="T99" fmla="*/ 120 h 122"/>
                  <a:gd name="T100" fmla="*/ 27 w 205"/>
                  <a:gd name="T101" fmla="*/ 120 h 122"/>
                  <a:gd name="T102" fmla="*/ 28 w 205"/>
                  <a:gd name="T103" fmla="*/ 120 h 122"/>
                  <a:gd name="T104" fmla="*/ 28 w 205"/>
                  <a:gd name="T105"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122">
                    <a:moveTo>
                      <a:pt x="30" y="122"/>
                    </a:moveTo>
                    <a:cubicBezTo>
                      <a:pt x="29" y="122"/>
                      <a:pt x="29" y="122"/>
                      <a:pt x="28" y="122"/>
                    </a:cubicBezTo>
                    <a:cubicBezTo>
                      <a:pt x="28" y="122"/>
                      <a:pt x="28" y="122"/>
                      <a:pt x="28" y="122"/>
                    </a:cubicBezTo>
                    <a:cubicBezTo>
                      <a:pt x="27" y="121"/>
                      <a:pt x="27" y="121"/>
                      <a:pt x="27" y="121"/>
                    </a:cubicBezTo>
                    <a:cubicBezTo>
                      <a:pt x="27" y="121"/>
                      <a:pt x="27" y="121"/>
                      <a:pt x="27" y="121"/>
                    </a:cubicBezTo>
                    <a:cubicBezTo>
                      <a:pt x="27" y="121"/>
                      <a:pt x="27" y="121"/>
                      <a:pt x="27" y="121"/>
                    </a:cubicBezTo>
                    <a:cubicBezTo>
                      <a:pt x="26" y="121"/>
                      <a:pt x="26" y="121"/>
                      <a:pt x="26" y="121"/>
                    </a:cubicBezTo>
                    <a:cubicBezTo>
                      <a:pt x="26" y="121"/>
                      <a:pt x="26" y="121"/>
                      <a:pt x="26" y="121"/>
                    </a:cubicBezTo>
                    <a:cubicBezTo>
                      <a:pt x="25" y="121"/>
                      <a:pt x="25" y="121"/>
                      <a:pt x="25" y="121"/>
                    </a:cubicBezTo>
                    <a:cubicBezTo>
                      <a:pt x="25" y="120"/>
                      <a:pt x="25" y="120"/>
                      <a:pt x="25" y="120"/>
                    </a:cubicBezTo>
                    <a:cubicBezTo>
                      <a:pt x="25" y="120"/>
                      <a:pt x="25" y="120"/>
                      <a:pt x="25" y="120"/>
                    </a:cubicBezTo>
                    <a:cubicBezTo>
                      <a:pt x="24" y="120"/>
                      <a:pt x="24" y="120"/>
                      <a:pt x="24" y="120"/>
                    </a:cubicBezTo>
                    <a:cubicBezTo>
                      <a:pt x="24" y="120"/>
                      <a:pt x="24" y="120"/>
                      <a:pt x="24" y="120"/>
                    </a:cubicBezTo>
                    <a:cubicBezTo>
                      <a:pt x="23" y="119"/>
                      <a:pt x="23" y="119"/>
                      <a:pt x="23" y="119"/>
                    </a:cubicBezTo>
                    <a:cubicBezTo>
                      <a:pt x="3" y="98"/>
                      <a:pt x="3" y="98"/>
                      <a:pt x="3" y="98"/>
                    </a:cubicBezTo>
                    <a:cubicBezTo>
                      <a:pt x="1" y="96"/>
                      <a:pt x="0" y="94"/>
                      <a:pt x="0" y="92"/>
                    </a:cubicBezTo>
                    <a:cubicBezTo>
                      <a:pt x="0" y="89"/>
                      <a:pt x="1" y="87"/>
                      <a:pt x="3" y="85"/>
                    </a:cubicBezTo>
                    <a:cubicBezTo>
                      <a:pt x="5" y="83"/>
                      <a:pt x="7" y="82"/>
                      <a:pt x="10" y="82"/>
                    </a:cubicBezTo>
                    <a:cubicBezTo>
                      <a:pt x="12" y="82"/>
                      <a:pt x="15" y="83"/>
                      <a:pt x="16" y="85"/>
                    </a:cubicBezTo>
                    <a:cubicBezTo>
                      <a:pt x="20" y="89"/>
                      <a:pt x="20" y="89"/>
                      <a:pt x="20" y="89"/>
                    </a:cubicBezTo>
                    <a:cubicBezTo>
                      <a:pt x="22" y="72"/>
                      <a:pt x="29" y="57"/>
                      <a:pt x="39" y="43"/>
                    </a:cubicBezTo>
                    <a:cubicBezTo>
                      <a:pt x="54" y="23"/>
                      <a:pt x="76" y="10"/>
                      <a:pt x="101" y="7"/>
                    </a:cubicBezTo>
                    <a:cubicBezTo>
                      <a:pt x="146" y="0"/>
                      <a:pt x="189" y="26"/>
                      <a:pt x="204" y="68"/>
                    </a:cubicBezTo>
                    <a:cubicBezTo>
                      <a:pt x="205" y="73"/>
                      <a:pt x="203" y="79"/>
                      <a:pt x="198" y="81"/>
                    </a:cubicBezTo>
                    <a:cubicBezTo>
                      <a:pt x="196" y="81"/>
                      <a:pt x="193" y="81"/>
                      <a:pt x="191" y="80"/>
                    </a:cubicBezTo>
                    <a:cubicBezTo>
                      <a:pt x="188" y="79"/>
                      <a:pt x="187" y="77"/>
                      <a:pt x="186" y="75"/>
                    </a:cubicBezTo>
                    <a:cubicBezTo>
                      <a:pt x="174" y="41"/>
                      <a:pt x="139" y="20"/>
                      <a:pt x="104" y="25"/>
                    </a:cubicBezTo>
                    <a:cubicBezTo>
                      <a:pt x="84" y="28"/>
                      <a:pt x="66" y="39"/>
                      <a:pt x="54" y="55"/>
                    </a:cubicBezTo>
                    <a:cubicBezTo>
                      <a:pt x="46" y="65"/>
                      <a:pt x="41" y="77"/>
                      <a:pt x="40" y="90"/>
                    </a:cubicBezTo>
                    <a:cubicBezTo>
                      <a:pt x="44" y="85"/>
                      <a:pt x="44" y="85"/>
                      <a:pt x="44" y="85"/>
                    </a:cubicBezTo>
                    <a:cubicBezTo>
                      <a:pt x="46" y="83"/>
                      <a:pt x="48" y="82"/>
                      <a:pt x="51" y="82"/>
                    </a:cubicBezTo>
                    <a:cubicBezTo>
                      <a:pt x="51" y="82"/>
                      <a:pt x="51" y="82"/>
                      <a:pt x="51" y="82"/>
                    </a:cubicBezTo>
                    <a:cubicBezTo>
                      <a:pt x="53" y="82"/>
                      <a:pt x="56" y="83"/>
                      <a:pt x="58" y="85"/>
                    </a:cubicBezTo>
                    <a:cubicBezTo>
                      <a:pt x="61" y="89"/>
                      <a:pt x="61" y="95"/>
                      <a:pt x="58" y="99"/>
                    </a:cubicBezTo>
                    <a:cubicBezTo>
                      <a:pt x="37" y="119"/>
                      <a:pt x="37" y="119"/>
                      <a:pt x="37" y="119"/>
                    </a:cubicBezTo>
                    <a:cubicBezTo>
                      <a:pt x="36" y="120"/>
                      <a:pt x="36" y="120"/>
                      <a:pt x="36" y="120"/>
                    </a:cubicBezTo>
                    <a:cubicBezTo>
                      <a:pt x="36" y="120"/>
                      <a:pt x="36" y="120"/>
                      <a:pt x="36" y="120"/>
                    </a:cubicBezTo>
                    <a:cubicBezTo>
                      <a:pt x="36" y="120"/>
                      <a:pt x="36" y="120"/>
                      <a:pt x="36" y="120"/>
                    </a:cubicBezTo>
                    <a:cubicBezTo>
                      <a:pt x="35" y="120"/>
                      <a:pt x="35" y="120"/>
                      <a:pt x="35" y="120"/>
                    </a:cubicBezTo>
                    <a:cubicBezTo>
                      <a:pt x="35" y="121"/>
                      <a:pt x="35" y="121"/>
                      <a:pt x="35" y="121"/>
                    </a:cubicBezTo>
                    <a:cubicBezTo>
                      <a:pt x="34" y="121"/>
                      <a:pt x="34" y="121"/>
                      <a:pt x="34" y="121"/>
                    </a:cubicBezTo>
                    <a:cubicBezTo>
                      <a:pt x="34" y="121"/>
                      <a:pt x="34" y="121"/>
                      <a:pt x="34" y="121"/>
                    </a:cubicBezTo>
                    <a:cubicBezTo>
                      <a:pt x="33" y="121"/>
                      <a:pt x="33" y="121"/>
                      <a:pt x="33" y="121"/>
                    </a:cubicBezTo>
                    <a:cubicBezTo>
                      <a:pt x="33" y="121"/>
                      <a:pt x="33" y="121"/>
                      <a:pt x="33" y="121"/>
                    </a:cubicBezTo>
                    <a:cubicBezTo>
                      <a:pt x="33" y="121"/>
                      <a:pt x="33" y="121"/>
                      <a:pt x="33" y="121"/>
                    </a:cubicBezTo>
                    <a:cubicBezTo>
                      <a:pt x="33" y="121"/>
                      <a:pt x="33" y="121"/>
                      <a:pt x="33" y="121"/>
                    </a:cubicBezTo>
                    <a:cubicBezTo>
                      <a:pt x="32" y="122"/>
                      <a:pt x="32" y="122"/>
                      <a:pt x="32" y="122"/>
                    </a:cubicBezTo>
                    <a:cubicBezTo>
                      <a:pt x="32" y="122"/>
                      <a:pt x="32" y="122"/>
                      <a:pt x="32" y="122"/>
                    </a:cubicBezTo>
                    <a:cubicBezTo>
                      <a:pt x="31" y="122"/>
                      <a:pt x="31" y="122"/>
                      <a:pt x="31" y="122"/>
                    </a:cubicBezTo>
                    <a:cubicBezTo>
                      <a:pt x="31" y="122"/>
                      <a:pt x="30" y="122"/>
                      <a:pt x="30" y="122"/>
                    </a:cubicBezTo>
                    <a:moveTo>
                      <a:pt x="28" y="120"/>
                    </a:moveTo>
                    <a:cubicBezTo>
                      <a:pt x="28" y="120"/>
                      <a:pt x="28" y="120"/>
                      <a:pt x="28" y="120"/>
                    </a:cubicBezTo>
                    <a:cubicBezTo>
                      <a:pt x="28" y="121"/>
                      <a:pt x="28" y="121"/>
                      <a:pt x="28" y="121"/>
                    </a:cubicBezTo>
                    <a:cubicBezTo>
                      <a:pt x="29" y="120"/>
                      <a:pt x="29" y="120"/>
                      <a:pt x="29" y="120"/>
                    </a:cubicBezTo>
                    <a:cubicBezTo>
                      <a:pt x="29" y="121"/>
                      <a:pt x="30" y="121"/>
                      <a:pt x="30" y="121"/>
                    </a:cubicBezTo>
                    <a:cubicBezTo>
                      <a:pt x="30" y="121"/>
                      <a:pt x="31" y="121"/>
                      <a:pt x="31" y="120"/>
                    </a:cubicBezTo>
                    <a:cubicBezTo>
                      <a:pt x="31" y="120"/>
                      <a:pt x="31" y="120"/>
                      <a:pt x="31" y="120"/>
                    </a:cubicBezTo>
                    <a:cubicBezTo>
                      <a:pt x="32" y="120"/>
                      <a:pt x="32" y="120"/>
                      <a:pt x="32" y="120"/>
                    </a:cubicBezTo>
                    <a:cubicBezTo>
                      <a:pt x="32" y="120"/>
                      <a:pt x="32" y="120"/>
                      <a:pt x="32" y="120"/>
                    </a:cubicBezTo>
                    <a:cubicBezTo>
                      <a:pt x="33" y="120"/>
                      <a:pt x="33" y="120"/>
                      <a:pt x="33" y="120"/>
                    </a:cubicBezTo>
                    <a:cubicBezTo>
                      <a:pt x="33" y="120"/>
                      <a:pt x="33" y="120"/>
                      <a:pt x="33" y="120"/>
                    </a:cubicBezTo>
                    <a:cubicBezTo>
                      <a:pt x="33" y="120"/>
                      <a:pt x="33" y="120"/>
                      <a:pt x="33" y="120"/>
                    </a:cubicBezTo>
                    <a:cubicBezTo>
                      <a:pt x="34" y="120"/>
                      <a:pt x="34" y="120"/>
                      <a:pt x="34" y="120"/>
                    </a:cubicBezTo>
                    <a:cubicBezTo>
                      <a:pt x="34" y="119"/>
                      <a:pt x="34" y="119"/>
                      <a:pt x="34" y="119"/>
                    </a:cubicBezTo>
                    <a:cubicBezTo>
                      <a:pt x="34" y="119"/>
                      <a:pt x="34" y="119"/>
                      <a:pt x="34" y="119"/>
                    </a:cubicBezTo>
                    <a:cubicBezTo>
                      <a:pt x="35" y="119"/>
                      <a:pt x="35" y="119"/>
                      <a:pt x="35" y="119"/>
                    </a:cubicBezTo>
                    <a:cubicBezTo>
                      <a:pt x="35" y="119"/>
                      <a:pt x="35" y="119"/>
                      <a:pt x="35" y="119"/>
                    </a:cubicBezTo>
                    <a:cubicBezTo>
                      <a:pt x="35" y="119"/>
                      <a:pt x="35" y="119"/>
                      <a:pt x="35" y="119"/>
                    </a:cubicBezTo>
                    <a:cubicBezTo>
                      <a:pt x="36" y="118"/>
                      <a:pt x="36" y="118"/>
                      <a:pt x="36" y="118"/>
                    </a:cubicBezTo>
                    <a:cubicBezTo>
                      <a:pt x="36" y="118"/>
                      <a:pt x="36" y="118"/>
                      <a:pt x="36" y="118"/>
                    </a:cubicBezTo>
                    <a:cubicBezTo>
                      <a:pt x="57" y="98"/>
                      <a:pt x="57" y="98"/>
                      <a:pt x="57" y="98"/>
                    </a:cubicBezTo>
                    <a:cubicBezTo>
                      <a:pt x="60" y="95"/>
                      <a:pt x="60" y="89"/>
                      <a:pt x="57" y="86"/>
                    </a:cubicBezTo>
                    <a:cubicBezTo>
                      <a:pt x="55" y="85"/>
                      <a:pt x="53" y="84"/>
                      <a:pt x="51" y="84"/>
                    </a:cubicBezTo>
                    <a:cubicBezTo>
                      <a:pt x="51" y="84"/>
                      <a:pt x="51" y="84"/>
                      <a:pt x="51" y="84"/>
                    </a:cubicBezTo>
                    <a:cubicBezTo>
                      <a:pt x="49" y="84"/>
                      <a:pt x="47" y="84"/>
                      <a:pt x="45" y="86"/>
                    </a:cubicBezTo>
                    <a:cubicBezTo>
                      <a:pt x="38" y="93"/>
                      <a:pt x="38" y="93"/>
                      <a:pt x="38" y="93"/>
                    </a:cubicBezTo>
                    <a:cubicBezTo>
                      <a:pt x="38" y="91"/>
                      <a:pt x="38" y="91"/>
                      <a:pt x="38" y="91"/>
                    </a:cubicBezTo>
                    <a:cubicBezTo>
                      <a:pt x="40" y="78"/>
                      <a:pt x="45" y="65"/>
                      <a:pt x="53" y="54"/>
                    </a:cubicBezTo>
                    <a:cubicBezTo>
                      <a:pt x="65" y="38"/>
                      <a:pt x="83" y="27"/>
                      <a:pt x="104" y="24"/>
                    </a:cubicBezTo>
                    <a:cubicBezTo>
                      <a:pt x="140" y="19"/>
                      <a:pt x="175" y="40"/>
                      <a:pt x="187" y="74"/>
                    </a:cubicBezTo>
                    <a:cubicBezTo>
                      <a:pt x="188" y="76"/>
                      <a:pt x="189" y="78"/>
                      <a:pt x="191" y="79"/>
                    </a:cubicBezTo>
                    <a:cubicBezTo>
                      <a:pt x="193" y="80"/>
                      <a:pt x="195" y="80"/>
                      <a:pt x="198" y="79"/>
                    </a:cubicBezTo>
                    <a:cubicBezTo>
                      <a:pt x="202" y="78"/>
                      <a:pt x="204" y="73"/>
                      <a:pt x="202" y="69"/>
                    </a:cubicBezTo>
                    <a:cubicBezTo>
                      <a:pt x="188" y="27"/>
                      <a:pt x="145" y="2"/>
                      <a:pt x="101" y="8"/>
                    </a:cubicBezTo>
                    <a:cubicBezTo>
                      <a:pt x="77" y="11"/>
                      <a:pt x="55" y="24"/>
                      <a:pt x="40" y="44"/>
                    </a:cubicBezTo>
                    <a:cubicBezTo>
                      <a:pt x="30" y="58"/>
                      <a:pt x="23" y="74"/>
                      <a:pt x="21" y="90"/>
                    </a:cubicBezTo>
                    <a:cubicBezTo>
                      <a:pt x="21" y="92"/>
                      <a:pt x="21" y="92"/>
                      <a:pt x="21" y="92"/>
                    </a:cubicBezTo>
                    <a:cubicBezTo>
                      <a:pt x="16" y="86"/>
                      <a:pt x="16" y="86"/>
                      <a:pt x="16" y="86"/>
                    </a:cubicBezTo>
                    <a:cubicBezTo>
                      <a:pt x="14" y="84"/>
                      <a:pt x="12" y="83"/>
                      <a:pt x="10" y="83"/>
                    </a:cubicBezTo>
                    <a:cubicBezTo>
                      <a:pt x="10" y="83"/>
                      <a:pt x="10" y="83"/>
                      <a:pt x="10" y="83"/>
                    </a:cubicBezTo>
                    <a:cubicBezTo>
                      <a:pt x="7" y="83"/>
                      <a:pt x="5" y="84"/>
                      <a:pt x="4" y="86"/>
                    </a:cubicBezTo>
                    <a:cubicBezTo>
                      <a:pt x="2" y="87"/>
                      <a:pt x="1" y="89"/>
                      <a:pt x="1" y="92"/>
                    </a:cubicBezTo>
                    <a:cubicBezTo>
                      <a:pt x="1" y="94"/>
                      <a:pt x="2" y="96"/>
                      <a:pt x="4" y="97"/>
                    </a:cubicBezTo>
                    <a:cubicBezTo>
                      <a:pt x="24" y="118"/>
                      <a:pt x="24" y="118"/>
                      <a:pt x="24" y="118"/>
                    </a:cubicBezTo>
                    <a:cubicBezTo>
                      <a:pt x="25" y="119"/>
                      <a:pt x="25" y="119"/>
                      <a:pt x="25" y="119"/>
                    </a:cubicBezTo>
                    <a:cubicBezTo>
                      <a:pt x="25" y="119"/>
                      <a:pt x="25" y="119"/>
                      <a:pt x="25" y="119"/>
                    </a:cubicBezTo>
                    <a:cubicBezTo>
                      <a:pt x="25" y="119"/>
                      <a:pt x="25" y="119"/>
                      <a:pt x="25" y="119"/>
                    </a:cubicBezTo>
                    <a:cubicBezTo>
                      <a:pt x="25" y="119"/>
                      <a:pt x="25" y="119"/>
                      <a:pt x="25" y="119"/>
                    </a:cubicBezTo>
                    <a:cubicBezTo>
                      <a:pt x="26" y="119"/>
                      <a:pt x="26" y="119"/>
                      <a:pt x="26" y="119"/>
                    </a:cubicBezTo>
                    <a:cubicBezTo>
                      <a:pt x="26" y="120"/>
                      <a:pt x="26" y="120"/>
                      <a:pt x="26" y="120"/>
                    </a:cubicBezTo>
                    <a:cubicBezTo>
                      <a:pt x="26" y="120"/>
                      <a:pt x="26" y="120"/>
                      <a:pt x="26" y="120"/>
                    </a:cubicBezTo>
                    <a:cubicBezTo>
                      <a:pt x="27" y="120"/>
                      <a:pt x="27" y="120"/>
                      <a:pt x="27" y="120"/>
                    </a:cubicBezTo>
                    <a:cubicBezTo>
                      <a:pt x="27" y="120"/>
                      <a:pt x="27" y="120"/>
                      <a:pt x="27" y="120"/>
                    </a:cubicBezTo>
                    <a:cubicBezTo>
                      <a:pt x="28" y="120"/>
                      <a:pt x="28" y="120"/>
                      <a:pt x="28" y="120"/>
                    </a:cubicBezTo>
                    <a:cubicBezTo>
                      <a:pt x="28" y="121"/>
                      <a:pt x="28" y="121"/>
                      <a:pt x="28" y="121"/>
                    </a:cubicBezTo>
                    <a:cubicBezTo>
                      <a:pt x="28" y="120"/>
                      <a:pt x="28" y="120"/>
                      <a:pt x="28" y="12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08" name="Freeform 709">
                <a:extLst>
                  <a:ext uri="{FF2B5EF4-FFF2-40B4-BE49-F238E27FC236}">
                    <a16:creationId xmlns:a16="http://schemas.microsoft.com/office/drawing/2014/main" id="{F0B008B2-448A-B04D-8033-DB78D34A9AAC}"/>
                  </a:ext>
                </a:extLst>
              </p:cNvPr>
              <p:cNvSpPr>
                <a:spLocks/>
              </p:cNvSpPr>
              <p:nvPr/>
            </p:nvSpPr>
            <p:spPr bwMode="auto">
              <a:xfrm>
                <a:off x="6172810" y="2243456"/>
                <a:ext cx="112997" cy="262992"/>
              </a:xfrm>
              <a:custGeom>
                <a:avLst/>
                <a:gdLst>
                  <a:gd name="T0" fmla="*/ 39 w 48"/>
                  <a:gd name="T1" fmla="*/ 0 h 111"/>
                  <a:gd name="T2" fmla="*/ 30 w 48"/>
                  <a:gd name="T3" fmla="*/ 9 h 111"/>
                  <a:gd name="T4" fmla="*/ 30 w 48"/>
                  <a:gd name="T5" fmla="*/ 69 h 111"/>
                  <a:gd name="T6" fmla="*/ 4 w 48"/>
                  <a:gd name="T7" fmla="*/ 96 h 111"/>
                  <a:gd name="T8" fmla="*/ 4 w 48"/>
                  <a:gd name="T9" fmla="*/ 108 h 111"/>
                  <a:gd name="T10" fmla="*/ 10 w 48"/>
                  <a:gd name="T11" fmla="*/ 111 h 111"/>
                  <a:gd name="T12" fmla="*/ 16 w 48"/>
                  <a:gd name="T13" fmla="*/ 108 h 111"/>
                  <a:gd name="T14" fmla="*/ 45 w 48"/>
                  <a:gd name="T15" fmla="*/ 79 h 111"/>
                  <a:gd name="T16" fmla="*/ 48 w 48"/>
                  <a:gd name="T17" fmla="*/ 70 h 111"/>
                  <a:gd name="T18" fmla="*/ 48 w 48"/>
                  <a:gd name="T19" fmla="*/ 9 h 111"/>
                  <a:gd name="T20" fmla="*/ 39 w 48"/>
                  <a:gd name="T2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11">
                    <a:moveTo>
                      <a:pt x="39" y="0"/>
                    </a:moveTo>
                    <a:cubicBezTo>
                      <a:pt x="34" y="0"/>
                      <a:pt x="30" y="4"/>
                      <a:pt x="30" y="9"/>
                    </a:cubicBezTo>
                    <a:cubicBezTo>
                      <a:pt x="30" y="69"/>
                      <a:pt x="30" y="69"/>
                      <a:pt x="30" y="69"/>
                    </a:cubicBezTo>
                    <a:cubicBezTo>
                      <a:pt x="4" y="96"/>
                      <a:pt x="4" y="96"/>
                      <a:pt x="4" y="96"/>
                    </a:cubicBezTo>
                    <a:cubicBezTo>
                      <a:pt x="0" y="99"/>
                      <a:pt x="0" y="105"/>
                      <a:pt x="4" y="108"/>
                    </a:cubicBezTo>
                    <a:cubicBezTo>
                      <a:pt x="5" y="110"/>
                      <a:pt x="8" y="111"/>
                      <a:pt x="10" y="111"/>
                    </a:cubicBezTo>
                    <a:cubicBezTo>
                      <a:pt x="12" y="111"/>
                      <a:pt x="14" y="110"/>
                      <a:pt x="16" y="108"/>
                    </a:cubicBezTo>
                    <a:cubicBezTo>
                      <a:pt x="45" y="79"/>
                      <a:pt x="45" y="79"/>
                      <a:pt x="45" y="79"/>
                    </a:cubicBezTo>
                    <a:cubicBezTo>
                      <a:pt x="48" y="77"/>
                      <a:pt x="48" y="73"/>
                      <a:pt x="48" y="70"/>
                    </a:cubicBezTo>
                    <a:cubicBezTo>
                      <a:pt x="48" y="9"/>
                      <a:pt x="48" y="9"/>
                      <a:pt x="48" y="9"/>
                    </a:cubicBezTo>
                    <a:cubicBezTo>
                      <a:pt x="48" y="4"/>
                      <a:pt x="44" y="0"/>
                      <a:pt x="3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09" name="Freeform 710">
                <a:extLst>
                  <a:ext uri="{FF2B5EF4-FFF2-40B4-BE49-F238E27FC236}">
                    <a16:creationId xmlns:a16="http://schemas.microsoft.com/office/drawing/2014/main" id="{2D206113-8B98-A940-9FDD-A7220E7C4B05}"/>
                  </a:ext>
                </a:extLst>
              </p:cNvPr>
              <p:cNvSpPr>
                <a:spLocks noEditPoints="1"/>
              </p:cNvSpPr>
              <p:nvPr/>
            </p:nvSpPr>
            <p:spPr bwMode="auto">
              <a:xfrm>
                <a:off x="6169810" y="2241456"/>
                <a:ext cx="118996" cy="264992"/>
              </a:xfrm>
              <a:custGeom>
                <a:avLst/>
                <a:gdLst>
                  <a:gd name="T0" fmla="*/ 11 w 50"/>
                  <a:gd name="T1" fmla="*/ 112 h 112"/>
                  <a:gd name="T2" fmla="*/ 4 w 50"/>
                  <a:gd name="T3" fmla="*/ 110 h 112"/>
                  <a:gd name="T4" fmla="*/ 4 w 50"/>
                  <a:gd name="T5" fmla="*/ 96 h 112"/>
                  <a:gd name="T6" fmla="*/ 30 w 50"/>
                  <a:gd name="T7" fmla="*/ 70 h 112"/>
                  <a:gd name="T8" fmla="*/ 30 w 50"/>
                  <a:gd name="T9" fmla="*/ 10 h 112"/>
                  <a:gd name="T10" fmla="*/ 40 w 50"/>
                  <a:gd name="T11" fmla="*/ 0 h 112"/>
                  <a:gd name="T12" fmla="*/ 49 w 50"/>
                  <a:gd name="T13" fmla="*/ 10 h 112"/>
                  <a:gd name="T14" fmla="*/ 49 w 50"/>
                  <a:gd name="T15" fmla="*/ 71 h 112"/>
                  <a:gd name="T16" fmla="*/ 47 w 50"/>
                  <a:gd name="T17" fmla="*/ 80 h 112"/>
                  <a:gd name="T18" fmla="*/ 18 w 50"/>
                  <a:gd name="T19" fmla="*/ 110 h 112"/>
                  <a:gd name="T20" fmla="*/ 11 w 50"/>
                  <a:gd name="T21" fmla="*/ 112 h 112"/>
                  <a:gd name="T22" fmla="*/ 40 w 50"/>
                  <a:gd name="T23" fmla="*/ 2 h 112"/>
                  <a:gd name="T24" fmla="*/ 31 w 50"/>
                  <a:gd name="T25" fmla="*/ 10 h 112"/>
                  <a:gd name="T26" fmla="*/ 31 w 50"/>
                  <a:gd name="T27" fmla="*/ 71 h 112"/>
                  <a:gd name="T28" fmla="*/ 5 w 50"/>
                  <a:gd name="T29" fmla="*/ 97 h 112"/>
                  <a:gd name="T30" fmla="*/ 5 w 50"/>
                  <a:gd name="T31" fmla="*/ 109 h 112"/>
                  <a:gd name="T32" fmla="*/ 11 w 50"/>
                  <a:gd name="T33" fmla="*/ 111 h 112"/>
                  <a:gd name="T34" fmla="*/ 17 w 50"/>
                  <a:gd name="T35" fmla="*/ 109 h 112"/>
                  <a:gd name="T36" fmla="*/ 46 w 50"/>
                  <a:gd name="T37" fmla="*/ 80 h 112"/>
                  <a:gd name="T38" fmla="*/ 48 w 50"/>
                  <a:gd name="T39" fmla="*/ 72 h 112"/>
                  <a:gd name="T40" fmla="*/ 48 w 50"/>
                  <a:gd name="T41" fmla="*/ 71 h 112"/>
                  <a:gd name="T42" fmla="*/ 48 w 50"/>
                  <a:gd name="T43" fmla="*/ 10 h 112"/>
                  <a:gd name="T44" fmla="*/ 40 w 50"/>
                  <a:gd name="T45" fmla="*/ 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112">
                    <a:moveTo>
                      <a:pt x="11" y="112"/>
                    </a:moveTo>
                    <a:cubicBezTo>
                      <a:pt x="8" y="112"/>
                      <a:pt x="6" y="112"/>
                      <a:pt x="4" y="110"/>
                    </a:cubicBezTo>
                    <a:cubicBezTo>
                      <a:pt x="0" y="106"/>
                      <a:pt x="0" y="100"/>
                      <a:pt x="4" y="96"/>
                    </a:cubicBezTo>
                    <a:cubicBezTo>
                      <a:pt x="30" y="70"/>
                      <a:pt x="30" y="70"/>
                      <a:pt x="30" y="70"/>
                    </a:cubicBezTo>
                    <a:cubicBezTo>
                      <a:pt x="30" y="10"/>
                      <a:pt x="30" y="10"/>
                      <a:pt x="30" y="10"/>
                    </a:cubicBezTo>
                    <a:cubicBezTo>
                      <a:pt x="30" y="5"/>
                      <a:pt x="34" y="0"/>
                      <a:pt x="40" y="0"/>
                    </a:cubicBezTo>
                    <a:cubicBezTo>
                      <a:pt x="45" y="0"/>
                      <a:pt x="49" y="5"/>
                      <a:pt x="49" y="10"/>
                    </a:cubicBezTo>
                    <a:cubicBezTo>
                      <a:pt x="49" y="71"/>
                      <a:pt x="49" y="71"/>
                      <a:pt x="49" y="71"/>
                    </a:cubicBezTo>
                    <a:cubicBezTo>
                      <a:pt x="50" y="75"/>
                      <a:pt x="49" y="78"/>
                      <a:pt x="47" y="80"/>
                    </a:cubicBezTo>
                    <a:cubicBezTo>
                      <a:pt x="18" y="110"/>
                      <a:pt x="18" y="110"/>
                      <a:pt x="18" y="110"/>
                    </a:cubicBezTo>
                    <a:cubicBezTo>
                      <a:pt x="16" y="112"/>
                      <a:pt x="13" y="112"/>
                      <a:pt x="11" y="112"/>
                    </a:cubicBezTo>
                    <a:moveTo>
                      <a:pt x="40" y="2"/>
                    </a:moveTo>
                    <a:cubicBezTo>
                      <a:pt x="35" y="2"/>
                      <a:pt x="31" y="5"/>
                      <a:pt x="31" y="10"/>
                    </a:cubicBezTo>
                    <a:cubicBezTo>
                      <a:pt x="31" y="71"/>
                      <a:pt x="31" y="71"/>
                      <a:pt x="31" y="71"/>
                    </a:cubicBezTo>
                    <a:cubicBezTo>
                      <a:pt x="5" y="97"/>
                      <a:pt x="5" y="97"/>
                      <a:pt x="5" y="97"/>
                    </a:cubicBezTo>
                    <a:cubicBezTo>
                      <a:pt x="2" y="100"/>
                      <a:pt x="2" y="106"/>
                      <a:pt x="5" y="109"/>
                    </a:cubicBezTo>
                    <a:cubicBezTo>
                      <a:pt x="7" y="110"/>
                      <a:pt x="9" y="111"/>
                      <a:pt x="11" y="111"/>
                    </a:cubicBezTo>
                    <a:cubicBezTo>
                      <a:pt x="13" y="111"/>
                      <a:pt x="15" y="110"/>
                      <a:pt x="17" y="109"/>
                    </a:cubicBezTo>
                    <a:cubicBezTo>
                      <a:pt x="46" y="80"/>
                      <a:pt x="46" y="80"/>
                      <a:pt x="46" y="80"/>
                    </a:cubicBezTo>
                    <a:cubicBezTo>
                      <a:pt x="48" y="77"/>
                      <a:pt x="49" y="74"/>
                      <a:pt x="48" y="72"/>
                    </a:cubicBezTo>
                    <a:cubicBezTo>
                      <a:pt x="48" y="71"/>
                      <a:pt x="48" y="71"/>
                      <a:pt x="48" y="71"/>
                    </a:cubicBezTo>
                    <a:cubicBezTo>
                      <a:pt x="48" y="10"/>
                      <a:pt x="48" y="10"/>
                      <a:pt x="48" y="10"/>
                    </a:cubicBezTo>
                    <a:cubicBezTo>
                      <a:pt x="48" y="5"/>
                      <a:pt x="44" y="2"/>
                      <a:pt x="40"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0" name="Freeform 711">
                <a:extLst>
                  <a:ext uri="{FF2B5EF4-FFF2-40B4-BE49-F238E27FC236}">
                    <a16:creationId xmlns:a16="http://schemas.microsoft.com/office/drawing/2014/main" id="{B4655413-7BA6-DB4E-8BCF-02208FAEA685}"/>
                  </a:ext>
                </a:extLst>
              </p:cNvPr>
              <p:cNvSpPr>
                <a:spLocks/>
              </p:cNvSpPr>
              <p:nvPr/>
            </p:nvSpPr>
            <p:spPr bwMode="auto">
              <a:xfrm>
                <a:off x="6049814" y="2376452"/>
                <a:ext cx="486985" cy="271992"/>
              </a:xfrm>
              <a:custGeom>
                <a:avLst/>
                <a:gdLst>
                  <a:gd name="T0" fmla="*/ 202 w 206"/>
                  <a:gd name="T1" fmla="*/ 21 h 115"/>
                  <a:gd name="T2" fmla="*/ 181 w 206"/>
                  <a:gd name="T3" fmla="*/ 3 h 115"/>
                  <a:gd name="T4" fmla="*/ 175 w 206"/>
                  <a:gd name="T5" fmla="*/ 0 h 115"/>
                  <a:gd name="T6" fmla="*/ 174 w 206"/>
                  <a:gd name="T7" fmla="*/ 0 h 115"/>
                  <a:gd name="T8" fmla="*/ 174 w 206"/>
                  <a:gd name="T9" fmla="*/ 0 h 115"/>
                  <a:gd name="T10" fmla="*/ 168 w 206"/>
                  <a:gd name="T11" fmla="*/ 3 h 115"/>
                  <a:gd name="T12" fmla="*/ 148 w 206"/>
                  <a:gd name="T13" fmla="*/ 24 h 115"/>
                  <a:gd name="T14" fmla="*/ 149 w 206"/>
                  <a:gd name="T15" fmla="*/ 37 h 115"/>
                  <a:gd name="T16" fmla="*/ 155 w 206"/>
                  <a:gd name="T17" fmla="*/ 39 h 115"/>
                  <a:gd name="T18" fmla="*/ 161 w 206"/>
                  <a:gd name="T19" fmla="*/ 36 h 115"/>
                  <a:gd name="T20" fmla="*/ 166 w 206"/>
                  <a:gd name="T21" fmla="*/ 31 h 115"/>
                  <a:gd name="T22" fmla="*/ 151 w 206"/>
                  <a:gd name="T23" fmla="*/ 66 h 115"/>
                  <a:gd name="T24" fmla="*/ 101 w 206"/>
                  <a:gd name="T25" fmla="*/ 96 h 115"/>
                  <a:gd name="T26" fmla="*/ 18 w 206"/>
                  <a:gd name="T27" fmla="*/ 46 h 115"/>
                  <a:gd name="T28" fmla="*/ 7 w 206"/>
                  <a:gd name="T29" fmla="*/ 41 h 115"/>
                  <a:gd name="T30" fmla="*/ 1 w 206"/>
                  <a:gd name="T31" fmla="*/ 52 h 115"/>
                  <a:gd name="T32" fmla="*/ 90 w 206"/>
                  <a:gd name="T33" fmla="*/ 115 h 115"/>
                  <a:gd name="T34" fmla="*/ 103 w 206"/>
                  <a:gd name="T35" fmla="*/ 114 h 115"/>
                  <a:gd name="T36" fmla="*/ 165 w 206"/>
                  <a:gd name="T37" fmla="*/ 77 h 115"/>
                  <a:gd name="T38" fmla="*/ 184 w 206"/>
                  <a:gd name="T39" fmla="*/ 29 h 115"/>
                  <a:gd name="T40" fmla="*/ 190 w 206"/>
                  <a:gd name="T41" fmla="*/ 35 h 115"/>
                  <a:gd name="T42" fmla="*/ 196 w 206"/>
                  <a:gd name="T43" fmla="*/ 37 h 115"/>
                  <a:gd name="T44" fmla="*/ 202 w 206"/>
                  <a:gd name="T45" fmla="*/ 34 h 115"/>
                  <a:gd name="T46" fmla="*/ 202 w 206"/>
                  <a:gd name="T47"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5">
                    <a:moveTo>
                      <a:pt x="202" y="21"/>
                    </a:moveTo>
                    <a:cubicBezTo>
                      <a:pt x="181" y="3"/>
                      <a:pt x="181" y="3"/>
                      <a:pt x="181" y="3"/>
                    </a:cubicBezTo>
                    <a:cubicBezTo>
                      <a:pt x="180" y="1"/>
                      <a:pt x="177" y="0"/>
                      <a:pt x="175" y="0"/>
                    </a:cubicBezTo>
                    <a:cubicBezTo>
                      <a:pt x="174" y="0"/>
                      <a:pt x="174" y="0"/>
                      <a:pt x="174" y="0"/>
                    </a:cubicBezTo>
                    <a:cubicBezTo>
                      <a:pt x="174" y="0"/>
                      <a:pt x="174" y="0"/>
                      <a:pt x="174" y="0"/>
                    </a:cubicBezTo>
                    <a:cubicBezTo>
                      <a:pt x="172" y="0"/>
                      <a:pt x="169" y="1"/>
                      <a:pt x="168" y="3"/>
                    </a:cubicBezTo>
                    <a:cubicBezTo>
                      <a:pt x="148" y="24"/>
                      <a:pt x="148" y="24"/>
                      <a:pt x="148" y="24"/>
                    </a:cubicBezTo>
                    <a:cubicBezTo>
                      <a:pt x="145" y="28"/>
                      <a:pt x="145" y="33"/>
                      <a:pt x="149" y="37"/>
                    </a:cubicBezTo>
                    <a:cubicBezTo>
                      <a:pt x="150" y="38"/>
                      <a:pt x="153" y="39"/>
                      <a:pt x="155" y="39"/>
                    </a:cubicBezTo>
                    <a:cubicBezTo>
                      <a:pt x="157" y="39"/>
                      <a:pt x="160" y="38"/>
                      <a:pt x="161" y="36"/>
                    </a:cubicBezTo>
                    <a:cubicBezTo>
                      <a:pt x="166" y="31"/>
                      <a:pt x="166" y="31"/>
                      <a:pt x="166" y="31"/>
                    </a:cubicBezTo>
                    <a:cubicBezTo>
                      <a:pt x="164" y="44"/>
                      <a:pt x="159" y="56"/>
                      <a:pt x="151" y="66"/>
                    </a:cubicBezTo>
                    <a:cubicBezTo>
                      <a:pt x="139" y="83"/>
                      <a:pt x="121" y="93"/>
                      <a:pt x="101" y="96"/>
                    </a:cubicBezTo>
                    <a:cubicBezTo>
                      <a:pt x="65" y="101"/>
                      <a:pt x="30" y="80"/>
                      <a:pt x="18" y="46"/>
                    </a:cubicBezTo>
                    <a:cubicBezTo>
                      <a:pt x="17" y="42"/>
                      <a:pt x="11" y="39"/>
                      <a:pt x="7" y="41"/>
                    </a:cubicBezTo>
                    <a:cubicBezTo>
                      <a:pt x="2" y="43"/>
                      <a:pt x="0" y="48"/>
                      <a:pt x="1" y="52"/>
                    </a:cubicBezTo>
                    <a:cubicBezTo>
                      <a:pt x="15" y="90"/>
                      <a:pt x="51" y="115"/>
                      <a:pt x="90" y="115"/>
                    </a:cubicBezTo>
                    <a:cubicBezTo>
                      <a:pt x="94" y="115"/>
                      <a:pt x="99" y="114"/>
                      <a:pt x="103" y="114"/>
                    </a:cubicBezTo>
                    <a:cubicBezTo>
                      <a:pt x="128" y="110"/>
                      <a:pt x="150" y="97"/>
                      <a:pt x="165" y="77"/>
                    </a:cubicBezTo>
                    <a:cubicBezTo>
                      <a:pt x="176" y="63"/>
                      <a:pt x="182" y="46"/>
                      <a:pt x="184" y="29"/>
                    </a:cubicBezTo>
                    <a:cubicBezTo>
                      <a:pt x="190" y="35"/>
                      <a:pt x="190" y="35"/>
                      <a:pt x="190" y="35"/>
                    </a:cubicBezTo>
                    <a:cubicBezTo>
                      <a:pt x="192" y="36"/>
                      <a:pt x="194" y="37"/>
                      <a:pt x="196" y="37"/>
                    </a:cubicBezTo>
                    <a:cubicBezTo>
                      <a:pt x="198" y="37"/>
                      <a:pt x="201" y="36"/>
                      <a:pt x="202" y="34"/>
                    </a:cubicBezTo>
                    <a:cubicBezTo>
                      <a:pt x="206" y="30"/>
                      <a:pt x="205" y="25"/>
                      <a:pt x="202"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1" name="Freeform 712">
                <a:extLst>
                  <a:ext uri="{FF2B5EF4-FFF2-40B4-BE49-F238E27FC236}">
                    <a16:creationId xmlns:a16="http://schemas.microsoft.com/office/drawing/2014/main" id="{DC27C802-AD19-E741-BB76-7BF7E77BC840}"/>
                  </a:ext>
                </a:extLst>
              </p:cNvPr>
              <p:cNvSpPr>
                <a:spLocks noEditPoints="1"/>
              </p:cNvSpPr>
              <p:nvPr/>
            </p:nvSpPr>
            <p:spPr bwMode="auto">
              <a:xfrm>
                <a:off x="6047814" y="2374452"/>
                <a:ext cx="486985" cy="273992"/>
              </a:xfrm>
              <a:custGeom>
                <a:avLst/>
                <a:gdLst>
                  <a:gd name="T0" fmla="*/ 91 w 206"/>
                  <a:gd name="T1" fmla="*/ 116 h 116"/>
                  <a:gd name="T2" fmla="*/ 2 w 206"/>
                  <a:gd name="T3" fmla="*/ 53 h 116"/>
                  <a:gd name="T4" fmla="*/ 8 w 206"/>
                  <a:gd name="T5" fmla="*/ 41 h 116"/>
                  <a:gd name="T6" fmla="*/ 15 w 206"/>
                  <a:gd name="T7" fmla="*/ 42 h 116"/>
                  <a:gd name="T8" fmla="*/ 20 w 206"/>
                  <a:gd name="T9" fmla="*/ 47 h 116"/>
                  <a:gd name="T10" fmla="*/ 102 w 206"/>
                  <a:gd name="T11" fmla="*/ 96 h 116"/>
                  <a:gd name="T12" fmla="*/ 152 w 206"/>
                  <a:gd name="T13" fmla="*/ 67 h 116"/>
                  <a:gd name="T14" fmla="*/ 166 w 206"/>
                  <a:gd name="T15" fmla="*/ 34 h 116"/>
                  <a:gd name="T16" fmla="*/ 163 w 206"/>
                  <a:gd name="T17" fmla="*/ 37 h 116"/>
                  <a:gd name="T18" fmla="*/ 156 w 206"/>
                  <a:gd name="T19" fmla="*/ 41 h 116"/>
                  <a:gd name="T20" fmla="*/ 149 w 206"/>
                  <a:gd name="T21" fmla="*/ 38 h 116"/>
                  <a:gd name="T22" fmla="*/ 146 w 206"/>
                  <a:gd name="T23" fmla="*/ 32 h 116"/>
                  <a:gd name="T24" fmla="*/ 149 w 206"/>
                  <a:gd name="T25" fmla="*/ 25 h 116"/>
                  <a:gd name="T26" fmla="*/ 168 w 206"/>
                  <a:gd name="T27" fmla="*/ 3 h 116"/>
                  <a:gd name="T28" fmla="*/ 175 w 206"/>
                  <a:gd name="T29" fmla="*/ 0 h 116"/>
                  <a:gd name="T30" fmla="*/ 175 w 206"/>
                  <a:gd name="T31" fmla="*/ 0 h 116"/>
                  <a:gd name="T32" fmla="*/ 176 w 206"/>
                  <a:gd name="T33" fmla="*/ 0 h 116"/>
                  <a:gd name="T34" fmla="*/ 183 w 206"/>
                  <a:gd name="T35" fmla="*/ 4 h 116"/>
                  <a:gd name="T36" fmla="*/ 203 w 206"/>
                  <a:gd name="T37" fmla="*/ 22 h 116"/>
                  <a:gd name="T38" fmla="*/ 206 w 206"/>
                  <a:gd name="T39" fmla="*/ 29 h 116"/>
                  <a:gd name="T40" fmla="*/ 204 w 206"/>
                  <a:gd name="T41" fmla="*/ 35 h 116"/>
                  <a:gd name="T42" fmla="*/ 197 w 206"/>
                  <a:gd name="T43" fmla="*/ 39 h 116"/>
                  <a:gd name="T44" fmla="*/ 190 w 206"/>
                  <a:gd name="T45" fmla="*/ 36 h 116"/>
                  <a:gd name="T46" fmla="*/ 185 w 206"/>
                  <a:gd name="T47" fmla="*/ 31 h 116"/>
                  <a:gd name="T48" fmla="*/ 167 w 206"/>
                  <a:gd name="T49" fmla="*/ 78 h 116"/>
                  <a:gd name="T50" fmla="*/ 104 w 206"/>
                  <a:gd name="T51" fmla="*/ 115 h 116"/>
                  <a:gd name="T52" fmla="*/ 91 w 206"/>
                  <a:gd name="T53" fmla="*/ 116 h 116"/>
                  <a:gd name="T54" fmla="*/ 11 w 206"/>
                  <a:gd name="T55" fmla="*/ 42 h 116"/>
                  <a:gd name="T56" fmla="*/ 8 w 206"/>
                  <a:gd name="T57" fmla="*/ 42 h 116"/>
                  <a:gd name="T58" fmla="*/ 3 w 206"/>
                  <a:gd name="T59" fmla="*/ 53 h 116"/>
                  <a:gd name="T60" fmla="*/ 91 w 206"/>
                  <a:gd name="T61" fmla="*/ 115 h 116"/>
                  <a:gd name="T62" fmla="*/ 104 w 206"/>
                  <a:gd name="T63" fmla="*/ 114 h 116"/>
                  <a:gd name="T64" fmla="*/ 166 w 206"/>
                  <a:gd name="T65" fmla="*/ 78 h 116"/>
                  <a:gd name="T66" fmla="*/ 184 w 206"/>
                  <a:gd name="T67" fmla="*/ 30 h 116"/>
                  <a:gd name="T68" fmla="*/ 184 w 206"/>
                  <a:gd name="T69" fmla="*/ 29 h 116"/>
                  <a:gd name="T70" fmla="*/ 191 w 206"/>
                  <a:gd name="T71" fmla="*/ 35 h 116"/>
                  <a:gd name="T72" fmla="*/ 197 w 206"/>
                  <a:gd name="T73" fmla="*/ 37 h 116"/>
                  <a:gd name="T74" fmla="*/ 203 w 206"/>
                  <a:gd name="T75" fmla="*/ 35 h 116"/>
                  <a:gd name="T76" fmla="*/ 205 w 206"/>
                  <a:gd name="T77" fmla="*/ 29 h 116"/>
                  <a:gd name="T78" fmla="*/ 202 w 206"/>
                  <a:gd name="T79" fmla="*/ 23 h 116"/>
                  <a:gd name="T80" fmla="*/ 182 w 206"/>
                  <a:gd name="T81" fmla="*/ 4 h 116"/>
                  <a:gd name="T82" fmla="*/ 176 w 206"/>
                  <a:gd name="T83" fmla="*/ 1 h 116"/>
                  <a:gd name="T84" fmla="*/ 175 w 206"/>
                  <a:gd name="T85" fmla="*/ 1 h 116"/>
                  <a:gd name="T86" fmla="*/ 175 w 206"/>
                  <a:gd name="T87" fmla="*/ 1 h 116"/>
                  <a:gd name="T88" fmla="*/ 169 w 206"/>
                  <a:gd name="T89" fmla="*/ 4 h 116"/>
                  <a:gd name="T90" fmla="*/ 150 w 206"/>
                  <a:gd name="T91" fmla="*/ 26 h 116"/>
                  <a:gd name="T92" fmla="*/ 147 w 206"/>
                  <a:gd name="T93" fmla="*/ 32 h 116"/>
                  <a:gd name="T94" fmla="*/ 150 w 206"/>
                  <a:gd name="T95" fmla="*/ 37 h 116"/>
                  <a:gd name="T96" fmla="*/ 156 w 206"/>
                  <a:gd name="T97" fmla="*/ 39 h 116"/>
                  <a:gd name="T98" fmla="*/ 162 w 206"/>
                  <a:gd name="T99" fmla="*/ 37 h 116"/>
                  <a:gd name="T100" fmla="*/ 168 w 206"/>
                  <a:gd name="T101" fmla="*/ 30 h 116"/>
                  <a:gd name="T102" fmla="*/ 167 w 206"/>
                  <a:gd name="T103" fmla="*/ 32 h 116"/>
                  <a:gd name="T104" fmla="*/ 153 w 206"/>
                  <a:gd name="T105" fmla="*/ 68 h 116"/>
                  <a:gd name="T106" fmla="*/ 102 w 206"/>
                  <a:gd name="T107" fmla="*/ 98 h 116"/>
                  <a:gd name="T108" fmla="*/ 19 w 206"/>
                  <a:gd name="T109" fmla="*/ 47 h 116"/>
                  <a:gd name="T110" fmla="*/ 14 w 206"/>
                  <a:gd name="T111" fmla="*/ 43 h 116"/>
                  <a:gd name="T112" fmla="*/ 11 w 206"/>
                  <a:gd name="T113"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6" h="116">
                    <a:moveTo>
                      <a:pt x="91" y="116"/>
                    </a:moveTo>
                    <a:cubicBezTo>
                      <a:pt x="51" y="116"/>
                      <a:pt x="15" y="91"/>
                      <a:pt x="2" y="53"/>
                    </a:cubicBezTo>
                    <a:cubicBezTo>
                      <a:pt x="0" y="49"/>
                      <a:pt x="3" y="43"/>
                      <a:pt x="8" y="41"/>
                    </a:cubicBezTo>
                    <a:cubicBezTo>
                      <a:pt x="10" y="40"/>
                      <a:pt x="13" y="41"/>
                      <a:pt x="15" y="42"/>
                    </a:cubicBezTo>
                    <a:cubicBezTo>
                      <a:pt x="17" y="43"/>
                      <a:pt x="19" y="45"/>
                      <a:pt x="20" y="47"/>
                    </a:cubicBezTo>
                    <a:cubicBezTo>
                      <a:pt x="32" y="81"/>
                      <a:pt x="66" y="101"/>
                      <a:pt x="102" y="96"/>
                    </a:cubicBezTo>
                    <a:cubicBezTo>
                      <a:pt x="122" y="94"/>
                      <a:pt x="139" y="83"/>
                      <a:pt x="152" y="67"/>
                    </a:cubicBezTo>
                    <a:cubicBezTo>
                      <a:pt x="159" y="57"/>
                      <a:pt x="164" y="46"/>
                      <a:pt x="166" y="34"/>
                    </a:cubicBezTo>
                    <a:cubicBezTo>
                      <a:pt x="163" y="37"/>
                      <a:pt x="163" y="37"/>
                      <a:pt x="163" y="37"/>
                    </a:cubicBezTo>
                    <a:cubicBezTo>
                      <a:pt x="161" y="39"/>
                      <a:pt x="158" y="41"/>
                      <a:pt x="156" y="41"/>
                    </a:cubicBezTo>
                    <a:cubicBezTo>
                      <a:pt x="153" y="41"/>
                      <a:pt x="151" y="40"/>
                      <a:pt x="149" y="38"/>
                    </a:cubicBezTo>
                    <a:cubicBezTo>
                      <a:pt x="147" y="36"/>
                      <a:pt x="146" y="34"/>
                      <a:pt x="146" y="32"/>
                    </a:cubicBezTo>
                    <a:cubicBezTo>
                      <a:pt x="146" y="29"/>
                      <a:pt x="147" y="27"/>
                      <a:pt x="149" y="25"/>
                    </a:cubicBezTo>
                    <a:cubicBezTo>
                      <a:pt x="168" y="3"/>
                      <a:pt x="168" y="3"/>
                      <a:pt x="168" y="3"/>
                    </a:cubicBezTo>
                    <a:cubicBezTo>
                      <a:pt x="170" y="1"/>
                      <a:pt x="172" y="0"/>
                      <a:pt x="175" y="0"/>
                    </a:cubicBezTo>
                    <a:cubicBezTo>
                      <a:pt x="175" y="0"/>
                      <a:pt x="175" y="0"/>
                      <a:pt x="175" y="0"/>
                    </a:cubicBezTo>
                    <a:cubicBezTo>
                      <a:pt x="176" y="0"/>
                      <a:pt x="176" y="0"/>
                      <a:pt x="176" y="0"/>
                    </a:cubicBezTo>
                    <a:cubicBezTo>
                      <a:pt x="179" y="0"/>
                      <a:pt x="181" y="1"/>
                      <a:pt x="183" y="4"/>
                    </a:cubicBezTo>
                    <a:cubicBezTo>
                      <a:pt x="203" y="22"/>
                      <a:pt x="203" y="22"/>
                      <a:pt x="203" y="22"/>
                    </a:cubicBezTo>
                    <a:cubicBezTo>
                      <a:pt x="205" y="24"/>
                      <a:pt x="206" y="26"/>
                      <a:pt x="206" y="29"/>
                    </a:cubicBezTo>
                    <a:cubicBezTo>
                      <a:pt x="206" y="31"/>
                      <a:pt x="206" y="34"/>
                      <a:pt x="204" y="35"/>
                    </a:cubicBezTo>
                    <a:cubicBezTo>
                      <a:pt x="202" y="37"/>
                      <a:pt x="200" y="39"/>
                      <a:pt x="197" y="39"/>
                    </a:cubicBezTo>
                    <a:cubicBezTo>
                      <a:pt x="194" y="39"/>
                      <a:pt x="192" y="38"/>
                      <a:pt x="190" y="36"/>
                    </a:cubicBezTo>
                    <a:cubicBezTo>
                      <a:pt x="185" y="31"/>
                      <a:pt x="185" y="31"/>
                      <a:pt x="185" y="31"/>
                    </a:cubicBezTo>
                    <a:cubicBezTo>
                      <a:pt x="184" y="48"/>
                      <a:pt x="177" y="65"/>
                      <a:pt x="167" y="78"/>
                    </a:cubicBezTo>
                    <a:cubicBezTo>
                      <a:pt x="152" y="99"/>
                      <a:pt x="129" y="112"/>
                      <a:pt x="104" y="115"/>
                    </a:cubicBezTo>
                    <a:cubicBezTo>
                      <a:pt x="100" y="116"/>
                      <a:pt x="96" y="116"/>
                      <a:pt x="91" y="116"/>
                    </a:cubicBezTo>
                    <a:moveTo>
                      <a:pt x="11" y="42"/>
                    </a:moveTo>
                    <a:cubicBezTo>
                      <a:pt x="10" y="42"/>
                      <a:pt x="9" y="42"/>
                      <a:pt x="8" y="42"/>
                    </a:cubicBezTo>
                    <a:cubicBezTo>
                      <a:pt x="4" y="44"/>
                      <a:pt x="2" y="49"/>
                      <a:pt x="3" y="53"/>
                    </a:cubicBezTo>
                    <a:cubicBezTo>
                      <a:pt x="16" y="90"/>
                      <a:pt x="52" y="115"/>
                      <a:pt x="91" y="115"/>
                    </a:cubicBezTo>
                    <a:cubicBezTo>
                      <a:pt x="95" y="115"/>
                      <a:pt x="100" y="115"/>
                      <a:pt x="104" y="114"/>
                    </a:cubicBezTo>
                    <a:cubicBezTo>
                      <a:pt x="129" y="111"/>
                      <a:pt x="151" y="98"/>
                      <a:pt x="166" y="78"/>
                    </a:cubicBezTo>
                    <a:cubicBezTo>
                      <a:pt x="176" y="64"/>
                      <a:pt x="183" y="47"/>
                      <a:pt x="184" y="30"/>
                    </a:cubicBezTo>
                    <a:cubicBezTo>
                      <a:pt x="184" y="29"/>
                      <a:pt x="184" y="29"/>
                      <a:pt x="184" y="29"/>
                    </a:cubicBezTo>
                    <a:cubicBezTo>
                      <a:pt x="191" y="35"/>
                      <a:pt x="191" y="35"/>
                      <a:pt x="191" y="35"/>
                    </a:cubicBezTo>
                    <a:cubicBezTo>
                      <a:pt x="193" y="37"/>
                      <a:pt x="195" y="37"/>
                      <a:pt x="197" y="37"/>
                    </a:cubicBezTo>
                    <a:cubicBezTo>
                      <a:pt x="199" y="37"/>
                      <a:pt x="201" y="36"/>
                      <a:pt x="203" y="35"/>
                    </a:cubicBezTo>
                    <a:cubicBezTo>
                      <a:pt x="204" y="33"/>
                      <a:pt x="205" y="31"/>
                      <a:pt x="205" y="29"/>
                    </a:cubicBezTo>
                    <a:cubicBezTo>
                      <a:pt x="205" y="26"/>
                      <a:pt x="204" y="24"/>
                      <a:pt x="202" y="23"/>
                    </a:cubicBezTo>
                    <a:cubicBezTo>
                      <a:pt x="182" y="4"/>
                      <a:pt x="182" y="4"/>
                      <a:pt x="182" y="4"/>
                    </a:cubicBezTo>
                    <a:cubicBezTo>
                      <a:pt x="180" y="2"/>
                      <a:pt x="178" y="1"/>
                      <a:pt x="176" y="1"/>
                    </a:cubicBezTo>
                    <a:cubicBezTo>
                      <a:pt x="175" y="1"/>
                      <a:pt x="175" y="1"/>
                      <a:pt x="175" y="1"/>
                    </a:cubicBezTo>
                    <a:cubicBezTo>
                      <a:pt x="175" y="1"/>
                      <a:pt x="175" y="1"/>
                      <a:pt x="175" y="1"/>
                    </a:cubicBezTo>
                    <a:cubicBezTo>
                      <a:pt x="173" y="1"/>
                      <a:pt x="171" y="2"/>
                      <a:pt x="169" y="4"/>
                    </a:cubicBezTo>
                    <a:cubicBezTo>
                      <a:pt x="150" y="26"/>
                      <a:pt x="150" y="26"/>
                      <a:pt x="150" y="26"/>
                    </a:cubicBezTo>
                    <a:cubicBezTo>
                      <a:pt x="148" y="27"/>
                      <a:pt x="147" y="29"/>
                      <a:pt x="147" y="32"/>
                    </a:cubicBezTo>
                    <a:cubicBezTo>
                      <a:pt x="148" y="34"/>
                      <a:pt x="149" y="36"/>
                      <a:pt x="150" y="37"/>
                    </a:cubicBezTo>
                    <a:cubicBezTo>
                      <a:pt x="152" y="39"/>
                      <a:pt x="154" y="39"/>
                      <a:pt x="156" y="39"/>
                    </a:cubicBezTo>
                    <a:cubicBezTo>
                      <a:pt x="158" y="39"/>
                      <a:pt x="160" y="38"/>
                      <a:pt x="162" y="37"/>
                    </a:cubicBezTo>
                    <a:cubicBezTo>
                      <a:pt x="168" y="30"/>
                      <a:pt x="168" y="30"/>
                      <a:pt x="168" y="30"/>
                    </a:cubicBezTo>
                    <a:cubicBezTo>
                      <a:pt x="167" y="32"/>
                      <a:pt x="167" y="32"/>
                      <a:pt x="167" y="32"/>
                    </a:cubicBezTo>
                    <a:cubicBezTo>
                      <a:pt x="165" y="45"/>
                      <a:pt x="160" y="57"/>
                      <a:pt x="153" y="68"/>
                    </a:cubicBezTo>
                    <a:cubicBezTo>
                      <a:pt x="140" y="84"/>
                      <a:pt x="122" y="95"/>
                      <a:pt x="102" y="98"/>
                    </a:cubicBezTo>
                    <a:cubicBezTo>
                      <a:pt x="66" y="103"/>
                      <a:pt x="31" y="82"/>
                      <a:pt x="19" y="47"/>
                    </a:cubicBezTo>
                    <a:cubicBezTo>
                      <a:pt x="18" y="45"/>
                      <a:pt x="16" y="44"/>
                      <a:pt x="14" y="43"/>
                    </a:cubicBezTo>
                    <a:cubicBezTo>
                      <a:pt x="13" y="42"/>
                      <a:pt x="12" y="42"/>
                      <a:pt x="11" y="4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2" name="Freeform 713">
                <a:extLst>
                  <a:ext uri="{FF2B5EF4-FFF2-40B4-BE49-F238E27FC236}">
                    <a16:creationId xmlns:a16="http://schemas.microsoft.com/office/drawing/2014/main" id="{72D6FA77-574B-0B40-92D8-C613E24F4EBC}"/>
                  </a:ext>
                </a:extLst>
              </p:cNvPr>
              <p:cNvSpPr>
                <a:spLocks/>
              </p:cNvSpPr>
              <p:nvPr/>
            </p:nvSpPr>
            <p:spPr bwMode="auto">
              <a:xfrm>
                <a:off x="6030815" y="2156459"/>
                <a:ext cx="441986" cy="283991"/>
              </a:xfrm>
              <a:custGeom>
                <a:avLst/>
                <a:gdLst>
                  <a:gd name="T0" fmla="*/ 12 w 187"/>
                  <a:gd name="T1" fmla="*/ 120 h 120"/>
                  <a:gd name="T2" fmla="*/ 3 w 187"/>
                  <a:gd name="T3" fmla="*/ 113 h 120"/>
                  <a:gd name="T4" fmla="*/ 21 w 187"/>
                  <a:gd name="T5" fmla="*/ 43 h 120"/>
                  <a:gd name="T6" fmla="*/ 83 w 187"/>
                  <a:gd name="T7" fmla="*/ 6 h 120"/>
                  <a:gd name="T8" fmla="*/ 185 w 187"/>
                  <a:gd name="T9" fmla="*/ 68 h 120"/>
                  <a:gd name="T10" fmla="*/ 180 w 187"/>
                  <a:gd name="T11" fmla="*/ 79 h 120"/>
                  <a:gd name="T12" fmla="*/ 168 w 187"/>
                  <a:gd name="T13" fmla="*/ 74 h 120"/>
                  <a:gd name="T14" fmla="*/ 86 w 187"/>
                  <a:gd name="T15" fmla="*/ 24 h 120"/>
                  <a:gd name="T16" fmla="*/ 35 w 187"/>
                  <a:gd name="T17" fmla="*/ 53 h 120"/>
                  <a:gd name="T18" fmla="*/ 21 w 187"/>
                  <a:gd name="T19" fmla="*/ 110 h 120"/>
                  <a:gd name="T20" fmla="*/ 13 w 187"/>
                  <a:gd name="T21" fmla="*/ 120 h 120"/>
                  <a:gd name="T22" fmla="*/ 12 w 187"/>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120">
                    <a:moveTo>
                      <a:pt x="12" y="120"/>
                    </a:moveTo>
                    <a:cubicBezTo>
                      <a:pt x="8" y="120"/>
                      <a:pt x="4" y="117"/>
                      <a:pt x="3" y="113"/>
                    </a:cubicBezTo>
                    <a:cubicBezTo>
                      <a:pt x="0" y="88"/>
                      <a:pt x="6" y="63"/>
                      <a:pt x="21" y="43"/>
                    </a:cubicBezTo>
                    <a:cubicBezTo>
                      <a:pt x="36" y="23"/>
                      <a:pt x="58" y="10"/>
                      <a:pt x="83" y="6"/>
                    </a:cubicBezTo>
                    <a:cubicBezTo>
                      <a:pt x="127" y="0"/>
                      <a:pt x="170" y="26"/>
                      <a:pt x="185" y="68"/>
                    </a:cubicBezTo>
                    <a:cubicBezTo>
                      <a:pt x="187" y="72"/>
                      <a:pt x="184" y="77"/>
                      <a:pt x="180" y="79"/>
                    </a:cubicBezTo>
                    <a:cubicBezTo>
                      <a:pt x="175" y="81"/>
                      <a:pt x="170" y="78"/>
                      <a:pt x="168" y="74"/>
                    </a:cubicBezTo>
                    <a:cubicBezTo>
                      <a:pt x="156" y="40"/>
                      <a:pt x="121" y="19"/>
                      <a:pt x="86" y="24"/>
                    </a:cubicBezTo>
                    <a:cubicBezTo>
                      <a:pt x="66" y="27"/>
                      <a:pt x="48" y="37"/>
                      <a:pt x="35" y="53"/>
                    </a:cubicBezTo>
                    <a:cubicBezTo>
                      <a:pt x="23" y="70"/>
                      <a:pt x="18" y="90"/>
                      <a:pt x="21" y="110"/>
                    </a:cubicBezTo>
                    <a:cubicBezTo>
                      <a:pt x="22" y="115"/>
                      <a:pt x="18" y="119"/>
                      <a:pt x="13" y="120"/>
                    </a:cubicBezTo>
                    <a:cubicBezTo>
                      <a:pt x="13" y="120"/>
                      <a:pt x="13" y="120"/>
                      <a:pt x="12" y="12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3" name="Freeform 714">
                <a:extLst>
                  <a:ext uri="{FF2B5EF4-FFF2-40B4-BE49-F238E27FC236}">
                    <a16:creationId xmlns:a16="http://schemas.microsoft.com/office/drawing/2014/main" id="{09CCC760-8FFC-D242-BB61-18EB7B1868FB}"/>
                  </a:ext>
                </a:extLst>
              </p:cNvPr>
              <p:cNvSpPr>
                <a:spLocks/>
              </p:cNvSpPr>
              <p:nvPr/>
            </p:nvSpPr>
            <p:spPr bwMode="auto">
              <a:xfrm>
                <a:off x="6049814" y="2374452"/>
                <a:ext cx="450986" cy="273992"/>
              </a:xfrm>
              <a:custGeom>
                <a:avLst/>
                <a:gdLst>
                  <a:gd name="T0" fmla="*/ 90 w 191"/>
                  <a:gd name="T1" fmla="*/ 116 h 116"/>
                  <a:gd name="T2" fmla="*/ 1 w 191"/>
                  <a:gd name="T3" fmla="*/ 53 h 116"/>
                  <a:gd name="T4" fmla="*/ 7 w 191"/>
                  <a:gd name="T5" fmla="*/ 42 h 116"/>
                  <a:gd name="T6" fmla="*/ 18 w 191"/>
                  <a:gd name="T7" fmla="*/ 47 h 116"/>
                  <a:gd name="T8" fmla="*/ 101 w 191"/>
                  <a:gd name="T9" fmla="*/ 97 h 116"/>
                  <a:gd name="T10" fmla="*/ 166 w 191"/>
                  <a:gd name="T11" fmla="*/ 11 h 116"/>
                  <a:gd name="T12" fmla="*/ 173 w 191"/>
                  <a:gd name="T13" fmla="*/ 1 h 116"/>
                  <a:gd name="T14" fmla="*/ 183 w 191"/>
                  <a:gd name="T15" fmla="*/ 8 h 116"/>
                  <a:gd name="T16" fmla="*/ 103 w 191"/>
                  <a:gd name="T17" fmla="*/ 115 h 116"/>
                  <a:gd name="T18" fmla="*/ 90 w 191"/>
                  <a:gd name="T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116">
                    <a:moveTo>
                      <a:pt x="90" y="116"/>
                    </a:moveTo>
                    <a:cubicBezTo>
                      <a:pt x="51" y="116"/>
                      <a:pt x="15" y="91"/>
                      <a:pt x="1" y="53"/>
                    </a:cubicBezTo>
                    <a:cubicBezTo>
                      <a:pt x="0" y="49"/>
                      <a:pt x="2" y="44"/>
                      <a:pt x="7" y="42"/>
                    </a:cubicBezTo>
                    <a:cubicBezTo>
                      <a:pt x="11" y="40"/>
                      <a:pt x="17" y="43"/>
                      <a:pt x="18" y="47"/>
                    </a:cubicBezTo>
                    <a:cubicBezTo>
                      <a:pt x="30" y="81"/>
                      <a:pt x="65" y="102"/>
                      <a:pt x="101" y="97"/>
                    </a:cubicBezTo>
                    <a:cubicBezTo>
                      <a:pt x="142" y="91"/>
                      <a:pt x="172" y="52"/>
                      <a:pt x="166" y="11"/>
                    </a:cubicBezTo>
                    <a:cubicBezTo>
                      <a:pt x="165" y="6"/>
                      <a:pt x="168" y="1"/>
                      <a:pt x="173" y="1"/>
                    </a:cubicBezTo>
                    <a:cubicBezTo>
                      <a:pt x="178" y="0"/>
                      <a:pt x="183" y="3"/>
                      <a:pt x="183" y="8"/>
                    </a:cubicBezTo>
                    <a:cubicBezTo>
                      <a:pt x="191" y="60"/>
                      <a:pt x="155" y="107"/>
                      <a:pt x="103" y="115"/>
                    </a:cubicBezTo>
                    <a:cubicBezTo>
                      <a:pt x="99" y="115"/>
                      <a:pt x="94" y="116"/>
                      <a:pt x="90" y="116"/>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4" name="Freeform 715">
                <a:extLst>
                  <a:ext uri="{FF2B5EF4-FFF2-40B4-BE49-F238E27FC236}">
                    <a16:creationId xmlns:a16="http://schemas.microsoft.com/office/drawing/2014/main" id="{F6063827-6721-D741-9474-3EAD318AE8D5}"/>
                  </a:ext>
                </a:extLst>
              </p:cNvPr>
              <p:cNvSpPr>
                <a:spLocks/>
              </p:cNvSpPr>
              <p:nvPr/>
            </p:nvSpPr>
            <p:spPr bwMode="auto">
              <a:xfrm>
                <a:off x="6243808" y="2246456"/>
                <a:ext cx="39999" cy="160995"/>
              </a:xfrm>
              <a:custGeom>
                <a:avLst/>
                <a:gdLst>
                  <a:gd name="T0" fmla="*/ 9 w 17"/>
                  <a:gd name="T1" fmla="*/ 0 h 68"/>
                  <a:gd name="T2" fmla="*/ 0 w 17"/>
                  <a:gd name="T3" fmla="*/ 8 h 68"/>
                  <a:gd name="T4" fmla="*/ 0 w 17"/>
                  <a:gd name="T5" fmla="*/ 68 h 68"/>
                  <a:gd name="T6" fmla="*/ 3 w 17"/>
                  <a:gd name="T7" fmla="*/ 65 h 68"/>
                  <a:gd name="T8" fmla="*/ 9 w 17"/>
                  <a:gd name="T9" fmla="*/ 63 h 68"/>
                  <a:gd name="T10" fmla="*/ 15 w 17"/>
                  <a:gd name="T11" fmla="*/ 65 h 68"/>
                  <a:gd name="T12" fmla="*/ 17 w 17"/>
                  <a:gd name="T13" fmla="*/ 68 h 68"/>
                  <a:gd name="T14" fmla="*/ 17 w 17"/>
                  <a:gd name="T15" fmla="*/ 8 h 68"/>
                  <a:gd name="T16" fmla="*/ 9 w 17"/>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8">
                    <a:moveTo>
                      <a:pt x="9" y="0"/>
                    </a:moveTo>
                    <a:cubicBezTo>
                      <a:pt x="4" y="0"/>
                      <a:pt x="0" y="3"/>
                      <a:pt x="0" y="8"/>
                    </a:cubicBezTo>
                    <a:cubicBezTo>
                      <a:pt x="0" y="68"/>
                      <a:pt x="0" y="68"/>
                      <a:pt x="0" y="68"/>
                    </a:cubicBezTo>
                    <a:cubicBezTo>
                      <a:pt x="3" y="65"/>
                      <a:pt x="3" y="65"/>
                      <a:pt x="3" y="65"/>
                    </a:cubicBezTo>
                    <a:cubicBezTo>
                      <a:pt x="5" y="64"/>
                      <a:pt x="7" y="63"/>
                      <a:pt x="9" y="63"/>
                    </a:cubicBezTo>
                    <a:cubicBezTo>
                      <a:pt x="11" y="63"/>
                      <a:pt x="14" y="64"/>
                      <a:pt x="15" y="65"/>
                    </a:cubicBezTo>
                    <a:cubicBezTo>
                      <a:pt x="16" y="66"/>
                      <a:pt x="17" y="67"/>
                      <a:pt x="17" y="68"/>
                    </a:cubicBezTo>
                    <a:cubicBezTo>
                      <a:pt x="17" y="8"/>
                      <a:pt x="17" y="8"/>
                      <a:pt x="17" y="8"/>
                    </a:cubicBezTo>
                    <a:cubicBezTo>
                      <a:pt x="17" y="3"/>
                      <a:pt x="13" y="0"/>
                      <a:pt x="9" y="0"/>
                    </a:cubicBezTo>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5" name="Freeform 716">
                <a:extLst>
                  <a:ext uri="{FF2B5EF4-FFF2-40B4-BE49-F238E27FC236}">
                    <a16:creationId xmlns:a16="http://schemas.microsoft.com/office/drawing/2014/main" id="{E9FC1CC6-0177-9748-B05A-DC2D30B9FC2A}"/>
                  </a:ext>
                </a:extLst>
              </p:cNvPr>
              <p:cNvSpPr>
                <a:spLocks/>
              </p:cNvSpPr>
              <p:nvPr/>
            </p:nvSpPr>
            <p:spPr bwMode="auto">
              <a:xfrm>
                <a:off x="6243808" y="2243456"/>
                <a:ext cx="41999" cy="165995"/>
              </a:xfrm>
              <a:custGeom>
                <a:avLst/>
                <a:gdLst>
                  <a:gd name="T0" fmla="*/ 9 w 18"/>
                  <a:gd name="T1" fmla="*/ 0 h 70"/>
                  <a:gd name="T2" fmla="*/ 9 w 18"/>
                  <a:gd name="T3" fmla="*/ 0 h 70"/>
                  <a:gd name="T4" fmla="*/ 0 w 18"/>
                  <a:gd name="T5" fmla="*/ 9 h 70"/>
                  <a:gd name="T6" fmla="*/ 0 w 18"/>
                  <a:gd name="T7" fmla="*/ 69 h 70"/>
                  <a:gd name="T8" fmla="*/ 0 w 18"/>
                  <a:gd name="T9" fmla="*/ 69 h 70"/>
                  <a:gd name="T10" fmla="*/ 0 w 18"/>
                  <a:gd name="T11" fmla="*/ 9 h 70"/>
                  <a:gd name="T12" fmla="*/ 9 w 18"/>
                  <a:gd name="T13" fmla="*/ 1 h 70"/>
                  <a:gd name="T14" fmla="*/ 17 w 18"/>
                  <a:gd name="T15" fmla="*/ 9 h 70"/>
                  <a:gd name="T16" fmla="*/ 17 w 18"/>
                  <a:gd name="T17" fmla="*/ 69 h 70"/>
                  <a:gd name="T18" fmla="*/ 18 w 18"/>
                  <a:gd name="T19" fmla="*/ 70 h 70"/>
                  <a:gd name="T20" fmla="*/ 18 w 18"/>
                  <a:gd name="T21" fmla="*/ 9 h 70"/>
                  <a:gd name="T22" fmla="*/ 9 w 18"/>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70">
                    <a:moveTo>
                      <a:pt x="9" y="0"/>
                    </a:moveTo>
                    <a:cubicBezTo>
                      <a:pt x="9" y="0"/>
                      <a:pt x="9" y="0"/>
                      <a:pt x="9" y="0"/>
                    </a:cubicBezTo>
                    <a:cubicBezTo>
                      <a:pt x="4" y="0"/>
                      <a:pt x="0" y="4"/>
                      <a:pt x="0" y="9"/>
                    </a:cubicBezTo>
                    <a:cubicBezTo>
                      <a:pt x="0" y="69"/>
                      <a:pt x="0" y="69"/>
                      <a:pt x="0" y="69"/>
                    </a:cubicBezTo>
                    <a:cubicBezTo>
                      <a:pt x="0" y="69"/>
                      <a:pt x="0" y="69"/>
                      <a:pt x="0" y="69"/>
                    </a:cubicBezTo>
                    <a:cubicBezTo>
                      <a:pt x="0" y="9"/>
                      <a:pt x="0" y="9"/>
                      <a:pt x="0" y="9"/>
                    </a:cubicBezTo>
                    <a:cubicBezTo>
                      <a:pt x="0" y="4"/>
                      <a:pt x="4" y="1"/>
                      <a:pt x="9" y="1"/>
                    </a:cubicBezTo>
                    <a:cubicBezTo>
                      <a:pt x="13" y="1"/>
                      <a:pt x="17" y="4"/>
                      <a:pt x="17" y="9"/>
                    </a:cubicBezTo>
                    <a:cubicBezTo>
                      <a:pt x="17" y="69"/>
                      <a:pt x="17" y="69"/>
                      <a:pt x="17" y="69"/>
                    </a:cubicBezTo>
                    <a:cubicBezTo>
                      <a:pt x="17" y="69"/>
                      <a:pt x="17" y="70"/>
                      <a:pt x="18" y="70"/>
                    </a:cubicBezTo>
                    <a:cubicBezTo>
                      <a:pt x="18" y="9"/>
                      <a:pt x="18" y="9"/>
                      <a:pt x="18" y="9"/>
                    </a:cubicBezTo>
                    <a:cubicBezTo>
                      <a:pt x="18" y="4"/>
                      <a:pt x="14" y="0"/>
                      <a:pt x="9" y="0"/>
                    </a:cubicBezTo>
                  </a:path>
                </a:pathLst>
              </a:custGeom>
              <a:solidFill>
                <a:srgbClr val="0036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6" name="Freeform 717">
                <a:extLst>
                  <a:ext uri="{FF2B5EF4-FFF2-40B4-BE49-F238E27FC236}">
                    <a16:creationId xmlns:a16="http://schemas.microsoft.com/office/drawing/2014/main" id="{223EBB45-DAB1-CD4C-8DF9-B544F40DC309}"/>
                  </a:ext>
                </a:extLst>
              </p:cNvPr>
              <p:cNvSpPr>
                <a:spLocks/>
              </p:cNvSpPr>
              <p:nvPr/>
            </p:nvSpPr>
            <p:spPr bwMode="auto">
              <a:xfrm>
                <a:off x="6174810" y="2409451"/>
                <a:ext cx="98997" cy="94997"/>
              </a:xfrm>
              <a:custGeom>
                <a:avLst/>
                <a:gdLst>
                  <a:gd name="T0" fmla="*/ 29 w 42"/>
                  <a:gd name="T1" fmla="*/ 0 h 40"/>
                  <a:gd name="T2" fmla="*/ 3 w 42"/>
                  <a:gd name="T3" fmla="*/ 26 h 40"/>
                  <a:gd name="T4" fmla="*/ 3 w 42"/>
                  <a:gd name="T5" fmla="*/ 38 h 40"/>
                  <a:gd name="T6" fmla="*/ 9 w 42"/>
                  <a:gd name="T7" fmla="*/ 40 h 40"/>
                  <a:gd name="T8" fmla="*/ 15 w 42"/>
                  <a:gd name="T9" fmla="*/ 38 h 40"/>
                  <a:gd name="T10" fmla="*/ 42 w 42"/>
                  <a:gd name="T11" fmla="*/ 11 h 40"/>
                  <a:gd name="T12" fmla="*/ 38 w 42"/>
                  <a:gd name="T13" fmla="*/ 12 h 40"/>
                  <a:gd name="T14" fmla="*/ 29 w 42"/>
                  <a:gd name="T15" fmla="*/ 3 h 40"/>
                  <a:gd name="T16" fmla="*/ 29 w 42"/>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0">
                    <a:moveTo>
                      <a:pt x="29" y="0"/>
                    </a:moveTo>
                    <a:cubicBezTo>
                      <a:pt x="3" y="26"/>
                      <a:pt x="3" y="26"/>
                      <a:pt x="3" y="26"/>
                    </a:cubicBezTo>
                    <a:cubicBezTo>
                      <a:pt x="0" y="29"/>
                      <a:pt x="0" y="35"/>
                      <a:pt x="3" y="38"/>
                    </a:cubicBezTo>
                    <a:cubicBezTo>
                      <a:pt x="5" y="39"/>
                      <a:pt x="7" y="40"/>
                      <a:pt x="9" y="40"/>
                    </a:cubicBezTo>
                    <a:cubicBezTo>
                      <a:pt x="11" y="40"/>
                      <a:pt x="13" y="39"/>
                      <a:pt x="15" y="38"/>
                    </a:cubicBezTo>
                    <a:cubicBezTo>
                      <a:pt x="42" y="11"/>
                      <a:pt x="42" y="11"/>
                      <a:pt x="42" y="11"/>
                    </a:cubicBezTo>
                    <a:cubicBezTo>
                      <a:pt x="41" y="11"/>
                      <a:pt x="39" y="12"/>
                      <a:pt x="38" y="12"/>
                    </a:cubicBezTo>
                    <a:cubicBezTo>
                      <a:pt x="33" y="12"/>
                      <a:pt x="29" y="8"/>
                      <a:pt x="29" y="3"/>
                    </a:cubicBezTo>
                    <a:cubicBezTo>
                      <a:pt x="29" y="0"/>
                      <a:pt x="29" y="0"/>
                      <a:pt x="29" y="0"/>
                    </a:cubicBezTo>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7" name="Freeform 718">
                <a:extLst>
                  <a:ext uri="{FF2B5EF4-FFF2-40B4-BE49-F238E27FC236}">
                    <a16:creationId xmlns:a16="http://schemas.microsoft.com/office/drawing/2014/main" id="{B38CDC2B-AAAE-E24F-91EB-5C5D693D31E4}"/>
                  </a:ext>
                </a:extLst>
              </p:cNvPr>
              <p:cNvSpPr>
                <a:spLocks/>
              </p:cNvSpPr>
              <p:nvPr/>
            </p:nvSpPr>
            <p:spPr bwMode="auto">
              <a:xfrm>
                <a:off x="6172810" y="2407451"/>
                <a:ext cx="112997" cy="98997"/>
              </a:xfrm>
              <a:custGeom>
                <a:avLst/>
                <a:gdLst>
                  <a:gd name="T0" fmla="*/ 30 w 48"/>
                  <a:gd name="T1" fmla="*/ 0 h 42"/>
                  <a:gd name="T2" fmla="*/ 4 w 48"/>
                  <a:gd name="T3" fmla="*/ 27 h 42"/>
                  <a:gd name="T4" fmla="*/ 4 w 48"/>
                  <a:gd name="T5" fmla="*/ 39 h 42"/>
                  <a:gd name="T6" fmla="*/ 10 w 48"/>
                  <a:gd name="T7" fmla="*/ 42 h 42"/>
                  <a:gd name="T8" fmla="*/ 16 w 48"/>
                  <a:gd name="T9" fmla="*/ 39 h 42"/>
                  <a:gd name="T10" fmla="*/ 45 w 48"/>
                  <a:gd name="T11" fmla="*/ 10 h 42"/>
                  <a:gd name="T12" fmla="*/ 48 w 48"/>
                  <a:gd name="T13" fmla="*/ 1 h 42"/>
                  <a:gd name="T14" fmla="*/ 48 w 48"/>
                  <a:gd name="T15" fmla="*/ 4 h 42"/>
                  <a:gd name="T16" fmla="*/ 43 w 48"/>
                  <a:gd name="T17" fmla="*/ 12 h 42"/>
                  <a:gd name="T18" fmla="*/ 16 w 48"/>
                  <a:gd name="T19" fmla="*/ 39 h 42"/>
                  <a:gd name="T20" fmla="*/ 10 w 48"/>
                  <a:gd name="T21" fmla="*/ 41 h 42"/>
                  <a:gd name="T22" fmla="*/ 4 w 48"/>
                  <a:gd name="T23" fmla="*/ 39 h 42"/>
                  <a:gd name="T24" fmla="*/ 4 w 48"/>
                  <a:gd name="T25" fmla="*/ 27 h 42"/>
                  <a:gd name="T26" fmla="*/ 30 w 48"/>
                  <a:gd name="T27" fmla="*/ 1 h 42"/>
                  <a:gd name="T28" fmla="*/ 30 w 48"/>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2">
                    <a:moveTo>
                      <a:pt x="30" y="0"/>
                    </a:moveTo>
                    <a:cubicBezTo>
                      <a:pt x="4" y="27"/>
                      <a:pt x="4" y="27"/>
                      <a:pt x="4" y="27"/>
                    </a:cubicBezTo>
                    <a:cubicBezTo>
                      <a:pt x="0" y="30"/>
                      <a:pt x="0" y="36"/>
                      <a:pt x="4" y="39"/>
                    </a:cubicBezTo>
                    <a:cubicBezTo>
                      <a:pt x="5" y="41"/>
                      <a:pt x="8" y="42"/>
                      <a:pt x="10" y="42"/>
                    </a:cubicBezTo>
                    <a:cubicBezTo>
                      <a:pt x="12" y="42"/>
                      <a:pt x="14" y="41"/>
                      <a:pt x="16" y="39"/>
                    </a:cubicBezTo>
                    <a:cubicBezTo>
                      <a:pt x="45" y="10"/>
                      <a:pt x="45" y="10"/>
                      <a:pt x="45" y="10"/>
                    </a:cubicBezTo>
                    <a:cubicBezTo>
                      <a:pt x="48" y="8"/>
                      <a:pt x="48" y="4"/>
                      <a:pt x="48" y="1"/>
                    </a:cubicBezTo>
                    <a:cubicBezTo>
                      <a:pt x="48" y="4"/>
                      <a:pt x="48" y="4"/>
                      <a:pt x="48" y="4"/>
                    </a:cubicBezTo>
                    <a:cubicBezTo>
                      <a:pt x="48" y="7"/>
                      <a:pt x="46" y="10"/>
                      <a:pt x="43" y="12"/>
                    </a:cubicBezTo>
                    <a:cubicBezTo>
                      <a:pt x="16" y="39"/>
                      <a:pt x="16" y="39"/>
                      <a:pt x="16" y="39"/>
                    </a:cubicBezTo>
                    <a:cubicBezTo>
                      <a:pt x="14" y="40"/>
                      <a:pt x="12" y="41"/>
                      <a:pt x="10" y="41"/>
                    </a:cubicBezTo>
                    <a:cubicBezTo>
                      <a:pt x="8" y="41"/>
                      <a:pt x="6" y="40"/>
                      <a:pt x="4" y="39"/>
                    </a:cubicBezTo>
                    <a:cubicBezTo>
                      <a:pt x="1" y="36"/>
                      <a:pt x="1" y="30"/>
                      <a:pt x="4" y="27"/>
                    </a:cubicBezTo>
                    <a:cubicBezTo>
                      <a:pt x="30" y="1"/>
                      <a:pt x="30" y="1"/>
                      <a:pt x="30" y="1"/>
                    </a:cubicBezTo>
                    <a:cubicBezTo>
                      <a:pt x="30" y="0"/>
                      <a:pt x="30" y="0"/>
                      <a:pt x="30" y="0"/>
                    </a:cubicBezTo>
                  </a:path>
                </a:pathLst>
              </a:custGeom>
              <a:solidFill>
                <a:srgbClr val="0036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8" name="Freeform 719">
                <a:extLst>
                  <a:ext uri="{FF2B5EF4-FFF2-40B4-BE49-F238E27FC236}">
                    <a16:creationId xmlns:a16="http://schemas.microsoft.com/office/drawing/2014/main" id="{89914A86-57F0-CF49-B59F-F334200C818D}"/>
                  </a:ext>
                </a:extLst>
              </p:cNvPr>
              <p:cNvSpPr>
                <a:spLocks/>
              </p:cNvSpPr>
              <p:nvPr/>
            </p:nvSpPr>
            <p:spPr bwMode="auto">
              <a:xfrm>
                <a:off x="6243808" y="2395452"/>
                <a:ext cx="41999" cy="41999"/>
              </a:xfrm>
              <a:custGeom>
                <a:avLst/>
                <a:gdLst>
                  <a:gd name="T0" fmla="*/ 9 w 18"/>
                  <a:gd name="T1" fmla="*/ 0 h 18"/>
                  <a:gd name="T2" fmla="*/ 3 w 18"/>
                  <a:gd name="T3" fmla="*/ 2 h 18"/>
                  <a:gd name="T4" fmla="*/ 0 w 18"/>
                  <a:gd name="T5" fmla="*/ 5 h 18"/>
                  <a:gd name="T6" fmla="*/ 0 w 18"/>
                  <a:gd name="T7" fmla="*/ 6 h 18"/>
                  <a:gd name="T8" fmla="*/ 0 w 18"/>
                  <a:gd name="T9" fmla="*/ 6 h 18"/>
                  <a:gd name="T10" fmla="*/ 0 w 18"/>
                  <a:gd name="T11" fmla="*/ 9 h 18"/>
                  <a:gd name="T12" fmla="*/ 9 w 18"/>
                  <a:gd name="T13" fmla="*/ 18 h 18"/>
                  <a:gd name="T14" fmla="*/ 13 w 18"/>
                  <a:gd name="T15" fmla="*/ 17 h 18"/>
                  <a:gd name="T16" fmla="*/ 15 w 18"/>
                  <a:gd name="T17" fmla="*/ 15 h 18"/>
                  <a:gd name="T18" fmla="*/ 17 w 18"/>
                  <a:gd name="T19" fmla="*/ 7 h 18"/>
                  <a:gd name="T20" fmla="*/ 17 w 18"/>
                  <a:gd name="T21" fmla="*/ 6 h 18"/>
                  <a:gd name="T22" fmla="*/ 17 w 18"/>
                  <a:gd name="T23" fmla="*/ 5 h 18"/>
                  <a:gd name="T24" fmla="*/ 15 w 18"/>
                  <a:gd name="T25" fmla="*/ 2 h 18"/>
                  <a:gd name="T26" fmla="*/ 9 w 18"/>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8">
                    <a:moveTo>
                      <a:pt x="9" y="0"/>
                    </a:moveTo>
                    <a:cubicBezTo>
                      <a:pt x="7" y="0"/>
                      <a:pt x="5" y="1"/>
                      <a:pt x="3" y="2"/>
                    </a:cubicBezTo>
                    <a:cubicBezTo>
                      <a:pt x="0" y="5"/>
                      <a:pt x="0" y="5"/>
                      <a:pt x="0" y="5"/>
                    </a:cubicBezTo>
                    <a:cubicBezTo>
                      <a:pt x="0" y="6"/>
                      <a:pt x="0" y="6"/>
                      <a:pt x="0" y="6"/>
                    </a:cubicBezTo>
                    <a:cubicBezTo>
                      <a:pt x="0" y="6"/>
                      <a:pt x="0" y="6"/>
                      <a:pt x="0" y="6"/>
                    </a:cubicBezTo>
                    <a:cubicBezTo>
                      <a:pt x="0" y="9"/>
                      <a:pt x="0" y="9"/>
                      <a:pt x="0" y="9"/>
                    </a:cubicBezTo>
                    <a:cubicBezTo>
                      <a:pt x="0" y="14"/>
                      <a:pt x="4" y="18"/>
                      <a:pt x="9" y="18"/>
                    </a:cubicBezTo>
                    <a:cubicBezTo>
                      <a:pt x="10" y="18"/>
                      <a:pt x="12" y="17"/>
                      <a:pt x="13" y="17"/>
                    </a:cubicBezTo>
                    <a:cubicBezTo>
                      <a:pt x="15" y="15"/>
                      <a:pt x="15" y="15"/>
                      <a:pt x="15" y="15"/>
                    </a:cubicBezTo>
                    <a:cubicBezTo>
                      <a:pt x="17" y="12"/>
                      <a:pt x="18" y="9"/>
                      <a:pt x="17" y="7"/>
                    </a:cubicBezTo>
                    <a:cubicBezTo>
                      <a:pt x="17" y="6"/>
                      <a:pt x="17" y="6"/>
                      <a:pt x="17" y="6"/>
                    </a:cubicBezTo>
                    <a:cubicBezTo>
                      <a:pt x="17" y="5"/>
                      <a:pt x="17" y="5"/>
                      <a:pt x="17" y="5"/>
                    </a:cubicBezTo>
                    <a:cubicBezTo>
                      <a:pt x="17" y="4"/>
                      <a:pt x="16" y="3"/>
                      <a:pt x="15" y="2"/>
                    </a:cubicBezTo>
                    <a:cubicBezTo>
                      <a:pt x="14" y="1"/>
                      <a:pt x="11" y="0"/>
                      <a:pt x="9" y="0"/>
                    </a:cubicBezTo>
                  </a:path>
                </a:pathLst>
              </a:custGeom>
              <a:solidFill>
                <a:srgbClr val="F57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19" name="Freeform 720">
                <a:extLst>
                  <a:ext uri="{FF2B5EF4-FFF2-40B4-BE49-F238E27FC236}">
                    <a16:creationId xmlns:a16="http://schemas.microsoft.com/office/drawing/2014/main" id="{4C7F2926-F778-A44D-8639-E15D3D4CC939}"/>
                  </a:ext>
                </a:extLst>
              </p:cNvPr>
              <p:cNvSpPr>
                <a:spLocks noEditPoints="1"/>
              </p:cNvSpPr>
              <p:nvPr/>
            </p:nvSpPr>
            <p:spPr bwMode="auto">
              <a:xfrm>
                <a:off x="6243808" y="2407451"/>
                <a:ext cx="41999" cy="27999"/>
              </a:xfrm>
              <a:custGeom>
                <a:avLst/>
                <a:gdLst>
                  <a:gd name="T0" fmla="*/ 17 w 18"/>
                  <a:gd name="T1" fmla="*/ 0 h 12"/>
                  <a:gd name="T2" fmla="*/ 17 w 18"/>
                  <a:gd name="T3" fmla="*/ 1 h 12"/>
                  <a:gd name="T4" fmla="*/ 17 w 18"/>
                  <a:gd name="T5" fmla="*/ 2 h 12"/>
                  <a:gd name="T6" fmla="*/ 15 w 18"/>
                  <a:gd name="T7" fmla="*/ 10 h 12"/>
                  <a:gd name="T8" fmla="*/ 13 w 18"/>
                  <a:gd name="T9" fmla="*/ 12 h 12"/>
                  <a:gd name="T10" fmla="*/ 18 w 18"/>
                  <a:gd name="T11" fmla="*/ 4 h 12"/>
                  <a:gd name="T12" fmla="*/ 18 w 18"/>
                  <a:gd name="T13" fmla="*/ 1 h 12"/>
                  <a:gd name="T14" fmla="*/ 17 w 18"/>
                  <a:gd name="T15" fmla="*/ 0 h 12"/>
                  <a:gd name="T16" fmla="*/ 0 w 18"/>
                  <a:gd name="T17" fmla="*/ 0 h 12"/>
                  <a:gd name="T18" fmla="*/ 0 w 18"/>
                  <a:gd name="T19" fmla="*/ 0 h 12"/>
                  <a:gd name="T20" fmla="*/ 0 w 18"/>
                  <a:gd name="T21" fmla="*/ 1 h 12"/>
                  <a:gd name="T22" fmla="*/ 0 w 18"/>
                  <a:gd name="T23" fmla="*/ 1 h 12"/>
                  <a:gd name="T24" fmla="*/ 0 w 18"/>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2">
                    <a:moveTo>
                      <a:pt x="17" y="0"/>
                    </a:moveTo>
                    <a:cubicBezTo>
                      <a:pt x="17" y="1"/>
                      <a:pt x="17" y="1"/>
                      <a:pt x="17" y="1"/>
                    </a:cubicBezTo>
                    <a:cubicBezTo>
                      <a:pt x="17" y="2"/>
                      <a:pt x="17" y="2"/>
                      <a:pt x="17" y="2"/>
                    </a:cubicBezTo>
                    <a:cubicBezTo>
                      <a:pt x="18" y="4"/>
                      <a:pt x="17" y="7"/>
                      <a:pt x="15" y="10"/>
                    </a:cubicBezTo>
                    <a:cubicBezTo>
                      <a:pt x="13" y="12"/>
                      <a:pt x="13" y="12"/>
                      <a:pt x="13" y="12"/>
                    </a:cubicBezTo>
                    <a:cubicBezTo>
                      <a:pt x="16" y="10"/>
                      <a:pt x="18" y="7"/>
                      <a:pt x="18" y="4"/>
                    </a:cubicBezTo>
                    <a:cubicBezTo>
                      <a:pt x="18" y="1"/>
                      <a:pt x="18" y="1"/>
                      <a:pt x="18" y="1"/>
                    </a:cubicBezTo>
                    <a:cubicBezTo>
                      <a:pt x="17" y="1"/>
                      <a:pt x="17" y="0"/>
                      <a:pt x="17" y="0"/>
                    </a:cubicBezTo>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0024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0" name="Freeform 721">
                <a:extLst>
                  <a:ext uri="{FF2B5EF4-FFF2-40B4-BE49-F238E27FC236}">
                    <a16:creationId xmlns:a16="http://schemas.microsoft.com/office/drawing/2014/main" id="{501677BD-9382-714A-8918-61C3C027CFC1}"/>
                  </a:ext>
                </a:extLst>
              </p:cNvPr>
              <p:cNvSpPr>
                <a:spLocks/>
              </p:cNvSpPr>
              <p:nvPr/>
            </p:nvSpPr>
            <p:spPr bwMode="auto">
              <a:xfrm>
                <a:off x="5990816" y="2350453"/>
                <a:ext cx="48999" cy="77998"/>
              </a:xfrm>
              <a:custGeom>
                <a:avLst/>
                <a:gdLst>
                  <a:gd name="T0" fmla="*/ 9 w 21"/>
                  <a:gd name="T1" fmla="*/ 0 h 33"/>
                  <a:gd name="T2" fmla="*/ 9 w 21"/>
                  <a:gd name="T3" fmla="*/ 0 h 33"/>
                  <a:gd name="T4" fmla="*/ 3 w 21"/>
                  <a:gd name="T5" fmla="*/ 3 h 33"/>
                  <a:gd name="T6" fmla="*/ 0 w 21"/>
                  <a:gd name="T7" fmla="*/ 9 h 33"/>
                  <a:gd name="T8" fmla="*/ 3 w 21"/>
                  <a:gd name="T9" fmla="*/ 14 h 33"/>
                  <a:gd name="T10" fmla="*/ 21 w 21"/>
                  <a:gd name="T11" fmla="*/ 33 h 33"/>
                  <a:gd name="T12" fmla="*/ 20 w 21"/>
                  <a:gd name="T13" fmla="*/ 31 h 33"/>
                  <a:gd name="T14" fmla="*/ 20 w 21"/>
                  <a:gd name="T15" fmla="*/ 8 h 33"/>
                  <a:gd name="T16" fmla="*/ 15 w 21"/>
                  <a:gd name="T17" fmla="*/ 3 h 33"/>
                  <a:gd name="T18" fmla="*/ 9 w 21"/>
                  <a:gd name="T1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3">
                    <a:moveTo>
                      <a:pt x="9" y="0"/>
                    </a:moveTo>
                    <a:cubicBezTo>
                      <a:pt x="9" y="0"/>
                      <a:pt x="9" y="0"/>
                      <a:pt x="9" y="0"/>
                    </a:cubicBezTo>
                    <a:cubicBezTo>
                      <a:pt x="6" y="0"/>
                      <a:pt x="4" y="1"/>
                      <a:pt x="3" y="3"/>
                    </a:cubicBezTo>
                    <a:cubicBezTo>
                      <a:pt x="1" y="4"/>
                      <a:pt x="0" y="6"/>
                      <a:pt x="0" y="9"/>
                    </a:cubicBezTo>
                    <a:cubicBezTo>
                      <a:pt x="0" y="11"/>
                      <a:pt x="1" y="13"/>
                      <a:pt x="3" y="14"/>
                    </a:cubicBezTo>
                    <a:cubicBezTo>
                      <a:pt x="21" y="33"/>
                      <a:pt x="21" y="33"/>
                      <a:pt x="21" y="33"/>
                    </a:cubicBezTo>
                    <a:cubicBezTo>
                      <a:pt x="21" y="32"/>
                      <a:pt x="20" y="31"/>
                      <a:pt x="20" y="31"/>
                    </a:cubicBezTo>
                    <a:cubicBezTo>
                      <a:pt x="19" y="23"/>
                      <a:pt x="19" y="15"/>
                      <a:pt x="20" y="8"/>
                    </a:cubicBezTo>
                    <a:cubicBezTo>
                      <a:pt x="15" y="3"/>
                      <a:pt x="15" y="3"/>
                      <a:pt x="15" y="3"/>
                    </a:cubicBezTo>
                    <a:cubicBezTo>
                      <a:pt x="13" y="1"/>
                      <a:pt x="11" y="0"/>
                      <a:pt x="9"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1" name="Freeform 722">
                <a:extLst>
                  <a:ext uri="{FF2B5EF4-FFF2-40B4-BE49-F238E27FC236}">
                    <a16:creationId xmlns:a16="http://schemas.microsoft.com/office/drawing/2014/main" id="{0AA6831B-88F0-904E-AD9D-610E50AF06D1}"/>
                  </a:ext>
                </a:extLst>
              </p:cNvPr>
              <p:cNvSpPr>
                <a:spLocks/>
              </p:cNvSpPr>
              <p:nvPr/>
            </p:nvSpPr>
            <p:spPr bwMode="auto">
              <a:xfrm>
                <a:off x="5990816" y="2350453"/>
                <a:ext cx="53998" cy="82997"/>
              </a:xfrm>
              <a:custGeom>
                <a:avLst/>
                <a:gdLst>
                  <a:gd name="T0" fmla="*/ 9 w 23"/>
                  <a:gd name="T1" fmla="*/ 0 h 35"/>
                  <a:gd name="T2" fmla="*/ 9 w 23"/>
                  <a:gd name="T3" fmla="*/ 0 h 35"/>
                  <a:gd name="T4" fmla="*/ 2 w 23"/>
                  <a:gd name="T5" fmla="*/ 2 h 35"/>
                  <a:gd name="T6" fmla="*/ 0 w 23"/>
                  <a:gd name="T7" fmla="*/ 8 h 35"/>
                  <a:gd name="T8" fmla="*/ 0 w 23"/>
                  <a:gd name="T9" fmla="*/ 9 h 35"/>
                  <a:gd name="T10" fmla="*/ 2 w 23"/>
                  <a:gd name="T11" fmla="*/ 15 h 35"/>
                  <a:gd name="T12" fmla="*/ 23 w 23"/>
                  <a:gd name="T13" fmla="*/ 35 h 35"/>
                  <a:gd name="T14" fmla="*/ 21 w 23"/>
                  <a:gd name="T15" fmla="*/ 33 h 35"/>
                  <a:gd name="T16" fmla="*/ 3 w 23"/>
                  <a:gd name="T17" fmla="*/ 14 h 35"/>
                  <a:gd name="T18" fmla="*/ 0 w 23"/>
                  <a:gd name="T19" fmla="*/ 9 h 35"/>
                  <a:gd name="T20" fmla="*/ 3 w 23"/>
                  <a:gd name="T21" fmla="*/ 3 h 35"/>
                  <a:gd name="T22" fmla="*/ 9 w 23"/>
                  <a:gd name="T23" fmla="*/ 0 h 35"/>
                  <a:gd name="T24" fmla="*/ 9 w 23"/>
                  <a:gd name="T25" fmla="*/ 0 h 35"/>
                  <a:gd name="T26" fmla="*/ 15 w 23"/>
                  <a:gd name="T27" fmla="*/ 3 h 35"/>
                  <a:gd name="T28" fmla="*/ 20 w 23"/>
                  <a:gd name="T29" fmla="*/ 8 h 35"/>
                  <a:gd name="T30" fmla="*/ 20 w 23"/>
                  <a:gd name="T31" fmla="*/ 7 h 35"/>
                  <a:gd name="T32" fmla="*/ 15 w 23"/>
                  <a:gd name="T33" fmla="*/ 2 h 35"/>
                  <a:gd name="T34" fmla="*/ 9 w 23"/>
                  <a:gd name="T3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35">
                    <a:moveTo>
                      <a:pt x="9" y="0"/>
                    </a:moveTo>
                    <a:cubicBezTo>
                      <a:pt x="9" y="0"/>
                      <a:pt x="9" y="0"/>
                      <a:pt x="9" y="0"/>
                    </a:cubicBezTo>
                    <a:cubicBezTo>
                      <a:pt x="6" y="0"/>
                      <a:pt x="4" y="1"/>
                      <a:pt x="2" y="2"/>
                    </a:cubicBezTo>
                    <a:cubicBezTo>
                      <a:pt x="1" y="4"/>
                      <a:pt x="0" y="6"/>
                      <a:pt x="0" y="8"/>
                    </a:cubicBezTo>
                    <a:cubicBezTo>
                      <a:pt x="0" y="9"/>
                      <a:pt x="0" y="9"/>
                      <a:pt x="0" y="9"/>
                    </a:cubicBezTo>
                    <a:cubicBezTo>
                      <a:pt x="0" y="11"/>
                      <a:pt x="1" y="13"/>
                      <a:pt x="2" y="15"/>
                    </a:cubicBezTo>
                    <a:cubicBezTo>
                      <a:pt x="23" y="35"/>
                      <a:pt x="23" y="35"/>
                      <a:pt x="23" y="35"/>
                    </a:cubicBezTo>
                    <a:cubicBezTo>
                      <a:pt x="22" y="35"/>
                      <a:pt x="21" y="34"/>
                      <a:pt x="21" y="33"/>
                    </a:cubicBezTo>
                    <a:cubicBezTo>
                      <a:pt x="3" y="14"/>
                      <a:pt x="3" y="14"/>
                      <a:pt x="3" y="14"/>
                    </a:cubicBezTo>
                    <a:cubicBezTo>
                      <a:pt x="1" y="13"/>
                      <a:pt x="0" y="11"/>
                      <a:pt x="0" y="9"/>
                    </a:cubicBezTo>
                    <a:cubicBezTo>
                      <a:pt x="0" y="6"/>
                      <a:pt x="1" y="4"/>
                      <a:pt x="3" y="3"/>
                    </a:cubicBezTo>
                    <a:cubicBezTo>
                      <a:pt x="4" y="1"/>
                      <a:pt x="6" y="0"/>
                      <a:pt x="9" y="0"/>
                    </a:cubicBezTo>
                    <a:cubicBezTo>
                      <a:pt x="9" y="0"/>
                      <a:pt x="9" y="0"/>
                      <a:pt x="9" y="0"/>
                    </a:cubicBezTo>
                    <a:cubicBezTo>
                      <a:pt x="11" y="0"/>
                      <a:pt x="13" y="1"/>
                      <a:pt x="15" y="3"/>
                    </a:cubicBezTo>
                    <a:cubicBezTo>
                      <a:pt x="20" y="8"/>
                      <a:pt x="20" y="8"/>
                      <a:pt x="20" y="8"/>
                    </a:cubicBezTo>
                    <a:cubicBezTo>
                      <a:pt x="20" y="8"/>
                      <a:pt x="20" y="8"/>
                      <a:pt x="20" y="7"/>
                    </a:cubicBezTo>
                    <a:cubicBezTo>
                      <a:pt x="15" y="2"/>
                      <a:pt x="15" y="2"/>
                      <a:pt x="15" y="2"/>
                    </a:cubicBezTo>
                    <a:cubicBezTo>
                      <a:pt x="13" y="1"/>
                      <a:pt x="11" y="0"/>
                      <a:pt x="9" y="0"/>
                    </a:cubicBezTo>
                  </a:path>
                </a:pathLst>
              </a:custGeom>
              <a:solidFill>
                <a:srgbClr val="003B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2" name="Freeform 723">
                <a:extLst>
                  <a:ext uri="{FF2B5EF4-FFF2-40B4-BE49-F238E27FC236}">
                    <a16:creationId xmlns:a16="http://schemas.microsoft.com/office/drawing/2014/main" id="{B4100357-0E5C-214C-8EB7-162502389C30}"/>
                  </a:ext>
                </a:extLst>
              </p:cNvPr>
              <p:cNvSpPr>
                <a:spLocks/>
              </p:cNvSpPr>
              <p:nvPr/>
            </p:nvSpPr>
            <p:spPr bwMode="auto">
              <a:xfrm>
                <a:off x="6035815" y="2366452"/>
                <a:ext cx="22999" cy="66998"/>
              </a:xfrm>
              <a:custGeom>
                <a:avLst/>
                <a:gdLst>
                  <a:gd name="T0" fmla="*/ 1 w 10"/>
                  <a:gd name="T1" fmla="*/ 0 h 28"/>
                  <a:gd name="T2" fmla="*/ 1 w 10"/>
                  <a:gd name="T3" fmla="*/ 1 h 28"/>
                  <a:gd name="T4" fmla="*/ 1 w 10"/>
                  <a:gd name="T5" fmla="*/ 24 h 28"/>
                  <a:gd name="T6" fmla="*/ 2 w 10"/>
                  <a:gd name="T7" fmla="*/ 26 h 28"/>
                  <a:gd name="T8" fmla="*/ 4 w 10"/>
                  <a:gd name="T9" fmla="*/ 28 h 28"/>
                  <a:gd name="T10" fmla="*/ 4 w 10"/>
                  <a:gd name="T11" fmla="*/ 28 h 28"/>
                  <a:gd name="T12" fmla="*/ 4 w 10"/>
                  <a:gd name="T13" fmla="*/ 16 h 28"/>
                  <a:gd name="T14" fmla="*/ 10 w 10"/>
                  <a:gd name="T15" fmla="*/ 10 h 28"/>
                  <a:gd name="T16" fmla="*/ 1 w 10"/>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8">
                    <a:moveTo>
                      <a:pt x="1" y="0"/>
                    </a:moveTo>
                    <a:cubicBezTo>
                      <a:pt x="1" y="1"/>
                      <a:pt x="1" y="1"/>
                      <a:pt x="1" y="1"/>
                    </a:cubicBezTo>
                    <a:cubicBezTo>
                      <a:pt x="0" y="8"/>
                      <a:pt x="0" y="16"/>
                      <a:pt x="1" y="24"/>
                    </a:cubicBezTo>
                    <a:cubicBezTo>
                      <a:pt x="1" y="24"/>
                      <a:pt x="2" y="25"/>
                      <a:pt x="2" y="26"/>
                    </a:cubicBezTo>
                    <a:cubicBezTo>
                      <a:pt x="2" y="27"/>
                      <a:pt x="3" y="28"/>
                      <a:pt x="4" y="28"/>
                    </a:cubicBezTo>
                    <a:cubicBezTo>
                      <a:pt x="4" y="28"/>
                      <a:pt x="4" y="28"/>
                      <a:pt x="4" y="28"/>
                    </a:cubicBezTo>
                    <a:cubicBezTo>
                      <a:pt x="0" y="25"/>
                      <a:pt x="0" y="19"/>
                      <a:pt x="4" y="16"/>
                    </a:cubicBezTo>
                    <a:cubicBezTo>
                      <a:pt x="10" y="10"/>
                      <a:pt x="10" y="10"/>
                      <a:pt x="10" y="10"/>
                    </a:cubicBezTo>
                    <a:cubicBezTo>
                      <a:pt x="1" y="0"/>
                      <a:pt x="1" y="0"/>
                      <a:pt x="1"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3" name="Freeform 724">
                <a:extLst>
                  <a:ext uri="{FF2B5EF4-FFF2-40B4-BE49-F238E27FC236}">
                    <a16:creationId xmlns:a16="http://schemas.microsoft.com/office/drawing/2014/main" id="{6A8F5048-403F-AC49-A70F-FBF09B602D6E}"/>
                  </a:ext>
                </a:extLst>
              </p:cNvPr>
              <p:cNvSpPr>
                <a:spLocks/>
              </p:cNvSpPr>
              <p:nvPr/>
            </p:nvSpPr>
            <p:spPr bwMode="auto">
              <a:xfrm>
                <a:off x="6077813" y="2352453"/>
                <a:ext cx="51998" cy="75998"/>
              </a:xfrm>
              <a:custGeom>
                <a:avLst/>
                <a:gdLst>
                  <a:gd name="T0" fmla="*/ 13 w 22"/>
                  <a:gd name="T1" fmla="*/ 0 h 32"/>
                  <a:gd name="T2" fmla="*/ 13 w 22"/>
                  <a:gd name="T3" fmla="*/ 0 h 32"/>
                  <a:gd name="T4" fmla="*/ 7 w 22"/>
                  <a:gd name="T5" fmla="*/ 2 h 32"/>
                  <a:gd name="T6" fmla="*/ 1 w 22"/>
                  <a:gd name="T7" fmla="*/ 8 h 32"/>
                  <a:gd name="T8" fmla="*/ 1 w 22"/>
                  <a:gd name="T9" fmla="*/ 27 h 32"/>
                  <a:gd name="T10" fmla="*/ 1 w 22"/>
                  <a:gd name="T11" fmla="*/ 28 h 32"/>
                  <a:gd name="T12" fmla="*/ 1 w 22"/>
                  <a:gd name="T13" fmla="*/ 28 h 32"/>
                  <a:gd name="T14" fmla="*/ 0 w 22"/>
                  <a:gd name="T15" fmla="*/ 32 h 32"/>
                  <a:gd name="T16" fmla="*/ 19 w 22"/>
                  <a:gd name="T17" fmla="*/ 14 h 32"/>
                  <a:gd name="T18" fmla="*/ 19 w 22"/>
                  <a:gd name="T19" fmla="*/ 2 h 32"/>
                  <a:gd name="T20" fmla="*/ 13 w 2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2">
                    <a:moveTo>
                      <a:pt x="13" y="0"/>
                    </a:moveTo>
                    <a:cubicBezTo>
                      <a:pt x="13" y="0"/>
                      <a:pt x="13" y="0"/>
                      <a:pt x="13" y="0"/>
                    </a:cubicBezTo>
                    <a:cubicBezTo>
                      <a:pt x="11" y="0"/>
                      <a:pt x="9" y="0"/>
                      <a:pt x="7" y="2"/>
                    </a:cubicBezTo>
                    <a:cubicBezTo>
                      <a:pt x="1" y="8"/>
                      <a:pt x="1" y="8"/>
                      <a:pt x="1" y="8"/>
                    </a:cubicBezTo>
                    <a:cubicBezTo>
                      <a:pt x="0" y="14"/>
                      <a:pt x="0" y="21"/>
                      <a:pt x="1" y="27"/>
                    </a:cubicBezTo>
                    <a:cubicBezTo>
                      <a:pt x="1" y="27"/>
                      <a:pt x="1" y="28"/>
                      <a:pt x="1" y="28"/>
                    </a:cubicBezTo>
                    <a:cubicBezTo>
                      <a:pt x="1" y="28"/>
                      <a:pt x="1" y="28"/>
                      <a:pt x="1" y="28"/>
                    </a:cubicBezTo>
                    <a:cubicBezTo>
                      <a:pt x="1" y="30"/>
                      <a:pt x="1" y="31"/>
                      <a:pt x="0" y="32"/>
                    </a:cubicBezTo>
                    <a:cubicBezTo>
                      <a:pt x="19" y="14"/>
                      <a:pt x="19" y="14"/>
                      <a:pt x="19" y="14"/>
                    </a:cubicBezTo>
                    <a:cubicBezTo>
                      <a:pt x="22" y="11"/>
                      <a:pt x="22" y="5"/>
                      <a:pt x="19" y="2"/>
                    </a:cubicBezTo>
                    <a:cubicBezTo>
                      <a:pt x="17" y="1"/>
                      <a:pt x="15" y="0"/>
                      <a:pt x="13"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4" name="Freeform 725">
                <a:extLst>
                  <a:ext uri="{FF2B5EF4-FFF2-40B4-BE49-F238E27FC236}">
                    <a16:creationId xmlns:a16="http://schemas.microsoft.com/office/drawing/2014/main" id="{6518AF04-35DC-734D-8163-740331DD9CC6}"/>
                  </a:ext>
                </a:extLst>
              </p:cNvPr>
              <p:cNvSpPr>
                <a:spLocks noEditPoints="1"/>
              </p:cNvSpPr>
              <p:nvPr/>
            </p:nvSpPr>
            <p:spPr bwMode="auto">
              <a:xfrm>
                <a:off x="6047814" y="2350453"/>
                <a:ext cx="84997" cy="89997"/>
              </a:xfrm>
              <a:custGeom>
                <a:avLst/>
                <a:gdLst>
                  <a:gd name="T0" fmla="*/ 2 w 36"/>
                  <a:gd name="T1" fmla="*/ 38 h 38"/>
                  <a:gd name="T2" fmla="*/ 2 w 36"/>
                  <a:gd name="T3" fmla="*/ 38 h 38"/>
                  <a:gd name="T4" fmla="*/ 2 w 36"/>
                  <a:gd name="T5" fmla="*/ 38 h 38"/>
                  <a:gd name="T6" fmla="*/ 0 w 36"/>
                  <a:gd name="T7" fmla="*/ 36 h 38"/>
                  <a:gd name="T8" fmla="*/ 2 w 36"/>
                  <a:gd name="T9" fmla="*/ 38 h 38"/>
                  <a:gd name="T10" fmla="*/ 2 w 36"/>
                  <a:gd name="T11" fmla="*/ 38 h 38"/>
                  <a:gd name="T12" fmla="*/ 2 w 36"/>
                  <a:gd name="T13" fmla="*/ 38 h 38"/>
                  <a:gd name="T14" fmla="*/ 2 w 36"/>
                  <a:gd name="T15" fmla="*/ 38 h 38"/>
                  <a:gd name="T16" fmla="*/ 2 w 36"/>
                  <a:gd name="T17" fmla="*/ 38 h 38"/>
                  <a:gd name="T18" fmla="*/ 2 w 36"/>
                  <a:gd name="T19" fmla="*/ 38 h 38"/>
                  <a:gd name="T20" fmla="*/ 2 w 36"/>
                  <a:gd name="T21" fmla="*/ 37 h 38"/>
                  <a:gd name="T22" fmla="*/ 2 w 36"/>
                  <a:gd name="T23" fmla="*/ 37 h 38"/>
                  <a:gd name="T24" fmla="*/ 0 w 36"/>
                  <a:gd name="T25" fmla="*/ 37 h 38"/>
                  <a:gd name="T26" fmla="*/ 0 w 36"/>
                  <a:gd name="T27" fmla="*/ 37 h 38"/>
                  <a:gd name="T28" fmla="*/ 0 w 36"/>
                  <a:gd name="T29" fmla="*/ 37 h 38"/>
                  <a:gd name="T30" fmla="*/ 0 w 36"/>
                  <a:gd name="T31" fmla="*/ 37 h 38"/>
                  <a:gd name="T32" fmla="*/ 0 w 36"/>
                  <a:gd name="T33" fmla="*/ 37 h 38"/>
                  <a:gd name="T34" fmla="*/ 0 w 36"/>
                  <a:gd name="T35" fmla="*/ 36 h 38"/>
                  <a:gd name="T36" fmla="*/ 0 w 36"/>
                  <a:gd name="T37" fmla="*/ 36 h 38"/>
                  <a:gd name="T38" fmla="*/ 0 w 36"/>
                  <a:gd name="T39" fmla="*/ 36 h 38"/>
                  <a:gd name="T40" fmla="*/ 0 w 36"/>
                  <a:gd name="T41" fmla="*/ 36 h 38"/>
                  <a:gd name="T42" fmla="*/ 26 w 36"/>
                  <a:gd name="T43" fmla="*/ 0 h 38"/>
                  <a:gd name="T44" fmla="*/ 20 w 36"/>
                  <a:gd name="T45" fmla="*/ 3 h 38"/>
                  <a:gd name="T46" fmla="*/ 14 w 36"/>
                  <a:gd name="T47" fmla="*/ 8 h 38"/>
                  <a:gd name="T48" fmla="*/ 14 w 36"/>
                  <a:gd name="T49" fmla="*/ 9 h 38"/>
                  <a:gd name="T50" fmla="*/ 20 w 36"/>
                  <a:gd name="T51" fmla="*/ 3 h 38"/>
                  <a:gd name="T52" fmla="*/ 26 w 36"/>
                  <a:gd name="T53" fmla="*/ 1 h 38"/>
                  <a:gd name="T54" fmla="*/ 26 w 36"/>
                  <a:gd name="T55" fmla="*/ 1 h 38"/>
                  <a:gd name="T56" fmla="*/ 32 w 36"/>
                  <a:gd name="T57" fmla="*/ 3 h 38"/>
                  <a:gd name="T58" fmla="*/ 32 w 36"/>
                  <a:gd name="T59" fmla="*/ 15 h 38"/>
                  <a:gd name="T60" fmla="*/ 13 w 36"/>
                  <a:gd name="T61" fmla="*/ 33 h 38"/>
                  <a:gd name="T62" fmla="*/ 11 w 36"/>
                  <a:gd name="T63" fmla="*/ 36 h 38"/>
                  <a:gd name="T64" fmla="*/ 6 w 36"/>
                  <a:gd name="T65" fmla="*/ 38 h 38"/>
                  <a:gd name="T66" fmla="*/ 6 w 36"/>
                  <a:gd name="T67" fmla="*/ 38 h 38"/>
                  <a:gd name="T68" fmla="*/ 6 w 36"/>
                  <a:gd name="T69" fmla="*/ 38 h 38"/>
                  <a:gd name="T70" fmla="*/ 5 w 36"/>
                  <a:gd name="T71" fmla="*/ 38 h 38"/>
                  <a:gd name="T72" fmla="*/ 11 w 36"/>
                  <a:gd name="T73" fmla="*/ 36 h 38"/>
                  <a:gd name="T74" fmla="*/ 32 w 36"/>
                  <a:gd name="T75" fmla="*/ 15 h 38"/>
                  <a:gd name="T76" fmla="*/ 32 w 36"/>
                  <a:gd name="T77" fmla="*/ 3 h 38"/>
                  <a:gd name="T78" fmla="*/ 26 w 36"/>
                  <a:gd name="T7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38">
                    <a:moveTo>
                      <a:pt x="2" y="38"/>
                    </a:moveTo>
                    <a:cubicBezTo>
                      <a:pt x="2" y="38"/>
                      <a:pt x="2" y="38"/>
                      <a:pt x="2" y="38"/>
                    </a:cubicBezTo>
                    <a:cubicBezTo>
                      <a:pt x="2" y="38"/>
                      <a:pt x="2" y="38"/>
                      <a:pt x="2" y="38"/>
                    </a:cubicBezTo>
                    <a:moveTo>
                      <a:pt x="0" y="36"/>
                    </a:moveTo>
                    <a:cubicBezTo>
                      <a:pt x="0" y="37"/>
                      <a:pt x="1" y="37"/>
                      <a:pt x="2" y="38"/>
                    </a:cubicBezTo>
                    <a:cubicBezTo>
                      <a:pt x="2" y="38"/>
                      <a:pt x="2" y="38"/>
                      <a:pt x="2" y="38"/>
                    </a:cubicBezTo>
                    <a:cubicBezTo>
                      <a:pt x="2" y="38"/>
                      <a:pt x="2" y="38"/>
                      <a:pt x="2" y="38"/>
                    </a:cubicBezTo>
                    <a:cubicBezTo>
                      <a:pt x="2" y="38"/>
                      <a:pt x="2" y="38"/>
                      <a:pt x="2" y="38"/>
                    </a:cubicBezTo>
                    <a:cubicBezTo>
                      <a:pt x="2" y="38"/>
                      <a:pt x="2" y="38"/>
                      <a:pt x="2" y="38"/>
                    </a:cubicBezTo>
                    <a:cubicBezTo>
                      <a:pt x="2" y="38"/>
                      <a:pt x="2" y="38"/>
                      <a:pt x="2" y="38"/>
                    </a:cubicBezTo>
                    <a:cubicBezTo>
                      <a:pt x="2" y="37"/>
                      <a:pt x="2" y="37"/>
                      <a:pt x="2" y="37"/>
                    </a:cubicBezTo>
                    <a:cubicBezTo>
                      <a:pt x="2" y="37"/>
                      <a:pt x="2" y="37"/>
                      <a:pt x="2" y="37"/>
                    </a:cubicBezTo>
                    <a:cubicBezTo>
                      <a:pt x="1" y="37"/>
                      <a:pt x="1" y="37"/>
                      <a:pt x="0" y="37"/>
                    </a:cubicBezTo>
                    <a:cubicBezTo>
                      <a:pt x="0" y="37"/>
                      <a:pt x="0" y="37"/>
                      <a:pt x="0" y="37"/>
                    </a:cubicBezTo>
                    <a:cubicBezTo>
                      <a:pt x="0" y="37"/>
                      <a:pt x="0" y="37"/>
                      <a:pt x="0" y="37"/>
                    </a:cubicBezTo>
                    <a:cubicBezTo>
                      <a:pt x="0" y="37"/>
                      <a:pt x="0" y="37"/>
                      <a:pt x="0" y="37"/>
                    </a:cubicBezTo>
                    <a:cubicBezTo>
                      <a:pt x="0" y="37"/>
                      <a:pt x="0" y="37"/>
                      <a:pt x="0" y="37"/>
                    </a:cubicBezTo>
                    <a:cubicBezTo>
                      <a:pt x="0" y="37"/>
                      <a:pt x="0" y="36"/>
                      <a:pt x="0" y="36"/>
                    </a:cubicBezTo>
                    <a:moveTo>
                      <a:pt x="0" y="36"/>
                    </a:moveTo>
                    <a:cubicBezTo>
                      <a:pt x="0" y="36"/>
                      <a:pt x="0" y="36"/>
                      <a:pt x="0" y="36"/>
                    </a:cubicBezTo>
                    <a:cubicBezTo>
                      <a:pt x="0" y="36"/>
                      <a:pt x="0" y="36"/>
                      <a:pt x="0" y="36"/>
                    </a:cubicBezTo>
                    <a:moveTo>
                      <a:pt x="26" y="0"/>
                    </a:moveTo>
                    <a:cubicBezTo>
                      <a:pt x="24" y="0"/>
                      <a:pt x="21" y="1"/>
                      <a:pt x="20" y="3"/>
                    </a:cubicBezTo>
                    <a:cubicBezTo>
                      <a:pt x="14" y="8"/>
                      <a:pt x="14" y="8"/>
                      <a:pt x="14" y="8"/>
                    </a:cubicBezTo>
                    <a:cubicBezTo>
                      <a:pt x="14" y="9"/>
                      <a:pt x="14" y="9"/>
                      <a:pt x="14" y="9"/>
                    </a:cubicBezTo>
                    <a:cubicBezTo>
                      <a:pt x="20" y="3"/>
                      <a:pt x="20" y="3"/>
                      <a:pt x="20" y="3"/>
                    </a:cubicBezTo>
                    <a:cubicBezTo>
                      <a:pt x="22" y="1"/>
                      <a:pt x="24" y="1"/>
                      <a:pt x="26" y="1"/>
                    </a:cubicBezTo>
                    <a:cubicBezTo>
                      <a:pt x="26" y="1"/>
                      <a:pt x="26" y="1"/>
                      <a:pt x="26" y="1"/>
                    </a:cubicBezTo>
                    <a:cubicBezTo>
                      <a:pt x="28" y="1"/>
                      <a:pt x="30" y="2"/>
                      <a:pt x="32" y="3"/>
                    </a:cubicBezTo>
                    <a:cubicBezTo>
                      <a:pt x="35" y="6"/>
                      <a:pt x="35" y="12"/>
                      <a:pt x="32" y="15"/>
                    </a:cubicBezTo>
                    <a:cubicBezTo>
                      <a:pt x="13" y="33"/>
                      <a:pt x="13" y="33"/>
                      <a:pt x="13" y="33"/>
                    </a:cubicBezTo>
                    <a:cubicBezTo>
                      <a:pt x="13" y="34"/>
                      <a:pt x="12" y="35"/>
                      <a:pt x="11" y="36"/>
                    </a:cubicBezTo>
                    <a:cubicBezTo>
                      <a:pt x="10" y="37"/>
                      <a:pt x="8" y="38"/>
                      <a:pt x="6" y="38"/>
                    </a:cubicBezTo>
                    <a:cubicBezTo>
                      <a:pt x="6" y="38"/>
                      <a:pt x="6" y="38"/>
                      <a:pt x="6" y="38"/>
                    </a:cubicBezTo>
                    <a:cubicBezTo>
                      <a:pt x="6" y="38"/>
                      <a:pt x="6" y="38"/>
                      <a:pt x="6" y="38"/>
                    </a:cubicBezTo>
                    <a:cubicBezTo>
                      <a:pt x="6" y="38"/>
                      <a:pt x="6" y="38"/>
                      <a:pt x="5" y="38"/>
                    </a:cubicBezTo>
                    <a:cubicBezTo>
                      <a:pt x="7" y="38"/>
                      <a:pt x="10" y="37"/>
                      <a:pt x="11" y="36"/>
                    </a:cubicBezTo>
                    <a:cubicBezTo>
                      <a:pt x="32" y="15"/>
                      <a:pt x="32" y="15"/>
                      <a:pt x="32" y="15"/>
                    </a:cubicBezTo>
                    <a:cubicBezTo>
                      <a:pt x="36" y="12"/>
                      <a:pt x="36" y="6"/>
                      <a:pt x="32" y="3"/>
                    </a:cubicBezTo>
                    <a:cubicBezTo>
                      <a:pt x="30" y="1"/>
                      <a:pt x="28" y="0"/>
                      <a:pt x="26" y="0"/>
                    </a:cubicBezTo>
                  </a:path>
                </a:pathLst>
              </a:custGeom>
              <a:solidFill>
                <a:srgbClr val="003B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5" name="Freeform 726">
                <a:extLst>
                  <a:ext uri="{FF2B5EF4-FFF2-40B4-BE49-F238E27FC236}">
                    <a16:creationId xmlns:a16="http://schemas.microsoft.com/office/drawing/2014/main" id="{F7BFC827-809F-4548-A980-793D3DC74EB1}"/>
                  </a:ext>
                </a:extLst>
              </p:cNvPr>
              <p:cNvSpPr>
                <a:spLocks noEditPoints="1"/>
              </p:cNvSpPr>
              <p:nvPr/>
            </p:nvSpPr>
            <p:spPr bwMode="auto">
              <a:xfrm>
                <a:off x="6044814" y="2369452"/>
                <a:ext cx="35999" cy="70998"/>
              </a:xfrm>
              <a:custGeom>
                <a:avLst/>
                <a:gdLst>
                  <a:gd name="T0" fmla="*/ 7 w 15"/>
                  <a:gd name="T1" fmla="*/ 30 h 30"/>
                  <a:gd name="T2" fmla="*/ 7 w 15"/>
                  <a:gd name="T3" fmla="*/ 30 h 30"/>
                  <a:gd name="T4" fmla="*/ 7 w 15"/>
                  <a:gd name="T5" fmla="*/ 30 h 30"/>
                  <a:gd name="T6" fmla="*/ 7 w 15"/>
                  <a:gd name="T7" fmla="*/ 30 h 30"/>
                  <a:gd name="T8" fmla="*/ 3 w 15"/>
                  <a:gd name="T9" fmla="*/ 30 h 30"/>
                  <a:gd name="T10" fmla="*/ 3 w 15"/>
                  <a:gd name="T11" fmla="*/ 30 h 30"/>
                  <a:gd name="T12" fmla="*/ 3 w 15"/>
                  <a:gd name="T13" fmla="*/ 30 h 30"/>
                  <a:gd name="T14" fmla="*/ 3 w 15"/>
                  <a:gd name="T15" fmla="*/ 30 h 30"/>
                  <a:gd name="T16" fmla="*/ 6 w 15"/>
                  <a:gd name="T17" fmla="*/ 30 h 30"/>
                  <a:gd name="T18" fmla="*/ 3 w 15"/>
                  <a:gd name="T19" fmla="*/ 30 h 30"/>
                  <a:gd name="T20" fmla="*/ 3 w 15"/>
                  <a:gd name="T21" fmla="*/ 30 h 30"/>
                  <a:gd name="T22" fmla="*/ 3 w 15"/>
                  <a:gd name="T23" fmla="*/ 30 h 30"/>
                  <a:gd name="T24" fmla="*/ 3 w 15"/>
                  <a:gd name="T25" fmla="*/ 30 h 30"/>
                  <a:gd name="T26" fmla="*/ 3 w 15"/>
                  <a:gd name="T27" fmla="*/ 30 h 30"/>
                  <a:gd name="T28" fmla="*/ 3 w 15"/>
                  <a:gd name="T29" fmla="*/ 30 h 30"/>
                  <a:gd name="T30" fmla="*/ 3 w 15"/>
                  <a:gd name="T31" fmla="*/ 30 h 30"/>
                  <a:gd name="T32" fmla="*/ 3 w 15"/>
                  <a:gd name="T33" fmla="*/ 29 h 30"/>
                  <a:gd name="T34" fmla="*/ 3 w 15"/>
                  <a:gd name="T35" fmla="*/ 29 h 30"/>
                  <a:gd name="T36" fmla="*/ 3 w 15"/>
                  <a:gd name="T37" fmla="*/ 29 h 30"/>
                  <a:gd name="T38" fmla="*/ 1 w 15"/>
                  <a:gd name="T39" fmla="*/ 29 h 30"/>
                  <a:gd name="T40" fmla="*/ 1 w 15"/>
                  <a:gd name="T41" fmla="*/ 29 h 30"/>
                  <a:gd name="T42" fmla="*/ 1 w 15"/>
                  <a:gd name="T43" fmla="*/ 29 h 30"/>
                  <a:gd name="T44" fmla="*/ 1 w 15"/>
                  <a:gd name="T45" fmla="*/ 29 h 30"/>
                  <a:gd name="T46" fmla="*/ 1 w 15"/>
                  <a:gd name="T47" fmla="*/ 29 h 30"/>
                  <a:gd name="T48" fmla="*/ 1 w 15"/>
                  <a:gd name="T49" fmla="*/ 29 h 30"/>
                  <a:gd name="T50" fmla="*/ 0 w 15"/>
                  <a:gd name="T51" fmla="*/ 27 h 30"/>
                  <a:gd name="T52" fmla="*/ 0 w 15"/>
                  <a:gd name="T53" fmla="*/ 28 h 30"/>
                  <a:gd name="T54" fmla="*/ 1 w 15"/>
                  <a:gd name="T55" fmla="*/ 28 h 30"/>
                  <a:gd name="T56" fmla="*/ 1 w 15"/>
                  <a:gd name="T57" fmla="*/ 28 h 30"/>
                  <a:gd name="T58" fmla="*/ 1 w 15"/>
                  <a:gd name="T59" fmla="*/ 28 h 30"/>
                  <a:gd name="T60" fmla="*/ 1 w 15"/>
                  <a:gd name="T61" fmla="*/ 29 h 30"/>
                  <a:gd name="T62" fmla="*/ 0 w 15"/>
                  <a:gd name="T63" fmla="*/ 28 h 30"/>
                  <a:gd name="T64" fmla="*/ 0 w 15"/>
                  <a:gd name="T65" fmla="*/ 27 h 30"/>
                  <a:gd name="T66" fmla="*/ 15 w 15"/>
                  <a:gd name="T67" fmla="*/ 0 h 30"/>
                  <a:gd name="T68" fmla="*/ 6 w 15"/>
                  <a:gd name="T69" fmla="*/ 9 h 30"/>
                  <a:gd name="T70" fmla="*/ 12 w 15"/>
                  <a:gd name="T71" fmla="*/ 15 h 30"/>
                  <a:gd name="T72" fmla="*/ 15 w 15"/>
                  <a:gd name="T73" fmla="*/ 20 h 30"/>
                  <a:gd name="T74" fmla="*/ 15 w 15"/>
                  <a:gd name="T75" fmla="*/ 1 h 30"/>
                  <a:gd name="T76" fmla="*/ 15 w 15"/>
                  <a:gd name="T7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 h="30">
                    <a:moveTo>
                      <a:pt x="7" y="30"/>
                    </a:moveTo>
                    <a:cubicBezTo>
                      <a:pt x="7" y="30"/>
                      <a:pt x="7" y="30"/>
                      <a:pt x="7" y="30"/>
                    </a:cubicBezTo>
                    <a:cubicBezTo>
                      <a:pt x="7" y="30"/>
                      <a:pt x="7" y="30"/>
                      <a:pt x="7" y="30"/>
                    </a:cubicBezTo>
                    <a:cubicBezTo>
                      <a:pt x="7" y="30"/>
                      <a:pt x="7" y="30"/>
                      <a:pt x="7" y="30"/>
                    </a:cubicBezTo>
                    <a:moveTo>
                      <a:pt x="3" y="30"/>
                    </a:moveTo>
                    <a:cubicBezTo>
                      <a:pt x="3" y="30"/>
                      <a:pt x="3" y="30"/>
                      <a:pt x="3" y="30"/>
                    </a:cubicBezTo>
                    <a:cubicBezTo>
                      <a:pt x="3" y="30"/>
                      <a:pt x="3" y="30"/>
                      <a:pt x="3" y="30"/>
                    </a:cubicBezTo>
                    <a:cubicBezTo>
                      <a:pt x="3" y="30"/>
                      <a:pt x="3" y="30"/>
                      <a:pt x="3" y="30"/>
                    </a:cubicBezTo>
                    <a:cubicBezTo>
                      <a:pt x="4" y="30"/>
                      <a:pt x="5" y="30"/>
                      <a:pt x="6" y="30"/>
                    </a:cubicBezTo>
                    <a:cubicBezTo>
                      <a:pt x="5" y="30"/>
                      <a:pt x="4" y="30"/>
                      <a:pt x="3" y="30"/>
                    </a:cubicBezTo>
                    <a:moveTo>
                      <a:pt x="3" y="30"/>
                    </a:moveTo>
                    <a:cubicBezTo>
                      <a:pt x="3" y="30"/>
                      <a:pt x="3" y="30"/>
                      <a:pt x="3" y="30"/>
                    </a:cubicBezTo>
                    <a:cubicBezTo>
                      <a:pt x="3" y="30"/>
                      <a:pt x="3" y="30"/>
                      <a:pt x="3" y="30"/>
                    </a:cubicBezTo>
                    <a:moveTo>
                      <a:pt x="3" y="30"/>
                    </a:moveTo>
                    <a:cubicBezTo>
                      <a:pt x="3" y="30"/>
                      <a:pt x="3" y="30"/>
                      <a:pt x="3" y="30"/>
                    </a:cubicBezTo>
                    <a:cubicBezTo>
                      <a:pt x="3" y="30"/>
                      <a:pt x="3" y="30"/>
                      <a:pt x="3" y="30"/>
                    </a:cubicBezTo>
                    <a:moveTo>
                      <a:pt x="3" y="29"/>
                    </a:moveTo>
                    <a:cubicBezTo>
                      <a:pt x="3" y="29"/>
                      <a:pt x="3" y="29"/>
                      <a:pt x="3" y="29"/>
                    </a:cubicBezTo>
                    <a:cubicBezTo>
                      <a:pt x="3" y="29"/>
                      <a:pt x="3" y="29"/>
                      <a:pt x="3" y="29"/>
                    </a:cubicBezTo>
                    <a:moveTo>
                      <a:pt x="1" y="29"/>
                    </a:moveTo>
                    <a:cubicBezTo>
                      <a:pt x="1" y="29"/>
                      <a:pt x="1" y="29"/>
                      <a:pt x="1" y="29"/>
                    </a:cubicBezTo>
                    <a:cubicBezTo>
                      <a:pt x="1" y="29"/>
                      <a:pt x="1" y="29"/>
                      <a:pt x="1" y="29"/>
                    </a:cubicBezTo>
                    <a:moveTo>
                      <a:pt x="1" y="29"/>
                    </a:moveTo>
                    <a:cubicBezTo>
                      <a:pt x="1" y="29"/>
                      <a:pt x="1" y="29"/>
                      <a:pt x="1" y="29"/>
                    </a:cubicBezTo>
                    <a:cubicBezTo>
                      <a:pt x="1" y="29"/>
                      <a:pt x="1" y="29"/>
                      <a:pt x="1" y="29"/>
                    </a:cubicBezTo>
                    <a:moveTo>
                      <a:pt x="0" y="27"/>
                    </a:moveTo>
                    <a:cubicBezTo>
                      <a:pt x="0" y="27"/>
                      <a:pt x="0" y="28"/>
                      <a:pt x="0" y="28"/>
                    </a:cubicBezTo>
                    <a:cubicBezTo>
                      <a:pt x="0" y="28"/>
                      <a:pt x="0" y="28"/>
                      <a:pt x="1" y="28"/>
                    </a:cubicBezTo>
                    <a:cubicBezTo>
                      <a:pt x="1" y="28"/>
                      <a:pt x="1" y="28"/>
                      <a:pt x="1" y="28"/>
                    </a:cubicBezTo>
                    <a:cubicBezTo>
                      <a:pt x="1" y="28"/>
                      <a:pt x="1" y="28"/>
                      <a:pt x="1" y="28"/>
                    </a:cubicBezTo>
                    <a:cubicBezTo>
                      <a:pt x="1" y="28"/>
                      <a:pt x="1" y="29"/>
                      <a:pt x="1" y="29"/>
                    </a:cubicBezTo>
                    <a:cubicBezTo>
                      <a:pt x="1" y="28"/>
                      <a:pt x="0" y="28"/>
                      <a:pt x="0" y="28"/>
                    </a:cubicBezTo>
                    <a:cubicBezTo>
                      <a:pt x="0" y="27"/>
                      <a:pt x="0" y="27"/>
                      <a:pt x="0" y="27"/>
                    </a:cubicBezTo>
                    <a:moveTo>
                      <a:pt x="15" y="0"/>
                    </a:moveTo>
                    <a:cubicBezTo>
                      <a:pt x="6" y="9"/>
                      <a:pt x="6" y="9"/>
                      <a:pt x="6" y="9"/>
                    </a:cubicBezTo>
                    <a:cubicBezTo>
                      <a:pt x="12" y="15"/>
                      <a:pt x="12" y="15"/>
                      <a:pt x="12" y="15"/>
                    </a:cubicBezTo>
                    <a:cubicBezTo>
                      <a:pt x="14" y="16"/>
                      <a:pt x="15" y="18"/>
                      <a:pt x="15" y="20"/>
                    </a:cubicBezTo>
                    <a:cubicBezTo>
                      <a:pt x="14" y="14"/>
                      <a:pt x="14" y="7"/>
                      <a:pt x="15" y="1"/>
                    </a:cubicBezTo>
                    <a:cubicBezTo>
                      <a:pt x="15" y="1"/>
                      <a:pt x="15" y="1"/>
                      <a:pt x="15"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6" name="Freeform 727">
                <a:extLst>
                  <a:ext uri="{FF2B5EF4-FFF2-40B4-BE49-F238E27FC236}">
                    <a16:creationId xmlns:a16="http://schemas.microsoft.com/office/drawing/2014/main" id="{7D04E399-5654-224B-B026-DBB9FB913036}"/>
                  </a:ext>
                </a:extLst>
              </p:cNvPr>
              <p:cNvSpPr>
                <a:spLocks/>
              </p:cNvSpPr>
              <p:nvPr/>
            </p:nvSpPr>
            <p:spPr bwMode="auto">
              <a:xfrm>
                <a:off x="6077813" y="2416451"/>
                <a:ext cx="3000" cy="12000"/>
              </a:xfrm>
              <a:custGeom>
                <a:avLst/>
                <a:gdLst>
                  <a:gd name="T0" fmla="*/ 1 w 1"/>
                  <a:gd name="T1" fmla="*/ 0 h 5"/>
                  <a:gd name="T2" fmla="*/ 1 w 1"/>
                  <a:gd name="T3" fmla="*/ 0 h 5"/>
                  <a:gd name="T4" fmla="*/ 0 w 1"/>
                  <a:gd name="T5" fmla="*/ 5 h 5"/>
                  <a:gd name="T6" fmla="*/ 0 w 1"/>
                  <a:gd name="T7" fmla="*/ 5 h 5"/>
                  <a:gd name="T8" fmla="*/ 1 w 1"/>
                  <a:gd name="T9" fmla="*/ 1 h 5"/>
                  <a:gd name="T10" fmla="*/ 1 w 1"/>
                  <a:gd name="T11" fmla="*/ 1 h 5"/>
                  <a:gd name="T12" fmla="*/ 1 w 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0"/>
                    </a:moveTo>
                    <a:cubicBezTo>
                      <a:pt x="1" y="0"/>
                      <a:pt x="1" y="0"/>
                      <a:pt x="1" y="0"/>
                    </a:cubicBezTo>
                    <a:cubicBezTo>
                      <a:pt x="1" y="2"/>
                      <a:pt x="1" y="3"/>
                      <a:pt x="0" y="5"/>
                    </a:cubicBezTo>
                    <a:cubicBezTo>
                      <a:pt x="0" y="5"/>
                      <a:pt x="0" y="5"/>
                      <a:pt x="0" y="5"/>
                    </a:cubicBezTo>
                    <a:cubicBezTo>
                      <a:pt x="1" y="4"/>
                      <a:pt x="1" y="3"/>
                      <a:pt x="1" y="1"/>
                    </a:cubicBezTo>
                    <a:cubicBezTo>
                      <a:pt x="1" y="1"/>
                      <a:pt x="1" y="1"/>
                      <a:pt x="1" y="1"/>
                    </a:cubicBezTo>
                    <a:cubicBezTo>
                      <a:pt x="1" y="1"/>
                      <a:pt x="1" y="0"/>
                      <a:pt x="1"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7" name="Freeform 728">
                <a:extLst>
                  <a:ext uri="{FF2B5EF4-FFF2-40B4-BE49-F238E27FC236}">
                    <a16:creationId xmlns:a16="http://schemas.microsoft.com/office/drawing/2014/main" id="{A3D1E90C-2B9D-1149-8B49-76C777BF84F2}"/>
                  </a:ext>
                </a:extLst>
              </p:cNvPr>
              <p:cNvSpPr>
                <a:spLocks noEditPoints="1"/>
              </p:cNvSpPr>
              <p:nvPr/>
            </p:nvSpPr>
            <p:spPr bwMode="auto">
              <a:xfrm>
                <a:off x="6047814" y="2428451"/>
                <a:ext cx="29999" cy="12000"/>
              </a:xfrm>
              <a:custGeom>
                <a:avLst/>
                <a:gdLst>
                  <a:gd name="T0" fmla="*/ 5 w 13"/>
                  <a:gd name="T1" fmla="*/ 5 h 5"/>
                  <a:gd name="T2" fmla="*/ 5 w 13"/>
                  <a:gd name="T3" fmla="*/ 5 h 5"/>
                  <a:gd name="T4" fmla="*/ 5 w 13"/>
                  <a:gd name="T5" fmla="*/ 5 h 5"/>
                  <a:gd name="T6" fmla="*/ 5 w 13"/>
                  <a:gd name="T7" fmla="*/ 5 h 5"/>
                  <a:gd name="T8" fmla="*/ 6 w 13"/>
                  <a:gd name="T9" fmla="*/ 5 h 5"/>
                  <a:gd name="T10" fmla="*/ 5 w 13"/>
                  <a:gd name="T11" fmla="*/ 5 h 5"/>
                  <a:gd name="T12" fmla="*/ 5 w 13"/>
                  <a:gd name="T13" fmla="*/ 5 h 5"/>
                  <a:gd name="T14" fmla="*/ 6 w 13"/>
                  <a:gd name="T15" fmla="*/ 5 h 5"/>
                  <a:gd name="T16" fmla="*/ 2 w 13"/>
                  <a:gd name="T17" fmla="*/ 5 h 5"/>
                  <a:gd name="T18" fmla="*/ 2 w 13"/>
                  <a:gd name="T19" fmla="*/ 5 h 5"/>
                  <a:gd name="T20" fmla="*/ 2 w 13"/>
                  <a:gd name="T21" fmla="*/ 5 h 5"/>
                  <a:gd name="T22" fmla="*/ 2 w 13"/>
                  <a:gd name="T23" fmla="*/ 5 h 5"/>
                  <a:gd name="T24" fmla="*/ 2 w 13"/>
                  <a:gd name="T25" fmla="*/ 5 h 5"/>
                  <a:gd name="T26" fmla="*/ 2 w 13"/>
                  <a:gd name="T27" fmla="*/ 5 h 5"/>
                  <a:gd name="T28" fmla="*/ 2 w 13"/>
                  <a:gd name="T29" fmla="*/ 4 h 5"/>
                  <a:gd name="T30" fmla="*/ 2 w 13"/>
                  <a:gd name="T31" fmla="*/ 5 h 5"/>
                  <a:gd name="T32" fmla="*/ 2 w 13"/>
                  <a:gd name="T33" fmla="*/ 4 h 5"/>
                  <a:gd name="T34" fmla="*/ 0 w 13"/>
                  <a:gd name="T35" fmla="*/ 4 h 5"/>
                  <a:gd name="T36" fmla="*/ 2 w 13"/>
                  <a:gd name="T37" fmla="*/ 4 h 5"/>
                  <a:gd name="T38" fmla="*/ 0 w 13"/>
                  <a:gd name="T39" fmla="*/ 4 h 5"/>
                  <a:gd name="T40" fmla="*/ 0 w 13"/>
                  <a:gd name="T41" fmla="*/ 4 h 5"/>
                  <a:gd name="T42" fmla="*/ 0 w 13"/>
                  <a:gd name="T43" fmla="*/ 4 h 5"/>
                  <a:gd name="T44" fmla="*/ 0 w 13"/>
                  <a:gd name="T45" fmla="*/ 4 h 5"/>
                  <a:gd name="T46" fmla="*/ 0 w 13"/>
                  <a:gd name="T47" fmla="*/ 4 h 5"/>
                  <a:gd name="T48" fmla="*/ 0 w 13"/>
                  <a:gd name="T49" fmla="*/ 4 h 5"/>
                  <a:gd name="T50" fmla="*/ 0 w 13"/>
                  <a:gd name="T51" fmla="*/ 4 h 5"/>
                  <a:gd name="T52" fmla="*/ 13 w 13"/>
                  <a:gd name="T53" fmla="*/ 0 h 5"/>
                  <a:gd name="T54" fmla="*/ 13 w 13"/>
                  <a:gd name="T55" fmla="*/ 0 h 5"/>
                  <a:gd name="T56" fmla="*/ 6 w 13"/>
                  <a:gd name="T57" fmla="*/ 5 h 5"/>
                  <a:gd name="T58" fmla="*/ 11 w 13"/>
                  <a:gd name="T59" fmla="*/ 3 h 5"/>
                  <a:gd name="T60" fmla="*/ 13 w 13"/>
                  <a:gd name="T6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 h="5">
                    <a:moveTo>
                      <a:pt x="5" y="5"/>
                    </a:moveTo>
                    <a:cubicBezTo>
                      <a:pt x="5" y="5"/>
                      <a:pt x="5" y="5"/>
                      <a:pt x="5" y="5"/>
                    </a:cubicBezTo>
                    <a:cubicBezTo>
                      <a:pt x="5" y="5"/>
                      <a:pt x="5" y="5"/>
                      <a:pt x="5" y="5"/>
                    </a:cubicBezTo>
                    <a:cubicBezTo>
                      <a:pt x="5" y="5"/>
                      <a:pt x="5" y="5"/>
                      <a:pt x="5" y="5"/>
                    </a:cubicBezTo>
                    <a:moveTo>
                      <a:pt x="6" y="5"/>
                    </a:moveTo>
                    <a:cubicBezTo>
                      <a:pt x="6" y="5"/>
                      <a:pt x="6" y="5"/>
                      <a:pt x="5" y="5"/>
                    </a:cubicBezTo>
                    <a:cubicBezTo>
                      <a:pt x="5" y="5"/>
                      <a:pt x="5" y="5"/>
                      <a:pt x="5" y="5"/>
                    </a:cubicBezTo>
                    <a:cubicBezTo>
                      <a:pt x="6" y="5"/>
                      <a:pt x="6" y="5"/>
                      <a:pt x="6" y="5"/>
                    </a:cubicBezTo>
                    <a:moveTo>
                      <a:pt x="2" y="5"/>
                    </a:moveTo>
                    <a:cubicBezTo>
                      <a:pt x="2" y="5"/>
                      <a:pt x="2" y="5"/>
                      <a:pt x="2" y="5"/>
                    </a:cubicBezTo>
                    <a:cubicBezTo>
                      <a:pt x="2" y="5"/>
                      <a:pt x="2" y="5"/>
                      <a:pt x="2" y="5"/>
                    </a:cubicBezTo>
                    <a:moveTo>
                      <a:pt x="2" y="5"/>
                    </a:moveTo>
                    <a:cubicBezTo>
                      <a:pt x="2" y="5"/>
                      <a:pt x="2" y="5"/>
                      <a:pt x="2" y="5"/>
                    </a:cubicBezTo>
                    <a:cubicBezTo>
                      <a:pt x="2" y="5"/>
                      <a:pt x="2" y="5"/>
                      <a:pt x="2" y="5"/>
                    </a:cubicBezTo>
                    <a:moveTo>
                      <a:pt x="2" y="4"/>
                    </a:moveTo>
                    <a:cubicBezTo>
                      <a:pt x="2" y="4"/>
                      <a:pt x="2" y="4"/>
                      <a:pt x="2" y="5"/>
                    </a:cubicBezTo>
                    <a:cubicBezTo>
                      <a:pt x="2" y="4"/>
                      <a:pt x="2" y="4"/>
                      <a:pt x="2" y="4"/>
                    </a:cubicBezTo>
                    <a:moveTo>
                      <a:pt x="0" y="4"/>
                    </a:moveTo>
                    <a:cubicBezTo>
                      <a:pt x="1" y="4"/>
                      <a:pt x="1" y="4"/>
                      <a:pt x="2" y="4"/>
                    </a:cubicBezTo>
                    <a:cubicBezTo>
                      <a:pt x="1" y="4"/>
                      <a:pt x="1" y="4"/>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13" y="0"/>
                    </a:moveTo>
                    <a:cubicBezTo>
                      <a:pt x="13" y="0"/>
                      <a:pt x="13" y="0"/>
                      <a:pt x="13" y="0"/>
                    </a:cubicBezTo>
                    <a:cubicBezTo>
                      <a:pt x="12" y="3"/>
                      <a:pt x="10" y="5"/>
                      <a:pt x="6" y="5"/>
                    </a:cubicBezTo>
                    <a:cubicBezTo>
                      <a:pt x="8" y="5"/>
                      <a:pt x="10" y="4"/>
                      <a:pt x="11" y="3"/>
                    </a:cubicBezTo>
                    <a:cubicBezTo>
                      <a:pt x="12" y="2"/>
                      <a:pt x="13" y="1"/>
                      <a:pt x="13" y="0"/>
                    </a:cubicBezTo>
                  </a:path>
                </a:pathLst>
              </a:custGeom>
              <a:solidFill>
                <a:srgbClr val="002B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8" name="Freeform 729">
                <a:extLst>
                  <a:ext uri="{FF2B5EF4-FFF2-40B4-BE49-F238E27FC236}">
                    <a16:creationId xmlns:a16="http://schemas.microsoft.com/office/drawing/2014/main" id="{67F2CB99-FDF2-214A-9487-BB9F5495E120}"/>
                  </a:ext>
                </a:extLst>
              </p:cNvPr>
              <p:cNvSpPr>
                <a:spLocks/>
              </p:cNvSpPr>
              <p:nvPr/>
            </p:nvSpPr>
            <p:spPr bwMode="auto">
              <a:xfrm>
                <a:off x="6035815" y="2390452"/>
                <a:ext cx="44999" cy="49998"/>
              </a:xfrm>
              <a:custGeom>
                <a:avLst/>
                <a:gdLst>
                  <a:gd name="T0" fmla="*/ 10 w 19"/>
                  <a:gd name="T1" fmla="*/ 0 h 21"/>
                  <a:gd name="T2" fmla="*/ 4 w 19"/>
                  <a:gd name="T3" fmla="*/ 6 h 21"/>
                  <a:gd name="T4" fmla="*/ 4 w 19"/>
                  <a:gd name="T5" fmla="*/ 18 h 21"/>
                  <a:gd name="T6" fmla="*/ 4 w 19"/>
                  <a:gd name="T7" fmla="*/ 19 h 21"/>
                  <a:gd name="T8" fmla="*/ 5 w 19"/>
                  <a:gd name="T9" fmla="*/ 20 h 21"/>
                  <a:gd name="T10" fmla="*/ 5 w 19"/>
                  <a:gd name="T11" fmla="*/ 20 h 21"/>
                  <a:gd name="T12" fmla="*/ 5 w 19"/>
                  <a:gd name="T13" fmla="*/ 20 h 21"/>
                  <a:gd name="T14" fmla="*/ 5 w 19"/>
                  <a:gd name="T15" fmla="*/ 20 h 21"/>
                  <a:gd name="T16" fmla="*/ 5 w 19"/>
                  <a:gd name="T17" fmla="*/ 20 h 21"/>
                  <a:gd name="T18" fmla="*/ 7 w 19"/>
                  <a:gd name="T19" fmla="*/ 20 h 21"/>
                  <a:gd name="T20" fmla="*/ 7 w 19"/>
                  <a:gd name="T21" fmla="*/ 20 h 21"/>
                  <a:gd name="T22" fmla="*/ 7 w 19"/>
                  <a:gd name="T23" fmla="*/ 21 h 21"/>
                  <a:gd name="T24" fmla="*/ 7 w 19"/>
                  <a:gd name="T25" fmla="*/ 21 h 21"/>
                  <a:gd name="T26" fmla="*/ 7 w 19"/>
                  <a:gd name="T27" fmla="*/ 21 h 21"/>
                  <a:gd name="T28" fmla="*/ 7 w 19"/>
                  <a:gd name="T29" fmla="*/ 21 h 21"/>
                  <a:gd name="T30" fmla="*/ 7 w 19"/>
                  <a:gd name="T31" fmla="*/ 21 h 21"/>
                  <a:gd name="T32" fmla="*/ 10 w 19"/>
                  <a:gd name="T33" fmla="*/ 21 h 21"/>
                  <a:gd name="T34" fmla="*/ 10 w 19"/>
                  <a:gd name="T35" fmla="*/ 21 h 21"/>
                  <a:gd name="T36" fmla="*/ 10 w 19"/>
                  <a:gd name="T37" fmla="*/ 21 h 21"/>
                  <a:gd name="T38" fmla="*/ 10 w 19"/>
                  <a:gd name="T39" fmla="*/ 21 h 21"/>
                  <a:gd name="T40" fmla="*/ 11 w 19"/>
                  <a:gd name="T41" fmla="*/ 21 h 21"/>
                  <a:gd name="T42" fmla="*/ 11 w 19"/>
                  <a:gd name="T43" fmla="*/ 21 h 21"/>
                  <a:gd name="T44" fmla="*/ 18 w 19"/>
                  <a:gd name="T45" fmla="*/ 16 h 21"/>
                  <a:gd name="T46" fmla="*/ 19 w 19"/>
                  <a:gd name="T47" fmla="*/ 11 h 21"/>
                  <a:gd name="T48" fmla="*/ 19 w 19"/>
                  <a:gd name="T49" fmla="*/ 11 h 21"/>
                  <a:gd name="T50" fmla="*/ 16 w 19"/>
                  <a:gd name="T51" fmla="*/ 6 h 21"/>
                  <a:gd name="T52" fmla="*/ 10 w 19"/>
                  <a:gd name="T5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21">
                    <a:moveTo>
                      <a:pt x="10" y="0"/>
                    </a:moveTo>
                    <a:cubicBezTo>
                      <a:pt x="4" y="6"/>
                      <a:pt x="4" y="6"/>
                      <a:pt x="4" y="6"/>
                    </a:cubicBezTo>
                    <a:cubicBezTo>
                      <a:pt x="0" y="9"/>
                      <a:pt x="0" y="15"/>
                      <a:pt x="4" y="18"/>
                    </a:cubicBezTo>
                    <a:cubicBezTo>
                      <a:pt x="4" y="19"/>
                      <a:pt x="4" y="19"/>
                      <a:pt x="4" y="19"/>
                    </a:cubicBezTo>
                    <a:cubicBezTo>
                      <a:pt x="4" y="19"/>
                      <a:pt x="5" y="19"/>
                      <a:pt x="5" y="20"/>
                    </a:cubicBezTo>
                    <a:cubicBezTo>
                      <a:pt x="5" y="20"/>
                      <a:pt x="5" y="20"/>
                      <a:pt x="5" y="20"/>
                    </a:cubicBezTo>
                    <a:cubicBezTo>
                      <a:pt x="5" y="20"/>
                      <a:pt x="5" y="20"/>
                      <a:pt x="5" y="20"/>
                    </a:cubicBezTo>
                    <a:cubicBezTo>
                      <a:pt x="5" y="20"/>
                      <a:pt x="5" y="20"/>
                      <a:pt x="5" y="20"/>
                    </a:cubicBezTo>
                    <a:cubicBezTo>
                      <a:pt x="5" y="20"/>
                      <a:pt x="5" y="20"/>
                      <a:pt x="5" y="20"/>
                    </a:cubicBezTo>
                    <a:cubicBezTo>
                      <a:pt x="6" y="20"/>
                      <a:pt x="6" y="20"/>
                      <a:pt x="7" y="20"/>
                    </a:cubicBezTo>
                    <a:cubicBezTo>
                      <a:pt x="7" y="20"/>
                      <a:pt x="7" y="20"/>
                      <a:pt x="7" y="20"/>
                    </a:cubicBezTo>
                    <a:cubicBezTo>
                      <a:pt x="7" y="20"/>
                      <a:pt x="7" y="20"/>
                      <a:pt x="7" y="21"/>
                    </a:cubicBezTo>
                    <a:cubicBezTo>
                      <a:pt x="7" y="21"/>
                      <a:pt x="7" y="21"/>
                      <a:pt x="7" y="21"/>
                    </a:cubicBezTo>
                    <a:cubicBezTo>
                      <a:pt x="7" y="21"/>
                      <a:pt x="7" y="21"/>
                      <a:pt x="7" y="21"/>
                    </a:cubicBezTo>
                    <a:cubicBezTo>
                      <a:pt x="7" y="21"/>
                      <a:pt x="7" y="21"/>
                      <a:pt x="7" y="21"/>
                    </a:cubicBezTo>
                    <a:cubicBezTo>
                      <a:pt x="7" y="21"/>
                      <a:pt x="7" y="21"/>
                      <a:pt x="7" y="21"/>
                    </a:cubicBezTo>
                    <a:cubicBezTo>
                      <a:pt x="8" y="21"/>
                      <a:pt x="9" y="21"/>
                      <a:pt x="10" y="21"/>
                    </a:cubicBezTo>
                    <a:cubicBezTo>
                      <a:pt x="10" y="21"/>
                      <a:pt x="10" y="21"/>
                      <a:pt x="10" y="21"/>
                    </a:cubicBezTo>
                    <a:cubicBezTo>
                      <a:pt x="10" y="21"/>
                      <a:pt x="10" y="21"/>
                      <a:pt x="10" y="21"/>
                    </a:cubicBezTo>
                    <a:cubicBezTo>
                      <a:pt x="10" y="21"/>
                      <a:pt x="10" y="21"/>
                      <a:pt x="10" y="21"/>
                    </a:cubicBezTo>
                    <a:cubicBezTo>
                      <a:pt x="11" y="21"/>
                      <a:pt x="11" y="21"/>
                      <a:pt x="11" y="21"/>
                    </a:cubicBezTo>
                    <a:cubicBezTo>
                      <a:pt x="11" y="21"/>
                      <a:pt x="11" y="21"/>
                      <a:pt x="11" y="21"/>
                    </a:cubicBezTo>
                    <a:cubicBezTo>
                      <a:pt x="15" y="21"/>
                      <a:pt x="17" y="19"/>
                      <a:pt x="18" y="16"/>
                    </a:cubicBezTo>
                    <a:cubicBezTo>
                      <a:pt x="19" y="14"/>
                      <a:pt x="19" y="13"/>
                      <a:pt x="19" y="11"/>
                    </a:cubicBezTo>
                    <a:cubicBezTo>
                      <a:pt x="19" y="11"/>
                      <a:pt x="19" y="11"/>
                      <a:pt x="19" y="11"/>
                    </a:cubicBezTo>
                    <a:cubicBezTo>
                      <a:pt x="19" y="9"/>
                      <a:pt x="18" y="7"/>
                      <a:pt x="16" y="6"/>
                    </a:cubicBezTo>
                    <a:cubicBezTo>
                      <a:pt x="10" y="0"/>
                      <a:pt x="10" y="0"/>
                      <a:pt x="10" y="0"/>
                    </a:cubicBezTo>
                  </a:path>
                </a:pathLst>
              </a:custGeom>
              <a:solidFill>
                <a:srgbClr val="0064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29" name="Freeform 730">
                <a:extLst>
                  <a:ext uri="{FF2B5EF4-FFF2-40B4-BE49-F238E27FC236}">
                    <a16:creationId xmlns:a16="http://schemas.microsoft.com/office/drawing/2014/main" id="{D7611A00-A1C9-F54F-A9A5-877E2873CC00}"/>
                  </a:ext>
                </a:extLst>
              </p:cNvPr>
              <p:cNvSpPr>
                <a:spLocks/>
              </p:cNvSpPr>
              <p:nvPr/>
            </p:nvSpPr>
            <p:spPr bwMode="auto">
              <a:xfrm>
                <a:off x="6482801" y="2388452"/>
                <a:ext cx="48999" cy="72998"/>
              </a:xfrm>
              <a:custGeom>
                <a:avLst/>
                <a:gdLst>
                  <a:gd name="T0" fmla="*/ 0 w 21"/>
                  <a:gd name="T1" fmla="*/ 0 h 31"/>
                  <a:gd name="T2" fmla="*/ 0 w 21"/>
                  <a:gd name="T3" fmla="*/ 2 h 31"/>
                  <a:gd name="T4" fmla="*/ 1 w 21"/>
                  <a:gd name="T5" fmla="*/ 23 h 31"/>
                  <a:gd name="T6" fmla="*/ 7 w 21"/>
                  <a:gd name="T7" fmla="*/ 29 h 31"/>
                  <a:gd name="T8" fmla="*/ 13 w 21"/>
                  <a:gd name="T9" fmla="*/ 31 h 31"/>
                  <a:gd name="T10" fmla="*/ 19 w 21"/>
                  <a:gd name="T11" fmla="*/ 29 h 31"/>
                  <a:gd name="T12" fmla="*/ 21 w 21"/>
                  <a:gd name="T13" fmla="*/ 23 h 31"/>
                  <a:gd name="T14" fmla="*/ 18 w 21"/>
                  <a:gd name="T15" fmla="*/ 17 h 31"/>
                  <a:gd name="T16" fmla="*/ 0 w 21"/>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1">
                    <a:moveTo>
                      <a:pt x="0" y="0"/>
                    </a:moveTo>
                    <a:cubicBezTo>
                      <a:pt x="0" y="1"/>
                      <a:pt x="0" y="1"/>
                      <a:pt x="0" y="2"/>
                    </a:cubicBezTo>
                    <a:cubicBezTo>
                      <a:pt x="1" y="9"/>
                      <a:pt x="1" y="16"/>
                      <a:pt x="1" y="23"/>
                    </a:cubicBezTo>
                    <a:cubicBezTo>
                      <a:pt x="7" y="29"/>
                      <a:pt x="7" y="29"/>
                      <a:pt x="7" y="29"/>
                    </a:cubicBezTo>
                    <a:cubicBezTo>
                      <a:pt x="9" y="31"/>
                      <a:pt x="11" y="31"/>
                      <a:pt x="13" y="31"/>
                    </a:cubicBezTo>
                    <a:cubicBezTo>
                      <a:pt x="15" y="31"/>
                      <a:pt x="17" y="30"/>
                      <a:pt x="19" y="29"/>
                    </a:cubicBezTo>
                    <a:cubicBezTo>
                      <a:pt x="20" y="27"/>
                      <a:pt x="21" y="25"/>
                      <a:pt x="21" y="23"/>
                    </a:cubicBezTo>
                    <a:cubicBezTo>
                      <a:pt x="21" y="20"/>
                      <a:pt x="20" y="18"/>
                      <a:pt x="18" y="17"/>
                    </a:cubicBezTo>
                    <a:cubicBezTo>
                      <a:pt x="0" y="0"/>
                      <a:pt x="0" y="0"/>
                      <a:pt x="0"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30" name="Freeform 731">
                <a:extLst>
                  <a:ext uri="{FF2B5EF4-FFF2-40B4-BE49-F238E27FC236}">
                    <a16:creationId xmlns:a16="http://schemas.microsoft.com/office/drawing/2014/main" id="{B3B5EE45-AE85-0146-AB1B-ECEB775766DF}"/>
                  </a:ext>
                </a:extLst>
              </p:cNvPr>
              <p:cNvSpPr>
                <a:spLocks/>
              </p:cNvSpPr>
              <p:nvPr/>
            </p:nvSpPr>
            <p:spPr bwMode="auto">
              <a:xfrm>
                <a:off x="6477801" y="2383452"/>
                <a:ext cx="58998" cy="79998"/>
              </a:xfrm>
              <a:custGeom>
                <a:avLst/>
                <a:gdLst>
                  <a:gd name="T0" fmla="*/ 0 w 25"/>
                  <a:gd name="T1" fmla="*/ 0 h 34"/>
                  <a:gd name="T2" fmla="*/ 2 w 25"/>
                  <a:gd name="T3" fmla="*/ 2 h 34"/>
                  <a:gd name="T4" fmla="*/ 20 w 25"/>
                  <a:gd name="T5" fmla="*/ 19 h 34"/>
                  <a:gd name="T6" fmla="*/ 23 w 25"/>
                  <a:gd name="T7" fmla="*/ 25 h 34"/>
                  <a:gd name="T8" fmla="*/ 21 w 25"/>
                  <a:gd name="T9" fmla="*/ 31 h 34"/>
                  <a:gd name="T10" fmla="*/ 15 w 25"/>
                  <a:gd name="T11" fmla="*/ 33 h 34"/>
                  <a:gd name="T12" fmla="*/ 9 w 25"/>
                  <a:gd name="T13" fmla="*/ 31 h 34"/>
                  <a:gd name="T14" fmla="*/ 3 w 25"/>
                  <a:gd name="T15" fmla="*/ 25 h 34"/>
                  <a:gd name="T16" fmla="*/ 3 w 25"/>
                  <a:gd name="T17" fmla="*/ 26 h 34"/>
                  <a:gd name="T18" fmla="*/ 9 w 25"/>
                  <a:gd name="T19" fmla="*/ 32 h 34"/>
                  <a:gd name="T20" fmla="*/ 15 w 25"/>
                  <a:gd name="T21" fmla="*/ 34 h 34"/>
                  <a:gd name="T22" fmla="*/ 15 w 25"/>
                  <a:gd name="T23" fmla="*/ 34 h 34"/>
                  <a:gd name="T24" fmla="*/ 21 w 25"/>
                  <a:gd name="T25" fmla="*/ 31 h 34"/>
                  <a:gd name="T26" fmla="*/ 21 w 25"/>
                  <a:gd name="T27" fmla="*/ 18 h 34"/>
                  <a:gd name="T28" fmla="*/ 0 w 25"/>
                  <a:gd name="T2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34">
                    <a:moveTo>
                      <a:pt x="0" y="0"/>
                    </a:moveTo>
                    <a:cubicBezTo>
                      <a:pt x="1" y="1"/>
                      <a:pt x="1" y="1"/>
                      <a:pt x="2" y="2"/>
                    </a:cubicBezTo>
                    <a:cubicBezTo>
                      <a:pt x="20" y="19"/>
                      <a:pt x="20" y="19"/>
                      <a:pt x="20" y="19"/>
                    </a:cubicBezTo>
                    <a:cubicBezTo>
                      <a:pt x="22" y="20"/>
                      <a:pt x="23" y="22"/>
                      <a:pt x="23" y="25"/>
                    </a:cubicBezTo>
                    <a:cubicBezTo>
                      <a:pt x="23" y="27"/>
                      <a:pt x="22" y="29"/>
                      <a:pt x="21" y="31"/>
                    </a:cubicBezTo>
                    <a:cubicBezTo>
                      <a:pt x="19" y="32"/>
                      <a:pt x="17" y="33"/>
                      <a:pt x="15" y="33"/>
                    </a:cubicBezTo>
                    <a:cubicBezTo>
                      <a:pt x="13" y="33"/>
                      <a:pt x="11" y="33"/>
                      <a:pt x="9" y="31"/>
                    </a:cubicBezTo>
                    <a:cubicBezTo>
                      <a:pt x="3" y="25"/>
                      <a:pt x="3" y="25"/>
                      <a:pt x="3" y="25"/>
                    </a:cubicBezTo>
                    <a:cubicBezTo>
                      <a:pt x="3" y="26"/>
                      <a:pt x="3" y="26"/>
                      <a:pt x="3" y="26"/>
                    </a:cubicBezTo>
                    <a:cubicBezTo>
                      <a:pt x="9" y="32"/>
                      <a:pt x="9" y="32"/>
                      <a:pt x="9" y="32"/>
                    </a:cubicBezTo>
                    <a:cubicBezTo>
                      <a:pt x="11" y="33"/>
                      <a:pt x="13" y="34"/>
                      <a:pt x="15" y="34"/>
                    </a:cubicBezTo>
                    <a:cubicBezTo>
                      <a:pt x="15" y="34"/>
                      <a:pt x="15" y="34"/>
                      <a:pt x="15" y="34"/>
                    </a:cubicBezTo>
                    <a:cubicBezTo>
                      <a:pt x="17" y="34"/>
                      <a:pt x="20" y="33"/>
                      <a:pt x="21" y="31"/>
                    </a:cubicBezTo>
                    <a:cubicBezTo>
                      <a:pt x="25" y="27"/>
                      <a:pt x="24" y="22"/>
                      <a:pt x="21" y="18"/>
                    </a:cubicBezTo>
                    <a:cubicBezTo>
                      <a:pt x="0" y="0"/>
                      <a:pt x="0" y="0"/>
                      <a:pt x="0" y="0"/>
                    </a:cubicBezTo>
                  </a:path>
                </a:pathLst>
              </a:custGeom>
              <a:solidFill>
                <a:srgbClr val="003B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31" name="Freeform 732">
                <a:extLst>
                  <a:ext uri="{FF2B5EF4-FFF2-40B4-BE49-F238E27FC236}">
                    <a16:creationId xmlns:a16="http://schemas.microsoft.com/office/drawing/2014/main" id="{323AD177-3E82-C44F-B312-7806E5368157}"/>
                  </a:ext>
                </a:extLst>
              </p:cNvPr>
              <p:cNvSpPr>
                <a:spLocks/>
              </p:cNvSpPr>
              <p:nvPr/>
            </p:nvSpPr>
            <p:spPr bwMode="auto">
              <a:xfrm>
                <a:off x="6463801" y="2381452"/>
                <a:ext cx="20999" cy="62998"/>
              </a:xfrm>
              <a:custGeom>
                <a:avLst/>
                <a:gdLst>
                  <a:gd name="T0" fmla="*/ 5 w 9"/>
                  <a:gd name="T1" fmla="*/ 0 h 27"/>
                  <a:gd name="T2" fmla="*/ 8 w 9"/>
                  <a:gd name="T3" fmla="*/ 6 h 27"/>
                  <a:gd name="T4" fmla="*/ 8 w 9"/>
                  <a:gd name="T5" fmla="*/ 7 h 27"/>
                  <a:gd name="T6" fmla="*/ 6 w 9"/>
                  <a:gd name="T7" fmla="*/ 12 h 27"/>
                  <a:gd name="T8" fmla="*/ 0 w 9"/>
                  <a:gd name="T9" fmla="*/ 19 h 27"/>
                  <a:gd name="T10" fmla="*/ 9 w 9"/>
                  <a:gd name="T11" fmla="*/ 27 h 27"/>
                  <a:gd name="T12" fmla="*/ 9 w 9"/>
                  <a:gd name="T13" fmla="*/ 26 h 27"/>
                  <a:gd name="T14" fmla="*/ 8 w 9"/>
                  <a:gd name="T15" fmla="*/ 5 h 27"/>
                  <a:gd name="T16" fmla="*/ 8 w 9"/>
                  <a:gd name="T17" fmla="*/ 3 h 27"/>
                  <a:gd name="T18" fmla="*/ 6 w 9"/>
                  <a:gd name="T19" fmla="*/ 1 h 27"/>
                  <a:gd name="T20" fmla="*/ 5 w 9"/>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27">
                    <a:moveTo>
                      <a:pt x="5" y="0"/>
                    </a:moveTo>
                    <a:cubicBezTo>
                      <a:pt x="7" y="2"/>
                      <a:pt x="8" y="4"/>
                      <a:pt x="8" y="6"/>
                    </a:cubicBezTo>
                    <a:cubicBezTo>
                      <a:pt x="8" y="7"/>
                      <a:pt x="8" y="7"/>
                      <a:pt x="8" y="7"/>
                    </a:cubicBezTo>
                    <a:cubicBezTo>
                      <a:pt x="8" y="9"/>
                      <a:pt x="7" y="11"/>
                      <a:pt x="6" y="12"/>
                    </a:cubicBezTo>
                    <a:cubicBezTo>
                      <a:pt x="0" y="19"/>
                      <a:pt x="0" y="19"/>
                      <a:pt x="0" y="19"/>
                    </a:cubicBezTo>
                    <a:cubicBezTo>
                      <a:pt x="9" y="27"/>
                      <a:pt x="9" y="27"/>
                      <a:pt x="9" y="27"/>
                    </a:cubicBezTo>
                    <a:cubicBezTo>
                      <a:pt x="9" y="27"/>
                      <a:pt x="9" y="27"/>
                      <a:pt x="9" y="26"/>
                    </a:cubicBezTo>
                    <a:cubicBezTo>
                      <a:pt x="9" y="19"/>
                      <a:pt x="9" y="12"/>
                      <a:pt x="8" y="5"/>
                    </a:cubicBezTo>
                    <a:cubicBezTo>
                      <a:pt x="8" y="4"/>
                      <a:pt x="8" y="4"/>
                      <a:pt x="8" y="3"/>
                    </a:cubicBezTo>
                    <a:cubicBezTo>
                      <a:pt x="7" y="2"/>
                      <a:pt x="7" y="2"/>
                      <a:pt x="6" y="1"/>
                    </a:cubicBezTo>
                    <a:cubicBezTo>
                      <a:pt x="5" y="0"/>
                      <a:pt x="5" y="0"/>
                      <a:pt x="5"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32" name="Freeform 733">
                <a:extLst>
                  <a:ext uri="{FF2B5EF4-FFF2-40B4-BE49-F238E27FC236}">
                    <a16:creationId xmlns:a16="http://schemas.microsoft.com/office/drawing/2014/main" id="{A117A5F3-FD87-CD4B-8EB1-5F5E0F5FBD06}"/>
                  </a:ext>
                </a:extLst>
              </p:cNvPr>
              <p:cNvSpPr>
                <a:spLocks/>
              </p:cNvSpPr>
              <p:nvPr/>
            </p:nvSpPr>
            <p:spPr bwMode="auto">
              <a:xfrm>
                <a:off x="6394804" y="2388452"/>
                <a:ext cx="49998" cy="77998"/>
              </a:xfrm>
              <a:custGeom>
                <a:avLst/>
                <a:gdLst>
                  <a:gd name="T0" fmla="*/ 20 w 21"/>
                  <a:gd name="T1" fmla="*/ 0 h 33"/>
                  <a:gd name="T2" fmla="*/ 3 w 21"/>
                  <a:gd name="T3" fmla="*/ 20 h 33"/>
                  <a:gd name="T4" fmla="*/ 0 w 21"/>
                  <a:gd name="T5" fmla="*/ 26 h 33"/>
                  <a:gd name="T6" fmla="*/ 3 w 21"/>
                  <a:gd name="T7" fmla="*/ 31 h 33"/>
                  <a:gd name="T8" fmla="*/ 9 w 21"/>
                  <a:gd name="T9" fmla="*/ 33 h 33"/>
                  <a:gd name="T10" fmla="*/ 15 w 21"/>
                  <a:gd name="T11" fmla="*/ 31 h 33"/>
                  <a:gd name="T12" fmla="*/ 20 w 21"/>
                  <a:gd name="T13" fmla="*/ 25 h 33"/>
                  <a:gd name="T14" fmla="*/ 20 w 21"/>
                  <a:gd name="T15" fmla="*/ 6 h 33"/>
                  <a:gd name="T16" fmla="*/ 19 w 21"/>
                  <a:gd name="T17" fmla="*/ 4 h 33"/>
                  <a:gd name="T18" fmla="*/ 19 w 21"/>
                  <a:gd name="T19" fmla="*/ 3 h 33"/>
                  <a:gd name="T20" fmla="*/ 20 w 21"/>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3">
                    <a:moveTo>
                      <a:pt x="20" y="0"/>
                    </a:moveTo>
                    <a:cubicBezTo>
                      <a:pt x="3" y="20"/>
                      <a:pt x="3" y="20"/>
                      <a:pt x="3" y="20"/>
                    </a:cubicBezTo>
                    <a:cubicBezTo>
                      <a:pt x="1" y="21"/>
                      <a:pt x="0" y="23"/>
                      <a:pt x="0" y="26"/>
                    </a:cubicBezTo>
                    <a:cubicBezTo>
                      <a:pt x="1" y="28"/>
                      <a:pt x="2" y="30"/>
                      <a:pt x="3" y="31"/>
                    </a:cubicBezTo>
                    <a:cubicBezTo>
                      <a:pt x="5" y="33"/>
                      <a:pt x="7" y="33"/>
                      <a:pt x="9" y="33"/>
                    </a:cubicBezTo>
                    <a:cubicBezTo>
                      <a:pt x="11" y="33"/>
                      <a:pt x="13" y="32"/>
                      <a:pt x="15" y="31"/>
                    </a:cubicBezTo>
                    <a:cubicBezTo>
                      <a:pt x="20" y="25"/>
                      <a:pt x="20" y="25"/>
                      <a:pt x="20" y="25"/>
                    </a:cubicBezTo>
                    <a:cubicBezTo>
                      <a:pt x="21" y="19"/>
                      <a:pt x="21" y="13"/>
                      <a:pt x="20" y="6"/>
                    </a:cubicBezTo>
                    <a:cubicBezTo>
                      <a:pt x="20" y="6"/>
                      <a:pt x="19" y="5"/>
                      <a:pt x="19" y="4"/>
                    </a:cubicBezTo>
                    <a:cubicBezTo>
                      <a:pt x="19" y="3"/>
                      <a:pt x="19" y="3"/>
                      <a:pt x="19" y="3"/>
                    </a:cubicBezTo>
                    <a:cubicBezTo>
                      <a:pt x="19" y="2"/>
                      <a:pt x="20" y="1"/>
                      <a:pt x="20"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33" name="Freeform 734">
                <a:extLst>
                  <a:ext uri="{FF2B5EF4-FFF2-40B4-BE49-F238E27FC236}">
                    <a16:creationId xmlns:a16="http://schemas.microsoft.com/office/drawing/2014/main" id="{BC97F6F7-20F0-B24B-9539-9847AE4B95DC}"/>
                  </a:ext>
                </a:extLst>
              </p:cNvPr>
              <p:cNvSpPr>
                <a:spLocks/>
              </p:cNvSpPr>
              <p:nvPr/>
            </p:nvSpPr>
            <p:spPr bwMode="auto">
              <a:xfrm>
                <a:off x="6392804" y="2376452"/>
                <a:ext cx="67998" cy="91997"/>
              </a:xfrm>
              <a:custGeom>
                <a:avLst/>
                <a:gdLst>
                  <a:gd name="T0" fmla="*/ 29 w 29"/>
                  <a:gd name="T1" fmla="*/ 0 h 39"/>
                  <a:gd name="T2" fmla="*/ 29 w 29"/>
                  <a:gd name="T3" fmla="*/ 0 h 39"/>
                  <a:gd name="T4" fmla="*/ 23 w 29"/>
                  <a:gd name="T5" fmla="*/ 3 h 39"/>
                  <a:gd name="T6" fmla="*/ 3 w 29"/>
                  <a:gd name="T7" fmla="*/ 24 h 39"/>
                  <a:gd name="T8" fmla="*/ 4 w 29"/>
                  <a:gd name="T9" fmla="*/ 37 h 39"/>
                  <a:gd name="T10" fmla="*/ 10 w 29"/>
                  <a:gd name="T11" fmla="*/ 39 h 39"/>
                  <a:gd name="T12" fmla="*/ 16 w 29"/>
                  <a:gd name="T13" fmla="*/ 36 h 39"/>
                  <a:gd name="T14" fmla="*/ 21 w 29"/>
                  <a:gd name="T15" fmla="*/ 31 h 39"/>
                  <a:gd name="T16" fmla="*/ 21 w 29"/>
                  <a:gd name="T17" fmla="*/ 30 h 39"/>
                  <a:gd name="T18" fmla="*/ 16 w 29"/>
                  <a:gd name="T19" fmla="*/ 36 h 39"/>
                  <a:gd name="T20" fmla="*/ 10 w 29"/>
                  <a:gd name="T21" fmla="*/ 38 h 39"/>
                  <a:gd name="T22" fmla="*/ 4 w 29"/>
                  <a:gd name="T23" fmla="*/ 36 h 39"/>
                  <a:gd name="T24" fmla="*/ 1 w 29"/>
                  <a:gd name="T25" fmla="*/ 31 h 39"/>
                  <a:gd name="T26" fmla="*/ 4 w 29"/>
                  <a:gd name="T27" fmla="*/ 25 h 39"/>
                  <a:gd name="T28" fmla="*/ 21 w 29"/>
                  <a:gd name="T29" fmla="*/ 5 h 39"/>
                  <a:gd name="T30" fmla="*/ 23 w 29"/>
                  <a:gd name="T31" fmla="*/ 3 h 39"/>
                  <a:gd name="T32" fmla="*/ 29 w 29"/>
                  <a:gd name="T33" fmla="*/ 0 h 39"/>
                  <a:gd name="T34" fmla="*/ 29 w 29"/>
                  <a:gd name="T35" fmla="*/ 0 h 39"/>
                  <a:gd name="T36" fmla="*/ 29 w 29"/>
                  <a:gd name="T37" fmla="*/ 0 h 39"/>
                  <a:gd name="T38" fmla="*/ 29 w 29"/>
                  <a:gd name="T39" fmla="*/ 0 h 39"/>
                  <a:gd name="T40" fmla="*/ 29 w 29"/>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9">
                    <a:moveTo>
                      <a:pt x="29" y="0"/>
                    </a:moveTo>
                    <a:cubicBezTo>
                      <a:pt x="29" y="0"/>
                      <a:pt x="29" y="0"/>
                      <a:pt x="29" y="0"/>
                    </a:cubicBezTo>
                    <a:cubicBezTo>
                      <a:pt x="27" y="0"/>
                      <a:pt x="24" y="1"/>
                      <a:pt x="23" y="3"/>
                    </a:cubicBezTo>
                    <a:cubicBezTo>
                      <a:pt x="3" y="24"/>
                      <a:pt x="3" y="24"/>
                      <a:pt x="3" y="24"/>
                    </a:cubicBezTo>
                    <a:cubicBezTo>
                      <a:pt x="0" y="28"/>
                      <a:pt x="0" y="33"/>
                      <a:pt x="4" y="37"/>
                    </a:cubicBezTo>
                    <a:cubicBezTo>
                      <a:pt x="5" y="38"/>
                      <a:pt x="8" y="39"/>
                      <a:pt x="10" y="39"/>
                    </a:cubicBezTo>
                    <a:cubicBezTo>
                      <a:pt x="12" y="39"/>
                      <a:pt x="15" y="38"/>
                      <a:pt x="16" y="36"/>
                    </a:cubicBezTo>
                    <a:cubicBezTo>
                      <a:pt x="21" y="31"/>
                      <a:pt x="21" y="31"/>
                      <a:pt x="21" y="31"/>
                    </a:cubicBezTo>
                    <a:cubicBezTo>
                      <a:pt x="21" y="31"/>
                      <a:pt x="21" y="31"/>
                      <a:pt x="21" y="30"/>
                    </a:cubicBezTo>
                    <a:cubicBezTo>
                      <a:pt x="16" y="36"/>
                      <a:pt x="16" y="36"/>
                      <a:pt x="16" y="36"/>
                    </a:cubicBezTo>
                    <a:cubicBezTo>
                      <a:pt x="14" y="37"/>
                      <a:pt x="12" y="38"/>
                      <a:pt x="10" y="38"/>
                    </a:cubicBezTo>
                    <a:cubicBezTo>
                      <a:pt x="8" y="38"/>
                      <a:pt x="6" y="38"/>
                      <a:pt x="4" y="36"/>
                    </a:cubicBezTo>
                    <a:cubicBezTo>
                      <a:pt x="3" y="35"/>
                      <a:pt x="2" y="33"/>
                      <a:pt x="1" y="31"/>
                    </a:cubicBezTo>
                    <a:cubicBezTo>
                      <a:pt x="1" y="28"/>
                      <a:pt x="2" y="26"/>
                      <a:pt x="4" y="25"/>
                    </a:cubicBezTo>
                    <a:cubicBezTo>
                      <a:pt x="21" y="5"/>
                      <a:pt x="21" y="5"/>
                      <a:pt x="21" y="5"/>
                    </a:cubicBezTo>
                    <a:cubicBezTo>
                      <a:pt x="21" y="4"/>
                      <a:pt x="22" y="3"/>
                      <a:pt x="23" y="3"/>
                    </a:cubicBezTo>
                    <a:cubicBezTo>
                      <a:pt x="24" y="1"/>
                      <a:pt x="27" y="0"/>
                      <a:pt x="29" y="0"/>
                    </a:cubicBezTo>
                    <a:cubicBezTo>
                      <a:pt x="29" y="0"/>
                      <a:pt x="29" y="0"/>
                      <a:pt x="29" y="0"/>
                    </a:cubicBezTo>
                    <a:cubicBezTo>
                      <a:pt x="29" y="0"/>
                      <a:pt x="29" y="0"/>
                      <a:pt x="29" y="0"/>
                    </a:cubicBezTo>
                    <a:cubicBezTo>
                      <a:pt x="29" y="0"/>
                      <a:pt x="29" y="0"/>
                      <a:pt x="29" y="0"/>
                    </a:cubicBezTo>
                    <a:cubicBezTo>
                      <a:pt x="29" y="0"/>
                      <a:pt x="29" y="0"/>
                      <a:pt x="29" y="0"/>
                    </a:cubicBezTo>
                  </a:path>
                </a:pathLst>
              </a:custGeom>
              <a:solidFill>
                <a:srgbClr val="003B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34" name="Freeform 735">
                <a:extLst>
                  <a:ext uri="{FF2B5EF4-FFF2-40B4-BE49-F238E27FC236}">
                    <a16:creationId xmlns:a16="http://schemas.microsoft.com/office/drawing/2014/main" id="{1BCE36CA-9DC3-9449-8A8B-834CBF4D1819}"/>
                  </a:ext>
                </a:extLst>
              </p:cNvPr>
              <p:cNvSpPr>
                <a:spLocks noEditPoints="1"/>
              </p:cNvSpPr>
              <p:nvPr/>
            </p:nvSpPr>
            <p:spPr bwMode="auto">
              <a:xfrm>
                <a:off x="6441802" y="2376452"/>
                <a:ext cx="32999" cy="72998"/>
              </a:xfrm>
              <a:custGeom>
                <a:avLst/>
                <a:gdLst>
                  <a:gd name="T0" fmla="*/ 0 w 14"/>
                  <a:gd name="T1" fmla="*/ 11 h 31"/>
                  <a:gd name="T2" fmla="*/ 0 w 14"/>
                  <a:gd name="T3" fmla="*/ 30 h 31"/>
                  <a:gd name="T4" fmla="*/ 0 w 14"/>
                  <a:gd name="T5" fmla="*/ 31 h 31"/>
                  <a:gd name="T6" fmla="*/ 9 w 14"/>
                  <a:gd name="T7" fmla="*/ 21 h 31"/>
                  <a:gd name="T8" fmla="*/ 2 w 14"/>
                  <a:gd name="T9" fmla="*/ 15 h 31"/>
                  <a:gd name="T10" fmla="*/ 0 w 14"/>
                  <a:gd name="T11" fmla="*/ 11 h 31"/>
                  <a:gd name="T12" fmla="*/ 8 w 14"/>
                  <a:gd name="T13" fmla="*/ 0 h 31"/>
                  <a:gd name="T14" fmla="*/ 8 w 14"/>
                  <a:gd name="T15" fmla="*/ 0 h 31"/>
                  <a:gd name="T16" fmla="*/ 14 w 14"/>
                  <a:gd name="T17" fmla="*/ 2 h 31"/>
                  <a:gd name="T18" fmla="*/ 14 w 14"/>
                  <a:gd name="T19" fmla="*/ 2 h 31"/>
                  <a:gd name="T20" fmla="*/ 14 w 14"/>
                  <a:gd name="T21" fmla="*/ 2 h 31"/>
                  <a:gd name="T22" fmla="*/ 8 w 14"/>
                  <a:gd name="T23" fmla="*/ 0 h 31"/>
                  <a:gd name="T24" fmla="*/ 8 w 14"/>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1">
                    <a:moveTo>
                      <a:pt x="0" y="11"/>
                    </a:moveTo>
                    <a:cubicBezTo>
                      <a:pt x="1" y="18"/>
                      <a:pt x="1" y="24"/>
                      <a:pt x="0" y="30"/>
                    </a:cubicBezTo>
                    <a:cubicBezTo>
                      <a:pt x="0" y="31"/>
                      <a:pt x="0" y="31"/>
                      <a:pt x="0" y="31"/>
                    </a:cubicBezTo>
                    <a:cubicBezTo>
                      <a:pt x="9" y="21"/>
                      <a:pt x="9" y="21"/>
                      <a:pt x="9" y="21"/>
                    </a:cubicBezTo>
                    <a:cubicBezTo>
                      <a:pt x="2" y="15"/>
                      <a:pt x="2" y="15"/>
                      <a:pt x="2" y="15"/>
                    </a:cubicBezTo>
                    <a:cubicBezTo>
                      <a:pt x="1" y="14"/>
                      <a:pt x="0" y="13"/>
                      <a:pt x="0" y="11"/>
                    </a:cubicBezTo>
                    <a:moveTo>
                      <a:pt x="8" y="0"/>
                    </a:moveTo>
                    <a:cubicBezTo>
                      <a:pt x="8" y="0"/>
                      <a:pt x="8" y="0"/>
                      <a:pt x="8" y="0"/>
                    </a:cubicBezTo>
                    <a:cubicBezTo>
                      <a:pt x="10" y="0"/>
                      <a:pt x="13" y="0"/>
                      <a:pt x="14" y="2"/>
                    </a:cubicBezTo>
                    <a:cubicBezTo>
                      <a:pt x="14" y="2"/>
                      <a:pt x="14" y="2"/>
                      <a:pt x="14" y="2"/>
                    </a:cubicBezTo>
                    <a:cubicBezTo>
                      <a:pt x="14" y="2"/>
                      <a:pt x="14" y="2"/>
                      <a:pt x="14" y="2"/>
                    </a:cubicBezTo>
                    <a:cubicBezTo>
                      <a:pt x="13" y="0"/>
                      <a:pt x="11" y="0"/>
                      <a:pt x="8" y="0"/>
                    </a:cubicBezTo>
                    <a:cubicBezTo>
                      <a:pt x="8" y="0"/>
                      <a:pt x="8" y="0"/>
                      <a:pt x="8"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35" name="Freeform 736">
                <a:extLst>
                  <a:ext uri="{FF2B5EF4-FFF2-40B4-BE49-F238E27FC236}">
                    <a16:creationId xmlns:a16="http://schemas.microsoft.com/office/drawing/2014/main" id="{9C93030C-E733-E44C-9043-4216B16F492E}"/>
                  </a:ext>
                </a:extLst>
              </p:cNvPr>
              <p:cNvSpPr>
                <a:spLocks/>
              </p:cNvSpPr>
              <p:nvPr/>
            </p:nvSpPr>
            <p:spPr bwMode="auto">
              <a:xfrm>
                <a:off x="6439802" y="2388452"/>
                <a:ext cx="2000" cy="14000"/>
              </a:xfrm>
              <a:custGeom>
                <a:avLst/>
                <a:gdLst>
                  <a:gd name="T0" fmla="*/ 1 w 1"/>
                  <a:gd name="T1" fmla="*/ 0 h 6"/>
                  <a:gd name="T2" fmla="*/ 1 w 1"/>
                  <a:gd name="T3" fmla="*/ 0 h 6"/>
                  <a:gd name="T4" fmla="*/ 0 w 1"/>
                  <a:gd name="T5" fmla="*/ 3 h 6"/>
                  <a:gd name="T6" fmla="*/ 0 w 1"/>
                  <a:gd name="T7" fmla="*/ 4 h 6"/>
                  <a:gd name="T8" fmla="*/ 1 w 1"/>
                  <a:gd name="T9" fmla="*/ 6 h 6"/>
                  <a:gd name="T10" fmla="*/ 1 w 1"/>
                  <a:gd name="T11" fmla="*/ 5 h 6"/>
                  <a:gd name="T12" fmla="*/ 1 w 1"/>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 h="6">
                    <a:moveTo>
                      <a:pt x="1" y="0"/>
                    </a:moveTo>
                    <a:cubicBezTo>
                      <a:pt x="1" y="0"/>
                      <a:pt x="1" y="0"/>
                      <a:pt x="1" y="0"/>
                    </a:cubicBezTo>
                    <a:cubicBezTo>
                      <a:pt x="1" y="1"/>
                      <a:pt x="0" y="2"/>
                      <a:pt x="0" y="3"/>
                    </a:cubicBezTo>
                    <a:cubicBezTo>
                      <a:pt x="0" y="4"/>
                      <a:pt x="0" y="4"/>
                      <a:pt x="0" y="4"/>
                    </a:cubicBezTo>
                    <a:cubicBezTo>
                      <a:pt x="0" y="5"/>
                      <a:pt x="1" y="6"/>
                      <a:pt x="1" y="6"/>
                    </a:cubicBezTo>
                    <a:cubicBezTo>
                      <a:pt x="1" y="6"/>
                      <a:pt x="1" y="5"/>
                      <a:pt x="1" y="5"/>
                    </a:cubicBezTo>
                    <a:cubicBezTo>
                      <a:pt x="0" y="3"/>
                      <a:pt x="1" y="1"/>
                      <a:pt x="1"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36" name="Freeform 737">
                <a:extLst>
                  <a:ext uri="{FF2B5EF4-FFF2-40B4-BE49-F238E27FC236}">
                    <a16:creationId xmlns:a16="http://schemas.microsoft.com/office/drawing/2014/main" id="{C73ADE34-4316-F241-942B-BF40D2130F89}"/>
                  </a:ext>
                </a:extLst>
              </p:cNvPr>
              <p:cNvSpPr>
                <a:spLocks/>
              </p:cNvSpPr>
              <p:nvPr/>
            </p:nvSpPr>
            <p:spPr bwMode="auto">
              <a:xfrm>
                <a:off x="6441802" y="2376452"/>
                <a:ext cx="18999" cy="12000"/>
              </a:xfrm>
              <a:custGeom>
                <a:avLst/>
                <a:gdLst>
                  <a:gd name="T0" fmla="*/ 8 w 8"/>
                  <a:gd name="T1" fmla="*/ 0 h 5"/>
                  <a:gd name="T2" fmla="*/ 2 w 8"/>
                  <a:gd name="T3" fmla="*/ 3 h 5"/>
                  <a:gd name="T4" fmla="*/ 0 w 8"/>
                  <a:gd name="T5" fmla="*/ 5 h 5"/>
                  <a:gd name="T6" fmla="*/ 0 w 8"/>
                  <a:gd name="T7" fmla="*/ 5 h 5"/>
                  <a:gd name="T8" fmla="*/ 7 w 8"/>
                  <a:gd name="T9" fmla="*/ 0 h 5"/>
                  <a:gd name="T10" fmla="*/ 8 w 8"/>
                  <a:gd name="T11" fmla="*/ 0 h 5"/>
                  <a:gd name="T12" fmla="*/ 8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8" y="0"/>
                    </a:moveTo>
                    <a:cubicBezTo>
                      <a:pt x="6" y="0"/>
                      <a:pt x="3" y="1"/>
                      <a:pt x="2" y="3"/>
                    </a:cubicBezTo>
                    <a:cubicBezTo>
                      <a:pt x="1" y="3"/>
                      <a:pt x="0" y="4"/>
                      <a:pt x="0" y="5"/>
                    </a:cubicBezTo>
                    <a:cubicBezTo>
                      <a:pt x="0" y="5"/>
                      <a:pt x="0" y="5"/>
                      <a:pt x="0" y="5"/>
                    </a:cubicBezTo>
                    <a:cubicBezTo>
                      <a:pt x="1" y="2"/>
                      <a:pt x="4" y="0"/>
                      <a:pt x="7" y="0"/>
                    </a:cubicBezTo>
                    <a:cubicBezTo>
                      <a:pt x="8" y="0"/>
                      <a:pt x="8" y="0"/>
                      <a:pt x="8" y="0"/>
                    </a:cubicBezTo>
                    <a:cubicBezTo>
                      <a:pt x="8" y="0"/>
                      <a:pt x="8" y="0"/>
                      <a:pt x="8" y="0"/>
                    </a:cubicBezTo>
                  </a:path>
                </a:pathLst>
              </a:custGeom>
              <a:solidFill>
                <a:srgbClr val="002B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137" name="Freeform 738">
                <a:extLst>
                  <a:ext uri="{FF2B5EF4-FFF2-40B4-BE49-F238E27FC236}">
                    <a16:creationId xmlns:a16="http://schemas.microsoft.com/office/drawing/2014/main" id="{312333A1-245E-9B4C-B45D-9A8AAED7466F}"/>
                  </a:ext>
                </a:extLst>
              </p:cNvPr>
              <p:cNvSpPr>
                <a:spLocks/>
              </p:cNvSpPr>
              <p:nvPr/>
            </p:nvSpPr>
            <p:spPr bwMode="auto">
              <a:xfrm>
                <a:off x="6439802" y="2376452"/>
                <a:ext cx="42999" cy="49998"/>
              </a:xfrm>
              <a:custGeom>
                <a:avLst/>
                <a:gdLst>
                  <a:gd name="T0" fmla="*/ 9 w 18"/>
                  <a:gd name="T1" fmla="*/ 0 h 21"/>
                  <a:gd name="T2" fmla="*/ 8 w 18"/>
                  <a:gd name="T3" fmla="*/ 0 h 21"/>
                  <a:gd name="T4" fmla="*/ 1 w 18"/>
                  <a:gd name="T5" fmla="*/ 5 h 21"/>
                  <a:gd name="T6" fmla="*/ 1 w 18"/>
                  <a:gd name="T7" fmla="*/ 10 h 21"/>
                  <a:gd name="T8" fmla="*/ 1 w 18"/>
                  <a:gd name="T9" fmla="*/ 11 h 21"/>
                  <a:gd name="T10" fmla="*/ 3 w 18"/>
                  <a:gd name="T11" fmla="*/ 15 h 21"/>
                  <a:gd name="T12" fmla="*/ 10 w 18"/>
                  <a:gd name="T13" fmla="*/ 21 h 21"/>
                  <a:gd name="T14" fmla="*/ 16 w 18"/>
                  <a:gd name="T15" fmla="*/ 14 h 21"/>
                  <a:gd name="T16" fmla="*/ 18 w 18"/>
                  <a:gd name="T17" fmla="*/ 9 h 21"/>
                  <a:gd name="T18" fmla="*/ 18 w 18"/>
                  <a:gd name="T19" fmla="*/ 8 h 21"/>
                  <a:gd name="T20" fmla="*/ 15 w 18"/>
                  <a:gd name="T21" fmla="*/ 2 h 21"/>
                  <a:gd name="T22" fmla="*/ 15 w 18"/>
                  <a:gd name="T23" fmla="*/ 2 h 21"/>
                  <a:gd name="T24" fmla="*/ 9 w 18"/>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1">
                    <a:moveTo>
                      <a:pt x="9" y="0"/>
                    </a:moveTo>
                    <a:cubicBezTo>
                      <a:pt x="9" y="0"/>
                      <a:pt x="9" y="0"/>
                      <a:pt x="8" y="0"/>
                    </a:cubicBezTo>
                    <a:cubicBezTo>
                      <a:pt x="5" y="0"/>
                      <a:pt x="2" y="2"/>
                      <a:pt x="1" y="5"/>
                    </a:cubicBezTo>
                    <a:cubicBezTo>
                      <a:pt x="1" y="6"/>
                      <a:pt x="0" y="8"/>
                      <a:pt x="1" y="10"/>
                    </a:cubicBezTo>
                    <a:cubicBezTo>
                      <a:pt x="1" y="10"/>
                      <a:pt x="1" y="11"/>
                      <a:pt x="1" y="11"/>
                    </a:cubicBezTo>
                    <a:cubicBezTo>
                      <a:pt x="1" y="13"/>
                      <a:pt x="2" y="14"/>
                      <a:pt x="3" y="15"/>
                    </a:cubicBezTo>
                    <a:cubicBezTo>
                      <a:pt x="10" y="21"/>
                      <a:pt x="10" y="21"/>
                      <a:pt x="10" y="21"/>
                    </a:cubicBezTo>
                    <a:cubicBezTo>
                      <a:pt x="16" y="14"/>
                      <a:pt x="16" y="14"/>
                      <a:pt x="16" y="14"/>
                    </a:cubicBezTo>
                    <a:cubicBezTo>
                      <a:pt x="17" y="13"/>
                      <a:pt x="18" y="11"/>
                      <a:pt x="18" y="9"/>
                    </a:cubicBezTo>
                    <a:cubicBezTo>
                      <a:pt x="18" y="8"/>
                      <a:pt x="18" y="8"/>
                      <a:pt x="18" y="8"/>
                    </a:cubicBezTo>
                    <a:cubicBezTo>
                      <a:pt x="18" y="6"/>
                      <a:pt x="17" y="4"/>
                      <a:pt x="15" y="2"/>
                    </a:cubicBezTo>
                    <a:cubicBezTo>
                      <a:pt x="15" y="2"/>
                      <a:pt x="15" y="2"/>
                      <a:pt x="15" y="2"/>
                    </a:cubicBezTo>
                    <a:cubicBezTo>
                      <a:pt x="14" y="0"/>
                      <a:pt x="11" y="0"/>
                      <a:pt x="9" y="0"/>
                    </a:cubicBezTo>
                  </a:path>
                </a:pathLst>
              </a:custGeom>
              <a:solidFill>
                <a:srgbClr val="0064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grpSp>
        <p:grpSp>
          <p:nvGrpSpPr>
            <p:cNvPr id="259" name="Group 258">
              <a:extLst>
                <a:ext uri="{FF2B5EF4-FFF2-40B4-BE49-F238E27FC236}">
                  <a16:creationId xmlns:a16="http://schemas.microsoft.com/office/drawing/2014/main" id="{786396DD-96CA-514E-BC36-E6EBDA0B144E}"/>
                </a:ext>
              </a:extLst>
            </p:cNvPr>
            <p:cNvGrpSpPr>
              <a:grpSpLocks noChangeAspect="1"/>
            </p:cNvGrpSpPr>
            <p:nvPr/>
          </p:nvGrpSpPr>
          <p:grpSpPr>
            <a:xfrm rot="10800000">
              <a:off x="731372" y="1934977"/>
              <a:ext cx="1323950" cy="2971622"/>
              <a:chOff x="3402807" y="2630488"/>
              <a:chExt cx="688185" cy="1544638"/>
            </a:xfrm>
          </p:grpSpPr>
          <p:sp>
            <p:nvSpPr>
              <p:cNvPr id="260" name="Freeform 111">
                <a:extLst>
                  <a:ext uri="{FF2B5EF4-FFF2-40B4-BE49-F238E27FC236}">
                    <a16:creationId xmlns:a16="http://schemas.microsoft.com/office/drawing/2014/main" id="{0266EB52-D09A-7040-9C0F-4D3D7B876084}"/>
                  </a:ext>
                </a:extLst>
              </p:cNvPr>
              <p:cNvSpPr>
                <a:spLocks/>
              </p:cNvSpPr>
              <p:nvPr/>
            </p:nvSpPr>
            <p:spPr bwMode="auto">
              <a:xfrm>
                <a:off x="3422650" y="2881313"/>
                <a:ext cx="258763" cy="234950"/>
              </a:xfrm>
              <a:custGeom>
                <a:avLst/>
                <a:gdLst>
                  <a:gd name="T0" fmla="*/ 0 w 148"/>
                  <a:gd name="T1" fmla="*/ 0 h 134"/>
                  <a:gd name="T2" fmla="*/ 79 w 148"/>
                  <a:gd name="T3" fmla="*/ 118 h 134"/>
                  <a:gd name="T4" fmla="*/ 108 w 148"/>
                  <a:gd name="T5" fmla="*/ 134 h 134"/>
                  <a:gd name="T6" fmla="*/ 128 w 148"/>
                  <a:gd name="T7" fmla="*/ 128 h 134"/>
                  <a:gd name="T8" fmla="*/ 137 w 148"/>
                  <a:gd name="T9" fmla="*/ 79 h 134"/>
                  <a:gd name="T10" fmla="*/ 98 w 148"/>
                  <a:gd name="T11" fmla="*/ 19 h 134"/>
                  <a:gd name="T12" fmla="*/ 25 w 148"/>
                  <a:gd name="T13" fmla="*/ 10 h 134"/>
                  <a:gd name="T14" fmla="*/ 0 w 148"/>
                  <a:gd name="T15" fmla="*/ 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34">
                    <a:moveTo>
                      <a:pt x="0" y="0"/>
                    </a:moveTo>
                    <a:cubicBezTo>
                      <a:pt x="79" y="118"/>
                      <a:pt x="79" y="118"/>
                      <a:pt x="79" y="118"/>
                    </a:cubicBezTo>
                    <a:cubicBezTo>
                      <a:pt x="85" y="129"/>
                      <a:pt x="97" y="134"/>
                      <a:pt x="108" y="134"/>
                    </a:cubicBezTo>
                    <a:cubicBezTo>
                      <a:pt x="115" y="134"/>
                      <a:pt x="122" y="132"/>
                      <a:pt x="128" y="128"/>
                    </a:cubicBezTo>
                    <a:cubicBezTo>
                      <a:pt x="144" y="117"/>
                      <a:pt x="148" y="95"/>
                      <a:pt x="137" y="79"/>
                    </a:cubicBezTo>
                    <a:cubicBezTo>
                      <a:pt x="98" y="19"/>
                      <a:pt x="98" y="19"/>
                      <a:pt x="98" y="19"/>
                    </a:cubicBezTo>
                    <a:cubicBezTo>
                      <a:pt x="74" y="13"/>
                      <a:pt x="50" y="10"/>
                      <a:pt x="25" y="10"/>
                    </a:cubicBezTo>
                    <a:cubicBezTo>
                      <a:pt x="15" y="10"/>
                      <a:pt x="6" y="6"/>
                      <a:pt x="0"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61" name="Freeform 112">
                <a:extLst>
                  <a:ext uri="{FF2B5EF4-FFF2-40B4-BE49-F238E27FC236}">
                    <a16:creationId xmlns:a16="http://schemas.microsoft.com/office/drawing/2014/main" id="{8AF5DC29-95F1-904B-B62E-832C35CF032D}"/>
                  </a:ext>
                </a:extLst>
              </p:cNvPr>
              <p:cNvSpPr>
                <a:spLocks/>
              </p:cNvSpPr>
              <p:nvPr/>
            </p:nvSpPr>
            <p:spPr bwMode="auto">
              <a:xfrm>
                <a:off x="3409952" y="2630488"/>
                <a:ext cx="344488" cy="177800"/>
              </a:xfrm>
              <a:custGeom>
                <a:avLst/>
                <a:gdLst>
                  <a:gd name="T0" fmla="*/ 157 w 197"/>
                  <a:gd name="T1" fmla="*/ 0 h 102"/>
                  <a:gd name="T2" fmla="*/ 137 w 197"/>
                  <a:gd name="T3" fmla="*/ 6 h 102"/>
                  <a:gd name="T4" fmla="*/ 12 w 197"/>
                  <a:gd name="T5" fmla="*/ 89 h 102"/>
                  <a:gd name="T6" fmla="*/ 0 w 197"/>
                  <a:gd name="T7" fmla="*/ 102 h 102"/>
                  <a:gd name="T8" fmla="*/ 0 w 197"/>
                  <a:gd name="T9" fmla="*/ 102 h 102"/>
                  <a:gd name="T10" fmla="*/ 12 w 197"/>
                  <a:gd name="T11" fmla="*/ 89 h 102"/>
                  <a:gd name="T12" fmla="*/ 32 w 197"/>
                  <a:gd name="T13" fmla="*/ 83 h 102"/>
                  <a:gd name="T14" fmla="*/ 39 w 197"/>
                  <a:gd name="T15" fmla="*/ 84 h 102"/>
                  <a:gd name="T16" fmla="*/ 128 w 197"/>
                  <a:gd name="T17" fmla="*/ 97 h 102"/>
                  <a:gd name="T18" fmla="*/ 176 w 197"/>
                  <a:gd name="T19" fmla="*/ 65 h 102"/>
                  <a:gd name="T20" fmla="*/ 186 w 197"/>
                  <a:gd name="T21" fmla="*/ 16 h 102"/>
                  <a:gd name="T22" fmla="*/ 157 w 197"/>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102">
                    <a:moveTo>
                      <a:pt x="157" y="0"/>
                    </a:moveTo>
                    <a:cubicBezTo>
                      <a:pt x="150" y="0"/>
                      <a:pt x="143" y="2"/>
                      <a:pt x="137" y="6"/>
                    </a:cubicBezTo>
                    <a:cubicBezTo>
                      <a:pt x="12" y="89"/>
                      <a:pt x="12" y="89"/>
                      <a:pt x="12" y="89"/>
                    </a:cubicBezTo>
                    <a:cubicBezTo>
                      <a:pt x="7" y="92"/>
                      <a:pt x="3" y="97"/>
                      <a:pt x="0" y="102"/>
                    </a:cubicBezTo>
                    <a:cubicBezTo>
                      <a:pt x="0" y="102"/>
                      <a:pt x="0" y="102"/>
                      <a:pt x="0" y="102"/>
                    </a:cubicBezTo>
                    <a:cubicBezTo>
                      <a:pt x="3" y="97"/>
                      <a:pt x="7" y="92"/>
                      <a:pt x="12" y="89"/>
                    </a:cubicBezTo>
                    <a:cubicBezTo>
                      <a:pt x="18" y="85"/>
                      <a:pt x="25" y="83"/>
                      <a:pt x="32" y="83"/>
                    </a:cubicBezTo>
                    <a:cubicBezTo>
                      <a:pt x="34" y="83"/>
                      <a:pt x="37" y="83"/>
                      <a:pt x="39" y="84"/>
                    </a:cubicBezTo>
                    <a:cubicBezTo>
                      <a:pt x="70" y="84"/>
                      <a:pt x="100" y="89"/>
                      <a:pt x="128" y="97"/>
                    </a:cubicBezTo>
                    <a:cubicBezTo>
                      <a:pt x="176" y="65"/>
                      <a:pt x="176" y="65"/>
                      <a:pt x="176" y="65"/>
                    </a:cubicBezTo>
                    <a:cubicBezTo>
                      <a:pt x="193" y="54"/>
                      <a:pt x="197" y="32"/>
                      <a:pt x="186" y="16"/>
                    </a:cubicBezTo>
                    <a:cubicBezTo>
                      <a:pt x="179" y="5"/>
                      <a:pt x="168" y="0"/>
                      <a:pt x="157"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62" name="Freeform 113">
                <a:extLst>
                  <a:ext uri="{FF2B5EF4-FFF2-40B4-BE49-F238E27FC236}">
                    <a16:creationId xmlns:a16="http://schemas.microsoft.com/office/drawing/2014/main" id="{18884605-D40C-824B-9319-854E91B42C52}"/>
                  </a:ext>
                </a:extLst>
              </p:cNvPr>
              <p:cNvSpPr>
                <a:spLocks/>
              </p:cNvSpPr>
              <p:nvPr/>
            </p:nvSpPr>
            <p:spPr bwMode="auto">
              <a:xfrm>
                <a:off x="3409950" y="2774951"/>
                <a:ext cx="68263" cy="33337"/>
              </a:xfrm>
              <a:custGeom>
                <a:avLst/>
                <a:gdLst>
                  <a:gd name="T0" fmla="*/ 32 w 39"/>
                  <a:gd name="T1" fmla="*/ 0 h 19"/>
                  <a:gd name="T2" fmla="*/ 12 w 39"/>
                  <a:gd name="T3" fmla="*/ 6 h 19"/>
                  <a:gd name="T4" fmla="*/ 0 w 39"/>
                  <a:gd name="T5" fmla="*/ 19 h 19"/>
                  <a:gd name="T6" fmla="*/ 32 w 39"/>
                  <a:gd name="T7" fmla="*/ 0 h 19"/>
                  <a:gd name="T8" fmla="*/ 32 w 39"/>
                  <a:gd name="T9" fmla="*/ 0 h 19"/>
                  <a:gd name="T10" fmla="*/ 39 w 39"/>
                  <a:gd name="T11" fmla="*/ 1 h 19"/>
                  <a:gd name="T12" fmla="*/ 32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2" y="0"/>
                    </a:moveTo>
                    <a:cubicBezTo>
                      <a:pt x="25" y="0"/>
                      <a:pt x="18" y="2"/>
                      <a:pt x="12" y="6"/>
                    </a:cubicBezTo>
                    <a:cubicBezTo>
                      <a:pt x="7" y="9"/>
                      <a:pt x="3" y="14"/>
                      <a:pt x="0" y="19"/>
                    </a:cubicBezTo>
                    <a:cubicBezTo>
                      <a:pt x="6" y="8"/>
                      <a:pt x="18" y="0"/>
                      <a:pt x="32" y="0"/>
                    </a:cubicBezTo>
                    <a:cubicBezTo>
                      <a:pt x="32" y="0"/>
                      <a:pt x="32" y="0"/>
                      <a:pt x="32" y="0"/>
                    </a:cubicBezTo>
                    <a:cubicBezTo>
                      <a:pt x="34" y="0"/>
                      <a:pt x="37" y="0"/>
                      <a:pt x="39" y="1"/>
                    </a:cubicBezTo>
                    <a:cubicBezTo>
                      <a:pt x="37" y="0"/>
                      <a:pt x="34" y="0"/>
                      <a:pt x="3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63" name="Freeform 114">
                <a:extLst>
                  <a:ext uri="{FF2B5EF4-FFF2-40B4-BE49-F238E27FC236}">
                    <a16:creationId xmlns:a16="http://schemas.microsoft.com/office/drawing/2014/main" id="{EDC64637-7C46-A549-832F-1B5457A46F23}"/>
                  </a:ext>
                </a:extLst>
              </p:cNvPr>
              <p:cNvSpPr>
                <a:spLocks/>
              </p:cNvSpPr>
              <p:nvPr/>
            </p:nvSpPr>
            <p:spPr bwMode="auto">
              <a:xfrm>
                <a:off x="3425825" y="3689351"/>
                <a:ext cx="255588" cy="228600"/>
              </a:xfrm>
              <a:custGeom>
                <a:avLst/>
                <a:gdLst>
                  <a:gd name="T0" fmla="*/ 106 w 146"/>
                  <a:gd name="T1" fmla="*/ 0 h 131"/>
                  <a:gd name="T2" fmla="*/ 77 w 146"/>
                  <a:gd name="T3" fmla="*/ 15 h 131"/>
                  <a:gd name="T4" fmla="*/ 0 w 146"/>
                  <a:gd name="T5" fmla="*/ 131 h 131"/>
                  <a:gd name="T6" fmla="*/ 23 w 146"/>
                  <a:gd name="T7" fmla="*/ 122 h 131"/>
                  <a:gd name="T8" fmla="*/ 97 w 146"/>
                  <a:gd name="T9" fmla="*/ 113 h 131"/>
                  <a:gd name="T10" fmla="*/ 135 w 146"/>
                  <a:gd name="T11" fmla="*/ 54 h 131"/>
                  <a:gd name="T12" fmla="*/ 126 w 146"/>
                  <a:gd name="T13" fmla="*/ 5 h 131"/>
                  <a:gd name="T14" fmla="*/ 106 w 146"/>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131">
                    <a:moveTo>
                      <a:pt x="106" y="0"/>
                    </a:moveTo>
                    <a:cubicBezTo>
                      <a:pt x="95" y="0"/>
                      <a:pt x="83" y="5"/>
                      <a:pt x="77" y="15"/>
                    </a:cubicBezTo>
                    <a:cubicBezTo>
                      <a:pt x="0" y="131"/>
                      <a:pt x="0" y="131"/>
                      <a:pt x="0" y="131"/>
                    </a:cubicBezTo>
                    <a:cubicBezTo>
                      <a:pt x="6" y="126"/>
                      <a:pt x="14" y="122"/>
                      <a:pt x="23" y="122"/>
                    </a:cubicBezTo>
                    <a:cubicBezTo>
                      <a:pt x="48" y="122"/>
                      <a:pt x="73" y="119"/>
                      <a:pt x="97" y="113"/>
                    </a:cubicBezTo>
                    <a:cubicBezTo>
                      <a:pt x="135" y="54"/>
                      <a:pt x="135" y="54"/>
                      <a:pt x="135" y="54"/>
                    </a:cubicBezTo>
                    <a:cubicBezTo>
                      <a:pt x="146" y="38"/>
                      <a:pt x="142" y="16"/>
                      <a:pt x="126" y="5"/>
                    </a:cubicBezTo>
                    <a:cubicBezTo>
                      <a:pt x="120" y="1"/>
                      <a:pt x="113" y="0"/>
                      <a:pt x="106"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64" name="Freeform 115">
                <a:extLst>
                  <a:ext uri="{FF2B5EF4-FFF2-40B4-BE49-F238E27FC236}">
                    <a16:creationId xmlns:a16="http://schemas.microsoft.com/office/drawing/2014/main" id="{F96DC3FD-667E-544E-B939-85F73EC1A3A8}"/>
                  </a:ext>
                </a:extLst>
              </p:cNvPr>
              <p:cNvSpPr>
                <a:spLocks/>
              </p:cNvSpPr>
              <p:nvPr/>
            </p:nvSpPr>
            <p:spPr bwMode="auto">
              <a:xfrm>
                <a:off x="3430588" y="4003676"/>
                <a:ext cx="323850" cy="171450"/>
              </a:xfrm>
              <a:custGeom>
                <a:avLst/>
                <a:gdLst>
                  <a:gd name="T0" fmla="*/ 115 w 185"/>
                  <a:gd name="T1" fmla="*/ 0 h 98"/>
                  <a:gd name="T2" fmla="*/ 32 w 185"/>
                  <a:gd name="T3" fmla="*/ 13 h 98"/>
                  <a:gd name="T4" fmla="*/ 20 w 185"/>
                  <a:gd name="T5" fmla="*/ 15 h 98"/>
                  <a:gd name="T6" fmla="*/ 0 w 185"/>
                  <a:gd name="T7" fmla="*/ 9 h 98"/>
                  <a:gd name="T8" fmla="*/ 125 w 185"/>
                  <a:gd name="T9" fmla="*/ 92 h 98"/>
                  <a:gd name="T10" fmla="*/ 145 w 185"/>
                  <a:gd name="T11" fmla="*/ 98 h 98"/>
                  <a:gd name="T12" fmla="*/ 174 w 185"/>
                  <a:gd name="T13" fmla="*/ 82 h 98"/>
                  <a:gd name="T14" fmla="*/ 164 w 185"/>
                  <a:gd name="T15" fmla="*/ 33 h 98"/>
                  <a:gd name="T16" fmla="*/ 115 w 18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98">
                    <a:moveTo>
                      <a:pt x="115" y="0"/>
                    </a:moveTo>
                    <a:cubicBezTo>
                      <a:pt x="88" y="8"/>
                      <a:pt x="60" y="12"/>
                      <a:pt x="32" y="13"/>
                    </a:cubicBezTo>
                    <a:cubicBezTo>
                      <a:pt x="28" y="14"/>
                      <a:pt x="24" y="15"/>
                      <a:pt x="20" y="15"/>
                    </a:cubicBezTo>
                    <a:cubicBezTo>
                      <a:pt x="13" y="15"/>
                      <a:pt x="6" y="13"/>
                      <a:pt x="0" y="9"/>
                    </a:cubicBezTo>
                    <a:cubicBezTo>
                      <a:pt x="125" y="92"/>
                      <a:pt x="125" y="92"/>
                      <a:pt x="125" y="92"/>
                    </a:cubicBezTo>
                    <a:cubicBezTo>
                      <a:pt x="131" y="96"/>
                      <a:pt x="138" y="98"/>
                      <a:pt x="145" y="98"/>
                    </a:cubicBezTo>
                    <a:cubicBezTo>
                      <a:pt x="156" y="98"/>
                      <a:pt x="167" y="92"/>
                      <a:pt x="174" y="82"/>
                    </a:cubicBezTo>
                    <a:cubicBezTo>
                      <a:pt x="185" y="66"/>
                      <a:pt x="181" y="44"/>
                      <a:pt x="164" y="33"/>
                    </a:cubicBezTo>
                    <a:cubicBezTo>
                      <a:pt x="115" y="0"/>
                      <a:pt x="115" y="0"/>
                      <a:pt x="115"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65" name="Freeform 116">
                <a:extLst>
                  <a:ext uri="{FF2B5EF4-FFF2-40B4-BE49-F238E27FC236}">
                    <a16:creationId xmlns:a16="http://schemas.microsoft.com/office/drawing/2014/main" id="{4FBBA604-B039-814B-9573-FC2F7C0723F9}"/>
                  </a:ext>
                </a:extLst>
              </p:cNvPr>
              <p:cNvSpPr>
                <a:spLocks/>
              </p:cNvSpPr>
              <p:nvPr/>
            </p:nvSpPr>
            <p:spPr bwMode="auto">
              <a:xfrm>
                <a:off x="3405188" y="3978276"/>
                <a:ext cx="82550" cy="52387"/>
              </a:xfrm>
              <a:custGeom>
                <a:avLst/>
                <a:gdLst>
                  <a:gd name="T0" fmla="*/ 0 w 47"/>
                  <a:gd name="T1" fmla="*/ 0 h 30"/>
                  <a:gd name="T2" fmla="*/ 15 w 47"/>
                  <a:gd name="T3" fmla="*/ 24 h 30"/>
                  <a:gd name="T4" fmla="*/ 15 w 47"/>
                  <a:gd name="T5" fmla="*/ 24 h 30"/>
                  <a:gd name="T6" fmla="*/ 35 w 47"/>
                  <a:gd name="T7" fmla="*/ 30 h 30"/>
                  <a:gd name="T8" fmla="*/ 47 w 47"/>
                  <a:gd name="T9" fmla="*/ 28 h 30"/>
                  <a:gd name="T10" fmla="*/ 35 w 47"/>
                  <a:gd name="T11" fmla="*/ 28 h 30"/>
                  <a:gd name="T12" fmla="*/ 0 w 4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47" h="30">
                    <a:moveTo>
                      <a:pt x="0" y="0"/>
                    </a:moveTo>
                    <a:cubicBezTo>
                      <a:pt x="2" y="10"/>
                      <a:pt x="7" y="18"/>
                      <a:pt x="15" y="24"/>
                    </a:cubicBezTo>
                    <a:cubicBezTo>
                      <a:pt x="15" y="24"/>
                      <a:pt x="15" y="24"/>
                      <a:pt x="15" y="24"/>
                    </a:cubicBezTo>
                    <a:cubicBezTo>
                      <a:pt x="21" y="28"/>
                      <a:pt x="28" y="30"/>
                      <a:pt x="35" y="30"/>
                    </a:cubicBezTo>
                    <a:cubicBezTo>
                      <a:pt x="39" y="30"/>
                      <a:pt x="43" y="29"/>
                      <a:pt x="47" y="28"/>
                    </a:cubicBezTo>
                    <a:cubicBezTo>
                      <a:pt x="43" y="28"/>
                      <a:pt x="39" y="28"/>
                      <a:pt x="35" y="28"/>
                    </a:cubicBezTo>
                    <a:cubicBezTo>
                      <a:pt x="18" y="28"/>
                      <a:pt x="4" y="16"/>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66" name="Freeform 117">
                <a:extLst>
                  <a:ext uri="{FF2B5EF4-FFF2-40B4-BE49-F238E27FC236}">
                    <a16:creationId xmlns:a16="http://schemas.microsoft.com/office/drawing/2014/main" id="{05C4C8EC-3BA9-B04F-BD0B-0BED2895D23F}"/>
                  </a:ext>
                </a:extLst>
              </p:cNvPr>
              <p:cNvSpPr>
                <a:spLocks noEditPoints="1"/>
              </p:cNvSpPr>
              <p:nvPr/>
            </p:nvSpPr>
            <p:spPr bwMode="auto">
              <a:xfrm>
                <a:off x="3403604" y="2800351"/>
                <a:ext cx="687388" cy="1203325"/>
              </a:xfrm>
              <a:custGeom>
                <a:avLst/>
                <a:gdLst>
                  <a:gd name="T0" fmla="*/ 13 w 393"/>
                  <a:gd name="T1" fmla="*/ 639 h 688"/>
                  <a:gd name="T2" fmla="*/ 0 w 393"/>
                  <a:gd name="T3" fmla="*/ 666 h 688"/>
                  <a:gd name="T4" fmla="*/ 1 w 393"/>
                  <a:gd name="T5" fmla="*/ 673 h 688"/>
                  <a:gd name="T6" fmla="*/ 1 w 393"/>
                  <a:gd name="T7" fmla="*/ 668 h 688"/>
                  <a:gd name="T8" fmla="*/ 7 w 393"/>
                  <a:gd name="T9" fmla="*/ 648 h 688"/>
                  <a:gd name="T10" fmla="*/ 7 w 393"/>
                  <a:gd name="T11" fmla="*/ 648 h 688"/>
                  <a:gd name="T12" fmla="*/ 13 w 393"/>
                  <a:gd name="T13" fmla="*/ 639 h 688"/>
                  <a:gd name="T14" fmla="*/ 4 w 393"/>
                  <a:gd name="T15" fmla="*/ 5 h 688"/>
                  <a:gd name="T16" fmla="*/ 0 w 393"/>
                  <a:gd name="T17" fmla="*/ 22 h 688"/>
                  <a:gd name="T18" fmla="*/ 11 w 393"/>
                  <a:gd name="T19" fmla="*/ 47 h 688"/>
                  <a:gd name="T20" fmla="*/ 7 w 393"/>
                  <a:gd name="T21" fmla="*/ 41 h 688"/>
                  <a:gd name="T22" fmla="*/ 1 w 393"/>
                  <a:gd name="T23" fmla="*/ 21 h 688"/>
                  <a:gd name="T24" fmla="*/ 4 w 393"/>
                  <a:gd name="T25" fmla="*/ 5 h 688"/>
                  <a:gd name="T26" fmla="*/ 132 w 393"/>
                  <a:gd name="T27" fmla="*/ 0 h 688"/>
                  <a:gd name="T28" fmla="*/ 85 w 393"/>
                  <a:gd name="T29" fmla="*/ 31 h 688"/>
                  <a:gd name="T30" fmla="*/ 109 w 393"/>
                  <a:gd name="T31" fmla="*/ 66 h 688"/>
                  <a:gd name="T32" fmla="*/ 147 w 393"/>
                  <a:gd name="T33" fmla="*/ 80 h 688"/>
                  <a:gd name="T34" fmla="*/ 273 w 393"/>
                  <a:gd name="T35" fmla="*/ 184 h 688"/>
                  <a:gd name="T36" fmla="*/ 322 w 393"/>
                  <a:gd name="T37" fmla="*/ 344 h 688"/>
                  <a:gd name="T38" fmla="*/ 300 w 393"/>
                  <a:gd name="T39" fmla="*/ 455 h 688"/>
                  <a:gd name="T40" fmla="*/ 196 w 393"/>
                  <a:gd name="T41" fmla="*/ 582 h 688"/>
                  <a:gd name="T42" fmla="*/ 110 w 393"/>
                  <a:gd name="T43" fmla="*/ 621 h 688"/>
                  <a:gd name="T44" fmla="*/ 85 w 393"/>
                  <a:gd name="T45" fmla="*/ 658 h 688"/>
                  <a:gd name="T46" fmla="*/ 131 w 393"/>
                  <a:gd name="T47" fmla="*/ 688 h 688"/>
                  <a:gd name="T48" fmla="*/ 175 w 393"/>
                  <a:gd name="T49" fmla="*/ 673 h 688"/>
                  <a:gd name="T50" fmla="*/ 332 w 393"/>
                  <a:gd name="T51" fmla="*/ 544 h 688"/>
                  <a:gd name="T52" fmla="*/ 393 w 393"/>
                  <a:gd name="T53" fmla="*/ 344 h 688"/>
                  <a:gd name="T54" fmla="*/ 365 w 393"/>
                  <a:gd name="T55" fmla="*/ 205 h 688"/>
                  <a:gd name="T56" fmla="*/ 235 w 393"/>
                  <a:gd name="T57" fmla="*/ 47 h 688"/>
                  <a:gd name="T58" fmla="*/ 132 w 393"/>
                  <a:gd name="T5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3" h="688">
                    <a:moveTo>
                      <a:pt x="13" y="639"/>
                    </a:moveTo>
                    <a:cubicBezTo>
                      <a:pt x="5" y="645"/>
                      <a:pt x="0" y="655"/>
                      <a:pt x="0" y="666"/>
                    </a:cubicBezTo>
                    <a:cubicBezTo>
                      <a:pt x="0" y="668"/>
                      <a:pt x="1" y="671"/>
                      <a:pt x="1" y="673"/>
                    </a:cubicBezTo>
                    <a:cubicBezTo>
                      <a:pt x="1" y="672"/>
                      <a:pt x="1" y="670"/>
                      <a:pt x="1" y="668"/>
                    </a:cubicBezTo>
                    <a:cubicBezTo>
                      <a:pt x="1" y="661"/>
                      <a:pt x="3" y="654"/>
                      <a:pt x="7" y="648"/>
                    </a:cubicBezTo>
                    <a:cubicBezTo>
                      <a:pt x="7" y="648"/>
                      <a:pt x="7" y="648"/>
                      <a:pt x="7" y="648"/>
                    </a:cubicBezTo>
                    <a:cubicBezTo>
                      <a:pt x="13" y="639"/>
                      <a:pt x="13" y="639"/>
                      <a:pt x="13" y="639"/>
                    </a:cubicBezTo>
                    <a:moveTo>
                      <a:pt x="4" y="5"/>
                    </a:moveTo>
                    <a:cubicBezTo>
                      <a:pt x="2" y="10"/>
                      <a:pt x="0" y="16"/>
                      <a:pt x="0" y="22"/>
                    </a:cubicBezTo>
                    <a:cubicBezTo>
                      <a:pt x="0" y="31"/>
                      <a:pt x="4" y="40"/>
                      <a:pt x="11" y="47"/>
                    </a:cubicBezTo>
                    <a:cubicBezTo>
                      <a:pt x="7" y="41"/>
                      <a:pt x="7" y="41"/>
                      <a:pt x="7" y="41"/>
                    </a:cubicBezTo>
                    <a:cubicBezTo>
                      <a:pt x="3" y="35"/>
                      <a:pt x="1" y="28"/>
                      <a:pt x="1" y="21"/>
                    </a:cubicBezTo>
                    <a:cubicBezTo>
                      <a:pt x="1" y="16"/>
                      <a:pt x="2" y="10"/>
                      <a:pt x="4" y="5"/>
                    </a:cubicBezTo>
                    <a:moveTo>
                      <a:pt x="132" y="0"/>
                    </a:moveTo>
                    <a:cubicBezTo>
                      <a:pt x="85" y="31"/>
                      <a:pt x="85" y="31"/>
                      <a:pt x="85" y="31"/>
                    </a:cubicBezTo>
                    <a:cubicBezTo>
                      <a:pt x="109" y="66"/>
                      <a:pt x="109" y="66"/>
                      <a:pt x="109" y="66"/>
                    </a:cubicBezTo>
                    <a:cubicBezTo>
                      <a:pt x="122" y="70"/>
                      <a:pt x="135" y="74"/>
                      <a:pt x="147" y="80"/>
                    </a:cubicBezTo>
                    <a:cubicBezTo>
                      <a:pt x="199" y="101"/>
                      <a:pt x="242" y="138"/>
                      <a:pt x="273" y="184"/>
                    </a:cubicBezTo>
                    <a:cubicBezTo>
                      <a:pt x="304" y="229"/>
                      <a:pt x="322" y="284"/>
                      <a:pt x="322" y="344"/>
                    </a:cubicBezTo>
                    <a:cubicBezTo>
                      <a:pt x="322" y="383"/>
                      <a:pt x="314" y="421"/>
                      <a:pt x="300" y="455"/>
                    </a:cubicBezTo>
                    <a:cubicBezTo>
                      <a:pt x="278" y="507"/>
                      <a:pt x="242" y="551"/>
                      <a:pt x="196" y="582"/>
                    </a:cubicBezTo>
                    <a:cubicBezTo>
                      <a:pt x="170" y="599"/>
                      <a:pt x="141" y="613"/>
                      <a:pt x="110" y="621"/>
                    </a:cubicBezTo>
                    <a:cubicBezTo>
                      <a:pt x="85" y="658"/>
                      <a:pt x="85" y="658"/>
                      <a:pt x="85" y="658"/>
                    </a:cubicBezTo>
                    <a:cubicBezTo>
                      <a:pt x="131" y="688"/>
                      <a:pt x="131" y="688"/>
                      <a:pt x="131" y="688"/>
                    </a:cubicBezTo>
                    <a:cubicBezTo>
                      <a:pt x="146" y="684"/>
                      <a:pt x="161" y="679"/>
                      <a:pt x="175" y="673"/>
                    </a:cubicBezTo>
                    <a:cubicBezTo>
                      <a:pt x="239" y="646"/>
                      <a:pt x="293" y="601"/>
                      <a:pt x="332" y="544"/>
                    </a:cubicBezTo>
                    <a:cubicBezTo>
                      <a:pt x="370" y="487"/>
                      <a:pt x="393" y="418"/>
                      <a:pt x="393" y="344"/>
                    </a:cubicBezTo>
                    <a:cubicBezTo>
                      <a:pt x="393" y="295"/>
                      <a:pt x="383" y="247"/>
                      <a:pt x="365" y="205"/>
                    </a:cubicBezTo>
                    <a:cubicBezTo>
                      <a:pt x="338" y="141"/>
                      <a:pt x="292" y="86"/>
                      <a:pt x="235" y="47"/>
                    </a:cubicBezTo>
                    <a:cubicBezTo>
                      <a:pt x="204" y="26"/>
                      <a:pt x="169" y="10"/>
                      <a:pt x="132"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67" name="Freeform 118">
                <a:extLst>
                  <a:ext uri="{FF2B5EF4-FFF2-40B4-BE49-F238E27FC236}">
                    <a16:creationId xmlns:a16="http://schemas.microsoft.com/office/drawing/2014/main" id="{F0EECC05-959B-9A4E-ADBD-6E1F31310CA9}"/>
                  </a:ext>
                </a:extLst>
              </p:cNvPr>
              <p:cNvSpPr>
                <a:spLocks/>
              </p:cNvSpPr>
              <p:nvPr/>
            </p:nvSpPr>
            <p:spPr bwMode="auto">
              <a:xfrm>
                <a:off x="3405188" y="2836863"/>
                <a:ext cx="188913" cy="77787"/>
              </a:xfrm>
              <a:custGeom>
                <a:avLst/>
                <a:gdLst>
                  <a:gd name="T0" fmla="*/ 0 w 108"/>
                  <a:gd name="T1" fmla="*/ 0 h 45"/>
                  <a:gd name="T2" fmla="*/ 6 w 108"/>
                  <a:gd name="T3" fmla="*/ 20 h 45"/>
                  <a:gd name="T4" fmla="*/ 10 w 108"/>
                  <a:gd name="T5" fmla="*/ 26 h 45"/>
                  <a:gd name="T6" fmla="*/ 35 w 108"/>
                  <a:gd name="T7" fmla="*/ 36 h 45"/>
                  <a:gd name="T8" fmla="*/ 108 w 108"/>
                  <a:gd name="T9" fmla="*/ 45 h 45"/>
                  <a:gd name="T10" fmla="*/ 84 w 108"/>
                  <a:gd name="T11" fmla="*/ 10 h 45"/>
                  <a:gd name="T12" fmla="*/ 55 w 108"/>
                  <a:gd name="T13" fmla="*/ 29 h 45"/>
                  <a:gd name="T14" fmla="*/ 35 w 108"/>
                  <a:gd name="T15" fmla="*/ 35 h 45"/>
                  <a:gd name="T16" fmla="*/ 6 w 108"/>
                  <a:gd name="T17" fmla="*/ 20 h 45"/>
                  <a:gd name="T18" fmla="*/ 0 w 108"/>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45">
                    <a:moveTo>
                      <a:pt x="0" y="0"/>
                    </a:moveTo>
                    <a:cubicBezTo>
                      <a:pt x="0" y="7"/>
                      <a:pt x="2" y="14"/>
                      <a:pt x="6" y="20"/>
                    </a:cubicBezTo>
                    <a:cubicBezTo>
                      <a:pt x="10" y="26"/>
                      <a:pt x="10" y="26"/>
                      <a:pt x="10" y="26"/>
                    </a:cubicBezTo>
                    <a:cubicBezTo>
                      <a:pt x="16" y="32"/>
                      <a:pt x="25" y="36"/>
                      <a:pt x="35" y="36"/>
                    </a:cubicBezTo>
                    <a:cubicBezTo>
                      <a:pt x="60" y="36"/>
                      <a:pt x="84" y="39"/>
                      <a:pt x="108" y="45"/>
                    </a:cubicBezTo>
                    <a:cubicBezTo>
                      <a:pt x="84" y="10"/>
                      <a:pt x="84" y="10"/>
                      <a:pt x="84" y="10"/>
                    </a:cubicBezTo>
                    <a:cubicBezTo>
                      <a:pt x="55" y="29"/>
                      <a:pt x="55" y="29"/>
                      <a:pt x="55" y="29"/>
                    </a:cubicBezTo>
                    <a:cubicBezTo>
                      <a:pt x="49" y="33"/>
                      <a:pt x="42" y="35"/>
                      <a:pt x="35" y="35"/>
                    </a:cubicBezTo>
                    <a:cubicBezTo>
                      <a:pt x="24" y="35"/>
                      <a:pt x="12" y="30"/>
                      <a:pt x="6" y="20"/>
                    </a:cubicBezTo>
                    <a:cubicBezTo>
                      <a:pt x="2" y="14"/>
                      <a:pt x="0" y="7"/>
                      <a:pt x="0"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68" name="Freeform 119">
                <a:extLst>
                  <a:ext uri="{FF2B5EF4-FFF2-40B4-BE49-F238E27FC236}">
                    <a16:creationId xmlns:a16="http://schemas.microsoft.com/office/drawing/2014/main" id="{86242C92-450B-844E-B8EB-0966C3779F0F}"/>
                  </a:ext>
                </a:extLst>
              </p:cNvPr>
              <p:cNvSpPr>
                <a:spLocks/>
              </p:cNvSpPr>
              <p:nvPr/>
            </p:nvSpPr>
            <p:spPr bwMode="auto">
              <a:xfrm>
                <a:off x="3478213" y="2776538"/>
                <a:ext cx="155575" cy="77787"/>
              </a:xfrm>
              <a:custGeom>
                <a:avLst/>
                <a:gdLst>
                  <a:gd name="T0" fmla="*/ 0 w 89"/>
                  <a:gd name="T1" fmla="*/ 0 h 44"/>
                  <a:gd name="T2" fmla="*/ 22 w 89"/>
                  <a:gd name="T3" fmla="*/ 15 h 44"/>
                  <a:gd name="T4" fmla="*/ 42 w 89"/>
                  <a:gd name="T5" fmla="*/ 44 h 44"/>
                  <a:gd name="T6" fmla="*/ 89 w 89"/>
                  <a:gd name="T7" fmla="*/ 13 h 44"/>
                  <a:gd name="T8" fmla="*/ 0 w 89"/>
                  <a:gd name="T9" fmla="*/ 0 h 44"/>
                </a:gdLst>
                <a:ahLst/>
                <a:cxnLst>
                  <a:cxn ang="0">
                    <a:pos x="T0" y="T1"/>
                  </a:cxn>
                  <a:cxn ang="0">
                    <a:pos x="T2" y="T3"/>
                  </a:cxn>
                  <a:cxn ang="0">
                    <a:pos x="T4" y="T5"/>
                  </a:cxn>
                  <a:cxn ang="0">
                    <a:pos x="T6" y="T7"/>
                  </a:cxn>
                  <a:cxn ang="0">
                    <a:pos x="T8" y="T9"/>
                  </a:cxn>
                </a:cxnLst>
                <a:rect l="0" t="0" r="r" b="b"/>
                <a:pathLst>
                  <a:path w="89" h="44">
                    <a:moveTo>
                      <a:pt x="0" y="0"/>
                    </a:moveTo>
                    <a:cubicBezTo>
                      <a:pt x="9" y="1"/>
                      <a:pt x="17" y="7"/>
                      <a:pt x="22" y="15"/>
                    </a:cubicBezTo>
                    <a:cubicBezTo>
                      <a:pt x="42" y="44"/>
                      <a:pt x="42" y="44"/>
                      <a:pt x="42" y="44"/>
                    </a:cubicBezTo>
                    <a:cubicBezTo>
                      <a:pt x="89" y="13"/>
                      <a:pt x="89" y="13"/>
                      <a:pt x="89" y="13"/>
                    </a:cubicBezTo>
                    <a:cubicBezTo>
                      <a:pt x="61" y="5"/>
                      <a:pt x="31" y="0"/>
                      <a:pt x="0"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69" name="Freeform 120">
                <a:extLst>
                  <a:ext uri="{FF2B5EF4-FFF2-40B4-BE49-F238E27FC236}">
                    <a16:creationId xmlns:a16="http://schemas.microsoft.com/office/drawing/2014/main" id="{C599CE77-AB8B-BD43-9F54-572E203C0723}"/>
                  </a:ext>
                </a:extLst>
              </p:cNvPr>
              <p:cNvSpPr>
                <a:spLocks/>
              </p:cNvSpPr>
              <p:nvPr/>
            </p:nvSpPr>
            <p:spPr bwMode="auto">
              <a:xfrm>
                <a:off x="3402807" y="2774951"/>
                <a:ext cx="146050" cy="122237"/>
              </a:xfrm>
              <a:custGeom>
                <a:avLst/>
                <a:gdLst>
                  <a:gd name="T0" fmla="*/ 35 w 84"/>
                  <a:gd name="T1" fmla="*/ 0 h 70"/>
                  <a:gd name="T2" fmla="*/ 35 w 84"/>
                  <a:gd name="T3" fmla="*/ 0 h 70"/>
                  <a:gd name="T4" fmla="*/ 3 w 84"/>
                  <a:gd name="T5" fmla="*/ 19 h 70"/>
                  <a:gd name="T6" fmla="*/ 0 w 84"/>
                  <a:gd name="T7" fmla="*/ 35 h 70"/>
                  <a:gd name="T8" fmla="*/ 6 w 84"/>
                  <a:gd name="T9" fmla="*/ 55 h 70"/>
                  <a:gd name="T10" fmla="*/ 35 w 84"/>
                  <a:gd name="T11" fmla="*/ 70 h 70"/>
                  <a:gd name="T12" fmla="*/ 55 w 84"/>
                  <a:gd name="T13" fmla="*/ 64 h 70"/>
                  <a:gd name="T14" fmla="*/ 84 w 84"/>
                  <a:gd name="T15" fmla="*/ 45 h 70"/>
                  <a:gd name="T16" fmla="*/ 64 w 84"/>
                  <a:gd name="T17" fmla="*/ 16 h 70"/>
                  <a:gd name="T18" fmla="*/ 42 w 84"/>
                  <a:gd name="T19" fmla="*/ 1 h 70"/>
                  <a:gd name="T20" fmla="*/ 35 w 84"/>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0">
                    <a:moveTo>
                      <a:pt x="35" y="0"/>
                    </a:moveTo>
                    <a:cubicBezTo>
                      <a:pt x="35" y="0"/>
                      <a:pt x="35" y="0"/>
                      <a:pt x="35" y="0"/>
                    </a:cubicBezTo>
                    <a:cubicBezTo>
                      <a:pt x="21" y="0"/>
                      <a:pt x="9" y="8"/>
                      <a:pt x="3" y="19"/>
                    </a:cubicBezTo>
                    <a:cubicBezTo>
                      <a:pt x="1" y="24"/>
                      <a:pt x="0" y="30"/>
                      <a:pt x="0" y="35"/>
                    </a:cubicBezTo>
                    <a:cubicBezTo>
                      <a:pt x="0" y="42"/>
                      <a:pt x="2" y="49"/>
                      <a:pt x="6" y="55"/>
                    </a:cubicBezTo>
                    <a:cubicBezTo>
                      <a:pt x="12" y="65"/>
                      <a:pt x="24" y="70"/>
                      <a:pt x="35" y="70"/>
                    </a:cubicBezTo>
                    <a:cubicBezTo>
                      <a:pt x="42" y="70"/>
                      <a:pt x="49" y="68"/>
                      <a:pt x="55" y="64"/>
                    </a:cubicBezTo>
                    <a:cubicBezTo>
                      <a:pt x="84" y="45"/>
                      <a:pt x="84" y="45"/>
                      <a:pt x="84" y="45"/>
                    </a:cubicBezTo>
                    <a:cubicBezTo>
                      <a:pt x="64" y="16"/>
                      <a:pt x="64" y="16"/>
                      <a:pt x="64" y="16"/>
                    </a:cubicBezTo>
                    <a:cubicBezTo>
                      <a:pt x="59" y="8"/>
                      <a:pt x="51" y="2"/>
                      <a:pt x="42" y="1"/>
                    </a:cubicBezTo>
                    <a:cubicBezTo>
                      <a:pt x="40" y="0"/>
                      <a:pt x="37" y="0"/>
                      <a:pt x="35" y="0"/>
                    </a:cubicBezTo>
                  </a:path>
                </a:pathLst>
              </a:custGeom>
              <a:solidFill>
                <a:srgbClr val="0066C5"/>
              </a:solidFill>
              <a:ln w="12700">
                <a:solidFill>
                  <a:srgbClr val="0066C5"/>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70" name="Freeform 121">
                <a:extLst>
                  <a:ext uri="{FF2B5EF4-FFF2-40B4-BE49-F238E27FC236}">
                    <a16:creationId xmlns:a16="http://schemas.microsoft.com/office/drawing/2014/main" id="{DB3AB42E-4E7E-4546-9498-6EA32E32CF01}"/>
                  </a:ext>
                </a:extLst>
              </p:cNvPr>
              <p:cNvSpPr>
                <a:spLocks/>
              </p:cNvSpPr>
              <p:nvPr/>
            </p:nvSpPr>
            <p:spPr bwMode="auto">
              <a:xfrm>
                <a:off x="3414713" y="3886201"/>
                <a:ext cx="180975" cy="65087"/>
              </a:xfrm>
              <a:custGeom>
                <a:avLst/>
                <a:gdLst>
                  <a:gd name="T0" fmla="*/ 103 w 103"/>
                  <a:gd name="T1" fmla="*/ 0 h 37"/>
                  <a:gd name="T2" fmla="*/ 29 w 103"/>
                  <a:gd name="T3" fmla="*/ 9 h 37"/>
                  <a:gd name="T4" fmla="*/ 6 w 103"/>
                  <a:gd name="T5" fmla="*/ 18 h 37"/>
                  <a:gd name="T6" fmla="*/ 0 w 103"/>
                  <a:gd name="T7" fmla="*/ 27 h 37"/>
                  <a:gd name="T8" fmla="*/ 29 w 103"/>
                  <a:gd name="T9" fmla="*/ 11 h 37"/>
                  <a:gd name="T10" fmla="*/ 49 w 103"/>
                  <a:gd name="T11" fmla="*/ 17 h 37"/>
                  <a:gd name="T12" fmla="*/ 78 w 103"/>
                  <a:gd name="T13" fmla="*/ 37 h 37"/>
                  <a:gd name="T14" fmla="*/ 103 w 103"/>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7">
                    <a:moveTo>
                      <a:pt x="103" y="0"/>
                    </a:moveTo>
                    <a:cubicBezTo>
                      <a:pt x="79" y="6"/>
                      <a:pt x="54" y="9"/>
                      <a:pt x="29" y="9"/>
                    </a:cubicBezTo>
                    <a:cubicBezTo>
                      <a:pt x="20" y="9"/>
                      <a:pt x="12" y="13"/>
                      <a:pt x="6" y="18"/>
                    </a:cubicBezTo>
                    <a:cubicBezTo>
                      <a:pt x="0" y="27"/>
                      <a:pt x="0" y="27"/>
                      <a:pt x="0" y="27"/>
                    </a:cubicBezTo>
                    <a:cubicBezTo>
                      <a:pt x="6" y="17"/>
                      <a:pt x="18" y="11"/>
                      <a:pt x="29" y="11"/>
                    </a:cubicBezTo>
                    <a:cubicBezTo>
                      <a:pt x="36" y="11"/>
                      <a:pt x="43" y="13"/>
                      <a:pt x="49" y="17"/>
                    </a:cubicBezTo>
                    <a:cubicBezTo>
                      <a:pt x="78" y="37"/>
                      <a:pt x="78" y="37"/>
                      <a:pt x="78" y="37"/>
                    </a:cubicBezTo>
                    <a:cubicBezTo>
                      <a:pt x="103" y="0"/>
                      <a:pt x="103" y="0"/>
                      <a:pt x="103"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71" name="Freeform 122">
                <a:extLst>
                  <a:ext uri="{FF2B5EF4-FFF2-40B4-BE49-F238E27FC236}">
                    <a16:creationId xmlns:a16="http://schemas.microsoft.com/office/drawing/2014/main" id="{D6BB87C6-3F4B-B843-9C39-A31133B00A90}"/>
                  </a:ext>
                </a:extLst>
              </p:cNvPr>
              <p:cNvSpPr>
                <a:spLocks/>
              </p:cNvSpPr>
              <p:nvPr/>
            </p:nvSpPr>
            <p:spPr bwMode="auto">
              <a:xfrm>
                <a:off x="3487738" y="3951288"/>
                <a:ext cx="144463" cy="74612"/>
              </a:xfrm>
              <a:custGeom>
                <a:avLst/>
                <a:gdLst>
                  <a:gd name="T0" fmla="*/ 37 w 83"/>
                  <a:gd name="T1" fmla="*/ 0 h 43"/>
                  <a:gd name="T2" fmla="*/ 17 w 83"/>
                  <a:gd name="T3" fmla="*/ 29 h 43"/>
                  <a:gd name="T4" fmla="*/ 0 w 83"/>
                  <a:gd name="T5" fmla="*/ 43 h 43"/>
                  <a:gd name="T6" fmla="*/ 83 w 83"/>
                  <a:gd name="T7" fmla="*/ 30 h 43"/>
                  <a:gd name="T8" fmla="*/ 37 w 83"/>
                  <a:gd name="T9" fmla="*/ 0 h 43"/>
                </a:gdLst>
                <a:ahLst/>
                <a:cxnLst>
                  <a:cxn ang="0">
                    <a:pos x="T0" y="T1"/>
                  </a:cxn>
                  <a:cxn ang="0">
                    <a:pos x="T2" y="T3"/>
                  </a:cxn>
                  <a:cxn ang="0">
                    <a:pos x="T4" y="T5"/>
                  </a:cxn>
                  <a:cxn ang="0">
                    <a:pos x="T6" y="T7"/>
                  </a:cxn>
                  <a:cxn ang="0">
                    <a:pos x="T8" y="T9"/>
                  </a:cxn>
                </a:cxnLst>
                <a:rect l="0" t="0" r="r" b="b"/>
                <a:pathLst>
                  <a:path w="83" h="43">
                    <a:moveTo>
                      <a:pt x="37" y="0"/>
                    </a:moveTo>
                    <a:cubicBezTo>
                      <a:pt x="17" y="29"/>
                      <a:pt x="17" y="29"/>
                      <a:pt x="17" y="29"/>
                    </a:cubicBezTo>
                    <a:cubicBezTo>
                      <a:pt x="13" y="36"/>
                      <a:pt x="7" y="40"/>
                      <a:pt x="0" y="43"/>
                    </a:cubicBezTo>
                    <a:cubicBezTo>
                      <a:pt x="28" y="42"/>
                      <a:pt x="56" y="38"/>
                      <a:pt x="83" y="30"/>
                    </a:cubicBezTo>
                    <a:cubicBezTo>
                      <a:pt x="37" y="0"/>
                      <a:pt x="37" y="0"/>
                      <a:pt x="37"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272" name="Freeform 123">
                <a:extLst>
                  <a:ext uri="{FF2B5EF4-FFF2-40B4-BE49-F238E27FC236}">
                    <a16:creationId xmlns:a16="http://schemas.microsoft.com/office/drawing/2014/main" id="{54E916E8-46D7-5D4C-A92E-F7A6A81C8801}"/>
                  </a:ext>
                </a:extLst>
              </p:cNvPr>
              <p:cNvSpPr>
                <a:spLocks/>
              </p:cNvSpPr>
              <p:nvPr/>
            </p:nvSpPr>
            <p:spPr bwMode="auto">
              <a:xfrm>
                <a:off x="3405188" y="3905251"/>
                <a:ext cx="146050" cy="120650"/>
              </a:xfrm>
              <a:custGeom>
                <a:avLst/>
                <a:gdLst>
                  <a:gd name="T0" fmla="*/ 35 w 84"/>
                  <a:gd name="T1" fmla="*/ 0 h 69"/>
                  <a:gd name="T2" fmla="*/ 6 w 84"/>
                  <a:gd name="T3" fmla="*/ 16 h 69"/>
                  <a:gd name="T4" fmla="*/ 6 w 84"/>
                  <a:gd name="T5" fmla="*/ 16 h 69"/>
                  <a:gd name="T6" fmla="*/ 0 w 84"/>
                  <a:gd name="T7" fmla="*/ 36 h 69"/>
                  <a:gd name="T8" fmla="*/ 0 w 84"/>
                  <a:gd name="T9" fmla="*/ 41 h 69"/>
                  <a:gd name="T10" fmla="*/ 35 w 84"/>
                  <a:gd name="T11" fmla="*/ 69 h 69"/>
                  <a:gd name="T12" fmla="*/ 47 w 84"/>
                  <a:gd name="T13" fmla="*/ 69 h 69"/>
                  <a:gd name="T14" fmla="*/ 64 w 84"/>
                  <a:gd name="T15" fmla="*/ 55 h 69"/>
                  <a:gd name="T16" fmla="*/ 84 w 84"/>
                  <a:gd name="T17" fmla="*/ 26 h 69"/>
                  <a:gd name="T18" fmla="*/ 55 w 84"/>
                  <a:gd name="T19" fmla="*/ 6 h 69"/>
                  <a:gd name="T20" fmla="*/ 35 w 84"/>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9">
                    <a:moveTo>
                      <a:pt x="35" y="0"/>
                    </a:moveTo>
                    <a:cubicBezTo>
                      <a:pt x="24" y="0"/>
                      <a:pt x="12" y="6"/>
                      <a:pt x="6" y="16"/>
                    </a:cubicBezTo>
                    <a:cubicBezTo>
                      <a:pt x="6" y="16"/>
                      <a:pt x="6" y="16"/>
                      <a:pt x="6" y="16"/>
                    </a:cubicBezTo>
                    <a:cubicBezTo>
                      <a:pt x="2" y="22"/>
                      <a:pt x="0" y="29"/>
                      <a:pt x="0" y="36"/>
                    </a:cubicBezTo>
                    <a:cubicBezTo>
                      <a:pt x="0" y="38"/>
                      <a:pt x="0" y="40"/>
                      <a:pt x="0" y="41"/>
                    </a:cubicBezTo>
                    <a:cubicBezTo>
                      <a:pt x="4" y="57"/>
                      <a:pt x="18" y="69"/>
                      <a:pt x="35" y="69"/>
                    </a:cubicBezTo>
                    <a:cubicBezTo>
                      <a:pt x="39" y="69"/>
                      <a:pt x="43" y="69"/>
                      <a:pt x="47" y="69"/>
                    </a:cubicBezTo>
                    <a:cubicBezTo>
                      <a:pt x="54" y="66"/>
                      <a:pt x="60" y="62"/>
                      <a:pt x="64" y="55"/>
                    </a:cubicBezTo>
                    <a:cubicBezTo>
                      <a:pt x="84" y="26"/>
                      <a:pt x="84" y="26"/>
                      <a:pt x="84" y="26"/>
                    </a:cubicBezTo>
                    <a:cubicBezTo>
                      <a:pt x="55" y="6"/>
                      <a:pt x="55" y="6"/>
                      <a:pt x="55" y="6"/>
                    </a:cubicBezTo>
                    <a:cubicBezTo>
                      <a:pt x="49" y="2"/>
                      <a:pt x="42" y="0"/>
                      <a:pt x="35" y="0"/>
                    </a:cubicBezTo>
                  </a:path>
                </a:pathLst>
              </a:custGeom>
              <a:solidFill>
                <a:srgbClr val="0066C5"/>
              </a:solidFill>
              <a:ln>
                <a:solidFill>
                  <a:srgbClr val="0066C5"/>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grpSp>
        <p:grpSp>
          <p:nvGrpSpPr>
            <p:cNvPr id="354" name="Group 353">
              <a:extLst>
                <a:ext uri="{FF2B5EF4-FFF2-40B4-BE49-F238E27FC236}">
                  <a16:creationId xmlns:a16="http://schemas.microsoft.com/office/drawing/2014/main" id="{EE0FE0D9-F047-2F46-A05F-C63E143ADE6C}"/>
                </a:ext>
              </a:extLst>
            </p:cNvPr>
            <p:cNvGrpSpPr/>
            <p:nvPr/>
          </p:nvGrpSpPr>
          <p:grpSpPr>
            <a:xfrm>
              <a:off x="2284523" y="3384436"/>
              <a:ext cx="1078992" cy="1081938"/>
              <a:chOff x="1592127" y="3564786"/>
              <a:chExt cx="1078992" cy="1081938"/>
            </a:xfrm>
          </p:grpSpPr>
          <p:sp>
            <p:nvSpPr>
              <p:cNvPr id="305" name="Oval 304">
                <a:extLst>
                  <a:ext uri="{FF2B5EF4-FFF2-40B4-BE49-F238E27FC236}">
                    <a16:creationId xmlns:a16="http://schemas.microsoft.com/office/drawing/2014/main" id="{B6477205-E5EA-F147-8A44-017B6FCD783A}"/>
                  </a:ext>
                </a:extLst>
              </p:cNvPr>
              <p:cNvSpPr/>
              <p:nvPr/>
            </p:nvSpPr>
            <p:spPr>
              <a:xfrm>
                <a:off x="1592127" y="3567732"/>
                <a:ext cx="1078992" cy="107899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2"/>
                <a:endParaRPr lang="en-US" dirty="0">
                  <a:solidFill>
                    <a:srgbClr val="005073"/>
                  </a:solidFill>
                  <a:latin typeface="CiscoSansTT ExtraLight"/>
                </a:endParaRPr>
              </a:p>
            </p:txBody>
          </p:sp>
          <p:grpSp>
            <p:nvGrpSpPr>
              <p:cNvPr id="308" name="Group 307">
                <a:extLst>
                  <a:ext uri="{FF2B5EF4-FFF2-40B4-BE49-F238E27FC236}">
                    <a16:creationId xmlns:a16="http://schemas.microsoft.com/office/drawing/2014/main" id="{437DF53A-82AF-834F-8B41-F158D7E929DD}"/>
                  </a:ext>
                </a:extLst>
              </p:cNvPr>
              <p:cNvGrpSpPr/>
              <p:nvPr/>
            </p:nvGrpSpPr>
            <p:grpSpPr>
              <a:xfrm>
                <a:off x="1722124" y="3689733"/>
                <a:ext cx="837218" cy="834173"/>
                <a:chOff x="894488" y="1449748"/>
                <a:chExt cx="672970" cy="670521"/>
              </a:xfrm>
            </p:grpSpPr>
            <p:sp>
              <p:nvSpPr>
                <p:cNvPr id="91" name="Freeform 273">
                  <a:extLst>
                    <a:ext uri="{FF2B5EF4-FFF2-40B4-BE49-F238E27FC236}">
                      <a16:creationId xmlns:a16="http://schemas.microsoft.com/office/drawing/2014/main" id="{8A3D6E00-67AE-3044-ACDF-E3B2CE1CA734}"/>
                    </a:ext>
                  </a:extLst>
                </p:cNvPr>
                <p:cNvSpPr>
                  <a:spLocks/>
                </p:cNvSpPr>
                <p:nvPr/>
              </p:nvSpPr>
              <p:spPr bwMode="auto">
                <a:xfrm rot="17456762">
                  <a:off x="894476" y="1721622"/>
                  <a:ext cx="670521" cy="126774"/>
                </a:xfrm>
                <a:custGeom>
                  <a:avLst/>
                  <a:gdLst>
                    <a:gd name="T0" fmla="*/ 22 w 240"/>
                    <a:gd name="T1" fmla="*/ 0 h 45"/>
                    <a:gd name="T2" fmla="*/ 217 w 240"/>
                    <a:gd name="T3" fmla="*/ 0 h 45"/>
                    <a:gd name="T4" fmla="*/ 240 w 240"/>
                    <a:gd name="T5" fmla="*/ 23 h 45"/>
                    <a:gd name="T6" fmla="*/ 217 w 240"/>
                    <a:gd name="T7" fmla="*/ 45 h 45"/>
                    <a:gd name="T8" fmla="*/ 22 w 240"/>
                    <a:gd name="T9" fmla="*/ 45 h 45"/>
                    <a:gd name="T10" fmla="*/ 0 w 240"/>
                    <a:gd name="T11" fmla="*/ 23 h 45"/>
                    <a:gd name="T12" fmla="*/ 22 w 24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40" h="45">
                      <a:moveTo>
                        <a:pt x="22" y="0"/>
                      </a:moveTo>
                      <a:cubicBezTo>
                        <a:pt x="217" y="0"/>
                        <a:pt x="217" y="0"/>
                        <a:pt x="217" y="0"/>
                      </a:cubicBezTo>
                      <a:cubicBezTo>
                        <a:pt x="229" y="0"/>
                        <a:pt x="240" y="10"/>
                        <a:pt x="240" y="23"/>
                      </a:cubicBezTo>
                      <a:cubicBezTo>
                        <a:pt x="240" y="35"/>
                        <a:pt x="229" y="45"/>
                        <a:pt x="217" y="45"/>
                      </a:cubicBezTo>
                      <a:cubicBezTo>
                        <a:pt x="22" y="45"/>
                        <a:pt x="22" y="45"/>
                        <a:pt x="22" y="45"/>
                      </a:cubicBezTo>
                      <a:cubicBezTo>
                        <a:pt x="10" y="45"/>
                        <a:pt x="0" y="35"/>
                        <a:pt x="0" y="23"/>
                      </a:cubicBezTo>
                      <a:cubicBezTo>
                        <a:pt x="0" y="10"/>
                        <a:pt x="10" y="0"/>
                        <a:pt x="22" y="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defTabSz="685783">
                    <a:defRPr/>
                  </a:pPr>
                  <a:endParaRPr lang="en-US" kern="0" dirty="0">
                    <a:solidFill>
                      <a:srgbClr val="39393B"/>
                    </a:solidFill>
                    <a:latin typeface="Arial"/>
                  </a:endParaRPr>
                </a:p>
              </p:txBody>
            </p:sp>
            <p:sp>
              <p:nvSpPr>
                <p:cNvPr id="92" name="Freeform 274">
                  <a:extLst>
                    <a:ext uri="{FF2B5EF4-FFF2-40B4-BE49-F238E27FC236}">
                      <a16:creationId xmlns:a16="http://schemas.microsoft.com/office/drawing/2014/main" id="{7D2FC232-E76D-5846-B16C-BA1837279AEE}"/>
                    </a:ext>
                  </a:extLst>
                </p:cNvPr>
                <p:cNvSpPr>
                  <a:spLocks/>
                </p:cNvSpPr>
                <p:nvPr/>
              </p:nvSpPr>
              <p:spPr bwMode="auto">
                <a:xfrm rot="17456762">
                  <a:off x="968306" y="1525035"/>
                  <a:ext cx="522698" cy="523684"/>
                </a:xfrm>
                <a:custGeom>
                  <a:avLst/>
                  <a:gdLst>
                    <a:gd name="T0" fmla="*/ 9 w 187"/>
                    <a:gd name="T1" fmla="*/ 147 h 187"/>
                    <a:gd name="T2" fmla="*/ 147 w 187"/>
                    <a:gd name="T3" fmla="*/ 9 h 187"/>
                    <a:gd name="T4" fmla="*/ 178 w 187"/>
                    <a:gd name="T5" fmla="*/ 9 h 187"/>
                    <a:gd name="T6" fmla="*/ 178 w 187"/>
                    <a:gd name="T7" fmla="*/ 41 h 187"/>
                    <a:gd name="T8" fmla="*/ 41 w 187"/>
                    <a:gd name="T9" fmla="*/ 178 h 187"/>
                    <a:gd name="T10" fmla="*/ 9 w 187"/>
                    <a:gd name="T11" fmla="*/ 178 h 187"/>
                    <a:gd name="T12" fmla="*/ 9 w 187"/>
                    <a:gd name="T13" fmla="*/ 178 h 187"/>
                    <a:gd name="T14" fmla="*/ 9 w 187"/>
                    <a:gd name="T15" fmla="*/ 147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7">
                      <a:moveTo>
                        <a:pt x="9" y="147"/>
                      </a:moveTo>
                      <a:cubicBezTo>
                        <a:pt x="147" y="9"/>
                        <a:pt x="147" y="9"/>
                        <a:pt x="147" y="9"/>
                      </a:cubicBezTo>
                      <a:cubicBezTo>
                        <a:pt x="155" y="0"/>
                        <a:pt x="170" y="0"/>
                        <a:pt x="178" y="9"/>
                      </a:cubicBezTo>
                      <a:cubicBezTo>
                        <a:pt x="187" y="18"/>
                        <a:pt x="187" y="32"/>
                        <a:pt x="178" y="41"/>
                      </a:cubicBezTo>
                      <a:cubicBezTo>
                        <a:pt x="41" y="178"/>
                        <a:pt x="41" y="178"/>
                        <a:pt x="41" y="178"/>
                      </a:cubicBezTo>
                      <a:cubicBezTo>
                        <a:pt x="32" y="187"/>
                        <a:pt x="18" y="187"/>
                        <a:pt x="9" y="178"/>
                      </a:cubicBezTo>
                      <a:cubicBezTo>
                        <a:pt x="9" y="178"/>
                        <a:pt x="9" y="178"/>
                        <a:pt x="9" y="178"/>
                      </a:cubicBezTo>
                      <a:cubicBezTo>
                        <a:pt x="0" y="170"/>
                        <a:pt x="0" y="155"/>
                        <a:pt x="9" y="147"/>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defTabSz="685783">
                    <a:defRPr/>
                  </a:pPr>
                  <a:endParaRPr lang="en-US" kern="0" dirty="0">
                    <a:solidFill>
                      <a:srgbClr val="39393B"/>
                    </a:solidFill>
                    <a:latin typeface="Arial"/>
                  </a:endParaRPr>
                </a:p>
              </p:txBody>
            </p:sp>
            <p:sp>
              <p:nvSpPr>
                <p:cNvPr id="93" name="Freeform 275">
                  <a:extLst>
                    <a:ext uri="{FF2B5EF4-FFF2-40B4-BE49-F238E27FC236}">
                      <a16:creationId xmlns:a16="http://schemas.microsoft.com/office/drawing/2014/main" id="{1011DEEA-27E1-C448-BA4D-8B3C0962B771}"/>
                    </a:ext>
                  </a:extLst>
                </p:cNvPr>
                <p:cNvSpPr>
                  <a:spLocks/>
                </p:cNvSpPr>
                <p:nvPr/>
              </p:nvSpPr>
              <p:spPr bwMode="auto">
                <a:xfrm rot="17456762">
                  <a:off x="968303" y="1525047"/>
                  <a:ext cx="522696" cy="523686"/>
                </a:xfrm>
                <a:custGeom>
                  <a:avLst/>
                  <a:gdLst>
                    <a:gd name="T0" fmla="*/ 41 w 187"/>
                    <a:gd name="T1" fmla="*/ 9 h 187"/>
                    <a:gd name="T2" fmla="*/ 178 w 187"/>
                    <a:gd name="T3" fmla="*/ 147 h 187"/>
                    <a:gd name="T4" fmla="*/ 178 w 187"/>
                    <a:gd name="T5" fmla="*/ 178 h 187"/>
                    <a:gd name="T6" fmla="*/ 147 w 187"/>
                    <a:gd name="T7" fmla="*/ 178 h 187"/>
                    <a:gd name="T8" fmla="*/ 9 w 187"/>
                    <a:gd name="T9" fmla="*/ 41 h 187"/>
                    <a:gd name="T10" fmla="*/ 9 w 187"/>
                    <a:gd name="T11" fmla="*/ 9 h 187"/>
                    <a:gd name="T12" fmla="*/ 9 w 187"/>
                    <a:gd name="T13" fmla="*/ 9 h 187"/>
                    <a:gd name="T14" fmla="*/ 41 w 187"/>
                    <a:gd name="T15" fmla="*/ 9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7">
                      <a:moveTo>
                        <a:pt x="41" y="9"/>
                      </a:moveTo>
                      <a:cubicBezTo>
                        <a:pt x="178" y="147"/>
                        <a:pt x="178" y="147"/>
                        <a:pt x="178" y="147"/>
                      </a:cubicBezTo>
                      <a:cubicBezTo>
                        <a:pt x="187" y="155"/>
                        <a:pt x="187" y="170"/>
                        <a:pt x="178" y="178"/>
                      </a:cubicBezTo>
                      <a:cubicBezTo>
                        <a:pt x="170" y="187"/>
                        <a:pt x="155" y="187"/>
                        <a:pt x="147" y="178"/>
                      </a:cubicBezTo>
                      <a:cubicBezTo>
                        <a:pt x="9" y="41"/>
                        <a:pt x="9" y="41"/>
                        <a:pt x="9" y="41"/>
                      </a:cubicBezTo>
                      <a:cubicBezTo>
                        <a:pt x="0" y="32"/>
                        <a:pt x="0" y="18"/>
                        <a:pt x="9" y="9"/>
                      </a:cubicBezTo>
                      <a:cubicBezTo>
                        <a:pt x="9" y="9"/>
                        <a:pt x="9" y="9"/>
                        <a:pt x="9" y="9"/>
                      </a:cubicBezTo>
                      <a:cubicBezTo>
                        <a:pt x="18" y="0"/>
                        <a:pt x="32" y="0"/>
                        <a:pt x="41" y="9"/>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defTabSz="685783">
                    <a:defRPr/>
                  </a:pPr>
                  <a:endParaRPr lang="en-US" kern="0" dirty="0">
                    <a:solidFill>
                      <a:srgbClr val="39393B"/>
                    </a:solidFill>
                    <a:latin typeface="Arial"/>
                  </a:endParaRPr>
                </a:p>
              </p:txBody>
            </p:sp>
            <p:grpSp>
              <p:nvGrpSpPr>
                <p:cNvPr id="306" name="Group 305">
                  <a:extLst>
                    <a:ext uri="{FF2B5EF4-FFF2-40B4-BE49-F238E27FC236}">
                      <a16:creationId xmlns:a16="http://schemas.microsoft.com/office/drawing/2014/main" id="{04417E95-F52C-D144-BFDA-C6363816063F}"/>
                    </a:ext>
                  </a:extLst>
                </p:cNvPr>
                <p:cNvGrpSpPr/>
                <p:nvPr/>
              </p:nvGrpSpPr>
              <p:grpSpPr>
                <a:xfrm>
                  <a:off x="894488" y="1576521"/>
                  <a:ext cx="672970" cy="410352"/>
                  <a:chOff x="894488" y="1576521"/>
                  <a:chExt cx="672970" cy="410352"/>
                </a:xfrm>
              </p:grpSpPr>
              <p:sp>
                <p:nvSpPr>
                  <p:cNvPr id="90" name="Freeform 272">
                    <a:extLst>
                      <a:ext uri="{FF2B5EF4-FFF2-40B4-BE49-F238E27FC236}">
                        <a16:creationId xmlns:a16="http://schemas.microsoft.com/office/drawing/2014/main" id="{2FE3B64C-C5E1-9949-A1EE-37F36CDF2973}"/>
                      </a:ext>
                    </a:extLst>
                  </p:cNvPr>
                  <p:cNvSpPr>
                    <a:spLocks/>
                  </p:cNvSpPr>
                  <p:nvPr/>
                </p:nvSpPr>
                <p:spPr bwMode="auto">
                  <a:xfrm rot="17456762">
                    <a:off x="1167705" y="1450266"/>
                    <a:ext cx="126535" cy="672970"/>
                  </a:xfrm>
                  <a:custGeom>
                    <a:avLst/>
                    <a:gdLst>
                      <a:gd name="T0" fmla="*/ 0 w 45"/>
                      <a:gd name="T1" fmla="*/ 217 h 240"/>
                      <a:gd name="T2" fmla="*/ 0 w 45"/>
                      <a:gd name="T3" fmla="*/ 22 h 240"/>
                      <a:gd name="T4" fmla="*/ 23 w 45"/>
                      <a:gd name="T5" fmla="*/ 0 h 240"/>
                      <a:gd name="T6" fmla="*/ 45 w 45"/>
                      <a:gd name="T7" fmla="*/ 22 h 240"/>
                      <a:gd name="T8" fmla="*/ 45 w 45"/>
                      <a:gd name="T9" fmla="*/ 217 h 240"/>
                      <a:gd name="T10" fmla="*/ 23 w 45"/>
                      <a:gd name="T11" fmla="*/ 240 h 240"/>
                      <a:gd name="T12" fmla="*/ 0 w 45"/>
                      <a:gd name="T13" fmla="*/ 217 h 240"/>
                    </a:gdLst>
                    <a:ahLst/>
                    <a:cxnLst>
                      <a:cxn ang="0">
                        <a:pos x="T0" y="T1"/>
                      </a:cxn>
                      <a:cxn ang="0">
                        <a:pos x="T2" y="T3"/>
                      </a:cxn>
                      <a:cxn ang="0">
                        <a:pos x="T4" y="T5"/>
                      </a:cxn>
                      <a:cxn ang="0">
                        <a:pos x="T6" y="T7"/>
                      </a:cxn>
                      <a:cxn ang="0">
                        <a:pos x="T8" y="T9"/>
                      </a:cxn>
                      <a:cxn ang="0">
                        <a:pos x="T10" y="T11"/>
                      </a:cxn>
                      <a:cxn ang="0">
                        <a:pos x="T12" y="T13"/>
                      </a:cxn>
                    </a:cxnLst>
                    <a:rect l="0" t="0" r="r" b="b"/>
                    <a:pathLst>
                      <a:path w="45" h="240">
                        <a:moveTo>
                          <a:pt x="0" y="217"/>
                        </a:moveTo>
                        <a:cubicBezTo>
                          <a:pt x="0" y="22"/>
                          <a:pt x="0" y="22"/>
                          <a:pt x="0" y="22"/>
                        </a:cubicBezTo>
                        <a:cubicBezTo>
                          <a:pt x="0" y="10"/>
                          <a:pt x="10" y="0"/>
                          <a:pt x="23" y="0"/>
                        </a:cubicBezTo>
                        <a:cubicBezTo>
                          <a:pt x="35" y="0"/>
                          <a:pt x="45" y="10"/>
                          <a:pt x="45" y="22"/>
                        </a:cubicBezTo>
                        <a:cubicBezTo>
                          <a:pt x="45" y="217"/>
                          <a:pt x="45" y="217"/>
                          <a:pt x="45" y="217"/>
                        </a:cubicBezTo>
                        <a:cubicBezTo>
                          <a:pt x="45" y="230"/>
                          <a:pt x="35" y="240"/>
                          <a:pt x="23" y="240"/>
                        </a:cubicBezTo>
                        <a:cubicBezTo>
                          <a:pt x="10" y="240"/>
                          <a:pt x="0" y="230"/>
                          <a:pt x="0" y="217"/>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defTabSz="685783">
                      <a:defRPr/>
                    </a:pPr>
                    <a:endParaRPr lang="en-US" kern="0" dirty="0">
                      <a:solidFill>
                        <a:srgbClr val="39393B"/>
                      </a:solidFill>
                      <a:latin typeface="Arial"/>
                    </a:endParaRPr>
                  </a:p>
                </p:txBody>
              </p:sp>
              <p:sp>
                <p:nvSpPr>
                  <p:cNvPr id="94" name="Freeform 277">
                    <a:extLst>
                      <a:ext uri="{FF2B5EF4-FFF2-40B4-BE49-F238E27FC236}">
                        <a16:creationId xmlns:a16="http://schemas.microsoft.com/office/drawing/2014/main" id="{3C3F4124-2B23-DF43-83EF-41B3A1C7F85C}"/>
                      </a:ext>
                    </a:extLst>
                  </p:cNvPr>
                  <p:cNvSpPr>
                    <a:spLocks noEditPoints="1"/>
                  </p:cNvSpPr>
                  <p:nvPr/>
                </p:nvSpPr>
                <p:spPr bwMode="auto">
                  <a:xfrm rot="17456762">
                    <a:off x="986714" y="1576133"/>
                    <a:ext cx="410352" cy="411128"/>
                  </a:xfrm>
                  <a:custGeom>
                    <a:avLst/>
                    <a:gdLst>
                      <a:gd name="T0" fmla="*/ 74 w 147"/>
                      <a:gd name="T1" fmla="*/ 36 h 147"/>
                      <a:gd name="T2" fmla="*/ 112 w 147"/>
                      <a:gd name="T3" fmla="*/ 74 h 147"/>
                      <a:gd name="T4" fmla="*/ 74 w 147"/>
                      <a:gd name="T5" fmla="*/ 112 h 147"/>
                      <a:gd name="T6" fmla="*/ 35 w 147"/>
                      <a:gd name="T7" fmla="*/ 74 h 147"/>
                      <a:gd name="T8" fmla="*/ 74 w 147"/>
                      <a:gd name="T9" fmla="*/ 36 h 147"/>
                      <a:gd name="T10" fmla="*/ 74 w 147"/>
                      <a:gd name="T11" fmla="*/ 0 h 147"/>
                      <a:gd name="T12" fmla="*/ 0 w 147"/>
                      <a:gd name="T13" fmla="*/ 74 h 147"/>
                      <a:gd name="T14" fmla="*/ 74 w 147"/>
                      <a:gd name="T15" fmla="*/ 147 h 147"/>
                      <a:gd name="T16" fmla="*/ 147 w 147"/>
                      <a:gd name="T17" fmla="*/ 74 h 147"/>
                      <a:gd name="T18" fmla="*/ 74 w 147"/>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4" y="36"/>
                        </a:moveTo>
                        <a:cubicBezTo>
                          <a:pt x="95" y="36"/>
                          <a:pt x="112" y="53"/>
                          <a:pt x="112" y="74"/>
                        </a:cubicBezTo>
                        <a:cubicBezTo>
                          <a:pt x="112" y="95"/>
                          <a:pt x="95" y="112"/>
                          <a:pt x="74" y="112"/>
                        </a:cubicBezTo>
                        <a:cubicBezTo>
                          <a:pt x="53" y="112"/>
                          <a:pt x="35" y="95"/>
                          <a:pt x="35" y="74"/>
                        </a:cubicBezTo>
                        <a:cubicBezTo>
                          <a:pt x="35" y="53"/>
                          <a:pt x="53" y="36"/>
                          <a:pt x="74" y="36"/>
                        </a:cubicBezTo>
                        <a:moveTo>
                          <a:pt x="74" y="0"/>
                        </a:moveTo>
                        <a:cubicBezTo>
                          <a:pt x="33" y="0"/>
                          <a:pt x="0" y="33"/>
                          <a:pt x="0" y="74"/>
                        </a:cubicBezTo>
                        <a:cubicBezTo>
                          <a:pt x="0" y="114"/>
                          <a:pt x="33" y="147"/>
                          <a:pt x="74" y="147"/>
                        </a:cubicBezTo>
                        <a:cubicBezTo>
                          <a:pt x="114" y="147"/>
                          <a:pt x="147" y="114"/>
                          <a:pt x="147" y="74"/>
                        </a:cubicBezTo>
                        <a:cubicBezTo>
                          <a:pt x="147" y="33"/>
                          <a:pt x="114" y="0"/>
                          <a:pt x="74" y="0"/>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pPr defTabSz="685783">
                      <a:defRPr/>
                    </a:pPr>
                    <a:endParaRPr lang="en-US" kern="0" dirty="0">
                      <a:solidFill>
                        <a:srgbClr val="39393B"/>
                      </a:solidFill>
                      <a:latin typeface="Arial"/>
                    </a:endParaRPr>
                  </a:p>
                </p:txBody>
              </p:sp>
            </p:grpSp>
          </p:grpSp>
          <p:sp>
            <p:nvSpPr>
              <p:cNvPr id="338" name="Freeform 337">
                <a:extLst>
                  <a:ext uri="{FF2B5EF4-FFF2-40B4-BE49-F238E27FC236}">
                    <a16:creationId xmlns:a16="http://schemas.microsoft.com/office/drawing/2014/main" id="{502FCF10-7916-6848-8BD3-E870C48EC7C6}"/>
                  </a:ext>
                </a:extLst>
              </p:cNvPr>
              <p:cNvSpPr/>
              <p:nvPr/>
            </p:nvSpPr>
            <p:spPr>
              <a:xfrm>
                <a:off x="1595137" y="3564786"/>
                <a:ext cx="587057" cy="1073932"/>
              </a:xfrm>
              <a:custGeom>
                <a:avLst/>
                <a:gdLst>
                  <a:gd name="connsiteX0" fmla="*/ 536966 w 587057"/>
                  <a:gd name="connsiteY0" fmla="*/ 0 h 1073932"/>
                  <a:gd name="connsiteX1" fmla="*/ 587057 w 587057"/>
                  <a:gd name="connsiteY1" fmla="*/ 5050 h 1073932"/>
                  <a:gd name="connsiteX2" fmla="*/ 587057 w 587057"/>
                  <a:gd name="connsiteY2" fmla="*/ 1068883 h 1073932"/>
                  <a:gd name="connsiteX3" fmla="*/ 536966 w 587057"/>
                  <a:gd name="connsiteY3" fmla="*/ 1073932 h 1073932"/>
                  <a:gd name="connsiteX4" fmla="*/ 0 w 587057"/>
                  <a:gd name="connsiteY4" fmla="*/ 536966 h 1073932"/>
                  <a:gd name="connsiteX5" fmla="*/ 536966 w 587057"/>
                  <a:gd name="connsiteY5" fmla="*/ 0 h 1073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057" h="1073932">
                    <a:moveTo>
                      <a:pt x="536966" y="0"/>
                    </a:moveTo>
                    <a:lnTo>
                      <a:pt x="587057" y="5050"/>
                    </a:lnTo>
                    <a:lnTo>
                      <a:pt x="587057" y="1068883"/>
                    </a:lnTo>
                    <a:lnTo>
                      <a:pt x="536966" y="1073932"/>
                    </a:lnTo>
                    <a:cubicBezTo>
                      <a:pt x="240408" y="1073932"/>
                      <a:pt x="0" y="833524"/>
                      <a:pt x="0" y="536966"/>
                    </a:cubicBezTo>
                    <a:cubicBezTo>
                      <a:pt x="0" y="240408"/>
                      <a:pt x="240408" y="0"/>
                      <a:pt x="536966"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2"/>
                <a:endParaRPr lang="en-US" dirty="0">
                  <a:solidFill>
                    <a:srgbClr val="005073"/>
                  </a:solidFill>
                  <a:latin typeface="CiscoSansTT ExtraLight"/>
                </a:endParaRPr>
              </a:p>
            </p:txBody>
          </p:sp>
          <p:sp>
            <p:nvSpPr>
              <p:cNvPr id="289" name="Freeform 597">
                <a:extLst>
                  <a:ext uri="{FF2B5EF4-FFF2-40B4-BE49-F238E27FC236}">
                    <a16:creationId xmlns:a16="http://schemas.microsoft.com/office/drawing/2014/main" id="{B801532A-273E-A84C-B221-D2F3A68E5DA9}"/>
                  </a:ext>
                </a:extLst>
              </p:cNvPr>
              <p:cNvSpPr>
                <a:spLocks noEditPoints="1"/>
              </p:cNvSpPr>
              <p:nvPr/>
            </p:nvSpPr>
            <p:spPr bwMode="auto">
              <a:xfrm>
                <a:off x="1810357" y="3707167"/>
                <a:ext cx="373027" cy="814947"/>
              </a:xfrm>
              <a:custGeom>
                <a:avLst/>
                <a:gdLst>
                  <a:gd name="T0" fmla="*/ 69 w 94"/>
                  <a:gd name="T1" fmla="*/ 0 h 205"/>
                  <a:gd name="T2" fmla="*/ 47 w 94"/>
                  <a:gd name="T3" fmla="*/ 11 h 205"/>
                  <a:gd name="T4" fmla="*/ 22 w 94"/>
                  <a:gd name="T5" fmla="*/ 38 h 205"/>
                  <a:gd name="T6" fmla="*/ 10 w 94"/>
                  <a:gd name="T7" fmla="*/ 67 h 205"/>
                  <a:gd name="T8" fmla="*/ 0 w 94"/>
                  <a:gd name="T9" fmla="*/ 90 h 205"/>
                  <a:gd name="T10" fmla="*/ 0 w 94"/>
                  <a:gd name="T11" fmla="*/ 91 h 205"/>
                  <a:gd name="T12" fmla="*/ 2 w 94"/>
                  <a:gd name="T13" fmla="*/ 99 h 205"/>
                  <a:gd name="T14" fmla="*/ 4 w 94"/>
                  <a:gd name="T15" fmla="*/ 105 h 205"/>
                  <a:gd name="T16" fmla="*/ 7 w 94"/>
                  <a:gd name="T17" fmla="*/ 137 h 205"/>
                  <a:gd name="T18" fmla="*/ 21 w 94"/>
                  <a:gd name="T19" fmla="*/ 171 h 205"/>
                  <a:gd name="T20" fmla="*/ 23 w 94"/>
                  <a:gd name="T21" fmla="*/ 179 h 205"/>
                  <a:gd name="T22" fmla="*/ 53 w 94"/>
                  <a:gd name="T23" fmla="*/ 194 h 205"/>
                  <a:gd name="T24" fmla="*/ 88 w 94"/>
                  <a:gd name="T25" fmla="*/ 199 h 205"/>
                  <a:gd name="T26" fmla="*/ 94 w 94"/>
                  <a:gd name="T27" fmla="*/ 27 h 205"/>
                  <a:gd name="T28" fmla="*/ 70 w 94"/>
                  <a:gd name="T29" fmla="*/ 48 h 205"/>
                  <a:gd name="T30" fmla="*/ 86 w 94"/>
                  <a:gd name="T31" fmla="*/ 53 h 205"/>
                  <a:gd name="T32" fmla="*/ 47 w 94"/>
                  <a:gd name="T33" fmla="*/ 103 h 205"/>
                  <a:gd name="T34" fmla="*/ 29 w 94"/>
                  <a:gd name="T35" fmla="*/ 84 h 205"/>
                  <a:gd name="T36" fmla="*/ 46 w 94"/>
                  <a:gd name="T37" fmla="*/ 112 h 205"/>
                  <a:gd name="T38" fmla="*/ 86 w 94"/>
                  <a:gd name="T39" fmla="*/ 137 h 205"/>
                  <a:gd name="T40" fmla="*/ 39 w 94"/>
                  <a:gd name="T41" fmla="*/ 160 h 205"/>
                  <a:gd name="T42" fmla="*/ 48 w 94"/>
                  <a:gd name="T43" fmla="*/ 160 h 205"/>
                  <a:gd name="T44" fmla="*/ 86 w 94"/>
                  <a:gd name="T45" fmla="*/ 146 h 205"/>
                  <a:gd name="T46" fmla="*/ 74 w 94"/>
                  <a:gd name="T47" fmla="*/ 197 h 205"/>
                  <a:gd name="T48" fmla="*/ 72 w 94"/>
                  <a:gd name="T49" fmla="*/ 169 h 205"/>
                  <a:gd name="T50" fmla="*/ 64 w 94"/>
                  <a:gd name="T51" fmla="*/ 157 h 205"/>
                  <a:gd name="T52" fmla="*/ 62 w 94"/>
                  <a:gd name="T53" fmla="*/ 162 h 205"/>
                  <a:gd name="T54" fmla="*/ 54 w 94"/>
                  <a:gd name="T55" fmla="*/ 184 h 205"/>
                  <a:gd name="T56" fmla="*/ 46 w 94"/>
                  <a:gd name="T57" fmla="*/ 185 h 205"/>
                  <a:gd name="T58" fmla="*/ 30 w 94"/>
                  <a:gd name="T59" fmla="*/ 168 h 205"/>
                  <a:gd name="T60" fmla="*/ 13 w 94"/>
                  <a:gd name="T61" fmla="*/ 147 h 205"/>
                  <a:gd name="T62" fmla="*/ 15 w 94"/>
                  <a:gd name="T63" fmla="*/ 132 h 205"/>
                  <a:gd name="T64" fmla="*/ 13 w 94"/>
                  <a:gd name="T65" fmla="*/ 108 h 205"/>
                  <a:gd name="T66" fmla="*/ 8 w 94"/>
                  <a:gd name="T67" fmla="*/ 89 h 205"/>
                  <a:gd name="T68" fmla="*/ 48 w 94"/>
                  <a:gd name="T69" fmla="*/ 88 h 205"/>
                  <a:gd name="T70" fmla="*/ 56 w 94"/>
                  <a:gd name="T71" fmla="*/ 91 h 205"/>
                  <a:gd name="T72" fmla="*/ 28 w 94"/>
                  <a:gd name="T73" fmla="*/ 61 h 205"/>
                  <a:gd name="T74" fmla="*/ 17 w 94"/>
                  <a:gd name="T75" fmla="*/ 59 h 205"/>
                  <a:gd name="T76" fmla="*/ 31 w 94"/>
                  <a:gd name="T77" fmla="*/ 40 h 205"/>
                  <a:gd name="T78" fmla="*/ 31 w 94"/>
                  <a:gd name="T79" fmla="*/ 34 h 205"/>
                  <a:gd name="T80" fmla="*/ 47 w 94"/>
                  <a:gd name="T81" fmla="*/ 20 h 205"/>
                  <a:gd name="T82" fmla="*/ 68 w 94"/>
                  <a:gd name="T83" fmla="*/ 31 h 205"/>
                  <a:gd name="T84" fmla="*/ 57 w 94"/>
                  <a:gd name="T85" fmla="*/ 13 h 205"/>
                  <a:gd name="T86" fmla="*/ 86 w 94"/>
                  <a:gd name="T87" fmla="*/ 27 h 205"/>
                  <a:gd name="T88" fmla="*/ 75 w 94"/>
                  <a:gd name="T89"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87" y="7"/>
                    </a:moveTo>
                    <a:cubicBezTo>
                      <a:pt x="82" y="2"/>
                      <a:pt x="76" y="0"/>
                      <a:pt x="69" y="0"/>
                    </a:cubicBezTo>
                    <a:cubicBezTo>
                      <a:pt x="60" y="0"/>
                      <a:pt x="52" y="4"/>
                      <a:pt x="47" y="11"/>
                    </a:cubicBezTo>
                    <a:cubicBezTo>
                      <a:pt x="47" y="11"/>
                      <a:pt x="47" y="11"/>
                      <a:pt x="47" y="11"/>
                    </a:cubicBezTo>
                    <a:cubicBezTo>
                      <a:pt x="33" y="11"/>
                      <a:pt x="22" y="22"/>
                      <a:pt x="22" y="36"/>
                    </a:cubicBezTo>
                    <a:cubicBezTo>
                      <a:pt x="22" y="37"/>
                      <a:pt x="22" y="37"/>
                      <a:pt x="22" y="38"/>
                    </a:cubicBezTo>
                    <a:cubicBezTo>
                      <a:pt x="14" y="41"/>
                      <a:pt x="8" y="50"/>
                      <a:pt x="8" y="59"/>
                    </a:cubicBezTo>
                    <a:cubicBezTo>
                      <a:pt x="8" y="62"/>
                      <a:pt x="9" y="64"/>
                      <a:pt x="10" y="67"/>
                    </a:cubicBezTo>
                    <a:cubicBezTo>
                      <a:pt x="3" y="73"/>
                      <a:pt x="0" y="81"/>
                      <a:pt x="0" y="89"/>
                    </a:cubicBezTo>
                    <a:cubicBezTo>
                      <a:pt x="0" y="90"/>
                      <a:pt x="0" y="90"/>
                      <a:pt x="0" y="90"/>
                    </a:cubicBezTo>
                    <a:cubicBezTo>
                      <a:pt x="0" y="90"/>
                      <a:pt x="0" y="90"/>
                      <a:pt x="0" y="90"/>
                    </a:cubicBezTo>
                    <a:cubicBezTo>
                      <a:pt x="0" y="91"/>
                      <a:pt x="0" y="91"/>
                      <a:pt x="0" y="91"/>
                    </a:cubicBezTo>
                    <a:cubicBezTo>
                      <a:pt x="0" y="91"/>
                      <a:pt x="0" y="91"/>
                      <a:pt x="0" y="91"/>
                    </a:cubicBezTo>
                    <a:cubicBezTo>
                      <a:pt x="0" y="94"/>
                      <a:pt x="1" y="97"/>
                      <a:pt x="2" y="99"/>
                    </a:cubicBezTo>
                    <a:cubicBezTo>
                      <a:pt x="2" y="100"/>
                      <a:pt x="2" y="100"/>
                      <a:pt x="2" y="100"/>
                    </a:cubicBezTo>
                    <a:cubicBezTo>
                      <a:pt x="3" y="102"/>
                      <a:pt x="3" y="103"/>
                      <a:pt x="4" y="105"/>
                    </a:cubicBezTo>
                    <a:cubicBezTo>
                      <a:pt x="1" y="109"/>
                      <a:pt x="0" y="114"/>
                      <a:pt x="0" y="120"/>
                    </a:cubicBezTo>
                    <a:cubicBezTo>
                      <a:pt x="0" y="126"/>
                      <a:pt x="2" y="132"/>
                      <a:pt x="7" y="137"/>
                    </a:cubicBezTo>
                    <a:cubicBezTo>
                      <a:pt x="5" y="140"/>
                      <a:pt x="5" y="143"/>
                      <a:pt x="5" y="147"/>
                    </a:cubicBezTo>
                    <a:cubicBezTo>
                      <a:pt x="5" y="157"/>
                      <a:pt x="11" y="167"/>
                      <a:pt x="21" y="171"/>
                    </a:cubicBezTo>
                    <a:cubicBezTo>
                      <a:pt x="21" y="174"/>
                      <a:pt x="22" y="176"/>
                      <a:pt x="23" y="178"/>
                    </a:cubicBezTo>
                    <a:cubicBezTo>
                      <a:pt x="23" y="179"/>
                      <a:pt x="23" y="179"/>
                      <a:pt x="23" y="179"/>
                    </a:cubicBezTo>
                    <a:cubicBezTo>
                      <a:pt x="27" y="188"/>
                      <a:pt x="36" y="194"/>
                      <a:pt x="46" y="194"/>
                    </a:cubicBezTo>
                    <a:cubicBezTo>
                      <a:pt x="48" y="194"/>
                      <a:pt x="51" y="194"/>
                      <a:pt x="53" y="194"/>
                    </a:cubicBezTo>
                    <a:cubicBezTo>
                      <a:pt x="58" y="201"/>
                      <a:pt x="65" y="205"/>
                      <a:pt x="74" y="205"/>
                    </a:cubicBezTo>
                    <a:cubicBezTo>
                      <a:pt x="80" y="205"/>
                      <a:pt x="84" y="203"/>
                      <a:pt x="88" y="199"/>
                    </a:cubicBezTo>
                    <a:cubicBezTo>
                      <a:pt x="93" y="195"/>
                      <a:pt x="94" y="189"/>
                      <a:pt x="94" y="183"/>
                    </a:cubicBezTo>
                    <a:cubicBezTo>
                      <a:pt x="94" y="27"/>
                      <a:pt x="94" y="27"/>
                      <a:pt x="94" y="27"/>
                    </a:cubicBezTo>
                    <a:cubicBezTo>
                      <a:pt x="94" y="19"/>
                      <a:pt x="92" y="12"/>
                      <a:pt x="87" y="7"/>
                    </a:cubicBezTo>
                    <a:close/>
                    <a:moveTo>
                      <a:pt x="70" y="48"/>
                    </a:moveTo>
                    <a:cubicBezTo>
                      <a:pt x="70" y="51"/>
                      <a:pt x="72" y="53"/>
                      <a:pt x="75" y="53"/>
                    </a:cubicBezTo>
                    <a:cubicBezTo>
                      <a:pt x="86" y="53"/>
                      <a:pt x="86" y="53"/>
                      <a:pt x="86" y="53"/>
                    </a:cubicBezTo>
                    <a:cubicBezTo>
                      <a:pt x="86" y="103"/>
                      <a:pt x="86" y="103"/>
                      <a:pt x="86" y="103"/>
                    </a:cubicBezTo>
                    <a:cubicBezTo>
                      <a:pt x="86" y="103"/>
                      <a:pt x="55" y="103"/>
                      <a:pt x="47" y="103"/>
                    </a:cubicBezTo>
                    <a:cubicBezTo>
                      <a:pt x="40" y="103"/>
                      <a:pt x="33" y="97"/>
                      <a:pt x="33" y="89"/>
                    </a:cubicBezTo>
                    <a:cubicBezTo>
                      <a:pt x="33" y="86"/>
                      <a:pt x="31" y="84"/>
                      <a:pt x="29" y="84"/>
                    </a:cubicBezTo>
                    <a:cubicBezTo>
                      <a:pt x="26" y="84"/>
                      <a:pt x="25" y="86"/>
                      <a:pt x="25" y="89"/>
                    </a:cubicBezTo>
                    <a:cubicBezTo>
                      <a:pt x="25" y="101"/>
                      <a:pt x="35" y="112"/>
                      <a:pt x="46" y="112"/>
                    </a:cubicBezTo>
                    <a:cubicBezTo>
                      <a:pt x="58" y="112"/>
                      <a:pt x="86" y="113"/>
                      <a:pt x="86" y="113"/>
                    </a:cubicBezTo>
                    <a:cubicBezTo>
                      <a:pt x="86" y="137"/>
                      <a:pt x="86" y="137"/>
                      <a:pt x="86" y="137"/>
                    </a:cubicBezTo>
                    <a:cubicBezTo>
                      <a:pt x="86" y="137"/>
                      <a:pt x="75" y="137"/>
                      <a:pt x="62" y="137"/>
                    </a:cubicBezTo>
                    <a:cubicBezTo>
                      <a:pt x="49" y="137"/>
                      <a:pt x="39" y="147"/>
                      <a:pt x="39" y="160"/>
                    </a:cubicBezTo>
                    <a:cubicBezTo>
                      <a:pt x="39" y="162"/>
                      <a:pt x="41" y="164"/>
                      <a:pt x="44" y="164"/>
                    </a:cubicBezTo>
                    <a:cubicBezTo>
                      <a:pt x="46" y="164"/>
                      <a:pt x="48" y="162"/>
                      <a:pt x="48" y="160"/>
                    </a:cubicBezTo>
                    <a:cubicBezTo>
                      <a:pt x="48" y="152"/>
                      <a:pt x="54" y="146"/>
                      <a:pt x="62" y="146"/>
                    </a:cubicBezTo>
                    <a:cubicBezTo>
                      <a:pt x="70" y="146"/>
                      <a:pt x="86" y="146"/>
                      <a:pt x="86" y="146"/>
                    </a:cubicBezTo>
                    <a:cubicBezTo>
                      <a:pt x="86" y="183"/>
                      <a:pt x="86" y="183"/>
                      <a:pt x="86" y="183"/>
                    </a:cubicBezTo>
                    <a:cubicBezTo>
                      <a:pt x="86" y="191"/>
                      <a:pt x="80" y="197"/>
                      <a:pt x="74" y="197"/>
                    </a:cubicBezTo>
                    <a:cubicBezTo>
                      <a:pt x="68" y="197"/>
                      <a:pt x="64" y="194"/>
                      <a:pt x="60" y="190"/>
                    </a:cubicBezTo>
                    <a:cubicBezTo>
                      <a:pt x="67" y="185"/>
                      <a:pt x="72" y="177"/>
                      <a:pt x="72" y="169"/>
                    </a:cubicBezTo>
                    <a:cubicBezTo>
                      <a:pt x="72" y="165"/>
                      <a:pt x="71" y="162"/>
                      <a:pt x="70" y="159"/>
                    </a:cubicBezTo>
                    <a:cubicBezTo>
                      <a:pt x="69" y="157"/>
                      <a:pt x="66" y="156"/>
                      <a:pt x="64" y="157"/>
                    </a:cubicBezTo>
                    <a:cubicBezTo>
                      <a:pt x="63" y="157"/>
                      <a:pt x="62" y="158"/>
                      <a:pt x="62" y="159"/>
                    </a:cubicBezTo>
                    <a:cubicBezTo>
                      <a:pt x="61" y="160"/>
                      <a:pt x="61" y="161"/>
                      <a:pt x="62" y="162"/>
                    </a:cubicBezTo>
                    <a:cubicBezTo>
                      <a:pt x="63" y="164"/>
                      <a:pt x="63" y="167"/>
                      <a:pt x="63" y="169"/>
                    </a:cubicBezTo>
                    <a:cubicBezTo>
                      <a:pt x="63" y="175"/>
                      <a:pt x="59" y="181"/>
                      <a:pt x="54" y="184"/>
                    </a:cubicBezTo>
                    <a:cubicBezTo>
                      <a:pt x="53" y="184"/>
                      <a:pt x="53" y="184"/>
                      <a:pt x="53" y="184"/>
                    </a:cubicBezTo>
                    <a:cubicBezTo>
                      <a:pt x="51" y="185"/>
                      <a:pt x="49" y="185"/>
                      <a:pt x="46" y="185"/>
                    </a:cubicBezTo>
                    <a:cubicBezTo>
                      <a:pt x="37" y="185"/>
                      <a:pt x="30" y="178"/>
                      <a:pt x="30" y="169"/>
                    </a:cubicBezTo>
                    <a:cubicBezTo>
                      <a:pt x="30" y="168"/>
                      <a:pt x="30" y="168"/>
                      <a:pt x="30" y="168"/>
                    </a:cubicBezTo>
                    <a:cubicBezTo>
                      <a:pt x="30" y="166"/>
                      <a:pt x="28" y="164"/>
                      <a:pt x="26" y="164"/>
                    </a:cubicBezTo>
                    <a:cubicBezTo>
                      <a:pt x="19" y="162"/>
                      <a:pt x="13" y="154"/>
                      <a:pt x="13" y="147"/>
                    </a:cubicBezTo>
                    <a:cubicBezTo>
                      <a:pt x="13" y="144"/>
                      <a:pt x="14" y="141"/>
                      <a:pt x="16" y="138"/>
                    </a:cubicBezTo>
                    <a:cubicBezTo>
                      <a:pt x="17" y="136"/>
                      <a:pt x="16" y="134"/>
                      <a:pt x="15" y="132"/>
                    </a:cubicBezTo>
                    <a:cubicBezTo>
                      <a:pt x="11" y="129"/>
                      <a:pt x="8" y="125"/>
                      <a:pt x="8" y="120"/>
                    </a:cubicBezTo>
                    <a:cubicBezTo>
                      <a:pt x="8" y="115"/>
                      <a:pt x="10" y="111"/>
                      <a:pt x="13" y="108"/>
                    </a:cubicBezTo>
                    <a:cubicBezTo>
                      <a:pt x="15" y="106"/>
                      <a:pt x="15" y="104"/>
                      <a:pt x="13" y="102"/>
                    </a:cubicBezTo>
                    <a:cubicBezTo>
                      <a:pt x="10" y="99"/>
                      <a:pt x="8" y="94"/>
                      <a:pt x="8" y="89"/>
                    </a:cubicBezTo>
                    <a:cubicBezTo>
                      <a:pt x="8" y="78"/>
                      <a:pt x="17" y="69"/>
                      <a:pt x="28" y="69"/>
                    </a:cubicBezTo>
                    <a:cubicBezTo>
                      <a:pt x="39" y="69"/>
                      <a:pt x="48" y="78"/>
                      <a:pt x="48" y="88"/>
                    </a:cubicBezTo>
                    <a:cubicBezTo>
                      <a:pt x="49" y="91"/>
                      <a:pt x="51" y="92"/>
                      <a:pt x="53" y="92"/>
                    </a:cubicBezTo>
                    <a:cubicBezTo>
                      <a:pt x="54" y="92"/>
                      <a:pt x="55" y="92"/>
                      <a:pt x="56" y="91"/>
                    </a:cubicBezTo>
                    <a:cubicBezTo>
                      <a:pt x="57" y="90"/>
                      <a:pt x="57" y="89"/>
                      <a:pt x="57" y="88"/>
                    </a:cubicBezTo>
                    <a:cubicBezTo>
                      <a:pt x="56" y="72"/>
                      <a:pt x="44" y="61"/>
                      <a:pt x="28" y="61"/>
                    </a:cubicBezTo>
                    <a:cubicBezTo>
                      <a:pt x="25" y="61"/>
                      <a:pt x="21" y="61"/>
                      <a:pt x="18" y="63"/>
                    </a:cubicBezTo>
                    <a:cubicBezTo>
                      <a:pt x="17" y="61"/>
                      <a:pt x="17" y="60"/>
                      <a:pt x="17" y="59"/>
                    </a:cubicBezTo>
                    <a:cubicBezTo>
                      <a:pt x="17" y="52"/>
                      <a:pt x="21" y="47"/>
                      <a:pt x="28" y="45"/>
                    </a:cubicBezTo>
                    <a:cubicBezTo>
                      <a:pt x="30" y="44"/>
                      <a:pt x="31" y="42"/>
                      <a:pt x="31" y="40"/>
                    </a:cubicBezTo>
                    <a:cubicBezTo>
                      <a:pt x="31" y="39"/>
                      <a:pt x="30" y="38"/>
                      <a:pt x="30" y="36"/>
                    </a:cubicBezTo>
                    <a:cubicBezTo>
                      <a:pt x="30" y="36"/>
                      <a:pt x="31" y="35"/>
                      <a:pt x="31" y="34"/>
                    </a:cubicBezTo>
                    <a:cubicBezTo>
                      <a:pt x="31" y="34"/>
                      <a:pt x="31" y="34"/>
                      <a:pt x="31" y="34"/>
                    </a:cubicBezTo>
                    <a:cubicBezTo>
                      <a:pt x="32" y="26"/>
                      <a:pt x="39" y="20"/>
                      <a:pt x="47" y="20"/>
                    </a:cubicBezTo>
                    <a:cubicBezTo>
                      <a:pt x="53" y="20"/>
                      <a:pt x="59" y="23"/>
                      <a:pt x="62" y="29"/>
                    </a:cubicBezTo>
                    <a:cubicBezTo>
                      <a:pt x="63" y="31"/>
                      <a:pt x="66" y="32"/>
                      <a:pt x="68" y="31"/>
                    </a:cubicBezTo>
                    <a:cubicBezTo>
                      <a:pt x="70" y="30"/>
                      <a:pt x="71" y="27"/>
                      <a:pt x="70" y="25"/>
                    </a:cubicBezTo>
                    <a:cubicBezTo>
                      <a:pt x="67" y="20"/>
                      <a:pt x="62" y="15"/>
                      <a:pt x="57" y="13"/>
                    </a:cubicBezTo>
                    <a:cubicBezTo>
                      <a:pt x="60" y="10"/>
                      <a:pt x="64" y="8"/>
                      <a:pt x="69" y="8"/>
                    </a:cubicBezTo>
                    <a:cubicBezTo>
                      <a:pt x="79" y="8"/>
                      <a:pt x="86" y="16"/>
                      <a:pt x="86" y="27"/>
                    </a:cubicBezTo>
                    <a:cubicBezTo>
                      <a:pt x="86" y="44"/>
                      <a:pt x="86" y="44"/>
                      <a:pt x="86" y="44"/>
                    </a:cubicBezTo>
                    <a:cubicBezTo>
                      <a:pt x="75" y="44"/>
                      <a:pt x="75" y="44"/>
                      <a:pt x="75" y="44"/>
                    </a:cubicBezTo>
                    <a:cubicBezTo>
                      <a:pt x="72" y="44"/>
                      <a:pt x="70" y="46"/>
                      <a:pt x="70" y="48"/>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grpSp>
        <p:grpSp>
          <p:nvGrpSpPr>
            <p:cNvPr id="339" name="Group 338">
              <a:extLst>
                <a:ext uri="{FF2B5EF4-FFF2-40B4-BE49-F238E27FC236}">
                  <a16:creationId xmlns:a16="http://schemas.microsoft.com/office/drawing/2014/main" id="{046BE7F5-50B8-AD44-A59E-2EC3330676D5}"/>
                </a:ext>
              </a:extLst>
            </p:cNvPr>
            <p:cNvGrpSpPr>
              <a:grpSpLocks noChangeAspect="1"/>
            </p:cNvGrpSpPr>
            <p:nvPr/>
          </p:nvGrpSpPr>
          <p:grpSpPr>
            <a:xfrm rot="10800000" flipH="1" flipV="1">
              <a:off x="4768768" y="1934973"/>
              <a:ext cx="1323945" cy="2971622"/>
              <a:chOff x="3402807" y="2630488"/>
              <a:chExt cx="688182" cy="1544638"/>
            </a:xfrm>
          </p:grpSpPr>
          <p:sp>
            <p:nvSpPr>
              <p:cNvPr id="340" name="Freeform 111">
                <a:extLst>
                  <a:ext uri="{FF2B5EF4-FFF2-40B4-BE49-F238E27FC236}">
                    <a16:creationId xmlns:a16="http://schemas.microsoft.com/office/drawing/2014/main" id="{A616A27D-AD01-A444-AA2B-A43DC0BF584A}"/>
                  </a:ext>
                </a:extLst>
              </p:cNvPr>
              <p:cNvSpPr>
                <a:spLocks/>
              </p:cNvSpPr>
              <p:nvPr/>
            </p:nvSpPr>
            <p:spPr bwMode="auto">
              <a:xfrm>
                <a:off x="3422650" y="2881313"/>
                <a:ext cx="258763" cy="234950"/>
              </a:xfrm>
              <a:custGeom>
                <a:avLst/>
                <a:gdLst>
                  <a:gd name="T0" fmla="*/ 0 w 148"/>
                  <a:gd name="T1" fmla="*/ 0 h 134"/>
                  <a:gd name="T2" fmla="*/ 79 w 148"/>
                  <a:gd name="T3" fmla="*/ 118 h 134"/>
                  <a:gd name="T4" fmla="*/ 108 w 148"/>
                  <a:gd name="T5" fmla="*/ 134 h 134"/>
                  <a:gd name="T6" fmla="*/ 128 w 148"/>
                  <a:gd name="T7" fmla="*/ 128 h 134"/>
                  <a:gd name="T8" fmla="*/ 137 w 148"/>
                  <a:gd name="T9" fmla="*/ 79 h 134"/>
                  <a:gd name="T10" fmla="*/ 98 w 148"/>
                  <a:gd name="T11" fmla="*/ 19 h 134"/>
                  <a:gd name="T12" fmla="*/ 25 w 148"/>
                  <a:gd name="T13" fmla="*/ 10 h 134"/>
                  <a:gd name="T14" fmla="*/ 0 w 148"/>
                  <a:gd name="T15" fmla="*/ 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34">
                    <a:moveTo>
                      <a:pt x="0" y="0"/>
                    </a:moveTo>
                    <a:cubicBezTo>
                      <a:pt x="79" y="118"/>
                      <a:pt x="79" y="118"/>
                      <a:pt x="79" y="118"/>
                    </a:cubicBezTo>
                    <a:cubicBezTo>
                      <a:pt x="85" y="129"/>
                      <a:pt x="97" y="134"/>
                      <a:pt x="108" y="134"/>
                    </a:cubicBezTo>
                    <a:cubicBezTo>
                      <a:pt x="115" y="134"/>
                      <a:pt x="122" y="132"/>
                      <a:pt x="128" y="128"/>
                    </a:cubicBezTo>
                    <a:cubicBezTo>
                      <a:pt x="144" y="117"/>
                      <a:pt x="148" y="95"/>
                      <a:pt x="137" y="79"/>
                    </a:cubicBezTo>
                    <a:cubicBezTo>
                      <a:pt x="98" y="19"/>
                      <a:pt x="98" y="19"/>
                      <a:pt x="98" y="19"/>
                    </a:cubicBezTo>
                    <a:cubicBezTo>
                      <a:pt x="74" y="13"/>
                      <a:pt x="50" y="10"/>
                      <a:pt x="25" y="10"/>
                    </a:cubicBezTo>
                    <a:cubicBezTo>
                      <a:pt x="15" y="10"/>
                      <a:pt x="6" y="6"/>
                      <a:pt x="0"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41" name="Freeform 112">
                <a:extLst>
                  <a:ext uri="{FF2B5EF4-FFF2-40B4-BE49-F238E27FC236}">
                    <a16:creationId xmlns:a16="http://schemas.microsoft.com/office/drawing/2014/main" id="{53EB3883-751A-6844-94C2-9D6763E913C4}"/>
                  </a:ext>
                </a:extLst>
              </p:cNvPr>
              <p:cNvSpPr>
                <a:spLocks/>
              </p:cNvSpPr>
              <p:nvPr/>
            </p:nvSpPr>
            <p:spPr bwMode="auto">
              <a:xfrm>
                <a:off x="3409952" y="2630488"/>
                <a:ext cx="344488" cy="177800"/>
              </a:xfrm>
              <a:custGeom>
                <a:avLst/>
                <a:gdLst>
                  <a:gd name="T0" fmla="*/ 157 w 197"/>
                  <a:gd name="T1" fmla="*/ 0 h 102"/>
                  <a:gd name="T2" fmla="*/ 137 w 197"/>
                  <a:gd name="T3" fmla="*/ 6 h 102"/>
                  <a:gd name="T4" fmla="*/ 12 w 197"/>
                  <a:gd name="T5" fmla="*/ 89 h 102"/>
                  <a:gd name="T6" fmla="*/ 0 w 197"/>
                  <a:gd name="T7" fmla="*/ 102 h 102"/>
                  <a:gd name="T8" fmla="*/ 0 w 197"/>
                  <a:gd name="T9" fmla="*/ 102 h 102"/>
                  <a:gd name="T10" fmla="*/ 12 w 197"/>
                  <a:gd name="T11" fmla="*/ 89 h 102"/>
                  <a:gd name="T12" fmla="*/ 32 w 197"/>
                  <a:gd name="T13" fmla="*/ 83 h 102"/>
                  <a:gd name="T14" fmla="*/ 39 w 197"/>
                  <a:gd name="T15" fmla="*/ 84 h 102"/>
                  <a:gd name="T16" fmla="*/ 128 w 197"/>
                  <a:gd name="T17" fmla="*/ 97 h 102"/>
                  <a:gd name="T18" fmla="*/ 176 w 197"/>
                  <a:gd name="T19" fmla="*/ 65 h 102"/>
                  <a:gd name="T20" fmla="*/ 186 w 197"/>
                  <a:gd name="T21" fmla="*/ 16 h 102"/>
                  <a:gd name="T22" fmla="*/ 157 w 197"/>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102">
                    <a:moveTo>
                      <a:pt x="157" y="0"/>
                    </a:moveTo>
                    <a:cubicBezTo>
                      <a:pt x="150" y="0"/>
                      <a:pt x="143" y="2"/>
                      <a:pt x="137" y="6"/>
                    </a:cubicBezTo>
                    <a:cubicBezTo>
                      <a:pt x="12" y="89"/>
                      <a:pt x="12" y="89"/>
                      <a:pt x="12" y="89"/>
                    </a:cubicBezTo>
                    <a:cubicBezTo>
                      <a:pt x="7" y="92"/>
                      <a:pt x="3" y="97"/>
                      <a:pt x="0" y="102"/>
                    </a:cubicBezTo>
                    <a:cubicBezTo>
                      <a:pt x="0" y="102"/>
                      <a:pt x="0" y="102"/>
                      <a:pt x="0" y="102"/>
                    </a:cubicBezTo>
                    <a:cubicBezTo>
                      <a:pt x="3" y="97"/>
                      <a:pt x="7" y="92"/>
                      <a:pt x="12" y="89"/>
                    </a:cubicBezTo>
                    <a:cubicBezTo>
                      <a:pt x="18" y="85"/>
                      <a:pt x="25" y="83"/>
                      <a:pt x="32" y="83"/>
                    </a:cubicBezTo>
                    <a:cubicBezTo>
                      <a:pt x="34" y="83"/>
                      <a:pt x="37" y="83"/>
                      <a:pt x="39" y="84"/>
                    </a:cubicBezTo>
                    <a:cubicBezTo>
                      <a:pt x="70" y="84"/>
                      <a:pt x="100" y="89"/>
                      <a:pt x="128" y="97"/>
                    </a:cubicBezTo>
                    <a:cubicBezTo>
                      <a:pt x="176" y="65"/>
                      <a:pt x="176" y="65"/>
                      <a:pt x="176" y="65"/>
                    </a:cubicBezTo>
                    <a:cubicBezTo>
                      <a:pt x="193" y="54"/>
                      <a:pt x="197" y="32"/>
                      <a:pt x="186" y="16"/>
                    </a:cubicBezTo>
                    <a:cubicBezTo>
                      <a:pt x="179" y="5"/>
                      <a:pt x="168" y="0"/>
                      <a:pt x="157"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42" name="Freeform 113">
                <a:extLst>
                  <a:ext uri="{FF2B5EF4-FFF2-40B4-BE49-F238E27FC236}">
                    <a16:creationId xmlns:a16="http://schemas.microsoft.com/office/drawing/2014/main" id="{7FB4A165-A21E-4F41-BBDD-C19B2BE82F82}"/>
                  </a:ext>
                </a:extLst>
              </p:cNvPr>
              <p:cNvSpPr>
                <a:spLocks/>
              </p:cNvSpPr>
              <p:nvPr/>
            </p:nvSpPr>
            <p:spPr bwMode="auto">
              <a:xfrm>
                <a:off x="3409950" y="2774951"/>
                <a:ext cx="68263" cy="33337"/>
              </a:xfrm>
              <a:custGeom>
                <a:avLst/>
                <a:gdLst>
                  <a:gd name="T0" fmla="*/ 32 w 39"/>
                  <a:gd name="T1" fmla="*/ 0 h 19"/>
                  <a:gd name="T2" fmla="*/ 12 w 39"/>
                  <a:gd name="T3" fmla="*/ 6 h 19"/>
                  <a:gd name="T4" fmla="*/ 0 w 39"/>
                  <a:gd name="T5" fmla="*/ 19 h 19"/>
                  <a:gd name="T6" fmla="*/ 32 w 39"/>
                  <a:gd name="T7" fmla="*/ 0 h 19"/>
                  <a:gd name="T8" fmla="*/ 32 w 39"/>
                  <a:gd name="T9" fmla="*/ 0 h 19"/>
                  <a:gd name="T10" fmla="*/ 39 w 39"/>
                  <a:gd name="T11" fmla="*/ 1 h 19"/>
                  <a:gd name="T12" fmla="*/ 32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2" y="0"/>
                    </a:moveTo>
                    <a:cubicBezTo>
                      <a:pt x="25" y="0"/>
                      <a:pt x="18" y="2"/>
                      <a:pt x="12" y="6"/>
                    </a:cubicBezTo>
                    <a:cubicBezTo>
                      <a:pt x="7" y="9"/>
                      <a:pt x="3" y="14"/>
                      <a:pt x="0" y="19"/>
                    </a:cubicBezTo>
                    <a:cubicBezTo>
                      <a:pt x="6" y="8"/>
                      <a:pt x="18" y="0"/>
                      <a:pt x="32" y="0"/>
                    </a:cubicBezTo>
                    <a:cubicBezTo>
                      <a:pt x="32" y="0"/>
                      <a:pt x="32" y="0"/>
                      <a:pt x="32" y="0"/>
                    </a:cubicBezTo>
                    <a:cubicBezTo>
                      <a:pt x="34" y="0"/>
                      <a:pt x="37" y="0"/>
                      <a:pt x="39" y="1"/>
                    </a:cubicBezTo>
                    <a:cubicBezTo>
                      <a:pt x="37" y="0"/>
                      <a:pt x="34" y="0"/>
                      <a:pt x="3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43" name="Freeform 114">
                <a:extLst>
                  <a:ext uri="{FF2B5EF4-FFF2-40B4-BE49-F238E27FC236}">
                    <a16:creationId xmlns:a16="http://schemas.microsoft.com/office/drawing/2014/main" id="{106C7FDF-938F-5A4A-9BAF-DF0F27769AF8}"/>
                  </a:ext>
                </a:extLst>
              </p:cNvPr>
              <p:cNvSpPr>
                <a:spLocks/>
              </p:cNvSpPr>
              <p:nvPr/>
            </p:nvSpPr>
            <p:spPr bwMode="auto">
              <a:xfrm>
                <a:off x="3425825" y="3689351"/>
                <a:ext cx="255588" cy="228600"/>
              </a:xfrm>
              <a:custGeom>
                <a:avLst/>
                <a:gdLst>
                  <a:gd name="T0" fmla="*/ 106 w 146"/>
                  <a:gd name="T1" fmla="*/ 0 h 131"/>
                  <a:gd name="T2" fmla="*/ 77 w 146"/>
                  <a:gd name="T3" fmla="*/ 15 h 131"/>
                  <a:gd name="T4" fmla="*/ 0 w 146"/>
                  <a:gd name="T5" fmla="*/ 131 h 131"/>
                  <a:gd name="T6" fmla="*/ 23 w 146"/>
                  <a:gd name="T7" fmla="*/ 122 h 131"/>
                  <a:gd name="T8" fmla="*/ 97 w 146"/>
                  <a:gd name="T9" fmla="*/ 113 h 131"/>
                  <a:gd name="T10" fmla="*/ 135 w 146"/>
                  <a:gd name="T11" fmla="*/ 54 h 131"/>
                  <a:gd name="T12" fmla="*/ 126 w 146"/>
                  <a:gd name="T13" fmla="*/ 5 h 131"/>
                  <a:gd name="T14" fmla="*/ 106 w 146"/>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131">
                    <a:moveTo>
                      <a:pt x="106" y="0"/>
                    </a:moveTo>
                    <a:cubicBezTo>
                      <a:pt x="95" y="0"/>
                      <a:pt x="83" y="5"/>
                      <a:pt x="77" y="15"/>
                    </a:cubicBezTo>
                    <a:cubicBezTo>
                      <a:pt x="0" y="131"/>
                      <a:pt x="0" y="131"/>
                      <a:pt x="0" y="131"/>
                    </a:cubicBezTo>
                    <a:cubicBezTo>
                      <a:pt x="6" y="126"/>
                      <a:pt x="14" y="122"/>
                      <a:pt x="23" y="122"/>
                    </a:cubicBezTo>
                    <a:cubicBezTo>
                      <a:pt x="48" y="122"/>
                      <a:pt x="73" y="119"/>
                      <a:pt x="97" y="113"/>
                    </a:cubicBezTo>
                    <a:cubicBezTo>
                      <a:pt x="135" y="54"/>
                      <a:pt x="135" y="54"/>
                      <a:pt x="135" y="54"/>
                    </a:cubicBezTo>
                    <a:cubicBezTo>
                      <a:pt x="146" y="38"/>
                      <a:pt x="142" y="16"/>
                      <a:pt x="126" y="5"/>
                    </a:cubicBezTo>
                    <a:cubicBezTo>
                      <a:pt x="120" y="1"/>
                      <a:pt x="113" y="0"/>
                      <a:pt x="106"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44" name="Freeform 115">
                <a:extLst>
                  <a:ext uri="{FF2B5EF4-FFF2-40B4-BE49-F238E27FC236}">
                    <a16:creationId xmlns:a16="http://schemas.microsoft.com/office/drawing/2014/main" id="{F035567B-9B52-AA4E-A4A1-006ACF00B9B9}"/>
                  </a:ext>
                </a:extLst>
              </p:cNvPr>
              <p:cNvSpPr>
                <a:spLocks/>
              </p:cNvSpPr>
              <p:nvPr/>
            </p:nvSpPr>
            <p:spPr bwMode="auto">
              <a:xfrm>
                <a:off x="3430588" y="4003676"/>
                <a:ext cx="323850" cy="171450"/>
              </a:xfrm>
              <a:custGeom>
                <a:avLst/>
                <a:gdLst>
                  <a:gd name="T0" fmla="*/ 115 w 185"/>
                  <a:gd name="T1" fmla="*/ 0 h 98"/>
                  <a:gd name="T2" fmla="*/ 32 w 185"/>
                  <a:gd name="T3" fmla="*/ 13 h 98"/>
                  <a:gd name="T4" fmla="*/ 20 w 185"/>
                  <a:gd name="T5" fmla="*/ 15 h 98"/>
                  <a:gd name="T6" fmla="*/ 0 w 185"/>
                  <a:gd name="T7" fmla="*/ 9 h 98"/>
                  <a:gd name="T8" fmla="*/ 125 w 185"/>
                  <a:gd name="T9" fmla="*/ 92 h 98"/>
                  <a:gd name="T10" fmla="*/ 145 w 185"/>
                  <a:gd name="T11" fmla="*/ 98 h 98"/>
                  <a:gd name="T12" fmla="*/ 174 w 185"/>
                  <a:gd name="T13" fmla="*/ 82 h 98"/>
                  <a:gd name="T14" fmla="*/ 164 w 185"/>
                  <a:gd name="T15" fmla="*/ 33 h 98"/>
                  <a:gd name="T16" fmla="*/ 115 w 18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98">
                    <a:moveTo>
                      <a:pt x="115" y="0"/>
                    </a:moveTo>
                    <a:cubicBezTo>
                      <a:pt x="88" y="8"/>
                      <a:pt x="60" y="12"/>
                      <a:pt x="32" y="13"/>
                    </a:cubicBezTo>
                    <a:cubicBezTo>
                      <a:pt x="28" y="14"/>
                      <a:pt x="24" y="15"/>
                      <a:pt x="20" y="15"/>
                    </a:cubicBezTo>
                    <a:cubicBezTo>
                      <a:pt x="13" y="15"/>
                      <a:pt x="6" y="13"/>
                      <a:pt x="0" y="9"/>
                    </a:cubicBezTo>
                    <a:cubicBezTo>
                      <a:pt x="125" y="92"/>
                      <a:pt x="125" y="92"/>
                      <a:pt x="125" y="92"/>
                    </a:cubicBezTo>
                    <a:cubicBezTo>
                      <a:pt x="131" y="96"/>
                      <a:pt x="138" y="98"/>
                      <a:pt x="145" y="98"/>
                    </a:cubicBezTo>
                    <a:cubicBezTo>
                      <a:pt x="156" y="98"/>
                      <a:pt x="167" y="92"/>
                      <a:pt x="174" y="82"/>
                    </a:cubicBezTo>
                    <a:cubicBezTo>
                      <a:pt x="185" y="66"/>
                      <a:pt x="181" y="44"/>
                      <a:pt x="164" y="33"/>
                    </a:cubicBezTo>
                    <a:cubicBezTo>
                      <a:pt x="115" y="0"/>
                      <a:pt x="115" y="0"/>
                      <a:pt x="115"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45" name="Freeform 116">
                <a:extLst>
                  <a:ext uri="{FF2B5EF4-FFF2-40B4-BE49-F238E27FC236}">
                    <a16:creationId xmlns:a16="http://schemas.microsoft.com/office/drawing/2014/main" id="{1E562D6C-E9AA-4546-8B2E-3B88147D1395}"/>
                  </a:ext>
                </a:extLst>
              </p:cNvPr>
              <p:cNvSpPr>
                <a:spLocks/>
              </p:cNvSpPr>
              <p:nvPr/>
            </p:nvSpPr>
            <p:spPr bwMode="auto">
              <a:xfrm>
                <a:off x="3405188" y="3978276"/>
                <a:ext cx="82550" cy="52387"/>
              </a:xfrm>
              <a:custGeom>
                <a:avLst/>
                <a:gdLst>
                  <a:gd name="T0" fmla="*/ 0 w 47"/>
                  <a:gd name="T1" fmla="*/ 0 h 30"/>
                  <a:gd name="T2" fmla="*/ 15 w 47"/>
                  <a:gd name="T3" fmla="*/ 24 h 30"/>
                  <a:gd name="T4" fmla="*/ 15 w 47"/>
                  <a:gd name="T5" fmla="*/ 24 h 30"/>
                  <a:gd name="T6" fmla="*/ 35 w 47"/>
                  <a:gd name="T7" fmla="*/ 30 h 30"/>
                  <a:gd name="T8" fmla="*/ 47 w 47"/>
                  <a:gd name="T9" fmla="*/ 28 h 30"/>
                  <a:gd name="T10" fmla="*/ 35 w 47"/>
                  <a:gd name="T11" fmla="*/ 28 h 30"/>
                  <a:gd name="T12" fmla="*/ 0 w 4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47" h="30">
                    <a:moveTo>
                      <a:pt x="0" y="0"/>
                    </a:moveTo>
                    <a:cubicBezTo>
                      <a:pt x="2" y="10"/>
                      <a:pt x="7" y="18"/>
                      <a:pt x="15" y="24"/>
                    </a:cubicBezTo>
                    <a:cubicBezTo>
                      <a:pt x="15" y="24"/>
                      <a:pt x="15" y="24"/>
                      <a:pt x="15" y="24"/>
                    </a:cubicBezTo>
                    <a:cubicBezTo>
                      <a:pt x="21" y="28"/>
                      <a:pt x="28" y="30"/>
                      <a:pt x="35" y="30"/>
                    </a:cubicBezTo>
                    <a:cubicBezTo>
                      <a:pt x="39" y="30"/>
                      <a:pt x="43" y="29"/>
                      <a:pt x="47" y="28"/>
                    </a:cubicBezTo>
                    <a:cubicBezTo>
                      <a:pt x="43" y="28"/>
                      <a:pt x="39" y="28"/>
                      <a:pt x="35" y="28"/>
                    </a:cubicBezTo>
                    <a:cubicBezTo>
                      <a:pt x="18" y="28"/>
                      <a:pt x="4" y="16"/>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46" name="Freeform 117">
                <a:extLst>
                  <a:ext uri="{FF2B5EF4-FFF2-40B4-BE49-F238E27FC236}">
                    <a16:creationId xmlns:a16="http://schemas.microsoft.com/office/drawing/2014/main" id="{E68C6683-F4F8-5B46-B9EA-ED0CE6418000}"/>
                  </a:ext>
                </a:extLst>
              </p:cNvPr>
              <p:cNvSpPr>
                <a:spLocks noEditPoints="1"/>
              </p:cNvSpPr>
              <p:nvPr/>
            </p:nvSpPr>
            <p:spPr bwMode="auto">
              <a:xfrm>
                <a:off x="3403601" y="2800351"/>
                <a:ext cx="687388" cy="1203325"/>
              </a:xfrm>
              <a:custGeom>
                <a:avLst/>
                <a:gdLst>
                  <a:gd name="T0" fmla="*/ 13 w 393"/>
                  <a:gd name="T1" fmla="*/ 639 h 688"/>
                  <a:gd name="T2" fmla="*/ 0 w 393"/>
                  <a:gd name="T3" fmla="*/ 666 h 688"/>
                  <a:gd name="T4" fmla="*/ 1 w 393"/>
                  <a:gd name="T5" fmla="*/ 673 h 688"/>
                  <a:gd name="T6" fmla="*/ 1 w 393"/>
                  <a:gd name="T7" fmla="*/ 668 h 688"/>
                  <a:gd name="T8" fmla="*/ 7 w 393"/>
                  <a:gd name="T9" fmla="*/ 648 h 688"/>
                  <a:gd name="T10" fmla="*/ 7 w 393"/>
                  <a:gd name="T11" fmla="*/ 648 h 688"/>
                  <a:gd name="T12" fmla="*/ 13 w 393"/>
                  <a:gd name="T13" fmla="*/ 639 h 688"/>
                  <a:gd name="T14" fmla="*/ 4 w 393"/>
                  <a:gd name="T15" fmla="*/ 5 h 688"/>
                  <a:gd name="T16" fmla="*/ 0 w 393"/>
                  <a:gd name="T17" fmla="*/ 22 h 688"/>
                  <a:gd name="T18" fmla="*/ 11 w 393"/>
                  <a:gd name="T19" fmla="*/ 47 h 688"/>
                  <a:gd name="T20" fmla="*/ 7 w 393"/>
                  <a:gd name="T21" fmla="*/ 41 h 688"/>
                  <a:gd name="T22" fmla="*/ 1 w 393"/>
                  <a:gd name="T23" fmla="*/ 21 h 688"/>
                  <a:gd name="T24" fmla="*/ 4 w 393"/>
                  <a:gd name="T25" fmla="*/ 5 h 688"/>
                  <a:gd name="T26" fmla="*/ 132 w 393"/>
                  <a:gd name="T27" fmla="*/ 0 h 688"/>
                  <a:gd name="T28" fmla="*/ 85 w 393"/>
                  <a:gd name="T29" fmla="*/ 31 h 688"/>
                  <a:gd name="T30" fmla="*/ 109 w 393"/>
                  <a:gd name="T31" fmla="*/ 66 h 688"/>
                  <a:gd name="T32" fmla="*/ 147 w 393"/>
                  <a:gd name="T33" fmla="*/ 80 h 688"/>
                  <a:gd name="T34" fmla="*/ 273 w 393"/>
                  <a:gd name="T35" fmla="*/ 184 h 688"/>
                  <a:gd name="T36" fmla="*/ 322 w 393"/>
                  <a:gd name="T37" fmla="*/ 344 h 688"/>
                  <a:gd name="T38" fmla="*/ 300 w 393"/>
                  <a:gd name="T39" fmla="*/ 455 h 688"/>
                  <a:gd name="T40" fmla="*/ 196 w 393"/>
                  <a:gd name="T41" fmla="*/ 582 h 688"/>
                  <a:gd name="T42" fmla="*/ 110 w 393"/>
                  <a:gd name="T43" fmla="*/ 621 h 688"/>
                  <a:gd name="T44" fmla="*/ 85 w 393"/>
                  <a:gd name="T45" fmla="*/ 658 h 688"/>
                  <a:gd name="T46" fmla="*/ 131 w 393"/>
                  <a:gd name="T47" fmla="*/ 688 h 688"/>
                  <a:gd name="T48" fmla="*/ 175 w 393"/>
                  <a:gd name="T49" fmla="*/ 673 h 688"/>
                  <a:gd name="T50" fmla="*/ 332 w 393"/>
                  <a:gd name="T51" fmla="*/ 544 h 688"/>
                  <a:gd name="T52" fmla="*/ 393 w 393"/>
                  <a:gd name="T53" fmla="*/ 344 h 688"/>
                  <a:gd name="T54" fmla="*/ 365 w 393"/>
                  <a:gd name="T55" fmla="*/ 205 h 688"/>
                  <a:gd name="T56" fmla="*/ 235 w 393"/>
                  <a:gd name="T57" fmla="*/ 47 h 688"/>
                  <a:gd name="T58" fmla="*/ 132 w 393"/>
                  <a:gd name="T5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3" h="688">
                    <a:moveTo>
                      <a:pt x="13" y="639"/>
                    </a:moveTo>
                    <a:cubicBezTo>
                      <a:pt x="5" y="645"/>
                      <a:pt x="0" y="655"/>
                      <a:pt x="0" y="666"/>
                    </a:cubicBezTo>
                    <a:cubicBezTo>
                      <a:pt x="0" y="668"/>
                      <a:pt x="1" y="671"/>
                      <a:pt x="1" y="673"/>
                    </a:cubicBezTo>
                    <a:cubicBezTo>
                      <a:pt x="1" y="672"/>
                      <a:pt x="1" y="670"/>
                      <a:pt x="1" y="668"/>
                    </a:cubicBezTo>
                    <a:cubicBezTo>
                      <a:pt x="1" y="661"/>
                      <a:pt x="3" y="654"/>
                      <a:pt x="7" y="648"/>
                    </a:cubicBezTo>
                    <a:cubicBezTo>
                      <a:pt x="7" y="648"/>
                      <a:pt x="7" y="648"/>
                      <a:pt x="7" y="648"/>
                    </a:cubicBezTo>
                    <a:cubicBezTo>
                      <a:pt x="13" y="639"/>
                      <a:pt x="13" y="639"/>
                      <a:pt x="13" y="639"/>
                    </a:cubicBezTo>
                    <a:moveTo>
                      <a:pt x="4" y="5"/>
                    </a:moveTo>
                    <a:cubicBezTo>
                      <a:pt x="2" y="10"/>
                      <a:pt x="0" y="16"/>
                      <a:pt x="0" y="22"/>
                    </a:cubicBezTo>
                    <a:cubicBezTo>
                      <a:pt x="0" y="31"/>
                      <a:pt x="4" y="40"/>
                      <a:pt x="11" y="47"/>
                    </a:cubicBezTo>
                    <a:cubicBezTo>
                      <a:pt x="7" y="41"/>
                      <a:pt x="7" y="41"/>
                      <a:pt x="7" y="41"/>
                    </a:cubicBezTo>
                    <a:cubicBezTo>
                      <a:pt x="3" y="35"/>
                      <a:pt x="1" y="28"/>
                      <a:pt x="1" y="21"/>
                    </a:cubicBezTo>
                    <a:cubicBezTo>
                      <a:pt x="1" y="16"/>
                      <a:pt x="2" y="10"/>
                      <a:pt x="4" y="5"/>
                    </a:cubicBezTo>
                    <a:moveTo>
                      <a:pt x="132" y="0"/>
                    </a:moveTo>
                    <a:cubicBezTo>
                      <a:pt x="85" y="31"/>
                      <a:pt x="85" y="31"/>
                      <a:pt x="85" y="31"/>
                    </a:cubicBezTo>
                    <a:cubicBezTo>
                      <a:pt x="109" y="66"/>
                      <a:pt x="109" y="66"/>
                      <a:pt x="109" y="66"/>
                    </a:cubicBezTo>
                    <a:cubicBezTo>
                      <a:pt x="122" y="70"/>
                      <a:pt x="135" y="74"/>
                      <a:pt x="147" y="80"/>
                    </a:cubicBezTo>
                    <a:cubicBezTo>
                      <a:pt x="199" y="101"/>
                      <a:pt x="242" y="138"/>
                      <a:pt x="273" y="184"/>
                    </a:cubicBezTo>
                    <a:cubicBezTo>
                      <a:pt x="304" y="229"/>
                      <a:pt x="322" y="284"/>
                      <a:pt x="322" y="344"/>
                    </a:cubicBezTo>
                    <a:cubicBezTo>
                      <a:pt x="322" y="383"/>
                      <a:pt x="314" y="421"/>
                      <a:pt x="300" y="455"/>
                    </a:cubicBezTo>
                    <a:cubicBezTo>
                      <a:pt x="278" y="507"/>
                      <a:pt x="242" y="551"/>
                      <a:pt x="196" y="582"/>
                    </a:cubicBezTo>
                    <a:cubicBezTo>
                      <a:pt x="170" y="599"/>
                      <a:pt x="141" y="613"/>
                      <a:pt x="110" y="621"/>
                    </a:cubicBezTo>
                    <a:cubicBezTo>
                      <a:pt x="85" y="658"/>
                      <a:pt x="85" y="658"/>
                      <a:pt x="85" y="658"/>
                    </a:cubicBezTo>
                    <a:cubicBezTo>
                      <a:pt x="131" y="688"/>
                      <a:pt x="131" y="688"/>
                      <a:pt x="131" y="688"/>
                    </a:cubicBezTo>
                    <a:cubicBezTo>
                      <a:pt x="146" y="684"/>
                      <a:pt x="161" y="679"/>
                      <a:pt x="175" y="673"/>
                    </a:cubicBezTo>
                    <a:cubicBezTo>
                      <a:pt x="239" y="646"/>
                      <a:pt x="293" y="601"/>
                      <a:pt x="332" y="544"/>
                    </a:cubicBezTo>
                    <a:cubicBezTo>
                      <a:pt x="370" y="487"/>
                      <a:pt x="393" y="418"/>
                      <a:pt x="393" y="344"/>
                    </a:cubicBezTo>
                    <a:cubicBezTo>
                      <a:pt x="393" y="295"/>
                      <a:pt x="383" y="247"/>
                      <a:pt x="365" y="205"/>
                    </a:cubicBezTo>
                    <a:cubicBezTo>
                      <a:pt x="338" y="141"/>
                      <a:pt x="292" y="86"/>
                      <a:pt x="235" y="47"/>
                    </a:cubicBezTo>
                    <a:cubicBezTo>
                      <a:pt x="204" y="26"/>
                      <a:pt x="169" y="10"/>
                      <a:pt x="132"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47" name="Freeform 118">
                <a:extLst>
                  <a:ext uri="{FF2B5EF4-FFF2-40B4-BE49-F238E27FC236}">
                    <a16:creationId xmlns:a16="http://schemas.microsoft.com/office/drawing/2014/main" id="{EBA7F749-D8CA-304E-8615-19AAC2EB3B34}"/>
                  </a:ext>
                </a:extLst>
              </p:cNvPr>
              <p:cNvSpPr>
                <a:spLocks/>
              </p:cNvSpPr>
              <p:nvPr/>
            </p:nvSpPr>
            <p:spPr bwMode="auto">
              <a:xfrm>
                <a:off x="3405188" y="2836863"/>
                <a:ext cx="188913" cy="77787"/>
              </a:xfrm>
              <a:custGeom>
                <a:avLst/>
                <a:gdLst>
                  <a:gd name="T0" fmla="*/ 0 w 108"/>
                  <a:gd name="T1" fmla="*/ 0 h 45"/>
                  <a:gd name="T2" fmla="*/ 6 w 108"/>
                  <a:gd name="T3" fmla="*/ 20 h 45"/>
                  <a:gd name="T4" fmla="*/ 10 w 108"/>
                  <a:gd name="T5" fmla="*/ 26 h 45"/>
                  <a:gd name="T6" fmla="*/ 35 w 108"/>
                  <a:gd name="T7" fmla="*/ 36 h 45"/>
                  <a:gd name="T8" fmla="*/ 108 w 108"/>
                  <a:gd name="T9" fmla="*/ 45 h 45"/>
                  <a:gd name="T10" fmla="*/ 84 w 108"/>
                  <a:gd name="T11" fmla="*/ 10 h 45"/>
                  <a:gd name="T12" fmla="*/ 55 w 108"/>
                  <a:gd name="T13" fmla="*/ 29 h 45"/>
                  <a:gd name="T14" fmla="*/ 35 w 108"/>
                  <a:gd name="T15" fmla="*/ 35 h 45"/>
                  <a:gd name="T16" fmla="*/ 6 w 108"/>
                  <a:gd name="T17" fmla="*/ 20 h 45"/>
                  <a:gd name="T18" fmla="*/ 0 w 108"/>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45">
                    <a:moveTo>
                      <a:pt x="0" y="0"/>
                    </a:moveTo>
                    <a:cubicBezTo>
                      <a:pt x="0" y="7"/>
                      <a:pt x="2" y="14"/>
                      <a:pt x="6" y="20"/>
                    </a:cubicBezTo>
                    <a:cubicBezTo>
                      <a:pt x="10" y="26"/>
                      <a:pt x="10" y="26"/>
                      <a:pt x="10" y="26"/>
                    </a:cubicBezTo>
                    <a:cubicBezTo>
                      <a:pt x="16" y="32"/>
                      <a:pt x="25" y="36"/>
                      <a:pt x="35" y="36"/>
                    </a:cubicBezTo>
                    <a:cubicBezTo>
                      <a:pt x="60" y="36"/>
                      <a:pt x="84" y="39"/>
                      <a:pt x="108" y="45"/>
                    </a:cubicBezTo>
                    <a:cubicBezTo>
                      <a:pt x="84" y="10"/>
                      <a:pt x="84" y="10"/>
                      <a:pt x="84" y="10"/>
                    </a:cubicBezTo>
                    <a:cubicBezTo>
                      <a:pt x="55" y="29"/>
                      <a:pt x="55" y="29"/>
                      <a:pt x="55" y="29"/>
                    </a:cubicBezTo>
                    <a:cubicBezTo>
                      <a:pt x="49" y="33"/>
                      <a:pt x="42" y="35"/>
                      <a:pt x="35" y="35"/>
                    </a:cubicBezTo>
                    <a:cubicBezTo>
                      <a:pt x="24" y="35"/>
                      <a:pt x="12" y="30"/>
                      <a:pt x="6" y="20"/>
                    </a:cubicBezTo>
                    <a:cubicBezTo>
                      <a:pt x="2" y="14"/>
                      <a:pt x="0" y="7"/>
                      <a:pt x="0"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48" name="Freeform 119">
                <a:extLst>
                  <a:ext uri="{FF2B5EF4-FFF2-40B4-BE49-F238E27FC236}">
                    <a16:creationId xmlns:a16="http://schemas.microsoft.com/office/drawing/2014/main" id="{27DE2159-4FE1-3B46-9534-06D79D858B97}"/>
                  </a:ext>
                </a:extLst>
              </p:cNvPr>
              <p:cNvSpPr>
                <a:spLocks/>
              </p:cNvSpPr>
              <p:nvPr/>
            </p:nvSpPr>
            <p:spPr bwMode="auto">
              <a:xfrm>
                <a:off x="3478213" y="2776538"/>
                <a:ext cx="155575" cy="77787"/>
              </a:xfrm>
              <a:custGeom>
                <a:avLst/>
                <a:gdLst>
                  <a:gd name="T0" fmla="*/ 0 w 89"/>
                  <a:gd name="T1" fmla="*/ 0 h 44"/>
                  <a:gd name="T2" fmla="*/ 22 w 89"/>
                  <a:gd name="T3" fmla="*/ 15 h 44"/>
                  <a:gd name="T4" fmla="*/ 42 w 89"/>
                  <a:gd name="T5" fmla="*/ 44 h 44"/>
                  <a:gd name="T6" fmla="*/ 89 w 89"/>
                  <a:gd name="T7" fmla="*/ 13 h 44"/>
                  <a:gd name="T8" fmla="*/ 0 w 89"/>
                  <a:gd name="T9" fmla="*/ 0 h 44"/>
                </a:gdLst>
                <a:ahLst/>
                <a:cxnLst>
                  <a:cxn ang="0">
                    <a:pos x="T0" y="T1"/>
                  </a:cxn>
                  <a:cxn ang="0">
                    <a:pos x="T2" y="T3"/>
                  </a:cxn>
                  <a:cxn ang="0">
                    <a:pos x="T4" y="T5"/>
                  </a:cxn>
                  <a:cxn ang="0">
                    <a:pos x="T6" y="T7"/>
                  </a:cxn>
                  <a:cxn ang="0">
                    <a:pos x="T8" y="T9"/>
                  </a:cxn>
                </a:cxnLst>
                <a:rect l="0" t="0" r="r" b="b"/>
                <a:pathLst>
                  <a:path w="89" h="44">
                    <a:moveTo>
                      <a:pt x="0" y="0"/>
                    </a:moveTo>
                    <a:cubicBezTo>
                      <a:pt x="9" y="1"/>
                      <a:pt x="17" y="7"/>
                      <a:pt x="22" y="15"/>
                    </a:cubicBezTo>
                    <a:cubicBezTo>
                      <a:pt x="42" y="44"/>
                      <a:pt x="42" y="44"/>
                      <a:pt x="42" y="44"/>
                    </a:cubicBezTo>
                    <a:cubicBezTo>
                      <a:pt x="89" y="13"/>
                      <a:pt x="89" y="13"/>
                      <a:pt x="89" y="13"/>
                    </a:cubicBezTo>
                    <a:cubicBezTo>
                      <a:pt x="61" y="5"/>
                      <a:pt x="31" y="0"/>
                      <a:pt x="0"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49" name="Freeform 120">
                <a:extLst>
                  <a:ext uri="{FF2B5EF4-FFF2-40B4-BE49-F238E27FC236}">
                    <a16:creationId xmlns:a16="http://schemas.microsoft.com/office/drawing/2014/main" id="{F281F984-D4C2-9543-8A91-A04F3B23C516}"/>
                  </a:ext>
                </a:extLst>
              </p:cNvPr>
              <p:cNvSpPr>
                <a:spLocks/>
              </p:cNvSpPr>
              <p:nvPr/>
            </p:nvSpPr>
            <p:spPr bwMode="auto">
              <a:xfrm>
                <a:off x="3402807" y="2774951"/>
                <a:ext cx="146050" cy="122237"/>
              </a:xfrm>
              <a:custGeom>
                <a:avLst/>
                <a:gdLst>
                  <a:gd name="T0" fmla="*/ 35 w 84"/>
                  <a:gd name="T1" fmla="*/ 0 h 70"/>
                  <a:gd name="T2" fmla="*/ 35 w 84"/>
                  <a:gd name="T3" fmla="*/ 0 h 70"/>
                  <a:gd name="T4" fmla="*/ 3 w 84"/>
                  <a:gd name="T5" fmla="*/ 19 h 70"/>
                  <a:gd name="T6" fmla="*/ 0 w 84"/>
                  <a:gd name="T7" fmla="*/ 35 h 70"/>
                  <a:gd name="T8" fmla="*/ 6 w 84"/>
                  <a:gd name="T9" fmla="*/ 55 h 70"/>
                  <a:gd name="T10" fmla="*/ 35 w 84"/>
                  <a:gd name="T11" fmla="*/ 70 h 70"/>
                  <a:gd name="T12" fmla="*/ 55 w 84"/>
                  <a:gd name="T13" fmla="*/ 64 h 70"/>
                  <a:gd name="T14" fmla="*/ 84 w 84"/>
                  <a:gd name="T15" fmla="*/ 45 h 70"/>
                  <a:gd name="T16" fmla="*/ 64 w 84"/>
                  <a:gd name="T17" fmla="*/ 16 h 70"/>
                  <a:gd name="T18" fmla="*/ 42 w 84"/>
                  <a:gd name="T19" fmla="*/ 1 h 70"/>
                  <a:gd name="T20" fmla="*/ 35 w 84"/>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0">
                    <a:moveTo>
                      <a:pt x="35" y="0"/>
                    </a:moveTo>
                    <a:cubicBezTo>
                      <a:pt x="35" y="0"/>
                      <a:pt x="35" y="0"/>
                      <a:pt x="35" y="0"/>
                    </a:cubicBezTo>
                    <a:cubicBezTo>
                      <a:pt x="21" y="0"/>
                      <a:pt x="9" y="8"/>
                      <a:pt x="3" y="19"/>
                    </a:cubicBezTo>
                    <a:cubicBezTo>
                      <a:pt x="1" y="24"/>
                      <a:pt x="0" y="30"/>
                      <a:pt x="0" y="35"/>
                    </a:cubicBezTo>
                    <a:cubicBezTo>
                      <a:pt x="0" y="42"/>
                      <a:pt x="2" y="49"/>
                      <a:pt x="6" y="55"/>
                    </a:cubicBezTo>
                    <a:cubicBezTo>
                      <a:pt x="12" y="65"/>
                      <a:pt x="24" y="70"/>
                      <a:pt x="35" y="70"/>
                    </a:cubicBezTo>
                    <a:cubicBezTo>
                      <a:pt x="42" y="70"/>
                      <a:pt x="49" y="68"/>
                      <a:pt x="55" y="64"/>
                    </a:cubicBezTo>
                    <a:cubicBezTo>
                      <a:pt x="84" y="45"/>
                      <a:pt x="84" y="45"/>
                      <a:pt x="84" y="45"/>
                    </a:cubicBezTo>
                    <a:cubicBezTo>
                      <a:pt x="64" y="16"/>
                      <a:pt x="64" y="16"/>
                      <a:pt x="64" y="16"/>
                    </a:cubicBezTo>
                    <a:cubicBezTo>
                      <a:pt x="59" y="8"/>
                      <a:pt x="51" y="2"/>
                      <a:pt x="42" y="1"/>
                    </a:cubicBezTo>
                    <a:cubicBezTo>
                      <a:pt x="40" y="0"/>
                      <a:pt x="37" y="0"/>
                      <a:pt x="35" y="0"/>
                    </a:cubicBezTo>
                  </a:path>
                </a:pathLst>
              </a:custGeom>
              <a:solidFill>
                <a:srgbClr val="0066C5"/>
              </a:solidFill>
              <a:ln w="12700">
                <a:solidFill>
                  <a:srgbClr val="0066C5"/>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50" name="Freeform 121">
                <a:extLst>
                  <a:ext uri="{FF2B5EF4-FFF2-40B4-BE49-F238E27FC236}">
                    <a16:creationId xmlns:a16="http://schemas.microsoft.com/office/drawing/2014/main" id="{B5A6EBFC-743E-0D4C-80DD-52EBE3C3CF28}"/>
                  </a:ext>
                </a:extLst>
              </p:cNvPr>
              <p:cNvSpPr>
                <a:spLocks/>
              </p:cNvSpPr>
              <p:nvPr/>
            </p:nvSpPr>
            <p:spPr bwMode="auto">
              <a:xfrm>
                <a:off x="3414713" y="3886201"/>
                <a:ext cx="180975" cy="65087"/>
              </a:xfrm>
              <a:custGeom>
                <a:avLst/>
                <a:gdLst>
                  <a:gd name="T0" fmla="*/ 103 w 103"/>
                  <a:gd name="T1" fmla="*/ 0 h 37"/>
                  <a:gd name="T2" fmla="*/ 29 w 103"/>
                  <a:gd name="T3" fmla="*/ 9 h 37"/>
                  <a:gd name="T4" fmla="*/ 6 w 103"/>
                  <a:gd name="T5" fmla="*/ 18 h 37"/>
                  <a:gd name="T6" fmla="*/ 0 w 103"/>
                  <a:gd name="T7" fmla="*/ 27 h 37"/>
                  <a:gd name="T8" fmla="*/ 29 w 103"/>
                  <a:gd name="T9" fmla="*/ 11 h 37"/>
                  <a:gd name="T10" fmla="*/ 49 w 103"/>
                  <a:gd name="T11" fmla="*/ 17 h 37"/>
                  <a:gd name="T12" fmla="*/ 78 w 103"/>
                  <a:gd name="T13" fmla="*/ 37 h 37"/>
                  <a:gd name="T14" fmla="*/ 103 w 103"/>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7">
                    <a:moveTo>
                      <a:pt x="103" y="0"/>
                    </a:moveTo>
                    <a:cubicBezTo>
                      <a:pt x="79" y="6"/>
                      <a:pt x="54" y="9"/>
                      <a:pt x="29" y="9"/>
                    </a:cubicBezTo>
                    <a:cubicBezTo>
                      <a:pt x="20" y="9"/>
                      <a:pt x="12" y="13"/>
                      <a:pt x="6" y="18"/>
                    </a:cubicBezTo>
                    <a:cubicBezTo>
                      <a:pt x="0" y="27"/>
                      <a:pt x="0" y="27"/>
                      <a:pt x="0" y="27"/>
                    </a:cubicBezTo>
                    <a:cubicBezTo>
                      <a:pt x="6" y="17"/>
                      <a:pt x="18" y="11"/>
                      <a:pt x="29" y="11"/>
                    </a:cubicBezTo>
                    <a:cubicBezTo>
                      <a:pt x="36" y="11"/>
                      <a:pt x="43" y="13"/>
                      <a:pt x="49" y="17"/>
                    </a:cubicBezTo>
                    <a:cubicBezTo>
                      <a:pt x="78" y="37"/>
                      <a:pt x="78" y="37"/>
                      <a:pt x="78" y="37"/>
                    </a:cubicBezTo>
                    <a:cubicBezTo>
                      <a:pt x="103" y="0"/>
                      <a:pt x="103" y="0"/>
                      <a:pt x="103"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51" name="Freeform 122">
                <a:extLst>
                  <a:ext uri="{FF2B5EF4-FFF2-40B4-BE49-F238E27FC236}">
                    <a16:creationId xmlns:a16="http://schemas.microsoft.com/office/drawing/2014/main" id="{73AD1CC3-7C35-8C4F-990E-D4FD06223B7F}"/>
                  </a:ext>
                </a:extLst>
              </p:cNvPr>
              <p:cNvSpPr>
                <a:spLocks/>
              </p:cNvSpPr>
              <p:nvPr/>
            </p:nvSpPr>
            <p:spPr bwMode="auto">
              <a:xfrm>
                <a:off x="3487738" y="3951288"/>
                <a:ext cx="144463" cy="74612"/>
              </a:xfrm>
              <a:custGeom>
                <a:avLst/>
                <a:gdLst>
                  <a:gd name="T0" fmla="*/ 37 w 83"/>
                  <a:gd name="T1" fmla="*/ 0 h 43"/>
                  <a:gd name="T2" fmla="*/ 17 w 83"/>
                  <a:gd name="T3" fmla="*/ 29 h 43"/>
                  <a:gd name="T4" fmla="*/ 0 w 83"/>
                  <a:gd name="T5" fmla="*/ 43 h 43"/>
                  <a:gd name="T6" fmla="*/ 83 w 83"/>
                  <a:gd name="T7" fmla="*/ 30 h 43"/>
                  <a:gd name="T8" fmla="*/ 37 w 83"/>
                  <a:gd name="T9" fmla="*/ 0 h 43"/>
                </a:gdLst>
                <a:ahLst/>
                <a:cxnLst>
                  <a:cxn ang="0">
                    <a:pos x="T0" y="T1"/>
                  </a:cxn>
                  <a:cxn ang="0">
                    <a:pos x="T2" y="T3"/>
                  </a:cxn>
                  <a:cxn ang="0">
                    <a:pos x="T4" y="T5"/>
                  </a:cxn>
                  <a:cxn ang="0">
                    <a:pos x="T6" y="T7"/>
                  </a:cxn>
                  <a:cxn ang="0">
                    <a:pos x="T8" y="T9"/>
                  </a:cxn>
                </a:cxnLst>
                <a:rect l="0" t="0" r="r" b="b"/>
                <a:pathLst>
                  <a:path w="83" h="43">
                    <a:moveTo>
                      <a:pt x="37" y="0"/>
                    </a:moveTo>
                    <a:cubicBezTo>
                      <a:pt x="17" y="29"/>
                      <a:pt x="17" y="29"/>
                      <a:pt x="17" y="29"/>
                    </a:cubicBezTo>
                    <a:cubicBezTo>
                      <a:pt x="13" y="36"/>
                      <a:pt x="7" y="40"/>
                      <a:pt x="0" y="43"/>
                    </a:cubicBezTo>
                    <a:cubicBezTo>
                      <a:pt x="28" y="42"/>
                      <a:pt x="56" y="38"/>
                      <a:pt x="83" y="30"/>
                    </a:cubicBezTo>
                    <a:cubicBezTo>
                      <a:pt x="37" y="0"/>
                      <a:pt x="37" y="0"/>
                      <a:pt x="37"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52" name="Freeform 123">
                <a:extLst>
                  <a:ext uri="{FF2B5EF4-FFF2-40B4-BE49-F238E27FC236}">
                    <a16:creationId xmlns:a16="http://schemas.microsoft.com/office/drawing/2014/main" id="{68C9B3E0-125A-F04C-AE53-D0F90995E813}"/>
                  </a:ext>
                </a:extLst>
              </p:cNvPr>
              <p:cNvSpPr>
                <a:spLocks/>
              </p:cNvSpPr>
              <p:nvPr/>
            </p:nvSpPr>
            <p:spPr bwMode="auto">
              <a:xfrm>
                <a:off x="3405188" y="3905251"/>
                <a:ext cx="146050" cy="120650"/>
              </a:xfrm>
              <a:custGeom>
                <a:avLst/>
                <a:gdLst>
                  <a:gd name="T0" fmla="*/ 35 w 84"/>
                  <a:gd name="T1" fmla="*/ 0 h 69"/>
                  <a:gd name="T2" fmla="*/ 6 w 84"/>
                  <a:gd name="T3" fmla="*/ 16 h 69"/>
                  <a:gd name="T4" fmla="*/ 6 w 84"/>
                  <a:gd name="T5" fmla="*/ 16 h 69"/>
                  <a:gd name="T6" fmla="*/ 0 w 84"/>
                  <a:gd name="T7" fmla="*/ 36 h 69"/>
                  <a:gd name="T8" fmla="*/ 0 w 84"/>
                  <a:gd name="T9" fmla="*/ 41 h 69"/>
                  <a:gd name="T10" fmla="*/ 35 w 84"/>
                  <a:gd name="T11" fmla="*/ 69 h 69"/>
                  <a:gd name="T12" fmla="*/ 47 w 84"/>
                  <a:gd name="T13" fmla="*/ 69 h 69"/>
                  <a:gd name="T14" fmla="*/ 64 w 84"/>
                  <a:gd name="T15" fmla="*/ 55 h 69"/>
                  <a:gd name="T16" fmla="*/ 84 w 84"/>
                  <a:gd name="T17" fmla="*/ 26 h 69"/>
                  <a:gd name="T18" fmla="*/ 55 w 84"/>
                  <a:gd name="T19" fmla="*/ 6 h 69"/>
                  <a:gd name="T20" fmla="*/ 35 w 84"/>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9">
                    <a:moveTo>
                      <a:pt x="35" y="0"/>
                    </a:moveTo>
                    <a:cubicBezTo>
                      <a:pt x="24" y="0"/>
                      <a:pt x="12" y="6"/>
                      <a:pt x="6" y="16"/>
                    </a:cubicBezTo>
                    <a:cubicBezTo>
                      <a:pt x="6" y="16"/>
                      <a:pt x="6" y="16"/>
                      <a:pt x="6" y="16"/>
                    </a:cubicBezTo>
                    <a:cubicBezTo>
                      <a:pt x="2" y="22"/>
                      <a:pt x="0" y="29"/>
                      <a:pt x="0" y="36"/>
                    </a:cubicBezTo>
                    <a:cubicBezTo>
                      <a:pt x="0" y="38"/>
                      <a:pt x="0" y="40"/>
                      <a:pt x="0" y="41"/>
                    </a:cubicBezTo>
                    <a:cubicBezTo>
                      <a:pt x="4" y="57"/>
                      <a:pt x="18" y="69"/>
                      <a:pt x="35" y="69"/>
                    </a:cubicBezTo>
                    <a:cubicBezTo>
                      <a:pt x="39" y="69"/>
                      <a:pt x="43" y="69"/>
                      <a:pt x="47" y="69"/>
                    </a:cubicBezTo>
                    <a:cubicBezTo>
                      <a:pt x="54" y="66"/>
                      <a:pt x="60" y="62"/>
                      <a:pt x="64" y="55"/>
                    </a:cubicBezTo>
                    <a:cubicBezTo>
                      <a:pt x="84" y="26"/>
                      <a:pt x="84" y="26"/>
                      <a:pt x="84" y="26"/>
                    </a:cubicBezTo>
                    <a:cubicBezTo>
                      <a:pt x="55" y="6"/>
                      <a:pt x="55" y="6"/>
                      <a:pt x="55" y="6"/>
                    </a:cubicBezTo>
                    <a:cubicBezTo>
                      <a:pt x="49" y="2"/>
                      <a:pt x="42" y="0"/>
                      <a:pt x="35" y="0"/>
                    </a:cubicBezTo>
                  </a:path>
                </a:pathLst>
              </a:custGeom>
              <a:solidFill>
                <a:srgbClr val="0066C5"/>
              </a:solidFill>
              <a:ln>
                <a:solidFill>
                  <a:srgbClr val="0066C5"/>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grpSp>
        <p:pic>
          <p:nvPicPr>
            <p:cNvPr id="353" name="Picture 352">
              <a:extLst>
                <a:ext uri="{FF2B5EF4-FFF2-40B4-BE49-F238E27FC236}">
                  <a16:creationId xmlns:a16="http://schemas.microsoft.com/office/drawing/2014/main" id="{C4F9020C-509F-1845-940F-874C22ABEC3F}"/>
                </a:ext>
              </a:extLst>
            </p:cNvPr>
            <p:cNvPicPr>
              <a:picLocks noChangeAspect="1"/>
            </p:cNvPicPr>
            <p:nvPr/>
          </p:nvPicPr>
          <p:blipFill>
            <a:blip r:embed="rId2"/>
            <a:stretch>
              <a:fillRect/>
            </a:stretch>
          </p:blipFill>
          <p:spPr>
            <a:xfrm>
              <a:off x="3449111" y="2197359"/>
              <a:ext cx="1078992" cy="1078992"/>
            </a:xfrm>
            <a:prstGeom prst="rect">
              <a:avLst/>
            </a:prstGeom>
          </p:spPr>
        </p:pic>
        <p:sp>
          <p:nvSpPr>
            <p:cNvPr id="356" name="Rectangle 355">
              <a:extLst>
                <a:ext uri="{FF2B5EF4-FFF2-40B4-BE49-F238E27FC236}">
                  <a16:creationId xmlns:a16="http://schemas.microsoft.com/office/drawing/2014/main" id="{B131E0B7-1928-C14E-A88B-F8B2D3FED761}"/>
                </a:ext>
              </a:extLst>
            </p:cNvPr>
            <p:cNvSpPr/>
            <p:nvPr/>
          </p:nvSpPr>
          <p:spPr>
            <a:xfrm>
              <a:off x="2441829" y="1549801"/>
              <a:ext cx="825440" cy="601875"/>
            </a:xfrm>
            <a:prstGeom prst="rect">
              <a:avLst/>
            </a:prstGeom>
          </p:spPr>
          <p:txBody>
            <a:bodyPr wrap="none">
              <a:spAutoFit/>
            </a:bodyPr>
            <a:lstStyle/>
            <a:p>
              <a:pPr algn="ctr" defTabSz="342892">
                <a:lnSpc>
                  <a:spcPts val="1350"/>
                </a:lnSpc>
              </a:pPr>
              <a:r>
                <a:rPr lang="en-US" sz="1200" dirty="0">
                  <a:solidFill>
                    <a:srgbClr val="282828"/>
                  </a:solidFill>
                  <a:latin typeface="CiscoSansTT ExtraLight"/>
                </a:rPr>
                <a:t>Intent</a:t>
              </a:r>
            </a:p>
            <a:p>
              <a:pPr algn="ctr" defTabSz="342892">
                <a:lnSpc>
                  <a:spcPts val="1350"/>
                </a:lnSpc>
              </a:pPr>
              <a:r>
                <a:rPr lang="en-US" sz="1200" dirty="0">
                  <a:solidFill>
                    <a:srgbClr val="282828"/>
                  </a:solidFill>
                  <a:latin typeface="CiscoSansTT ExtraLight"/>
                </a:rPr>
                <a:t>Based</a:t>
              </a:r>
            </a:p>
          </p:txBody>
        </p:sp>
        <p:sp>
          <p:nvSpPr>
            <p:cNvPr id="357" name="Rectangle 356">
              <a:extLst>
                <a:ext uri="{FF2B5EF4-FFF2-40B4-BE49-F238E27FC236}">
                  <a16:creationId xmlns:a16="http://schemas.microsoft.com/office/drawing/2014/main" id="{B8328DD1-6167-024A-B2C4-8B10F4D5AC62}"/>
                </a:ext>
              </a:extLst>
            </p:cNvPr>
            <p:cNvSpPr/>
            <p:nvPr/>
          </p:nvSpPr>
          <p:spPr>
            <a:xfrm>
              <a:off x="3326227" y="1552160"/>
              <a:ext cx="1327608" cy="601875"/>
            </a:xfrm>
            <a:prstGeom prst="rect">
              <a:avLst/>
            </a:prstGeom>
          </p:spPr>
          <p:txBody>
            <a:bodyPr wrap="square">
              <a:spAutoFit/>
            </a:bodyPr>
            <a:lstStyle/>
            <a:p>
              <a:pPr algn="ctr" defTabSz="342892">
                <a:lnSpc>
                  <a:spcPts val="1350"/>
                </a:lnSpc>
              </a:pPr>
              <a:r>
                <a:rPr lang="en-US" sz="1200" dirty="0">
                  <a:solidFill>
                    <a:srgbClr val="282828"/>
                  </a:solidFill>
                  <a:latin typeface="CiscoSansTT ExtraLight"/>
                </a:rPr>
                <a:t>Prevent</a:t>
              </a:r>
            </a:p>
            <a:p>
              <a:pPr algn="ctr" defTabSz="342892">
                <a:lnSpc>
                  <a:spcPts val="1350"/>
                </a:lnSpc>
              </a:pPr>
              <a:r>
                <a:rPr lang="en-US" sz="1200" dirty="0">
                  <a:solidFill>
                    <a:srgbClr val="282828"/>
                  </a:solidFill>
                  <a:latin typeface="CiscoSansTT ExtraLight"/>
                </a:rPr>
                <a:t>Incidents</a:t>
              </a:r>
            </a:p>
          </p:txBody>
        </p:sp>
        <p:sp>
          <p:nvSpPr>
            <p:cNvPr id="358" name="Rectangle 357">
              <a:extLst>
                <a:ext uri="{FF2B5EF4-FFF2-40B4-BE49-F238E27FC236}">
                  <a16:creationId xmlns:a16="http://schemas.microsoft.com/office/drawing/2014/main" id="{5F773B11-C574-CE41-BC18-3AE67F890629}"/>
                </a:ext>
              </a:extLst>
            </p:cNvPr>
            <p:cNvSpPr/>
            <p:nvPr/>
          </p:nvSpPr>
          <p:spPr>
            <a:xfrm>
              <a:off x="2331945" y="4571307"/>
              <a:ext cx="1045585" cy="601875"/>
            </a:xfrm>
            <a:prstGeom prst="rect">
              <a:avLst/>
            </a:prstGeom>
          </p:spPr>
          <p:txBody>
            <a:bodyPr wrap="none">
              <a:spAutoFit/>
            </a:bodyPr>
            <a:lstStyle/>
            <a:p>
              <a:pPr algn="ctr" defTabSz="342892">
                <a:lnSpc>
                  <a:spcPts val="1350"/>
                </a:lnSpc>
              </a:pPr>
              <a:r>
                <a:rPr lang="en-US" sz="1200" dirty="0">
                  <a:solidFill>
                    <a:srgbClr val="282828"/>
                  </a:solidFill>
                  <a:latin typeface="CiscoSansTT ExtraLight"/>
                </a:rPr>
                <a:t>Machine</a:t>
              </a:r>
            </a:p>
            <a:p>
              <a:pPr algn="ctr" defTabSz="342892">
                <a:lnSpc>
                  <a:spcPts val="1350"/>
                </a:lnSpc>
              </a:pPr>
              <a:r>
                <a:rPr lang="en-US" sz="1200" dirty="0">
                  <a:solidFill>
                    <a:srgbClr val="282828"/>
                  </a:solidFill>
                  <a:latin typeface="CiscoSansTT ExtraLight"/>
                </a:rPr>
                <a:t>Learning</a:t>
              </a:r>
            </a:p>
          </p:txBody>
        </p:sp>
        <p:sp>
          <p:nvSpPr>
            <p:cNvPr id="359" name="Rectangle 358">
              <a:extLst>
                <a:ext uri="{FF2B5EF4-FFF2-40B4-BE49-F238E27FC236}">
                  <a16:creationId xmlns:a16="http://schemas.microsoft.com/office/drawing/2014/main" id="{2D9D985A-7E64-F144-ACA4-09D8EFC4D60D}"/>
                </a:ext>
              </a:extLst>
            </p:cNvPr>
            <p:cNvSpPr/>
            <p:nvPr/>
          </p:nvSpPr>
          <p:spPr>
            <a:xfrm>
              <a:off x="3401875" y="4575187"/>
              <a:ext cx="1199473" cy="601875"/>
            </a:xfrm>
            <a:prstGeom prst="rect">
              <a:avLst/>
            </a:prstGeom>
          </p:spPr>
          <p:txBody>
            <a:bodyPr wrap="none">
              <a:spAutoFit/>
            </a:bodyPr>
            <a:lstStyle/>
            <a:p>
              <a:pPr algn="ctr" defTabSz="342892">
                <a:lnSpc>
                  <a:spcPts val="1350"/>
                </a:lnSpc>
              </a:pPr>
              <a:r>
                <a:rPr lang="en-US" sz="1200" dirty="0">
                  <a:solidFill>
                    <a:srgbClr val="282828"/>
                  </a:solidFill>
                  <a:latin typeface="CiscoSansTT ExtraLight"/>
                </a:rPr>
                <a:t>Compress</a:t>
              </a:r>
            </a:p>
            <a:p>
              <a:pPr algn="ctr" defTabSz="342892">
                <a:lnSpc>
                  <a:spcPts val="1350"/>
                </a:lnSpc>
              </a:pPr>
              <a:r>
                <a:rPr lang="en-US" sz="1200" dirty="0">
                  <a:solidFill>
                    <a:srgbClr val="282828"/>
                  </a:solidFill>
                  <a:latin typeface="CiscoSansTT ExtraLight"/>
                </a:rPr>
                <a:t>Time</a:t>
              </a:r>
            </a:p>
          </p:txBody>
        </p:sp>
        <p:sp>
          <p:nvSpPr>
            <p:cNvPr id="362" name="Rectangle 361">
              <a:extLst>
                <a:ext uri="{FF2B5EF4-FFF2-40B4-BE49-F238E27FC236}">
                  <a16:creationId xmlns:a16="http://schemas.microsoft.com/office/drawing/2014/main" id="{A0461080-8339-4A45-92DB-E9A219B89B50}"/>
                </a:ext>
              </a:extLst>
            </p:cNvPr>
            <p:cNvSpPr/>
            <p:nvPr/>
          </p:nvSpPr>
          <p:spPr>
            <a:xfrm>
              <a:off x="1074864" y="3159534"/>
              <a:ext cx="1218711" cy="603499"/>
            </a:xfrm>
            <a:prstGeom prst="rect">
              <a:avLst/>
            </a:prstGeom>
          </p:spPr>
          <p:txBody>
            <a:bodyPr wrap="none">
              <a:spAutoFit/>
            </a:bodyPr>
            <a:lstStyle/>
            <a:p>
              <a:pPr algn="ctr" defTabSz="342892">
                <a:lnSpc>
                  <a:spcPts val="1350"/>
                </a:lnSpc>
              </a:pPr>
              <a:r>
                <a:rPr lang="en-US" dirty="0">
                  <a:solidFill>
                    <a:srgbClr val="282828"/>
                  </a:solidFill>
                  <a:latin typeface="CiscoSansTT ExtraLight"/>
                </a:rPr>
                <a:t>Closed</a:t>
              </a:r>
            </a:p>
            <a:p>
              <a:pPr algn="ctr" defTabSz="342892">
                <a:lnSpc>
                  <a:spcPts val="1350"/>
                </a:lnSpc>
              </a:pPr>
              <a:r>
                <a:rPr lang="en-US" dirty="0">
                  <a:solidFill>
                    <a:srgbClr val="282828"/>
                  </a:solidFill>
                  <a:latin typeface="CiscoSansTT ExtraLight"/>
                </a:rPr>
                <a:t>Loop</a:t>
              </a:r>
            </a:p>
          </p:txBody>
        </p:sp>
        <p:sp>
          <p:nvSpPr>
            <p:cNvPr id="363" name="Rectangle 362">
              <a:extLst>
                <a:ext uri="{FF2B5EF4-FFF2-40B4-BE49-F238E27FC236}">
                  <a16:creationId xmlns:a16="http://schemas.microsoft.com/office/drawing/2014/main" id="{E4D07CEF-95B6-A049-91F5-BCE81623A352}"/>
                </a:ext>
              </a:extLst>
            </p:cNvPr>
            <p:cNvSpPr/>
            <p:nvPr/>
          </p:nvSpPr>
          <p:spPr>
            <a:xfrm>
              <a:off x="4226011" y="3005105"/>
              <a:ext cx="1951273" cy="1082263"/>
            </a:xfrm>
            <a:prstGeom prst="rect">
              <a:avLst/>
            </a:prstGeom>
          </p:spPr>
          <p:txBody>
            <a:bodyPr wrap="square">
              <a:spAutoFit/>
            </a:bodyPr>
            <a:lstStyle/>
            <a:p>
              <a:pPr algn="ctr" defTabSz="342892">
                <a:lnSpc>
                  <a:spcPts val="1350"/>
                </a:lnSpc>
              </a:pPr>
              <a:r>
                <a:rPr lang="en-US" dirty="0">
                  <a:solidFill>
                    <a:srgbClr val="282828"/>
                  </a:solidFill>
                  <a:latin typeface="CiscoSansTT ExtraLight"/>
                </a:rPr>
                <a:t>Improve Decisions</a:t>
              </a:r>
            </a:p>
            <a:p>
              <a:pPr algn="ctr" defTabSz="342892">
                <a:lnSpc>
                  <a:spcPts val="1350"/>
                </a:lnSpc>
              </a:pPr>
              <a:r>
                <a:rPr lang="en-US" dirty="0">
                  <a:solidFill>
                    <a:srgbClr val="282828"/>
                  </a:solidFill>
                  <a:latin typeface="CiscoSansTT ExtraLight"/>
                </a:rPr>
                <a:t>Reduce Errors</a:t>
              </a:r>
            </a:p>
          </p:txBody>
        </p:sp>
        <p:grpSp>
          <p:nvGrpSpPr>
            <p:cNvPr id="460" name="Group 459">
              <a:extLst>
                <a:ext uri="{FF2B5EF4-FFF2-40B4-BE49-F238E27FC236}">
                  <a16:creationId xmlns:a16="http://schemas.microsoft.com/office/drawing/2014/main" id="{7C41165B-CCCE-894E-8001-5702BB57C80E}"/>
                </a:ext>
              </a:extLst>
            </p:cNvPr>
            <p:cNvGrpSpPr/>
            <p:nvPr/>
          </p:nvGrpSpPr>
          <p:grpSpPr>
            <a:xfrm>
              <a:off x="7010116" y="1871619"/>
              <a:ext cx="4121894" cy="3441845"/>
              <a:chOff x="7020649" y="1682563"/>
              <a:chExt cx="4121894" cy="3441845"/>
            </a:xfrm>
          </p:grpSpPr>
          <p:grpSp>
            <p:nvGrpSpPr>
              <p:cNvPr id="459" name="Group 458">
                <a:extLst>
                  <a:ext uri="{FF2B5EF4-FFF2-40B4-BE49-F238E27FC236}">
                    <a16:creationId xmlns:a16="http://schemas.microsoft.com/office/drawing/2014/main" id="{B76CD381-6468-6E45-8FC6-D876A380960A}"/>
                  </a:ext>
                </a:extLst>
              </p:cNvPr>
              <p:cNvGrpSpPr/>
              <p:nvPr/>
            </p:nvGrpSpPr>
            <p:grpSpPr>
              <a:xfrm>
                <a:off x="7020649" y="1682563"/>
                <a:ext cx="4121894" cy="2463436"/>
                <a:chOff x="7020649" y="1682563"/>
                <a:chExt cx="4121894" cy="2463436"/>
              </a:xfrm>
            </p:grpSpPr>
            <p:grpSp>
              <p:nvGrpSpPr>
                <p:cNvPr id="364" name="Group 363">
                  <a:extLst>
                    <a:ext uri="{FF2B5EF4-FFF2-40B4-BE49-F238E27FC236}">
                      <a16:creationId xmlns:a16="http://schemas.microsoft.com/office/drawing/2014/main" id="{AB219595-E9F8-E94B-A910-3943E95CBB42}"/>
                    </a:ext>
                  </a:extLst>
                </p:cNvPr>
                <p:cNvGrpSpPr/>
                <p:nvPr/>
              </p:nvGrpSpPr>
              <p:grpSpPr>
                <a:xfrm>
                  <a:off x="7020649" y="2484394"/>
                  <a:ext cx="1737165" cy="1661605"/>
                  <a:chOff x="6493421" y="-20377"/>
                  <a:chExt cx="1290462" cy="1234332"/>
                </a:xfrm>
              </p:grpSpPr>
              <p:grpSp>
                <p:nvGrpSpPr>
                  <p:cNvPr id="365" name="Group 4">
                    <a:extLst>
                      <a:ext uri="{FF2B5EF4-FFF2-40B4-BE49-F238E27FC236}">
                        <a16:creationId xmlns:a16="http://schemas.microsoft.com/office/drawing/2014/main" id="{E882EBFE-C779-1D46-A3C0-637701B86485}"/>
                      </a:ext>
                    </a:extLst>
                  </p:cNvPr>
                  <p:cNvGrpSpPr>
                    <a:grpSpLocks noChangeAspect="1"/>
                  </p:cNvGrpSpPr>
                  <p:nvPr/>
                </p:nvGrpSpPr>
                <p:grpSpPr bwMode="auto">
                  <a:xfrm>
                    <a:off x="6493421" y="299647"/>
                    <a:ext cx="412156" cy="883192"/>
                    <a:chOff x="598" y="1936"/>
                    <a:chExt cx="287" cy="615"/>
                  </a:xfrm>
                  <a:solidFill>
                    <a:schemeClr val="accent2"/>
                  </a:solidFill>
                </p:grpSpPr>
                <p:sp>
                  <p:nvSpPr>
                    <p:cNvPr id="372" name="Freeform 6">
                      <a:extLst>
                        <a:ext uri="{FF2B5EF4-FFF2-40B4-BE49-F238E27FC236}">
                          <a16:creationId xmlns:a16="http://schemas.microsoft.com/office/drawing/2014/main" id="{417DB043-2AF5-3741-83CF-1B17E8EBDF57}"/>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73" name="Freeform 7">
                      <a:extLst>
                        <a:ext uri="{FF2B5EF4-FFF2-40B4-BE49-F238E27FC236}">
                          <a16:creationId xmlns:a16="http://schemas.microsoft.com/office/drawing/2014/main" id="{9455DA42-C811-1E4E-A5E8-A9CD2B287A3A}"/>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grpSp>
              <p:grpSp>
                <p:nvGrpSpPr>
                  <p:cNvPr id="366" name="Group 4">
                    <a:extLst>
                      <a:ext uri="{FF2B5EF4-FFF2-40B4-BE49-F238E27FC236}">
                        <a16:creationId xmlns:a16="http://schemas.microsoft.com/office/drawing/2014/main" id="{31BBC384-ABE4-0949-86A2-492EB47D6CE9}"/>
                      </a:ext>
                    </a:extLst>
                  </p:cNvPr>
                  <p:cNvGrpSpPr>
                    <a:grpSpLocks noChangeAspect="1"/>
                  </p:cNvGrpSpPr>
                  <p:nvPr/>
                </p:nvGrpSpPr>
                <p:grpSpPr bwMode="auto">
                  <a:xfrm>
                    <a:off x="7371727" y="299647"/>
                    <a:ext cx="412156" cy="883192"/>
                    <a:chOff x="598" y="1936"/>
                    <a:chExt cx="287" cy="615"/>
                  </a:xfrm>
                  <a:solidFill>
                    <a:schemeClr val="accent1"/>
                  </a:solidFill>
                </p:grpSpPr>
                <p:sp>
                  <p:nvSpPr>
                    <p:cNvPr id="370" name="Freeform 6">
                      <a:extLst>
                        <a:ext uri="{FF2B5EF4-FFF2-40B4-BE49-F238E27FC236}">
                          <a16:creationId xmlns:a16="http://schemas.microsoft.com/office/drawing/2014/main" id="{B5BAF02B-8C9C-2149-8D04-43F8E7AC2827}"/>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71" name="Freeform 7">
                      <a:extLst>
                        <a:ext uri="{FF2B5EF4-FFF2-40B4-BE49-F238E27FC236}">
                          <a16:creationId xmlns:a16="http://schemas.microsoft.com/office/drawing/2014/main" id="{807C5EFE-FC4E-8041-A17B-906E86F96010}"/>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grpSp>
              <p:grpSp>
                <p:nvGrpSpPr>
                  <p:cNvPr id="367" name="Group 4">
                    <a:extLst>
                      <a:ext uri="{FF2B5EF4-FFF2-40B4-BE49-F238E27FC236}">
                        <a16:creationId xmlns:a16="http://schemas.microsoft.com/office/drawing/2014/main" id="{22B663F2-38BB-E64F-B7C2-AF14ECE63D92}"/>
                      </a:ext>
                    </a:extLst>
                  </p:cNvPr>
                  <p:cNvGrpSpPr>
                    <a:grpSpLocks noChangeAspect="1"/>
                  </p:cNvGrpSpPr>
                  <p:nvPr/>
                </p:nvGrpSpPr>
                <p:grpSpPr bwMode="auto">
                  <a:xfrm>
                    <a:off x="6846910" y="-20377"/>
                    <a:ext cx="576021" cy="1234332"/>
                    <a:chOff x="598" y="1936"/>
                    <a:chExt cx="287" cy="615"/>
                  </a:xfrm>
                  <a:solidFill>
                    <a:schemeClr val="accent5"/>
                  </a:solidFill>
                </p:grpSpPr>
                <p:sp>
                  <p:nvSpPr>
                    <p:cNvPr id="368" name="Freeform 6">
                      <a:extLst>
                        <a:ext uri="{FF2B5EF4-FFF2-40B4-BE49-F238E27FC236}">
                          <a16:creationId xmlns:a16="http://schemas.microsoft.com/office/drawing/2014/main" id="{D95308E3-22FB-9942-9E20-BA9B91BE8D84}"/>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369" name="Freeform 7">
                      <a:extLst>
                        <a:ext uri="{FF2B5EF4-FFF2-40B4-BE49-F238E27FC236}">
                          <a16:creationId xmlns:a16="http://schemas.microsoft.com/office/drawing/2014/main" id="{CCA3DA7F-5DFA-144B-A7B7-AA998A8C8052}"/>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grpSp>
            </p:grpSp>
            <p:grpSp>
              <p:nvGrpSpPr>
                <p:cNvPr id="390" name="Group 389">
                  <a:extLst>
                    <a:ext uri="{FF2B5EF4-FFF2-40B4-BE49-F238E27FC236}">
                      <a16:creationId xmlns:a16="http://schemas.microsoft.com/office/drawing/2014/main" id="{C442A42F-1347-9B4B-A5EB-329845D315E9}"/>
                    </a:ext>
                  </a:extLst>
                </p:cNvPr>
                <p:cNvGrpSpPr>
                  <a:grpSpLocks noChangeAspect="1"/>
                </p:cNvGrpSpPr>
                <p:nvPr/>
              </p:nvGrpSpPr>
              <p:grpSpPr>
                <a:xfrm>
                  <a:off x="8629892" y="1735518"/>
                  <a:ext cx="1078991" cy="1078992"/>
                  <a:chOff x="4764640" y="545356"/>
                  <a:chExt cx="2874351" cy="2874352"/>
                </a:xfrm>
              </p:grpSpPr>
              <p:sp>
                <p:nvSpPr>
                  <p:cNvPr id="391" name="Oval 390">
                    <a:extLst>
                      <a:ext uri="{FF2B5EF4-FFF2-40B4-BE49-F238E27FC236}">
                        <a16:creationId xmlns:a16="http://schemas.microsoft.com/office/drawing/2014/main" id="{30316B94-8353-684C-AAA6-A43EBAF7BA72}"/>
                      </a:ext>
                    </a:extLst>
                  </p:cNvPr>
                  <p:cNvSpPr/>
                  <p:nvPr/>
                </p:nvSpPr>
                <p:spPr>
                  <a:xfrm>
                    <a:off x="4764640" y="545356"/>
                    <a:ext cx="2874351" cy="2874351"/>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2"/>
                    <a:endParaRPr lang="en-US" dirty="0">
                      <a:solidFill>
                        <a:srgbClr val="005073"/>
                      </a:solidFill>
                      <a:latin typeface="CiscoSansTT ExtraLight"/>
                    </a:endParaRPr>
                  </a:p>
                </p:txBody>
              </p:sp>
              <p:sp>
                <p:nvSpPr>
                  <p:cNvPr id="392" name="Freeform 391">
                    <a:extLst>
                      <a:ext uri="{FF2B5EF4-FFF2-40B4-BE49-F238E27FC236}">
                        <a16:creationId xmlns:a16="http://schemas.microsoft.com/office/drawing/2014/main" id="{51067D5A-6EC0-724C-8AB9-058AD42F54A8}"/>
                      </a:ext>
                    </a:extLst>
                  </p:cNvPr>
                  <p:cNvSpPr>
                    <a:spLocks noChangeArrowheads="1"/>
                  </p:cNvSpPr>
                  <p:nvPr/>
                </p:nvSpPr>
                <p:spPr bwMode="auto">
                  <a:xfrm>
                    <a:off x="5608745" y="1551454"/>
                    <a:ext cx="1185648" cy="1868254"/>
                  </a:xfrm>
                  <a:custGeom>
                    <a:avLst/>
                    <a:gdLst>
                      <a:gd name="connsiteX0" fmla="*/ 0 w 1185648"/>
                      <a:gd name="connsiteY0" fmla="*/ 0 h 1868254"/>
                      <a:gd name="connsiteX1" fmla="*/ 1185648 w 1185648"/>
                      <a:gd name="connsiteY1" fmla="*/ 0 h 1868254"/>
                      <a:gd name="connsiteX2" fmla="*/ 1185648 w 1185648"/>
                      <a:gd name="connsiteY2" fmla="*/ 1739338 h 1868254"/>
                      <a:gd name="connsiteX3" fmla="*/ 1152485 w 1185648"/>
                      <a:gd name="connsiteY3" fmla="*/ 1755314 h 1868254"/>
                      <a:gd name="connsiteX4" fmla="*/ 593071 w 1185648"/>
                      <a:gd name="connsiteY4" fmla="*/ 1868254 h 1868254"/>
                      <a:gd name="connsiteX5" fmla="*/ 33658 w 1185648"/>
                      <a:gd name="connsiteY5" fmla="*/ 1755314 h 1868254"/>
                      <a:gd name="connsiteX6" fmla="*/ 0 w 1185648"/>
                      <a:gd name="connsiteY6" fmla="*/ 1739100 h 186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5648" h="1868254">
                        <a:moveTo>
                          <a:pt x="0" y="0"/>
                        </a:moveTo>
                        <a:lnTo>
                          <a:pt x="1185648" y="0"/>
                        </a:lnTo>
                        <a:lnTo>
                          <a:pt x="1185648" y="1739338"/>
                        </a:lnTo>
                        <a:lnTo>
                          <a:pt x="1152485" y="1755314"/>
                        </a:lnTo>
                        <a:cubicBezTo>
                          <a:pt x="980543" y="1828039"/>
                          <a:pt x="791504" y="1868254"/>
                          <a:pt x="593071" y="1868254"/>
                        </a:cubicBezTo>
                        <a:cubicBezTo>
                          <a:pt x="394639" y="1868254"/>
                          <a:pt x="205599" y="1828039"/>
                          <a:pt x="33658" y="1755314"/>
                        </a:cubicBezTo>
                        <a:lnTo>
                          <a:pt x="0" y="1739100"/>
                        </a:lnTo>
                        <a:close/>
                      </a:path>
                    </a:pathLst>
                  </a:custGeom>
                  <a:solidFill>
                    <a:schemeClr val="accent2"/>
                  </a:solidFill>
                  <a:ln>
                    <a:noFill/>
                  </a:ln>
                  <a:effectLst/>
                  <a:extLst>
                    <a:ext uri="{91240B29-F687-4F45-9708-019B960494DF}">
                      <a14:hiddenLine xmlns:a14="http://schemas.microsoft.com/office/drawing/2010/main" w="9525" cap="flat">
                        <a:solidFill>
                          <a:srgbClr val="27BDE8"/>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342892"/>
                    <a:endParaRPr lang="en-US" dirty="0">
                      <a:solidFill>
                        <a:srgbClr val="282828"/>
                      </a:solidFill>
                    </a:endParaRPr>
                  </a:p>
                </p:txBody>
              </p:sp>
              <p:sp>
                <p:nvSpPr>
                  <p:cNvPr id="393" name="Freeform 392">
                    <a:extLst>
                      <a:ext uri="{FF2B5EF4-FFF2-40B4-BE49-F238E27FC236}">
                        <a16:creationId xmlns:a16="http://schemas.microsoft.com/office/drawing/2014/main" id="{2711221C-399B-6C42-A820-76C4830ED493}"/>
                      </a:ext>
                    </a:extLst>
                  </p:cNvPr>
                  <p:cNvSpPr>
                    <a:spLocks noChangeArrowheads="1"/>
                  </p:cNvSpPr>
                  <p:nvPr/>
                </p:nvSpPr>
                <p:spPr bwMode="auto">
                  <a:xfrm>
                    <a:off x="5820104" y="1769095"/>
                    <a:ext cx="763426" cy="900540"/>
                  </a:xfrm>
                  <a:custGeom>
                    <a:avLst/>
                    <a:gdLst>
                      <a:gd name="connsiteX0" fmla="*/ 715088 w 957383"/>
                      <a:gd name="connsiteY0" fmla="*/ 908871 h 1129332"/>
                      <a:gd name="connsiteX1" fmla="*/ 957383 w 957383"/>
                      <a:gd name="connsiteY1" fmla="*/ 908871 h 1129332"/>
                      <a:gd name="connsiteX2" fmla="*/ 957383 w 957383"/>
                      <a:gd name="connsiteY2" fmla="*/ 1129332 h 1129332"/>
                      <a:gd name="connsiteX3" fmla="*/ 715088 w 957383"/>
                      <a:gd name="connsiteY3" fmla="*/ 1129332 h 1129332"/>
                      <a:gd name="connsiteX4" fmla="*/ 357543 w 957383"/>
                      <a:gd name="connsiteY4" fmla="*/ 908871 h 1129332"/>
                      <a:gd name="connsiteX5" fmla="*/ 602562 w 957383"/>
                      <a:gd name="connsiteY5" fmla="*/ 908871 h 1129332"/>
                      <a:gd name="connsiteX6" fmla="*/ 602562 w 957383"/>
                      <a:gd name="connsiteY6" fmla="*/ 1129332 h 1129332"/>
                      <a:gd name="connsiteX7" fmla="*/ 357543 w 957383"/>
                      <a:gd name="connsiteY7" fmla="*/ 1129332 h 1129332"/>
                      <a:gd name="connsiteX8" fmla="*/ 0 w 957383"/>
                      <a:gd name="connsiteY8" fmla="*/ 908871 h 1129332"/>
                      <a:gd name="connsiteX9" fmla="*/ 242294 w 957383"/>
                      <a:gd name="connsiteY9" fmla="*/ 908871 h 1129332"/>
                      <a:gd name="connsiteX10" fmla="*/ 242294 w 957383"/>
                      <a:gd name="connsiteY10" fmla="*/ 1129332 h 1129332"/>
                      <a:gd name="connsiteX11" fmla="*/ 0 w 957383"/>
                      <a:gd name="connsiteY11" fmla="*/ 1129332 h 1129332"/>
                      <a:gd name="connsiteX12" fmla="*/ 715088 w 957383"/>
                      <a:gd name="connsiteY12" fmla="*/ 600456 h 1129332"/>
                      <a:gd name="connsiteX13" fmla="*/ 957383 w 957383"/>
                      <a:gd name="connsiteY13" fmla="*/ 600456 h 1129332"/>
                      <a:gd name="connsiteX14" fmla="*/ 957383 w 957383"/>
                      <a:gd name="connsiteY14" fmla="*/ 820914 h 1129332"/>
                      <a:gd name="connsiteX15" fmla="*/ 715088 w 957383"/>
                      <a:gd name="connsiteY15" fmla="*/ 820914 h 1129332"/>
                      <a:gd name="connsiteX16" fmla="*/ 357543 w 957383"/>
                      <a:gd name="connsiteY16" fmla="*/ 600456 h 1129332"/>
                      <a:gd name="connsiteX17" fmla="*/ 602562 w 957383"/>
                      <a:gd name="connsiteY17" fmla="*/ 600456 h 1129332"/>
                      <a:gd name="connsiteX18" fmla="*/ 602562 w 957383"/>
                      <a:gd name="connsiteY18" fmla="*/ 820914 h 1129332"/>
                      <a:gd name="connsiteX19" fmla="*/ 357543 w 957383"/>
                      <a:gd name="connsiteY19" fmla="*/ 820914 h 1129332"/>
                      <a:gd name="connsiteX20" fmla="*/ 0 w 957383"/>
                      <a:gd name="connsiteY20" fmla="*/ 600456 h 1129332"/>
                      <a:gd name="connsiteX21" fmla="*/ 242294 w 957383"/>
                      <a:gd name="connsiteY21" fmla="*/ 600456 h 1129332"/>
                      <a:gd name="connsiteX22" fmla="*/ 242294 w 957383"/>
                      <a:gd name="connsiteY22" fmla="*/ 820914 h 1129332"/>
                      <a:gd name="connsiteX23" fmla="*/ 0 w 957383"/>
                      <a:gd name="connsiteY23" fmla="*/ 820914 h 1129332"/>
                      <a:gd name="connsiteX24" fmla="*/ 715088 w 957383"/>
                      <a:gd name="connsiteY24" fmla="*/ 300228 h 1129332"/>
                      <a:gd name="connsiteX25" fmla="*/ 957383 w 957383"/>
                      <a:gd name="connsiteY25" fmla="*/ 300228 h 1129332"/>
                      <a:gd name="connsiteX26" fmla="*/ 957383 w 957383"/>
                      <a:gd name="connsiteY26" fmla="*/ 520688 h 1129332"/>
                      <a:gd name="connsiteX27" fmla="*/ 715088 w 957383"/>
                      <a:gd name="connsiteY27" fmla="*/ 520688 h 1129332"/>
                      <a:gd name="connsiteX28" fmla="*/ 357543 w 957383"/>
                      <a:gd name="connsiteY28" fmla="*/ 300228 h 1129332"/>
                      <a:gd name="connsiteX29" fmla="*/ 602562 w 957383"/>
                      <a:gd name="connsiteY29" fmla="*/ 300228 h 1129332"/>
                      <a:gd name="connsiteX30" fmla="*/ 602562 w 957383"/>
                      <a:gd name="connsiteY30" fmla="*/ 520688 h 1129332"/>
                      <a:gd name="connsiteX31" fmla="*/ 357543 w 957383"/>
                      <a:gd name="connsiteY31" fmla="*/ 520688 h 1129332"/>
                      <a:gd name="connsiteX32" fmla="*/ 0 w 957383"/>
                      <a:gd name="connsiteY32" fmla="*/ 300228 h 1129332"/>
                      <a:gd name="connsiteX33" fmla="*/ 242294 w 957383"/>
                      <a:gd name="connsiteY33" fmla="*/ 300228 h 1129332"/>
                      <a:gd name="connsiteX34" fmla="*/ 242294 w 957383"/>
                      <a:gd name="connsiteY34" fmla="*/ 520688 h 1129332"/>
                      <a:gd name="connsiteX35" fmla="*/ 0 w 957383"/>
                      <a:gd name="connsiteY35" fmla="*/ 520688 h 1129332"/>
                      <a:gd name="connsiteX36" fmla="*/ 715088 w 957383"/>
                      <a:gd name="connsiteY36" fmla="*/ 0 h 1129332"/>
                      <a:gd name="connsiteX37" fmla="*/ 957383 w 957383"/>
                      <a:gd name="connsiteY37" fmla="*/ 0 h 1129332"/>
                      <a:gd name="connsiteX38" fmla="*/ 957383 w 957383"/>
                      <a:gd name="connsiteY38" fmla="*/ 220460 h 1129332"/>
                      <a:gd name="connsiteX39" fmla="*/ 715088 w 957383"/>
                      <a:gd name="connsiteY39" fmla="*/ 220460 h 1129332"/>
                      <a:gd name="connsiteX40" fmla="*/ 357543 w 957383"/>
                      <a:gd name="connsiteY40" fmla="*/ 0 h 1129332"/>
                      <a:gd name="connsiteX41" fmla="*/ 602562 w 957383"/>
                      <a:gd name="connsiteY41" fmla="*/ 0 h 1129332"/>
                      <a:gd name="connsiteX42" fmla="*/ 602562 w 957383"/>
                      <a:gd name="connsiteY42" fmla="*/ 220460 h 1129332"/>
                      <a:gd name="connsiteX43" fmla="*/ 357543 w 957383"/>
                      <a:gd name="connsiteY43" fmla="*/ 220460 h 1129332"/>
                      <a:gd name="connsiteX44" fmla="*/ 0 w 957383"/>
                      <a:gd name="connsiteY44" fmla="*/ 0 h 1129332"/>
                      <a:gd name="connsiteX45" fmla="*/ 242294 w 957383"/>
                      <a:gd name="connsiteY45" fmla="*/ 0 h 1129332"/>
                      <a:gd name="connsiteX46" fmla="*/ 242294 w 957383"/>
                      <a:gd name="connsiteY46" fmla="*/ 220460 h 1129332"/>
                      <a:gd name="connsiteX47" fmla="*/ 0 w 957383"/>
                      <a:gd name="connsiteY47" fmla="*/ 220460 h 112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57383" h="1129332">
                        <a:moveTo>
                          <a:pt x="715088" y="908871"/>
                        </a:moveTo>
                        <a:lnTo>
                          <a:pt x="957383" y="908871"/>
                        </a:lnTo>
                        <a:lnTo>
                          <a:pt x="957383" y="1129332"/>
                        </a:lnTo>
                        <a:lnTo>
                          <a:pt x="715088" y="1129332"/>
                        </a:lnTo>
                        <a:close/>
                        <a:moveTo>
                          <a:pt x="357543" y="908871"/>
                        </a:moveTo>
                        <a:lnTo>
                          <a:pt x="602562" y="908871"/>
                        </a:lnTo>
                        <a:lnTo>
                          <a:pt x="602562" y="1129332"/>
                        </a:lnTo>
                        <a:lnTo>
                          <a:pt x="357543" y="1129332"/>
                        </a:lnTo>
                        <a:close/>
                        <a:moveTo>
                          <a:pt x="0" y="908871"/>
                        </a:moveTo>
                        <a:lnTo>
                          <a:pt x="242294" y="908871"/>
                        </a:lnTo>
                        <a:lnTo>
                          <a:pt x="242294" y="1129332"/>
                        </a:lnTo>
                        <a:lnTo>
                          <a:pt x="0" y="1129332"/>
                        </a:lnTo>
                        <a:close/>
                        <a:moveTo>
                          <a:pt x="715088" y="600456"/>
                        </a:moveTo>
                        <a:lnTo>
                          <a:pt x="957383" y="600456"/>
                        </a:lnTo>
                        <a:lnTo>
                          <a:pt x="957383" y="820914"/>
                        </a:lnTo>
                        <a:lnTo>
                          <a:pt x="715088" y="820914"/>
                        </a:lnTo>
                        <a:close/>
                        <a:moveTo>
                          <a:pt x="357543" y="600456"/>
                        </a:moveTo>
                        <a:lnTo>
                          <a:pt x="602562" y="600456"/>
                        </a:lnTo>
                        <a:lnTo>
                          <a:pt x="602562" y="820914"/>
                        </a:lnTo>
                        <a:lnTo>
                          <a:pt x="357543" y="820914"/>
                        </a:lnTo>
                        <a:close/>
                        <a:moveTo>
                          <a:pt x="0" y="600456"/>
                        </a:moveTo>
                        <a:lnTo>
                          <a:pt x="242294" y="600456"/>
                        </a:lnTo>
                        <a:lnTo>
                          <a:pt x="242294" y="820914"/>
                        </a:lnTo>
                        <a:lnTo>
                          <a:pt x="0" y="820914"/>
                        </a:lnTo>
                        <a:close/>
                        <a:moveTo>
                          <a:pt x="715088" y="300228"/>
                        </a:moveTo>
                        <a:lnTo>
                          <a:pt x="957383" y="300228"/>
                        </a:lnTo>
                        <a:lnTo>
                          <a:pt x="957383" y="520688"/>
                        </a:lnTo>
                        <a:lnTo>
                          <a:pt x="715088" y="520688"/>
                        </a:lnTo>
                        <a:close/>
                        <a:moveTo>
                          <a:pt x="357543" y="300228"/>
                        </a:moveTo>
                        <a:lnTo>
                          <a:pt x="602562" y="300228"/>
                        </a:lnTo>
                        <a:lnTo>
                          <a:pt x="602562" y="520688"/>
                        </a:lnTo>
                        <a:lnTo>
                          <a:pt x="357543" y="520688"/>
                        </a:lnTo>
                        <a:close/>
                        <a:moveTo>
                          <a:pt x="0" y="300228"/>
                        </a:moveTo>
                        <a:lnTo>
                          <a:pt x="242294" y="300228"/>
                        </a:lnTo>
                        <a:lnTo>
                          <a:pt x="242294" y="520688"/>
                        </a:lnTo>
                        <a:lnTo>
                          <a:pt x="0" y="520688"/>
                        </a:lnTo>
                        <a:close/>
                        <a:moveTo>
                          <a:pt x="715088" y="0"/>
                        </a:moveTo>
                        <a:lnTo>
                          <a:pt x="957383" y="0"/>
                        </a:lnTo>
                        <a:lnTo>
                          <a:pt x="957383" y="220460"/>
                        </a:lnTo>
                        <a:lnTo>
                          <a:pt x="715088" y="220460"/>
                        </a:lnTo>
                        <a:close/>
                        <a:moveTo>
                          <a:pt x="357543" y="0"/>
                        </a:moveTo>
                        <a:lnTo>
                          <a:pt x="602562" y="0"/>
                        </a:lnTo>
                        <a:lnTo>
                          <a:pt x="602562" y="220460"/>
                        </a:lnTo>
                        <a:lnTo>
                          <a:pt x="357543" y="220460"/>
                        </a:lnTo>
                        <a:close/>
                        <a:moveTo>
                          <a:pt x="0" y="0"/>
                        </a:moveTo>
                        <a:lnTo>
                          <a:pt x="242294" y="0"/>
                        </a:lnTo>
                        <a:lnTo>
                          <a:pt x="242294" y="220460"/>
                        </a:lnTo>
                        <a:lnTo>
                          <a:pt x="0" y="220460"/>
                        </a:lnTo>
                        <a:close/>
                      </a:path>
                    </a:pathLst>
                  </a:custGeom>
                  <a:solidFill>
                    <a:schemeClr val="tx2"/>
                  </a:solidFill>
                  <a:ln>
                    <a:noFill/>
                  </a:ln>
                  <a:effectLst/>
                  <a:extLst>
                    <a:ext uri="{91240B29-F687-4F45-9708-019B960494DF}">
                      <a14:hiddenLine xmlns:a14="http://schemas.microsoft.com/office/drawing/2010/main" w="9525" cap="flat">
                        <a:solidFill>
                          <a:srgbClr val="27BDE8"/>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342892"/>
                    <a:endParaRPr lang="en-US" dirty="0">
                      <a:solidFill>
                        <a:srgbClr val="282828"/>
                      </a:solidFill>
                    </a:endParaRPr>
                  </a:p>
                </p:txBody>
              </p:sp>
              <p:sp>
                <p:nvSpPr>
                  <p:cNvPr id="394" name="Freeform 393">
                    <a:extLst>
                      <a:ext uri="{FF2B5EF4-FFF2-40B4-BE49-F238E27FC236}">
                        <a16:creationId xmlns:a16="http://schemas.microsoft.com/office/drawing/2014/main" id="{6203A1F3-C746-2042-8026-0B9992E9E2BF}"/>
                      </a:ext>
                    </a:extLst>
                  </p:cNvPr>
                  <p:cNvSpPr>
                    <a:spLocks noChangeArrowheads="1"/>
                  </p:cNvSpPr>
                  <p:nvPr/>
                </p:nvSpPr>
                <p:spPr bwMode="auto">
                  <a:xfrm>
                    <a:off x="5074556" y="841947"/>
                    <a:ext cx="2254518" cy="1808097"/>
                  </a:xfrm>
                  <a:custGeom>
                    <a:avLst/>
                    <a:gdLst>
                      <a:gd name="connsiteX0" fmla="*/ 517665 w 2827303"/>
                      <a:gd name="connsiteY0" fmla="*/ 1993549 h 2267463"/>
                      <a:gd name="connsiteX1" fmla="*/ 559166 w 2827303"/>
                      <a:gd name="connsiteY1" fmla="*/ 2018394 h 2267463"/>
                      <a:gd name="connsiteX2" fmla="*/ 546824 w 2827303"/>
                      <a:gd name="connsiteY2" fmla="*/ 2105972 h 2267463"/>
                      <a:gd name="connsiteX3" fmla="*/ 352433 w 2827303"/>
                      <a:gd name="connsiteY3" fmla="*/ 2255041 h 2267463"/>
                      <a:gd name="connsiteX4" fmla="*/ 314172 w 2827303"/>
                      <a:gd name="connsiteY4" fmla="*/ 2267463 h 2267463"/>
                      <a:gd name="connsiteX5" fmla="*/ 264803 w 2827303"/>
                      <a:gd name="connsiteY5" fmla="*/ 2242618 h 2267463"/>
                      <a:gd name="connsiteX6" fmla="*/ 277145 w 2827303"/>
                      <a:gd name="connsiteY6" fmla="*/ 2153798 h 2267463"/>
                      <a:gd name="connsiteX7" fmla="*/ 471536 w 2827303"/>
                      <a:gd name="connsiteY7" fmla="*/ 2005971 h 2267463"/>
                      <a:gd name="connsiteX8" fmla="*/ 517665 w 2827303"/>
                      <a:gd name="connsiteY8" fmla="*/ 1993549 h 2267463"/>
                      <a:gd name="connsiteX9" fmla="*/ 2309874 w 2827303"/>
                      <a:gd name="connsiteY9" fmla="*/ 1993549 h 2267463"/>
                      <a:gd name="connsiteX10" fmla="*/ 2355771 w 2827303"/>
                      <a:gd name="connsiteY10" fmla="*/ 2005971 h 2267463"/>
                      <a:gd name="connsiteX11" fmla="*/ 2550162 w 2827303"/>
                      <a:gd name="connsiteY11" fmla="*/ 2153798 h 2267463"/>
                      <a:gd name="connsiteX12" fmla="*/ 2562504 w 2827303"/>
                      <a:gd name="connsiteY12" fmla="*/ 2242618 h 2267463"/>
                      <a:gd name="connsiteX13" fmla="*/ 2513135 w 2827303"/>
                      <a:gd name="connsiteY13" fmla="*/ 2267463 h 2267463"/>
                      <a:gd name="connsiteX14" fmla="*/ 2474874 w 2827303"/>
                      <a:gd name="connsiteY14" fmla="*/ 2255041 h 2267463"/>
                      <a:gd name="connsiteX15" fmla="*/ 2280483 w 2827303"/>
                      <a:gd name="connsiteY15" fmla="*/ 2105972 h 2267463"/>
                      <a:gd name="connsiteX16" fmla="*/ 2268141 w 2827303"/>
                      <a:gd name="connsiteY16" fmla="*/ 2018394 h 2267463"/>
                      <a:gd name="connsiteX17" fmla="*/ 2309874 w 2827303"/>
                      <a:gd name="connsiteY17" fmla="*/ 1993549 h 2267463"/>
                      <a:gd name="connsiteX18" fmla="*/ 2468371 w 2827303"/>
                      <a:gd name="connsiteY18" fmla="*/ 1686315 h 2267463"/>
                      <a:gd name="connsiteX19" fmla="*/ 2493115 w 2827303"/>
                      <a:gd name="connsiteY19" fmla="*/ 1689085 h 2267463"/>
                      <a:gd name="connsiteX20" fmla="*/ 2725885 w 2827303"/>
                      <a:gd name="connsiteY20" fmla="*/ 1764718 h 2267463"/>
                      <a:gd name="connsiteX21" fmla="*/ 2766125 w 2827303"/>
                      <a:gd name="connsiteY21" fmla="*/ 1844070 h 2267463"/>
                      <a:gd name="connsiteX22" fmla="*/ 2706694 w 2827303"/>
                      <a:gd name="connsiteY22" fmla="*/ 1888086 h 2267463"/>
                      <a:gd name="connsiteX23" fmla="*/ 2686884 w 2827303"/>
                      <a:gd name="connsiteY23" fmla="*/ 1884366 h 2267463"/>
                      <a:gd name="connsiteX24" fmla="*/ 2454113 w 2827303"/>
                      <a:gd name="connsiteY24" fmla="*/ 1808733 h 2267463"/>
                      <a:gd name="connsiteX25" fmla="*/ 2413873 w 2827303"/>
                      <a:gd name="connsiteY25" fmla="*/ 1729381 h 2267463"/>
                      <a:gd name="connsiteX26" fmla="*/ 2468371 w 2827303"/>
                      <a:gd name="connsiteY26" fmla="*/ 1686315 h 2267463"/>
                      <a:gd name="connsiteX27" fmla="*/ 361415 w 2827303"/>
                      <a:gd name="connsiteY27" fmla="*/ 1686315 h 2267463"/>
                      <a:gd name="connsiteX28" fmla="*/ 415562 w 2827303"/>
                      <a:gd name="connsiteY28" fmla="*/ 1729381 h 2267463"/>
                      <a:gd name="connsiteX29" fmla="*/ 376007 w 2827303"/>
                      <a:gd name="connsiteY29" fmla="*/ 1808733 h 2267463"/>
                      <a:gd name="connsiteX30" fmla="*/ 143001 w 2827303"/>
                      <a:gd name="connsiteY30" fmla="*/ 1884366 h 2267463"/>
                      <a:gd name="connsiteX31" fmla="*/ 123842 w 2827303"/>
                      <a:gd name="connsiteY31" fmla="*/ 1888086 h 2267463"/>
                      <a:gd name="connsiteX32" fmla="*/ 63891 w 2827303"/>
                      <a:gd name="connsiteY32" fmla="*/ 1844070 h 2267463"/>
                      <a:gd name="connsiteX33" fmla="*/ 104064 w 2827303"/>
                      <a:gd name="connsiteY33" fmla="*/ 1764718 h 2267463"/>
                      <a:gd name="connsiteX34" fmla="*/ 336451 w 2827303"/>
                      <a:gd name="connsiteY34" fmla="*/ 1689085 h 2267463"/>
                      <a:gd name="connsiteX35" fmla="*/ 361415 w 2827303"/>
                      <a:gd name="connsiteY35" fmla="*/ 1686315 h 2267463"/>
                      <a:gd name="connsiteX36" fmla="*/ 2520425 w 2827303"/>
                      <a:gd name="connsiteY36" fmla="*/ 1346802 h 2267463"/>
                      <a:gd name="connsiteX37" fmla="*/ 2765772 w 2827303"/>
                      <a:gd name="connsiteY37" fmla="*/ 1351128 h 2267463"/>
                      <a:gd name="connsiteX38" fmla="*/ 2827264 w 2827303"/>
                      <a:gd name="connsiteY38" fmla="*/ 1414778 h 2267463"/>
                      <a:gd name="connsiteX39" fmla="*/ 2765151 w 2827303"/>
                      <a:gd name="connsiteY39" fmla="*/ 1475957 h 2267463"/>
                      <a:gd name="connsiteX40" fmla="*/ 2763287 w 2827303"/>
                      <a:gd name="connsiteY40" fmla="*/ 1475957 h 2267463"/>
                      <a:gd name="connsiteX41" fmla="*/ 2517941 w 2827303"/>
                      <a:gd name="connsiteY41" fmla="*/ 1471631 h 2267463"/>
                      <a:gd name="connsiteX42" fmla="*/ 2456449 w 2827303"/>
                      <a:gd name="connsiteY42" fmla="*/ 1407981 h 2267463"/>
                      <a:gd name="connsiteX43" fmla="*/ 2520425 w 2827303"/>
                      <a:gd name="connsiteY43" fmla="*/ 1346802 h 2267463"/>
                      <a:gd name="connsiteX44" fmla="*/ 307499 w 2827303"/>
                      <a:gd name="connsiteY44" fmla="*/ 1346802 h 2267463"/>
                      <a:gd name="connsiteX45" fmla="*/ 370854 w 2827303"/>
                      <a:gd name="connsiteY45" fmla="*/ 1407981 h 2267463"/>
                      <a:gd name="connsiteX46" fmla="*/ 309362 w 2827303"/>
                      <a:gd name="connsiteY46" fmla="*/ 1471631 h 2267463"/>
                      <a:gd name="connsiteX47" fmla="*/ 64016 w 2827303"/>
                      <a:gd name="connsiteY47" fmla="*/ 1475957 h 2267463"/>
                      <a:gd name="connsiteX48" fmla="*/ 62152 w 2827303"/>
                      <a:gd name="connsiteY48" fmla="*/ 1475957 h 2267463"/>
                      <a:gd name="connsiteX49" fmla="*/ 39 w 2827303"/>
                      <a:gd name="connsiteY49" fmla="*/ 1414778 h 2267463"/>
                      <a:gd name="connsiteX50" fmla="*/ 61531 w 2827303"/>
                      <a:gd name="connsiteY50" fmla="*/ 1351128 h 2267463"/>
                      <a:gd name="connsiteX51" fmla="*/ 307499 w 2827303"/>
                      <a:gd name="connsiteY51" fmla="*/ 1346802 h 2267463"/>
                      <a:gd name="connsiteX52" fmla="*/ 2706299 w 2827303"/>
                      <a:gd name="connsiteY52" fmla="*/ 925308 h 2267463"/>
                      <a:gd name="connsiteX53" fmla="*/ 2760704 w 2827303"/>
                      <a:gd name="connsiteY53" fmla="*/ 969289 h 2267463"/>
                      <a:gd name="connsiteX54" fmla="*/ 2719980 w 2827303"/>
                      <a:gd name="connsiteY54" fmla="*/ 1047632 h 2267463"/>
                      <a:gd name="connsiteX55" fmla="*/ 2487360 w 2827303"/>
                      <a:gd name="connsiteY55" fmla="*/ 1122866 h 2267463"/>
                      <a:gd name="connsiteX56" fmla="*/ 2468232 w 2827303"/>
                      <a:gd name="connsiteY56" fmla="*/ 1126597 h 2267463"/>
                      <a:gd name="connsiteX57" fmla="*/ 2408381 w 2827303"/>
                      <a:gd name="connsiteY57" fmla="*/ 1082451 h 2267463"/>
                      <a:gd name="connsiteX58" fmla="*/ 2449105 w 2827303"/>
                      <a:gd name="connsiteY58" fmla="*/ 1002864 h 2267463"/>
                      <a:gd name="connsiteX59" fmla="*/ 2681724 w 2827303"/>
                      <a:gd name="connsiteY59" fmla="*/ 928252 h 2267463"/>
                      <a:gd name="connsiteX60" fmla="*/ 2706299 w 2827303"/>
                      <a:gd name="connsiteY60" fmla="*/ 925308 h 2267463"/>
                      <a:gd name="connsiteX61" fmla="*/ 122714 w 2827303"/>
                      <a:gd name="connsiteY61" fmla="*/ 925308 h 2267463"/>
                      <a:gd name="connsiteX62" fmla="*/ 147370 w 2827303"/>
                      <a:gd name="connsiteY62" fmla="*/ 928252 h 2267463"/>
                      <a:gd name="connsiteX63" fmla="*/ 380762 w 2827303"/>
                      <a:gd name="connsiteY63" fmla="*/ 1002864 h 2267463"/>
                      <a:gd name="connsiteX64" fmla="*/ 421620 w 2827303"/>
                      <a:gd name="connsiteY64" fmla="*/ 1082451 h 2267463"/>
                      <a:gd name="connsiteX65" fmla="*/ 362189 w 2827303"/>
                      <a:gd name="connsiteY65" fmla="*/ 1126597 h 2267463"/>
                      <a:gd name="connsiteX66" fmla="*/ 342998 w 2827303"/>
                      <a:gd name="connsiteY66" fmla="*/ 1122866 h 2267463"/>
                      <a:gd name="connsiteX67" fmla="*/ 109607 w 2827303"/>
                      <a:gd name="connsiteY67" fmla="*/ 1047632 h 2267463"/>
                      <a:gd name="connsiteX68" fmla="*/ 68129 w 2827303"/>
                      <a:gd name="connsiteY68" fmla="*/ 969289 h 2267463"/>
                      <a:gd name="connsiteX69" fmla="*/ 122714 w 2827303"/>
                      <a:gd name="connsiteY69" fmla="*/ 925308 h 2267463"/>
                      <a:gd name="connsiteX70" fmla="*/ 2523725 w 2827303"/>
                      <a:gd name="connsiteY70" fmla="*/ 546793 h 2267463"/>
                      <a:gd name="connsiteX71" fmla="*/ 2564560 w 2827303"/>
                      <a:gd name="connsiteY71" fmla="*/ 571044 h 2267463"/>
                      <a:gd name="connsiteX72" fmla="*/ 2552186 w 2827303"/>
                      <a:gd name="connsiteY72" fmla="*/ 658161 h 2267463"/>
                      <a:gd name="connsiteX73" fmla="*/ 2356671 w 2827303"/>
                      <a:gd name="connsiteY73" fmla="*/ 805828 h 2267463"/>
                      <a:gd name="connsiteX74" fmla="*/ 2318929 w 2827303"/>
                      <a:gd name="connsiteY74" fmla="*/ 818185 h 2267463"/>
                      <a:gd name="connsiteX75" fmla="*/ 2269431 w 2827303"/>
                      <a:gd name="connsiteY75" fmla="*/ 793471 h 2267463"/>
                      <a:gd name="connsiteX76" fmla="*/ 2281187 w 2827303"/>
                      <a:gd name="connsiteY76" fmla="*/ 706354 h 2267463"/>
                      <a:gd name="connsiteX77" fmla="*/ 2477321 w 2827303"/>
                      <a:gd name="connsiteY77" fmla="*/ 558687 h 2267463"/>
                      <a:gd name="connsiteX78" fmla="*/ 2523725 w 2827303"/>
                      <a:gd name="connsiteY78" fmla="*/ 546793 h 2267463"/>
                      <a:gd name="connsiteX79" fmla="*/ 303616 w 2827303"/>
                      <a:gd name="connsiteY79" fmla="*/ 546793 h 2267463"/>
                      <a:gd name="connsiteX80" fmla="*/ 350183 w 2827303"/>
                      <a:gd name="connsiteY80" fmla="*/ 558687 h 2267463"/>
                      <a:gd name="connsiteX81" fmla="*/ 546676 w 2827303"/>
                      <a:gd name="connsiteY81" fmla="*/ 706354 h 2267463"/>
                      <a:gd name="connsiteX82" fmla="*/ 559073 w 2827303"/>
                      <a:gd name="connsiteY82" fmla="*/ 793471 h 2267463"/>
                      <a:gd name="connsiteX83" fmla="*/ 508245 w 2827303"/>
                      <a:gd name="connsiteY83" fmla="*/ 818185 h 2267463"/>
                      <a:gd name="connsiteX84" fmla="*/ 470434 w 2827303"/>
                      <a:gd name="connsiteY84" fmla="*/ 805828 h 2267463"/>
                      <a:gd name="connsiteX85" fmla="*/ 274561 w 2827303"/>
                      <a:gd name="connsiteY85" fmla="*/ 658161 h 2267463"/>
                      <a:gd name="connsiteX86" fmla="*/ 262164 w 2827303"/>
                      <a:gd name="connsiteY86" fmla="*/ 571044 h 2267463"/>
                      <a:gd name="connsiteX87" fmla="*/ 303616 w 2827303"/>
                      <a:gd name="connsiteY87" fmla="*/ 546793 h 2267463"/>
                      <a:gd name="connsiteX88" fmla="*/ 2199253 w 2827303"/>
                      <a:gd name="connsiteY88" fmla="*/ 256934 h 2267463"/>
                      <a:gd name="connsiteX89" fmla="*/ 2246015 w 2827303"/>
                      <a:gd name="connsiteY89" fmla="*/ 268740 h 2267463"/>
                      <a:gd name="connsiteX90" fmla="*/ 2259574 w 2827303"/>
                      <a:gd name="connsiteY90" fmla="*/ 355778 h 2267463"/>
                      <a:gd name="connsiteX91" fmla="*/ 2114126 w 2827303"/>
                      <a:gd name="connsiteY91" fmla="*/ 552694 h 2267463"/>
                      <a:gd name="connsiteX92" fmla="*/ 2064822 w 2827303"/>
                      <a:gd name="connsiteY92" fmla="*/ 578003 h 2267463"/>
                      <a:gd name="connsiteX93" fmla="*/ 2027228 w 2827303"/>
                      <a:gd name="connsiteY93" fmla="*/ 565657 h 2267463"/>
                      <a:gd name="connsiteX94" fmla="*/ 2014286 w 2827303"/>
                      <a:gd name="connsiteY94" fmla="*/ 478619 h 2267463"/>
                      <a:gd name="connsiteX95" fmla="*/ 2158500 w 2827303"/>
                      <a:gd name="connsiteY95" fmla="*/ 281703 h 2267463"/>
                      <a:gd name="connsiteX96" fmla="*/ 2199253 w 2827303"/>
                      <a:gd name="connsiteY96" fmla="*/ 256934 h 2267463"/>
                      <a:gd name="connsiteX97" fmla="*/ 628648 w 2827303"/>
                      <a:gd name="connsiteY97" fmla="*/ 256934 h 2267463"/>
                      <a:gd name="connsiteX98" fmla="*/ 669701 w 2827303"/>
                      <a:gd name="connsiteY98" fmla="*/ 281703 h 2267463"/>
                      <a:gd name="connsiteX99" fmla="*/ 814976 w 2827303"/>
                      <a:gd name="connsiteY99" fmla="*/ 478619 h 2267463"/>
                      <a:gd name="connsiteX100" fmla="*/ 801939 w 2827303"/>
                      <a:gd name="connsiteY100" fmla="*/ 565657 h 2267463"/>
                      <a:gd name="connsiteX101" fmla="*/ 765310 w 2827303"/>
                      <a:gd name="connsiteY101" fmla="*/ 578003 h 2267463"/>
                      <a:gd name="connsiteX102" fmla="*/ 714401 w 2827303"/>
                      <a:gd name="connsiteY102" fmla="*/ 552694 h 2267463"/>
                      <a:gd name="connsiteX103" fmla="*/ 567883 w 2827303"/>
                      <a:gd name="connsiteY103" fmla="*/ 355778 h 2267463"/>
                      <a:gd name="connsiteX104" fmla="*/ 581542 w 2827303"/>
                      <a:gd name="connsiteY104" fmla="*/ 268740 h 2267463"/>
                      <a:gd name="connsiteX105" fmla="*/ 628648 w 2827303"/>
                      <a:gd name="connsiteY105" fmla="*/ 256934 h 2267463"/>
                      <a:gd name="connsiteX106" fmla="*/ 1822022 w 2827303"/>
                      <a:gd name="connsiteY106" fmla="*/ 62316 h 2267463"/>
                      <a:gd name="connsiteX107" fmla="*/ 1846788 w 2827303"/>
                      <a:gd name="connsiteY107" fmla="*/ 65072 h 2267463"/>
                      <a:gd name="connsiteX108" fmla="*/ 1887222 w 2827303"/>
                      <a:gd name="connsiteY108" fmla="*/ 144016 h 2267463"/>
                      <a:gd name="connsiteX109" fmla="*/ 1810708 w 2827303"/>
                      <a:gd name="connsiteY109" fmla="*/ 376530 h 2267463"/>
                      <a:gd name="connsiteX110" fmla="*/ 1750367 w 2827303"/>
                      <a:gd name="connsiteY110" fmla="*/ 419702 h 2267463"/>
                      <a:gd name="connsiteX111" fmla="*/ 1731083 w 2827303"/>
                      <a:gd name="connsiteY111" fmla="*/ 416002 h 2267463"/>
                      <a:gd name="connsiteX112" fmla="*/ 1690648 w 2827303"/>
                      <a:gd name="connsiteY112" fmla="*/ 337058 h 2267463"/>
                      <a:gd name="connsiteX113" fmla="*/ 1767785 w 2827303"/>
                      <a:gd name="connsiteY113" fmla="*/ 105160 h 2267463"/>
                      <a:gd name="connsiteX114" fmla="*/ 1822022 w 2827303"/>
                      <a:gd name="connsiteY114" fmla="*/ 62316 h 2267463"/>
                      <a:gd name="connsiteX115" fmla="*/ 1008018 w 2827303"/>
                      <a:gd name="connsiteY115" fmla="*/ 62316 h 2267463"/>
                      <a:gd name="connsiteX116" fmla="*/ 1062867 w 2827303"/>
                      <a:gd name="connsiteY116" fmla="*/ 105160 h 2267463"/>
                      <a:gd name="connsiteX117" fmla="*/ 1139381 w 2827303"/>
                      <a:gd name="connsiteY117" fmla="*/ 337058 h 2267463"/>
                      <a:gd name="connsiteX118" fmla="*/ 1098947 w 2827303"/>
                      <a:gd name="connsiteY118" fmla="*/ 416002 h 2267463"/>
                      <a:gd name="connsiteX119" fmla="*/ 1079663 w 2827303"/>
                      <a:gd name="connsiteY119" fmla="*/ 419702 h 2267463"/>
                      <a:gd name="connsiteX120" fmla="*/ 1019944 w 2827303"/>
                      <a:gd name="connsiteY120" fmla="*/ 376530 h 2267463"/>
                      <a:gd name="connsiteX121" fmla="*/ 942807 w 2827303"/>
                      <a:gd name="connsiteY121" fmla="*/ 144016 h 2267463"/>
                      <a:gd name="connsiteX122" fmla="*/ 983242 w 2827303"/>
                      <a:gd name="connsiteY122" fmla="*/ 65072 h 2267463"/>
                      <a:gd name="connsiteX123" fmla="*/ 1008018 w 2827303"/>
                      <a:gd name="connsiteY123" fmla="*/ 62316 h 2267463"/>
                      <a:gd name="connsiteX124" fmla="*/ 1418057 w 2827303"/>
                      <a:gd name="connsiteY124" fmla="*/ 0 h 2267463"/>
                      <a:gd name="connsiteX125" fmla="*/ 1480216 w 2827303"/>
                      <a:gd name="connsiteY125" fmla="*/ 62970 h 2267463"/>
                      <a:gd name="connsiteX126" fmla="*/ 1480216 w 2827303"/>
                      <a:gd name="connsiteY126" fmla="*/ 299415 h 2267463"/>
                      <a:gd name="connsiteX127" fmla="*/ 1418057 w 2827303"/>
                      <a:gd name="connsiteY127" fmla="*/ 362385 h 2267463"/>
                      <a:gd name="connsiteX128" fmla="*/ 1355282 w 2827303"/>
                      <a:gd name="connsiteY128" fmla="*/ 299415 h 2267463"/>
                      <a:gd name="connsiteX129" fmla="*/ 1355282 w 2827303"/>
                      <a:gd name="connsiteY129" fmla="*/ 62970 h 2267463"/>
                      <a:gd name="connsiteX130" fmla="*/ 1418057 w 2827303"/>
                      <a:gd name="connsiteY130" fmla="*/ 0 h 226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2827303" h="2267463">
                        <a:moveTo>
                          <a:pt x="517665" y="1993549"/>
                        </a:moveTo>
                        <a:cubicBezTo>
                          <a:pt x="533556" y="1995878"/>
                          <a:pt x="548675" y="2004418"/>
                          <a:pt x="559166" y="2018394"/>
                        </a:cubicBezTo>
                        <a:cubicBezTo>
                          <a:pt x="579531" y="2045102"/>
                          <a:pt x="574594" y="2085475"/>
                          <a:pt x="546824" y="2105972"/>
                        </a:cubicBezTo>
                        <a:cubicBezTo>
                          <a:pt x="352433" y="2255041"/>
                          <a:pt x="352433" y="2255041"/>
                          <a:pt x="352433" y="2255041"/>
                        </a:cubicBezTo>
                        <a:cubicBezTo>
                          <a:pt x="341325" y="2263115"/>
                          <a:pt x="327748" y="2267463"/>
                          <a:pt x="314172" y="2267463"/>
                        </a:cubicBezTo>
                        <a:cubicBezTo>
                          <a:pt x="295658" y="2267463"/>
                          <a:pt x="277145" y="2258767"/>
                          <a:pt x="264803" y="2242618"/>
                        </a:cubicBezTo>
                        <a:cubicBezTo>
                          <a:pt x="244438" y="2214668"/>
                          <a:pt x="249992" y="2175537"/>
                          <a:pt x="277145" y="2153798"/>
                        </a:cubicBezTo>
                        <a:cubicBezTo>
                          <a:pt x="471536" y="2005971"/>
                          <a:pt x="471536" y="2005971"/>
                          <a:pt x="471536" y="2005971"/>
                        </a:cubicBezTo>
                        <a:cubicBezTo>
                          <a:pt x="485112" y="1995102"/>
                          <a:pt x="501774" y="1991220"/>
                          <a:pt x="517665" y="1993549"/>
                        </a:cubicBezTo>
                        <a:close/>
                        <a:moveTo>
                          <a:pt x="2309874" y="1993549"/>
                        </a:moveTo>
                        <a:cubicBezTo>
                          <a:pt x="2325687" y="1991220"/>
                          <a:pt x="2342195" y="1995102"/>
                          <a:pt x="2355771" y="2005971"/>
                        </a:cubicBezTo>
                        <a:cubicBezTo>
                          <a:pt x="2550162" y="2153798"/>
                          <a:pt x="2550162" y="2153798"/>
                          <a:pt x="2550162" y="2153798"/>
                        </a:cubicBezTo>
                        <a:cubicBezTo>
                          <a:pt x="2577932" y="2175537"/>
                          <a:pt x="2582869" y="2214668"/>
                          <a:pt x="2562504" y="2242618"/>
                        </a:cubicBezTo>
                        <a:cubicBezTo>
                          <a:pt x="2550162" y="2258767"/>
                          <a:pt x="2531649" y="2267463"/>
                          <a:pt x="2513135" y="2267463"/>
                        </a:cubicBezTo>
                        <a:cubicBezTo>
                          <a:pt x="2499559" y="2267463"/>
                          <a:pt x="2486599" y="2263115"/>
                          <a:pt x="2474874" y="2255041"/>
                        </a:cubicBezTo>
                        <a:cubicBezTo>
                          <a:pt x="2280483" y="2105972"/>
                          <a:pt x="2280483" y="2105972"/>
                          <a:pt x="2280483" y="2105972"/>
                        </a:cubicBezTo>
                        <a:cubicBezTo>
                          <a:pt x="2253330" y="2085475"/>
                          <a:pt x="2247776" y="2045102"/>
                          <a:pt x="2268141" y="2018394"/>
                        </a:cubicBezTo>
                        <a:cubicBezTo>
                          <a:pt x="2278941" y="2004418"/>
                          <a:pt x="2294060" y="1995878"/>
                          <a:pt x="2309874" y="1993549"/>
                        </a:cubicBezTo>
                        <a:close/>
                        <a:moveTo>
                          <a:pt x="2468371" y="1686315"/>
                        </a:moveTo>
                        <a:cubicBezTo>
                          <a:pt x="2476516" y="1685598"/>
                          <a:pt x="2484912" y="1686450"/>
                          <a:pt x="2493115" y="1689085"/>
                        </a:cubicBezTo>
                        <a:cubicBezTo>
                          <a:pt x="2725885" y="1764718"/>
                          <a:pt x="2725885" y="1764718"/>
                          <a:pt x="2725885" y="1764718"/>
                        </a:cubicBezTo>
                        <a:cubicBezTo>
                          <a:pt x="2758696" y="1775877"/>
                          <a:pt x="2776649" y="1811213"/>
                          <a:pt x="2766125" y="1844070"/>
                        </a:cubicBezTo>
                        <a:cubicBezTo>
                          <a:pt x="2758077" y="1870728"/>
                          <a:pt x="2733314" y="1888086"/>
                          <a:pt x="2706694" y="1888086"/>
                        </a:cubicBezTo>
                        <a:cubicBezTo>
                          <a:pt x="2700503" y="1888086"/>
                          <a:pt x="2693694" y="1886846"/>
                          <a:pt x="2686884" y="1884366"/>
                        </a:cubicBezTo>
                        <a:cubicBezTo>
                          <a:pt x="2454113" y="1808733"/>
                          <a:pt x="2454113" y="1808733"/>
                          <a:pt x="2454113" y="1808733"/>
                        </a:cubicBezTo>
                        <a:cubicBezTo>
                          <a:pt x="2420683" y="1798194"/>
                          <a:pt x="2403349" y="1762238"/>
                          <a:pt x="2413873" y="1729381"/>
                        </a:cubicBezTo>
                        <a:cubicBezTo>
                          <a:pt x="2421767" y="1704738"/>
                          <a:pt x="2443937" y="1688465"/>
                          <a:pt x="2468371" y="1686315"/>
                        </a:cubicBezTo>
                        <a:close/>
                        <a:moveTo>
                          <a:pt x="361415" y="1686315"/>
                        </a:moveTo>
                        <a:cubicBezTo>
                          <a:pt x="385895" y="1688465"/>
                          <a:pt x="407682" y="1704738"/>
                          <a:pt x="415562" y="1729381"/>
                        </a:cubicBezTo>
                        <a:cubicBezTo>
                          <a:pt x="426687" y="1762238"/>
                          <a:pt x="408763" y="1798194"/>
                          <a:pt x="376007" y="1808733"/>
                        </a:cubicBezTo>
                        <a:cubicBezTo>
                          <a:pt x="143001" y="1884366"/>
                          <a:pt x="143001" y="1884366"/>
                          <a:pt x="143001" y="1884366"/>
                        </a:cubicBezTo>
                        <a:cubicBezTo>
                          <a:pt x="136203" y="1886846"/>
                          <a:pt x="130022" y="1888086"/>
                          <a:pt x="123842" y="1888086"/>
                        </a:cubicBezTo>
                        <a:cubicBezTo>
                          <a:pt x="96647" y="1888086"/>
                          <a:pt x="73161" y="1870728"/>
                          <a:pt x="63891" y="1844070"/>
                        </a:cubicBezTo>
                        <a:cubicBezTo>
                          <a:pt x="53384" y="1811213"/>
                          <a:pt x="71307" y="1775877"/>
                          <a:pt x="104064" y="1764718"/>
                        </a:cubicBezTo>
                        <a:cubicBezTo>
                          <a:pt x="336451" y="1689085"/>
                          <a:pt x="336451" y="1689085"/>
                          <a:pt x="336451" y="1689085"/>
                        </a:cubicBezTo>
                        <a:cubicBezTo>
                          <a:pt x="344795" y="1686450"/>
                          <a:pt x="353254" y="1685598"/>
                          <a:pt x="361415" y="1686315"/>
                        </a:cubicBezTo>
                        <a:close/>
                        <a:moveTo>
                          <a:pt x="2520425" y="1346802"/>
                        </a:moveTo>
                        <a:cubicBezTo>
                          <a:pt x="2765772" y="1351128"/>
                          <a:pt x="2765772" y="1351128"/>
                          <a:pt x="2765772" y="1351128"/>
                        </a:cubicBezTo>
                        <a:cubicBezTo>
                          <a:pt x="2800555" y="1351746"/>
                          <a:pt x="2828506" y="1380172"/>
                          <a:pt x="2827264" y="1414778"/>
                        </a:cubicBezTo>
                        <a:cubicBezTo>
                          <a:pt x="2826643" y="1448766"/>
                          <a:pt x="2799313" y="1475957"/>
                          <a:pt x="2765151" y="1475957"/>
                        </a:cubicBezTo>
                        <a:cubicBezTo>
                          <a:pt x="2763908" y="1475957"/>
                          <a:pt x="2763908" y="1475957"/>
                          <a:pt x="2763287" y="1475957"/>
                        </a:cubicBezTo>
                        <a:cubicBezTo>
                          <a:pt x="2517941" y="1471631"/>
                          <a:pt x="2517941" y="1471631"/>
                          <a:pt x="2517941" y="1471631"/>
                        </a:cubicBezTo>
                        <a:cubicBezTo>
                          <a:pt x="2483157" y="1471013"/>
                          <a:pt x="2455206" y="1442587"/>
                          <a:pt x="2456449" y="1407981"/>
                        </a:cubicBezTo>
                        <a:cubicBezTo>
                          <a:pt x="2457070" y="1373374"/>
                          <a:pt x="2485021" y="1345566"/>
                          <a:pt x="2520425" y="1346802"/>
                        </a:cubicBezTo>
                        <a:close/>
                        <a:moveTo>
                          <a:pt x="307499" y="1346802"/>
                        </a:moveTo>
                        <a:cubicBezTo>
                          <a:pt x="341661" y="1345566"/>
                          <a:pt x="370854" y="1373374"/>
                          <a:pt x="370854" y="1407981"/>
                        </a:cubicBezTo>
                        <a:cubicBezTo>
                          <a:pt x="372097" y="1442587"/>
                          <a:pt x="344146" y="1471013"/>
                          <a:pt x="309362" y="1471631"/>
                        </a:cubicBezTo>
                        <a:cubicBezTo>
                          <a:pt x="64016" y="1475957"/>
                          <a:pt x="64016" y="1475957"/>
                          <a:pt x="64016" y="1475957"/>
                        </a:cubicBezTo>
                        <a:cubicBezTo>
                          <a:pt x="63394" y="1475957"/>
                          <a:pt x="63394" y="1475957"/>
                          <a:pt x="62152" y="1475957"/>
                        </a:cubicBezTo>
                        <a:cubicBezTo>
                          <a:pt x="28611" y="1475957"/>
                          <a:pt x="660" y="1448766"/>
                          <a:pt x="39" y="1414778"/>
                        </a:cubicBezTo>
                        <a:cubicBezTo>
                          <a:pt x="-1203" y="1380172"/>
                          <a:pt x="26748" y="1351746"/>
                          <a:pt x="61531" y="1351128"/>
                        </a:cubicBezTo>
                        <a:cubicBezTo>
                          <a:pt x="307499" y="1346802"/>
                          <a:pt x="307499" y="1346802"/>
                          <a:pt x="307499" y="1346802"/>
                        </a:cubicBezTo>
                        <a:close/>
                        <a:moveTo>
                          <a:pt x="2706299" y="925308"/>
                        </a:moveTo>
                        <a:cubicBezTo>
                          <a:pt x="2730508" y="927552"/>
                          <a:pt x="2752374" y="944573"/>
                          <a:pt x="2760704" y="969289"/>
                        </a:cubicBezTo>
                        <a:cubicBezTo>
                          <a:pt x="2771193" y="1002243"/>
                          <a:pt x="2752682" y="1037062"/>
                          <a:pt x="2719980" y="1047632"/>
                        </a:cubicBezTo>
                        <a:cubicBezTo>
                          <a:pt x="2487360" y="1122866"/>
                          <a:pt x="2487360" y="1122866"/>
                          <a:pt x="2487360" y="1122866"/>
                        </a:cubicBezTo>
                        <a:cubicBezTo>
                          <a:pt x="2480573" y="1125354"/>
                          <a:pt x="2474403" y="1126597"/>
                          <a:pt x="2468232" y="1126597"/>
                        </a:cubicBezTo>
                        <a:cubicBezTo>
                          <a:pt x="2441083" y="1126597"/>
                          <a:pt x="2417636" y="1109187"/>
                          <a:pt x="2408381" y="1082451"/>
                        </a:cubicBezTo>
                        <a:cubicBezTo>
                          <a:pt x="2397891" y="1049497"/>
                          <a:pt x="2416402" y="1014056"/>
                          <a:pt x="2449105" y="1002864"/>
                        </a:cubicBezTo>
                        <a:cubicBezTo>
                          <a:pt x="2681724" y="928252"/>
                          <a:pt x="2681724" y="928252"/>
                          <a:pt x="2681724" y="928252"/>
                        </a:cubicBezTo>
                        <a:cubicBezTo>
                          <a:pt x="2689900" y="925454"/>
                          <a:pt x="2698230" y="924560"/>
                          <a:pt x="2706299" y="925308"/>
                        </a:cubicBezTo>
                        <a:close/>
                        <a:moveTo>
                          <a:pt x="122714" y="925308"/>
                        </a:moveTo>
                        <a:cubicBezTo>
                          <a:pt x="130810" y="924560"/>
                          <a:pt x="139168" y="925454"/>
                          <a:pt x="147370" y="928252"/>
                        </a:cubicBezTo>
                        <a:cubicBezTo>
                          <a:pt x="380762" y="1002864"/>
                          <a:pt x="380762" y="1002864"/>
                          <a:pt x="380762" y="1002864"/>
                        </a:cubicBezTo>
                        <a:cubicBezTo>
                          <a:pt x="414192" y="1014056"/>
                          <a:pt x="432145" y="1049497"/>
                          <a:pt x="421620" y="1082451"/>
                        </a:cubicBezTo>
                        <a:cubicBezTo>
                          <a:pt x="413572" y="1109187"/>
                          <a:pt x="388809" y="1126597"/>
                          <a:pt x="362189" y="1126597"/>
                        </a:cubicBezTo>
                        <a:cubicBezTo>
                          <a:pt x="355999" y="1126597"/>
                          <a:pt x="349189" y="1125354"/>
                          <a:pt x="342998" y="1122866"/>
                        </a:cubicBezTo>
                        <a:cubicBezTo>
                          <a:pt x="109607" y="1047632"/>
                          <a:pt x="109607" y="1047632"/>
                          <a:pt x="109607" y="1047632"/>
                        </a:cubicBezTo>
                        <a:cubicBezTo>
                          <a:pt x="76177" y="1037062"/>
                          <a:pt x="58843" y="1002243"/>
                          <a:pt x="68129" y="969289"/>
                        </a:cubicBezTo>
                        <a:cubicBezTo>
                          <a:pt x="76486" y="944573"/>
                          <a:pt x="98425" y="927552"/>
                          <a:pt x="122714" y="925308"/>
                        </a:cubicBezTo>
                        <a:close/>
                        <a:moveTo>
                          <a:pt x="2523725" y="546793"/>
                        </a:moveTo>
                        <a:cubicBezTo>
                          <a:pt x="2539502" y="549110"/>
                          <a:pt x="2554351" y="557451"/>
                          <a:pt x="2564560" y="571044"/>
                        </a:cubicBezTo>
                        <a:cubicBezTo>
                          <a:pt x="2585597" y="598847"/>
                          <a:pt x="2579409" y="637772"/>
                          <a:pt x="2552186" y="658161"/>
                        </a:cubicBezTo>
                        <a:cubicBezTo>
                          <a:pt x="2356671" y="805828"/>
                          <a:pt x="2356671" y="805828"/>
                          <a:pt x="2356671" y="805828"/>
                        </a:cubicBezTo>
                        <a:cubicBezTo>
                          <a:pt x="2346152" y="814478"/>
                          <a:pt x="2332541" y="818185"/>
                          <a:pt x="2318929" y="818185"/>
                        </a:cubicBezTo>
                        <a:cubicBezTo>
                          <a:pt x="2300367" y="818185"/>
                          <a:pt x="2281187" y="810153"/>
                          <a:pt x="2269431" y="793471"/>
                        </a:cubicBezTo>
                        <a:cubicBezTo>
                          <a:pt x="2247776" y="765668"/>
                          <a:pt x="2253345" y="726743"/>
                          <a:pt x="2281187" y="706354"/>
                        </a:cubicBezTo>
                        <a:cubicBezTo>
                          <a:pt x="2477321" y="558687"/>
                          <a:pt x="2477321" y="558687"/>
                          <a:pt x="2477321" y="558687"/>
                        </a:cubicBezTo>
                        <a:cubicBezTo>
                          <a:pt x="2491242" y="548183"/>
                          <a:pt x="2507947" y="544476"/>
                          <a:pt x="2523725" y="546793"/>
                        </a:cubicBezTo>
                        <a:close/>
                        <a:moveTo>
                          <a:pt x="303616" y="546793"/>
                        </a:moveTo>
                        <a:cubicBezTo>
                          <a:pt x="319655" y="544476"/>
                          <a:pt x="336546" y="548183"/>
                          <a:pt x="350183" y="558687"/>
                        </a:cubicBezTo>
                        <a:cubicBezTo>
                          <a:pt x="546676" y="706354"/>
                          <a:pt x="546676" y="706354"/>
                          <a:pt x="546676" y="706354"/>
                        </a:cubicBezTo>
                        <a:cubicBezTo>
                          <a:pt x="573949" y="726743"/>
                          <a:pt x="579528" y="765668"/>
                          <a:pt x="559073" y="793471"/>
                        </a:cubicBezTo>
                        <a:cubicBezTo>
                          <a:pt x="546676" y="810153"/>
                          <a:pt x="527460" y="818185"/>
                          <a:pt x="508245" y="818185"/>
                        </a:cubicBezTo>
                        <a:cubicBezTo>
                          <a:pt x="495848" y="818185"/>
                          <a:pt x="482211" y="814478"/>
                          <a:pt x="470434" y="805828"/>
                        </a:cubicBezTo>
                        <a:cubicBezTo>
                          <a:pt x="274561" y="658161"/>
                          <a:pt x="274561" y="658161"/>
                          <a:pt x="274561" y="658161"/>
                        </a:cubicBezTo>
                        <a:cubicBezTo>
                          <a:pt x="247287" y="637772"/>
                          <a:pt x="241709" y="598847"/>
                          <a:pt x="262164" y="571044"/>
                        </a:cubicBezTo>
                        <a:cubicBezTo>
                          <a:pt x="272391" y="557451"/>
                          <a:pt x="287578" y="549110"/>
                          <a:pt x="303616" y="546793"/>
                        </a:cubicBezTo>
                        <a:close/>
                        <a:moveTo>
                          <a:pt x="2199253" y="256934"/>
                        </a:moveTo>
                        <a:cubicBezTo>
                          <a:pt x="2215046" y="254696"/>
                          <a:pt x="2231840" y="258554"/>
                          <a:pt x="2246015" y="268740"/>
                        </a:cubicBezTo>
                        <a:cubicBezTo>
                          <a:pt x="2273749" y="289110"/>
                          <a:pt x="2279912" y="328000"/>
                          <a:pt x="2259574" y="355778"/>
                        </a:cubicBezTo>
                        <a:cubicBezTo>
                          <a:pt x="2114126" y="552694"/>
                          <a:pt x="2114126" y="552694"/>
                          <a:pt x="2114126" y="552694"/>
                        </a:cubicBezTo>
                        <a:cubicBezTo>
                          <a:pt x="2102417" y="569361"/>
                          <a:pt x="2083311" y="578003"/>
                          <a:pt x="2064822" y="578003"/>
                        </a:cubicBezTo>
                        <a:cubicBezTo>
                          <a:pt x="2051264" y="578003"/>
                          <a:pt x="2037705" y="573682"/>
                          <a:pt x="2027228" y="565657"/>
                        </a:cubicBezTo>
                        <a:cubicBezTo>
                          <a:pt x="2000111" y="545286"/>
                          <a:pt x="1993948" y="506397"/>
                          <a:pt x="2014286" y="478619"/>
                        </a:cubicBezTo>
                        <a:cubicBezTo>
                          <a:pt x="2158500" y="281703"/>
                          <a:pt x="2158500" y="281703"/>
                          <a:pt x="2158500" y="281703"/>
                        </a:cubicBezTo>
                        <a:cubicBezTo>
                          <a:pt x="2168669" y="267505"/>
                          <a:pt x="2183461" y="259172"/>
                          <a:pt x="2199253" y="256934"/>
                        </a:cubicBezTo>
                        <a:close/>
                        <a:moveTo>
                          <a:pt x="628648" y="256934"/>
                        </a:moveTo>
                        <a:cubicBezTo>
                          <a:pt x="644557" y="259172"/>
                          <a:pt x="659457" y="267505"/>
                          <a:pt x="669701" y="281703"/>
                        </a:cubicBezTo>
                        <a:cubicBezTo>
                          <a:pt x="814976" y="478619"/>
                          <a:pt x="814976" y="478619"/>
                          <a:pt x="814976" y="478619"/>
                        </a:cubicBezTo>
                        <a:cubicBezTo>
                          <a:pt x="836085" y="506397"/>
                          <a:pt x="830497" y="545286"/>
                          <a:pt x="801939" y="565657"/>
                        </a:cubicBezTo>
                        <a:cubicBezTo>
                          <a:pt x="791385" y="573682"/>
                          <a:pt x="777726" y="578003"/>
                          <a:pt x="765310" y="578003"/>
                        </a:cubicBezTo>
                        <a:cubicBezTo>
                          <a:pt x="745443" y="578003"/>
                          <a:pt x="726818" y="569361"/>
                          <a:pt x="714401" y="552694"/>
                        </a:cubicBezTo>
                        <a:cubicBezTo>
                          <a:pt x="567883" y="355778"/>
                          <a:pt x="567883" y="355778"/>
                          <a:pt x="567883" y="355778"/>
                        </a:cubicBezTo>
                        <a:cubicBezTo>
                          <a:pt x="547396" y="328000"/>
                          <a:pt x="553604" y="289110"/>
                          <a:pt x="581542" y="268740"/>
                        </a:cubicBezTo>
                        <a:cubicBezTo>
                          <a:pt x="595821" y="258554"/>
                          <a:pt x="612739" y="254696"/>
                          <a:pt x="628648" y="256934"/>
                        </a:cubicBezTo>
                        <a:close/>
                        <a:moveTo>
                          <a:pt x="1822022" y="62316"/>
                        </a:moveTo>
                        <a:cubicBezTo>
                          <a:pt x="1830147" y="61602"/>
                          <a:pt x="1838545" y="62451"/>
                          <a:pt x="1846788" y="65072"/>
                        </a:cubicBezTo>
                        <a:cubicBezTo>
                          <a:pt x="1880380" y="76790"/>
                          <a:pt x="1897798" y="111328"/>
                          <a:pt x="1887222" y="144016"/>
                        </a:cubicBezTo>
                        <a:cubicBezTo>
                          <a:pt x="1810708" y="376530"/>
                          <a:pt x="1810708" y="376530"/>
                          <a:pt x="1810708" y="376530"/>
                        </a:cubicBezTo>
                        <a:cubicBezTo>
                          <a:pt x="1801377" y="403050"/>
                          <a:pt x="1777116" y="419702"/>
                          <a:pt x="1750367" y="419702"/>
                        </a:cubicBezTo>
                        <a:cubicBezTo>
                          <a:pt x="1744146" y="419702"/>
                          <a:pt x="1737303" y="419085"/>
                          <a:pt x="1731083" y="416002"/>
                        </a:cubicBezTo>
                        <a:cubicBezTo>
                          <a:pt x="1697491" y="405517"/>
                          <a:pt x="1680073" y="370362"/>
                          <a:pt x="1690648" y="337058"/>
                        </a:cubicBezTo>
                        <a:cubicBezTo>
                          <a:pt x="1767785" y="105160"/>
                          <a:pt x="1767785" y="105160"/>
                          <a:pt x="1767785" y="105160"/>
                        </a:cubicBezTo>
                        <a:cubicBezTo>
                          <a:pt x="1775716" y="80645"/>
                          <a:pt x="1797644" y="64455"/>
                          <a:pt x="1822022" y="62316"/>
                        </a:cubicBezTo>
                        <a:close/>
                        <a:moveTo>
                          <a:pt x="1008018" y="62316"/>
                        </a:moveTo>
                        <a:cubicBezTo>
                          <a:pt x="1032424" y="64455"/>
                          <a:pt x="1054469" y="80645"/>
                          <a:pt x="1062867" y="105160"/>
                        </a:cubicBezTo>
                        <a:cubicBezTo>
                          <a:pt x="1139381" y="337058"/>
                          <a:pt x="1139381" y="337058"/>
                          <a:pt x="1139381" y="337058"/>
                        </a:cubicBezTo>
                        <a:cubicBezTo>
                          <a:pt x="1149957" y="370362"/>
                          <a:pt x="1132539" y="405517"/>
                          <a:pt x="1098947" y="416002"/>
                        </a:cubicBezTo>
                        <a:cubicBezTo>
                          <a:pt x="1092726" y="419085"/>
                          <a:pt x="1085883" y="419702"/>
                          <a:pt x="1079663" y="419702"/>
                        </a:cubicBezTo>
                        <a:cubicBezTo>
                          <a:pt x="1052914" y="419702"/>
                          <a:pt x="1028653" y="403050"/>
                          <a:pt x="1019944" y="376530"/>
                        </a:cubicBezTo>
                        <a:cubicBezTo>
                          <a:pt x="942807" y="144016"/>
                          <a:pt x="942807" y="144016"/>
                          <a:pt x="942807" y="144016"/>
                        </a:cubicBezTo>
                        <a:cubicBezTo>
                          <a:pt x="932232" y="111328"/>
                          <a:pt x="949650" y="76790"/>
                          <a:pt x="983242" y="65072"/>
                        </a:cubicBezTo>
                        <a:cubicBezTo>
                          <a:pt x="991484" y="62451"/>
                          <a:pt x="999882" y="61602"/>
                          <a:pt x="1008018" y="62316"/>
                        </a:cubicBezTo>
                        <a:close/>
                        <a:moveTo>
                          <a:pt x="1418057" y="0"/>
                        </a:moveTo>
                        <a:cubicBezTo>
                          <a:pt x="1451906" y="0"/>
                          <a:pt x="1480216" y="28398"/>
                          <a:pt x="1480216" y="62970"/>
                        </a:cubicBezTo>
                        <a:cubicBezTo>
                          <a:pt x="1480216" y="299415"/>
                          <a:pt x="1480216" y="299415"/>
                          <a:pt x="1480216" y="299415"/>
                        </a:cubicBezTo>
                        <a:cubicBezTo>
                          <a:pt x="1480216" y="333986"/>
                          <a:pt x="1451906" y="362385"/>
                          <a:pt x="1418057" y="362385"/>
                        </a:cubicBezTo>
                        <a:cubicBezTo>
                          <a:pt x="1383592" y="362385"/>
                          <a:pt x="1355282" y="333986"/>
                          <a:pt x="1355282" y="299415"/>
                        </a:cubicBezTo>
                        <a:cubicBezTo>
                          <a:pt x="1355282" y="62970"/>
                          <a:pt x="1355282" y="62970"/>
                          <a:pt x="1355282" y="62970"/>
                        </a:cubicBezTo>
                        <a:cubicBezTo>
                          <a:pt x="1355282" y="28398"/>
                          <a:pt x="1383592" y="0"/>
                          <a:pt x="1418057" y="0"/>
                        </a:cubicBezTo>
                        <a:close/>
                      </a:path>
                    </a:pathLst>
                  </a:custGeom>
                  <a:solidFill>
                    <a:schemeClr val="bg2"/>
                  </a:solidFill>
                  <a:ln>
                    <a:noFill/>
                  </a:ln>
                  <a:effectLst/>
                  <a:extLst>
                    <a:ext uri="{91240B29-F687-4F45-9708-019B960494DF}">
                      <a14:hiddenLine xmlns:a14="http://schemas.microsoft.com/office/drawing/2010/main" w="9525" cap="flat">
                        <a:solidFill>
                          <a:srgbClr val="27BDE8"/>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342892"/>
                    <a:endParaRPr lang="en-US" dirty="0">
                      <a:solidFill>
                        <a:srgbClr val="282828"/>
                      </a:solidFill>
                    </a:endParaRPr>
                  </a:p>
                </p:txBody>
              </p:sp>
            </p:grpSp>
            <p:pic>
              <p:nvPicPr>
                <p:cNvPr id="406" name="Picture 405">
                  <a:extLst>
                    <a:ext uri="{FF2B5EF4-FFF2-40B4-BE49-F238E27FC236}">
                      <a16:creationId xmlns:a16="http://schemas.microsoft.com/office/drawing/2014/main" id="{C8B90F16-3F66-3D48-9484-095A8FE6EC1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063551" y="1682563"/>
                  <a:ext cx="1078992" cy="1078992"/>
                </a:xfrm>
                <a:prstGeom prst="rect">
                  <a:avLst/>
                </a:prstGeom>
              </p:spPr>
            </p:pic>
            <p:pic>
              <p:nvPicPr>
                <p:cNvPr id="407" name="Picture 406">
                  <a:extLst>
                    <a:ext uri="{FF2B5EF4-FFF2-40B4-BE49-F238E27FC236}">
                      <a16:creationId xmlns:a16="http://schemas.microsoft.com/office/drawing/2014/main" id="{29A7A6A1-09FB-B74C-BAD6-6D2579846BC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393268" y="2845938"/>
                  <a:ext cx="1042416" cy="1042416"/>
                </a:xfrm>
                <a:prstGeom prst="rect">
                  <a:avLst/>
                </a:prstGeom>
              </p:spPr>
            </p:pic>
          </p:grpSp>
          <p:grpSp>
            <p:nvGrpSpPr>
              <p:cNvPr id="451" name="Group 450">
                <a:extLst>
                  <a:ext uri="{FF2B5EF4-FFF2-40B4-BE49-F238E27FC236}">
                    <a16:creationId xmlns:a16="http://schemas.microsoft.com/office/drawing/2014/main" id="{B833FAAA-FBBB-3D4C-A344-DBDA17FACE9D}"/>
                  </a:ext>
                </a:extLst>
              </p:cNvPr>
              <p:cNvGrpSpPr>
                <a:grpSpLocks noChangeAspect="1"/>
              </p:cNvGrpSpPr>
              <p:nvPr/>
            </p:nvGrpSpPr>
            <p:grpSpPr>
              <a:xfrm rot="18190885" flipV="1">
                <a:off x="8178848" y="3582823"/>
                <a:ext cx="1388945" cy="1694225"/>
                <a:chOff x="4929188" y="1022351"/>
                <a:chExt cx="689769" cy="841375"/>
              </a:xfrm>
            </p:grpSpPr>
            <p:sp>
              <p:nvSpPr>
                <p:cNvPr id="452" name="Freeform 124">
                  <a:extLst>
                    <a:ext uri="{FF2B5EF4-FFF2-40B4-BE49-F238E27FC236}">
                      <a16:creationId xmlns:a16="http://schemas.microsoft.com/office/drawing/2014/main" id="{44B7187F-BA8A-0141-BB26-5482ADF23331}"/>
                    </a:ext>
                  </a:extLst>
                </p:cNvPr>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453" name="Freeform 125">
                  <a:extLst>
                    <a:ext uri="{FF2B5EF4-FFF2-40B4-BE49-F238E27FC236}">
                      <a16:creationId xmlns:a16="http://schemas.microsoft.com/office/drawing/2014/main" id="{D92FAEC0-7407-A346-A16B-815ED9D937A8}"/>
                    </a:ext>
                  </a:extLst>
                </p:cNvPr>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454" name="Freeform 126">
                  <a:extLst>
                    <a:ext uri="{FF2B5EF4-FFF2-40B4-BE49-F238E27FC236}">
                      <a16:creationId xmlns:a16="http://schemas.microsoft.com/office/drawing/2014/main" id="{16C551B9-1368-434A-89BD-3FABD867CE56}"/>
                    </a:ext>
                  </a:extLst>
                </p:cNvPr>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455" name="Freeform 127">
                  <a:extLst>
                    <a:ext uri="{FF2B5EF4-FFF2-40B4-BE49-F238E27FC236}">
                      <a16:creationId xmlns:a16="http://schemas.microsoft.com/office/drawing/2014/main" id="{AB5BB05A-D90F-AF47-9CEB-2E333A8EF788}"/>
                    </a:ext>
                  </a:extLst>
                </p:cNvPr>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456" name="Freeform 128">
                  <a:extLst>
                    <a:ext uri="{FF2B5EF4-FFF2-40B4-BE49-F238E27FC236}">
                      <a16:creationId xmlns:a16="http://schemas.microsoft.com/office/drawing/2014/main" id="{35C20FE1-F7CB-B649-90F4-C1AACCDD1234}"/>
                    </a:ext>
                  </a:extLst>
                </p:cNvPr>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457" name="Freeform 129">
                  <a:extLst>
                    <a:ext uri="{FF2B5EF4-FFF2-40B4-BE49-F238E27FC236}">
                      <a16:creationId xmlns:a16="http://schemas.microsoft.com/office/drawing/2014/main" id="{A6ED7A1B-D44A-1B4E-995D-713FB33DC958}"/>
                    </a:ext>
                  </a:extLst>
                </p:cNvPr>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sp>
              <p:nvSpPr>
                <p:cNvPr id="458" name="Freeform 130">
                  <a:extLst>
                    <a:ext uri="{FF2B5EF4-FFF2-40B4-BE49-F238E27FC236}">
                      <a16:creationId xmlns:a16="http://schemas.microsoft.com/office/drawing/2014/main" id="{5154D60A-5B51-234A-B51B-7D3A4B9BB958}"/>
                    </a:ext>
                  </a:extLst>
                </p:cNvPr>
                <p:cNvSpPr>
                  <a:spLocks/>
                </p:cNvSpPr>
                <p:nvPr/>
              </p:nvSpPr>
              <p:spPr bwMode="auto">
                <a:xfrm>
                  <a:off x="5471319"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68580" tIns="34290" rIns="68580" bIns="34290" numCol="1" anchor="t" anchorCtr="0" compatLnSpc="1">
                  <a:prstTxWarp prst="textNoShape">
                    <a:avLst/>
                  </a:prstTxWarp>
                </a:bodyPr>
                <a:lstStyle/>
                <a:p>
                  <a:pPr defTabSz="342892"/>
                  <a:endParaRPr lang="en-US" dirty="0">
                    <a:solidFill>
                      <a:srgbClr val="282828"/>
                    </a:solidFill>
                  </a:endParaRPr>
                </a:p>
              </p:txBody>
            </p:sp>
          </p:grpSp>
        </p:grpSp>
        <p:sp>
          <p:nvSpPr>
            <p:cNvPr id="461" name="Rectangle 460">
              <a:extLst>
                <a:ext uri="{FF2B5EF4-FFF2-40B4-BE49-F238E27FC236}">
                  <a16:creationId xmlns:a16="http://schemas.microsoft.com/office/drawing/2014/main" id="{FFAF936B-5AD6-1A4F-A9AB-C1A03CC154FA}"/>
                </a:ext>
              </a:extLst>
            </p:cNvPr>
            <p:cNvSpPr/>
            <p:nvPr/>
          </p:nvSpPr>
          <p:spPr>
            <a:xfrm>
              <a:off x="8331954" y="1523732"/>
              <a:ext cx="1522212" cy="364117"/>
            </a:xfrm>
            <a:prstGeom prst="rect">
              <a:avLst/>
            </a:prstGeom>
          </p:spPr>
          <p:txBody>
            <a:bodyPr wrap="none">
              <a:spAutoFit/>
            </a:bodyPr>
            <a:lstStyle/>
            <a:p>
              <a:pPr algn="ctr" defTabSz="342892">
                <a:lnSpc>
                  <a:spcPts val="1350"/>
                </a:lnSpc>
              </a:pPr>
              <a:r>
                <a:rPr lang="en-US" dirty="0">
                  <a:solidFill>
                    <a:srgbClr val="282828"/>
                  </a:solidFill>
                  <a:latin typeface="CiscoSansTT ExtraLight"/>
                </a:rPr>
                <a:t>Proactive</a:t>
              </a:r>
            </a:p>
          </p:txBody>
        </p:sp>
        <p:sp>
          <p:nvSpPr>
            <p:cNvPr id="462" name="Rectangle 461">
              <a:extLst>
                <a:ext uri="{FF2B5EF4-FFF2-40B4-BE49-F238E27FC236}">
                  <a16:creationId xmlns:a16="http://schemas.microsoft.com/office/drawing/2014/main" id="{373947E8-4698-3E4E-AA50-C0387349D871}"/>
                </a:ext>
              </a:extLst>
            </p:cNvPr>
            <p:cNvSpPr/>
            <p:nvPr/>
          </p:nvSpPr>
          <p:spPr>
            <a:xfrm>
              <a:off x="9778618" y="1258225"/>
              <a:ext cx="1673964" cy="603499"/>
            </a:xfrm>
            <a:prstGeom prst="rect">
              <a:avLst/>
            </a:prstGeom>
          </p:spPr>
          <p:txBody>
            <a:bodyPr wrap="none">
              <a:spAutoFit/>
            </a:bodyPr>
            <a:lstStyle/>
            <a:p>
              <a:pPr algn="ctr" defTabSz="342892">
                <a:lnSpc>
                  <a:spcPts val="1350"/>
                </a:lnSpc>
              </a:pPr>
              <a:r>
                <a:rPr lang="en-US" dirty="0">
                  <a:solidFill>
                    <a:srgbClr val="282828"/>
                  </a:solidFill>
                  <a:latin typeface="CiscoSansTT ExtraLight"/>
                </a:rPr>
                <a:t>Service</a:t>
              </a:r>
            </a:p>
            <a:p>
              <a:pPr algn="ctr" defTabSz="342892">
                <a:lnSpc>
                  <a:spcPts val="1350"/>
                </a:lnSpc>
              </a:pPr>
              <a:r>
                <a:rPr lang="en-US" dirty="0">
                  <a:solidFill>
                    <a:srgbClr val="282828"/>
                  </a:solidFill>
                  <a:latin typeface="CiscoSansTT ExtraLight"/>
                </a:rPr>
                <a:t>Innovators</a:t>
              </a:r>
            </a:p>
          </p:txBody>
        </p:sp>
        <p:sp>
          <p:nvSpPr>
            <p:cNvPr id="463" name="Rectangle 462">
              <a:extLst>
                <a:ext uri="{FF2B5EF4-FFF2-40B4-BE49-F238E27FC236}">
                  <a16:creationId xmlns:a16="http://schemas.microsoft.com/office/drawing/2014/main" id="{59B53CBF-EB02-1543-8566-89400ACAFD48}"/>
                </a:ext>
              </a:extLst>
            </p:cNvPr>
            <p:cNvSpPr/>
            <p:nvPr/>
          </p:nvSpPr>
          <p:spPr>
            <a:xfrm>
              <a:off x="10434159" y="3231469"/>
              <a:ext cx="1188788" cy="603499"/>
            </a:xfrm>
            <a:prstGeom prst="rect">
              <a:avLst/>
            </a:prstGeom>
          </p:spPr>
          <p:txBody>
            <a:bodyPr wrap="none">
              <a:spAutoFit/>
            </a:bodyPr>
            <a:lstStyle/>
            <a:p>
              <a:pPr algn="ctr" defTabSz="342892">
                <a:lnSpc>
                  <a:spcPts val="1350"/>
                </a:lnSpc>
              </a:pPr>
              <a:r>
                <a:rPr lang="en-US" dirty="0">
                  <a:solidFill>
                    <a:srgbClr val="282828"/>
                  </a:solidFill>
                  <a:latin typeface="CiscoSansTT ExtraLight"/>
                </a:rPr>
                <a:t>Valued</a:t>
              </a:r>
            </a:p>
            <a:p>
              <a:pPr algn="ctr" defTabSz="342892">
                <a:lnSpc>
                  <a:spcPts val="1350"/>
                </a:lnSpc>
              </a:pPr>
              <a:r>
                <a:rPr lang="en-US" dirty="0">
                  <a:solidFill>
                    <a:srgbClr val="282828"/>
                  </a:solidFill>
                  <a:latin typeface="CiscoSansTT ExtraLight"/>
                </a:rPr>
                <a:t>Brand</a:t>
              </a:r>
            </a:p>
          </p:txBody>
        </p:sp>
      </p:grpSp>
    </p:spTree>
    <p:extLst>
      <p:ext uri="{BB962C8B-B14F-4D97-AF65-F5344CB8AC3E}">
        <p14:creationId xmlns:p14="http://schemas.microsoft.com/office/powerpoint/2010/main" val="399446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604" imgH="606" progId="TCLayout.ActiveDocument.1">
                  <p:embed/>
                </p:oleObj>
              </mc:Choice>
              <mc:Fallback>
                <p:oleObj name="think-cell Slide" r:id="rId5" imgW="604" imgH="606" progId="TCLayout.ActiveDocument.1">
                  <p:embed/>
                  <p:pic>
                    <p:nvPicPr>
                      <p:cNvPr id="4" name="Object 3"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1" y="1"/>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5000"/>
              </a:lnSpc>
            </a:pPr>
            <a:endParaRPr lang="en-US" sz="3200" dirty="0">
              <a:latin typeface="CiscoSansTT ExtraLight"/>
              <a:ea typeface="ＭＳ Ｐゴシック" panose="020B0600070205080204" pitchFamily="34" charset="-128"/>
              <a:sym typeface="CiscoSansTT ExtraLight"/>
            </a:endParaRPr>
          </a:p>
        </p:txBody>
      </p:sp>
      <p:sp>
        <p:nvSpPr>
          <p:cNvPr id="2" name="Title 1"/>
          <p:cNvSpPr>
            <a:spLocks noGrp="1"/>
          </p:cNvSpPr>
          <p:nvPr>
            <p:ph type="ctrTitle"/>
          </p:nvPr>
        </p:nvSpPr>
        <p:spPr/>
        <p:txBody>
          <a:bodyPr/>
          <a:lstStyle/>
          <a:p>
            <a:r>
              <a:rPr lang="en-US" dirty="0"/>
              <a:t>Network Architectures</a:t>
            </a:r>
          </a:p>
        </p:txBody>
      </p:sp>
    </p:spTree>
    <p:extLst>
      <p:ext uri="{BB962C8B-B14F-4D97-AF65-F5344CB8AC3E}">
        <p14:creationId xmlns:p14="http://schemas.microsoft.com/office/powerpoint/2010/main" val="404172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ED865-F59E-489F-A9F5-5B488E8C02F7}"/>
              </a:ext>
            </a:extLst>
          </p:cNvPr>
          <p:cNvSpPr>
            <a:spLocks noGrp="1"/>
          </p:cNvSpPr>
          <p:nvPr>
            <p:ph type="title"/>
          </p:nvPr>
        </p:nvSpPr>
        <p:spPr/>
        <p:txBody>
          <a:bodyPr/>
          <a:lstStyle/>
          <a:p>
            <a:r>
              <a:rPr lang="en-ZA" dirty="0"/>
              <a:t>Distribution Sites</a:t>
            </a:r>
            <a:endParaRPr lang="en-GB" dirty="0"/>
          </a:p>
        </p:txBody>
      </p:sp>
      <p:sp>
        <p:nvSpPr>
          <p:cNvPr id="3" name="Content Placeholder 2">
            <a:extLst>
              <a:ext uri="{FF2B5EF4-FFF2-40B4-BE49-F238E27FC236}">
                <a16:creationId xmlns:a16="http://schemas.microsoft.com/office/drawing/2014/main" id="{B9016126-0340-4CA0-A217-1C022730D907}"/>
              </a:ext>
            </a:extLst>
          </p:cNvPr>
          <p:cNvSpPr>
            <a:spLocks noGrp="1"/>
          </p:cNvSpPr>
          <p:nvPr>
            <p:ph sz="quarter" idx="11"/>
          </p:nvPr>
        </p:nvSpPr>
        <p:spPr/>
        <p:txBody>
          <a:bodyPr/>
          <a:lstStyle/>
          <a:p>
            <a:r>
              <a:rPr lang="en-ZA" dirty="0"/>
              <a:t>Distribution sites are defined more on geographic location then population size.</a:t>
            </a:r>
          </a:p>
          <a:p>
            <a:r>
              <a:rPr lang="en-ZA" dirty="0"/>
              <a:t>Form the connecting points between multiple fibre points</a:t>
            </a:r>
          </a:p>
          <a:p>
            <a:r>
              <a:rPr lang="en-ZA" dirty="0"/>
              <a:t>Typically connect and link the Core Sites together and provide access to far flung Aggregation sites</a:t>
            </a:r>
          </a:p>
          <a:p>
            <a:r>
              <a:rPr lang="en-GB" dirty="0"/>
              <a:t>Distribution sites can use the NCS5500, Fixed or Modular depending on site requirements, or for smaller sites needing DWDM, the NCS560 modular chassis</a:t>
            </a:r>
          </a:p>
        </p:txBody>
      </p:sp>
    </p:spTree>
    <p:extLst>
      <p:ext uri="{BB962C8B-B14F-4D97-AF65-F5344CB8AC3E}">
        <p14:creationId xmlns:p14="http://schemas.microsoft.com/office/powerpoint/2010/main" val="1918360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Table 100"/>
          <p:cNvGraphicFramePr>
            <a:graphicFrameLocks noGrp="1"/>
          </p:cNvGraphicFramePr>
          <p:nvPr/>
        </p:nvGraphicFramePr>
        <p:xfrm>
          <a:off x="926428" y="913448"/>
          <a:ext cx="3208748" cy="3537193"/>
        </p:xfrm>
        <a:graphic>
          <a:graphicData uri="http://schemas.openxmlformats.org/drawingml/2006/table">
            <a:tbl>
              <a:tblPr firstRow="1" bandRow="1"/>
              <a:tblGrid>
                <a:gridCol w="1604374">
                  <a:extLst>
                    <a:ext uri="{9D8B030D-6E8A-4147-A177-3AD203B41FA5}">
                      <a16:colId xmlns:a16="http://schemas.microsoft.com/office/drawing/2014/main" val="2570569250"/>
                    </a:ext>
                  </a:extLst>
                </a:gridCol>
                <a:gridCol w="1604374">
                  <a:extLst>
                    <a:ext uri="{9D8B030D-6E8A-4147-A177-3AD203B41FA5}">
                      <a16:colId xmlns:a16="http://schemas.microsoft.com/office/drawing/2014/main" val="3855517385"/>
                    </a:ext>
                  </a:extLst>
                </a:gridCol>
              </a:tblGrid>
              <a:tr h="502301">
                <a:tc>
                  <a:txBody>
                    <a:bodyPr/>
                    <a:lstStyle>
                      <a:lvl1pPr marL="0" algn="l" defTabSz="257175" rtl="0" eaLnBrk="1" latinLnBrk="0" hangingPunct="1">
                        <a:defRPr sz="1000" b="1" kern="1200">
                          <a:solidFill>
                            <a:schemeClr val="tx1"/>
                          </a:solidFill>
                          <a:latin typeface="CiscoSansTT ExtraLight"/>
                          <a:ea typeface=""/>
                          <a:cs typeface=""/>
                        </a:defRPr>
                      </a:lvl1pPr>
                      <a:lvl2pPr marL="257175" algn="l" defTabSz="257175" rtl="0" eaLnBrk="1" latinLnBrk="0" hangingPunct="1">
                        <a:defRPr sz="1000" b="1" kern="1200">
                          <a:solidFill>
                            <a:schemeClr val="tx1"/>
                          </a:solidFill>
                          <a:latin typeface="CiscoSansTT ExtraLight"/>
                          <a:ea typeface=""/>
                          <a:cs typeface=""/>
                        </a:defRPr>
                      </a:lvl2pPr>
                      <a:lvl3pPr marL="514350" algn="l" defTabSz="257175" rtl="0" eaLnBrk="1" latinLnBrk="0" hangingPunct="1">
                        <a:defRPr sz="1000" b="1" kern="1200">
                          <a:solidFill>
                            <a:schemeClr val="tx1"/>
                          </a:solidFill>
                          <a:latin typeface="CiscoSansTT ExtraLight"/>
                          <a:ea typeface=""/>
                          <a:cs typeface=""/>
                        </a:defRPr>
                      </a:lvl3pPr>
                      <a:lvl4pPr marL="771525" algn="l" defTabSz="257175" rtl="0" eaLnBrk="1" latinLnBrk="0" hangingPunct="1">
                        <a:defRPr sz="1000" b="1" kern="1200">
                          <a:solidFill>
                            <a:schemeClr val="tx1"/>
                          </a:solidFill>
                          <a:latin typeface="CiscoSansTT ExtraLight"/>
                          <a:ea typeface=""/>
                          <a:cs typeface=""/>
                        </a:defRPr>
                      </a:lvl4pPr>
                      <a:lvl5pPr marL="1028700" algn="l" defTabSz="257175" rtl="0" eaLnBrk="1" latinLnBrk="0" hangingPunct="1">
                        <a:defRPr sz="1000" b="1" kern="1200">
                          <a:solidFill>
                            <a:schemeClr val="tx1"/>
                          </a:solidFill>
                          <a:latin typeface="CiscoSansTT ExtraLight"/>
                          <a:ea typeface=""/>
                          <a:cs typeface=""/>
                        </a:defRPr>
                      </a:lvl5pPr>
                      <a:lvl6pPr marL="1285875" algn="l" defTabSz="257175" rtl="0" eaLnBrk="1" latinLnBrk="0" hangingPunct="1">
                        <a:defRPr sz="1000" b="1" kern="1200">
                          <a:solidFill>
                            <a:schemeClr val="tx1"/>
                          </a:solidFill>
                          <a:latin typeface="CiscoSansTT ExtraLight"/>
                          <a:ea typeface=""/>
                          <a:cs typeface=""/>
                        </a:defRPr>
                      </a:lvl6pPr>
                      <a:lvl7pPr marL="1543050" algn="l" defTabSz="257175" rtl="0" eaLnBrk="1" latinLnBrk="0" hangingPunct="1">
                        <a:defRPr sz="1000" b="1" kern="1200">
                          <a:solidFill>
                            <a:schemeClr val="tx1"/>
                          </a:solidFill>
                          <a:latin typeface="CiscoSansTT ExtraLight"/>
                          <a:ea typeface=""/>
                          <a:cs typeface=""/>
                        </a:defRPr>
                      </a:lvl7pPr>
                      <a:lvl8pPr marL="1800225" algn="l" defTabSz="257175" rtl="0" eaLnBrk="1" latinLnBrk="0" hangingPunct="1">
                        <a:defRPr sz="1000" b="1" kern="1200">
                          <a:solidFill>
                            <a:schemeClr val="tx1"/>
                          </a:solidFill>
                          <a:latin typeface="CiscoSansTT ExtraLight"/>
                          <a:ea typeface=""/>
                          <a:cs typeface=""/>
                        </a:defRPr>
                      </a:lvl8pPr>
                      <a:lvl9pPr marL="2057400" algn="l" defTabSz="257175" rtl="0" eaLnBrk="1" latinLnBrk="0" hangingPunct="1">
                        <a:defRPr sz="1000" b="1" kern="1200">
                          <a:solidFill>
                            <a:schemeClr val="tx1"/>
                          </a:solidFill>
                          <a:latin typeface="CiscoSansTT ExtraLight"/>
                          <a:ea typeface=""/>
                          <a:cs typeface=""/>
                        </a:defRPr>
                      </a:lvl9pPr>
                    </a:lstStyle>
                    <a:p>
                      <a:pPr algn="ctr"/>
                      <a:r>
                        <a:rPr lang="en-US" b="1" dirty="0">
                          <a:solidFill>
                            <a:schemeClr val="bg2"/>
                          </a:solidFill>
                        </a:rPr>
                        <a:t>End-to-End</a:t>
                      </a:r>
                      <a:r>
                        <a:rPr lang="en-US" b="1" baseline="0" dirty="0">
                          <a:solidFill>
                            <a:schemeClr val="bg2"/>
                          </a:solidFill>
                        </a:rPr>
                        <a:t> Designs</a:t>
                      </a:r>
                      <a:endParaRPr lang="en-US" b="1" dirty="0">
                        <a:solidFill>
                          <a:schemeClr val="bg2"/>
                        </a:solidFill>
                      </a:endParaRPr>
                    </a:p>
                  </a:txBody>
                  <a:tcPr anchor="b">
                    <a:lnL>
                      <a:noFill/>
                    </a:lnL>
                    <a:lnR>
                      <a:noFill/>
                    </a:lnR>
                    <a:lnT w="12700" cmpd="sng">
                      <a:solidFill>
                        <a:srgbClr val="005073"/>
                      </a:solidFill>
                    </a:lnT>
                    <a:lnB w="12700" cap="flat" cmpd="sng" algn="ctr">
                      <a:solidFill>
                        <a:srgbClr val="005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257175" rtl="0" eaLnBrk="1" latinLnBrk="0" hangingPunct="1">
                        <a:defRPr sz="1000" b="1" kern="1200">
                          <a:solidFill>
                            <a:schemeClr val="tx1"/>
                          </a:solidFill>
                          <a:latin typeface="CiscoSansTT ExtraLight"/>
                          <a:ea typeface=""/>
                          <a:cs typeface=""/>
                        </a:defRPr>
                      </a:lvl1pPr>
                      <a:lvl2pPr marL="257175" algn="l" defTabSz="257175" rtl="0" eaLnBrk="1" latinLnBrk="0" hangingPunct="1">
                        <a:defRPr sz="1000" b="1" kern="1200">
                          <a:solidFill>
                            <a:schemeClr val="tx1"/>
                          </a:solidFill>
                          <a:latin typeface="CiscoSansTT ExtraLight"/>
                          <a:ea typeface=""/>
                          <a:cs typeface=""/>
                        </a:defRPr>
                      </a:lvl2pPr>
                      <a:lvl3pPr marL="514350" algn="l" defTabSz="257175" rtl="0" eaLnBrk="1" latinLnBrk="0" hangingPunct="1">
                        <a:defRPr sz="1000" b="1" kern="1200">
                          <a:solidFill>
                            <a:schemeClr val="tx1"/>
                          </a:solidFill>
                          <a:latin typeface="CiscoSansTT ExtraLight"/>
                          <a:ea typeface=""/>
                          <a:cs typeface=""/>
                        </a:defRPr>
                      </a:lvl3pPr>
                      <a:lvl4pPr marL="771525" algn="l" defTabSz="257175" rtl="0" eaLnBrk="1" latinLnBrk="0" hangingPunct="1">
                        <a:defRPr sz="1000" b="1" kern="1200">
                          <a:solidFill>
                            <a:schemeClr val="tx1"/>
                          </a:solidFill>
                          <a:latin typeface="CiscoSansTT ExtraLight"/>
                          <a:ea typeface=""/>
                          <a:cs typeface=""/>
                        </a:defRPr>
                      </a:lvl4pPr>
                      <a:lvl5pPr marL="1028700" algn="l" defTabSz="257175" rtl="0" eaLnBrk="1" latinLnBrk="0" hangingPunct="1">
                        <a:defRPr sz="1000" b="1" kern="1200">
                          <a:solidFill>
                            <a:schemeClr val="tx1"/>
                          </a:solidFill>
                          <a:latin typeface="CiscoSansTT ExtraLight"/>
                          <a:ea typeface=""/>
                          <a:cs typeface=""/>
                        </a:defRPr>
                      </a:lvl5pPr>
                      <a:lvl6pPr marL="1285875" algn="l" defTabSz="257175" rtl="0" eaLnBrk="1" latinLnBrk="0" hangingPunct="1">
                        <a:defRPr sz="1000" b="1" kern="1200">
                          <a:solidFill>
                            <a:schemeClr val="tx1"/>
                          </a:solidFill>
                          <a:latin typeface="CiscoSansTT ExtraLight"/>
                          <a:ea typeface=""/>
                          <a:cs typeface=""/>
                        </a:defRPr>
                      </a:lvl6pPr>
                      <a:lvl7pPr marL="1543050" algn="l" defTabSz="257175" rtl="0" eaLnBrk="1" latinLnBrk="0" hangingPunct="1">
                        <a:defRPr sz="1000" b="1" kern="1200">
                          <a:solidFill>
                            <a:schemeClr val="tx1"/>
                          </a:solidFill>
                          <a:latin typeface="CiscoSansTT ExtraLight"/>
                          <a:ea typeface=""/>
                          <a:cs typeface=""/>
                        </a:defRPr>
                      </a:lvl7pPr>
                      <a:lvl8pPr marL="1800225" algn="l" defTabSz="257175" rtl="0" eaLnBrk="1" latinLnBrk="0" hangingPunct="1">
                        <a:defRPr sz="1000" b="1" kern="1200">
                          <a:solidFill>
                            <a:schemeClr val="tx1"/>
                          </a:solidFill>
                          <a:latin typeface="CiscoSansTT ExtraLight"/>
                          <a:ea typeface=""/>
                          <a:cs typeface=""/>
                        </a:defRPr>
                      </a:lvl8pPr>
                      <a:lvl9pPr marL="2057400" algn="l" defTabSz="257175" rtl="0" eaLnBrk="1" latinLnBrk="0" hangingPunct="1">
                        <a:defRPr sz="1000" b="1" kern="1200">
                          <a:solidFill>
                            <a:schemeClr val="tx1"/>
                          </a:solidFill>
                          <a:latin typeface="CiscoSansTT ExtraLight"/>
                          <a:ea typeface=""/>
                          <a:cs typeface=""/>
                        </a:defRPr>
                      </a:lvl9pPr>
                    </a:lstStyle>
                    <a:p>
                      <a:pPr algn="ctr"/>
                      <a:r>
                        <a:rPr lang="en-US" b="1" dirty="0">
                          <a:solidFill>
                            <a:schemeClr val="bg2"/>
                          </a:solidFill>
                        </a:rPr>
                        <a:t>Building Blocks</a:t>
                      </a:r>
                    </a:p>
                  </a:txBody>
                  <a:tcPr anchor="b">
                    <a:lnL>
                      <a:noFill/>
                    </a:lnL>
                    <a:lnR>
                      <a:noFill/>
                    </a:lnR>
                    <a:lnT w="12700" cmpd="sng">
                      <a:solidFill>
                        <a:srgbClr val="005073"/>
                      </a:solidFill>
                    </a:lnT>
                    <a:lnB w="12700" cmpd="sng">
                      <a:solidFill>
                        <a:srgbClr val="005073"/>
                      </a:solidFill>
                    </a:lnB>
                    <a:lnTlToBr w="12700" cmpd="sng">
                      <a:noFill/>
                      <a:prstDash val="solid"/>
                    </a:lnTlToBr>
                    <a:lnBlToTr w="12700" cmpd="sng">
                      <a:noFill/>
                      <a:prstDash val="solid"/>
                    </a:lnBlToTr>
                    <a:solidFill>
                      <a:srgbClr val="9E9EA2">
                        <a:alpha val="12157"/>
                      </a:srgbClr>
                    </a:solidFill>
                  </a:tcPr>
                </a:tc>
                <a:extLst>
                  <a:ext uri="{0D108BD9-81ED-4DB2-BD59-A6C34878D82A}">
                    <a16:rowId xmlns:a16="http://schemas.microsoft.com/office/drawing/2014/main" val="3277362133"/>
                  </a:ext>
                </a:extLst>
              </a:tr>
              <a:tr h="433556">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pPr algn="ctr"/>
                      <a:r>
                        <a:rPr lang="en-US" sz="1200" dirty="0"/>
                        <a:t>Core</a:t>
                      </a:r>
                    </a:p>
                  </a:txBody>
                  <a:tcPr marL="45720" marR="45720" anchor="b">
                    <a:lnL>
                      <a:noFill/>
                    </a:lnL>
                    <a:lnR>
                      <a:noFill/>
                    </a:lnR>
                    <a:lnT w="12700" cap="flat" cmpd="sng" algn="ctr">
                      <a:solidFill>
                        <a:srgbClr val="005073"/>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endParaRPr lang="en-US" sz="1200" dirty="0"/>
                    </a:p>
                  </a:txBody>
                  <a:tcPr marL="45720" marR="45720" anchor="ctr">
                    <a:lnL>
                      <a:noFill/>
                    </a:lnL>
                    <a:lnR>
                      <a:noFill/>
                    </a:lnR>
                    <a:lnT w="12700" cmpd="sng">
                      <a:solidFill>
                        <a:srgbClr val="005073"/>
                      </a:solidFill>
                    </a:lnT>
                    <a:lnB>
                      <a:noFill/>
                    </a:lnB>
                    <a:lnTlToBr w="12700" cmpd="sng">
                      <a:noFill/>
                      <a:prstDash val="solid"/>
                    </a:lnTlToBr>
                    <a:lnBlToTr w="12700" cmpd="sng">
                      <a:noFill/>
                      <a:prstDash val="solid"/>
                    </a:lnBlToTr>
                    <a:solidFill>
                      <a:srgbClr val="9E9EA2">
                        <a:alpha val="12157"/>
                      </a:srgbClr>
                    </a:solidFill>
                  </a:tcPr>
                </a:tc>
                <a:extLst>
                  <a:ext uri="{0D108BD9-81ED-4DB2-BD59-A6C34878D82A}">
                    <a16:rowId xmlns:a16="http://schemas.microsoft.com/office/drawing/2014/main" val="864233455"/>
                  </a:ext>
                </a:extLst>
              </a:tr>
              <a:tr h="433556">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pPr algn="ctr"/>
                      <a:r>
                        <a:rPr lang="en-US" sz="1200" dirty="0"/>
                        <a:t>Peering</a:t>
                      </a:r>
                    </a:p>
                  </a:txBody>
                  <a:tcPr marL="45720" marR="4572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endParaRPr lang="en-US" sz="1200" dirty="0"/>
                    </a:p>
                  </a:txBody>
                  <a:tcPr marL="45720" marR="45720" anchor="ctr">
                    <a:lnL>
                      <a:noFill/>
                    </a:lnL>
                    <a:lnR>
                      <a:noFill/>
                    </a:lnR>
                    <a:lnT>
                      <a:noFill/>
                    </a:lnT>
                    <a:lnB>
                      <a:noFill/>
                    </a:lnB>
                    <a:lnTlToBr w="12700" cmpd="sng">
                      <a:noFill/>
                      <a:prstDash val="solid"/>
                    </a:lnTlToBr>
                    <a:lnBlToTr w="12700" cmpd="sng">
                      <a:noFill/>
                      <a:prstDash val="solid"/>
                    </a:lnBlToTr>
                    <a:solidFill>
                      <a:srgbClr val="9E9EA2">
                        <a:alpha val="12157"/>
                      </a:srgbClr>
                    </a:solidFill>
                  </a:tcPr>
                </a:tc>
                <a:extLst>
                  <a:ext uri="{0D108BD9-81ED-4DB2-BD59-A6C34878D82A}">
                    <a16:rowId xmlns:a16="http://schemas.microsoft.com/office/drawing/2014/main" val="1237757305"/>
                  </a:ext>
                </a:extLst>
              </a:tr>
              <a:tr h="433556">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pPr algn="ctr"/>
                      <a:r>
                        <a:rPr lang="en-US" sz="1200" dirty="0"/>
                        <a:t>Metro/Access</a:t>
                      </a:r>
                    </a:p>
                  </a:txBody>
                  <a:tcPr marL="45720" marR="4572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endParaRPr lang="en-US" sz="1200" dirty="0"/>
                    </a:p>
                  </a:txBody>
                  <a:tcPr marL="45720" marR="45720" anchor="ctr">
                    <a:lnL>
                      <a:noFill/>
                    </a:lnL>
                    <a:lnR>
                      <a:noFill/>
                    </a:lnR>
                    <a:lnT>
                      <a:noFill/>
                    </a:lnT>
                    <a:lnB>
                      <a:noFill/>
                    </a:lnB>
                    <a:lnTlToBr w="12700" cmpd="sng">
                      <a:noFill/>
                      <a:prstDash val="solid"/>
                    </a:lnTlToBr>
                    <a:lnBlToTr w="12700" cmpd="sng">
                      <a:noFill/>
                      <a:prstDash val="solid"/>
                    </a:lnBlToTr>
                    <a:solidFill>
                      <a:srgbClr val="9E9EA2">
                        <a:alpha val="12157"/>
                      </a:srgbClr>
                    </a:solidFill>
                  </a:tcPr>
                </a:tc>
                <a:extLst>
                  <a:ext uri="{0D108BD9-81ED-4DB2-BD59-A6C34878D82A}">
                    <a16:rowId xmlns:a16="http://schemas.microsoft.com/office/drawing/2014/main" val="3840769751"/>
                  </a:ext>
                </a:extLst>
              </a:tr>
              <a:tr h="433556">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pPr algn="ctr"/>
                      <a:r>
                        <a:rPr lang="en-US" sz="1200" dirty="0"/>
                        <a:t>Mobile </a:t>
                      </a:r>
                      <a:r>
                        <a:rPr lang="en-US" sz="1200" dirty="0" err="1"/>
                        <a:t>xHaul</a:t>
                      </a:r>
                      <a:endParaRPr lang="en-US" sz="1200" dirty="0"/>
                    </a:p>
                  </a:txBody>
                  <a:tcPr marL="45720" marR="4572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endParaRPr lang="en-US" sz="1200" dirty="0"/>
                    </a:p>
                  </a:txBody>
                  <a:tcPr marL="45720" marR="45720" anchor="ctr">
                    <a:lnL>
                      <a:noFill/>
                    </a:lnL>
                    <a:lnR>
                      <a:noFill/>
                    </a:lnR>
                    <a:lnT>
                      <a:noFill/>
                    </a:lnT>
                    <a:lnB>
                      <a:noFill/>
                    </a:lnB>
                    <a:lnTlToBr w="12700" cmpd="sng">
                      <a:noFill/>
                      <a:prstDash val="solid"/>
                    </a:lnTlToBr>
                    <a:lnBlToTr w="12700" cmpd="sng">
                      <a:noFill/>
                      <a:prstDash val="solid"/>
                    </a:lnBlToTr>
                    <a:solidFill>
                      <a:srgbClr val="9E9EA2">
                        <a:alpha val="12157"/>
                      </a:srgbClr>
                    </a:solidFill>
                  </a:tcPr>
                </a:tc>
                <a:extLst>
                  <a:ext uri="{0D108BD9-81ED-4DB2-BD59-A6C34878D82A}">
                    <a16:rowId xmlns:a16="http://schemas.microsoft.com/office/drawing/2014/main" val="3696418484"/>
                  </a:ext>
                </a:extLst>
              </a:tr>
              <a:tr h="433556">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pPr algn="ctr"/>
                      <a:r>
                        <a:rPr lang="en-US" sz="1200" dirty="0"/>
                        <a:t>IP and Optical</a:t>
                      </a:r>
                    </a:p>
                  </a:txBody>
                  <a:tcPr marL="45720" marR="4572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endParaRPr lang="en-US" sz="1200" dirty="0"/>
                    </a:p>
                  </a:txBody>
                  <a:tcPr marL="45720" marR="45720" anchor="ctr">
                    <a:lnL>
                      <a:noFill/>
                    </a:lnL>
                    <a:lnR>
                      <a:noFill/>
                    </a:lnR>
                    <a:lnT>
                      <a:noFill/>
                    </a:lnT>
                    <a:lnB>
                      <a:noFill/>
                    </a:lnB>
                    <a:lnTlToBr w="12700" cmpd="sng">
                      <a:noFill/>
                      <a:prstDash val="solid"/>
                    </a:lnTlToBr>
                    <a:lnBlToTr w="12700" cmpd="sng">
                      <a:noFill/>
                      <a:prstDash val="solid"/>
                    </a:lnBlToTr>
                    <a:solidFill>
                      <a:srgbClr val="9E9EA2">
                        <a:alpha val="12157"/>
                      </a:srgbClr>
                    </a:solidFill>
                  </a:tcPr>
                </a:tc>
                <a:extLst>
                  <a:ext uri="{0D108BD9-81ED-4DB2-BD59-A6C34878D82A}">
                    <a16:rowId xmlns:a16="http://schemas.microsoft.com/office/drawing/2014/main" val="1303855100"/>
                  </a:ext>
                </a:extLst>
              </a:tr>
              <a:tr h="433556">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pPr algn="ctr"/>
                      <a:r>
                        <a:rPr lang="en-US" sz="1200"/>
                        <a:t>Services Data</a:t>
                      </a:r>
                      <a:r>
                        <a:rPr lang="en-US" sz="1200" baseline="0"/>
                        <a:t> </a:t>
                      </a:r>
                      <a:r>
                        <a:rPr lang="en-US" sz="1200" baseline="0" dirty="0"/>
                        <a:t>Center</a:t>
                      </a:r>
                      <a:endParaRPr lang="en-US" sz="1200" dirty="0"/>
                    </a:p>
                  </a:txBody>
                  <a:tcPr marL="45720" marR="4572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endParaRPr lang="en-US" sz="1200" dirty="0"/>
                    </a:p>
                  </a:txBody>
                  <a:tcPr marL="45720" marR="45720" anchor="ctr">
                    <a:lnL>
                      <a:noFill/>
                    </a:lnL>
                    <a:lnR>
                      <a:noFill/>
                    </a:lnR>
                    <a:lnT>
                      <a:noFill/>
                    </a:lnT>
                    <a:lnB>
                      <a:noFill/>
                    </a:lnB>
                    <a:lnTlToBr w="12700" cmpd="sng">
                      <a:noFill/>
                      <a:prstDash val="solid"/>
                    </a:lnTlToBr>
                    <a:lnBlToTr w="12700" cmpd="sng">
                      <a:noFill/>
                      <a:prstDash val="solid"/>
                    </a:lnBlToTr>
                    <a:solidFill>
                      <a:srgbClr val="9E9EA2">
                        <a:alpha val="12157"/>
                      </a:srgbClr>
                    </a:solidFill>
                  </a:tcPr>
                </a:tc>
                <a:extLst>
                  <a:ext uri="{0D108BD9-81ED-4DB2-BD59-A6C34878D82A}">
                    <a16:rowId xmlns:a16="http://schemas.microsoft.com/office/drawing/2014/main" val="2262277624"/>
                  </a:ext>
                </a:extLst>
              </a:tr>
              <a:tr h="433556">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pPr algn="ctr"/>
                      <a:endParaRPr lang="en-US" sz="1200" dirty="0"/>
                    </a:p>
                  </a:txBody>
                  <a:tcPr marL="45720" marR="45720" anchor="b">
                    <a:lnL>
                      <a:noFill/>
                    </a:lnL>
                    <a:lnR>
                      <a:noFill/>
                    </a:lnR>
                    <a:lnT>
                      <a:noFill/>
                    </a:lnT>
                    <a:lnB w="12700" cmpd="sng">
                      <a:solidFill>
                        <a:srgbClr val="005073"/>
                      </a:solidFill>
                    </a:lnB>
                    <a:lnTlToBr w="12700" cmpd="sng">
                      <a:noFill/>
                      <a:prstDash val="solid"/>
                    </a:lnTlToBr>
                    <a:lnBlToTr w="12700" cmpd="sng">
                      <a:noFill/>
                      <a:prstDash val="solid"/>
                    </a:lnBlToTr>
                    <a:noFill/>
                  </a:tcPr>
                </a:tc>
                <a:tc>
                  <a:txBody>
                    <a:bodyPr/>
                    <a:lstStyle>
                      <a:lvl1pPr marL="0" algn="l" defTabSz="257175" rtl="0" eaLnBrk="1" latinLnBrk="0" hangingPunct="1">
                        <a:defRPr sz="1000" kern="1200">
                          <a:solidFill>
                            <a:schemeClr val="tx1"/>
                          </a:solidFill>
                          <a:latin typeface="CiscoSansTT ExtraLight"/>
                          <a:ea typeface=""/>
                          <a:cs typeface=""/>
                        </a:defRPr>
                      </a:lvl1pPr>
                      <a:lvl2pPr marL="257175" algn="l" defTabSz="257175" rtl="0" eaLnBrk="1" latinLnBrk="0" hangingPunct="1">
                        <a:defRPr sz="1000" kern="1200">
                          <a:solidFill>
                            <a:schemeClr val="tx1"/>
                          </a:solidFill>
                          <a:latin typeface="CiscoSansTT ExtraLight"/>
                          <a:ea typeface=""/>
                          <a:cs typeface=""/>
                        </a:defRPr>
                      </a:lvl2pPr>
                      <a:lvl3pPr marL="514350" algn="l" defTabSz="257175" rtl="0" eaLnBrk="1" latinLnBrk="0" hangingPunct="1">
                        <a:defRPr sz="1000" kern="1200">
                          <a:solidFill>
                            <a:schemeClr val="tx1"/>
                          </a:solidFill>
                          <a:latin typeface="CiscoSansTT ExtraLight"/>
                          <a:ea typeface=""/>
                          <a:cs typeface=""/>
                        </a:defRPr>
                      </a:lvl3pPr>
                      <a:lvl4pPr marL="771525" algn="l" defTabSz="257175" rtl="0" eaLnBrk="1" latinLnBrk="0" hangingPunct="1">
                        <a:defRPr sz="1000" kern="1200">
                          <a:solidFill>
                            <a:schemeClr val="tx1"/>
                          </a:solidFill>
                          <a:latin typeface="CiscoSansTT ExtraLight"/>
                          <a:ea typeface=""/>
                          <a:cs typeface=""/>
                        </a:defRPr>
                      </a:lvl4pPr>
                      <a:lvl5pPr marL="1028700" algn="l" defTabSz="257175" rtl="0" eaLnBrk="1" latinLnBrk="0" hangingPunct="1">
                        <a:defRPr sz="1000" kern="1200">
                          <a:solidFill>
                            <a:schemeClr val="tx1"/>
                          </a:solidFill>
                          <a:latin typeface="CiscoSansTT ExtraLight"/>
                          <a:ea typeface=""/>
                          <a:cs typeface=""/>
                        </a:defRPr>
                      </a:lvl5pPr>
                      <a:lvl6pPr marL="1285875" algn="l" defTabSz="257175" rtl="0" eaLnBrk="1" latinLnBrk="0" hangingPunct="1">
                        <a:defRPr sz="1000" kern="1200">
                          <a:solidFill>
                            <a:schemeClr val="tx1"/>
                          </a:solidFill>
                          <a:latin typeface="CiscoSansTT ExtraLight"/>
                          <a:ea typeface=""/>
                          <a:cs typeface=""/>
                        </a:defRPr>
                      </a:lvl6pPr>
                      <a:lvl7pPr marL="1543050" algn="l" defTabSz="257175" rtl="0" eaLnBrk="1" latinLnBrk="0" hangingPunct="1">
                        <a:defRPr sz="1000" kern="1200">
                          <a:solidFill>
                            <a:schemeClr val="tx1"/>
                          </a:solidFill>
                          <a:latin typeface="CiscoSansTT ExtraLight"/>
                          <a:ea typeface=""/>
                          <a:cs typeface=""/>
                        </a:defRPr>
                      </a:lvl7pPr>
                      <a:lvl8pPr marL="1800225" algn="l" defTabSz="257175" rtl="0" eaLnBrk="1" latinLnBrk="0" hangingPunct="1">
                        <a:defRPr sz="1000" kern="1200">
                          <a:solidFill>
                            <a:schemeClr val="tx1"/>
                          </a:solidFill>
                          <a:latin typeface="CiscoSansTT ExtraLight"/>
                          <a:ea typeface=""/>
                          <a:cs typeface=""/>
                        </a:defRPr>
                      </a:lvl8pPr>
                      <a:lvl9pPr marL="2057400" algn="l" defTabSz="257175" rtl="0" eaLnBrk="1" latinLnBrk="0" hangingPunct="1">
                        <a:defRPr sz="1000" kern="1200">
                          <a:solidFill>
                            <a:schemeClr val="tx1"/>
                          </a:solidFill>
                          <a:latin typeface="CiscoSansTT ExtraLight"/>
                          <a:ea typeface=""/>
                          <a:cs typeface=""/>
                        </a:defRPr>
                      </a:lvl9pPr>
                    </a:lstStyle>
                    <a:p>
                      <a:endParaRPr lang="en-US" sz="1200" dirty="0"/>
                    </a:p>
                  </a:txBody>
                  <a:tcPr marL="45720" marR="45720" anchor="ctr">
                    <a:lnL>
                      <a:noFill/>
                    </a:lnL>
                    <a:lnR>
                      <a:noFill/>
                    </a:lnR>
                    <a:lnT>
                      <a:noFill/>
                    </a:lnT>
                    <a:lnB w="12700" cmpd="sng">
                      <a:solidFill>
                        <a:srgbClr val="005073"/>
                      </a:solidFill>
                    </a:lnB>
                    <a:lnTlToBr w="12700" cmpd="sng">
                      <a:noFill/>
                      <a:prstDash val="solid"/>
                    </a:lnTlToBr>
                    <a:lnBlToTr w="12700" cmpd="sng">
                      <a:noFill/>
                      <a:prstDash val="solid"/>
                    </a:lnBlToTr>
                    <a:solidFill>
                      <a:srgbClr val="9E9EA2">
                        <a:alpha val="12157"/>
                      </a:srgbClr>
                    </a:solidFill>
                  </a:tcPr>
                </a:tc>
                <a:extLst>
                  <a:ext uri="{0D108BD9-81ED-4DB2-BD59-A6C34878D82A}">
                    <a16:rowId xmlns:a16="http://schemas.microsoft.com/office/drawing/2014/main" val="2803698434"/>
                  </a:ext>
                </a:extLst>
              </a:tr>
            </a:tbl>
          </a:graphicData>
        </a:graphic>
      </p:graphicFrame>
      <p:sp>
        <p:nvSpPr>
          <p:cNvPr id="102" name="Rectangle 20"/>
          <p:cNvSpPr>
            <a:spLocks noChangeArrowheads="1"/>
          </p:cNvSpPr>
          <p:nvPr/>
        </p:nvSpPr>
        <p:spPr bwMode="auto">
          <a:xfrm>
            <a:off x="2575051" y="2252565"/>
            <a:ext cx="1519139" cy="911272"/>
          </a:xfrm>
          <a:prstGeom prst="rect">
            <a:avLst/>
          </a:prstGeom>
          <a:noFill/>
          <a:ln>
            <a:noFill/>
          </a:ln>
          <a:effectLst/>
        </p:spPr>
        <p:txBody>
          <a:bodyPr lIns="61601" tIns="30800" rIns="61601" bIns="30800" anchor="t">
            <a:noAutofit/>
          </a:bodyPr>
          <a:lstStyle/>
          <a:p>
            <a:pPr algn="ctr" defTabSz="457200" fontAlgn="base">
              <a:spcBef>
                <a:spcPct val="0"/>
              </a:spcBef>
              <a:spcAft>
                <a:spcPct val="0"/>
              </a:spcAft>
            </a:pPr>
            <a:r>
              <a:rPr lang="en-US" sz="1000" b="1" dirty="0">
                <a:solidFill>
                  <a:srgbClr val="595959"/>
                </a:solidFill>
                <a:latin typeface="CiscoSansTT ExtraLight"/>
                <a:ea typeface=""/>
                <a:cs typeface=""/>
              </a:rPr>
              <a:t>SR</a:t>
            </a:r>
          </a:p>
        </p:txBody>
      </p:sp>
      <p:sp>
        <p:nvSpPr>
          <p:cNvPr id="103" name="Line 577"/>
          <p:cNvSpPr>
            <a:spLocks noChangeShapeType="1"/>
          </p:cNvSpPr>
          <p:nvPr/>
        </p:nvSpPr>
        <p:spPr bwMode="auto">
          <a:xfrm flipH="1">
            <a:off x="2774291" y="2598111"/>
            <a:ext cx="651676" cy="68353"/>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700" kern="0">
              <a:solidFill>
                <a:srgbClr val="000000"/>
              </a:solidFill>
              <a:latin typeface="Calibri" charset="0"/>
              <a:ea typeface="Calibri" charset="0"/>
              <a:cs typeface="Calibri" charset="0"/>
            </a:endParaRPr>
          </a:p>
        </p:txBody>
      </p:sp>
      <p:sp>
        <p:nvSpPr>
          <p:cNvPr id="104" name="Line 577"/>
          <p:cNvSpPr>
            <a:spLocks noChangeShapeType="1"/>
          </p:cNvSpPr>
          <p:nvPr/>
        </p:nvSpPr>
        <p:spPr bwMode="auto">
          <a:xfrm flipH="1" flipV="1">
            <a:off x="2937444" y="2999214"/>
            <a:ext cx="776136" cy="39603"/>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700" kern="0">
              <a:solidFill>
                <a:srgbClr val="000000"/>
              </a:solidFill>
              <a:latin typeface="Calibri" charset="0"/>
              <a:ea typeface="Calibri" charset="0"/>
              <a:cs typeface="Calibri" charset="0"/>
            </a:endParaRPr>
          </a:p>
        </p:txBody>
      </p:sp>
      <p:sp>
        <p:nvSpPr>
          <p:cNvPr id="105" name="Line 577"/>
          <p:cNvSpPr>
            <a:spLocks noChangeShapeType="1"/>
          </p:cNvSpPr>
          <p:nvPr/>
        </p:nvSpPr>
        <p:spPr bwMode="auto">
          <a:xfrm flipH="1" flipV="1">
            <a:off x="2774292" y="2660505"/>
            <a:ext cx="796522" cy="136902"/>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700" kern="0">
              <a:solidFill>
                <a:srgbClr val="000000"/>
              </a:solidFill>
              <a:latin typeface="Calibri" charset="0"/>
              <a:ea typeface="Calibri" charset="0"/>
              <a:cs typeface="Calibri" charset="0"/>
            </a:endParaRPr>
          </a:p>
        </p:txBody>
      </p:sp>
      <p:sp>
        <p:nvSpPr>
          <p:cNvPr id="106" name="Line 577"/>
          <p:cNvSpPr>
            <a:spLocks noChangeShapeType="1"/>
          </p:cNvSpPr>
          <p:nvPr/>
        </p:nvSpPr>
        <p:spPr bwMode="auto">
          <a:xfrm flipH="1">
            <a:off x="2957285" y="2802988"/>
            <a:ext cx="613527" cy="196227"/>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700" kern="0">
              <a:solidFill>
                <a:srgbClr val="000000"/>
              </a:solidFill>
              <a:latin typeface="Calibri" charset="0"/>
              <a:ea typeface="Calibri" charset="0"/>
              <a:cs typeface="Calibri" charset="0"/>
            </a:endParaRPr>
          </a:p>
        </p:txBody>
      </p:sp>
      <p:sp>
        <p:nvSpPr>
          <p:cNvPr id="107" name="Line 577"/>
          <p:cNvSpPr>
            <a:spLocks noChangeShapeType="1"/>
          </p:cNvSpPr>
          <p:nvPr/>
        </p:nvSpPr>
        <p:spPr bwMode="auto">
          <a:xfrm flipV="1">
            <a:off x="2957285" y="2607330"/>
            <a:ext cx="468681" cy="386217"/>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700" kern="0">
              <a:solidFill>
                <a:srgbClr val="000000"/>
              </a:solidFill>
              <a:latin typeface="Calibri" charset="0"/>
              <a:ea typeface="Calibri" charset="0"/>
              <a:cs typeface="Calibri" charset="0"/>
            </a:endParaRPr>
          </a:p>
        </p:txBody>
      </p:sp>
      <p:sp>
        <p:nvSpPr>
          <p:cNvPr id="108" name="Line 577"/>
          <p:cNvSpPr>
            <a:spLocks noChangeShapeType="1"/>
          </p:cNvSpPr>
          <p:nvPr/>
        </p:nvSpPr>
        <p:spPr bwMode="auto">
          <a:xfrm>
            <a:off x="2774291" y="2660503"/>
            <a:ext cx="939287" cy="379700"/>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700" kern="0">
              <a:solidFill>
                <a:srgbClr val="000000"/>
              </a:solidFill>
              <a:latin typeface="Calibri" charset="0"/>
              <a:ea typeface="Calibri" charset="0"/>
              <a:cs typeface="Calibri" charset="0"/>
            </a:endParaRPr>
          </a:p>
        </p:txBody>
      </p:sp>
      <p:grpSp>
        <p:nvGrpSpPr>
          <p:cNvPr id="109" name="Group 108"/>
          <p:cNvGrpSpPr/>
          <p:nvPr/>
        </p:nvGrpSpPr>
        <p:grpSpPr>
          <a:xfrm>
            <a:off x="3256994" y="2425768"/>
            <a:ext cx="499954" cy="297794"/>
            <a:chOff x="7085648" y="6292002"/>
            <a:chExt cx="794549" cy="504886"/>
          </a:xfrm>
        </p:grpSpPr>
        <p:grpSp>
          <p:nvGrpSpPr>
            <p:cNvPr id="110" name="Group 109"/>
            <p:cNvGrpSpPr/>
            <p:nvPr/>
          </p:nvGrpSpPr>
          <p:grpSpPr>
            <a:xfrm>
              <a:off x="7422828" y="6292002"/>
              <a:ext cx="457369" cy="438074"/>
              <a:chOff x="7422828" y="6292002"/>
              <a:chExt cx="702903" cy="673250"/>
            </a:xfrm>
          </p:grpSpPr>
          <p:pic>
            <p:nvPicPr>
              <p:cNvPr id="112" name="Picture 111"/>
              <p:cNvPicPr>
                <a:picLocks noChangeAspect="1"/>
              </p:cNvPicPr>
              <p:nvPr/>
            </p:nvPicPr>
            <p:blipFill>
              <a:blip r:embed="rId3"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422828" y="6292002"/>
                <a:ext cx="491067" cy="549995"/>
              </a:xfrm>
              <a:prstGeom prst="rect">
                <a:avLst/>
              </a:prstGeom>
            </p:spPr>
          </p:pic>
          <p:pic>
            <p:nvPicPr>
              <p:cNvPr id="113" name="Picture 112"/>
              <p:cNvPicPr>
                <a:picLocks noChangeAspect="1"/>
              </p:cNvPicPr>
              <p:nvPr/>
            </p:nvPicPr>
            <p:blipFill>
              <a:blip r:embed="rId3"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528746" y="6353629"/>
                <a:ext cx="491067" cy="549995"/>
              </a:xfrm>
              <a:prstGeom prst="rect">
                <a:avLst/>
              </a:prstGeom>
            </p:spPr>
          </p:pic>
          <p:pic>
            <p:nvPicPr>
              <p:cNvPr id="114" name="Picture 113"/>
              <p:cNvPicPr>
                <a:picLocks noChangeAspect="1"/>
              </p:cNvPicPr>
              <p:nvPr/>
            </p:nvPicPr>
            <p:blipFill>
              <a:blip r:embed="rId3"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634664" y="6415257"/>
                <a:ext cx="491067" cy="549995"/>
              </a:xfrm>
              <a:prstGeom prst="rect">
                <a:avLst/>
              </a:prstGeom>
            </p:spPr>
          </p:pic>
        </p:grpSp>
        <p:pic>
          <p:nvPicPr>
            <p:cNvPr id="111" name="Picture 110"/>
            <p:cNvPicPr>
              <a:picLocks noChangeAspect="1"/>
            </p:cNvPicPr>
            <p:nvPr/>
          </p:nvPicPr>
          <p:blipFill>
            <a:blip r:embed="rId4"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085648" y="6332102"/>
              <a:ext cx="537086" cy="464786"/>
            </a:xfrm>
            <a:prstGeom prst="rect">
              <a:avLst/>
            </a:prstGeom>
          </p:spPr>
        </p:pic>
      </p:grpSp>
      <p:grpSp>
        <p:nvGrpSpPr>
          <p:cNvPr id="115" name="Group 114"/>
          <p:cNvGrpSpPr/>
          <p:nvPr/>
        </p:nvGrpSpPr>
        <p:grpSpPr>
          <a:xfrm>
            <a:off x="3401838" y="2644930"/>
            <a:ext cx="499954" cy="297794"/>
            <a:chOff x="7085648" y="6292002"/>
            <a:chExt cx="794549" cy="504886"/>
          </a:xfrm>
        </p:grpSpPr>
        <p:grpSp>
          <p:nvGrpSpPr>
            <p:cNvPr id="116" name="Group 115"/>
            <p:cNvGrpSpPr/>
            <p:nvPr/>
          </p:nvGrpSpPr>
          <p:grpSpPr>
            <a:xfrm>
              <a:off x="7422828" y="6292002"/>
              <a:ext cx="457369" cy="438074"/>
              <a:chOff x="7422828" y="6292002"/>
              <a:chExt cx="702903" cy="673250"/>
            </a:xfrm>
          </p:grpSpPr>
          <p:pic>
            <p:nvPicPr>
              <p:cNvPr id="118" name="Picture 117"/>
              <p:cNvPicPr>
                <a:picLocks noChangeAspect="1"/>
              </p:cNvPicPr>
              <p:nvPr/>
            </p:nvPicPr>
            <p:blipFill>
              <a:blip r:embed="rId3"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422828" y="6292002"/>
                <a:ext cx="491067" cy="549995"/>
              </a:xfrm>
              <a:prstGeom prst="rect">
                <a:avLst/>
              </a:prstGeom>
            </p:spPr>
          </p:pic>
          <p:pic>
            <p:nvPicPr>
              <p:cNvPr id="119" name="Picture 118"/>
              <p:cNvPicPr>
                <a:picLocks noChangeAspect="1"/>
              </p:cNvPicPr>
              <p:nvPr/>
            </p:nvPicPr>
            <p:blipFill>
              <a:blip r:embed="rId3"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528746" y="6353629"/>
                <a:ext cx="491067" cy="549995"/>
              </a:xfrm>
              <a:prstGeom prst="rect">
                <a:avLst/>
              </a:prstGeom>
            </p:spPr>
          </p:pic>
          <p:pic>
            <p:nvPicPr>
              <p:cNvPr id="120" name="Picture 119"/>
              <p:cNvPicPr>
                <a:picLocks noChangeAspect="1"/>
              </p:cNvPicPr>
              <p:nvPr/>
            </p:nvPicPr>
            <p:blipFill>
              <a:blip r:embed="rId3"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634664" y="6415257"/>
                <a:ext cx="491067" cy="549995"/>
              </a:xfrm>
              <a:prstGeom prst="rect">
                <a:avLst/>
              </a:prstGeom>
            </p:spPr>
          </p:pic>
        </p:grpSp>
        <p:pic>
          <p:nvPicPr>
            <p:cNvPr id="117" name="Picture 116"/>
            <p:cNvPicPr>
              <a:picLocks noChangeAspect="1"/>
            </p:cNvPicPr>
            <p:nvPr/>
          </p:nvPicPr>
          <p:blipFill>
            <a:blip r:embed="rId4"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085648" y="6332102"/>
              <a:ext cx="537086" cy="464786"/>
            </a:xfrm>
            <a:prstGeom prst="rect">
              <a:avLst/>
            </a:prstGeom>
          </p:spPr>
        </p:pic>
      </p:grpSp>
      <p:grpSp>
        <p:nvGrpSpPr>
          <p:cNvPr id="121" name="Group 120"/>
          <p:cNvGrpSpPr/>
          <p:nvPr/>
        </p:nvGrpSpPr>
        <p:grpSpPr>
          <a:xfrm>
            <a:off x="3546680" y="2864091"/>
            <a:ext cx="499954" cy="297794"/>
            <a:chOff x="7085648" y="6292002"/>
            <a:chExt cx="794549" cy="504886"/>
          </a:xfrm>
        </p:grpSpPr>
        <p:grpSp>
          <p:nvGrpSpPr>
            <p:cNvPr id="122" name="Group 121"/>
            <p:cNvGrpSpPr/>
            <p:nvPr/>
          </p:nvGrpSpPr>
          <p:grpSpPr>
            <a:xfrm>
              <a:off x="7422828" y="6292002"/>
              <a:ext cx="457369" cy="438074"/>
              <a:chOff x="7422828" y="6292002"/>
              <a:chExt cx="702903" cy="673250"/>
            </a:xfrm>
          </p:grpSpPr>
          <p:pic>
            <p:nvPicPr>
              <p:cNvPr id="124" name="Picture 123"/>
              <p:cNvPicPr>
                <a:picLocks noChangeAspect="1"/>
              </p:cNvPicPr>
              <p:nvPr/>
            </p:nvPicPr>
            <p:blipFill>
              <a:blip r:embed="rId3" cstate="print">
                <a:duotone>
                  <a:srgbClr val="FFFFFF">
                    <a:shade val="45000"/>
                    <a:satMod val="135000"/>
                  </a:srgbClr>
                  <a:prstClr val="white"/>
                </a:duotone>
                <a:extLst>
                  <a:ext uri="{28A0092B-C50C-407E-A947-70E740481C1C}">
                    <a14:useLocalDpi xmlns:a14="http://schemas.microsoft.com/office/drawing/2010/main" val="0"/>
                  </a:ext>
                </a:extLst>
              </a:blip>
              <a:stretch>
                <a:fillRect/>
              </a:stretch>
            </p:blipFill>
            <p:spPr>
              <a:xfrm>
                <a:off x="7422828" y="6292002"/>
                <a:ext cx="491067" cy="549995"/>
              </a:xfrm>
              <a:prstGeom prst="rect">
                <a:avLst/>
              </a:prstGeom>
            </p:spPr>
          </p:pic>
          <p:pic>
            <p:nvPicPr>
              <p:cNvPr id="125" name="Picture 124"/>
              <p:cNvPicPr>
                <a:picLocks noChangeAspect="1"/>
              </p:cNvPicPr>
              <p:nvPr/>
            </p:nvPicPr>
            <p:blipFill>
              <a:blip r:embed="rId3"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528746" y="6353629"/>
                <a:ext cx="491067" cy="549995"/>
              </a:xfrm>
              <a:prstGeom prst="rect">
                <a:avLst/>
              </a:prstGeom>
            </p:spPr>
          </p:pic>
          <p:pic>
            <p:nvPicPr>
              <p:cNvPr id="126" name="Picture 125"/>
              <p:cNvPicPr>
                <a:picLocks noChangeAspect="1"/>
              </p:cNvPicPr>
              <p:nvPr/>
            </p:nvPicPr>
            <p:blipFill>
              <a:blip r:embed="rId3"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634664" y="6415257"/>
                <a:ext cx="491067" cy="549995"/>
              </a:xfrm>
              <a:prstGeom prst="rect">
                <a:avLst/>
              </a:prstGeom>
            </p:spPr>
          </p:pic>
        </p:grpSp>
        <p:pic>
          <p:nvPicPr>
            <p:cNvPr id="123" name="Picture 122"/>
            <p:cNvPicPr>
              <a:picLocks noChangeAspect="1"/>
            </p:cNvPicPr>
            <p:nvPr/>
          </p:nvPicPr>
          <p:blipFill>
            <a:blip r:embed="rId4"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7085648" y="6332102"/>
              <a:ext cx="537086" cy="464786"/>
            </a:xfrm>
            <a:prstGeom prst="rect">
              <a:avLst/>
            </a:prstGeom>
          </p:spPr>
        </p:pic>
      </p:grpSp>
      <p:pic>
        <p:nvPicPr>
          <p:cNvPr id="127" name="Picture 126"/>
          <p:cNvPicPr>
            <a:picLocks noChangeAspect="1"/>
          </p:cNvPicPr>
          <p:nvPr/>
        </p:nvPicPr>
        <p:blipFill>
          <a:blip r:embed="rId5"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2591298" y="2367228"/>
            <a:ext cx="365987" cy="406896"/>
          </a:xfrm>
          <a:prstGeom prst="rect">
            <a:avLst/>
          </a:prstGeom>
        </p:spPr>
      </p:pic>
      <p:pic>
        <p:nvPicPr>
          <p:cNvPr id="128" name="Picture 127"/>
          <p:cNvPicPr>
            <a:picLocks noChangeAspect="1"/>
          </p:cNvPicPr>
          <p:nvPr/>
        </p:nvPicPr>
        <p:blipFill>
          <a:blip r:embed="rId5"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2757126" y="2716967"/>
            <a:ext cx="365987" cy="406896"/>
          </a:xfrm>
          <a:prstGeom prst="rect">
            <a:avLst/>
          </a:prstGeom>
        </p:spPr>
      </p:pic>
      <p:grpSp>
        <p:nvGrpSpPr>
          <p:cNvPr id="129" name="Group 128"/>
          <p:cNvGrpSpPr/>
          <p:nvPr/>
        </p:nvGrpSpPr>
        <p:grpSpPr>
          <a:xfrm>
            <a:off x="2568548" y="1567816"/>
            <a:ext cx="1613087" cy="519929"/>
            <a:chOff x="3847143" y="1770898"/>
            <a:chExt cx="1613087" cy="519929"/>
          </a:xfrm>
        </p:grpSpPr>
        <p:sp>
          <p:nvSpPr>
            <p:cNvPr id="130" name="Rectangle 14"/>
            <p:cNvSpPr>
              <a:spLocks noChangeArrowheads="1"/>
            </p:cNvSpPr>
            <p:nvPr/>
          </p:nvSpPr>
          <p:spPr bwMode="auto">
            <a:xfrm rot="16200000">
              <a:off x="4358626" y="1262881"/>
              <a:ext cx="506906" cy="1529872"/>
            </a:xfrm>
            <a:prstGeom prst="rect">
              <a:avLst/>
            </a:prstGeom>
            <a:noFill/>
            <a:ln>
              <a:noFill/>
            </a:ln>
            <a:effectLst/>
          </p:spPr>
          <p:txBody>
            <a:bodyPr lIns="61601" tIns="30800" rIns="61601" bIns="30800" anchor="t">
              <a:noAutofit/>
            </a:bodyPr>
            <a:lstStyle/>
            <a:p>
              <a:pPr algn="ctr" defTabSz="457200" fontAlgn="base">
                <a:spcBef>
                  <a:spcPct val="0"/>
                </a:spcBef>
                <a:spcAft>
                  <a:spcPct val="0"/>
                </a:spcAft>
                <a:defRPr/>
              </a:pPr>
              <a:endParaRPr lang="en-US" sz="1400" kern="0" dirty="0">
                <a:solidFill>
                  <a:srgbClr val="676767"/>
                </a:solidFill>
                <a:latin typeface="Calibri" charset="0"/>
                <a:ea typeface="Calibri" charset="0"/>
                <a:cs typeface="Calibri" charset="0"/>
              </a:endParaRPr>
            </a:p>
          </p:txBody>
        </p:sp>
        <p:grpSp>
          <p:nvGrpSpPr>
            <p:cNvPr id="131" name="Group 130"/>
            <p:cNvGrpSpPr/>
            <p:nvPr/>
          </p:nvGrpSpPr>
          <p:grpSpPr>
            <a:xfrm>
              <a:off x="4089415" y="1926740"/>
              <a:ext cx="1045329" cy="364087"/>
              <a:chOff x="4045881" y="1891796"/>
              <a:chExt cx="1045329" cy="364087"/>
            </a:xfrm>
          </p:grpSpPr>
          <p:pic>
            <p:nvPicPr>
              <p:cNvPr id="133" name="Picture 132"/>
              <p:cNvPicPr>
                <a:picLocks noChangeAspect="1"/>
              </p:cNvPicPr>
              <p:nvPr/>
            </p:nvPicPr>
            <p:blipFill>
              <a:blip r:embed="rId6"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4045881" y="1891796"/>
                <a:ext cx="267388" cy="364087"/>
              </a:xfrm>
              <a:prstGeom prst="rect">
                <a:avLst/>
              </a:prstGeom>
            </p:spPr>
          </p:pic>
          <p:pic>
            <p:nvPicPr>
              <p:cNvPr id="134" name="Picture 133"/>
              <p:cNvPicPr>
                <a:picLocks noChangeAspect="1"/>
              </p:cNvPicPr>
              <p:nvPr/>
            </p:nvPicPr>
            <p:blipFill>
              <a:blip r:embed="rId6"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4823822" y="1891796"/>
                <a:ext cx="267388" cy="364087"/>
              </a:xfrm>
              <a:prstGeom prst="rect">
                <a:avLst/>
              </a:prstGeom>
            </p:spPr>
          </p:pic>
          <p:pic>
            <p:nvPicPr>
              <p:cNvPr id="135" name="Picture 134"/>
              <p:cNvPicPr>
                <a:picLocks noChangeAspect="1"/>
              </p:cNvPicPr>
              <p:nvPr/>
            </p:nvPicPr>
            <p:blipFill>
              <a:blip r:embed="rId6"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4564509" y="1891796"/>
                <a:ext cx="267388" cy="364087"/>
              </a:xfrm>
              <a:prstGeom prst="rect">
                <a:avLst/>
              </a:prstGeom>
            </p:spPr>
          </p:pic>
          <p:pic>
            <p:nvPicPr>
              <p:cNvPr id="136" name="Picture 135"/>
              <p:cNvPicPr>
                <a:picLocks noChangeAspect="1"/>
              </p:cNvPicPr>
              <p:nvPr/>
            </p:nvPicPr>
            <p:blipFill>
              <a:blip r:embed="rId6"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a:off x="4305195" y="1891796"/>
                <a:ext cx="267388" cy="364087"/>
              </a:xfrm>
              <a:prstGeom prst="rect">
                <a:avLst/>
              </a:prstGeom>
            </p:spPr>
          </p:pic>
        </p:grpSp>
        <p:sp>
          <p:nvSpPr>
            <p:cNvPr id="132" name="TextBox 131"/>
            <p:cNvSpPr txBox="1"/>
            <p:nvPr/>
          </p:nvSpPr>
          <p:spPr>
            <a:xfrm>
              <a:off x="3847288" y="1770898"/>
              <a:ext cx="1612942" cy="246221"/>
            </a:xfrm>
            <a:prstGeom prst="rect">
              <a:avLst/>
            </a:prstGeom>
            <a:noFill/>
          </p:spPr>
          <p:txBody>
            <a:bodyPr wrap="none" rtlCol="0">
              <a:spAutoFit/>
            </a:bodyPr>
            <a:lstStyle/>
            <a:p>
              <a:pPr defTabSz="457200" fontAlgn="base">
                <a:spcBef>
                  <a:spcPct val="0"/>
                </a:spcBef>
                <a:spcAft>
                  <a:spcPct val="0"/>
                </a:spcAft>
                <a:defRPr/>
              </a:pPr>
              <a:r>
                <a:rPr lang="en-US" sz="1000" b="1" dirty="0">
                  <a:solidFill>
                    <a:srgbClr val="595959"/>
                  </a:solidFill>
                  <a:latin typeface="CiscoSansTT ExtraLight"/>
                  <a:ea typeface=""/>
                  <a:cs typeface=""/>
                </a:rPr>
                <a:t>Telemetry</a:t>
              </a:r>
              <a:r>
                <a:rPr lang="en-US" sz="1000" kern="0" dirty="0">
                  <a:solidFill>
                    <a:srgbClr val="676767"/>
                  </a:solidFill>
                  <a:latin typeface="CiscoSansTT" charset="0"/>
                  <a:ea typeface="CiscoSansTT" charset="0"/>
                  <a:cs typeface="CiscoSansTT" charset="0"/>
                </a:rPr>
                <a:t> </a:t>
              </a:r>
              <a:r>
                <a:rPr lang="en-US" sz="1000" b="1" dirty="0">
                  <a:solidFill>
                    <a:srgbClr val="595959"/>
                  </a:solidFill>
                  <a:latin typeface="CiscoSansTT ExtraLight"/>
                  <a:ea typeface=""/>
                  <a:cs typeface=""/>
                </a:rPr>
                <a:t>and</a:t>
              </a:r>
              <a:r>
                <a:rPr lang="en-US" sz="1000" kern="0" dirty="0">
                  <a:solidFill>
                    <a:srgbClr val="676767"/>
                  </a:solidFill>
                  <a:latin typeface="CiscoSansTT" charset="0"/>
                  <a:ea typeface="CiscoSansTT" charset="0"/>
                  <a:cs typeface="CiscoSansTT" charset="0"/>
                </a:rPr>
                <a:t> </a:t>
              </a:r>
              <a:r>
                <a:rPr lang="en-US" sz="1000" b="1" dirty="0">
                  <a:solidFill>
                    <a:srgbClr val="595959"/>
                  </a:solidFill>
                  <a:latin typeface="CiscoSansTT ExtraLight"/>
                  <a:ea typeface=""/>
                  <a:cs typeface=""/>
                </a:rPr>
                <a:t>Analytics</a:t>
              </a:r>
            </a:p>
          </p:txBody>
        </p:sp>
      </p:grpSp>
      <p:grpSp>
        <p:nvGrpSpPr>
          <p:cNvPr id="137" name="Group 136"/>
          <p:cNvGrpSpPr/>
          <p:nvPr/>
        </p:nvGrpSpPr>
        <p:grpSpPr>
          <a:xfrm>
            <a:off x="2564316" y="3389942"/>
            <a:ext cx="1531529" cy="1046950"/>
            <a:chOff x="4379348" y="2007015"/>
            <a:chExt cx="1508387" cy="1505080"/>
          </a:xfrm>
        </p:grpSpPr>
        <p:sp>
          <p:nvSpPr>
            <p:cNvPr id="138" name="Rectangle 20"/>
            <p:cNvSpPr>
              <a:spLocks noChangeArrowheads="1"/>
            </p:cNvSpPr>
            <p:nvPr/>
          </p:nvSpPr>
          <p:spPr bwMode="auto">
            <a:xfrm>
              <a:off x="4379348" y="2007015"/>
              <a:ext cx="1508387" cy="1454178"/>
            </a:xfrm>
            <a:prstGeom prst="rect">
              <a:avLst/>
            </a:prstGeom>
            <a:noFill/>
            <a:ln w="9525" algn="ctr">
              <a:noFill/>
              <a:miter lim="800000"/>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t">
              <a:noAutofit/>
            </a:bodyPr>
            <a:lstStyle/>
            <a:p>
              <a:pPr algn="ctr" defTabSz="457200" fontAlgn="base">
                <a:spcBef>
                  <a:spcPct val="0"/>
                </a:spcBef>
                <a:spcAft>
                  <a:spcPct val="0"/>
                </a:spcAft>
                <a:defRPr/>
              </a:pPr>
              <a:r>
                <a:rPr lang="en-US" sz="1000" b="1" dirty="0">
                  <a:solidFill>
                    <a:srgbClr val="595959"/>
                  </a:solidFill>
                  <a:latin typeface="CiscoSansTT ExtraLight"/>
                  <a:ea typeface=""/>
                  <a:cs typeface=""/>
                </a:rPr>
                <a:t>Scalable Fabric</a:t>
              </a:r>
            </a:p>
          </p:txBody>
        </p:sp>
        <p:pic>
          <p:nvPicPr>
            <p:cNvPr id="139" name="Picture 138"/>
            <p:cNvPicPr>
              <a:picLocks noChangeAspect="1"/>
            </p:cNvPicPr>
            <p:nvPr/>
          </p:nvPicPr>
          <p:blipFill>
            <a:blip r:embed="rId7" cstate="print">
              <a:duotone>
                <a:srgbClr val="676767">
                  <a:shade val="45000"/>
                  <a:satMod val="135000"/>
                </a:srgbClr>
                <a:prstClr val="white"/>
              </a:duotone>
              <a:extLst>
                <a:ext uri="{28A0092B-C50C-407E-A947-70E740481C1C}">
                  <a14:useLocalDpi xmlns:a14="http://schemas.microsoft.com/office/drawing/2010/main" val="0"/>
                </a:ext>
              </a:extLst>
            </a:blip>
            <a:stretch>
              <a:fillRect/>
            </a:stretch>
          </p:blipFill>
          <p:spPr>
            <a:xfrm flipH="1">
              <a:off x="4705836" y="2335749"/>
              <a:ext cx="1045343" cy="994083"/>
            </a:xfrm>
            <a:prstGeom prst="rect">
              <a:avLst/>
            </a:prstGeom>
            <a:ln>
              <a:noFill/>
            </a:ln>
          </p:spPr>
        </p:pic>
        <p:cxnSp>
          <p:nvCxnSpPr>
            <p:cNvPr id="140" name="Straight Connector 139"/>
            <p:cNvCxnSpPr/>
            <p:nvPr/>
          </p:nvCxnSpPr>
          <p:spPr>
            <a:xfrm flipH="1">
              <a:off x="5591361" y="2586431"/>
              <a:ext cx="1447" cy="473588"/>
            </a:xfrm>
            <a:prstGeom prst="line">
              <a:avLst/>
            </a:prstGeom>
            <a:noFill/>
            <a:ln w="19050">
              <a:solidFill>
                <a:srgbClr val="005073"/>
              </a:solidFill>
              <a:prstDash val="solid"/>
              <a:round/>
              <a:headEnd/>
              <a:tailEnd/>
            </a:ln>
          </p:spPr>
        </p:cxnSp>
        <p:sp>
          <p:nvSpPr>
            <p:cNvPr id="141" name="Line 617"/>
            <p:cNvSpPr>
              <a:spLocks noChangeShapeType="1"/>
            </p:cNvSpPr>
            <p:nvPr/>
          </p:nvSpPr>
          <p:spPr bwMode="auto">
            <a:xfrm flipH="1" flipV="1">
              <a:off x="5070467" y="2586431"/>
              <a:ext cx="440867" cy="7853"/>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1000" kern="0">
                <a:solidFill>
                  <a:srgbClr val="000000"/>
                </a:solidFill>
                <a:latin typeface="Calibri" charset="0"/>
                <a:ea typeface="Calibri" charset="0"/>
                <a:cs typeface="Calibri" charset="0"/>
              </a:endParaRPr>
            </a:p>
          </p:txBody>
        </p:sp>
        <p:sp>
          <p:nvSpPr>
            <p:cNvPr id="142" name="Line 617"/>
            <p:cNvSpPr>
              <a:spLocks noChangeShapeType="1"/>
            </p:cNvSpPr>
            <p:nvPr/>
          </p:nvSpPr>
          <p:spPr bwMode="auto">
            <a:xfrm flipH="1">
              <a:off x="5070467" y="2594284"/>
              <a:ext cx="484507" cy="508654"/>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1000" kern="0">
                <a:solidFill>
                  <a:srgbClr val="000000"/>
                </a:solidFill>
                <a:latin typeface="Calibri" charset="0"/>
                <a:ea typeface="Calibri" charset="0"/>
                <a:cs typeface="Calibri" charset="0"/>
              </a:endParaRPr>
            </a:p>
          </p:txBody>
        </p:sp>
        <p:sp>
          <p:nvSpPr>
            <p:cNvPr id="143" name="Line 617"/>
            <p:cNvSpPr>
              <a:spLocks noChangeShapeType="1"/>
            </p:cNvSpPr>
            <p:nvPr/>
          </p:nvSpPr>
          <p:spPr bwMode="auto">
            <a:xfrm flipH="1" flipV="1">
              <a:off x="5145457" y="2637177"/>
              <a:ext cx="409517" cy="465761"/>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1000" kern="0">
                <a:solidFill>
                  <a:srgbClr val="000000"/>
                </a:solidFill>
                <a:latin typeface="Calibri" charset="0"/>
                <a:ea typeface="Calibri" charset="0"/>
                <a:cs typeface="Calibri" charset="0"/>
              </a:endParaRPr>
            </a:p>
          </p:txBody>
        </p:sp>
        <p:sp>
          <p:nvSpPr>
            <p:cNvPr id="144" name="Line 617"/>
            <p:cNvSpPr>
              <a:spLocks noChangeShapeType="1"/>
            </p:cNvSpPr>
            <p:nvPr/>
          </p:nvSpPr>
          <p:spPr bwMode="auto">
            <a:xfrm flipH="1" flipV="1">
              <a:off x="5070467" y="3152915"/>
              <a:ext cx="484505" cy="2"/>
            </a:xfrm>
            <a:prstGeom prst="line">
              <a:avLst/>
            </a:prstGeom>
            <a:noFill/>
            <a:ln w="19050">
              <a:solidFill>
                <a:srgbClr val="005073"/>
              </a:solidFill>
              <a:prstDash val="solid"/>
              <a:round/>
              <a:headEnd/>
              <a:tailEnd/>
            </a:ln>
          </p:spPr>
          <p:txBody>
            <a:bodyPr lIns="82103" tIns="41051" rIns="82103" bIns="41051"/>
            <a:lstStyle/>
            <a:p>
              <a:pPr defTabSz="342761">
                <a:defRPr/>
              </a:pPr>
              <a:endParaRPr lang="it-IT" sz="1000" kern="0">
                <a:solidFill>
                  <a:srgbClr val="000000"/>
                </a:solidFill>
                <a:latin typeface="Calibri" charset="0"/>
                <a:ea typeface="Calibri" charset="0"/>
                <a:cs typeface="Calibri" charset="0"/>
              </a:endParaRPr>
            </a:p>
          </p:txBody>
        </p:sp>
        <p:cxnSp>
          <p:nvCxnSpPr>
            <p:cNvPr id="145" name="Straight Connector 141"/>
            <p:cNvCxnSpPr/>
            <p:nvPr/>
          </p:nvCxnSpPr>
          <p:spPr bwMode="auto">
            <a:xfrm flipV="1">
              <a:off x="4673815" y="3186721"/>
              <a:ext cx="463425" cy="84470"/>
            </a:xfrm>
            <a:prstGeom prst="bentConnector3">
              <a:avLst>
                <a:gd name="adj1" fmla="val 99653"/>
              </a:avLst>
            </a:prstGeom>
            <a:noFill/>
            <a:ln w="19050">
              <a:solidFill>
                <a:srgbClr val="005073"/>
              </a:solidFill>
              <a:prstDash val="solid"/>
              <a:round/>
              <a:headEnd/>
              <a:tailEnd/>
            </a:ln>
          </p:spPr>
        </p:cxnSp>
        <p:cxnSp>
          <p:nvCxnSpPr>
            <p:cNvPr id="146" name="Straight Connector 141"/>
            <p:cNvCxnSpPr/>
            <p:nvPr/>
          </p:nvCxnSpPr>
          <p:spPr bwMode="auto">
            <a:xfrm>
              <a:off x="4860253" y="3167461"/>
              <a:ext cx="205576" cy="0"/>
            </a:xfrm>
            <a:prstGeom prst="straightConnector1">
              <a:avLst/>
            </a:prstGeom>
            <a:noFill/>
            <a:ln w="19050">
              <a:solidFill>
                <a:srgbClr val="005073"/>
              </a:solidFill>
              <a:prstDash val="solid"/>
              <a:round/>
              <a:headEnd/>
              <a:tailEnd/>
            </a:ln>
          </p:spPr>
        </p:cxnSp>
        <p:cxnSp>
          <p:nvCxnSpPr>
            <p:cNvPr id="147" name="Straight Connector 141"/>
            <p:cNvCxnSpPr/>
            <p:nvPr/>
          </p:nvCxnSpPr>
          <p:spPr bwMode="auto">
            <a:xfrm>
              <a:off x="4684218" y="3002257"/>
              <a:ext cx="381612" cy="86908"/>
            </a:xfrm>
            <a:prstGeom prst="bentConnector3">
              <a:avLst>
                <a:gd name="adj1" fmla="val 70793"/>
              </a:avLst>
            </a:prstGeom>
            <a:noFill/>
            <a:ln w="19050">
              <a:solidFill>
                <a:srgbClr val="005073"/>
              </a:solidFill>
              <a:prstDash val="solid"/>
              <a:round/>
              <a:headEnd/>
              <a:tailEnd/>
            </a:ln>
          </p:spPr>
        </p:cxnSp>
        <p:pic>
          <p:nvPicPr>
            <p:cNvPr id="148" name="Picture 14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23148" y="2927030"/>
              <a:ext cx="235966" cy="366415"/>
            </a:xfrm>
            <a:prstGeom prst="rect">
              <a:avLst/>
            </a:prstGeom>
            <a:ln>
              <a:noFill/>
            </a:ln>
          </p:spPr>
        </p:pic>
        <p:cxnSp>
          <p:nvCxnSpPr>
            <p:cNvPr id="149" name="Straight Connector 141"/>
            <p:cNvCxnSpPr/>
            <p:nvPr/>
          </p:nvCxnSpPr>
          <p:spPr bwMode="auto">
            <a:xfrm flipV="1">
              <a:off x="4682031" y="2662914"/>
              <a:ext cx="463425" cy="84470"/>
            </a:xfrm>
            <a:prstGeom prst="bentConnector3">
              <a:avLst>
                <a:gd name="adj1" fmla="val 99653"/>
              </a:avLst>
            </a:prstGeom>
            <a:noFill/>
            <a:ln w="19050">
              <a:solidFill>
                <a:srgbClr val="005073"/>
              </a:solidFill>
              <a:prstDash val="solid"/>
              <a:round/>
              <a:headEnd/>
              <a:tailEnd/>
            </a:ln>
          </p:spPr>
        </p:cxnSp>
        <p:cxnSp>
          <p:nvCxnSpPr>
            <p:cNvPr id="150" name="Straight Connector 141"/>
            <p:cNvCxnSpPr/>
            <p:nvPr/>
          </p:nvCxnSpPr>
          <p:spPr bwMode="auto">
            <a:xfrm>
              <a:off x="4868469" y="2643654"/>
              <a:ext cx="205576" cy="0"/>
            </a:xfrm>
            <a:prstGeom prst="straightConnector1">
              <a:avLst/>
            </a:prstGeom>
            <a:noFill/>
            <a:ln w="19050">
              <a:solidFill>
                <a:srgbClr val="005073"/>
              </a:solidFill>
              <a:prstDash val="solid"/>
              <a:round/>
              <a:headEnd/>
              <a:tailEnd/>
            </a:ln>
          </p:spPr>
        </p:cxnSp>
        <p:cxnSp>
          <p:nvCxnSpPr>
            <p:cNvPr id="151" name="Straight Connector 141"/>
            <p:cNvCxnSpPr/>
            <p:nvPr/>
          </p:nvCxnSpPr>
          <p:spPr bwMode="auto">
            <a:xfrm>
              <a:off x="4692434" y="2478450"/>
              <a:ext cx="381612" cy="86908"/>
            </a:xfrm>
            <a:prstGeom prst="bentConnector3">
              <a:avLst>
                <a:gd name="adj1" fmla="val 70793"/>
              </a:avLst>
            </a:prstGeom>
            <a:noFill/>
            <a:ln w="19050">
              <a:solidFill>
                <a:srgbClr val="005073"/>
              </a:solidFill>
              <a:prstDash val="solid"/>
              <a:round/>
              <a:headEnd/>
              <a:tailEnd/>
            </a:ln>
          </p:spPr>
        </p:cxnSp>
        <p:pic>
          <p:nvPicPr>
            <p:cNvPr id="152" name="Picture 1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31364" y="2403223"/>
              <a:ext cx="235966" cy="366415"/>
            </a:xfrm>
            <a:prstGeom prst="rect">
              <a:avLst/>
            </a:prstGeom>
            <a:ln>
              <a:noFill/>
            </a:ln>
          </p:spPr>
        </p:pic>
        <p:pic>
          <p:nvPicPr>
            <p:cNvPr id="153" name="Picture 1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15506" y="2887628"/>
              <a:ext cx="302122" cy="469144"/>
            </a:xfrm>
            <a:prstGeom prst="rect">
              <a:avLst/>
            </a:prstGeom>
            <a:ln>
              <a:noFill/>
            </a:ln>
          </p:spPr>
        </p:pic>
        <p:pic>
          <p:nvPicPr>
            <p:cNvPr id="154" name="Picture 1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09284" y="2320463"/>
              <a:ext cx="302122" cy="469144"/>
            </a:xfrm>
            <a:prstGeom prst="rect">
              <a:avLst/>
            </a:prstGeom>
            <a:ln>
              <a:noFill/>
            </a:ln>
          </p:spPr>
        </p:pic>
        <p:pic>
          <p:nvPicPr>
            <p:cNvPr id="155" name="Picture 1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13398" y="2782357"/>
              <a:ext cx="302122" cy="469144"/>
            </a:xfrm>
            <a:prstGeom prst="rect">
              <a:avLst/>
            </a:prstGeom>
            <a:ln>
              <a:noFill/>
            </a:ln>
          </p:spPr>
        </p:pic>
        <p:pic>
          <p:nvPicPr>
            <p:cNvPr id="156" name="Picture 1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07176" y="2215192"/>
              <a:ext cx="302122" cy="469144"/>
            </a:xfrm>
            <a:prstGeom prst="rect">
              <a:avLst/>
            </a:prstGeom>
            <a:ln>
              <a:noFill/>
            </a:ln>
          </p:spPr>
        </p:pic>
        <p:pic>
          <p:nvPicPr>
            <p:cNvPr id="157" name="Picture 15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16875" y="3042951"/>
              <a:ext cx="302122" cy="469144"/>
            </a:xfrm>
            <a:prstGeom prst="rect">
              <a:avLst/>
            </a:prstGeom>
            <a:ln>
              <a:noFill/>
            </a:ln>
          </p:spPr>
        </p:pic>
        <p:pic>
          <p:nvPicPr>
            <p:cNvPr id="158" name="Picture 15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10653" y="2475786"/>
              <a:ext cx="302122" cy="469144"/>
            </a:xfrm>
            <a:prstGeom prst="rect">
              <a:avLst/>
            </a:prstGeom>
            <a:ln>
              <a:noFill/>
            </a:ln>
          </p:spPr>
        </p:pic>
      </p:grpSp>
      <p:sp>
        <p:nvSpPr>
          <p:cNvPr id="159" name="Rounded Rectangle 158"/>
          <p:cNvSpPr/>
          <p:nvPr/>
        </p:nvSpPr>
        <p:spPr>
          <a:xfrm>
            <a:off x="4329522" y="1178319"/>
            <a:ext cx="3119577" cy="389497"/>
          </a:xfrm>
          <a:prstGeom prst="roundRect">
            <a:avLst/>
          </a:prstGeom>
          <a:solidFill>
            <a:srgbClr val="6EBE4A">
              <a:lumMod val="20000"/>
              <a:lumOff val="80000"/>
            </a:srgbClr>
          </a:solidFill>
          <a:ln w="25400" cap="flat" cmpd="sng" algn="ctr">
            <a:noFill/>
            <a:prstDash val="solid"/>
          </a:ln>
          <a:effectLst/>
        </p:spPr>
        <p:txBody>
          <a:bodyPr rtlCol="0" anchor="ctr"/>
          <a:lstStyle/>
          <a:p>
            <a:pPr defTabSz="914400"/>
            <a:r>
              <a:rPr lang="en-US" sz="1100" b="1" kern="0" dirty="0">
                <a:solidFill>
                  <a:srgbClr val="005073"/>
                </a:solidFill>
                <a:latin typeface="CiscoSansTT ExtraLight"/>
                <a:ea typeface=""/>
                <a:cs typeface=""/>
              </a:rPr>
              <a:t>Shorter deployment cycle - verified &amp; tested Cisco design</a:t>
            </a:r>
          </a:p>
        </p:txBody>
      </p:sp>
      <p:sp>
        <p:nvSpPr>
          <p:cNvPr id="161" name="Rounded Rectangle 160"/>
          <p:cNvSpPr/>
          <p:nvPr/>
        </p:nvSpPr>
        <p:spPr>
          <a:xfrm>
            <a:off x="4327036" y="2146956"/>
            <a:ext cx="3119577" cy="355488"/>
          </a:xfrm>
          <a:prstGeom prst="roundRect">
            <a:avLst/>
          </a:prstGeom>
          <a:solidFill>
            <a:schemeClr val="tx1">
              <a:lumMod val="20000"/>
              <a:lumOff val="80000"/>
            </a:schemeClr>
          </a:solidFill>
          <a:ln w="25400" cap="flat" cmpd="sng" algn="ctr">
            <a:noFill/>
            <a:prstDash val="solid"/>
          </a:ln>
          <a:effectLst/>
        </p:spPr>
        <p:txBody>
          <a:bodyPr rtlCol="0" anchor="ctr"/>
          <a:lstStyle/>
          <a:p>
            <a:pPr defTabSz="914400"/>
            <a:r>
              <a:rPr lang="en-US" sz="1100" b="1" kern="0" dirty="0">
                <a:solidFill>
                  <a:srgbClr val="005073"/>
                </a:solidFill>
                <a:latin typeface="CiscoSansTT ExtraLight"/>
                <a:ea typeface=""/>
                <a:cs typeface=""/>
              </a:rPr>
              <a:t>Deep network visibility &amp; remediation with Telemetry.</a:t>
            </a:r>
            <a:endParaRPr kumimoji="1" lang="en-US" sz="1100" kern="0" dirty="0">
              <a:solidFill>
                <a:srgbClr val="282828"/>
              </a:solidFill>
              <a:latin typeface="CiscoSansTT ExtraLight"/>
              <a:ea typeface="ＭＳ Ｐゴシック" charset="0"/>
              <a:cs typeface="ＭＳ Ｐゴシック" charset="0"/>
            </a:endParaRPr>
          </a:p>
        </p:txBody>
      </p:sp>
      <p:sp>
        <p:nvSpPr>
          <p:cNvPr id="162" name="Rounded Rectangle 161"/>
          <p:cNvSpPr/>
          <p:nvPr/>
        </p:nvSpPr>
        <p:spPr>
          <a:xfrm>
            <a:off x="4329521" y="1662164"/>
            <a:ext cx="3119577" cy="379965"/>
          </a:xfrm>
          <a:prstGeom prst="roundRect">
            <a:avLst/>
          </a:prstGeom>
          <a:solidFill>
            <a:schemeClr val="accent2">
              <a:lumMod val="20000"/>
              <a:lumOff val="80000"/>
            </a:schemeClr>
          </a:solidFill>
          <a:ln w="25400" cap="flat" cmpd="sng" algn="ctr">
            <a:noFill/>
            <a:prstDash val="solid"/>
          </a:ln>
          <a:effectLst/>
        </p:spPr>
        <p:txBody>
          <a:bodyPr rtlCol="0" anchor="ctr"/>
          <a:lstStyle/>
          <a:p>
            <a:pPr defTabSz="914400"/>
            <a:r>
              <a:rPr lang="en-US" sz="1100" b="1" kern="0" dirty="0">
                <a:solidFill>
                  <a:srgbClr val="005073"/>
                </a:solidFill>
                <a:latin typeface="CiscoSansTT ExtraLight"/>
                <a:ea typeface=""/>
                <a:cs typeface=""/>
              </a:rPr>
              <a:t>Faster service activation across infrastructure.</a:t>
            </a:r>
          </a:p>
        </p:txBody>
      </p:sp>
      <p:sp>
        <p:nvSpPr>
          <p:cNvPr id="163" name="Rounded Rectangle 162"/>
          <p:cNvSpPr/>
          <p:nvPr/>
        </p:nvSpPr>
        <p:spPr>
          <a:xfrm>
            <a:off x="4336884" y="3607980"/>
            <a:ext cx="3119577" cy="379965"/>
          </a:xfrm>
          <a:prstGeom prst="roundRect">
            <a:avLst/>
          </a:prstGeom>
          <a:solidFill>
            <a:srgbClr val="E6F1F2"/>
          </a:solidFill>
          <a:ln w="25400" cap="flat" cmpd="sng" algn="ctr">
            <a:noFill/>
            <a:prstDash val="solid"/>
          </a:ln>
          <a:effectLst/>
        </p:spPr>
        <p:txBody>
          <a:bodyPr rtlCol="0" anchor="ctr"/>
          <a:lstStyle/>
          <a:p>
            <a:pPr defTabSz="914400"/>
            <a:r>
              <a:rPr lang="en-US" sz="1100" b="1" kern="0" dirty="0">
                <a:solidFill>
                  <a:srgbClr val="005073"/>
                </a:solidFill>
                <a:latin typeface="CiscoSansTT ExtraLight"/>
                <a:ea typeface=""/>
                <a:cs typeface=""/>
              </a:rPr>
              <a:t>Investment protection with scalable fabric design</a:t>
            </a:r>
          </a:p>
        </p:txBody>
      </p:sp>
      <p:sp>
        <p:nvSpPr>
          <p:cNvPr id="164" name="Rounded Rectangle 163"/>
          <p:cNvSpPr/>
          <p:nvPr/>
        </p:nvSpPr>
        <p:spPr>
          <a:xfrm>
            <a:off x="4345530" y="2712950"/>
            <a:ext cx="3119577" cy="349011"/>
          </a:xfrm>
          <a:prstGeom prst="roundRect">
            <a:avLst/>
          </a:prstGeom>
          <a:solidFill>
            <a:schemeClr val="accent6">
              <a:lumMod val="20000"/>
              <a:lumOff val="80000"/>
            </a:schemeClr>
          </a:solidFill>
          <a:ln w="25400" cap="flat" cmpd="sng" algn="ctr">
            <a:noFill/>
            <a:prstDash val="solid"/>
          </a:ln>
          <a:effectLst/>
        </p:spPr>
        <p:txBody>
          <a:bodyPr rtlCol="0" anchor="ctr"/>
          <a:lstStyle/>
          <a:p>
            <a:pPr defTabSz="914400"/>
            <a:r>
              <a:rPr lang="en-US" sz="1100" b="1" kern="0" dirty="0">
                <a:solidFill>
                  <a:srgbClr val="005073"/>
                </a:solidFill>
                <a:latin typeface="CiscoSansTT ExtraLight"/>
                <a:ea typeface=""/>
                <a:cs typeface=""/>
              </a:rPr>
              <a:t>Maximize network utilization with SR</a:t>
            </a:r>
          </a:p>
        </p:txBody>
      </p:sp>
      <p:sp>
        <p:nvSpPr>
          <p:cNvPr id="168" name="Rounded Rectangle 167"/>
          <p:cNvSpPr/>
          <p:nvPr/>
        </p:nvSpPr>
        <p:spPr>
          <a:xfrm>
            <a:off x="7537992" y="1131936"/>
            <a:ext cx="1370034" cy="1341136"/>
          </a:xfrm>
          <a:prstGeom prst="roundRect">
            <a:avLst/>
          </a:prstGeom>
          <a:solidFill>
            <a:srgbClr val="92D050"/>
          </a:solidFill>
          <a:ln w="25400" cap="flat" cmpd="sng" algn="ctr">
            <a:noFill/>
            <a:prstDash val="solid"/>
          </a:ln>
          <a:effectLst/>
        </p:spPr>
        <p:txBody>
          <a:bodyPr rtlCol="0" anchor="ctr"/>
          <a:lstStyle/>
          <a:p>
            <a:pPr defTabSz="914400"/>
            <a:r>
              <a:rPr lang="en-US" sz="1200" b="1" kern="0" dirty="0" err="1">
                <a:solidFill>
                  <a:srgbClr val="005073"/>
                </a:solidFill>
                <a:latin typeface="CiscoSansTT ExtraLight"/>
                <a:ea typeface=""/>
                <a:cs typeface=""/>
              </a:rPr>
              <a:t>OpEx</a:t>
            </a:r>
            <a:r>
              <a:rPr lang="en-US" sz="1200" b="1" kern="0" dirty="0">
                <a:solidFill>
                  <a:srgbClr val="005073"/>
                </a:solidFill>
                <a:latin typeface="CiscoSansTT ExtraLight"/>
                <a:ea typeface=""/>
                <a:cs typeface=""/>
              </a:rPr>
              <a:t> Savings</a:t>
            </a:r>
          </a:p>
        </p:txBody>
      </p:sp>
      <p:sp>
        <p:nvSpPr>
          <p:cNvPr id="169" name="Rounded Rectangle 168"/>
          <p:cNvSpPr/>
          <p:nvPr/>
        </p:nvSpPr>
        <p:spPr>
          <a:xfrm>
            <a:off x="7537992" y="2712949"/>
            <a:ext cx="1370034" cy="1274995"/>
          </a:xfrm>
          <a:prstGeom prst="roundRect">
            <a:avLst/>
          </a:prstGeom>
          <a:solidFill>
            <a:srgbClr val="92D050"/>
          </a:solidFill>
          <a:ln w="25400" cap="flat" cmpd="sng" algn="ctr">
            <a:noFill/>
            <a:prstDash val="solid"/>
          </a:ln>
          <a:effectLst/>
        </p:spPr>
        <p:txBody>
          <a:bodyPr rtlCol="0" anchor="ctr"/>
          <a:lstStyle/>
          <a:p>
            <a:pPr defTabSz="914400"/>
            <a:r>
              <a:rPr lang="en-US" sz="1200" b="1" kern="0" dirty="0" err="1">
                <a:solidFill>
                  <a:srgbClr val="005073"/>
                </a:solidFill>
                <a:latin typeface="CiscoSansTT ExtraLight"/>
                <a:ea typeface=""/>
                <a:cs typeface=""/>
              </a:rPr>
              <a:t>CapEx</a:t>
            </a:r>
            <a:r>
              <a:rPr lang="en-US" sz="1200" b="1" kern="0" dirty="0">
                <a:solidFill>
                  <a:srgbClr val="005073"/>
                </a:solidFill>
                <a:latin typeface="CiscoSansTT ExtraLight"/>
                <a:ea typeface=""/>
                <a:cs typeface=""/>
              </a:rPr>
              <a:t> Savings</a:t>
            </a:r>
          </a:p>
        </p:txBody>
      </p:sp>
      <p:sp>
        <p:nvSpPr>
          <p:cNvPr id="72" name="Rounded Rectangle 71"/>
          <p:cNvSpPr/>
          <p:nvPr/>
        </p:nvSpPr>
        <p:spPr>
          <a:xfrm>
            <a:off x="4345530" y="3161885"/>
            <a:ext cx="3119577" cy="349011"/>
          </a:xfrm>
          <a:prstGeom prst="roundRect">
            <a:avLst/>
          </a:prstGeom>
          <a:solidFill>
            <a:srgbClr val="F1F2D7"/>
          </a:solidFill>
          <a:ln w="25400" cap="flat" cmpd="sng" algn="ctr">
            <a:noFill/>
            <a:prstDash val="solid"/>
          </a:ln>
          <a:effectLst/>
        </p:spPr>
        <p:txBody>
          <a:bodyPr rtlCol="0" anchor="ctr"/>
          <a:lstStyle/>
          <a:p>
            <a:pPr defTabSz="914400"/>
            <a:r>
              <a:rPr lang="en-US" sz="1100" b="1" kern="0" dirty="0">
                <a:solidFill>
                  <a:srgbClr val="005073"/>
                </a:solidFill>
                <a:latin typeface="CiscoSansTT ExtraLight"/>
                <a:ea typeface=""/>
                <a:cs typeface=""/>
              </a:rPr>
              <a:t>Cost-optimized platform.</a:t>
            </a:r>
          </a:p>
        </p:txBody>
      </p:sp>
      <p:sp>
        <p:nvSpPr>
          <p:cNvPr id="2" name="Title 1">
            <a:extLst>
              <a:ext uri="{FF2B5EF4-FFF2-40B4-BE49-F238E27FC236}">
                <a16:creationId xmlns:a16="http://schemas.microsoft.com/office/drawing/2014/main" id="{C2FA4A50-1CBE-4AAE-A970-7C40278CBA2D}"/>
              </a:ext>
            </a:extLst>
          </p:cNvPr>
          <p:cNvSpPr>
            <a:spLocks noGrp="1"/>
          </p:cNvSpPr>
          <p:nvPr>
            <p:ph type="title"/>
          </p:nvPr>
        </p:nvSpPr>
        <p:spPr/>
        <p:txBody>
          <a:bodyPr/>
          <a:lstStyle/>
          <a:p>
            <a:r>
              <a:rPr lang="en-ZA" dirty="0"/>
              <a:t>Validated Designs for Each portion of the Network</a:t>
            </a:r>
          </a:p>
        </p:txBody>
      </p:sp>
    </p:spTree>
    <p:extLst>
      <p:ext uri="{BB962C8B-B14F-4D97-AF65-F5344CB8AC3E}">
        <p14:creationId xmlns:p14="http://schemas.microsoft.com/office/powerpoint/2010/main" val="85156358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46276" y="2032558"/>
            <a:ext cx="2460396" cy="1293275"/>
          </a:xfrm>
          <a:prstGeom prst="rect">
            <a:avLst/>
          </a:prstGeom>
          <a:solidFill>
            <a:srgbClr val="FFC000"/>
          </a:solidFill>
          <a:ln>
            <a:solidFill>
              <a:schemeClr val="accent1"/>
            </a:solidFill>
            <a:prstDash val="sysDash"/>
          </a:ln>
        </p:spPr>
      </p:pic>
      <p:grpSp>
        <p:nvGrpSpPr>
          <p:cNvPr id="24" name="Group 23"/>
          <p:cNvGrpSpPr/>
          <p:nvPr/>
        </p:nvGrpSpPr>
        <p:grpSpPr>
          <a:xfrm>
            <a:off x="3599659" y="2032558"/>
            <a:ext cx="2802900" cy="2187305"/>
            <a:chOff x="3412914" y="1191417"/>
            <a:chExt cx="3927014" cy="3064532"/>
          </a:xfrm>
        </p:grpSpPr>
        <p:pic>
          <p:nvPicPr>
            <p:cNvPr id="18" name="Picture 2" descr="https://scontent-sjc2-1.xx.fbcdn.net/v/t39.2365-6/10734294_775986955823316_1197403205_n.jpg?oh=e9b4464724f8dbb8b94dc72eb7791800&amp;oe=5A35891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412914" y="1736790"/>
              <a:ext cx="2390143" cy="1885783"/>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p:cNvGrpSpPr/>
            <p:nvPr/>
          </p:nvGrpSpPr>
          <p:grpSpPr>
            <a:xfrm rot="16200000">
              <a:off x="3877119" y="793140"/>
              <a:ext cx="3064532" cy="3861086"/>
              <a:chOff x="2794000" y="565149"/>
              <a:chExt cx="3556000" cy="4013201"/>
            </a:xfrm>
          </p:grpSpPr>
          <p:sp>
            <p:nvSpPr>
              <p:cNvPr id="20" name="Oval 19"/>
              <p:cNvSpPr/>
              <p:nvPr/>
            </p:nvSpPr>
            <p:spPr>
              <a:xfrm>
                <a:off x="2928620" y="704849"/>
                <a:ext cx="3276600" cy="1137920"/>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22" name="Freeform 21"/>
              <p:cNvSpPr/>
              <p:nvPr/>
            </p:nvSpPr>
            <p:spPr>
              <a:xfrm>
                <a:off x="3048000" y="3816350"/>
                <a:ext cx="3048000" cy="762000"/>
              </a:xfrm>
              <a:custGeom>
                <a:avLst/>
                <a:gdLst>
                  <a:gd name="connsiteX0" fmla="*/ 0 w 3048000"/>
                  <a:gd name="connsiteY0" fmla="*/ 0 h 762000"/>
                  <a:gd name="connsiteX1" fmla="*/ 3048000 w 3048000"/>
                  <a:gd name="connsiteY1" fmla="*/ 0 h 762000"/>
                  <a:gd name="connsiteX2" fmla="*/ 3048000 w 3048000"/>
                  <a:gd name="connsiteY2" fmla="*/ 762000 h 762000"/>
                  <a:gd name="connsiteX3" fmla="*/ 0 w 3048000"/>
                  <a:gd name="connsiteY3" fmla="*/ 762000 h 762000"/>
                  <a:gd name="connsiteX4" fmla="*/ 0 w 3048000"/>
                  <a:gd name="connsiteY4" fmla="*/ 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762000">
                    <a:moveTo>
                      <a:pt x="0" y="0"/>
                    </a:moveTo>
                    <a:lnTo>
                      <a:pt x="3048000" y="0"/>
                    </a:lnTo>
                    <a:lnTo>
                      <a:pt x="3048000" y="762000"/>
                    </a:lnTo>
                    <a:lnTo>
                      <a:pt x="0" y="762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2024" tIns="192024" rIns="192024" bIns="192024" numCol="1" spcCol="1270" anchor="ctr" anchorCtr="0">
                <a:noAutofit/>
              </a:bodyPr>
              <a:lstStyle/>
              <a:p>
                <a:pPr algn="ctr" defTabSz="1200120">
                  <a:lnSpc>
                    <a:spcPct val="90000"/>
                  </a:lnSpc>
                  <a:spcAft>
                    <a:spcPct val="35000"/>
                  </a:spcAft>
                  <a:defRPr/>
                </a:pPr>
                <a:endParaRPr lang="en-US" sz="2700">
                  <a:solidFill>
                    <a:srgbClr val="39393B">
                      <a:hueOff val="0"/>
                      <a:satOff val="0"/>
                      <a:lumOff val="0"/>
                      <a:alphaOff val="0"/>
                    </a:srgbClr>
                  </a:solidFill>
                  <a:latin typeface="CiscoSansTT ExtraLight"/>
                </a:endParaRPr>
              </a:p>
            </p:txBody>
          </p:sp>
          <p:sp>
            <p:nvSpPr>
              <p:cNvPr id="23" name="Shape 22"/>
              <p:cNvSpPr/>
              <p:nvPr/>
            </p:nvSpPr>
            <p:spPr>
              <a:xfrm>
                <a:off x="2794000" y="565149"/>
                <a:ext cx="3556000" cy="2844800"/>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grpSp>
      </p:grpSp>
      <p:sp>
        <p:nvSpPr>
          <p:cNvPr id="2" name="Title 1"/>
          <p:cNvSpPr>
            <a:spLocks noGrp="1"/>
          </p:cNvSpPr>
          <p:nvPr>
            <p:ph type="title"/>
          </p:nvPr>
        </p:nvSpPr>
        <p:spPr/>
        <p:txBody>
          <a:bodyPr/>
          <a:lstStyle/>
          <a:p>
            <a:r>
              <a:rPr lang="en-US" dirty="0"/>
              <a:t>The Service Provider Network of the Future – </a:t>
            </a:r>
            <a:br>
              <a:rPr lang="en-US" dirty="0"/>
            </a:br>
            <a:r>
              <a:rPr lang="en-US" dirty="0"/>
              <a:t>A Fabric of Fabrics</a:t>
            </a:r>
          </a:p>
        </p:txBody>
      </p:sp>
      <p:sp>
        <p:nvSpPr>
          <p:cNvPr id="4" name="Rectangle 4"/>
          <p:cNvSpPr>
            <a:spLocks noChangeArrowheads="1"/>
          </p:cNvSpPr>
          <p:nvPr/>
        </p:nvSpPr>
        <p:spPr bwMode="auto">
          <a:xfrm>
            <a:off x="6089102" y="1768548"/>
            <a:ext cx="2577061" cy="2687542"/>
          </a:xfrm>
          <a:prstGeom prst="rect">
            <a:avLst/>
          </a:prstGeom>
          <a:noFill/>
          <a:ln w="19050" algn="ctr">
            <a:solidFill>
              <a:schemeClr val="accent3"/>
            </a:solidFill>
            <a:miter lim="800000"/>
            <a:headEnd/>
            <a:tailEnd/>
          </a:ln>
          <a:effectLst/>
        </p:spPr>
        <p:txBody>
          <a:bodyPr lIns="68589" tIns="137178" rIns="68589" bIns="34295" anchor="t" anchorCtr="0"/>
          <a:lstStyle/>
          <a:p>
            <a:pPr marL="132174" indent="-132174" defTabSz="457189">
              <a:spcBef>
                <a:spcPts val="225"/>
              </a:spcBef>
              <a:spcAft>
                <a:spcPts val="225"/>
              </a:spcAft>
              <a:buSzPct val="80000"/>
              <a:buFont typeface="Arial" pitchFamily="34" charset="0"/>
              <a:buChar char="•"/>
              <a:defRPr/>
            </a:pPr>
            <a:endParaRPr lang="en-US" sz="1100" dirty="0">
              <a:solidFill>
                <a:srgbClr val="282828"/>
              </a:solidFill>
              <a:latin typeface="CiscoSansTT ExtraLight"/>
              <a:cs typeface="Arial" charset="0"/>
            </a:endParaRPr>
          </a:p>
        </p:txBody>
      </p:sp>
      <p:sp>
        <p:nvSpPr>
          <p:cNvPr id="5" name="Rectangle 4"/>
          <p:cNvSpPr>
            <a:spLocks noChangeArrowheads="1"/>
          </p:cNvSpPr>
          <p:nvPr/>
        </p:nvSpPr>
        <p:spPr bwMode="auto">
          <a:xfrm>
            <a:off x="6089102" y="1146222"/>
            <a:ext cx="2577061" cy="625270"/>
          </a:xfrm>
          <a:prstGeom prst="rect">
            <a:avLst/>
          </a:prstGeom>
          <a:solidFill>
            <a:schemeClr val="accent3"/>
          </a:solidFill>
          <a:ln w="19050">
            <a:solidFill>
              <a:schemeClr val="accent3"/>
            </a:solidFill>
            <a:miter lim="800000"/>
            <a:headEnd/>
            <a:tailEnd/>
          </a:ln>
          <a:effectLst/>
        </p:spPr>
        <p:txBody>
          <a:bodyPr lIns="68589" tIns="34295" rIns="68589" bIns="34295" anchor="ctr" anchorCtr="1"/>
          <a:lstStyle/>
          <a:p>
            <a:pPr algn="ctr" defTabSz="610857">
              <a:defRPr/>
            </a:pPr>
            <a:r>
              <a:rPr lang="en-US" dirty="0">
                <a:solidFill>
                  <a:srgbClr val="FFFFFF"/>
                </a:solidFill>
                <a:latin typeface="CiscoSansTT ExtraLight"/>
              </a:rPr>
              <a:t>A Network of Fabrics</a:t>
            </a:r>
          </a:p>
        </p:txBody>
      </p:sp>
      <p:sp>
        <p:nvSpPr>
          <p:cNvPr id="7" name="Rectangle 3"/>
          <p:cNvSpPr>
            <a:spLocks noChangeArrowheads="1"/>
          </p:cNvSpPr>
          <p:nvPr/>
        </p:nvSpPr>
        <p:spPr bwMode="auto">
          <a:xfrm>
            <a:off x="3316807" y="1740532"/>
            <a:ext cx="2577061" cy="2715559"/>
          </a:xfrm>
          <a:prstGeom prst="rect">
            <a:avLst/>
          </a:prstGeom>
          <a:noFill/>
          <a:ln w="19050" algn="ctr">
            <a:solidFill>
              <a:schemeClr val="accent2"/>
            </a:solidFill>
            <a:miter lim="800000"/>
            <a:headEnd/>
            <a:tailEnd/>
          </a:ln>
          <a:effectLst/>
        </p:spPr>
        <p:txBody>
          <a:bodyPr lIns="68589" tIns="137178" rIns="68589" bIns="34295" anchor="t" anchorCtr="0"/>
          <a:lstStyle/>
          <a:p>
            <a:pPr marL="132174" indent="-132174" defTabSz="457189">
              <a:spcBef>
                <a:spcPts val="225"/>
              </a:spcBef>
              <a:spcAft>
                <a:spcPts val="225"/>
              </a:spcAft>
              <a:buSzPct val="80000"/>
              <a:buFont typeface="Arial" pitchFamily="34" charset="0"/>
              <a:buChar char="•"/>
              <a:defRPr/>
            </a:pPr>
            <a:endParaRPr lang="en-US" sz="1100" dirty="0">
              <a:solidFill>
                <a:srgbClr val="282828"/>
              </a:solidFill>
              <a:latin typeface="CiscoSansTT ExtraLight"/>
              <a:cs typeface="Arial" charset="0"/>
            </a:endParaRPr>
          </a:p>
        </p:txBody>
      </p:sp>
      <p:sp>
        <p:nvSpPr>
          <p:cNvPr id="8" name="Rectangle 3"/>
          <p:cNvSpPr>
            <a:spLocks noChangeArrowheads="1"/>
          </p:cNvSpPr>
          <p:nvPr/>
        </p:nvSpPr>
        <p:spPr bwMode="auto">
          <a:xfrm>
            <a:off x="3316807" y="1146221"/>
            <a:ext cx="2577061" cy="599139"/>
          </a:xfrm>
          <a:prstGeom prst="rect">
            <a:avLst/>
          </a:prstGeom>
          <a:solidFill>
            <a:schemeClr val="accent2"/>
          </a:solidFill>
          <a:ln w="19050">
            <a:solidFill>
              <a:schemeClr val="accent2"/>
            </a:solidFill>
            <a:miter lim="800000"/>
            <a:headEnd/>
            <a:tailEnd/>
          </a:ln>
          <a:effectLst/>
        </p:spPr>
        <p:txBody>
          <a:bodyPr lIns="68589" tIns="34295" rIns="68589" bIns="34295" anchor="ctr" anchorCtr="1"/>
          <a:lstStyle/>
          <a:p>
            <a:pPr algn="ctr" defTabSz="610857">
              <a:lnSpc>
                <a:spcPts val="1800"/>
              </a:lnSpc>
              <a:defRPr/>
            </a:pPr>
            <a:r>
              <a:rPr lang="en-US" dirty="0">
                <a:solidFill>
                  <a:srgbClr val="005073"/>
                </a:solidFill>
                <a:latin typeface="CiscoSansTT ExtraLight"/>
              </a:rPr>
              <a:t>Mass-scale Innovations</a:t>
            </a:r>
          </a:p>
        </p:txBody>
      </p:sp>
      <p:sp>
        <p:nvSpPr>
          <p:cNvPr id="10" name="Rectangle 5"/>
          <p:cNvSpPr>
            <a:spLocks noChangeArrowheads="1"/>
          </p:cNvSpPr>
          <p:nvPr/>
        </p:nvSpPr>
        <p:spPr bwMode="auto">
          <a:xfrm>
            <a:off x="544514" y="1740532"/>
            <a:ext cx="2577061" cy="2715559"/>
          </a:xfrm>
          <a:prstGeom prst="rect">
            <a:avLst/>
          </a:prstGeom>
          <a:noFill/>
          <a:ln w="19050" algn="ctr">
            <a:solidFill>
              <a:schemeClr val="accent1"/>
            </a:solidFill>
            <a:miter lim="800000"/>
            <a:headEnd/>
            <a:tailEnd/>
          </a:ln>
          <a:effectLst/>
        </p:spPr>
        <p:txBody>
          <a:bodyPr lIns="68589" tIns="137178" rIns="68589" bIns="34295" anchor="t" anchorCtr="0"/>
          <a:lstStyle/>
          <a:p>
            <a:pPr marL="132174" indent="-132174" defTabSz="457189">
              <a:spcBef>
                <a:spcPts val="225"/>
              </a:spcBef>
              <a:spcAft>
                <a:spcPts val="225"/>
              </a:spcAft>
              <a:buSzPct val="80000"/>
              <a:buFont typeface="Arial" pitchFamily="34" charset="0"/>
              <a:buChar char="•"/>
              <a:defRPr/>
            </a:pPr>
            <a:endParaRPr lang="en-US" sz="1100" dirty="0">
              <a:solidFill>
                <a:srgbClr val="282828"/>
              </a:solidFill>
              <a:latin typeface="CiscoSansTT ExtraLight"/>
              <a:cs typeface="Arial" charset="0"/>
            </a:endParaRPr>
          </a:p>
        </p:txBody>
      </p:sp>
      <p:sp>
        <p:nvSpPr>
          <p:cNvPr id="11" name="Rectangle 5"/>
          <p:cNvSpPr>
            <a:spLocks noChangeArrowheads="1"/>
          </p:cNvSpPr>
          <p:nvPr/>
        </p:nvSpPr>
        <p:spPr bwMode="auto">
          <a:xfrm>
            <a:off x="544514" y="1154798"/>
            <a:ext cx="2577061" cy="590562"/>
          </a:xfrm>
          <a:prstGeom prst="rect">
            <a:avLst/>
          </a:prstGeom>
          <a:solidFill>
            <a:schemeClr val="accent1"/>
          </a:solidFill>
          <a:ln w="19050">
            <a:solidFill>
              <a:schemeClr val="accent1"/>
            </a:solidFill>
            <a:miter lim="800000"/>
            <a:headEnd/>
            <a:tailEnd/>
          </a:ln>
          <a:effectLst/>
        </p:spPr>
        <p:txBody>
          <a:bodyPr lIns="68589" tIns="34295" rIns="68589" bIns="34295" anchor="ctr" anchorCtr="1"/>
          <a:lstStyle/>
          <a:p>
            <a:pPr algn="ctr" defTabSz="610857">
              <a:defRPr/>
            </a:pPr>
            <a:r>
              <a:rPr lang="en-US" dirty="0">
                <a:solidFill>
                  <a:srgbClr val="005073"/>
                </a:solidFill>
                <a:latin typeface="CiscoSansTT ExtraLight"/>
              </a:rPr>
              <a:t>Today’s Network</a:t>
            </a:r>
          </a:p>
        </p:txBody>
      </p:sp>
      <p:pic>
        <p:nvPicPr>
          <p:cNvPr id="12" name="Picture 11"/>
          <p:cNvPicPr>
            <a:picLocks noChangeAspect="1"/>
          </p:cNvPicPr>
          <p:nvPr/>
        </p:nvPicPr>
        <p:blipFill rotWithShape="1">
          <a:blip r:embed="rId5" cstate="email">
            <a:extLst>
              <a:ext uri="{28A0092B-C50C-407E-A947-70E740481C1C}">
                <a14:useLocalDpi xmlns:a14="http://schemas.microsoft.com/office/drawing/2010/main"/>
              </a:ext>
            </a:extLst>
          </a:blip>
          <a:srcRect b="-4504"/>
          <a:stretch/>
        </p:blipFill>
        <p:spPr>
          <a:xfrm>
            <a:off x="672298" y="2060482"/>
            <a:ext cx="2332976" cy="2131454"/>
          </a:xfrm>
          <a:prstGeom prst="rect">
            <a:avLst/>
          </a:prstGeom>
        </p:spPr>
      </p:pic>
      <p:sp>
        <p:nvSpPr>
          <p:cNvPr id="26" name="Right Arrow 25"/>
          <p:cNvSpPr/>
          <p:nvPr/>
        </p:nvSpPr>
        <p:spPr>
          <a:xfrm>
            <a:off x="3058732" y="2926588"/>
            <a:ext cx="412124" cy="399245"/>
          </a:xfrm>
          <a:prstGeom prst="rightArrow">
            <a:avLst/>
          </a:prstGeom>
          <a:solidFill>
            <a:schemeClr val="bg2"/>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7" name="Right Arrow 26"/>
          <p:cNvSpPr/>
          <p:nvPr/>
        </p:nvSpPr>
        <p:spPr>
          <a:xfrm>
            <a:off x="5831973" y="2926588"/>
            <a:ext cx="412124" cy="399245"/>
          </a:xfrm>
          <a:prstGeom prst="rightArrow">
            <a:avLst/>
          </a:prstGeom>
          <a:solidFill>
            <a:schemeClr val="bg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0" name="TextBox 29"/>
          <p:cNvSpPr txBox="1"/>
          <p:nvPr/>
        </p:nvSpPr>
        <p:spPr>
          <a:xfrm>
            <a:off x="6146277" y="3383129"/>
            <a:ext cx="2460395" cy="861774"/>
          </a:xfrm>
          <a:prstGeom prst="rect">
            <a:avLst/>
          </a:prstGeom>
          <a:noFill/>
        </p:spPr>
        <p:txBody>
          <a:bodyPr wrap="square" rtlCol="0">
            <a:spAutoFit/>
          </a:bodyPr>
          <a:lstStyle/>
          <a:p>
            <a:pPr marL="115885" indent="-115885" defTabSz="457189">
              <a:buFont typeface="Arial" panose="020B0604020202020204" pitchFamily="34" charset="0"/>
              <a:buChar char="•"/>
              <a:defRPr/>
            </a:pPr>
            <a:r>
              <a:rPr lang="en-US" sz="1000" dirty="0">
                <a:solidFill>
                  <a:srgbClr val="676767"/>
                </a:solidFill>
                <a:latin typeface="CiscoSansTT ExtraLight"/>
              </a:rPr>
              <a:t>Core &gt;</a:t>
            </a:r>
            <a:r>
              <a:rPr lang="en-US" sz="1000" dirty="0">
                <a:solidFill>
                  <a:srgbClr val="676767"/>
                </a:solidFill>
                <a:latin typeface="Symbol" charset="2"/>
                <a:ea typeface="Symbol" charset="2"/>
                <a:cs typeface="Symbol" charset="2"/>
              </a:rPr>
              <a:t> </a:t>
            </a:r>
            <a:r>
              <a:rPr lang="en-US" sz="1000" dirty="0">
                <a:solidFill>
                  <a:srgbClr val="676767"/>
                </a:solidFill>
                <a:latin typeface="CiscoSansTT ExtraLight"/>
              </a:rPr>
              <a:t>deploy fabric</a:t>
            </a:r>
          </a:p>
          <a:p>
            <a:pPr marL="115885" indent="-115885" defTabSz="457189">
              <a:buFont typeface="Arial" panose="020B0604020202020204" pitchFamily="34" charset="0"/>
              <a:buChar char="•"/>
              <a:defRPr/>
            </a:pPr>
            <a:r>
              <a:rPr lang="en-US" sz="1000" dirty="0">
                <a:solidFill>
                  <a:srgbClr val="676767"/>
                </a:solidFill>
                <a:latin typeface="CiscoSansTT ExtraLight"/>
              </a:rPr>
              <a:t>Edge &gt; deploy fabric</a:t>
            </a:r>
          </a:p>
          <a:p>
            <a:pPr marL="115885" indent="-115885" defTabSz="457189">
              <a:buFont typeface="Arial" panose="020B0604020202020204" pitchFamily="34" charset="0"/>
              <a:buChar char="•"/>
              <a:defRPr/>
            </a:pPr>
            <a:r>
              <a:rPr lang="en-US" sz="1000" dirty="0">
                <a:solidFill>
                  <a:srgbClr val="676767"/>
                </a:solidFill>
                <a:latin typeface="CiscoSansTT ExtraLight"/>
              </a:rPr>
              <a:t>Peering &gt; deploy fabric</a:t>
            </a:r>
          </a:p>
          <a:p>
            <a:pPr marL="115885" indent="-115885" defTabSz="457189">
              <a:buFont typeface="Arial" panose="020B0604020202020204" pitchFamily="34" charset="0"/>
              <a:buChar char="•"/>
              <a:defRPr/>
            </a:pPr>
            <a:r>
              <a:rPr lang="en-US" sz="1000" dirty="0">
                <a:solidFill>
                  <a:srgbClr val="676767"/>
                </a:solidFill>
                <a:latin typeface="CiscoSansTT ExtraLight"/>
              </a:rPr>
              <a:t>Aggregation &gt; deploy fabric where optical infrastructure allows</a:t>
            </a:r>
          </a:p>
        </p:txBody>
      </p:sp>
    </p:spTree>
    <p:extLst>
      <p:ext uri="{BB962C8B-B14F-4D97-AF65-F5344CB8AC3E}">
        <p14:creationId xmlns:p14="http://schemas.microsoft.com/office/powerpoint/2010/main" val="1819983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3" name="Right Bracket 432">
            <a:extLst>
              <a:ext uri="{FF2B5EF4-FFF2-40B4-BE49-F238E27FC236}">
                <a16:creationId xmlns:a16="http://schemas.microsoft.com/office/drawing/2014/main" id="{CC545D59-401D-7446-9B6E-C58BAA9B4AF1}"/>
              </a:ext>
            </a:extLst>
          </p:cNvPr>
          <p:cNvSpPr/>
          <p:nvPr/>
        </p:nvSpPr>
        <p:spPr>
          <a:xfrm flipV="1">
            <a:off x="5681278" y="1000014"/>
            <a:ext cx="2299583" cy="618083"/>
          </a:xfrm>
          <a:prstGeom prst="rightBracket">
            <a:avLst>
              <a:gd name="adj" fmla="val 19811"/>
            </a:avLst>
          </a:prstGeom>
          <a:solidFill>
            <a:schemeClr val="tx2"/>
          </a:solidFill>
          <a:ln w="222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2"/>
              </a:solidFill>
            </a:endParaRPr>
          </a:p>
        </p:txBody>
      </p:sp>
      <p:sp>
        <p:nvSpPr>
          <p:cNvPr id="432" name="Right Bracket 431">
            <a:extLst>
              <a:ext uri="{FF2B5EF4-FFF2-40B4-BE49-F238E27FC236}">
                <a16:creationId xmlns:a16="http://schemas.microsoft.com/office/drawing/2014/main" id="{77589443-0078-9B4E-83C2-F139CB8117F4}"/>
              </a:ext>
            </a:extLst>
          </p:cNvPr>
          <p:cNvSpPr/>
          <p:nvPr/>
        </p:nvSpPr>
        <p:spPr>
          <a:xfrm flipH="1" flipV="1">
            <a:off x="3394885" y="999061"/>
            <a:ext cx="2299583" cy="618083"/>
          </a:xfrm>
          <a:prstGeom prst="rightBracket">
            <a:avLst>
              <a:gd name="adj" fmla="val 19811"/>
            </a:avLst>
          </a:prstGeom>
          <a:solidFill>
            <a:schemeClr val="tx2"/>
          </a:solidFill>
          <a:ln w="222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2"/>
              </a:solidFill>
            </a:endParaRPr>
          </a:p>
        </p:txBody>
      </p:sp>
      <p:sp>
        <p:nvSpPr>
          <p:cNvPr id="2" name="Title 1"/>
          <p:cNvSpPr>
            <a:spLocks noGrp="1"/>
          </p:cNvSpPr>
          <p:nvPr>
            <p:ph type="title"/>
          </p:nvPr>
        </p:nvSpPr>
        <p:spPr>
          <a:xfrm>
            <a:off x="371932" y="206878"/>
            <a:ext cx="8345488" cy="731837"/>
          </a:xfrm>
        </p:spPr>
        <p:txBody>
          <a:bodyPr>
            <a:normAutofit/>
          </a:bodyPr>
          <a:lstStyle/>
          <a:p>
            <a:r>
              <a:rPr lang="en-US" dirty="0"/>
              <a:t>Converged SDN-enabled IP transport</a:t>
            </a:r>
          </a:p>
        </p:txBody>
      </p:sp>
      <p:sp>
        <p:nvSpPr>
          <p:cNvPr id="267" name="Rectangle 266">
            <a:extLst>
              <a:ext uri="{FF2B5EF4-FFF2-40B4-BE49-F238E27FC236}">
                <a16:creationId xmlns:a16="http://schemas.microsoft.com/office/drawing/2014/main" id="{1F0515B8-96EB-EF4C-82A8-C4085FF3F8B8}"/>
              </a:ext>
            </a:extLst>
          </p:cNvPr>
          <p:cNvSpPr/>
          <p:nvPr/>
        </p:nvSpPr>
        <p:spPr>
          <a:xfrm>
            <a:off x="4831" y="3496219"/>
            <a:ext cx="9144000" cy="560951"/>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269" name="Group 268">
            <a:extLst>
              <a:ext uri="{FF2B5EF4-FFF2-40B4-BE49-F238E27FC236}">
                <a16:creationId xmlns:a16="http://schemas.microsoft.com/office/drawing/2014/main" id="{B9095860-F5A3-E841-B82A-76589D50EC2F}"/>
              </a:ext>
            </a:extLst>
          </p:cNvPr>
          <p:cNvGrpSpPr/>
          <p:nvPr/>
        </p:nvGrpSpPr>
        <p:grpSpPr>
          <a:xfrm>
            <a:off x="3345171" y="3528048"/>
            <a:ext cx="1730664" cy="213585"/>
            <a:chOff x="1980115" y="2840234"/>
            <a:chExt cx="2178861" cy="343594"/>
          </a:xfrm>
        </p:grpSpPr>
        <p:grpSp>
          <p:nvGrpSpPr>
            <p:cNvPr id="270" name="Group 269">
              <a:extLst>
                <a:ext uri="{FF2B5EF4-FFF2-40B4-BE49-F238E27FC236}">
                  <a16:creationId xmlns:a16="http://schemas.microsoft.com/office/drawing/2014/main" id="{69F46D7A-0AC2-8D4F-A5F0-23DB6852EE50}"/>
                </a:ext>
              </a:extLst>
            </p:cNvPr>
            <p:cNvGrpSpPr/>
            <p:nvPr/>
          </p:nvGrpSpPr>
          <p:grpSpPr>
            <a:xfrm>
              <a:off x="1980115" y="2869735"/>
              <a:ext cx="2140029" cy="215665"/>
              <a:chOff x="2797978" y="2681964"/>
              <a:chExt cx="2586422" cy="260650"/>
            </a:xfrm>
            <a:solidFill>
              <a:schemeClr val="accent5"/>
            </a:solidFill>
          </p:grpSpPr>
          <p:sp>
            <p:nvSpPr>
              <p:cNvPr id="273" name="Rectangle 272">
                <a:extLst>
                  <a:ext uri="{FF2B5EF4-FFF2-40B4-BE49-F238E27FC236}">
                    <a16:creationId xmlns:a16="http://schemas.microsoft.com/office/drawing/2014/main" id="{5EEEDB96-A28D-134A-B538-C89D7F340C73}"/>
                  </a:ext>
                </a:extLst>
              </p:cNvPr>
              <p:cNvSpPr/>
              <p:nvPr/>
            </p:nvSpPr>
            <p:spPr>
              <a:xfrm>
                <a:off x="2851341" y="2681964"/>
                <a:ext cx="2533059" cy="260643"/>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274" name="Oval 273">
                <a:extLst>
                  <a:ext uri="{FF2B5EF4-FFF2-40B4-BE49-F238E27FC236}">
                    <a16:creationId xmlns:a16="http://schemas.microsoft.com/office/drawing/2014/main" id="{19BCD75E-EF5D-F94B-800B-9FD173A8238B}"/>
                  </a:ext>
                </a:extLst>
              </p:cNvPr>
              <p:cNvSpPr/>
              <p:nvPr/>
            </p:nvSpPr>
            <p:spPr>
              <a:xfrm flipH="1">
                <a:off x="2797978" y="2683123"/>
                <a:ext cx="106721" cy="259491"/>
              </a:xfrm>
              <a:prstGeom prst="ellipse">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grpSp>
        <p:sp>
          <p:nvSpPr>
            <p:cNvPr id="271" name="Oval 270">
              <a:extLst>
                <a:ext uri="{FF2B5EF4-FFF2-40B4-BE49-F238E27FC236}">
                  <a16:creationId xmlns:a16="http://schemas.microsoft.com/office/drawing/2014/main" id="{9B0CBD0C-0012-F04E-BE6B-23882958DB9E}"/>
                </a:ext>
              </a:extLst>
            </p:cNvPr>
            <p:cNvSpPr/>
            <p:nvPr/>
          </p:nvSpPr>
          <p:spPr>
            <a:xfrm flipH="1">
              <a:off x="4070674" y="2870679"/>
              <a:ext cx="88302" cy="214705"/>
            </a:xfrm>
            <a:prstGeom prst="ellipse">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272" name="TextBox 271">
              <a:extLst>
                <a:ext uri="{FF2B5EF4-FFF2-40B4-BE49-F238E27FC236}">
                  <a16:creationId xmlns:a16="http://schemas.microsoft.com/office/drawing/2014/main" id="{9A00B692-B652-A04F-8E3D-07F076F0BF6A}"/>
                </a:ext>
              </a:extLst>
            </p:cNvPr>
            <p:cNvSpPr txBox="1"/>
            <p:nvPr/>
          </p:nvSpPr>
          <p:spPr>
            <a:xfrm>
              <a:off x="2009523" y="2840234"/>
              <a:ext cx="946911" cy="343594"/>
            </a:xfrm>
            <a:prstGeom prst="rect">
              <a:avLst/>
            </a:prstGeom>
            <a:noFill/>
          </p:spPr>
          <p:txBody>
            <a:bodyPr wrap="none" rtlCol="0">
              <a:spAutoFit/>
            </a:bodyPr>
            <a:lstStyle/>
            <a:p>
              <a:r>
                <a:rPr lang="en-US" sz="788" dirty="0">
                  <a:solidFill>
                    <a:schemeClr val="accent4"/>
                  </a:solidFill>
                  <a:latin typeface="CiscoSansTT" panose="020B0503020201020303" pitchFamily="34" charset="0"/>
                  <a:cs typeface="CiscoSansTT" panose="020B0503020201020303" pitchFamily="34" charset="0"/>
                </a:rPr>
                <a:t>uRLLC Slice</a:t>
              </a:r>
            </a:p>
          </p:txBody>
        </p:sp>
      </p:grpSp>
      <p:grpSp>
        <p:nvGrpSpPr>
          <p:cNvPr id="275" name="Group 274">
            <a:extLst>
              <a:ext uri="{FF2B5EF4-FFF2-40B4-BE49-F238E27FC236}">
                <a16:creationId xmlns:a16="http://schemas.microsoft.com/office/drawing/2014/main" id="{41F7FEFB-5514-D74C-88AB-763E2ED0C644}"/>
              </a:ext>
            </a:extLst>
          </p:cNvPr>
          <p:cNvGrpSpPr/>
          <p:nvPr/>
        </p:nvGrpSpPr>
        <p:grpSpPr>
          <a:xfrm>
            <a:off x="3343990" y="3699088"/>
            <a:ext cx="2902713" cy="213585"/>
            <a:chOff x="1980115" y="3212411"/>
            <a:chExt cx="3654440" cy="360023"/>
          </a:xfrm>
        </p:grpSpPr>
        <p:grpSp>
          <p:nvGrpSpPr>
            <p:cNvPr id="276" name="Group 275">
              <a:extLst>
                <a:ext uri="{FF2B5EF4-FFF2-40B4-BE49-F238E27FC236}">
                  <a16:creationId xmlns:a16="http://schemas.microsoft.com/office/drawing/2014/main" id="{69E6AB00-6CFA-194A-82F1-FB3300EE33B1}"/>
                </a:ext>
              </a:extLst>
            </p:cNvPr>
            <p:cNvGrpSpPr/>
            <p:nvPr/>
          </p:nvGrpSpPr>
          <p:grpSpPr>
            <a:xfrm>
              <a:off x="1980115" y="3240784"/>
              <a:ext cx="3608788" cy="215658"/>
              <a:chOff x="2797978" y="2834275"/>
              <a:chExt cx="4361553" cy="260643"/>
            </a:xfrm>
            <a:solidFill>
              <a:schemeClr val="accent1"/>
            </a:solidFill>
          </p:grpSpPr>
          <p:sp>
            <p:nvSpPr>
              <p:cNvPr id="279" name="Rectangle 278">
                <a:extLst>
                  <a:ext uri="{FF2B5EF4-FFF2-40B4-BE49-F238E27FC236}">
                    <a16:creationId xmlns:a16="http://schemas.microsoft.com/office/drawing/2014/main" id="{5542F022-9F4E-5442-A64C-94919DEE37D7}"/>
                  </a:ext>
                </a:extLst>
              </p:cNvPr>
              <p:cNvSpPr/>
              <p:nvPr/>
            </p:nvSpPr>
            <p:spPr>
              <a:xfrm>
                <a:off x="2851340" y="2834275"/>
                <a:ext cx="4308191" cy="260642"/>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Oval 279">
                <a:extLst>
                  <a:ext uri="{FF2B5EF4-FFF2-40B4-BE49-F238E27FC236}">
                    <a16:creationId xmlns:a16="http://schemas.microsoft.com/office/drawing/2014/main" id="{26DE9598-88C7-3245-8719-B278E3AA23C6}"/>
                  </a:ext>
                </a:extLst>
              </p:cNvPr>
              <p:cNvSpPr/>
              <p:nvPr/>
            </p:nvSpPr>
            <p:spPr>
              <a:xfrm flipH="1">
                <a:off x="2797978" y="2835427"/>
                <a:ext cx="106721" cy="259491"/>
              </a:xfrm>
              <a:prstGeom prst="ellipse">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7" name="Oval 276">
              <a:extLst>
                <a:ext uri="{FF2B5EF4-FFF2-40B4-BE49-F238E27FC236}">
                  <a16:creationId xmlns:a16="http://schemas.microsoft.com/office/drawing/2014/main" id="{234AF48C-61AD-2E43-BA80-E69DFBF9AFB0}"/>
                </a:ext>
              </a:extLst>
            </p:cNvPr>
            <p:cNvSpPr/>
            <p:nvPr/>
          </p:nvSpPr>
          <p:spPr>
            <a:xfrm flipH="1">
              <a:off x="5546253" y="3241750"/>
              <a:ext cx="88302" cy="214705"/>
            </a:xfrm>
            <a:prstGeom prst="ellipse">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8" name="TextBox 277">
              <a:extLst>
                <a:ext uri="{FF2B5EF4-FFF2-40B4-BE49-F238E27FC236}">
                  <a16:creationId xmlns:a16="http://schemas.microsoft.com/office/drawing/2014/main" id="{C0BF518C-5CA3-6343-8DEE-BC332582ED7D}"/>
                </a:ext>
              </a:extLst>
            </p:cNvPr>
            <p:cNvSpPr txBox="1"/>
            <p:nvPr/>
          </p:nvSpPr>
          <p:spPr>
            <a:xfrm>
              <a:off x="2032477" y="3212411"/>
              <a:ext cx="910584" cy="360023"/>
            </a:xfrm>
            <a:prstGeom prst="rect">
              <a:avLst/>
            </a:prstGeom>
            <a:noFill/>
          </p:spPr>
          <p:txBody>
            <a:bodyPr wrap="none" rtlCol="0">
              <a:spAutoFit/>
            </a:bodyPr>
            <a:lstStyle/>
            <a:p>
              <a:r>
                <a:rPr lang="en-US" sz="788" dirty="0">
                  <a:solidFill>
                    <a:schemeClr val="accent4"/>
                  </a:solidFill>
                  <a:latin typeface="CiscoSansTT" panose="020B0503020201020303" pitchFamily="34" charset="0"/>
                  <a:cs typeface="CiscoSansTT" panose="020B0503020201020303" pitchFamily="34" charset="0"/>
                </a:rPr>
                <a:t>eMBB Slice</a:t>
              </a:r>
            </a:p>
          </p:txBody>
        </p:sp>
      </p:grpSp>
      <p:grpSp>
        <p:nvGrpSpPr>
          <p:cNvPr id="281" name="Group 280">
            <a:extLst>
              <a:ext uri="{FF2B5EF4-FFF2-40B4-BE49-F238E27FC236}">
                <a16:creationId xmlns:a16="http://schemas.microsoft.com/office/drawing/2014/main" id="{3DE7F055-674B-2348-8B68-EDD22E064DBA}"/>
              </a:ext>
            </a:extLst>
          </p:cNvPr>
          <p:cNvGrpSpPr/>
          <p:nvPr/>
        </p:nvGrpSpPr>
        <p:grpSpPr>
          <a:xfrm>
            <a:off x="3339675" y="3853869"/>
            <a:ext cx="4900440" cy="207749"/>
            <a:chOff x="1980115" y="3454010"/>
            <a:chExt cx="6169527" cy="349451"/>
          </a:xfrm>
        </p:grpSpPr>
        <p:grpSp>
          <p:nvGrpSpPr>
            <p:cNvPr id="282" name="Group 281">
              <a:extLst>
                <a:ext uri="{FF2B5EF4-FFF2-40B4-BE49-F238E27FC236}">
                  <a16:creationId xmlns:a16="http://schemas.microsoft.com/office/drawing/2014/main" id="{348CEF39-5DF9-1B44-940E-0DBF0E7EF2C4}"/>
                </a:ext>
              </a:extLst>
            </p:cNvPr>
            <p:cNvGrpSpPr/>
            <p:nvPr/>
          </p:nvGrpSpPr>
          <p:grpSpPr>
            <a:xfrm>
              <a:off x="1980115" y="3491283"/>
              <a:ext cx="6125659" cy="215654"/>
              <a:chOff x="2797978" y="2840904"/>
              <a:chExt cx="7403424" cy="260641"/>
            </a:xfrm>
            <a:solidFill>
              <a:schemeClr val="accent2"/>
            </a:solidFill>
          </p:grpSpPr>
          <p:sp>
            <p:nvSpPr>
              <p:cNvPr id="285" name="Rectangle 284">
                <a:extLst>
                  <a:ext uri="{FF2B5EF4-FFF2-40B4-BE49-F238E27FC236}">
                    <a16:creationId xmlns:a16="http://schemas.microsoft.com/office/drawing/2014/main" id="{8319E696-8BC3-944E-A4A8-99ED5C9CCAF6}"/>
                  </a:ext>
                </a:extLst>
              </p:cNvPr>
              <p:cNvSpPr/>
              <p:nvPr/>
            </p:nvSpPr>
            <p:spPr>
              <a:xfrm>
                <a:off x="2851340" y="2840904"/>
                <a:ext cx="7350062" cy="260641"/>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86" name="Oval 285">
                <a:extLst>
                  <a:ext uri="{FF2B5EF4-FFF2-40B4-BE49-F238E27FC236}">
                    <a16:creationId xmlns:a16="http://schemas.microsoft.com/office/drawing/2014/main" id="{E8BC0C34-B761-3B4C-8706-0916981BF3CF}"/>
                  </a:ext>
                </a:extLst>
              </p:cNvPr>
              <p:cNvSpPr/>
              <p:nvPr/>
            </p:nvSpPr>
            <p:spPr>
              <a:xfrm flipH="1">
                <a:off x="2797978" y="2842043"/>
                <a:ext cx="106721" cy="259491"/>
              </a:xfrm>
              <a:prstGeom prst="ellipse">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sp>
          <p:nvSpPr>
            <p:cNvPr id="283" name="Oval 282">
              <a:extLst>
                <a:ext uri="{FF2B5EF4-FFF2-40B4-BE49-F238E27FC236}">
                  <a16:creationId xmlns:a16="http://schemas.microsoft.com/office/drawing/2014/main" id="{C8D5EDC0-7BEC-3E41-B535-111D18E7CAC8}"/>
                </a:ext>
              </a:extLst>
            </p:cNvPr>
            <p:cNvSpPr/>
            <p:nvPr/>
          </p:nvSpPr>
          <p:spPr>
            <a:xfrm flipH="1">
              <a:off x="8061340" y="3492252"/>
              <a:ext cx="88302" cy="214705"/>
            </a:xfrm>
            <a:prstGeom prst="ellipse">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84" name="TextBox 283">
              <a:extLst>
                <a:ext uri="{FF2B5EF4-FFF2-40B4-BE49-F238E27FC236}">
                  <a16:creationId xmlns:a16="http://schemas.microsoft.com/office/drawing/2014/main" id="{C1316D4A-99B0-EC45-98E0-4F2039998A77}"/>
                </a:ext>
              </a:extLst>
            </p:cNvPr>
            <p:cNvSpPr txBox="1"/>
            <p:nvPr/>
          </p:nvSpPr>
          <p:spPr>
            <a:xfrm>
              <a:off x="2025862" y="3454010"/>
              <a:ext cx="950947" cy="349451"/>
            </a:xfrm>
            <a:prstGeom prst="rect">
              <a:avLst/>
            </a:prstGeom>
            <a:noFill/>
          </p:spPr>
          <p:txBody>
            <a:bodyPr wrap="none" rtlCol="0">
              <a:spAutoFit/>
            </a:bodyPr>
            <a:lstStyle/>
            <a:p>
              <a:r>
                <a:rPr lang="en-US" sz="750" dirty="0">
                  <a:solidFill>
                    <a:schemeClr val="accent4"/>
                  </a:solidFill>
                  <a:latin typeface="CiscoSansTT" panose="020B0503020201020303" pitchFamily="34" charset="0"/>
                  <a:cs typeface="CiscoSansTT" panose="020B0503020201020303" pitchFamily="34" charset="0"/>
                </a:rPr>
                <a:t> </a:t>
              </a:r>
              <a:r>
                <a:rPr lang="en-US" sz="750" dirty="0" err="1">
                  <a:solidFill>
                    <a:schemeClr val="accent4"/>
                  </a:solidFill>
                  <a:latin typeface="CiscoSansTT" panose="020B0503020201020303" pitchFamily="34" charset="0"/>
                  <a:cs typeface="CiscoSansTT" panose="020B0503020201020303" pitchFamily="34" charset="0"/>
                </a:rPr>
                <a:t>mMTC</a:t>
              </a:r>
              <a:r>
                <a:rPr lang="en-US" sz="750" dirty="0">
                  <a:solidFill>
                    <a:schemeClr val="accent4"/>
                  </a:solidFill>
                  <a:latin typeface="CiscoSansTT" panose="020B0503020201020303" pitchFamily="34" charset="0"/>
                  <a:cs typeface="CiscoSansTT" panose="020B0503020201020303" pitchFamily="34" charset="0"/>
                </a:rPr>
                <a:t> Slice</a:t>
              </a:r>
            </a:p>
          </p:txBody>
        </p:sp>
      </p:grpSp>
      <p:sp>
        <p:nvSpPr>
          <p:cNvPr id="21" name="Rectangle 20">
            <a:extLst>
              <a:ext uri="{FF2B5EF4-FFF2-40B4-BE49-F238E27FC236}">
                <a16:creationId xmlns:a16="http://schemas.microsoft.com/office/drawing/2014/main" id="{28288E0F-E15B-4241-AFB1-92A10690F008}"/>
              </a:ext>
            </a:extLst>
          </p:cNvPr>
          <p:cNvSpPr/>
          <p:nvPr/>
        </p:nvSpPr>
        <p:spPr>
          <a:xfrm>
            <a:off x="631992" y="3672751"/>
            <a:ext cx="1082348" cy="253916"/>
          </a:xfrm>
          <a:prstGeom prst="rect">
            <a:avLst/>
          </a:prstGeom>
        </p:spPr>
        <p:txBody>
          <a:bodyPr wrap="none">
            <a:spAutoFit/>
          </a:bodyPr>
          <a:lstStyle/>
          <a:p>
            <a:pPr algn="ctr"/>
            <a:r>
              <a:rPr lang="en-US" sz="1050" dirty="0">
                <a:latin typeface="+mn-lt"/>
              </a:rPr>
              <a:t>network slicing</a:t>
            </a:r>
          </a:p>
        </p:txBody>
      </p:sp>
      <p:sp>
        <p:nvSpPr>
          <p:cNvPr id="395" name="Rounded Rectangle 5">
            <a:extLst>
              <a:ext uri="{FF2B5EF4-FFF2-40B4-BE49-F238E27FC236}">
                <a16:creationId xmlns:a16="http://schemas.microsoft.com/office/drawing/2014/main" id="{FD26C8AC-0B02-F440-9E87-797B21B0C689}"/>
              </a:ext>
            </a:extLst>
          </p:cNvPr>
          <p:cNvSpPr/>
          <p:nvPr/>
        </p:nvSpPr>
        <p:spPr>
          <a:xfrm>
            <a:off x="2173299" y="707967"/>
            <a:ext cx="5225034" cy="614195"/>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bg1"/>
              </a:solidFill>
            </a:endParaRPr>
          </a:p>
        </p:txBody>
      </p:sp>
      <p:sp>
        <p:nvSpPr>
          <p:cNvPr id="396" name="Rectangle 395">
            <a:extLst>
              <a:ext uri="{FF2B5EF4-FFF2-40B4-BE49-F238E27FC236}">
                <a16:creationId xmlns:a16="http://schemas.microsoft.com/office/drawing/2014/main" id="{ADE974A8-E8E6-CD47-8A95-8EB214506779}"/>
              </a:ext>
            </a:extLst>
          </p:cNvPr>
          <p:cNvSpPr/>
          <p:nvPr/>
        </p:nvSpPr>
        <p:spPr>
          <a:xfrm>
            <a:off x="5253812" y="1098849"/>
            <a:ext cx="1830950" cy="230832"/>
          </a:xfrm>
          <a:prstGeom prst="rect">
            <a:avLst/>
          </a:prstGeom>
          <a:noFill/>
        </p:spPr>
        <p:txBody>
          <a:bodyPr wrap="none">
            <a:spAutoFit/>
          </a:bodyPr>
          <a:lstStyle/>
          <a:p>
            <a:pPr algn="ctr"/>
            <a:r>
              <a:rPr lang="en-US" sz="900" dirty="0">
                <a:solidFill>
                  <a:schemeClr val="bg2"/>
                </a:solidFill>
                <a:latin typeface="+mn-lt"/>
                <a:cs typeface="CiscoSansTT Light" panose="020B0503020201020303" pitchFamily="34" charset="0"/>
              </a:rPr>
              <a:t>Crosswork Network Automation</a:t>
            </a:r>
          </a:p>
        </p:txBody>
      </p:sp>
      <p:sp>
        <p:nvSpPr>
          <p:cNvPr id="294" name="Rectangle: Rounded Corners 349">
            <a:extLst>
              <a:ext uri="{FF2B5EF4-FFF2-40B4-BE49-F238E27FC236}">
                <a16:creationId xmlns:a16="http://schemas.microsoft.com/office/drawing/2014/main" id="{24C3E233-D1F1-7549-950F-C1C1DCF16EBB}"/>
              </a:ext>
            </a:extLst>
          </p:cNvPr>
          <p:cNvSpPr/>
          <p:nvPr/>
        </p:nvSpPr>
        <p:spPr>
          <a:xfrm>
            <a:off x="0" y="4188191"/>
            <a:ext cx="9144000" cy="962502"/>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TT Light" panose="020B0503020201020303" pitchFamily="34" charset="0"/>
              <a:cs typeface="CiscoSansTT Light" panose="020B0503020201020303" pitchFamily="34" charset="0"/>
            </a:endParaRPr>
          </a:p>
        </p:txBody>
      </p:sp>
      <p:sp>
        <p:nvSpPr>
          <p:cNvPr id="309" name="TextBox 308">
            <a:extLst>
              <a:ext uri="{FF2B5EF4-FFF2-40B4-BE49-F238E27FC236}">
                <a16:creationId xmlns:a16="http://schemas.microsoft.com/office/drawing/2014/main" id="{579BE111-6A78-7848-858D-5D8154901821}"/>
              </a:ext>
            </a:extLst>
          </p:cNvPr>
          <p:cNvSpPr txBox="1"/>
          <p:nvPr/>
        </p:nvSpPr>
        <p:spPr>
          <a:xfrm>
            <a:off x="54194" y="4530367"/>
            <a:ext cx="941454" cy="400110"/>
          </a:xfrm>
          <a:prstGeom prst="rect">
            <a:avLst/>
          </a:prstGeom>
          <a:noFill/>
        </p:spPr>
        <p:txBody>
          <a:bodyPr wrap="square" rtlCol="0">
            <a:spAutoFit/>
          </a:bodyPr>
          <a:lstStyle/>
          <a:p>
            <a:pPr algn="r"/>
            <a:r>
              <a:rPr lang="en-US" sz="1000" dirty="0">
                <a:solidFill>
                  <a:schemeClr val="accent2">
                    <a:lumMod val="60000"/>
                    <a:lumOff val="40000"/>
                  </a:schemeClr>
                </a:solidFill>
                <a:latin typeface="CiscoSansTT" panose="020B0503020201020303" pitchFamily="34" charset="0"/>
                <a:cs typeface="CiscoSansTT" panose="020B0503020201020303" pitchFamily="34" charset="0"/>
              </a:rPr>
              <a:t>performance</a:t>
            </a:r>
          </a:p>
          <a:p>
            <a:pPr algn="r"/>
            <a:r>
              <a:rPr lang="en-US" sz="1000" dirty="0">
                <a:solidFill>
                  <a:schemeClr val="accent2">
                    <a:lumMod val="60000"/>
                    <a:lumOff val="40000"/>
                  </a:schemeClr>
                </a:solidFill>
                <a:latin typeface="CiscoSansTT" panose="020B0503020201020303" pitchFamily="34" charset="0"/>
                <a:cs typeface="CiscoSansTT" panose="020B0503020201020303" pitchFamily="34" charset="0"/>
              </a:rPr>
              <a:t>Increase</a:t>
            </a:r>
          </a:p>
        </p:txBody>
      </p:sp>
      <p:grpSp>
        <p:nvGrpSpPr>
          <p:cNvPr id="5" name="Group 4">
            <a:extLst>
              <a:ext uri="{FF2B5EF4-FFF2-40B4-BE49-F238E27FC236}">
                <a16:creationId xmlns:a16="http://schemas.microsoft.com/office/drawing/2014/main" id="{B153FA4B-A21A-724D-AEC3-93020699544A}"/>
              </a:ext>
            </a:extLst>
          </p:cNvPr>
          <p:cNvGrpSpPr/>
          <p:nvPr/>
        </p:nvGrpSpPr>
        <p:grpSpPr>
          <a:xfrm>
            <a:off x="1099534" y="4597018"/>
            <a:ext cx="1684940" cy="524237"/>
            <a:chOff x="1702550" y="6110792"/>
            <a:chExt cx="2246587" cy="698982"/>
          </a:xfrm>
        </p:grpSpPr>
        <p:sp>
          <p:nvSpPr>
            <p:cNvPr id="307" name="TextBox 306">
              <a:extLst>
                <a:ext uri="{FF2B5EF4-FFF2-40B4-BE49-F238E27FC236}">
                  <a16:creationId xmlns:a16="http://schemas.microsoft.com/office/drawing/2014/main" id="{8E0E88CF-4BCA-234F-8676-B71B064C4B2D}"/>
                </a:ext>
              </a:extLst>
            </p:cNvPr>
            <p:cNvSpPr txBox="1"/>
            <p:nvPr/>
          </p:nvSpPr>
          <p:spPr>
            <a:xfrm>
              <a:off x="2535929" y="6452672"/>
              <a:ext cx="1413208" cy="348813"/>
            </a:xfrm>
            <a:prstGeom prst="rect">
              <a:avLst/>
            </a:prstGeom>
            <a:noFill/>
          </p:spPr>
          <p:txBody>
            <a:bodyPr wrap="none" rtlCol="0">
              <a:spAutoFit/>
            </a:bodyPr>
            <a:lstStyle/>
            <a:p>
              <a:r>
                <a:rPr lang="en-US" sz="1100" dirty="0">
                  <a:solidFill>
                    <a:schemeClr val="bg2"/>
                  </a:solidFill>
                  <a:latin typeface="+mn-lt"/>
                </a:rPr>
                <a:t>300G System</a:t>
              </a:r>
            </a:p>
          </p:txBody>
        </p:sp>
        <p:sp>
          <p:nvSpPr>
            <p:cNvPr id="308" name="TextBox 307">
              <a:extLst>
                <a:ext uri="{FF2B5EF4-FFF2-40B4-BE49-F238E27FC236}">
                  <a16:creationId xmlns:a16="http://schemas.microsoft.com/office/drawing/2014/main" id="{CCBA0A94-95DD-2A4E-8D89-1122DFDB23ED}"/>
                </a:ext>
              </a:extLst>
            </p:cNvPr>
            <p:cNvSpPr txBox="1"/>
            <p:nvPr/>
          </p:nvSpPr>
          <p:spPr>
            <a:xfrm>
              <a:off x="1702550" y="6399406"/>
              <a:ext cx="755951" cy="410368"/>
            </a:xfrm>
            <a:prstGeom prst="rect">
              <a:avLst/>
            </a:prstGeom>
            <a:noFill/>
          </p:spPr>
          <p:txBody>
            <a:bodyPr wrap="square" rtlCol="0">
              <a:spAutoFit/>
            </a:bodyPr>
            <a:lstStyle/>
            <a:p>
              <a:r>
                <a:rPr lang="en-US" sz="1400" dirty="0">
                  <a:solidFill>
                    <a:schemeClr val="accent5"/>
                  </a:solidFill>
                  <a:latin typeface="CiscoSansTT Light" panose="020B0503020201020303" pitchFamily="34" charset="0"/>
                  <a:cs typeface="CiscoSansTT Light" panose="020B0503020201020303" pitchFamily="34" charset="0"/>
                </a:rPr>
                <a:t>x4.5 </a:t>
              </a:r>
            </a:p>
          </p:txBody>
        </p:sp>
        <p:sp>
          <p:nvSpPr>
            <p:cNvPr id="360" name="Rectangle 359">
              <a:extLst>
                <a:ext uri="{FF2B5EF4-FFF2-40B4-BE49-F238E27FC236}">
                  <a16:creationId xmlns:a16="http://schemas.microsoft.com/office/drawing/2014/main" id="{6AA508B7-40E7-624D-8BEB-A9B88D061E13}"/>
                </a:ext>
              </a:extLst>
            </p:cNvPr>
            <p:cNvSpPr/>
            <p:nvPr/>
          </p:nvSpPr>
          <p:spPr>
            <a:xfrm>
              <a:off x="2007659" y="6110792"/>
              <a:ext cx="1659242" cy="410369"/>
            </a:xfrm>
            <a:prstGeom prst="rect">
              <a:avLst/>
            </a:prstGeom>
          </p:spPr>
          <p:txBody>
            <a:bodyPr wrap="square" anchor="b">
              <a:spAutoFit/>
            </a:bodyPr>
            <a:lstStyle/>
            <a:p>
              <a:pPr algn="ctr"/>
              <a:r>
                <a:rPr lang="en-US" sz="1400" dirty="0">
                  <a:solidFill>
                    <a:schemeClr val="bg2"/>
                  </a:solidFill>
                  <a:latin typeface="CiscoSansTT Light" panose="020B0503020201020303" pitchFamily="34" charset="0"/>
                  <a:cs typeface="CiscoSansTT Light" panose="020B0503020201020303" pitchFamily="34" charset="0"/>
                </a:rPr>
                <a:t>NCS 540</a:t>
              </a:r>
            </a:p>
          </p:txBody>
        </p:sp>
        <p:sp>
          <p:nvSpPr>
            <p:cNvPr id="370" name="Freeform 5">
              <a:extLst>
                <a:ext uri="{FF2B5EF4-FFF2-40B4-BE49-F238E27FC236}">
                  <a16:creationId xmlns:a16="http://schemas.microsoft.com/office/drawing/2014/main" id="{A4FFA284-5845-8A46-AB10-8946CFFA6861}"/>
                </a:ext>
              </a:extLst>
            </p:cNvPr>
            <p:cNvSpPr>
              <a:spLocks/>
            </p:cNvSpPr>
            <p:nvPr/>
          </p:nvSpPr>
          <p:spPr bwMode="auto">
            <a:xfrm>
              <a:off x="2425831" y="6533837"/>
              <a:ext cx="100189" cy="15688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000" dirty="0">
                <a:solidFill>
                  <a:srgbClr val="282828"/>
                </a:solidFill>
              </a:endParaRPr>
            </a:p>
          </p:txBody>
        </p:sp>
      </p:grpSp>
      <p:grpSp>
        <p:nvGrpSpPr>
          <p:cNvPr id="390" name="Group 389">
            <a:extLst>
              <a:ext uri="{FF2B5EF4-FFF2-40B4-BE49-F238E27FC236}">
                <a16:creationId xmlns:a16="http://schemas.microsoft.com/office/drawing/2014/main" id="{40DBE48D-54E1-A44A-B9D0-58E7209A675D}"/>
              </a:ext>
            </a:extLst>
          </p:cNvPr>
          <p:cNvGrpSpPr/>
          <p:nvPr/>
        </p:nvGrpSpPr>
        <p:grpSpPr>
          <a:xfrm>
            <a:off x="2968808" y="4589360"/>
            <a:ext cx="1712022" cy="526531"/>
            <a:chOff x="1702550" y="6084876"/>
            <a:chExt cx="2282695" cy="702040"/>
          </a:xfrm>
        </p:grpSpPr>
        <p:sp>
          <p:nvSpPr>
            <p:cNvPr id="392" name="TextBox 391">
              <a:extLst>
                <a:ext uri="{FF2B5EF4-FFF2-40B4-BE49-F238E27FC236}">
                  <a16:creationId xmlns:a16="http://schemas.microsoft.com/office/drawing/2014/main" id="{5850659B-DDC6-A546-A679-212C0B7C89AB}"/>
                </a:ext>
              </a:extLst>
            </p:cNvPr>
            <p:cNvSpPr txBox="1"/>
            <p:nvPr/>
          </p:nvSpPr>
          <p:spPr>
            <a:xfrm>
              <a:off x="2572038" y="6417935"/>
              <a:ext cx="1413207" cy="348813"/>
            </a:xfrm>
            <a:prstGeom prst="rect">
              <a:avLst/>
            </a:prstGeom>
            <a:noFill/>
          </p:spPr>
          <p:txBody>
            <a:bodyPr wrap="none" rtlCol="0">
              <a:spAutoFit/>
            </a:bodyPr>
            <a:lstStyle/>
            <a:p>
              <a:r>
                <a:rPr lang="en-US" sz="1100" dirty="0">
                  <a:solidFill>
                    <a:schemeClr val="bg2"/>
                  </a:solidFill>
                  <a:latin typeface="+mn-lt"/>
                </a:rPr>
                <a:t>800G System</a:t>
              </a:r>
            </a:p>
          </p:txBody>
        </p:sp>
        <p:sp>
          <p:nvSpPr>
            <p:cNvPr id="397" name="TextBox 396">
              <a:extLst>
                <a:ext uri="{FF2B5EF4-FFF2-40B4-BE49-F238E27FC236}">
                  <a16:creationId xmlns:a16="http://schemas.microsoft.com/office/drawing/2014/main" id="{54CF479B-ACE8-844F-B6F3-AFAE83E62583}"/>
                </a:ext>
              </a:extLst>
            </p:cNvPr>
            <p:cNvSpPr txBox="1"/>
            <p:nvPr/>
          </p:nvSpPr>
          <p:spPr>
            <a:xfrm>
              <a:off x="1702550" y="6376547"/>
              <a:ext cx="755950" cy="410369"/>
            </a:xfrm>
            <a:prstGeom prst="rect">
              <a:avLst/>
            </a:prstGeom>
            <a:noFill/>
          </p:spPr>
          <p:txBody>
            <a:bodyPr wrap="square" rtlCol="0">
              <a:spAutoFit/>
            </a:bodyPr>
            <a:lstStyle/>
            <a:p>
              <a:r>
                <a:rPr lang="en-US" sz="1400" dirty="0">
                  <a:solidFill>
                    <a:schemeClr val="accent5"/>
                  </a:solidFill>
                  <a:latin typeface="CiscoSansTT Light" panose="020B0503020201020303" pitchFamily="34" charset="0"/>
                  <a:cs typeface="CiscoSansTT Light" panose="020B0503020201020303" pitchFamily="34" charset="0"/>
                </a:rPr>
                <a:t>X2.0 </a:t>
              </a:r>
            </a:p>
          </p:txBody>
        </p:sp>
        <p:sp>
          <p:nvSpPr>
            <p:cNvPr id="398" name="Rectangle 397">
              <a:extLst>
                <a:ext uri="{FF2B5EF4-FFF2-40B4-BE49-F238E27FC236}">
                  <a16:creationId xmlns:a16="http://schemas.microsoft.com/office/drawing/2014/main" id="{078FF741-C915-964A-A292-4F00770542A1}"/>
                </a:ext>
              </a:extLst>
            </p:cNvPr>
            <p:cNvSpPr/>
            <p:nvPr/>
          </p:nvSpPr>
          <p:spPr>
            <a:xfrm>
              <a:off x="2023615" y="6084876"/>
              <a:ext cx="1659241" cy="410369"/>
            </a:xfrm>
            <a:prstGeom prst="rect">
              <a:avLst/>
            </a:prstGeom>
          </p:spPr>
          <p:txBody>
            <a:bodyPr wrap="square" anchor="b">
              <a:spAutoFit/>
            </a:bodyPr>
            <a:lstStyle/>
            <a:p>
              <a:pPr algn="ctr"/>
              <a:r>
                <a:rPr lang="en-US" sz="1400" dirty="0">
                  <a:solidFill>
                    <a:schemeClr val="bg2"/>
                  </a:solidFill>
                  <a:latin typeface="CiscoSansTT Light" panose="020B0503020201020303" pitchFamily="34" charset="0"/>
                  <a:cs typeface="CiscoSansTT Light" panose="020B0503020201020303" pitchFamily="34" charset="0"/>
                </a:rPr>
                <a:t>NCS 560</a:t>
              </a:r>
            </a:p>
          </p:txBody>
        </p:sp>
        <p:sp>
          <p:nvSpPr>
            <p:cNvPr id="400" name="Freeform 5">
              <a:extLst>
                <a:ext uri="{FF2B5EF4-FFF2-40B4-BE49-F238E27FC236}">
                  <a16:creationId xmlns:a16="http://schemas.microsoft.com/office/drawing/2014/main" id="{94A940E8-6BFA-AC42-A347-58E9D4443FBB}"/>
                </a:ext>
              </a:extLst>
            </p:cNvPr>
            <p:cNvSpPr>
              <a:spLocks/>
            </p:cNvSpPr>
            <p:nvPr/>
          </p:nvSpPr>
          <p:spPr bwMode="auto">
            <a:xfrm>
              <a:off x="2438188" y="6510977"/>
              <a:ext cx="100189" cy="15688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000" dirty="0">
                <a:solidFill>
                  <a:srgbClr val="282828"/>
                </a:solidFill>
              </a:endParaRPr>
            </a:p>
          </p:txBody>
        </p:sp>
      </p:grpSp>
      <p:grpSp>
        <p:nvGrpSpPr>
          <p:cNvPr id="401" name="Group 400">
            <a:extLst>
              <a:ext uri="{FF2B5EF4-FFF2-40B4-BE49-F238E27FC236}">
                <a16:creationId xmlns:a16="http://schemas.microsoft.com/office/drawing/2014/main" id="{EF9E8382-3E5E-F44B-A769-3714AD244FED}"/>
              </a:ext>
            </a:extLst>
          </p:cNvPr>
          <p:cNvGrpSpPr/>
          <p:nvPr/>
        </p:nvGrpSpPr>
        <p:grpSpPr>
          <a:xfrm>
            <a:off x="4991957" y="4586051"/>
            <a:ext cx="1419860" cy="530677"/>
            <a:chOff x="1690193" y="6069674"/>
            <a:chExt cx="1893146" cy="707568"/>
          </a:xfrm>
        </p:grpSpPr>
        <p:sp>
          <p:nvSpPr>
            <p:cNvPr id="403" name="TextBox 402">
              <a:extLst>
                <a:ext uri="{FF2B5EF4-FFF2-40B4-BE49-F238E27FC236}">
                  <a16:creationId xmlns:a16="http://schemas.microsoft.com/office/drawing/2014/main" id="{47C487D2-E2D3-3B43-803D-338D157EEC7B}"/>
                </a:ext>
              </a:extLst>
            </p:cNvPr>
            <p:cNvSpPr txBox="1"/>
            <p:nvPr/>
          </p:nvSpPr>
          <p:spPr>
            <a:xfrm>
              <a:off x="2582638" y="6408261"/>
              <a:ext cx="1000701" cy="348813"/>
            </a:xfrm>
            <a:prstGeom prst="rect">
              <a:avLst/>
            </a:prstGeom>
            <a:noFill/>
          </p:spPr>
          <p:txBody>
            <a:bodyPr wrap="none" rtlCol="0">
              <a:spAutoFit/>
            </a:bodyPr>
            <a:lstStyle/>
            <a:p>
              <a:r>
                <a:rPr lang="en-US" sz="1100" dirty="0">
                  <a:solidFill>
                    <a:schemeClr val="bg2"/>
                  </a:solidFill>
                  <a:latin typeface="+mn-lt"/>
                </a:rPr>
                <a:t>3.2T/slot</a:t>
              </a:r>
            </a:p>
          </p:txBody>
        </p:sp>
        <p:sp>
          <p:nvSpPr>
            <p:cNvPr id="404" name="TextBox 403">
              <a:extLst>
                <a:ext uri="{FF2B5EF4-FFF2-40B4-BE49-F238E27FC236}">
                  <a16:creationId xmlns:a16="http://schemas.microsoft.com/office/drawing/2014/main" id="{5B1FB129-7C1A-6F47-B7C9-7ED42B59FE78}"/>
                </a:ext>
              </a:extLst>
            </p:cNvPr>
            <p:cNvSpPr txBox="1"/>
            <p:nvPr/>
          </p:nvSpPr>
          <p:spPr>
            <a:xfrm>
              <a:off x="1690193" y="6366873"/>
              <a:ext cx="755950" cy="410369"/>
            </a:xfrm>
            <a:prstGeom prst="rect">
              <a:avLst/>
            </a:prstGeom>
            <a:noFill/>
          </p:spPr>
          <p:txBody>
            <a:bodyPr wrap="square" rtlCol="0">
              <a:spAutoFit/>
            </a:bodyPr>
            <a:lstStyle/>
            <a:p>
              <a:r>
                <a:rPr lang="en-US" sz="1400" dirty="0">
                  <a:solidFill>
                    <a:schemeClr val="accent5"/>
                  </a:solidFill>
                  <a:latin typeface="CiscoSansTT Light" panose="020B0503020201020303" pitchFamily="34" charset="0"/>
                  <a:cs typeface="CiscoSansTT Light" panose="020B0503020201020303" pitchFamily="34" charset="0"/>
                </a:rPr>
                <a:t>X2.7 </a:t>
              </a:r>
            </a:p>
          </p:txBody>
        </p:sp>
        <p:sp>
          <p:nvSpPr>
            <p:cNvPr id="405" name="Rectangle 404">
              <a:extLst>
                <a:ext uri="{FF2B5EF4-FFF2-40B4-BE49-F238E27FC236}">
                  <a16:creationId xmlns:a16="http://schemas.microsoft.com/office/drawing/2014/main" id="{96CF7B84-5A5C-C64A-BC6D-150BEB2436C8}"/>
                </a:ext>
              </a:extLst>
            </p:cNvPr>
            <p:cNvSpPr/>
            <p:nvPr/>
          </p:nvSpPr>
          <p:spPr>
            <a:xfrm>
              <a:off x="1797796" y="6069674"/>
              <a:ext cx="1659241" cy="410369"/>
            </a:xfrm>
            <a:prstGeom prst="rect">
              <a:avLst/>
            </a:prstGeom>
          </p:spPr>
          <p:txBody>
            <a:bodyPr wrap="square" anchor="b">
              <a:spAutoFit/>
            </a:bodyPr>
            <a:lstStyle/>
            <a:p>
              <a:pPr algn="ctr"/>
              <a:r>
                <a:rPr lang="en-US" sz="1400" dirty="0">
                  <a:solidFill>
                    <a:schemeClr val="bg2"/>
                  </a:solidFill>
                  <a:latin typeface="CiscoSansTT Light" panose="020B0503020201020303" pitchFamily="34" charset="0"/>
                  <a:cs typeface="CiscoSansTT Light" panose="020B0503020201020303" pitchFamily="34" charset="0"/>
                </a:rPr>
                <a:t>ASR9000</a:t>
              </a:r>
            </a:p>
          </p:txBody>
        </p:sp>
        <p:sp>
          <p:nvSpPr>
            <p:cNvPr id="406" name="Freeform 5">
              <a:extLst>
                <a:ext uri="{FF2B5EF4-FFF2-40B4-BE49-F238E27FC236}">
                  <a16:creationId xmlns:a16="http://schemas.microsoft.com/office/drawing/2014/main" id="{BC984BA3-C09B-D04A-ACEF-156E24EF1767}"/>
                </a:ext>
              </a:extLst>
            </p:cNvPr>
            <p:cNvSpPr>
              <a:spLocks/>
            </p:cNvSpPr>
            <p:nvPr/>
          </p:nvSpPr>
          <p:spPr bwMode="auto">
            <a:xfrm>
              <a:off x="2425831" y="6501303"/>
              <a:ext cx="100189" cy="15688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000" dirty="0">
                <a:solidFill>
                  <a:srgbClr val="282828"/>
                </a:solidFill>
              </a:endParaRPr>
            </a:p>
          </p:txBody>
        </p:sp>
      </p:grpSp>
      <p:sp>
        <p:nvSpPr>
          <p:cNvPr id="213" name="Oval 212">
            <a:extLst>
              <a:ext uri="{FF2B5EF4-FFF2-40B4-BE49-F238E27FC236}">
                <a16:creationId xmlns:a16="http://schemas.microsoft.com/office/drawing/2014/main" id="{65B23612-B7B4-46AB-B877-E1E74C7F9B2D}"/>
              </a:ext>
            </a:extLst>
          </p:cNvPr>
          <p:cNvSpPr/>
          <p:nvPr/>
        </p:nvSpPr>
        <p:spPr>
          <a:xfrm>
            <a:off x="1910928" y="1831161"/>
            <a:ext cx="274320" cy="2743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TextBox 197">
            <a:extLst>
              <a:ext uri="{FF2B5EF4-FFF2-40B4-BE49-F238E27FC236}">
                <a16:creationId xmlns:a16="http://schemas.microsoft.com/office/drawing/2014/main" id="{C4AFB003-4A24-43A5-8F53-BB2D2C8F13BD}"/>
              </a:ext>
            </a:extLst>
          </p:cNvPr>
          <p:cNvSpPr txBox="1"/>
          <p:nvPr/>
        </p:nvSpPr>
        <p:spPr>
          <a:xfrm>
            <a:off x="2027568" y="3353607"/>
            <a:ext cx="510076" cy="196208"/>
          </a:xfrm>
          <a:prstGeom prst="rect">
            <a:avLst/>
          </a:prstGeom>
          <a:noFill/>
        </p:spPr>
        <p:txBody>
          <a:bodyPr wrap="none" rtlCol="0">
            <a:spAutoFit/>
          </a:bodyPr>
          <a:lstStyle/>
          <a:p>
            <a:pPr algn="r"/>
            <a:r>
              <a:rPr lang="en-US" sz="675" dirty="0">
                <a:latin typeface="+mj-lt"/>
                <a:cs typeface="CiscoSansTT" panose="020B0503020201020303" pitchFamily="34" charset="0"/>
              </a:rPr>
              <a:t>Ethernet</a:t>
            </a:r>
          </a:p>
        </p:txBody>
      </p:sp>
      <p:sp>
        <p:nvSpPr>
          <p:cNvPr id="380" name="Rectangle 379">
            <a:extLst>
              <a:ext uri="{FF2B5EF4-FFF2-40B4-BE49-F238E27FC236}">
                <a16:creationId xmlns:a16="http://schemas.microsoft.com/office/drawing/2014/main" id="{C5FC49B3-5461-5A41-B6DB-1467189BB517}"/>
              </a:ext>
            </a:extLst>
          </p:cNvPr>
          <p:cNvSpPr/>
          <p:nvPr/>
        </p:nvSpPr>
        <p:spPr>
          <a:xfrm>
            <a:off x="5473305" y="3227060"/>
            <a:ext cx="1094785" cy="196208"/>
          </a:xfrm>
          <a:prstGeom prst="rect">
            <a:avLst/>
          </a:prstGeom>
        </p:spPr>
        <p:txBody>
          <a:bodyPr wrap="square">
            <a:spAutoFit/>
          </a:bodyPr>
          <a:lstStyle/>
          <a:p>
            <a:pPr algn="ctr" defTabSz="457178">
              <a:defRPr/>
            </a:pPr>
            <a:r>
              <a:rPr lang="en-US" sz="675" dirty="0">
                <a:solidFill>
                  <a:srgbClr val="282828"/>
                </a:solidFill>
                <a:latin typeface="+mj-lt"/>
              </a:rPr>
              <a:t>Regional DC</a:t>
            </a:r>
          </a:p>
        </p:txBody>
      </p:sp>
      <p:sp>
        <p:nvSpPr>
          <p:cNvPr id="381" name="Rectangle 380">
            <a:extLst>
              <a:ext uri="{FF2B5EF4-FFF2-40B4-BE49-F238E27FC236}">
                <a16:creationId xmlns:a16="http://schemas.microsoft.com/office/drawing/2014/main" id="{F577F3D7-F6E0-7B48-B1BE-4847BB048A7F}"/>
              </a:ext>
            </a:extLst>
          </p:cNvPr>
          <p:cNvSpPr/>
          <p:nvPr/>
        </p:nvSpPr>
        <p:spPr>
          <a:xfrm>
            <a:off x="4051581" y="3235670"/>
            <a:ext cx="1094785" cy="196208"/>
          </a:xfrm>
          <a:prstGeom prst="rect">
            <a:avLst/>
          </a:prstGeom>
        </p:spPr>
        <p:txBody>
          <a:bodyPr wrap="square">
            <a:spAutoFit/>
          </a:bodyPr>
          <a:lstStyle/>
          <a:p>
            <a:pPr algn="ctr" defTabSz="457178">
              <a:defRPr/>
            </a:pPr>
            <a:r>
              <a:rPr lang="en-US" sz="675" dirty="0">
                <a:solidFill>
                  <a:srgbClr val="282828"/>
                </a:solidFill>
                <a:latin typeface="+mj-lt"/>
              </a:rPr>
              <a:t>MEC/CRAN Hub</a:t>
            </a:r>
          </a:p>
        </p:txBody>
      </p:sp>
      <p:grpSp>
        <p:nvGrpSpPr>
          <p:cNvPr id="3" name="Group 2">
            <a:extLst>
              <a:ext uri="{FF2B5EF4-FFF2-40B4-BE49-F238E27FC236}">
                <a16:creationId xmlns:a16="http://schemas.microsoft.com/office/drawing/2014/main" id="{13339AA9-6407-4143-98D4-227ED39918AA}"/>
              </a:ext>
            </a:extLst>
          </p:cNvPr>
          <p:cNvGrpSpPr/>
          <p:nvPr/>
        </p:nvGrpSpPr>
        <p:grpSpPr>
          <a:xfrm>
            <a:off x="6869997" y="4581428"/>
            <a:ext cx="2384971" cy="539331"/>
            <a:chOff x="9445000" y="5990223"/>
            <a:chExt cx="3179961" cy="719107"/>
          </a:xfrm>
        </p:grpSpPr>
        <p:grpSp>
          <p:nvGrpSpPr>
            <p:cNvPr id="407" name="Group 406">
              <a:extLst>
                <a:ext uri="{FF2B5EF4-FFF2-40B4-BE49-F238E27FC236}">
                  <a16:creationId xmlns:a16="http://schemas.microsoft.com/office/drawing/2014/main" id="{0ECEDCBB-D6AC-F24C-8469-D4022C517175}"/>
                </a:ext>
              </a:extLst>
            </p:cNvPr>
            <p:cNvGrpSpPr/>
            <p:nvPr/>
          </p:nvGrpSpPr>
          <p:grpSpPr>
            <a:xfrm>
              <a:off x="9445000" y="5990223"/>
              <a:ext cx="2406708" cy="719107"/>
              <a:chOff x="1702550" y="6074298"/>
              <a:chExt cx="2406708" cy="719107"/>
            </a:xfrm>
          </p:grpSpPr>
          <p:sp>
            <p:nvSpPr>
              <p:cNvPr id="410" name="TextBox 409">
                <a:extLst>
                  <a:ext uri="{FF2B5EF4-FFF2-40B4-BE49-F238E27FC236}">
                    <a16:creationId xmlns:a16="http://schemas.microsoft.com/office/drawing/2014/main" id="{F66FDC04-7A7B-9849-B449-FD1AFD7EDF30}"/>
                  </a:ext>
                </a:extLst>
              </p:cNvPr>
              <p:cNvSpPr txBox="1"/>
              <p:nvPr/>
            </p:nvSpPr>
            <p:spPr>
              <a:xfrm>
                <a:off x="1702550" y="6383036"/>
                <a:ext cx="755951" cy="410369"/>
              </a:xfrm>
              <a:prstGeom prst="rect">
                <a:avLst/>
              </a:prstGeom>
              <a:noFill/>
            </p:spPr>
            <p:txBody>
              <a:bodyPr wrap="square" rtlCol="0">
                <a:spAutoFit/>
              </a:bodyPr>
              <a:lstStyle/>
              <a:p>
                <a:r>
                  <a:rPr lang="en-US" sz="1400" dirty="0">
                    <a:solidFill>
                      <a:schemeClr val="accent5"/>
                    </a:solidFill>
                    <a:latin typeface="CiscoSansTT Light" panose="020B0503020201020303" pitchFamily="34" charset="0"/>
                    <a:cs typeface="CiscoSansTT Light" panose="020B0503020201020303" pitchFamily="34" charset="0"/>
                  </a:rPr>
                  <a:t>X2.7 </a:t>
                </a:r>
              </a:p>
            </p:txBody>
          </p:sp>
          <p:sp>
            <p:nvSpPr>
              <p:cNvPr id="411" name="Rectangle 410">
                <a:extLst>
                  <a:ext uri="{FF2B5EF4-FFF2-40B4-BE49-F238E27FC236}">
                    <a16:creationId xmlns:a16="http://schemas.microsoft.com/office/drawing/2014/main" id="{E7FD79AB-E553-6E49-B188-67951A6C79DE}"/>
                  </a:ext>
                </a:extLst>
              </p:cNvPr>
              <p:cNvSpPr/>
              <p:nvPr/>
            </p:nvSpPr>
            <p:spPr>
              <a:xfrm>
                <a:off x="2450017" y="6074298"/>
                <a:ext cx="1659241" cy="410369"/>
              </a:xfrm>
              <a:prstGeom prst="rect">
                <a:avLst/>
              </a:prstGeom>
            </p:spPr>
            <p:txBody>
              <a:bodyPr wrap="square" anchor="b">
                <a:spAutoFit/>
              </a:bodyPr>
              <a:lstStyle/>
              <a:p>
                <a:pPr algn="ctr"/>
                <a:r>
                  <a:rPr lang="en-US" sz="1400" dirty="0">
                    <a:solidFill>
                      <a:schemeClr val="bg2"/>
                    </a:solidFill>
                    <a:latin typeface="CiscoSansTT Light" panose="020B0503020201020303" pitchFamily="34" charset="0"/>
                    <a:cs typeface="CiscoSansTT Light" panose="020B0503020201020303" pitchFamily="34" charset="0"/>
                  </a:rPr>
                  <a:t>NCS 5500</a:t>
                </a:r>
              </a:p>
            </p:txBody>
          </p:sp>
          <p:sp>
            <p:nvSpPr>
              <p:cNvPr id="412" name="Freeform 5">
                <a:extLst>
                  <a:ext uri="{FF2B5EF4-FFF2-40B4-BE49-F238E27FC236}">
                    <a16:creationId xmlns:a16="http://schemas.microsoft.com/office/drawing/2014/main" id="{CB1645A2-6F12-7447-B1FF-19AB95B1FCB8}"/>
                  </a:ext>
                </a:extLst>
              </p:cNvPr>
              <p:cNvSpPr>
                <a:spLocks/>
              </p:cNvSpPr>
              <p:nvPr/>
            </p:nvSpPr>
            <p:spPr bwMode="auto">
              <a:xfrm>
                <a:off x="2425831" y="6517466"/>
                <a:ext cx="100189" cy="15688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000" dirty="0">
                  <a:solidFill>
                    <a:srgbClr val="282828"/>
                  </a:solidFill>
                </a:endParaRPr>
              </a:p>
            </p:txBody>
          </p:sp>
        </p:grpSp>
        <p:sp>
          <p:nvSpPr>
            <p:cNvPr id="242" name="TextBox 241">
              <a:extLst>
                <a:ext uri="{FF2B5EF4-FFF2-40B4-BE49-F238E27FC236}">
                  <a16:creationId xmlns:a16="http://schemas.microsoft.com/office/drawing/2014/main" id="{34C464A5-1F4C-904B-9094-1307ECB7058B}"/>
                </a:ext>
              </a:extLst>
            </p:cNvPr>
            <p:cNvSpPr txBox="1"/>
            <p:nvPr/>
          </p:nvSpPr>
          <p:spPr>
            <a:xfrm>
              <a:off x="10325973" y="6338927"/>
              <a:ext cx="2298988" cy="338555"/>
            </a:xfrm>
            <a:prstGeom prst="rect">
              <a:avLst/>
            </a:prstGeom>
            <a:noFill/>
          </p:spPr>
          <p:txBody>
            <a:bodyPr wrap="square" rtlCol="0">
              <a:spAutoFit/>
            </a:bodyPr>
            <a:lstStyle/>
            <a:p>
              <a:r>
                <a:rPr lang="en-US" sz="1000" dirty="0">
                  <a:solidFill>
                    <a:schemeClr val="bg2"/>
                  </a:solidFill>
                  <a:latin typeface="+mn-lt"/>
                </a:rPr>
                <a:t>9.6T/slot (24 x </a:t>
              </a:r>
              <a:r>
                <a:rPr lang="en-US" sz="1000" dirty="0">
                  <a:solidFill>
                    <a:schemeClr val="accent5"/>
                  </a:solidFill>
                  <a:latin typeface="CiscoSansTT" panose="020B0503020201020303" pitchFamily="34" charset="0"/>
                  <a:cs typeface="CiscoSansTT" panose="020B0503020201020303" pitchFamily="34" charset="0"/>
                </a:rPr>
                <a:t>400GE</a:t>
              </a:r>
              <a:r>
                <a:rPr lang="en-US" sz="1000" dirty="0">
                  <a:solidFill>
                    <a:schemeClr val="bg2"/>
                  </a:solidFill>
                  <a:latin typeface="+mn-lt"/>
                </a:rPr>
                <a:t>)</a:t>
              </a:r>
            </a:p>
          </p:txBody>
        </p:sp>
      </p:grpSp>
      <p:sp>
        <p:nvSpPr>
          <p:cNvPr id="4" name="Right Bracket 3">
            <a:extLst>
              <a:ext uri="{FF2B5EF4-FFF2-40B4-BE49-F238E27FC236}">
                <a16:creationId xmlns:a16="http://schemas.microsoft.com/office/drawing/2014/main" id="{6D610650-40E5-E041-A78B-AD28E2FDEF23}"/>
              </a:ext>
            </a:extLst>
          </p:cNvPr>
          <p:cNvSpPr/>
          <p:nvPr/>
        </p:nvSpPr>
        <p:spPr>
          <a:xfrm>
            <a:off x="210516" y="1191926"/>
            <a:ext cx="1608856" cy="2159954"/>
          </a:xfrm>
          <a:prstGeom prst="rightBracket">
            <a:avLst/>
          </a:prstGeom>
          <a:solidFill>
            <a:schemeClr val="tx2"/>
          </a:solidFill>
          <a:ln w="222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2"/>
              </a:solidFill>
            </a:endParaRPr>
          </a:p>
        </p:txBody>
      </p:sp>
      <p:sp>
        <p:nvSpPr>
          <p:cNvPr id="11" name="TextBox 10">
            <a:extLst>
              <a:ext uri="{FF2B5EF4-FFF2-40B4-BE49-F238E27FC236}">
                <a16:creationId xmlns:a16="http://schemas.microsoft.com/office/drawing/2014/main" id="{B228B2EF-3E80-F040-8B6D-F2E5DF743751}"/>
              </a:ext>
            </a:extLst>
          </p:cNvPr>
          <p:cNvSpPr txBox="1"/>
          <p:nvPr/>
        </p:nvSpPr>
        <p:spPr>
          <a:xfrm>
            <a:off x="280070" y="1474372"/>
            <a:ext cx="1562522" cy="1765099"/>
          </a:xfrm>
          <a:prstGeom prst="rect">
            <a:avLst/>
          </a:prstGeom>
          <a:noFill/>
        </p:spPr>
        <p:txBody>
          <a:bodyPr wrap="square" rtlCol="0">
            <a:spAutoFit/>
          </a:bodyPr>
          <a:lstStyle/>
          <a:p>
            <a:pPr>
              <a:lnSpc>
                <a:spcPct val="95000"/>
              </a:lnSpc>
              <a:spcAft>
                <a:spcPts val="675"/>
              </a:spcAft>
            </a:pPr>
            <a:r>
              <a:rPr lang="en-US" sz="1200" dirty="0">
                <a:solidFill>
                  <a:schemeClr val="bg2"/>
                </a:solidFill>
                <a:latin typeface="+mn-lt"/>
              </a:rPr>
              <a:t>high-performance, 5G-ready portfolio</a:t>
            </a:r>
          </a:p>
          <a:p>
            <a:pPr>
              <a:lnSpc>
                <a:spcPct val="95000"/>
              </a:lnSpc>
              <a:spcAft>
                <a:spcPts val="675"/>
              </a:spcAft>
            </a:pPr>
            <a:r>
              <a:rPr lang="en-US" sz="1200" dirty="0">
                <a:solidFill>
                  <a:schemeClr val="bg2"/>
                </a:solidFill>
                <a:latin typeface="+mn-lt"/>
              </a:rPr>
              <a:t>software-driven simplification</a:t>
            </a:r>
          </a:p>
          <a:p>
            <a:pPr>
              <a:lnSpc>
                <a:spcPct val="95000"/>
              </a:lnSpc>
              <a:spcAft>
                <a:spcPts val="675"/>
              </a:spcAft>
            </a:pPr>
            <a:r>
              <a:rPr lang="en-US" sz="1200" dirty="0">
                <a:solidFill>
                  <a:schemeClr val="bg2"/>
                </a:solidFill>
                <a:latin typeface="+mn-lt"/>
              </a:rPr>
              <a:t>cross-domain automation</a:t>
            </a:r>
          </a:p>
          <a:p>
            <a:pPr>
              <a:lnSpc>
                <a:spcPct val="95000"/>
              </a:lnSpc>
              <a:spcAft>
                <a:spcPts val="675"/>
              </a:spcAft>
            </a:pPr>
            <a:r>
              <a:rPr lang="en-US" sz="1200" dirty="0">
                <a:solidFill>
                  <a:schemeClr val="bg2"/>
                </a:solidFill>
                <a:latin typeface="+mn-lt"/>
              </a:rPr>
              <a:t>trustworthy platforms</a:t>
            </a:r>
          </a:p>
        </p:txBody>
      </p:sp>
      <p:sp>
        <p:nvSpPr>
          <p:cNvPr id="399" name="Rounded Rectangle 3">
            <a:extLst>
              <a:ext uri="{FF2B5EF4-FFF2-40B4-BE49-F238E27FC236}">
                <a16:creationId xmlns:a16="http://schemas.microsoft.com/office/drawing/2014/main" id="{CC19B9E2-1EB0-9840-89EE-E4FA975AB31E}"/>
              </a:ext>
            </a:extLst>
          </p:cNvPr>
          <p:cNvSpPr/>
          <p:nvPr/>
        </p:nvSpPr>
        <p:spPr>
          <a:xfrm>
            <a:off x="5088259" y="1271391"/>
            <a:ext cx="2245220" cy="2478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solidFill>
                <a:cs typeface="CiscoSansTT Light" panose="020B0503020201020303" pitchFamily="34" charset="0"/>
              </a:rPr>
              <a:t>Optimization Engine</a:t>
            </a:r>
          </a:p>
        </p:txBody>
      </p:sp>
      <p:grpSp>
        <p:nvGrpSpPr>
          <p:cNvPr id="14" name="Group 13">
            <a:extLst>
              <a:ext uri="{FF2B5EF4-FFF2-40B4-BE49-F238E27FC236}">
                <a16:creationId xmlns:a16="http://schemas.microsoft.com/office/drawing/2014/main" id="{7E80ED58-0585-2647-9F27-DD3699949F67}"/>
              </a:ext>
            </a:extLst>
          </p:cNvPr>
          <p:cNvGrpSpPr/>
          <p:nvPr/>
        </p:nvGrpSpPr>
        <p:grpSpPr>
          <a:xfrm>
            <a:off x="4300464" y="1105593"/>
            <a:ext cx="742791" cy="409488"/>
            <a:chOff x="5095252" y="1599139"/>
            <a:chExt cx="990388" cy="545984"/>
          </a:xfrm>
        </p:grpSpPr>
        <p:grpSp>
          <p:nvGrpSpPr>
            <p:cNvPr id="363" name="Group 362">
              <a:extLst>
                <a:ext uri="{FF2B5EF4-FFF2-40B4-BE49-F238E27FC236}">
                  <a16:creationId xmlns:a16="http://schemas.microsoft.com/office/drawing/2014/main" id="{17395774-8642-F741-B4B3-3AC85C4AE5A4}"/>
                </a:ext>
              </a:extLst>
            </p:cNvPr>
            <p:cNvGrpSpPr>
              <a:grpSpLocks noChangeAspect="1"/>
            </p:cNvGrpSpPr>
            <p:nvPr/>
          </p:nvGrpSpPr>
          <p:grpSpPr>
            <a:xfrm>
              <a:off x="5675655" y="1601852"/>
              <a:ext cx="271958" cy="274320"/>
              <a:chOff x="12587345" y="2301556"/>
              <a:chExt cx="114999" cy="115998"/>
            </a:xfrm>
            <a:solidFill>
              <a:schemeClr val="accent3"/>
            </a:solidFill>
          </p:grpSpPr>
          <p:sp>
            <p:nvSpPr>
              <p:cNvPr id="371" name="Freeform 36">
                <a:extLst>
                  <a:ext uri="{FF2B5EF4-FFF2-40B4-BE49-F238E27FC236}">
                    <a16:creationId xmlns:a16="http://schemas.microsoft.com/office/drawing/2014/main" id="{92B93E8E-7629-2E4E-8B46-06BBAD222D34}"/>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2" name="Freeform 37">
                <a:extLst>
                  <a:ext uri="{FF2B5EF4-FFF2-40B4-BE49-F238E27FC236}">
                    <a16:creationId xmlns:a16="http://schemas.microsoft.com/office/drawing/2014/main" id="{6FE81385-92CB-C542-84A8-2BA24A33F940}"/>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3" name="Freeform 38">
                <a:extLst>
                  <a:ext uri="{FF2B5EF4-FFF2-40B4-BE49-F238E27FC236}">
                    <a16:creationId xmlns:a16="http://schemas.microsoft.com/office/drawing/2014/main" id="{433ACB5B-FB69-7241-9F77-AF2CC4F4613A}"/>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4" name="Rectangle 39">
                <a:extLst>
                  <a:ext uri="{FF2B5EF4-FFF2-40B4-BE49-F238E27FC236}">
                    <a16:creationId xmlns:a16="http://schemas.microsoft.com/office/drawing/2014/main" id="{2098785B-1445-E545-9CF7-5F6B9C19E98F}"/>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5" name="Rectangle 40">
                <a:extLst>
                  <a:ext uri="{FF2B5EF4-FFF2-40B4-BE49-F238E27FC236}">
                    <a16:creationId xmlns:a16="http://schemas.microsoft.com/office/drawing/2014/main" id="{103AE5E7-C848-404B-ABE5-CA359137F51E}"/>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6" name="Freeform 41">
                <a:extLst>
                  <a:ext uri="{FF2B5EF4-FFF2-40B4-BE49-F238E27FC236}">
                    <a16:creationId xmlns:a16="http://schemas.microsoft.com/office/drawing/2014/main" id="{E367FF59-DD94-BC49-B9CF-82A5E7F7D218}"/>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7" name="Rectangle 42">
                <a:extLst>
                  <a:ext uri="{FF2B5EF4-FFF2-40B4-BE49-F238E27FC236}">
                    <a16:creationId xmlns:a16="http://schemas.microsoft.com/office/drawing/2014/main" id="{70A7F5C5-24B9-1546-A328-330B2028A155}"/>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8" name="Rectangle 43">
                <a:extLst>
                  <a:ext uri="{FF2B5EF4-FFF2-40B4-BE49-F238E27FC236}">
                    <a16:creationId xmlns:a16="http://schemas.microsoft.com/office/drawing/2014/main" id="{0351A7D4-DAF4-D94E-88E0-34270616E25B}"/>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84" name="Freeform 44">
                <a:extLst>
                  <a:ext uri="{FF2B5EF4-FFF2-40B4-BE49-F238E27FC236}">
                    <a16:creationId xmlns:a16="http://schemas.microsoft.com/office/drawing/2014/main" id="{BBABB126-79BC-A948-B4A9-A81CD4FA72F9}"/>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85" name="Freeform 45">
                <a:extLst>
                  <a:ext uri="{FF2B5EF4-FFF2-40B4-BE49-F238E27FC236}">
                    <a16:creationId xmlns:a16="http://schemas.microsoft.com/office/drawing/2014/main" id="{7BF0838D-5157-D945-9798-207AD5059C0A}"/>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86" name="Freeform 46">
                <a:extLst>
                  <a:ext uri="{FF2B5EF4-FFF2-40B4-BE49-F238E27FC236}">
                    <a16:creationId xmlns:a16="http://schemas.microsoft.com/office/drawing/2014/main" id="{1E4D365E-8A18-864E-9F04-6F373A9702C4}"/>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87" name="Freeform 47">
                <a:extLst>
                  <a:ext uri="{FF2B5EF4-FFF2-40B4-BE49-F238E27FC236}">
                    <a16:creationId xmlns:a16="http://schemas.microsoft.com/office/drawing/2014/main" id="{5C5B6F72-4369-DA42-91FE-1A706D7EDC32}"/>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93" name="Oval 48">
                <a:extLst>
                  <a:ext uri="{FF2B5EF4-FFF2-40B4-BE49-F238E27FC236}">
                    <a16:creationId xmlns:a16="http://schemas.microsoft.com/office/drawing/2014/main" id="{D33B37D9-A87C-694C-8B78-1E00A9771D0E}"/>
                  </a:ext>
                </a:extLst>
              </p:cNvPr>
              <p:cNvSpPr>
                <a:spLocks noChangeAspect="1" noChangeArrowheads="1"/>
              </p:cNvSpPr>
              <p:nvPr/>
            </p:nvSpPr>
            <p:spPr bwMode="auto">
              <a:xfrm>
                <a:off x="12627372" y="2341557"/>
                <a:ext cx="34999" cy="35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94" name="Freeform 49">
                <a:extLst>
                  <a:ext uri="{FF2B5EF4-FFF2-40B4-BE49-F238E27FC236}">
                    <a16:creationId xmlns:a16="http://schemas.microsoft.com/office/drawing/2014/main" id="{B09B3CD8-BC0B-2649-A03E-1020F30D977D}"/>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grpSp>
          <p:nvGrpSpPr>
            <p:cNvPr id="408" name="Group 407">
              <a:extLst>
                <a:ext uri="{FF2B5EF4-FFF2-40B4-BE49-F238E27FC236}">
                  <a16:creationId xmlns:a16="http://schemas.microsoft.com/office/drawing/2014/main" id="{9BAB8456-3381-464D-B163-EE316CC7CE08}"/>
                </a:ext>
              </a:extLst>
            </p:cNvPr>
            <p:cNvGrpSpPr>
              <a:grpSpLocks noChangeAspect="1"/>
            </p:cNvGrpSpPr>
            <p:nvPr/>
          </p:nvGrpSpPr>
          <p:grpSpPr>
            <a:xfrm>
              <a:off x="5451990" y="1730095"/>
              <a:ext cx="271957" cy="274320"/>
              <a:chOff x="12587345" y="2301556"/>
              <a:chExt cx="114999" cy="115998"/>
            </a:xfrm>
            <a:solidFill>
              <a:schemeClr val="accent2"/>
            </a:solidFill>
          </p:grpSpPr>
          <p:sp>
            <p:nvSpPr>
              <p:cNvPr id="409" name="Freeform 36">
                <a:extLst>
                  <a:ext uri="{FF2B5EF4-FFF2-40B4-BE49-F238E27FC236}">
                    <a16:creationId xmlns:a16="http://schemas.microsoft.com/office/drawing/2014/main" id="{8F88F753-4EAD-0240-ABDC-4783A5622881}"/>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3" name="Freeform 37">
                <a:extLst>
                  <a:ext uri="{FF2B5EF4-FFF2-40B4-BE49-F238E27FC236}">
                    <a16:creationId xmlns:a16="http://schemas.microsoft.com/office/drawing/2014/main" id="{B4DEA51B-BDA9-8749-B5D4-3314390161C3}"/>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4" name="Freeform 38">
                <a:extLst>
                  <a:ext uri="{FF2B5EF4-FFF2-40B4-BE49-F238E27FC236}">
                    <a16:creationId xmlns:a16="http://schemas.microsoft.com/office/drawing/2014/main" id="{23801A15-D3D2-8B47-B30C-C437331E8A44}"/>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5" name="Rectangle 39">
                <a:extLst>
                  <a:ext uri="{FF2B5EF4-FFF2-40B4-BE49-F238E27FC236}">
                    <a16:creationId xmlns:a16="http://schemas.microsoft.com/office/drawing/2014/main" id="{3EBEB416-6E39-1F47-84CF-FA246BBC9B76}"/>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6" name="Rectangle 40">
                <a:extLst>
                  <a:ext uri="{FF2B5EF4-FFF2-40B4-BE49-F238E27FC236}">
                    <a16:creationId xmlns:a16="http://schemas.microsoft.com/office/drawing/2014/main" id="{C6F83B30-853D-9C4A-AC24-57CC2CC65F56}"/>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7" name="Freeform 41">
                <a:extLst>
                  <a:ext uri="{FF2B5EF4-FFF2-40B4-BE49-F238E27FC236}">
                    <a16:creationId xmlns:a16="http://schemas.microsoft.com/office/drawing/2014/main" id="{F7F24E1E-E7CA-7847-868A-30F9C61CE7A4}"/>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9" name="Rectangle 42">
                <a:extLst>
                  <a:ext uri="{FF2B5EF4-FFF2-40B4-BE49-F238E27FC236}">
                    <a16:creationId xmlns:a16="http://schemas.microsoft.com/office/drawing/2014/main" id="{3153205F-0E18-6C43-AC51-B553564879B0}"/>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0" name="Rectangle 43">
                <a:extLst>
                  <a:ext uri="{FF2B5EF4-FFF2-40B4-BE49-F238E27FC236}">
                    <a16:creationId xmlns:a16="http://schemas.microsoft.com/office/drawing/2014/main" id="{ADF4A498-3E19-E74F-A0ED-34F557EE7D09}"/>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5" name="Freeform 44">
                <a:extLst>
                  <a:ext uri="{FF2B5EF4-FFF2-40B4-BE49-F238E27FC236}">
                    <a16:creationId xmlns:a16="http://schemas.microsoft.com/office/drawing/2014/main" id="{B173DD32-05AD-0C4A-9ED9-2CA9C67F5C9C}"/>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6" name="Freeform 45">
                <a:extLst>
                  <a:ext uri="{FF2B5EF4-FFF2-40B4-BE49-F238E27FC236}">
                    <a16:creationId xmlns:a16="http://schemas.microsoft.com/office/drawing/2014/main" id="{344F419D-4BB3-B049-8628-131939A9B94E}"/>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7" name="Freeform 46">
                <a:extLst>
                  <a:ext uri="{FF2B5EF4-FFF2-40B4-BE49-F238E27FC236}">
                    <a16:creationId xmlns:a16="http://schemas.microsoft.com/office/drawing/2014/main" id="{6E9B1EE7-D94D-0F47-B1AD-57A9E66F80CE}"/>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8" name="Freeform 47">
                <a:extLst>
                  <a:ext uri="{FF2B5EF4-FFF2-40B4-BE49-F238E27FC236}">
                    <a16:creationId xmlns:a16="http://schemas.microsoft.com/office/drawing/2014/main" id="{29F8FCC6-5811-E849-B6CF-E97D34EBDA8F}"/>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9" name="Oval 48">
                <a:extLst>
                  <a:ext uri="{FF2B5EF4-FFF2-40B4-BE49-F238E27FC236}">
                    <a16:creationId xmlns:a16="http://schemas.microsoft.com/office/drawing/2014/main" id="{B1FCAC26-1143-314E-9C01-0559981F4886}"/>
                  </a:ext>
                </a:extLst>
              </p:cNvPr>
              <p:cNvSpPr>
                <a:spLocks noChangeAspect="1" noChangeArrowheads="1"/>
              </p:cNvSpPr>
              <p:nvPr/>
            </p:nvSpPr>
            <p:spPr bwMode="auto">
              <a:xfrm>
                <a:off x="12627372" y="2341557"/>
                <a:ext cx="34999" cy="35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30" name="Freeform 49">
                <a:extLst>
                  <a:ext uri="{FF2B5EF4-FFF2-40B4-BE49-F238E27FC236}">
                    <a16:creationId xmlns:a16="http://schemas.microsoft.com/office/drawing/2014/main" id="{8D905EB6-0827-7647-A81C-D931E6F45088}"/>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grpSp>
          <p:nvGrpSpPr>
            <p:cNvPr id="359" name="Group 358">
              <a:extLst>
                <a:ext uri="{FF2B5EF4-FFF2-40B4-BE49-F238E27FC236}">
                  <a16:creationId xmlns:a16="http://schemas.microsoft.com/office/drawing/2014/main" id="{0D4D54A9-CE84-1543-9197-F9ED7A9581C0}"/>
                </a:ext>
              </a:extLst>
            </p:cNvPr>
            <p:cNvGrpSpPr>
              <a:grpSpLocks noChangeAspect="1"/>
            </p:cNvGrpSpPr>
            <p:nvPr/>
          </p:nvGrpSpPr>
          <p:grpSpPr>
            <a:xfrm>
              <a:off x="5095252" y="1599139"/>
              <a:ext cx="990388" cy="545984"/>
              <a:chOff x="572756" y="4356495"/>
              <a:chExt cx="701979" cy="386989"/>
            </a:xfrm>
            <a:solidFill>
              <a:schemeClr val="bg2"/>
            </a:solidFill>
          </p:grpSpPr>
          <p:sp>
            <p:nvSpPr>
              <p:cNvPr id="361" name="Freeform 294">
                <a:extLst>
                  <a:ext uri="{FF2B5EF4-FFF2-40B4-BE49-F238E27FC236}">
                    <a16:creationId xmlns:a16="http://schemas.microsoft.com/office/drawing/2014/main" id="{D260880F-3A2F-E84D-BBEC-D98DCD6A5022}"/>
                  </a:ext>
                </a:extLst>
              </p:cNvPr>
              <p:cNvSpPr>
                <a:spLocks noChangeAspect="1"/>
              </p:cNvSpPr>
              <p:nvPr/>
            </p:nvSpPr>
            <p:spPr bwMode="auto">
              <a:xfrm>
                <a:off x="572756" y="4701485"/>
                <a:ext cx="701979" cy="41999"/>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62" name="Freeform 295">
                <a:extLst>
                  <a:ext uri="{FF2B5EF4-FFF2-40B4-BE49-F238E27FC236}">
                    <a16:creationId xmlns:a16="http://schemas.microsoft.com/office/drawing/2014/main" id="{0194D6AE-D3B8-0C41-BA2C-114A1F680446}"/>
                  </a:ext>
                </a:extLst>
              </p:cNvPr>
              <p:cNvSpPr>
                <a:spLocks noChangeAspect="1" noEditPoints="1"/>
              </p:cNvSpPr>
              <p:nvPr/>
            </p:nvSpPr>
            <p:spPr bwMode="auto">
              <a:xfrm>
                <a:off x="650754" y="4356495"/>
                <a:ext cx="545983" cy="306991"/>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grpSp>
      <p:pic>
        <p:nvPicPr>
          <p:cNvPr id="238" name="Picture 237">
            <a:extLst>
              <a:ext uri="{FF2B5EF4-FFF2-40B4-BE49-F238E27FC236}">
                <a16:creationId xmlns:a16="http://schemas.microsoft.com/office/drawing/2014/main" id="{82933F95-9A4B-D24C-9E09-411293820D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488" y="1122329"/>
            <a:ext cx="411480" cy="411480"/>
          </a:xfrm>
          <a:prstGeom prst="rect">
            <a:avLst/>
          </a:prstGeom>
        </p:spPr>
      </p:pic>
      <p:sp>
        <p:nvSpPr>
          <p:cNvPr id="423" name="Cloud 422">
            <a:extLst>
              <a:ext uri="{FF2B5EF4-FFF2-40B4-BE49-F238E27FC236}">
                <a16:creationId xmlns:a16="http://schemas.microsoft.com/office/drawing/2014/main" id="{07832C73-3572-EE4A-8FC0-2C20F1D8704A}"/>
              </a:ext>
            </a:extLst>
          </p:cNvPr>
          <p:cNvSpPr/>
          <p:nvPr/>
        </p:nvSpPr>
        <p:spPr>
          <a:xfrm>
            <a:off x="6854491" y="2040763"/>
            <a:ext cx="1426407" cy="885962"/>
          </a:xfrm>
          <a:prstGeom prst="cloud">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2" name="Cloud 421">
            <a:extLst>
              <a:ext uri="{FF2B5EF4-FFF2-40B4-BE49-F238E27FC236}">
                <a16:creationId xmlns:a16="http://schemas.microsoft.com/office/drawing/2014/main" id="{A9C34FDA-C96E-BE44-AB26-9992315921CE}"/>
              </a:ext>
            </a:extLst>
          </p:cNvPr>
          <p:cNvSpPr/>
          <p:nvPr/>
        </p:nvSpPr>
        <p:spPr>
          <a:xfrm>
            <a:off x="5322141" y="2005969"/>
            <a:ext cx="1548836" cy="885962"/>
          </a:xfrm>
          <a:prstGeom prst="cloud">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1" name="Cloud 420">
            <a:extLst>
              <a:ext uri="{FF2B5EF4-FFF2-40B4-BE49-F238E27FC236}">
                <a16:creationId xmlns:a16="http://schemas.microsoft.com/office/drawing/2014/main" id="{B2F1F239-6E93-1747-B046-2EA49780F3BA}"/>
              </a:ext>
            </a:extLst>
          </p:cNvPr>
          <p:cNvSpPr/>
          <p:nvPr/>
        </p:nvSpPr>
        <p:spPr>
          <a:xfrm>
            <a:off x="3862360" y="1997635"/>
            <a:ext cx="1548836" cy="885962"/>
          </a:xfrm>
          <a:prstGeom prst="cloud">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Cloud 21">
            <a:extLst>
              <a:ext uri="{FF2B5EF4-FFF2-40B4-BE49-F238E27FC236}">
                <a16:creationId xmlns:a16="http://schemas.microsoft.com/office/drawing/2014/main" id="{A7421219-38A6-0341-B3C9-FC11DED3A079}"/>
              </a:ext>
            </a:extLst>
          </p:cNvPr>
          <p:cNvSpPr/>
          <p:nvPr/>
        </p:nvSpPr>
        <p:spPr>
          <a:xfrm>
            <a:off x="2340038" y="1991119"/>
            <a:ext cx="1548836" cy="885962"/>
          </a:xfrm>
          <a:prstGeom prst="cloud">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8" name="Rounded Rectangle 417">
            <a:extLst>
              <a:ext uri="{FF2B5EF4-FFF2-40B4-BE49-F238E27FC236}">
                <a16:creationId xmlns:a16="http://schemas.microsoft.com/office/drawing/2014/main" id="{A8FE9B1D-B26A-3B42-8689-B7228BD2655A}"/>
              </a:ext>
            </a:extLst>
          </p:cNvPr>
          <p:cNvSpPr/>
          <p:nvPr/>
        </p:nvSpPr>
        <p:spPr>
          <a:xfrm>
            <a:off x="2777459" y="2276401"/>
            <a:ext cx="6131915" cy="411480"/>
          </a:xfrm>
          <a:prstGeom prst="roundRect">
            <a:avLst>
              <a:gd name="adj" fmla="val 50000"/>
            </a:avLst>
          </a:prstGeom>
          <a:solidFill>
            <a:schemeClr val="accent3">
              <a:alpha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7" name="Oval 186">
            <a:extLst>
              <a:ext uri="{FF2B5EF4-FFF2-40B4-BE49-F238E27FC236}">
                <a16:creationId xmlns:a16="http://schemas.microsoft.com/office/drawing/2014/main" id="{CB925FC9-70E0-45C6-8B9A-A53765315445}"/>
              </a:ext>
            </a:extLst>
          </p:cNvPr>
          <p:cNvSpPr/>
          <p:nvPr/>
        </p:nvSpPr>
        <p:spPr>
          <a:xfrm>
            <a:off x="2125351" y="2970004"/>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5" name="Group 214">
            <a:extLst>
              <a:ext uri="{FF2B5EF4-FFF2-40B4-BE49-F238E27FC236}">
                <a16:creationId xmlns:a16="http://schemas.microsoft.com/office/drawing/2014/main" id="{D1DCB209-B288-4AD9-9384-B96BC298AF37}"/>
              </a:ext>
            </a:extLst>
          </p:cNvPr>
          <p:cNvGrpSpPr/>
          <p:nvPr/>
        </p:nvGrpSpPr>
        <p:grpSpPr>
          <a:xfrm rot="16200000">
            <a:off x="2502679" y="2659131"/>
            <a:ext cx="429692" cy="576863"/>
            <a:chOff x="1053576" y="845943"/>
            <a:chExt cx="429692" cy="976323"/>
          </a:xfrm>
        </p:grpSpPr>
        <p:sp>
          <p:nvSpPr>
            <p:cNvPr id="223" name="Arc 222">
              <a:extLst>
                <a:ext uri="{FF2B5EF4-FFF2-40B4-BE49-F238E27FC236}">
                  <a16:creationId xmlns:a16="http://schemas.microsoft.com/office/drawing/2014/main" id="{CA739ADF-A5A4-42F9-91BE-923D203C8D41}"/>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3" name="Straight Connector 242">
              <a:extLst>
                <a:ext uri="{FF2B5EF4-FFF2-40B4-BE49-F238E27FC236}">
                  <a16:creationId xmlns:a16="http://schemas.microsoft.com/office/drawing/2014/main" id="{22C9036C-CD40-4792-9D98-598966EAFB25}"/>
                </a:ext>
              </a:extLst>
            </p:cNvPr>
            <p:cNvCxnSpPr>
              <a:cxnSpLocks/>
              <a:endCxn id="223"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87CF0529-3DF1-4D35-87BF-EB5E873B3E9E}"/>
                </a:ext>
              </a:extLst>
            </p:cNvPr>
            <p:cNvCxnSpPr>
              <a:cxnSpLocks/>
              <a:stCxn id="223"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4C33C87-E934-4B24-9EEF-8A88C332C06E}"/>
              </a:ext>
            </a:extLst>
          </p:cNvPr>
          <p:cNvGrpSpPr/>
          <p:nvPr/>
        </p:nvGrpSpPr>
        <p:grpSpPr>
          <a:xfrm>
            <a:off x="2049913" y="2027728"/>
            <a:ext cx="854360" cy="247625"/>
            <a:chOff x="1053577" y="1587731"/>
            <a:chExt cx="854360" cy="247625"/>
          </a:xfrm>
        </p:grpSpPr>
        <p:sp>
          <p:nvSpPr>
            <p:cNvPr id="8" name="Arc 7">
              <a:extLst>
                <a:ext uri="{FF2B5EF4-FFF2-40B4-BE49-F238E27FC236}">
                  <a16:creationId xmlns:a16="http://schemas.microsoft.com/office/drawing/2014/main" id="{F2BBA645-1C01-4740-9BCD-6384D894018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04" name="Straight Connector 203">
              <a:extLst>
                <a:ext uri="{FF2B5EF4-FFF2-40B4-BE49-F238E27FC236}">
                  <a16:creationId xmlns:a16="http://schemas.microsoft.com/office/drawing/2014/main" id="{38AC4832-3392-4F01-8055-7E9FA0A887B8}"/>
                </a:ext>
              </a:extLst>
            </p:cNvPr>
            <p:cNvCxnSpPr>
              <a:cxnSpLocks/>
              <a:endCxn id="8"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96FBB5E8-43AF-42AD-8B6C-00AAE0FFE16D}"/>
                </a:ext>
              </a:extLst>
            </p:cNvPr>
            <p:cNvCxnSpPr>
              <a:cxnSpLocks/>
              <a:stCxn id="8" idx="0"/>
            </p:cNvCxnSpPr>
            <p:nvPr/>
          </p:nvCxnSpPr>
          <p:spPr>
            <a:xfrm>
              <a:off x="1170844" y="1822265"/>
              <a:ext cx="737093" cy="130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B0AD1619-B8CA-4887-A5F3-D8DDF8E61EFF}"/>
              </a:ext>
            </a:extLst>
          </p:cNvPr>
          <p:cNvGrpSpPr/>
          <p:nvPr/>
        </p:nvGrpSpPr>
        <p:grpSpPr>
          <a:xfrm>
            <a:off x="2374857" y="2032495"/>
            <a:ext cx="531509" cy="184272"/>
            <a:chOff x="1416621" y="1599856"/>
            <a:chExt cx="531509" cy="184272"/>
          </a:xfrm>
        </p:grpSpPr>
        <p:sp>
          <p:nvSpPr>
            <p:cNvPr id="206" name="Arc 205">
              <a:extLst>
                <a:ext uri="{FF2B5EF4-FFF2-40B4-BE49-F238E27FC236}">
                  <a16:creationId xmlns:a16="http://schemas.microsoft.com/office/drawing/2014/main" id="{F16B4621-A1A3-4B6F-88EC-50E9BC7BFF65}"/>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07" name="Straight Connector 206">
              <a:extLst>
                <a:ext uri="{FF2B5EF4-FFF2-40B4-BE49-F238E27FC236}">
                  <a16:creationId xmlns:a16="http://schemas.microsoft.com/office/drawing/2014/main" id="{F13FF378-A7A3-4AFC-A07A-D052293B9648}"/>
                </a:ext>
              </a:extLst>
            </p:cNvPr>
            <p:cNvCxnSpPr>
              <a:cxnSpLocks/>
              <a:endCxn id="206"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106CBE25-228E-41B7-9550-DFE7350C861C}"/>
                </a:ext>
              </a:extLst>
            </p:cNvPr>
            <p:cNvCxnSpPr>
              <a:cxnSpLocks/>
              <a:stCxn id="206" idx="0"/>
            </p:cNvCxnSpPr>
            <p:nvPr/>
          </p:nvCxnSpPr>
          <p:spPr>
            <a:xfrm>
              <a:off x="1482076" y="1784128"/>
              <a:ext cx="466054"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7EB98589-C654-4F18-BB68-DB1206F2C6EB}"/>
              </a:ext>
            </a:extLst>
          </p:cNvPr>
          <p:cNvGrpSpPr/>
          <p:nvPr/>
        </p:nvGrpSpPr>
        <p:grpSpPr>
          <a:xfrm>
            <a:off x="2706224" y="1984072"/>
            <a:ext cx="186364" cy="184274"/>
            <a:chOff x="2216109" y="1564701"/>
            <a:chExt cx="186364" cy="184275"/>
          </a:xfrm>
        </p:grpSpPr>
        <p:sp>
          <p:nvSpPr>
            <p:cNvPr id="209" name="Arc 208">
              <a:extLst>
                <a:ext uri="{FF2B5EF4-FFF2-40B4-BE49-F238E27FC236}">
                  <a16:creationId xmlns:a16="http://schemas.microsoft.com/office/drawing/2014/main" id="{458D9591-8D67-4C7E-9593-915DABFA8ECC}"/>
                </a:ext>
              </a:extLst>
            </p:cNvPr>
            <p:cNvSpPr/>
            <p:nvPr/>
          </p:nvSpPr>
          <p:spPr>
            <a:xfrm rot="10800000">
              <a:off x="2216109"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10" name="Straight Connector 209">
              <a:extLst>
                <a:ext uri="{FF2B5EF4-FFF2-40B4-BE49-F238E27FC236}">
                  <a16:creationId xmlns:a16="http://schemas.microsoft.com/office/drawing/2014/main" id="{270F50A8-5D98-48CE-AD1C-BC621E56D39E}"/>
                </a:ext>
              </a:extLst>
            </p:cNvPr>
            <p:cNvCxnSpPr>
              <a:cxnSpLocks/>
              <a:endCxn id="209" idx="2"/>
            </p:cNvCxnSpPr>
            <p:nvPr/>
          </p:nvCxnSpPr>
          <p:spPr>
            <a:xfrm>
              <a:off x="2216109"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6A49A51-F783-4BEB-AADB-B2BE439FA66B}"/>
                </a:ext>
              </a:extLst>
            </p:cNvPr>
            <p:cNvCxnSpPr>
              <a:cxnSpLocks/>
            </p:cNvCxnSpPr>
            <p:nvPr/>
          </p:nvCxnSpPr>
          <p:spPr>
            <a:xfrm flipV="1">
              <a:off x="2255527" y="1748975"/>
              <a:ext cx="146946"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2" name="Oval 211">
            <a:extLst>
              <a:ext uri="{FF2B5EF4-FFF2-40B4-BE49-F238E27FC236}">
                <a16:creationId xmlns:a16="http://schemas.microsoft.com/office/drawing/2014/main" id="{69C1EF1D-58F9-4610-8221-E489665C48FE}"/>
              </a:ext>
            </a:extLst>
          </p:cNvPr>
          <p:cNvSpPr/>
          <p:nvPr/>
        </p:nvSpPr>
        <p:spPr>
          <a:xfrm>
            <a:off x="2582045" y="1831161"/>
            <a:ext cx="274320"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3964D935-C6E6-478F-8183-52E1D6818333}"/>
              </a:ext>
            </a:extLst>
          </p:cNvPr>
          <p:cNvSpPr/>
          <p:nvPr/>
        </p:nvSpPr>
        <p:spPr>
          <a:xfrm>
            <a:off x="2234325" y="1831161"/>
            <a:ext cx="274320" cy="2743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3" name="Straight Connector 182">
            <a:extLst>
              <a:ext uri="{FF2B5EF4-FFF2-40B4-BE49-F238E27FC236}">
                <a16:creationId xmlns:a16="http://schemas.microsoft.com/office/drawing/2014/main" id="{F96696E3-737A-4690-87F2-9C6D117AEB57}"/>
              </a:ext>
            </a:extLst>
          </p:cNvPr>
          <p:cNvCxnSpPr>
            <a:cxnSpLocks/>
          </p:cNvCxnSpPr>
          <p:nvPr/>
        </p:nvCxnSpPr>
        <p:spPr>
          <a:xfrm flipV="1">
            <a:off x="2501682" y="2621435"/>
            <a:ext cx="343723" cy="5030"/>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E320B0C0-D6A4-45DB-912F-45C1AF01F654}"/>
              </a:ext>
            </a:extLst>
          </p:cNvPr>
          <p:cNvSpPr/>
          <p:nvPr/>
        </p:nvSpPr>
        <p:spPr>
          <a:xfrm>
            <a:off x="2125351" y="2435526"/>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0" name="Rectangle 199">
            <a:extLst>
              <a:ext uri="{FF2B5EF4-FFF2-40B4-BE49-F238E27FC236}">
                <a16:creationId xmlns:a16="http://schemas.microsoft.com/office/drawing/2014/main" id="{886D8E33-A0A4-4FBC-8BA9-91889C8DCCEF}"/>
              </a:ext>
            </a:extLst>
          </p:cNvPr>
          <p:cNvSpPr/>
          <p:nvPr/>
        </p:nvSpPr>
        <p:spPr>
          <a:xfrm>
            <a:off x="2044700" y="2806265"/>
            <a:ext cx="559769" cy="196208"/>
          </a:xfrm>
          <a:prstGeom prst="rect">
            <a:avLst/>
          </a:prstGeom>
        </p:spPr>
        <p:txBody>
          <a:bodyPr wrap="none">
            <a:spAutoFit/>
          </a:bodyPr>
          <a:lstStyle/>
          <a:p>
            <a:pPr algn="ctr"/>
            <a:r>
              <a:rPr lang="en-US" sz="675" dirty="0">
                <a:latin typeface="+mj-lt"/>
                <a:cs typeface="CiscoSansTT" panose="020B0503020201020303" pitchFamily="34" charset="0"/>
              </a:rPr>
              <a:t>DSL/PON</a:t>
            </a:r>
          </a:p>
        </p:txBody>
      </p:sp>
      <p:sp>
        <p:nvSpPr>
          <p:cNvPr id="219" name="TextBox 218">
            <a:extLst>
              <a:ext uri="{FF2B5EF4-FFF2-40B4-BE49-F238E27FC236}">
                <a16:creationId xmlns:a16="http://schemas.microsoft.com/office/drawing/2014/main" id="{276B166A-BC0F-4828-B542-C8C5392D92CC}"/>
              </a:ext>
            </a:extLst>
          </p:cNvPr>
          <p:cNvSpPr txBox="1"/>
          <p:nvPr/>
        </p:nvSpPr>
        <p:spPr>
          <a:xfrm>
            <a:off x="2990486" y="2022561"/>
            <a:ext cx="551754" cy="230832"/>
          </a:xfrm>
          <a:prstGeom prst="rect">
            <a:avLst/>
          </a:prstGeom>
          <a:noFill/>
        </p:spPr>
        <p:txBody>
          <a:bodyPr wrap="none" rtlCol="0">
            <a:spAutoFit/>
          </a:bodyPr>
          <a:lstStyle/>
          <a:p>
            <a:pPr algn="ctr"/>
            <a:r>
              <a:rPr lang="en-US" sz="900" dirty="0">
                <a:latin typeface="+mn-lt"/>
              </a:rPr>
              <a:t>access</a:t>
            </a:r>
          </a:p>
        </p:txBody>
      </p:sp>
      <p:sp>
        <p:nvSpPr>
          <p:cNvPr id="221" name="TextBox 220">
            <a:extLst>
              <a:ext uri="{FF2B5EF4-FFF2-40B4-BE49-F238E27FC236}">
                <a16:creationId xmlns:a16="http://schemas.microsoft.com/office/drawing/2014/main" id="{7749401B-873F-4639-BC3C-068FB9511884}"/>
              </a:ext>
            </a:extLst>
          </p:cNvPr>
          <p:cNvSpPr txBox="1"/>
          <p:nvPr/>
        </p:nvSpPr>
        <p:spPr>
          <a:xfrm>
            <a:off x="4050179" y="2016518"/>
            <a:ext cx="1039067" cy="230832"/>
          </a:xfrm>
          <a:prstGeom prst="rect">
            <a:avLst/>
          </a:prstGeom>
          <a:noFill/>
        </p:spPr>
        <p:txBody>
          <a:bodyPr wrap="none" rtlCol="0">
            <a:spAutoFit/>
          </a:bodyPr>
          <a:lstStyle/>
          <a:p>
            <a:pPr algn="ctr"/>
            <a:r>
              <a:rPr lang="en-US" sz="900" dirty="0">
                <a:latin typeface="+mn-lt"/>
              </a:rPr>
              <a:t>pre-aggregation</a:t>
            </a:r>
          </a:p>
        </p:txBody>
      </p:sp>
      <p:sp>
        <p:nvSpPr>
          <p:cNvPr id="222" name="TextBox 221">
            <a:extLst>
              <a:ext uri="{FF2B5EF4-FFF2-40B4-BE49-F238E27FC236}">
                <a16:creationId xmlns:a16="http://schemas.microsoft.com/office/drawing/2014/main" id="{9D72C430-1B71-483E-967A-677BB149503E}"/>
              </a:ext>
            </a:extLst>
          </p:cNvPr>
          <p:cNvSpPr txBox="1"/>
          <p:nvPr/>
        </p:nvSpPr>
        <p:spPr>
          <a:xfrm>
            <a:off x="7124483" y="2026228"/>
            <a:ext cx="418704" cy="230832"/>
          </a:xfrm>
          <a:prstGeom prst="rect">
            <a:avLst/>
          </a:prstGeom>
          <a:noFill/>
        </p:spPr>
        <p:txBody>
          <a:bodyPr wrap="none" rtlCol="0">
            <a:spAutoFit/>
          </a:bodyPr>
          <a:lstStyle/>
          <a:p>
            <a:pPr algn="ctr"/>
            <a:r>
              <a:rPr lang="en-US" sz="900" dirty="0">
                <a:latin typeface="+mn-lt"/>
              </a:rPr>
              <a:t>core</a:t>
            </a:r>
          </a:p>
        </p:txBody>
      </p:sp>
      <p:sp>
        <p:nvSpPr>
          <p:cNvPr id="228" name="TextBox 227">
            <a:extLst>
              <a:ext uri="{FF2B5EF4-FFF2-40B4-BE49-F238E27FC236}">
                <a16:creationId xmlns:a16="http://schemas.microsoft.com/office/drawing/2014/main" id="{7B50B941-6BE1-4721-8F0C-BDF20025CCE1}"/>
              </a:ext>
            </a:extLst>
          </p:cNvPr>
          <p:cNvSpPr txBox="1"/>
          <p:nvPr/>
        </p:nvSpPr>
        <p:spPr>
          <a:xfrm>
            <a:off x="5572628" y="2012485"/>
            <a:ext cx="803426" cy="230832"/>
          </a:xfrm>
          <a:prstGeom prst="rect">
            <a:avLst/>
          </a:prstGeom>
          <a:noFill/>
        </p:spPr>
        <p:txBody>
          <a:bodyPr wrap="none" rtlCol="0">
            <a:spAutoFit/>
          </a:bodyPr>
          <a:lstStyle/>
          <a:p>
            <a:pPr algn="ctr"/>
            <a:r>
              <a:rPr lang="en-US" sz="900" dirty="0">
                <a:latin typeface="+mn-lt"/>
              </a:rPr>
              <a:t>aggregation</a:t>
            </a:r>
          </a:p>
        </p:txBody>
      </p:sp>
      <p:grpSp>
        <p:nvGrpSpPr>
          <p:cNvPr id="288" name="Group 287">
            <a:extLst>
              <a:ext uri="{FF2B5EF4-FFF2-40B4-BE49-F238E27FC236}">
                <a16:creationId xmlns:a16="http://schemas.microsoft.com/office/drawing/2014/main" id="{C6A1B02A-E50A-465C-A9FF-9D238123F81B}"/>
              </a:ext>
            </a:extLst>
          </p:cNvPr>
          <p:cNvGrpSpPr/>
          <p:nvPr/>
        </p:nvGrpSpPr>
        <p:grpSpPr>
          <a:xfrm>
            <a:off x="2635395" y="1918299"/>
            <a:ext cx="175204" cy="107630"/>
            <a:chOff x="3221673" y="3946130"/>
            <a:chExt cx="521162" cy="320153"/>
          </a:xfrm>
          <a:solidFill>
            <a:schemeClr val="accent2"/>
          </a:solidFill>
        </p:grpSpPr>
        <p:sp>
          <p:nvSpPr>
            <p:cNvPr id="289" name="Freeform 7">
              <a:extLst>
                <a:ext uri="{FF2B5EF4-FFF2-40B4-BE49-F238E27FC236}">
                  <a16:creationId xmlns:a16="http://schemas.microsoft.com/office/drawing/2014/main" id="{78E343A9-06D1-4E8A-AFAE-A0F10C40A364}"/>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290" name="Freeform 23">
              <a:extLst>
                <a:ext uri="{FF2B5EF4-FFF2-40B4-BE49-F238E27FC236}">
                  <a16:creationId xmlns:a16="http://schemas.microsoft.com/office/drawing/2014/main" id="{2997D6A4-EE20-4B45-BAE5-DA8A2AAF210D}"/>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291" name="Group 290">
            <a:extLst>
              <a:ext uri="{FF2B5EF4-FFF2-40B4-BE49-F238E27FC236}">
                <a16:creationId xmlns:a16="http://schemas.microsoft.com/office/drawing/2014/main" id="{D311FC14-C2E6-4EB7-AA98-8FA6081BAC78}"/>
              </a:ext>
            </a:extLst>
          </p:cNvPr>
          <p:cNvGrpSpPr/>
          <p:nvPr/>
        </p:nvGrpSpPr>
        <p:grpSpPr>
          <a:xfrm>
            <a:off x="2284506" y="1917867"/>
            <a:ext cx="181542" cy="108492"/>
            <a:chOff x="3202819" y="3711222"/>
            <a:chExt cx="348044" cy="207998"/>
          </a:xfrm>
          <a:solidFill>
            <a:schemeClr val="accent1"/>
          </a:solidFill>
        </p:grpSpPr>
        <p:sp>
          <p:nvSpPr>
            <p:cNvPr id="292" name="Freeform 77">
              <a:extLst>
                <a:ext uri="{FF2B5EF4-FFF2-40B4-BE49-F238E27FC236}">
                  <a16:creationId xmlns:a16="http://schemas.microsoft.com/office/drawing/2014/main" id="{E0B0437F-0CCB-4261-8BDD-D7D4887026FA}"/>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293" name="Freeform 23">
              <a:extLst>
                <a:ext uri="{FF2B5EF4-FFF2-40B4-BE49-F238E27FC236}">
                  <a16:creationId xmlns:a16="http://schemas.microsoft.com/office/drawing/2014/main" id="{00B453A5-D21C-4649-81C4-9094E20BFB89}"/>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64" name="Group 63">
            <a:extLst>
              <a:ext uri="{FF2B5EF4-FFF2-40B4-BE49-F238E27FC236}">
                <a16:creationId xmlns:a16="http://schemas.microsoft.com/office/drawing/2014/main" id="{0C3C3788-0243-4DE6-945A-CA42CF3FCCEC}"/>
              </a:ext>
            </a:extLst>
          </p:cNvPr>
          <p:cNvGrpSpPr/>
          <p:nvPr/>
        </p:nvGrpSpPr>
        <p:grpSpPr>
          <a:xfrm>
            <a:off x="1964933" y="1918300"/>
            <a:ext cx="173897" cy="107627"/>
            <a:chOff x="974446" y="1475289"/>
            <a:chExt cx="173897" cy="107627"/>
          </a:xfrm>
          <a:solidFill>
            <a:schemeClr val="accent5"/>
          </a:solidFill>
        </p:grpSpPr>
        <p:sp>
          <p:nvSpPr>
            <p:cNvPr id="287" name="Freeform 11">
              <a:extLst>
                <a:ext uri="{FF2B5EF4-FFF2-40B4-BE49-F238E27FC236}">
                  <a16:creationId xmlns:a16="http://schemas.microsoft.com/office/drawing/2014/main" id="{38A822DD-B6EB-459F-8FE0-DACEC8C3982D}"/>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95" name="Freeform 23">
              <a:extLst>
                <a:ext uri="{FF2B5EF4-FFF2-40B4-BE49-F238E27FC236}">
                  <a16:creationId xmlns:a16="http://schemas.microsoft.com/office/drawing/2014/main" id="{B0AC208F-D501-4EB1-B446-8543E39F22B2}"/>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85" name="Group 84">
            <a:extLst>
              <a:ext uri="{FF2B5EF4-FFF2-40B4-BE49-F238E27FC236}">
                <a16:creationId xmlns:a16="http://schemas.microsoft.com/office/drawing/2014/main" id="{CC65A828-0901-4CC0-A9A7-4981BBD9ABE4}"/>
              </a:ext>
            </a:extLst>
          </p:cNvPr>
          <p:cNvGrpSpPr/>
          <p:nvPr/>
        </p:nvGrpSpPr>
        <p:grpSpPr>
          <a:xfrm>
            <a:off x="3599290" y="1895915"/>
            <a:ext cx="433812" cy="433812"/>
            <a:chOff x="3119641" y="1416189"/>
            <a:chExt cx="507244" cy="507244"/>
          </a:xfrm>
        </p:grpSpPr>
        <p:sp>
          <p:nvSpPr>
            <p:cNvPr id="131" name="Oval 130">
              <a:extLst>
                <a:ext uri="{FF2B5EF4-FFF2-40B4-BE49-F238E27FC236}">
                  <a16:creationId xmlns:a16="http://schemas.microsoft.com/office/drawing/2014/main" id="{5422990F-655A-4400-A240-34FE8E8513A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7" name="Group 66">
              <a:extLst>
                <a:ext uri="{FF2B5EF4-FFF2-40B4-BE49-F238E27FC236}">
                  <a16:creationId xmlns:a16="http://schemas.microsoft.com/office/drawing/2014/main" id="{9308D5D1-FA82-40C8-8E59-78AF0E546798}"/>
                </a:ext>
              </a:extLst>
            </p:cNvPr>
            <p:cNvGrpSpPr/>
            <p:nvPr/>
          </p:nvGrpSpPr>
          <p:grpSpPr>
            <a:xfrm>
              <a:off x="3179583" y="1476131"/>
              <a:ext cx="387360" cy="387360"/>
              <a:chOff x="2652535" y="-3571486"/>
              <a:chExt cx="4882348" cy="4882348"/>
            </a:xfrm>
            <a:solidFill>
              <a:schemeClr val="bg2"/>
            </a:solidFill>
          </p:grpSpPr>
          <p:sp>
            <p:nvSpPr>
              <p:cNvPr id="299" name="Freeform: Shape 298">
                <a:extLst>
                  <a:ext uri="{FF2B5EF4-FFF2-40B4-BE49-F238E27FC236}">
                    <a16:creationId xmlns:a16="http://schemas.microsoft.com/office/drawing/2014/main" id="{43130683-0242-4486-9227-31AEBEC20EB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0" name="Freeform: Shape 299">
                <a:extLst>
                  <a:ext uri="{FF2B5EF4-FFF2-40B4-BE49-F238E27FC236}">
                    <a16:creationId xmlns:a16="http://schemas.microsoft.com/office/drawing/2014/main" id="{69849F13-2C67-4DC1-8396-862B0D307C1C}"/>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01" name="Group 300">
                <a:extLst>
                  <a:ext uri="{FF2B5EF4-FFF2-40B4-BE49-F238E27FC236}">
                    <a16:creationId xmlns:a16="http://schemas.microsoft.com/office/drawing/2014/main" id="{66C9D715-04B9-4A85-BAE7-40A5F10905A6}"/>
                  </a:ext>
                </a:extLst>
              </p:cNvPr>
              <p:cNvGrpSpPr/>
              <p:nvPr/>
            </p:nvGrpSpPr>
            <p:grpSpPr>
              <a:xfrm rot="5400000">
                <a:off x="4197485" y="-3571486"/>
                <a:ext cx="1792447" cy="4882348"/>
                <a:chOff x="4197485" y="-3571486"/>
                <a:chExt cx="1792447" cy="4882348"/>
              </a:xfrm>
              <a:grpFill/>
            </p:grpSpPr>
            <p:sp>
              <p:nvSpPr>
                <p:cNvPr id="302" name="Freeform: Shape 301">
                  <a:extLst>
                    <a:ext uri="{FF2B5EF4-FFF2-40B4-BE49-F238E27FC236}">
                      <a16:creationId xmlns:a16="http://schemas.microsoft.com/office/drawing/2014/main" id="{CD22F07A-772A-4F74-B17C-44FFE0D0E7F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3" name="Freeform: Shape 302">
                  <a:extLst>
                    <a:ext uri="{FF2B5EF4-FFF2-40B4-BE49-F238E27FC236}">
                      <a16:creationId xmlns:a16="http://schemas.microsoft.com/office/drawing/2014/main" id="{AA5C33EC-4745-4D93-86A5-B44030B64CA6}"/>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310" name="Group 309">
            <a:extLst>
              <a:ext uri="{FF2B5EF4-FFF2-40B4-BE49-F238E27FC236}">
                <a16:creationId xmlns:a16="http://schemas.microsoft.com/office/drawing/2014/main" id="{5233BDA4-5E3A-4FC2-8989-9BD40F0D46B4}"/>
              </a:ext>
            </a:extLst>
          </p:cNvPr>
          <p:cNvGrpSpPr/>
          <p:nvPr/>
        </p:nvGrpSpPr>
        <p:grpSpPr>
          <a:xfrm>
            <a:off x="3650555" y="2657434"/>
            <a:ext cx="331283" cy="331283"/>
            <a:chOff x="2652535" y="-3571486"/>
            <a:chExt cx="4882348" cy="4882348"/>
          </a:xfrm>
          <a:solidFill>
            <a:schemeClr val="bg2"/>
          </a:solidFill>
        </p:grpSpPr>
        <p:sp>
          <p:nvSpPr>
            <p:cNvPr id="311" name="Freeform: Shape 310">
              <a:extLst>
                <a:ext uri="{FF2B5EF4-FFF2-40B4-BE49-F238E27FC236}">
                  <a16:creationId xmlns:a16="http://schemas.microsoft.com/office/drawing/2014/main" id="{ACEE0769-48DE-4DB1-9B51-7A7218E64F77}"/>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2" name="Freeform: Shape 311">
              <a:extLst>
                <a:ext uri="{FF2B5EF4-FFF2-40B4-BE49-F238E27FC236}">
                  <a16:creationId xmlns:a16="http://schemas.microsoft.com/office/drawing/2014/main" id="{B823A34A-A87D-453A-8CB6-F9215305237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13" name="Group 312">
              <a:extLst>
                <a:ext uri="{FF2B5EF4-FFF2-40B4-BE49-F238E27FC236}">
                  <a16:creationId xmlns:a16="http://schemas.microsoft.com/office/drawing/2014/main" id="{AC8C7A1E-59AB-4010-81F1-A777CB6F330E}"/>
                </a:ext>
              </a:extLst>
            </p:cNvPr>
            <p:cNvGrpSpPr/>
            <p:nvPr/>
          </p:nvGrpSpPr>
          <p:grpSpPr>
            <a:xfrm rot="5400000">
              <a:off x="4197485" y="-3571486"/>
              <a:ext cx="1792447" cy="4882348"/>
              <a:chOff x="4197485" y="-3571486"/>
              <a:chExt cx="1792447" cy="4882348"/>
            </a:xfrm>
            <a:grpFill/>
          </p:grpSpPr>
          <p:sp>
            <p:nvSpPr>
              <p:cNvPr id="314" name="Freeform: Shape 313">
                <a:extLst>
                  <a:ext uri="{FF2B5EF4-FFF2-40B4-BE49-F238E27FC236}">
                    <a16:creationId xmlns:a16="http://schemas.microsoft.com/office/drawing/2014/main" id="{0CEC106C-79A2-42D8-B41B-A3F210E1A6E8}"/>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5" name="Freeform: Shape 314">
                <a:extLst>
                  <a:ext uri="{FF2B5EF4-FFF2-40B4-BE49-F238E27FC236}">
                    <a16:creationId xmlns:a16="http://schemas.microsoft.com/office/drawing/2014/main" id="{BD45C410-464D-42D3-AFCB-1473F902FD3B}"/>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nvGrpSpPr>
          <p:cNvPr id="73" name="Group 72">
            <a:extLst>
              <a:ext uri="{FF2B5EF4-FFF2-40B4-BE49-F238E27FC236}">
                <a16:creationId xmlns:a16="http://schemas.microsoft.com/office/drawing/2014/main" id="{EB9650AB-E977-46DD-A82C-5EEF2A1589BA}"/>
              </a:ext>
            </a:extLst>
          </p:cNvPr>
          <p:cNvGrpSpPr/>
          <p:nvPr/>
        </p:nvGrpSpPr>
        <p:grpSpPr>
          <a:xfrm>
            <a:off x="5076043" y="1895915"/>
            <a:ext cx="433812" cy="433812"/>
            <a:chOff x="4596394" y="1416189"/>
            <a:chExt cx="507244" cy="507244"/>
          </a:xfrm>
        </p:grpSpPr>
        <p:sp>
          <p:nvSpPr>
            <p:cNvPr id="139" name="Oval 138">
              <a:extLst>
                <a:ext uri="{FF2B5EF4-FFF2-40B4-BE49-F238E27FC236}">
                  <a16:creationId xmlns:a16="http://schemas.microsoft.com/office/drawing/2014/main" id="{B0DB67AB-FE23-40FB-8DC2-D639FDE954D0}"/>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6" name="Group 315">
              <a:extLst>
                <a:ext uri="{FF2B5EF4-FFF2-40B4-BE49-F238E27FC236}">
                  <a16:creationId xmlns:a16="http://schemas.microsoft.com/office/drawing/2014/main" id="{7A395674-ABF1-4DF4-92C2-B05EC3F643EC}"/>
                </a:ext>
              </a:extLst>
            </p:cNvPr>
            <p:cNvGrpSpPr/>
            <p:nvPr/>
          </p:nvGrpSpPr>
          <p:grpSpPr>
            <a:xfrm>
              <a:off x="4656336" y="1476131"/>
              <a:ext cx="387360" cy="387360"/>
              <a:chOff x="2652535" y="-3571486"/>
              <a:chExt cx="4882348" cy="4882348"/>
            </a:xfrm>
            <a:solidFill>
              <a:schemeClr val="bg2"/>
            </a:solidFill>
          </p:grpSpPr>
          <p:sp>
            <p:nvSpPr>
              <p:cNvPr id="317" name="Freeform: Shape 316">
                <a:extLst>
                  <a:ext uri="{FF2B5EF4-FFF2-40B4-BE49-F238E27FC236}">
                    <a16:creationId xmlns:a16="http://schemas.microsoft.com/office/drawing/2014/main" id="{329CA738-A747-4895-8DAE-B403FA7B59CF}"/>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8" name="Freeform: Shape 317">
                <a:extLst>
                  <a:ext uri="{FF2B5EF4-FFF2-40B4-BE49-F238E27FC236}">
                    <a16:creationId xmlns:a16="http://schemas.microsoft.com/office/drawing/2014/main" id="{B08DC48B-AF2D-473F-82E9-07DE17F28FC0}"/>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19" name="Group 318">
                <a:extLst>
                  <a:ext uri="{FF2B5EF4-FFF2-40B4-BE49-F238E27FC236}">
                    <a16:creationId xmlns:a16="http://schemas.microsoft.com/office/drawing/2014/main" id="{0235BD80-4386-413E-9622-57169419E460}"/>
                  </a:ext>
                </a:extLst>
              </p:cNvPr>
              <p:cNvGrpSpPr/>
              <p:nvPr/>
            </p:nvGrpSpPr>
            <p:grpSpPr>
              <a:xfrm rot="5400000">
                <a:off x="4197485" y="-3571486"/>
                <a:ext cx="1792447" cy="4882348"/>
                <a:chOff x="4197485" y="-3571486"/>
                <a:chExt cx="1792447" cy="4882348"/>
              </a:xfrm>
              <a:grpFill/>
            </p:grpSpPr>
            <p:sp>
              <p:nvSpPr>
                <p:cNvPr id="320" name="Freeform: Shape 319">
                  <a:extLst>
                    <a:ext uri="{FF2B5EF4-FFF2-40B4-BE49-F238E27FC236}">
                      <a16:creationId xmlns:a16="http://schemas.microsoft.com/office/drawing/2014/main" id="{4337057A-BFEC-4614-B27F-6BE74B5F24F5}"/>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1" name="Freeform: Shape 320">
                  <a:extLst>
                    <a:ext uri="{FF2B5EF4-FFF2-40B4-BE49-F238E27FC236}">
                      <a16:creationId xmlns:a16="http://schemas.microsoft.com/office/drawing/2014/main" id="{4A796412-93EC-4EEF-8B29-019823BDBFA6}"/>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322" name="Group 321">
            <a:extLst>
              <a:ext uri="{FF2B5EF4-FFF2-40B4-BE49-F238E27FC236}">
                <a16:creationId xmlns:a16="http://schemas.microsoft.com/office/drawing/2014/main" id="{E1DD3FEE-56A0-4039-83B9-B38508CABCAC}"/>
              </a:ext>
            </a:extLst>
          </p:cNvPr>
          <p:cNvGrpSpPr/>
          <p:nvPr/>
        </p:nvGrpSpPr>
        <p:grpSpPr>
          <a:xfrm>
            <a:off x="5127308" y="2657434"/>
            <a:ext cx="331283" cy="331283"/>
            <a:chOff x="2652535" y="-3571486"/>
            <a:chExt cx="4882348" cy="4882348"/>
          </a:xfrm>
          <a:solidFill>
            <a:schemeClr val="bg2"/>
          </a:solidFill>
        </p:grpSpPr>
        <p:sp>
          <p:nvSpPr>
            <p:cNvPr id="323" name="Freeform: Shape 322">
              <a:extLst>
                <a:ext uri="{FF2B5EF4-FFF2-40B4-BE49-F238E27FC236}">
                  <a16:creationId xmlns:a16="http://schemas.microsoft.com/office/drawing/2014/main" id="{E8080F09-BDB4-4D29-BDBD-AB63902E9106}"/>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4" name="Freeform: Shape 323">
              <a:extLst>
                <a:ext uri="{FF2B5EF4-FFF2-40B4-BE49-F238E27FC236}">
                  <a16:creationId xmlns:a16="http://schemas.microsoft.com/office/drawing/2014/main" id="{8851BC79-E2D8-4A7D-9F84-C74D8056F9B4}"/>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25" name="Group 324">
              <a:extLst>
                <a:ext uri="{FF2B5EF4-FFF2-40B4-BE49-F238E27FC236}">
                  <a16:creationId xmlns:a16="http://schemas.microsoft.com/office/drawing/2014/main" id="{334AFB6F-BDCC-41B4-A320-86199CBCAA17}"/>
                </a:ext>
              </a:extLst>
            </p:cNvPr>
            <p:cNvGrpSpPr/>
            <p:nvPr/>
          </p:nvGrpSpPr>
          <p:grpSpPr>
            <a:xfrm rot="5400000">
              <a:off x="4197485" y="-3571486"/>
              <a:ext cx="1792447" cy="4882348"/>
              <a:chOff x="4197485" y="-3571486"/>
              <a:chExt cx="1792447" cy="4882348"/>
            </a:xfrm>
            <a:grpFill/>
          </p:grpSpPr>
          <p:sp>
            <p:nvSpPr>
              <p:cNvPr id="326" name="Freeform: Shape 325">
                <a:extLst>
                  <a:ext uri="{FF2B5EF4-FFF2-40B4-BE49-F238E27FC236}">
                    <a16:creationId xmlns:a16="http://schemas.microsoft.com/office/drawing/2014/main" id="{AE300CB0-B4AA-460F-863A-DC40E9CEEFEF}"/>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7" name="Freeform: Shape 326">
                <a:extLst>
                  <a:ext uri="{FF2B5EF4-FFF2-40B4-BE49-F238E27FC236}">
                    <a16:creationId xmlns:a16="http://schemas.microsoft.com/office/drawing/2014/main" id="{EC7A8362-6B62-41CA-B2B0-61E516299615}"/>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nvGrpSpPr>
          <p:cNvPr id="69" name="Group 68">
            <a:extLst>
              <a:ext uri="{FF2B5EF4-FFF2-40B4-BE49-F238E27FC236}">
                <a16:creationId xmlns:a16="http://schemas.microsoft.com/office/drawing/2014/main" id="{AF0B0B71-7D6B-4221-B9B7-9EFE72EB1D6E}"/>
              </a:ext>
            </a:extLst>
          </p:cNvPr>
          <p:cNvGrpSpPr/>
          <p:nvPr/>
        </p:nvGrpSpPr>
        <p:grpSpPr>
          <a:xfrm>
            <a:off x="6552796" y="1895915"/>
            <a:ext cx="433812" cy="433812"/>
            <a:chOff x="6073147" y="1416189"/>
            <a:chExt cx="507244" cy="507244"/>
          </a:xfrm>
        </p:grpSpPr>
        <p:sp>
          <p:nvSpPr>
            <p:cNvPr id="127" name="Oval 126">
              <a:extLst>
                <a:ext uri="{FF2B5EF4-FFF2-40B4-BE49-F238E27FC236}">
                  <a16:creationId xmlns:a16="http://schemas.microsoft.com/office/drawing/2014/main" id="{B453DA27-91AD-437E-9711-3B7CD1501F27}"/>
                </a:ext>
              </a:extLst>
            </p:cNvPr>
            <p:cNvSpPr/>
            <p:nvPr/>
          </p:nvSpPr>
          <p:spPr>
            <a:xfrm>
              <a:off x="6073147"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8" name="Group 327">
              <a:extLst>
                <a:ext uri="{FF2B5EF4-FFF2-40B4-BE49-F238E27FC236}">
                  <a16:creationId xmlns:a16="http://schemas.microsoft.com/office/drawing/2014/main" id="{025B35E8-257F-40CB-8036-2BAE385FC7BA}"/>
                </a:ext>
              </a:extLst>
            </p:cNvPr>
            <p:cNvGrpSpPr/>
            <p:nvPr/>
          </p:nvGrpSpPr>
          <p:grpSpPr>
            <a:xfrm>
              <a:off x="6133089" y="1476131"/>
              <a:ext cx="387360" cy="387360"/>
              <a:chOff x="2652535" y="-3571486"/>
              <a:chExt cx="4882348" cy="4882348"/>
            </a:xfrm>
            <a:solidFill>
              <a:schemeClr val="bg2"/>
            </a:solidFill>
          </p:grpSpPr>
          <p:sp>
            <p:nvSpPr>
              <p:cNvPr id="329" name="Freeform: Shape 328">
                <a:extLst>
                  <a:ext uri="{FF2B5EF4-FFF2-40B4-BE49-F238E27FC236}">
                    <a16:creationId xmlns:a16="http://schemas.microsoft.com/office/drawing/2014/main" id="{95370E25-9E03-4474-B925-8729736E961C}"/>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0" name="Freeform: Shape 329">
                <a:extLst>
                  <a:ext uri="{FF2B5EF4-FFF2-40B4-BE49-F238E27FC236}">
                    <a16:creationId xmlns:a16="http://schemas.microsoft.com/office/drawing/2014/main" id="{7F5F5F38-C629-4214-B860-5FA72A421510}"/>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31" name="Group 330">
                <a:extLst>
                  <a:ext uri="{FF2B5EF4-FFF2-40B4-BE49-F238E27FC236}">
                    <a16:creationId xmlns:a16="http://schemas.microsoft.com/office/drawing/2014/main" id="{DCC8D8B6-7CFE-4C69-9CAD-66B4BD9941F2}"/>
                  </a:ext>
                </a:extLst>
              </p:cNvPr>
              <p:cNvGrpSpPr/>
              <p:nvPr/>
            </p:nvGrpSpPr>
            <p:grpSpPr>
              <a:xfrm rot="5400000">
                <a:off x="4197485" y="-3571486"/>
                <a:ext cx="1792447" cy="4882348"/>
                <a:chOff x="4197485" y="-3571486"/>
                <a:chExt cx="1792447" cy="4882348"/>
              </a:xfrm>
              <a:grpFill/>
            </p:grpSpPr>
            <p:sp>
              <p:nvSpPr>
                <p:cNvPr id="332" name="Freeform: Shape 331">
                  <a:extLst>
                    <a:ext uri="{FF2B5EF4-FFF2-40B4-BE49-F238E27FC236}">
                      <a16:creationId xmlns:a16="http://schemas.microsoft.com/office/drawing/2014/main" id="{7072BF85-26EF-4680-8157-7F3E09F6130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3" name="Freeform: Shape 332">
                  <a:extLst>
                    <a:ext uri="{FF2B5EF4-FFF2-40B4-BE49-F238E27FC236}">
                      <a16:creationId xmlns:a16="http://schemas.microsoft.com/office/drawing/2014/main" id="{02D6BC80-454C-4476-8F11-1879D7306586}"/>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334" name="Group 333">
            <a:extLst>
              <a:ext uri="{FF2B5EF4-FFF2-40B4-BE49-F238E27FC236}">
                <a16:creationId xmlns:a16="http://schemas.microsoft.com/office/drawing/2014/main" id="{7CED5335-3A4E-4654-BEDD-5F9DFDB3FF84}"/>
              </a:ext>
            </a:extLst>
          </p:cNvPr>
          <p:cNvGrpSpPr/>
          <p:nvPr/>
        </p:nvGrpSpPr>
        <p:grpSpPr>
          <a:xfrm>
            <a:off x="6604061" y="2657434"/>
            <a:ext cx="331283" cy="331283"/>
            <a:chOff x="2652535" y="-3571486"/>
            <a:chExt cx="4882348" cy="4882348"/>
          </a:xfrm>
          <a:solidFill>
            <a:schemeClr val="bg2"/>
          </a:solidFill>
        </p:grpSpPr>
        <p:sp>
          <p:nvSpPr>
            <p:cNvPr id="335" name="Freeform: Shape 334">
              <a:extLst>
                <a:ext uri="{FF2B5EF4-FFF2-40B4-BE49-F238E27FC236}">
                  <a16:creationId xmlns:a16="http://schemas.microsoft.com/office/drawing/2014/main" id="{36411E2F-3D2A-4CBD-A901-46C87035A88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6" name="Freeform: Shape 335">
              <a:extLst>
                <a:ext uri="{FF2B5EF4-FFF2-40B4-BE49-F238E27FC236}">
                  <a16:creationId xmlns:a16="http://schemas.microsoft.com/office/drawing/2014/main" id="{DDF1E868-C2AE-4718-9CDA-8960DE43FC1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37" name="Group 336">
              <a:extLst>
                <a:ext uri="{FF2B5EF4-FFF2-40B4-BE49-F238E27FC236}">
                  <a16:creationId xmlns:a16="http://schemas.microsoft.com/office/drawing/2014/main" id="{1BDAE1EA-7C22-4412-9979-F2453A10E079}"/>
                </a:ext>
              </a:extLst>
            </p:cNvPr>
            <p:cNvGrpSpPr/>
            <p:nvPr/>
          </p:nvGrpSpPr>
          <p:grpSpPr>
            <a:xfrm rot="5400000">
              <a:off x="4197485" y="-3571486"/>
              <a:ext cx="1792447" cy="4882348"/>
              <a:chOff x="4197485" y="-3571486"/>
              <a:chExt cx="1792447" cy="4882348"/>
            </a:xfrm>
            <a:grpFill/>
          </p:grpSpPr>
          <p:sp>
            <p:nvSpPr>
              <p:cNvPr id="338" name="Freeform: Shape 337">
                <a:extLst>
                  <a:ext uri="{FF2B5EF4-FFF2-40B4-BE49-F238E27FC236}">
                    <a16:creationId xmlns:a16="http://schemas.microsoft.com/office/drawing/2014/main" id="{A1B73B8F-F168-4288-821A-E14B8577D9C8}"/>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9" name="Freeform: Shape 338">
                <a:extLst>
                  <a:ext uri="{FF2B5EF4-FFF2-40B4-BE49-F238E27FC236}">
                    <a16:creationId xmlns:a16="http://schemas.microsoft.com/office/drawing/2014/main" id="{BBDAD5BD-8D3F-4B59-BE0B-AE7C7697359D}"/>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nvGrpSpPr>
          <p:cNvPr id="367" name="Group 366">
            <a:extLst>
              <a:ext uri="{FF2B5EF4-FFF2-40B4-BE49-F238E27FC236}">
                <a16:creationId xmlns:a16="http://schemas.microsoft.com/office/drawing/2014/main" id="{54D7F1C9-28D5-4993-AA44-2579B0C524F4}"/>
              </a:ext>
            </a:extLst>
          </p:cNvPr>
          <p:cNvGrpSpPr/>
          <p:nvPr/>
        </p:nvGrpSpPr>
        <p:grpSpPr>
          <a:xfrm>
            <a:off x="7887261" y="2599393"/>
            <a:ext cx="249333" cy="249333"/>
            <a:chOff x="7547191" y="1416189"/>
            <a:chExt cx="507244" cy="507244"/>
          </a:xfrm>
        </p:grpSpPr>
        <p:sp>
          <p:nvSpPr>
            <p:cNvPr id="368" name="Oval 367">
              <a:extLst>
                <a:ext uri="{FF2B5EF4-FFF2-40B4-BE49-F238E27FC236}">
                  <a16:creationId xmlns:a16="http://schemas.microsoft.com/office/drawing/2014/main" id="{B961A4B2-7060-4642-BCB6-A9412DF4CE2F}"/>
                </a:ext>
              </a:extLst>
            </p:cNvPr>
            <p:cNvSpPr/>
            <p:nvPr/>
          </p:nvSpPr>
          <p:spPr>
            <a:xfrm>
              <a:off x="7547191" y="1416189"/>
              <a:ext cx="507244" cy="507244"/>
            </a:xfrm>
            <a:prstGeom prst="ellipse">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Freeform 594">
              <a:extLst>
                <a:ext uri="{FF2B5EF4-FFF2-40B4-BE49-F238E27FC236}">
                  <a16:creationId xmlns:a16="http://schemas.microsoft.com/office/drawing/2014/main" id="{107F9A1E-339A-4470-BF38-C37CC70B0B61}"/>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Group 120">
            <a:extLst>
              <a:ext uri="{FF2B5EF4-FFF2-40B4-BE49-F238E27FC236}">
                <a16:creationId xmlns:a16="http://schemas.microsoft.com/office/drawing/2014/main" id="{AFCEE923-CFC8-4848-AD0D-B0A27D351746}"/>
              </a:ext>
            </a:extLst>
          </p:cNvPr>
          <p:cNvGrpSpPr/>
          <p:nvPr/>
        </p:nvGrpSpPr>
        <p:grpSpPr>
          <a:xfrm>
            <a:off x="5548257" y="2796915"/>
            <a:ext cx="941045" cy="425467"/>
            <a:chOff x="5119882" y="2426686"/>
            <a:chExt cx="941045" cy="425467"/>
          </a:xfrm>
        </p:grpSpPr>
        <p:sp>
          <p:nvSpPr>
            <p:cNvPr id="575" name="Rounded Rectangle 133">
              <a:extLst>
                <a:ext uri="{FF2B5EF4-FFF2-40B4-BE49-F238E27FC236}">
                  <a16:creationId xmlns:a16="http://schemas.microsoft.com/office/drawing/2014/main" id="{531AC8A9-8C9E-477E-A308-052EE3F08155}"/>
                </a:ext>
              </a:extLst>
            </p:cNvPr>
            <p:cNvSpPr/>
            <p:nvPr/>
          </p:nvSpPr>
          <p:spPr>
            <a:xfrm>
              <a:off x="5119882" y="2426686"/>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570" name="Group 569">
              <a:extLst>
                <a:ext uri="{FF2B5EF4-FFF2-40B4-BE49-F238E27FC236}">
                  <a16:creationId xmlns:a16="http://schemas.microsoft.com/office/drawing/2014/main" id="{078D254F-8740-4C25-9CAA-5A961A48B0ED}"/>
                </a:ext>
              </a:extLst>
            </p:cNvPr>
            <p:cNvGrpSpPr/>
            <p:nvPr/>
          </p:nvGrpSpPr>
          <p:grpSpPr>
            <a:xfrm>
              <a:off x="5458774" y="2577579"/>
              <a:ext cx="557526" cy="211860"/>
              <a:chOff x="7481768" y="2569226"/>
              <a:chExt cx="710722" cy="270075"/>
            </a:xfrm>
          </p:grpSpPr>
          <p:pic>
            <p:nvPicPr>
              <p:cNvPr id="572" name="Picture 571">
                <a:extLst>
                  <a:ext uri="{FF2B5EF4-FFF2-40B4-BE49-F238E27FC236}">
                    <a16:creationId xmlns:a16="http://schemas.microsoft.com/office/drawing/2014/main" id="{4FD18502-B972-4EE6-BA69-432CEC1D6CC3}"/>
                  </a:ext>
                </a:extLst>
              </p:cNvPr>
              <p:cNvPicPr>
                <a:picLocks noChangeAspect="1"/>
              </p:cNvPicPr>
              <p:nvPr/>
            </p:nvPicPr>
            <p:blipFill rotWithShape="1">
              <a:blip r:embed="rId4">
                <a:alphaModFix amt="50000"/>
              </a:blip>
              <a:srcRect l="1971" t="1971" r="1971" b="1971"/>
              <a:stretch/>
            </p:blipFill>
            <p:spPr>
              <a:xfrm>
                <a:off x="7481768" y="2574125"/>
                <a:ext cx="265179" cy="265176"/>
              </a:xfrm>
              <a:prstGeom prst="roundRect">
                <a:avLst>
                  <a:gd name="adj" fmla="val 22436"/>
                </a:avLst>
              </a:prstGeom>
            </p:spPr>
          </p:pic>
          <p:pic>
            <p:nvPicPr>
              <p:cNvPr id="573" name="Picture 572">
                <a:extLst>
                  <a:ext uri="{FF2B5EF4-FFF2-40B4-BE49-F238E27FC236}">
                    <a16:creationId xmlns:a16="http://schemas.microsoft.com/office/drawing/2014/main" id="{3DE00D10-B768-44F7-BF10-0DA0FFE817F2}"/>
                  </a:ext>
                </a:extLst>
              </p:cNvPr>
              <p:cNvPicPr>
                <a:picLocks noChangeAspect="1"/>
              </p:cNvPicPr>
              <p:nvPr/>
            </p:nvPicPr>
            <p:blipFill>
              <a:blip r:embed="rId5">
                <a:alphaModFix amt="50000"/>
              </a:blip>
              <a:stretch>
                <a:fillRect/>
              </a:stretch>
            </p:blipFill>
            <p:spPr>
              <a:xfrm>
                <a:off x="7927311" y="2569226"/>
                <a:ext cx="265179" cy="265176"/>
              </a:xfrm>
              <a:prstGeom prst="roundRect">
                <a:avLst>
                  <a:gd name="adj" fmla="val 21600"/>
                </a:avLst>
              </a:prstGeom>
            </p:spPr>
          </p:pic>
        </p:grpSp>
      </p:grpSp>
      <p:sp>
        <p:nvSpPr>
          <p:cNvPr id="614" name="Rounded Rectangle 133">
            <a:extLst>
              <a:ext uri="{FF2B5EF4-FFF2-40B4-BE49-F238E27FC236}">
                <a16:creationId xmlns:a16="http://schemas.microsoft.com/office/drawing/2014/main" id="{7A99B96A-C7A4-49D7-B0DE-D29F2AD69214}"/>
              </a:ext>
            </a:extLst>
          </p:cNvPr>
          <p:cNvSpPr/>
          <p:nvPr/>
        </p:nvSpPr>
        <p:spPr>
          <a:xfrm>
            <a:off x="4089145" y="2802998"/>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609" name="Group 608">
            <a:extLst>
              <a:ext uri="{FF2B5EF4-FFF2-40B4-BE49-F238E27FC236}">
                <a16:creationId xmlns:a16="http://schemas.microsoft.com/office/drawing/2014/main" id="{13DC8400-97A3-4ABF-B12C-97372BDCCEAF}"/>
              </a:ext>
            </a:extLst>
          </p:cNvPr>
          <p:cNvGrpSpPr/>
          <p:nvPr/>
        </p:nvGrpSpPr>
        <p:grpSpPr>
          <a:xfrm>
            <a:off x="4427386" y="2954976"/>
            <a:ext cx="534056" cy="217324"/>
            <a:chOff x="7480952" y="2570611"/>
            <a:chExt cx="680803" cy="277040"/>
          </a:xfrm>
        </p:grpSpPr>
        <p:pic>
          <p:nvPicPr>
            <p:cNvPr id="611" name="Picture 610">
              <a:extLst>
                <a:ext uri="{FF2B5EF4-FFF2-40B4-BE49-F238E27FC236}">
                  <a16:creationId xmlns:a16="http://schemas.microsoft.com/office/drawing/2014/main" id="{8AE4B70E-B159-49E9-8844-432D7B0C8CF0}"/>
                </a:ext>
              </a:extLst>
            </p:cNvPr>
            <p:cNvPicPr>
              <a:picLocks noChangeAspect="1"/>
            </p:cNvPicPr>
            <p:nvPr/>
          </p:nvPicPr>
          <p:blipFill rotWithShape="1">
            <a:blip r:embed="rId4">
              <a:alphaModFix amt="50000"/>
            </a:blip>
            <a:srcRect l="1971" t="1971" r="1971" b="1971"/>
            <a:stretch/>
          </p:blipFill>
          <p:spPr>
            <a:xfrm>
              <a:off x="7480952" y="2582475"/>
              <a:ext cx="265179" cy="265176"/>
            </a:xfrm>
            <a:prstGeom prst="roundRect">
              <a:avLst>
                <a:gd name="adj" fmla="val 22436"/>
              </a:avLst>
            </a:prstGeom>
          </p:spPr>
        </p:pic>
        <p:pic>
          <p:nvPicPr>
            <p:cNvPr id="612" name="Picture 611">
              <a:extLst>
                <a:ext uri="{FF2B5EF4-FFF2-40B4-BE49-F238E27FC236}">
                  <a16:creationId xmlns:a16="http://schemas.microsoft.com/office/drawing/2014/main" id="{729B597A-DC4B-4522-9DF4-61EBBDA796E0}"/>
                </a:ext>
              </a:extLst>
            </p:cNvPr>
            <p:cNvPicPr>
              <a:picLocks noChangeAspect="1"/>
            </p:cNvPicPr>
            <p:nvPr/>
          </p:nvPicPr>
          <p:blipFill>
            <a:blip r:embed="rId5">
              <a:alphaModFix amt="50000"/>
            </a:blip>
            <a:stretch>
              <a:fillRect/>
            </a:stretch>
          </p:blipFill>
          <p:spPr>
            <a:xfrm>
              <a:off x="7896576" y="2570611"/>
              <a:ext cx="265179" cy="265176"/>
            </a:xfrm>
            <a:prstGeom prst="roundRect">
              <a:avLst>
                <a:gd name="adj" fmla="val 21600"/>
              </a:avLst>
            </a:prstGeom>
          </p:spPr>
        </p:pic>
      </p:grpSp>
      <p:grpSp>
        <p:nvGrpSpPr>
          <p:cNvPr id="643" name="Group 642">
            <a:extLst>
              <a:ext uri="{FF2B5EF4-FFF2-40B4-BE49-F238E27FC236}">
                <a16:creationId xmlns:a16="http://schemas.microsoft.com/office/drawing/2014/main" id="{9F6A10DC-63AF-4707-B430-F383CB764607}"/>
              </a:ext>
            </a:extLst>
          </p:cNvPr>
          <p:cNvGrpSpPr/>
          <p:nvPr/>
        </p:nvGrpSpPr>
        <p:grpSpPr>
          <a:xfrm>
            <a:off x="4559755" y="2679558"/>
            <a:ext cx="249333" cy="249334"/>
            <a:chOff x="7547191" y="1198589"/>
            <a:chExt cx="507244" cy="507245"/>
          </a:xfrm>
        </p:grpSpPr>
        <p:sp>
          <p:nvSpPr>
            <p:cNvPr id="644" name="Oval 643">
              <a:extLst>
                <a:ext uri="{FF2B5EF4-FFF2-40B4-BE49-F238E27FC236}">
                  <a16:creationId xmlns:a16="http://schemas.microsoft.com/office/drawing/2014/main" id="{72717B6F-5EF3-440B-8073-576C3824E876}"/>
                </a:ext>
              </a:extLst>
            </p:cNvPr>
            <p:cNvSpPr/>
            <p:nvPr/>
          </p:nvSpPr>
          <p:spPr>
            <a:xfrm>
              <a:off x="7547191" y="1198589"/>
              <a:ext cx="507244" cy="50724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5" name="Freeform 594">
              <a:extLst>
                <a:ext uri="{FF2B5EF4-FFF2-40B4-BE49-F238E27FC236}">
                  <a16:creationId xmlns:a16="http://schemas.microsoft.com/office/drawing/2014/main" id="{90AA1076-F388-49F0-B05B-1842865AAD14}"/>
                </a:ext>
              </a:extLst>
            </p:cNvPr>
            <p:cNvSpPr>
              <a:spLocks noChangeAspect="1" noEditPoints="1"/>
            </p:cNvSpPr>
            <p:nvPr/>
          </p:nvSpPr>
          <p:spPr bwMode="auto">
            <a:xfrm>
              <a:off x="7570067" y="1235080"/>
              <a:ext cx="461491"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3" name="Rectangle: Rounded Corners 692">
            <a:extLst>
              <a:ext uri="{FF2B5EF4-FFF2-40B4-BE49-F238E27FC236}">
                <a16:creationId xmlns:a16="http://schemas.microsoft.com/office/drawing/2014/main" id="{AD0D8141-1EC8-42A9-B8BB-18E9EDCB547B}"/>
              </a:ext>
            </a:extLst>
          </p:cNvPr>
          <p:cNvSpPr/>
          <p:nvPr/>
        </p:nvSpPr>
        <p:spPr>
          <a:xfrm>
            <a:off x="4699066" y="2358671"/>
            <a:ext cx="1160821" cy="235053"/>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1"/>
                </a:solidFill>
              </a:rPr>
              <a:t>mid haul / backhaul</a:t>
            </a:r>
          </a:p>
        </p:txBody>
      </p:sp>
      <p:sp>
        <p:nvSpPr>
          <p:cNvPr id="706" name="Rectangle: Rounded Corners 705">
            <a:extLst>
              <a:ext uri="{FF2B5EF4-FFF2-40B4-BE49-F238E27FC236}">
                <a16:creationId xmlns:a16="http://schemas.microsoft.com/office/drawing/2014/main" id="{43DDA52D-C82C-4F2C-AE0B-EFF4E90C0B54}"/>
              </a:ext>
            </a:extLst>
          </p:cNvPr>
          <p:cNvSpPr/>
          <p:nvPr/>
        </p:nvSpPr>
        <p:spPr>
          <a:xfrm>
            <a:off x="3433881" y="2350088"/>
            <a:ext cx="701189" cy="235053"/>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1"/>
                </a:solidFill>
              </a:rPr>
              <a:t>fronthaul</a:t>
            </a:r>
          </a:p>
        </p:txBody>
      </p:sp>
      <p:grpSp>
        <p:nvGrpSpPr>
          <p:cNvPr id="790" name="Group 4">
            <a:extLst>
              <a:ext uri="{FF2B5EF4-FFF2-40B4-BE49-F238E27FC236}">
                <a16:creationId xmlns:a16="http://schemas.microsoft.com/office/drawing/2014/main" id="{A8A23D0D-1D9C-41F3-BFCA-98331BE5316E}"/>
              </a:ext>
            </a:extLst>
          </p:cNvPr>
          <p:cNvGrpSpPr>
            <a:grpSpLocks noChangeAspect="1"/>
          </p:cNvGrpSpPr>
          <p:nvPr/>
        </p:nvGrpSpPr>
        <p:grpSpPr bwMode="auto">
          <a:xfrm>
            <a:off x="2184697" y="2495566"/>
            <a:ext cx="272202" cy="206060"/>
            <a:chOff x="740" y="0"/>
            <a:chExt cx="4280" cy="3240"/>
          </a:xfrm>
        </p:grpSpPr>
        <p:sp>
          <p:nvSpPr>
            <p:cNvPr id="791" name="Freeform 5">
              <a:extLst>
                <a:ext uri="{FF2B5EF4-FFF2-40B4-BE49-F238E27FC236}">
                  <a16:creationId xmlns:a16="http://schemas.microsoft.com/office/drawing/2014/main" id="{ECD08FB1-6FF4-453A-AB39-875E1BB58475}"/>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6">
              <a:extLst>
                <a:ext uri="{FF2B5EF4-FFF2-40B4-BE49-F238E27FC236}">
                  <a16:creationId xmlns:a16="http://schemas.microsoft.com/office/drawing/2014/main" id="{07B01FDB-E903-46A1-94E2-7BF6AFBF9930}"/>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7">
              <a:extLst>
                <a:ext uri="{FF2B5EF4-FFF2-40B4-BE49-F238E27FC236}">
                  <a16:creationId xmlns:a16="http://schemas.microsoft.com/office/drawing/2014/main" id="{281CC1D4-0E48-43BB-9D6E-9788548F958D}"/>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8">
              <a:extLst>
                <a:ext uri="{FF2B5EF4-FFF2-40B4-BE49-F238E27FC236}">
                  <a16:creationId xmlns:a16="http://schemas.microsoft.com/office/drawing/2014/main" id="{2A06BBF8-930D-4D67-A341-0AFFBC7A9322}"/>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5" name="Group 794">
            <a:extLst>
              <a:ext uri="{FF2B5EF4-FFF2-40B4-BE49-F238E27FC236}">
                <a16:creationId xmlns:a16="http://schemas.microsoft.com/office/drawing/2014/main" id="{A313153B-5E23-4A12-80B7-94A0D12B9D90}"/>
              </a:ext>
            </a:extLst>
          </p:cNvPr>
          <p:cNvGrpSpPr/>
          <p:nvPr/>
        </p:nvGrpSpPr>
        <p:grpSpPr>
          <a:xfrm>
            <a:off x="2224993" y="3035002"/>
            <a:ext cx="182594" cy="251882"/>
            <a:chOff x="858973" y="1403744"/>
            <a:chExt cx="643458" cy="887629"/>
          </a:xfrm>
        </p:grpSpPr>
        <p:grpSp>
          <p:nvGrpSpPr>
            <p:cNvPr id="796" name="Group 795">
              <a:extLst>
                <a:ext uri="{FF2B5EF4-FFF2-40B4-BE49-F238E27FC236}">
                  <a16:creationId xmlns:a16="http://schemas.microsoft.com/office/drawing/2014/main" id="{06DAB742-87E4-4D35-B1A8-C1CC16D1D36A}"/>
                </a:ext>
              </a:extLst>
            </p:cNvPr>
            <p:cNvGrpSpPr/>
            <p:nvPr/>
          </p:nvGrpSpPr>
          <p:grpSpPr>
            <a:xfrm>
              <a:off x="858973" y="1403744"/>
              <a:ext cx="643458" cy="887629"/>
              <a:chOff x="565417" y="1536835"/>
              <a:chExt cx="996124" cy="1374120"/>
            </a:xfrm>
          </p:grpSpPr>
          <p:sp>
            <p:nvSpPr>
              <p:cNvPr id="798" name="Rounded Rectangle 63">
                <a:extLst>
                  <a:ext uri="{FF2B5EF4-FFF2-40B4-BE49-F238E27FC236}">
                    <a16:creationId xmlns:a16="http://schemas.microsoft.com/office/drawing/2014/main" id="{48150BE8-43FD-4C6D-9B12-32CCB4DBA7E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99" name="Group 798">
                <a:extLst>
                  <a:ext uri="{FF2B5EF4-FFF2-40B4-BE49-F238E27FC236}">
                    <a16:creationId xmlns:a16="http://schemas.microsoft.com/office/drawing/2014/main" id="{FD02D945-3539-431E-935F-8E618DAF2CAD}"/>
                  </a:ext>
                </a:extLst>
              </p:cNvPr>
              <p:cNvGrpSpPr/>
              <p:nvPr/>
            </p:nvGrpSpPr>
            <p:grpSpPr>
              <a:xfrm>
                <a:off x="565417" y="1536835"/>
                <a:ext cx="996124" cy="1374120"/>
                <a:chOff x="352800" y="-7200"/>
                <a:chExt cx="1984680" cy="2737800"/>
              </a:xfrm>
            </p:grpSpPr>
            <p:sp>
              <p:nvSpPr>
                <p:cNvPr id="800" name="Freeform: Shape 1">
                  <a:extLst>
                    <a:ext uri="{FF2B5EF4-FFF2-40B4-BE49-F238E27FC236}">
                      <a16:creationId xmlns:a16="http://schemas.microsoft.com/office/drawing/2014/main" id="{959D0AA8-5567-4CE4-A61D-B2759501A1CB}"/>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hangingPunct="0"/>
                  <a:endParaRPr lang="en-US">
                    <a:latin typeface="Arial" pitchFamily="18"/>
                    <a:ea typeface="Arial Unicode MS" pitchFamily="2"/>
                    <a:cs typeface="Arial Unicode MS" pitchFamily="2"/>
                  </a:endParaRPr>
                </a:p>
              </p:txBody>
            </p:sp>
            <p:sp>
              <p:nvSpPr>
                <p:cNvPr id="801" name="Freeform 57">
                  <a:extLst>
                    <a:ext uri="{FF2B5EF4-FFF2-40B4-BE49-F238E27FC236}">
                      <a16:creationId xmlns:a16="http://schemas.microsoft.com/office/drawing/2014/main" id="{1FF09710-3860-4A24-807B-B07E477E003E}"/>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hangingPunct="0"/>
                  <a:endParaRPr lang="en-US">
                    <a:latin typeface="Arial" pitchFamily="18"/>
                    <a:ea typeface="Arial Unicode MS" pitchFamily="2"/>
                    <a:cs typeface="Arial Unicode MS" pitchFamily="2"/>
                  </a:endParaRPr>
                </a:p>
              </p:txBody>
            </p:sp>
          </p:grpSp>
        </p:grpSp>
        <p:sp>
          <p:nvSpPr>
            <p:cNvPr id="797" name="Freeform: Shape 796">
              <a:extLst>
                <a:ext uri="{FF2B5EF4-FFF2-40B4-BE49-F238E27FC236}">
                  <a16:creationId xmlns:a16="http://schemas.microsoft.com/office/drawing/2014/main" id="{FA0848C3-21E2-42E0-9848-E216CC20E9BF}"/>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hangingPunct="0"/>
              <a:endParaRPr lang="en-US">
                <a:latin typeface="Arial" pitchFamily="18"/>
                <a:ea typeface="Arial Unicode MS" pitchFamily="2"/>
                <a:cs typeface="Arial Unicode MS" pitchFamily="2"/>
              </a:endParaRPr>
            </a:p>
          </p:txBody>
        </p:sp>
      </p:grpSp>
      <p:sp>
        <p:nvSpPr>
          <p:cNvPr id="365" name="TextBox 364">
            <a:extLst>
              <a:ext uri="{FF2B5EF4-FFF2-40B4-BE49-F238E27FC236}">
                <a16:creationId xmlns:a16="http://schemas.microsoft.com/office/drawing/2014/main" id="{C45AF172-8382-3D42-AC9C-AF30B2DA89E2}"/>
              </a:ext>
            </a:extLst>
          </p:cNvPr>
          <p:cNvSpPr txBox="1"/>
          <p:nvPr/>
        </p:nvSpPr>
        <p:spPr>
          <a:xfrm>
            <a:off x="7760039" y="2878086"/>
            <a:ext cx="580608" cy="230832"/>
          </a:xfrm>
          <a:prstGeom prst="rect">
            <a:avLst/>
          </a:prstGeom>
          <a:noFill/>
        </p:spPr>
        <p:txBody>
          <a:bodyPr wrap="none" rtlCol="0">
            <a:spAutoFit/>
          </a:bodyPr>
          <a:lstStyle/>
          <a:p>
            <a:pPr algn="ctr"/>
            <a:r>
              <a:rPr lang="en-US" sz="900" dirty="0">
                <a:latin typeface="+mn-lt"/>
              </a:rPr>
              <a:t>Internet</a:t>
            </a:r>
          </a:p>
        </p:txBody>
      </p:sp>
      <p:pic>
        <p:nvPicPr>
          <p:cNvPr id="382" name="Picture 381">
            <a:extLst>
              <a:ext uri="{FF2B5EF4-FFF2-40B4-BE49-F238E27FC236}">
                <a16:creationId xmlns:a16="http://schemas.microsoft.com/office/drawing/2014/main" id="{A78562B1-D234-9B46-8885-99BE1D6DAA3B}"/>
              </a:ext>
            </a:extLst>
          </p:cNvPr>
          <p:cNvPicPr>
            <a:picLocks noChangeAspect="1"/>
          </p:cNvPicPr>
          <p:nvPr/>
        </p:nvPicPr>
        <p:blipFill>
          <a:blip r:embed="rId6">
            <a:alphaModFix amt="50000"/>
            <a:extLst>
              <a:ext uri="{28A0092B-C50C-407E-A947-70E740481C1C}">
                <a14:useLocalDpi xmlns:a14="http://schemas.microsoft.com/office/drawing/2010/main" val="0"/>
              </a:ext>
            </a:extLst>
          </a:blip>
          <a:stretch>
            <a:fillRect/>
          </a:stretch>
        </p:blipFill>
        <p:spPr>
          <a:xfrm>
            <a:off x="4149031" y="2981943"/>
            <a:ext cx="172651" cy="172651"/>
          </a:xfrm>
          <a:prstGeom prst="rect">
            <a:avLst/>
          </a:prstGeom>
        </p:spPr>
      </p:pic>
      <p:pic>
        <p:nvPicPr>
          <p:cNvPr id="383" name="Picture 382">
            <a:extLst>
              <a:ext uri="{FF2B5EF4-FFF2-40B4-BE49-F238E27FC236}">
                <a16:creationId xmlns:a16="http://schemas.microsoft.com/office/drawing/2014/main" id="{EC2E3D95-FA93-1A49-99E2-BDDB880BFC22}"/>
              </a:ext>
            </a:extLst>
          </p:cNvPr>
          <p:cNvPicPr>
            <a:picLocks noChangeAspect="1"/>
          </p:cNvPicPr>
          <p:nvPr/>
        </p:nvPicPr>
        <p:blipFill>
          <a:blip r:embed="rId6">
            <a:alphaModFix amt="50000"/>
            <a:extLst>
              <a:ext uri="{28A0092B-C50C-407E-A947-70E740481C1C}">
                <a14:useLocalDpi xmlns:a14="http://schemas.microsoft.com/office/drawing/2010/main" val="0"/>
              </a:ext>
            </a:extLst>
          </a:blip>
          <a:stretch>
            <a:fillRect/>
          </a:stretch>
        </p:blipFill>
        <p:spPr>
          <a:xfrm>
            <a:off x="5608143" y="2962872"/>
            <a:ext cx="172651" cy="172651"/>
          </a:xfrm>
          <a:prstGeom prst="rect">
            <a:avLst/>
          </a:prstGeom>
        </p:spPr>
      </p:pic>
      <p:pic>
        <p:nvPicPr>
          <p:cNvPr id="389" name="Picture 388">
            <a:extLst>
              <a:ext uri="{FF2B5EF4-FFF2-40B4-BE49-F238E27FC236}">
                <a16:creationId xmlns:a16="http://schemas.microsoft.com/office/drawing/2014/main" id="{BC0FD799-A475-7945-BDC6-2D8B8C7470FE}"/>
              </a:ext>
            </a:extLst>
          </p:cNvPr>
          <p:cNvPicPr>
            <a:picLocks noChangeAspect="1"/>
          </p:cNvPicPr>
          <p:nvPr/>
        </p:nvPicPr>
        <p:blipFill>
          <a:blip r:embed="rId7"/>
          <a:stretch>
            <a:fillRect/>
          </a:stretch>
        </p:blipFill>
        <p:spPr>
          <a:xfrm>
            <a:off x="8437472" y="2387736"/>
            <a:ext cx="340356" cy="158493"/>
          </a:xfrm>
          <a:prstGeom prst="rect">
            <a:avLst/>
          </a:prstGeom>
        </p:spPr>
      </p:pic>
      <p:grpSp>
        <p:nvGrpSpPr>
          <p:cNvPr id="20" name="Group 19">
            <a:extLst>
              <a:ext uri="{FF2B5EF4-FFF2-40B4-BE49-F238E27FC236}">
                <a16:creationId xmlns:a16="http://schemas.microsoft.com/office/drawing/2014/main" id="{D95459DB-4873-374E-A161-2EF8217EAB76}"/>
              </a:ext>
            </a:extLst>
          </p:cNvPr>
          <p:cNvGrpSpPr/>
          <p:nvPr/>
        </p:nvGrpSpPr>
        <p:grpSpPr>
          <a:xfrm>
            <a:off x="7535630" y="1741814"/>
            <a:ext cx="876599" cy="528135"/>
            <a:chOff x="9778631" y="2256847"/>
            <a:chExt cx="1168799" cy="704180"/>
          </a:xfrm>
        </p:grpSpPr>
        <p:grpSp>
          <p:nvGrpSpPr>
            <p:cNvPr id="344" name="Group 343">
              <a:extLst>
                <a:ext uri="{FF2B5EF4-FFF2-40B4-BE49-F238E27FC236}">
                  <a16:creationId xmlns:a16="http://schemas.microsoft.com/office/drawing/2014/main" id="{46AAC52B-542B-4607-9A38-D63AB6572621}"/>
                </a:ext>
              </a:extLst>
            </p:cNvPr>
            <p:cNvGrpSpPr/>
            <p:nvPr/>
          </p:nvGrpSpPr>
          <p:grpSpPr>
            <a:xfrm>
              <a:off x="9778631" y="2256847"/>
              <a:ext cx="1118436" cy="704180"/>
              <a:chOff x="6444145" y="1701124"/>
              <a:chExt cx="1280626" cy="802839"/>
            </a:xfrm>
            <a:solidFill>
              <a:schemeClr val="tx2"/>
            </a:solidFill>
          </p:grpSpPr>
          <p:grpSp>
            <p:nvGrpSpPr>
              <p:cNvPr id="345" name="Group 344">
                <a:extLst>
                  <a:ext uri="{FF2B5EF4-FFF2-40B4-BE49-F238E27FC236}">
                    <a16:creationId xmlns:a16="http://schemas.microsoft.com/office/drawing/2014/main" id="{FF3734FE-657E-4D1E-B365-DF24B830E2AB}"/>
                  </a:ext>
                </a:extLst>
              </p:cNvPr>
              <p:cNvGrpSpPr/>
              <p:nvPr/>
            </p:nvGrpSpPr>
            <p:grpSpPr>
              <a:xfrm>
                <a:off x="6444145" y="2041258"/>
                <a:ext cx="1280626" cy="462705"/>
                <a:chOff x="6799745" y="2065165"/>
                <a:chExt cx="1280626" cy="462705"/>
              </a:xfrm>
              <a:grpFill/>
            </p:grpSpPr>
            <p:sp>
              <p:nvSpPr>
                <p:cNvPr id="352" name="Rectangle: Rounded Corners 351">
                  <a:extLst>
                    <a:ext uri="{FF2B5EF4-FFF2-40B4-BE49-F238E27FC236}">
                      <a16:creationId xmlns:a16="http://schemas.microsoft.com/office/drawing/2014/main" id="{AA8992C3-2808-417F-B800-F24411360E1A}"/>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Rectangle: Rounded Corners 353">
                  <a:extLst>
                    <a:ext uri="{FF2B5EF4-FFF2-40B4-BE49-F238E27FC236}">
                      <a16:creationId xmlns:a16="http://schemas.microsoft.com/office/drawing/2014/main" id="{4EA2B3F3-116B-4D7D-82C0-0DA9D3780BBA}"/>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a:extLst>
                  <a:ext uri="{FF2B5EF4-FFF2-40B4-BE49-F238E27FC236}">
                    <a16:creationId xmlns:a16="http://schemas.microsoft.com/office/drawing/2014/main" id="{BADA8109-BB41-4555-B452-E241E53E1834}"/>
                  </a:ext>
                </a:extLst>
              </p:cNvPr>
              <p:cNvGrpSpPr/>
              <p:nvPr/>
            </p:nvGrpSpPr>
            <p:grpSpPr>
              <a:xfrm>
                <a:off x="6691732" y="1701124"/>
                <a:ext cx="956368" cy="458033"/>
                <a:chOff x="7044558" y="1563201"/>
                <a:chExt cx="964127" cy="461749"/>
              </a:xfrm>
              <a:grpFill/>
            </p:grpSpPr>
            <p:sp>
              <p:nvSpPr>
                <p:cNvPr id="348" name="Rectangle: Rounded Corners 347">
                  <a:extLst>
                    <a:ext uri="{FF2B5EF4-FFF2-40B4-BE49-F238E27FC236}">
                      <a16:creationId xmlns:a16="http://schemas.microsoft.com/office/drawing/2014/main" id="{107AF7E0-85DE-46F9-91ED-9F5701CA5F4E}"/>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Rectangle: Rounded Corners 348">
                  <a:extLst>
                    <a:ext uri="{FF2B5EF4-FFF2-40B4-BE49-F238E27FC236}">
                      <a16:creationId xmlns:a16="http://schemas.microsoft.com/office/drawing/2014/main" id="{5B8C775A-2DA8-4F1B-9206-926E29E0539A}"/>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364" name="TextBox 363">
              <a:extLst>
                <a:ext uri="{FF2B5EF4-FFF2-40B4-BE49-F238E27FC236}">
                  <a16:creationId xmlns:a16="http://schemas.microsoft.com/office/drawing/2014/main" id="{F399CACB-EC23-904A-95B3-D16E2936EA6C}"/>
                </a:ext>
              </a:extLst>
            </p:cNvPr>
            <p:cNvSpPr txBox="1"/>
            <p:nvPr/>
          </p:nvSpPr>
          <p:spPr>
            <a:xfrm>
              <a:off x="9874058" y="2468010"/>
              <a:ext cx="1073372" cy="492443"/>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grpSp>
      <p:sp>
        <p:nvSpPr>
          <p:cNvPr id="424" name="Rectangle: Rounded Corners 692">
            <a:extLst>
              <a:ext uri="{FF2B5EF4-FFF2-40B4-BE49-F238E27FC236}">
                <a16:creationId xmlns:a16="http://schemas.microsoft.com/office/drawing/2014/main" id="{748B6CF4-3D5E-F049-8EBB-1A0A8E881346}"/>
              </a:ext>
            </a:extLst>
          </p:cNvPr>
          <p:cNvSpPr/>
          <p:nvPr/>
        </p:nvSpPr>
        <p:spPr>
          <a:xfrm>
            <a:off x="6265639" y="2349456"/>
            <a:ext cx="1160821" cy="235053"/>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1"/>
                </a:solidFill>
              </a:rPr>
              <a:t>mid haul / backhaul</a:t>
            </a:r>
          </a:p>
        </p:txBody>
      </p:sp>
      <p:grpSp>
        <p:nvGrpSpPr>
          <p:cNvPr id="230" name="Group 229">
            <a:extLst>
              <a:ext uri="{FF2B5EF4-FFF2-40B4-BE49-F238E27FC236}">
                <a16:creationId xmlns:a16="http://schemas.microsoft.com/office/drawing/2014/main" id="{0CA0FCD7-7B63-834E-94A1-B5A8E16DD0D0}"/>
              </a:ext>
            </a:extLst>
          </p:cNvPr>
          <p:cNvGrpSpPr/>
          <p:nvPr/>
        </p:nvGrpSpPr>
        <p:grpSpPr>
          <a:xfrm>
            <a:off x="6045558" y="2674944"/>
            <a:ext cx="249333" cy="249334"/>
            <a:chOff x="7547191" y="1198589"/>
            <a:chExt cx="507244" cy="507245"/>
          </a:xfrm>
        </p:grpSpPr>
        <p:sp>
          <p:nvSpPr>
            <p:cNvPr id="231" name="Oval 230">
              <a:extLst>
                <a:ext uri="{FF2B5EF4-FFF2-40B4-BE49-F238E27FC236}">
                  <a16:creationId xmlns:a16="http://schemas.microsoft.com/office/drawing/2014/main" id="{8641D129-1937-E341-BFA5-3407BF76B764}"/>
                </a:ext>
              </a:extLst>
            </p:cNvPr>
            <p:cNvSpPr/>
            <p:nvPr/>
          </p:nvSpPr>
          <p:spPr>
            <a:xfrm>
              <a:off x="7547191" y="1198589"/>
              <a:ext cx="507244" cy="50724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2" name="Freeform 594">
              <a:extLst>
                <a:ext uri="{FF2B5EF4-FFF2-40B4-BE49-F238E27FC236}">
                  <a16:creationId xmlns:a16="http://schemas.microsoft.com/office/drawing/2014/main" id="{BD68E019-9295-234C-8B44-9E0561B75047}"/>
                </a:ext>
              </a:extLst>
            </p:cNvPr>
            <p:cNvSpPr>
              <a:spLocks noChangeAspect="1" noEditPoints="1"/>
            </p:cNvSpPr>
            <p:nvPr/>
          </p:nvSpPr>
          <p:spPr bwMode="auto">
            <a:xfrm>
              <a:off x="7570067" y="1235080"/>
              <a:ext cx="461491"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2" name="Straight Arrow Connector 11">
            <a:extLst>
              <a:ext uri="{FF2B5EF4-FFF2-40B4-BE49-F238E27FC236}">
                <a16:creationId xmlns:a16="http://schemas.microsoft.com/office/drawing/2014/main" id="{66C04B17-0409-1742-B58E-AFE3B33B9B42}"/>
              </a:ext>
            </a:extLst>
          </p:cNvPr>
          <p:cNvCxnSpPr/>
          <p:nvPr/>
        </p:nvCxnSpPr>
        <p:spPr>
          <a:xfrm>
            <a:off x="2867380" y="1760432"/>
            <a:ext cx="2583314" cy="0"/>
          </a:xfrm>
          <a:prstGeom prst="straightConnector1">
            <a:avLst/>
          </a:prstGeom>
          <a:ln>
            <a:solidFill>
              <a:schemeClr val="bg1"/>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259" name="Rectangle 258">
            <a:extLst>
              <a:ext uri="{FF2B5EF4-FFF2-40B4-BE49-F238E27FC236}">
                <a16:creationId xmlns:a16="http://schemas.microsoft.com/office/drawing/2014/main" id="{33EED605-AECB-E840-B472-066EE3B8522F}"/>
              </a:ext>
            </a:extLst>
          </p:cNvPr>
          <p:cNvSpPr/>
          <p:nvPr/>
        </p:nvSpPr>
        <p:spPr>
          <a:xfrm>
            <a:off x="3233501" y="1669364"/>
            <a:ext cx="1803137" cy="20574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iscoSansTT Light" panose="020B0503020201020303" pitchFamily="34" charset="0"/>
                <a:cs typeface="CiscoSansTT Light" panose="020B0503020201020303" pitchFamily="34" charset="0"/>
              </a:rPr>
              <a:t>open APIs (data-model driven)</a:t>
            </a:r>
          </a:p>
        </p:txBody>
      </p:sp>
      <p:cxnSp>
        <p:nvCxnSpPr>
          <p:cNvPr id="355" name="Straight Arrow Connector 354">
            <a:extLst>
              <a:ext uri="{FF2B5EF4-FFF2-40B4-BE49-F238E27FC236}">
                <a16:creationId xmlns:a16="http://schemas.microsoft.com/office/drawing/2014/main" id="{E2A689B3-8CB2-5F41-9619-FED87CE7D0D8}"/>
              </a:ext>
            </a:extLst>
          </p:cNvPr>
          <p:cNvCxnSpPr>
            <a:cxnSpLocks/>
          </p:cNvCxnSpPr>
          <p:nvPr/>
        </p:nvCxnSpPr>
        <p:spPr>
          <a:xfrm>
            <a:off x="5520173" y="1760432"/>
            <a:ext cx="2273538" cy="0"/>
          </a:xfrm>
          <a:prstGeom prst="straightConnector1">
            <a:avLst/>
          </a:prstGeom>
          <a:ln>
            <a:solidFill>
              <a:schemeClr val="accent4"/>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379" name="Rectangle 378">
            <a:extLst>
              <a:ext uri="{FF2B5EF4-FFF2-40B4-BE49-F238E27FC236}">
                <a16:creationId xmlns:a16="http://schemas.microsoft.com/office/drawing/2014/main" id="{449F6B65-5BBB-FD43-97D2-5F2E84E7BC68}"/>
              </a:ext>
            </a:extLst>
          </p:cNvPr>
          <p:cNvSpPr/>
          <p:nvPr/>
        </p:nvSpPr>
        <p:spPr>
          <a:xfrm>
            <a:off x="6018859" y="1648964"/>
            <a:ext cx="1548836" cy="20574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4"/>
                </a:solidFill>
                <a:latin typeface="CiscoSansTT Light" panose="020B0503020201020303" pitchFamily="34" charset="0"/>
                <a:cs typeface="CiscoSansTT Light" panose="020B0503020201020303" pitchFamily="34" charset="0"/>
              </a:rPr>
              <a:t>Crosswork Data Gateway</a:t>
            </a:r>
          </a:p>
        </p:txBody>
      </p:sp>
      <p:pic>
        <p:nvPicPr>
          <p:cNvPr id="240" name="Picture 239">
            <a:extLst>
              <a:ext uri="{FF2B5EF4-FFF2-40B4-BE49-F238E27FC236}">
                <a16:creationId xmlns:a16="http://schemas.microsoft.com/office/drawing/2014/main" id="{668CB763-D489-4D41-9050-C0F9E3C1A6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70674" y="1544147"/>
            <a:ext cx="274320" cy="274320"/>
          </a:xfrm>
          <a:prstGeom prst="rect">
            <a:avLst/>
          </a:prstGeom>
        </p:spPr>
      </p:pic>
      <p:grpSp>
        <p:nvGrpSpPr>
          <p:cNvPr id="250" name="Group 249">
            <a:extLst>
              <a:ext uri="{FF2B5EF4-FFF2-40B4-BE49-F238E27FC236}">
                <a16:creationId xmlns:a16="http://schemas.microsoft.com/office/drawing/2014/main" id="{53CE3F2C-0ACC-5349-820A-F34CCBC5AC90}"/>
              </a:ext>
            </a:extLst>
          </p:cNvPr>
          <p:cNvGrpSpPr/>
          <p:nvPr/>
        </p:nvGrpSpPr>
        <p:grpSpPr>
          <a:xfrm>
            <a:off x="2209257" y="1795817"/>
            <a:ext cx="695018" cy="577285"/>
            <a:chOff x="1053576" y="845943"/>
            <a:chExt cx="695017" cy="977038"/>
          </a:xfrm>
        </p:grpSpPr>
        <p:sp>
          <p:nvSpPr>
            <p:cNvPr id="251" name="Arc 250">
              <a:extLst>
                <a:ext uri="{FF2B5EF4-FFF2-40B4-BE49-F238E27FC236}">
                  <a16:creationId xmlns:a16="http://schemas.microsoft.com/office/drawing/2014/main" id="{46CFFC50-9B5E-3B48-AA7D-52B7206BB22D}"/>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2" name="Straight Connector 251">
              <a:extLst>
                <a:ext uri="{FF2B5EF4-FFF2-40B4-BE49-F238E27FC236}">
                  <a16:creationId xmlns:a16="http://schemas.microsoft.com/office/drawing/2014/main" id="{8C91830B-1810-1043-89C7-0510E43ACDFF}"/>
                </a:ext>
              </a:extLst>
            </p:cNvPr>
            <p:cNvCxnSpPr>
              <a:cxnSpLocks/>
              <a:endCxn id="251"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47185B00-2404-5B47-BE4C-5A5A74FC0E87}"/>
                </a:ext>
              </a:extLst>
            </p:cNvPr>
            <p:cNvCxnSpPr>
              <a:cxnSpLocks/>
              <a:stCxn id="251" idx="0"/>
            </p:cNvCxnSpPr>
            <p:nvPr/>
          </p:nvCxnSpPr>
          <p:spPr>
            <a:xfrm>
              <a:off x="1170844" y="1822266"/>
              <a:ext cx="577749" cy="71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55" name="Group 254">
            <a:extLst>
              <a:ext uri="{FF2B5EF4-FFF2-40B4-BE49-F238E27FC236}">
                <a16:creationId xmlns:a16="http://schemas.microsoft.com/office/drawing/2014/main" id="{A3B16555-6254-BC41-A3F9-EF4AEB196E49}"/>
              </a:ext>
            </a:extLst>
          </p:cNvPr>
          <p:cNvGrpSpPr/>
          <p:nvPr/>
        </p:nvGrpSpPr>
        <p:grpSpPr>
          <a:xfrm>
            <a:off x="2553251" y="1744168"/>
            <a:ext cx="343076" cy="576863"/>
            <a:chOff x="1053576" y="845943"/>
            <a:chExt cx="343076" cy="976323"/>
          </a:xfrm>
        </p:grpSpPr>
        <p:sp>
          <p:nvSpPr>
            <p:cNvPr id="256" name="Arc 255">
              <a:extLst>
                <a:ext uri="{FF2B5EF4-FFF2-40B4-BE49-F238E27FC236}">
                  <a16:creationId xmlns:a16="http://schemas.microsoft.com/office/drawing/2014/main" id="{A31AA554-7F99-6543-90FF-B840147C30E3}"/>
                </a:ext>
              </a:extLst>
            </p:cNvPr>
            <p:cNvSpPr/>
            <p:nvPr/>
          </p:nvSpPr>
          <p:spPr>
            <a:xfrm rot="10800000">
              <a:off x="1053577" y="1587731"/>
              <a:ext cx="234534" cy="234535"/>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7" name="Straight Connector 256">
              <a:extLst>
                <a:ext uri="{FF2B5EF4-FFF2-40B4-BE49-F238E27FC236}">
                  <a16:creationId xmlns:a16="http://schemas.microsoft.com/office/drawing/2014/main" id="{4D3F6E6E-5E15-5544-896A-3B7DDC19F920}"/>
                </a:ext>
              </a:extLst>
            </p:cNvPr>
            <p:cNvCxnSpPr>
              <a:cxnSpLocks/>
              <a:endCxn id="256"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EF6D4E5F-205E-1E45-9A7C-D6914C07F956}"/>
                </a:ext>
              </a:extLst>
            </p:cNvPr>
            <p:cNvCxnSpPr>
              <a:cxnSpLocks/>
              <a:stCxn id="256" idx="0"/>
            </p:cNvCxnSpPr>
            <p:nvPr/>
          </p:nvCxnSpPr>
          <p:spPr>
            <a:xfrm>
              <a:off x="1170844" y="1822265"/>
              <a:ext cx="225808"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2987BB8E-B0D7-0345-BAE3-70CB1A16901C}"/>
              </a:ext>
            </a:extLst>
          </p:cNvPr>
          <p:cNvGrpSpPr/>
          <p:nvPr/>
        </p:nvGrpSpPr>
        <p:grpSpPr>
          <a:xfrm>
            <a:off x="2416577" y="1541399"/>
            <a:ext cx="274320" cy="274320"/>
            <a:chOff x="2756962" y="2123379"/>
            <a:chExt cx="365760" cy="365760"/>
          </a:xfrm>
        </p:grpSpPr>
        <p:sp>
          <p:nvSpPr>
            <p:cNvPr id="10" name="Oval 9">
              <a:extLst>
                <a:ext uri="{FF2B5EF4-FFF2-40B4-BE49-F238E27FC236}">
                  <a16:creationId xmlns:a16="http://schemas.microsoft.com/office/drawing/2014/main" id="{CA7F1075-C349-0A4B-8F79-C53A0AF54E96}"/>
                </a:ext>
              </a:extLst>
            </p:cNvPr>
            <p:cNvSpPr>
              <a:spLocks noChangeAspect="1"/>
            </p:cNvSpPr>
            <p:nvPr/>
          </p:nvSpPr>
          <p:spPr>
            <a:xfrm>
              <a:off x="2756962" y="2123379"/>
              <a:ext cx="365760" cy="36576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FAC061C4-B6BB-724D-80D7-43FFCF54FA1A}"/>
                </a:ext>
              </a:extLst>
            </p:cNvPr>
            <p:cNvPicPr>
              <a:picLocks noChangeAspect="1"/>
            </p:cNvPicPr>
            <p:nvPr/>
          </p:nvPicPr>
          <p:blipFill>
            <a:blip r:embed="rId9"/>
            <a:stretch>
              <a:fillRect/>
            </a:stretch>
          </p:blipFill>
          <p:spPr>
            <a:xfrm>
              <a:off x="2808884" y="2174522"/>
              <a:ext cx="274320" cy="274320"/>
            </a:xfrm>
            <a:prstGeom prst="rect">
              <a:avLst/>
            </a:prstGeom>
          </p:spPr>
        </p:pic>
      </p:grpSp>
      <p:sp>
        <p:nvSpPr>
          <p:cNvPr id="17" name="TextBox 16">
            <a:extLst>
              <a:ext uri="{FF2B5EF4-FFF2-40B4-BE49-F238E27FC236}">
                <a16:creationId xmlns:a16="http://schemas.microsoft.com/office/drawing/2014/main" id="{1D148AFD-09DB-C049-9E99-D1E27B365513}"/>
              </a:ext>
            </a:extLst>
          </p:cNvPr>
          <p:cNvSpPr txBox="1"/>
          <p:nvPr/>
        </p:nvSpPr>
        <p:spPr>
          <a:xfrm>
            <a:off x="7756425" y="4237796"/>
            <a:ext cx="588598" cy="352142"/>
          </a:xfrm>
          <a:prstGeom prst="roundRect">
            <a:avLst>
              <a:gd name="adj" fmla="val 48467"/>
            </a:avLst>
          </a:prstGeom>
          <a:solidFill>
            <a:schemeClr val="accent1"/>
          </a:solidFill>
          <a:ln w="31750">
            <a:solidFill>
              <a:schemeClr val="accent1">
                <a:lumMod val="40000"/>
                <a:lumOff val="60000"/>
              </a:schemeClr>
            </a:solidFill>
          </a:ln>
        </p:spPr>
        <p:txBody>
          <a:bodyPr wrap="none" lIns="34290" rIns="34290" rtlCol="0" anchor="ctr">
            <a:spAutoFit/>
          </a:bodyPr>
          <a:lstStyle/>
          <a:p>
            <a:pPr algn="ctr"/>
            <a:r>
              <a:rPr lang="en-US" sz="1050" b="1" dirty="0">
                <a:solidFill>
                  <a:schemeClr val="bg2"/>
                </a:solidFill>
                <a:latin typeface="CiscoSansTT" panose="020B0503020201020303" pitchFamily="34" charset="0"/>
                <a:cs typeface="CiscoSansTT" panose="020B0503020201020303" pitchFamily="34" charset="0"/>
              </a:rPr>
              <a:t>400GE</a:t>
            </a:r>
          </a:p>
        </p:txBody>
      </p:sp>
      <p:pic>
        <p:nvPicPr>
          <p:cNvPr id="263" name="Picture 262">
            <a:extLst>
              <a:ext uri="{FF2B5EF4-FFF2-40B4-BE49-F238E27FC236}">
                <a16:creationId xmlns:a16="http://schemas.microsoft.com/office/drawing/2014/main" id="{0DBBC980-4055-1842-B6F1-B969A195A64A}"/>
              </a:ext>
            </a:extLst>
          </p:cNvPr>
          <p:cNvPicPr>
            <a:picLocks noChangeAspect="1"/>
          </p:cNvPicPr>
          <p:nvPr/>
        </p:nvPicPr>
        <p:blipFill>
          <a:blip r:embed="rId10"/>
          <a:stretch>
            <a:fillRect/>
          </a:stretch>
        </p:blipFill>
        <p:spPr>
          <a:xfrm>
            <a:off x="8009581" y="2311994"/>
            <a:ext cx="287936" cy="287936"/>
          </a:xfrm>
          <a:prstGeom prst="rect">
            <a:avLst/>
          </a:prstGeom>
        </p:spPr>
      </p:pic>
      <p:sp>
        <p:nvSpPr>
          <p:cNvPr id="265" name="Teardrop 264">
            <a:extLst>
              <a:ext uri="{FF2B5EF4-FFF2-40B4-BE49-F238E27FC236}">
                <a16:creationId xmlns:a16="http://schemas.microsoft.com/office/drawing/2014/main" id="{9BB8AD04-EF51-9E40-ACB6-90FD95145D4D}"/>
              </a:ext>
            </a:extLst>
          </p:cNvPr>
          <p:cNvSpPr>
            <a:spLocks noChangeAspect="1"/>
          </p:cNvSpPr>
          <p:nvPr/>
        </p:nvSpPr>
        <p:spPr>
          <a:xfrm rot="2427077">
            <a:off x="7702215" y="208918"/>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96" name="Teardrop 295">
            <a:extLst>
              <a:ext uri="{FF2B5EF4-FFF2-40B4-BE49-F238E27FC236}">
                <a16:creationId xmlns:a16="http://schemas.microsoft.com/office/drawing/2014/main" id="{2C7A9FEF-CF23-6F4C-A293-517139ECA561}"/>
              </a:ext>
            </a:extLst>
          </p:cNvPr>
          <p:cNvSpPr>
            <a:spLocks noChangeAspect="1"/>
          </p:cNvSpPr>
          <p:nvPr/>
        </p:nvSpPr>
        <p:spPr>
          <a:xfrm rot="2582071">
            <a:off x="7771752" y="2398402"/>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98" name="TextBox 297">
            <a:extLst>
              <a:ext uri="{FF2B5EF4-FFF2-40B4-BE49-F238E27FC236}">
                <a16:creationId xmlns:a16="http://schemas.microsoft.com/office/drawing/2014/main" id="{1F13F092-5B0A-C24D-B299-6175B69F2067}"/>
              </a:ext>
            </a:extLst>
          </p:cNvPr>
          <p:cNvSpPr txBox="1"/>
          <p:nvPr/>
        </p:nvSpPr>
        <p:spPr>
          <a:xfrm>
            <a:off x="1538000" y="4237596"/>
            <a:ext cx="830305" cy="352142"/>
          </a:xfrm>
          <a:prstGeom prst="roundRect">
            <a:avLst>
              <a:gd name="adj" fmla="val 48467"/>
            </a:avLst>
          </a:prstGeom>
          <a:solidFill>
            <a:schemeClr val="accent1"/>
          </a:solidFill>
          <a:ln w="31750">
            <a:solidFill>
              <a:schemeClr val="accent1">
                <a:lumMod val="40000"/>
                <a:lumOff val="60000"/>
              </a:schemeClr>
            </a:solidFill>
          </a:ln>
        </p:spPr>
        <p:txBody>
          <a:bodyPr wrap="none" lIns="34290" rIns="34290" rtlCol="0" anchor="ctr">
            <a:spAutoFit/>
          </a:bodyPr>
          <a:lstStyle/>
          <a:p>
            <a:pPr algn="ctr"/>
            <a:r>
              <a:rPr lang="en-US" sz="1050" b="1" dirty="0">
                <a:solidFill>
                  <a:schemeClr val="bg2"/>
                </a:solidFill>
                <a:latin typeface="CiscoSansTT" panose="020B0503020201020303" pitchFamily="34" charset="0"/>
                <a:cs typeface="CiscoSansTT" panose="020B0503020201020303" pitchFamily="34" charset="0"/>
              </a:rPr>
              <a:t>10/100 GE</a:t>
            </a:r>
          </a:p>
        </p:txBody>
      </p:sp>
      <p:sp>
        <p:nvSpPr>
          <p:cNvPr id="9" name="TextBox 8">
            <a:extLst>
              <a:ext uri="{FF2B5EF4-FFF2-40B4-BE49-F238E27FC236}">
                <a16:creationId xmlns:a16="http://schemas.microsoft.com/office/drawing/2014/main" id="{2E67ADD7-848E-C24C-9566-2115E9C5813C}"/>
              </a:ext>
            </a:extLst>
          </p:cNvPr>
          <p:cNvSpPr txBox="1"/>
          <p:nvPr/>
        </p:nvSpPr>
        <p:spPr>
          <a:xfrm>
            <a:off x="7884006" y="143843"/>
            <a:ext cx="322524" cy="369332"/>
          </a:xfrm>
          <a:prstGeom prst="rect">
            <a:avLst/>
          </a:prstGeom>
          <a:noFill/>
        </p:spPr>
        <p:txBody>
          <a:bodyPr wrap="none" rtlCol="0">
            <a:spAutoFit/>
          </a:bodyPr>
          <a:lstStyle/>
          <a:p>
            <a:r>
              <a:rPr lang="en-US" dirty="0">
                <a:latin typeface="+mn-lt"/>
              </a:rPr>
              <a:t>=</a:t>
            </a:r>
          </a:p>
        </p:txBody>
      </p:sp>
      <p:sp>
        <p:nvSpPr>
          <p:cNvPr id="305" name="TextBox 304">
            <a:extLst>
              <a:ext uri="{FF2B5EF4-FFF2-40B4-BE49-F238E27FC236}">
                <a16:creationId xmlns:a16="http://schemas.microsoft.com/office/drawing/2014/main" id="{01A2BBC0-F989-4D43-B25A-CDAFB895A5D3}"/>
              </a:ext>
            </a:extLst>
          </p:cNvPr>
          <p:cNvSpPr txBox="1"/>
          <p:nvPr/>
        </p:nvSpPr>
        <p:spPr>
          <a:xfrm>
            <a:off x="8081092" y="121520"/>
            <a:ext cx="1024639" cy="369332"/>
          </a:xfrm>
          <a:prstGeom prst="rect">
            <a:avLst/>
          </a:prstGeom>
          <a:noFill/>
        </p:spPr>
        <p:txBody>
          <a:bodyPr wrap="none" rtlCol="0">
            <a:spAutoFit/>
          </a:bodyPr>
          <a:lstStyle/>
          <a:p>
            <a:r>
              <a:rPr lang="en-US" sz="900" dirty="0">
                <a:latin typeface="CiscoSansTT Light" panose="020B0503020201020303" pitchFamily="34" charset="0"/>
                <a:cs typeface="CiscoSansTT Light" panose="020B0503020201020303" pitchFamily="34" charset="0"/>
              </a:rPr>
              <a:t>new releases or</a:t>
            </a:r>
          </a:p>
          <a:p>
            <a:r>
              <a:rPr lang="en-US" sz="900" dirty="0">
                <a:latin typeface="CiscoSansTT Light" panose="020B0503020201020303" pitchFamily="34" charset="0"/>
                <a:cs typeface="CiscoSansTT Light" panose="020B0503020201020303" pitchFamily="34" charset="0"/>
              </a:rPr>
              <a:t>major updates</a:t>
            </a:r>
          </a:p>
        </p:txBody>
      </p:sp>
      <p:sp>
        <p:nvSpPr>
          <p:cNvPr id="264" name="Teardrop 263">
            <a:extLst>
              <a:ext uri="{FF2B5EF4-FFF2-40B4-BE49-F238E27FC236}">
                <a16:creationId xmlns:a16="http://schemas.microsoft.com/office/drawing/2014/main" id="{BE468752-3212-E24D-B3F4-7D516DA25E87}"/>
              </a:ext>
            </a:extLst>
          </p:cNvPr>
          <p:cNvSpPr>
            <a:spLocks noChangeAspect="1"/>
          </p:cNvSpPr>
          <p:nvPr/>
        </p:nvSpPr>
        <p:spPr>
          <a:xfrm rot="17553607" flipH="1">
            <a:off x="7300694" y="1245770"/>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97" name="Teardrop 296">
            <a:extLst>
              <a:ext uri="{FF2B5EF4-FFF2-40B4-BE49-F238E27FC236}">
                <a16:creationId xmlns:a16="http://schemas.microsoft.com/office/drawing/2014/main" id="{696296DC-679F-6449-92D2-9EE8CF598938}"/>
              </a:ext>
            </a:extLst>
          </p:cNvPr>
          <p:cNvSpPr>
            <a:spLocks noChangeAspect="1"/>
          </p:cNvSpPr>
          <p:nvPr/>
        </p:nvSpPr>
        <p:spPr>
          <a:xfrm rot="8035617" flipH="1">
            <a:off x="3182104" y="4670151"/>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304" name="Teardrop 303">
            <a:extLst>
              <a:ext uri="{FF2B5EF4-FFF2-40B4-BE49-F238E27FC236}">
                <a16:creationId xmlns:a16="http://schemas.microsoft.com/office/drawing/2014/main" id="{CDB74C08-4745-A34B-BF65-6162E5CB856D}"/>
              </a:ext>
            </a:extLst>
          </p:cNvPr>
          <p:cNvSpPr>
            <a:spLocks noChangeAspect="1"/>
          </p:cNvSpPr>
          <p:nvPr/>
        </p:nvSpPr>
        <p:spPr>
          <a:xfrm rot="2427077">
            <a:off x="481441" y="3717347"/>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340" name="Teardrop 339">
            <a:extLst>
              <a:ext uri="{FF2B5EF4-FFF2-40B4-BE49-F238E27FC236}">
                <a16:creationId xmlns:a16="http://schemas.microsoft.com/office/drawing/2014/main" id="{B5F89624-6458-5845-88EE-3AC32388447D}"/>
              </a:ext>
            </a:extLst>
          </p:cNvPr>
          <p:cNvSpPr>
            <a:spLocks noChangeAspect="1"/>
          </p:cNvSpPr>
          <p:nvPr/>
        </p:nvSpPr>
        <p:spPr>
          <a:xfrm rot="7792982" flipH="1">
            <a:off x="7349548" y="4679596"/>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62" name="TextBox 261">
            <a:extLst>
              <a:ext uri="{FF2B5EF4-FFF2-40B4-BE49-F238E27FC236}">
                <a16:creationId xmlns:a16="http://schemas.microsoft.com/office/drawing/2014/main" id="{B27253F9-338C-D54B-A4F2-786D40E544DE}"/>
              </a:ext>
            </a:extLst>
          </p:cNvPr>
          <p:cNvSpPr txBox="1"/>
          <p:nvPr/>
        </p:nvSpPr>
        <p:spPr>
          <a:xfrm>
            <a:off x="3415528" y="4231848"/>
            <a:ext cx="830305" cy="352142"/>
          </a:xfrm>
          <a:prstGeom prst="roundRect">
            <a:avLst>
              <a:gd name="adj" fmla="val 48467"/>
            </a:avLst>
          </a:prstGeom>
          <a:solidFill>
            <a:schemeClr val="accent1"/>
          </a:solidFill>
          <a:ln w="31750">
            <a:solidFill>
              <a:schemeClr val="accent1">
                <a:lumMod val="40000"/>
                <a:lumOff val="60000"/>
              </a:schemeClr>
            </a:solidFill>
          </a:ln>
        </p:spPr>
        <p:txBody>
          <a:bodyPr wrap="none" lIns="34290" rIns="34290" rtlCol="0" anchor="ctr">
            <a:spAutoFit/>
          </a:bodyPr>
          <a:lstStyle/>
          <a:p>
            <a:pPr algn="ctr"/>
            <a:r>
              <a:rPr lang="en-US" sz="1050" b="1" dirty="0">
                <a:solidFill>
                  <a:schemeClr val="bg2"/>
                </a:solidFill>
                <a:latin typeface="CiscoSansTT" panose="020B0503020201020303" pitchFamily="34" charset="0"/>
                <a:cs typeface="CiscoSansTT" panose="020B0503020201020303" pitchFamily="34" charset="0"/>
              </a:rPr>
              <a:t>10/100 GE</a:t>
            </a:r>
          </a:p>
        </p:txBody>
      </p:sp>
      <p:sp>
        <p:nvSpPr>
          <p:cNvPr id="266" name="Teardrop 265">
            <a:extLst>
              <a:ext uri="{FF2B5EF4-FFF2-40B4-BE49-F238E27FC236}">
                <a16:creationId xmlns:a16="http://schemas.microsoft.com/office/drawing/2014/main" id="{FE144589-D744-5F4A-B204-579F0F495637}"/>
              </a:ext>
            </a:extLst>
          </p:cNvPr>
          <p:cNvSpPr>
            <a:spLocks noChangeAspect="1"/>
          </p:cNvSpPr>
          <p:nvPr/>
        </p:nvSpPr>
        <p:spPr>
          <a:xfrm rot="8035617" flipH="1">
            <a:off x="1300481" y="4670151"/>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68" name="TextBox 267">
            <a:extLst>
              <a:ext uri="{FF2B5EF4-FFF2-40B4-BE49-F238E27FC236}">
                <a16:creationId xmlns:a16="http://schemas.microsoft.com/office/drawing/2014/main" id="{0DBA005B-477E-074E-BBE6-15CC0006FF94}"/>
              </a:ext>
            </a:extLst>
          </p:cNvPr>
          <p:cNvSpPr txBox="1"/>
          <p:nvPr/>
        </p:nvSpPr>
        <p:spPr>
          <a:xfrm>
            <a:off x="5378318" y="4233342"/>
            <a:ext cx="625955" cy="352142"/>
          </a:xfrm>
          <a:prstGeom prst="roundRect">
            <a:avLst>
              <a:gd name="adj" fmla="val 48467"/>
            </a:avLst>
          </a:prstGeom>
          <a:solidFill>
            <a:schemeClr val="accent1"/>
          </a:solidFill>
          <a:ln w="31750">
            <a:solidFill>
              <a:schemeClr val="accent1">
                <a:lumMod val="40000"/>
                <a:lumOff val="60000"/>
              </a:schemeClr>
            </a:solidFill>
          </a:ln>
        </p:spPr>
        <p:txBody>
          <a:bodyPr wrap="none" lIns="34290" rIns="34290" rtlCol="0" anchor="ctr">
            <a:spAutoFit/>
          </a:bodyPr>
          <a:lstStyle/>
          <a:p>
            <a:pPr algn="ctr"/>
            <a:r>
              <a:rPr lang="en-US" sz="1050" b="1" dirty="0">
                <a:solidFill>
                  <a:schemeClr val="bg2"/>
                </a:solidFill>
                <a:latin typeface="CiscoSansTT" panose="020B0503020201020303" pitchFamily="34" charset="0"/>
                <a:cs typeface="CiscoSansTT" panose="020B0503020201020303" pitchFamily="34" charset="0"/>
              </a:rPr>
              <a:t>100 GE</a:t>
            </a:r>
          </a:p>
        </p:txBody>
      </p:sp>
    </p:spTree>
    <p:extLst>
      <p:ext uri="{BB962C8B-B14F-4D97-AF65-F5344CB8AC3E}">
        <p14:creationId xmlns:p14="http://schemas.microsoft.com/office/powerpoint/2010/main" val="138294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repeatCount="indefinite" grpId="0" nodeType="withEffect">
                                  <p:stCondLst>
                                    <p:cond delay="0"/>
                                  </p:stCondLst>
                                  <p:endCondLst>
                                    <p:cond evt="onNext" delay="0">
                                      <p:tgtEl>
                                        <p:sldTgt/>
                                      </p:tgtEl>
                                    </p:cond>
                                  </p:endCondLst>
                                  <p:childTnLst>
                                    <p:animClr clrSpc="rgb" dir="cw">
                                      <p:cBhvr override="childStyle">
                                        <p:cTn id="6" dur="2000" fill="hold"/>
                                        <p:tgtEl>
                                          <p:spTgt spid="264"/>
                                        </p:tgtEl>
                                        <p:attrNameLst>
                                          <p:attrName>style.color</p:attrName>
                                        </p:attrNameLst>
                                      </p:cBhvr>
                                      <p:to>
                                        <a:schemeClr val="folHlink"/>
                                      </p:to>
                                    </p:animClr>
                                    <p:animClr clrSpc="rgb" dir="cw">
                                      <p:cBhvr>
                                        <p:cTn id="7" dur="2000" fill="hold"/>
                                        <p:tgtEl>
                                          <p:spTgt spid="264"/>
                                        </p:tgtEl>
                                        <p:attrNameLst>
                                          <p:attrName>fillcolor</p:attrName>
                                        </p:attrNameLst>
                                      </p:cBhvr>
                                      <p:to>
                                        <a:schemeClr val="folHlink"/>
                                      </p:to>
                                    </p:animClr>
                                    <p:set>
                                      <p:cBhvr>
                                        <p:cTn id="8" dur="2000" fill="hold"/>
                                        <p:tgtEl>
                                          <p:spTgt spid="264"/>
                                        </p:tgtEl>
                                        <p:attrNameLst>
                                          <p:attrName>fill.type</p:attrName>
                                        </p:attrNameLst>
                                      </p:cBhvr>
                                      <p:to>
                                        <p:strVal val="solid"/>
                                      </p:to>
                                    </p:set>
                                    <p:set>
                                      <p:cBhvr>
                                        <p:cTn id="9" dur="2000" fill="hold"/>
                                        <p:tgtEl>
                                          <p:spTgt spid="264"/>
                                        </p:tgtEl>
                                        <p:attrNameLst>
                                          <p:attrName>fill.on</p:attrName>
                                        </p:attrNameLst>
                                      </p:cBhvr>
                                      <p:to>
                                        <p:strVal val="true"/>
                                      </p:to>
                                    </p:set>
                                  </p:childTnLst>
                                </p:cTn>
                              </p:par>
                              <p:par>
                                <p:cTn id="10" presetID="19" presetClass="emph" presetSubtype="0" repeatCount="indefinite" grpId="0" nodeType="withEffect">
                                  <p:stCondLst>
                                    <p:cond delay="0"/>
                                  </p:stCondLst>
                                  <p:endCondLst>
                                    <p:cond evt="onNext" delay="0">
                                      <p:tgtEl>
                                        <p:sldTgt/>
                                      </p:tgtEl>
                                    </p:cond>
                                  </p:endCondLst>
                                  <p:childTnLst>
                                    <p:animClr clrSpc="rgb" dir="cw">
                                      <p:cBhvr override="childStyle">
                                        <p:cTn id="11" dur="2000" fill="hold"/>
                                        <p:tgtEl>
                                          <p:spTgt spid="297"/>
                                        </p:tgtEl>
                                        <p:attrNameLst>
                                          <p:attrName>style.color</p:attrName>
                                        </p:attrNameLst>
                                      </p:cBhvr>
                                      <p:to>
                                        <a:schemeClr val="folHlink"/>
                                      </p:to>
                                    </p:animClr>
                                    <p:animClr clrSpc="rgb" dir="cw">
                                      <p:cBhvr>
                                        <p:cTn id="12" dur="2000" fill="hold"/>
                                        <p:tgtEl>
                                          <p:spTgt spid="297"/>
                                        </p:tgtEl>
                                        <p:attrNameLst>
                                          <p:attrName>fillcolor</p:attrName>
                                        </p:attrNameLst>
                                      </p:cBhvr>
                                      <p:to>
                                        <a:schemeClr val="folHlink"/>
                                      </p:to>
                                    </p:animClr>
                                    <p:set>
                                      <p:cBhvr>
                                        <p:cTn id="13" dur="2000" fill="hold"/>
                                        <p:tgtEl>
                                          <p:spTgt spid="297"/>
                                        </p:tgtEl>
                                        <p:attrNameLst>
                                          <p:attrName>fill.type</p:attrName>
                                        </p:attrNameLst>
                                      </p:cBhvr>
                                      <p:to>
                                        <p:strVal val="solid"/>
                                      </p:to>
                                    </p:set>
                                    <p:set>
                                      <p:cBhvr>
                                        <p:cTn id="14" dur="2000" fill="hold"/>
                                        <p:tgtEl>
                                          <p:spTgt spid="297"/>
                                        </p:tgtEl>
                                        <p:attrNameLst>
                                          <p:attrName>fill.on</p:attrName>
                                        </p:attrNameLst>
                                      </p:cBhvr>
                                      <p:to>
                                        <p:strVal val="true"/>
                                      </p:to>
                                    </p:set>
                                  </p:childTnLst>
                                </p:cTn>
                              </p:par>
                              <p:par>
                                <p:cTn id="15" presetID="19" presetClass="emph" presetSubtype="0" repeatCount="indefinite" grpId="0" nodeType="withEffect">
                                  <p:stCondLst>
                                    <p:cond delay="0"/>
                                  </p:stCondLst>
                                  <p:endCondLst>
                                    <p:cond evt="onNext" delay="0">
                                      <p:tgtEl>
                                        <p:sldTgt/>
                                      </p:tgtEl>
                                    </p:cond>
                                  </p:endCondLst>
                                  <p:childTnLst>
                                    <p:animClr clrSpc="rgb" dir="cw">
                                      <p:cBhvr override="childStyle">
                                        <p:cTn id="16" dur="2000" fill="hold"/>
                                        <p:tgtEl>
                                          <p:spTgt spid="340"/>
                                        </p:tgtEl>
                                        <p:attrNameLst>
                                          <p:attrName>style.color</p:attrName>
                                        </p:attrNameLst>
                                      </p:cBhvr>
                                      <p:to>
                                        <a:schemeClr val="folHlink"/>
                                      </p:to>
                                    </p:animClr>
                                    <p:animClr clrSpc="rgb" dir="cw">
                                      <p:cBhvr>
                                        <p:cTn id="17" dur="2000" fill="hold"/>
                                        <p:tgtEl>
                                          <p:spTgt spid="340"/>
                                        </p:tgtEl>
                                        <p:attrNameLst>
                                          <p:attrName>fillcolor</p:attrName>
                                        </p:attrNameLst>
                                      </p:cBhvr>
                                      <p:to>
                                        <a:schemeClr val="folHlink"/>
                                      </p:to>
                                    </p:animClr>
                                    <p:set>
                                      <p:cBhvr>
                                        <p:cTn id="18" dur="2000" fill="hold"/>
                                        <p:tgtEl>
                                          <p:spTgt spid="340"/>
                                        </p:tgtEl>
                                        <p:attrNameLst>
                                          <p:attrName>fill.type</p:attrName>
                                        </p:attrNameLst>
                                      </p:cBhvr>
                                      <p:to>
                                        <p:strVal val="solid"/>
                                      </p:to>
                                    </p:set>
                                    <p:set>
                                      <p:cBhvr>
                                        <p:cTn id="19" dur="2000" fill="hold"/>
                                        <p:tgtEl>
                                          <p:spTgt spid="340"/>
                                        </p:tgtEl>
                                        <p:attrNameLst>
                                          <p:attrName>fill.on</p:attrName>
                                        </p:attrNameLst>
                                      </p:cBhvr>
                                      <p:to>
                                        <p:strVal val="true"/>
                                      </p:to>
                                    </p:set>
                                  </p:childTnLst>
                                </p:cTn>
                              </p:par>
                              <p:par>
                                <p:cTn id="20" presetID="19" presetClass="emph" presetSubtype="0" repeatCount="indefinite" fill="hold" grpId="0" nodeType="withEffect">
                                  <p:stCondLst>
                                    <p:cond delay="0"/>
                                  </p:stCondLst>
                                  <p:endCondLst>
                                    <p:cond evt="onNext" delay="0">
                                      <p:tgtEl>
                                        <p:sldTgt/>
                                      </p:tgtEl>
                                    </p:cond>
                                  </p:endCondLst>
                                  <p:childTnLst>
                                    <p:animClr clrSpc="rgb" dir="cw">
                                      <p:cBhvr override="childStyle">
                                        <p:cTn id="21" dur="2000" fill="hold"/>
                                        <p:tgtEl>
                                          <p:spTgt spid="265"/>
                                        </p:tgtEl>
                                        <p:attrNameLst>
                                          <p:attrName>style.color</p:attrName>
                                        </p:attrNameLst>
                                      </p:cBhvr>
                                      <p:to>
                                        <a:schemeClr val="bg2"/>
                                      </p:to>
                                    </p:animClr>
                                    <p:animClr clrSpc="rgb" dir="cw">
                                      <p:cBhvr>
                                        <p:cTn id="22" dur="2000" fill="hold"/>
                                        <p:tgtEl>
                                          <p:spTgt spid="265"/>
                                        </p:tgtEl>
                                        <p:attrNameLst>
                                          <p:attrName>fillcolor</p:attrName>
                                        </p:attrNameLst>
                                      </p:cBhvr>
                                      <p:to>
                                        <a:schemeClr val="bg2"/>
                                      </p:to>
                                    </p:animClr>
                                    <p:set>
                                      <p:cBhvr>
                                        <p:cTn id="23" dur="2000" fill="hold"/>
                                        <p:tgtEl>
                                          <p:spTgt spid="265"/>
                                        </p:tgtEl>
                                        <p:attrNameLst>
                                          <p:attrName>fill.type</p:attrName>
                                        </p:attrNameLst>
                                      </p:cBhvr>
                                      <p:to>
                                        <p:strVal val="solid"/>
                                      </p:to>
                                    </p:set>
                                    <p:set>
                                      <p:cBhvr>
                                        <p:cTn id="24" dur="2000" fill="hold"/>
                                        <p:tgtEl>
                                          <p:spTgt spid="265"/>
                                        </p:tgtEl>
                                        <p:attrNameLst>
                                          <p:attrName>fill.on</p:attrName>
                                        </p:attrNameLst>
                                      </p:cBhvr>
                                      <p:to>
                                        <p:strVal val="true"/>
                                      </p:to>
                                    </p:set>
                                  </p:childTnLst>
                                </p:cTn>
                              </p:par>
                              <p:par>
                                <p:cTn id="25" presetID="1" presetClass="emph" presetSubtype="2" repeatCount="indefinite" fill="hold" nodeType="withEffect">
                                  <p:stCondLst>
                                    <p:cond delay="0"/>
                                  </p:stCondLst>
                                  <p:endCondLst>
                                    <p:cond evt="onNext" delay="0">
                                      <p:tgtEl>
                                        <p:sldTgt/>
                                      </p:tgtEl>
                                    </p:cond>
                                  </p:endCondLst>
                                  <p:childTnLst>
                                    <p:animClr clrSpc="rgb" dir="cw">
                                      <p:cBhvr>
                                        <p:cTn id="26" dur="2000" fill="hold"/>
                                        <p:tgtEl>
                                          <p:spTgt spid="296"/>
                                        </p:tgtEl>
                                        <p:attrNameLst>
                                          <p:attrName>fillcolor</p:attrName>
                                        </p:attrNameLst>
                                      </p:cBhvr>
                                      <p:to>
                                        <a:srgbClr val="CCD2D6"/>
                                      </p:to>
                                    </p:animClr>
                                    <p:set>
                                      <p:cBhvr>
                                        <p:cTn id="27" dur="2000" fill="hold"/>
                                        <p:tgtEl>
                                          <p:spTgt spid="296"/>
                                        </p:tgtEl>
                                        <p:attrNameLst>
                                          <p:attrName>fill.type</p:attrName>
                                        </p:attrNameLst>
                                      </p:cBhvr>
                                      <p:to>
                                        <p:strVal val="solid"/>
                                      </p:to>
                                    </p:set>
                                    <p:set>
                                      <p:cBhvr>
                                        <p:cTn id="28" dur="2000" fill="hold"/>
                                        <p:tgtEl>
                                          <p:spTgt spid="296"/>
                                        </p:tgtEl>
                                        <p:attrNameLst>
                                          <p:attrName>fill.on</p:attrName>
                                        </p:attrNameLst>
                                      </p:cBhvr>
                                      <p:to>
                                        <p:strVal val="true"/>
                                      </p:to>
                                    </p:set>
                                  </p:childTnLst>
                                </p:cTn>
                              </p:par>
                              <p:par>
                                <p:cTn id="29" presetID="1" presetClass="emph" presetSubtype="2" repeatCount="indefinite" fill="hold" nodeType="withEffect">
                                  <p:stCondLst>
                                    <p:cond delay="0"/>
                                  </p:stCondLst>
                                  <p:endCondLst>
                                    <p:cond evt="onNext" delay="0">
                                      <p:tgtEl>
                                        <p:sldTgt/>
                                      </p:tgtEl>
                                    </p:cond>
                                  </p:endCondLst>
                                  <p:childTnLst>
                                    <p:animClr clrSpc="rgb" dir="cw">
                                      <p:cBhvr>
                                        <p:cTn id="30" dur="2000" fill="hold"/>
                                        <p:tgtEl>
                                          <p:spTgt spid="304"/>
                                        </p:tgtEl>
                                        <p:attrNameLst>
                                          <p:attrName>fillcolor</p:attrName>
                                        </p:attrNameLst>
                                      </p:cBhvr>
                                      <p:to>
                                        <a:srgbClr val="F2F2F2"/>
                                      </p:to>
                                    </p:animClr>
                                    <p:set>
                                      <p:cBhvr>
                                        <p:cTn id="31" dur="2000" fill="hold"/>
                                        <p:tgtEl>
                                          <p:spTgt spid="304"/>
                                        </p:tgtEl>
                                        <p:attrNameLst>
                                          <p:attrName>fill.type</p:attrName>
                                        </p:attrNameLst>
                                      </p:cBhvr>
                                      <p:to>
                                        <p:strVal val="solid"/>
                                      </p:to>
                                    </p:set>
                                    <p:set>
                                      <p:cBhvr>
                                        <p:cTn id="32" dur="2000" fill="hold"/>
                                        <p:tgtEl>
                                          <p:spTgt spid="304"/>
                                        </p:tgtEl>
                                        <p:attrNameLst>
                                          <p:attrName>fill.on</p:attrName>
                                        </p:attrNameLst>
                                      </p:cBhvr>
                                      <p:to>
                                        <p:strVal val="true"/>
                                      </p:to>
                                    </p:set>
                                  </p:childTnLst>
                                </p:cTn>
                              </p:par>
                              <p:par>
                                <p:cTn id="33" presetID="19" presetClass="emph" presetSubtype="0" repeatCount="indefinite" grpId="0" nodeType="withEffect">
                                  <p:stCondLst>
                                    <p:cond delay="0"/>
                                  </p:stCondLst>
                                  <p:endCondLst>
                                    <p:cond evt="onNext" delay="0">
                                      <p:tgtEl>
                                        <p:sldTgt/>
                                      </p:tgtEl>
                                    </p:cond>
                                  </p:endCondLst>
                                  <p:childTnLst>
                                    <p:animClr clrSpc="rgb" dir="cw">
                                      <p:cBhvr override="childStyle">
                                        <p:cTn id="34" dur="2000" fill="hold"/>
                                        <p:tgtEl>
                                          <p:spTgt spid="266"/>
                                        </p:tgtEl>
                                        <p:attrNameLst>
                                          <p:attrName>style.color</p:attrName>
                                        </p:attrNameLst>
                                      </p:cBhvr>
                                      <p:to>
                                        <a:schemeClr val="folHlink"/>
                                      </p:to>
                                    </p:animClr>
                                    <p:animClr clrSpc="rgb" dir="cw">
                                      <p:cBhvr>
                                        <p:cTn id="35" dur="2000" fill="hold"/>
                                        <p:tgtEl>
                                          <p:spTgt spid="266"/>
                                        </p:tgtEl>
                                        <p:attrNameLst>
                                          <p:attrName>fillcolor</p:attrName>
                                        </p:attrNameLst>
                                      </p:cBhvr>
                                      <p:to>
                                        <a:schemeClr val="folHlink"/>
                                      </p:to>
                                    </p:animClr>
                                    <p:set>
                                      <p:cBhvr>
                                        <p:cTn id="36" dur="2000" fill="hold"/>
                                        <p:tgtEl>
                                          <p:spTgt spid="266"/>
                                        </p:tgtEl>
                                        <p:attrNameLst>
                                          <p:attrName>fill.type</p:attrName>
                                        </p:attrNameLst>
                                      </p:cBhvr>
                                      <p:to>
                                        <p:strVal val="solid"/>
                                      </p:to>
                                    </p:set>
                                    <p:set>
                                      <p:cBhvr>
                                        <p:cTn id="37" dur="2000" fill="hold"/>
                                        <p:tgtEl>
                                          <p:spTgt spid="26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5" grpId="0" animBg="1"/>
      <p:bldP spid="264" grpId="0" animBg="1"/>
      <p:bldP spid="297" grpId="0" animBg="1"/>
      <p:bldP spid="340" grpId="0" animBg="1"/>
      <p:bldP spid="266" grpId="0" animBg="1"/>
    </p:bld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 name="Rectangle 310"/>
          <p:cNvSpPr/>
          <p:nvPr/>
        </p:nvSpPr>
        <p:spPr>
          <a:xfrm>
            <a:off x="6887506" y="1282483"/>
            <a:ext cx="1848170" cy="1524017"/>
          </a:xfrm>
          <a:prstGeom prst="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94" name="Oval 293"/>
          <p:cNvSpPr/>
          <p:nvPr/>
        </p:nvSpPr>
        <p:spPr>
          <a:xfrm>
            <a:off x="7716440" y="1614855"/>
            <a:ext cx="918641" cy="884615"/>
          </a:xfrm>
          <a:prstGeom prst="ellipse">
            <a:avLst/>
          </a:prstGeom>
          <a:no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nvGrpSpPr>
          <p:cNvPr id="3" name="Group 2"/>
          <p:cNvGrpSpPr/>
          <p:nvPr/>
        </p:nvGrpSpPr>
        <p:grpSpPr>
          <a:xfrm>
            <a:off x="6920457" y="1307098"/>
            <a:ext cx="1615812" cy="1113065"/>
            <a:chOff x="6920457" y="1414604"/>
            <a:chExt cx="1615812" cy="1148462"/>
          </a:xfrm>
        </p:grpSpPr>
        <p:grpSp>
          <p:nvGrpSpPr>
            <p:cNvPr id="312" name="Group 311"/>
            <p:cNvGrpSpPr/>
            <p:nvPr/>
          </p:nvGrpSpPr>
          <p:grpSpPr>
            <a:xfrm>
              <a:off x="7861239" y="1946177"/>
              <a:ext cx="675030" cy="616889"/>
              <a:chOff x="5366550" y="1160960"/>
              <a:chExt cx="1509116" cy="1270477"/>
            </a:xfrm>
          </p:grpSpPr>
          <p:pic>
            <p:nvPicPr>
              <p:cNvPr id="314" name="Picture 3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54619" y="1160960"/>
                <a:ext cx="521047" cy="521048"/>
              </a:xfrm>
              <a:prstGeom prst="rect">
                <a:avLst/>
              </a:prstGeom>
            </p:spPr>
          </p:pic>
          <p:grpSp>
            <p:nvGrpSpPr>
              <p:cNvPr id="315" name="Group 314"/>
              <p:cNvGrpSpPr/>
              <p:nvPr/>
            </p:nvGrpSpPr>
            <p:grpSpPr>
              <a:xfrm rot="16200000">
                <a:off x="5344777" y="1636885"/>
                <a:ext cx="816325" cy="772779"/>
                <a:chOff x="5793619" y="1334476"/>
                <a:chExt cx="1994473" cy="1471157"/>
              </a:xfrm>
            </p:grpSpPr>
            <p:pic>
              <p:nvPicPr>
                <p:cNvPr id="332" name="Picture 331">
                  <a:extLst>
                    <a:ext uri="{FF2B5EF4-FFF2-40B4-BE49-F238E27FC236}">
                      <a16:creationId xmlns:a16="http://schemas.microsoft.com/office/drawing/2014/main" id="{6501BE4D-6095-7947-97C8-5D71E695D1D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93619" y="2158786"/>
                  <a:ext cx="378511" cy="485482"/>
                </a:xfrm>
                <a:prstGeom prst="rect">
                  <a:avLst/>
                </a:prstGeom>
              </p:spPr>
            </p:pic>
            <p:pic>
              <p:nvPicPr>
                <p:cNvPr id="333" name="Picture 332">
                  <a:extLst>
                    <a:ext uri="{FF2B5EF4-FFF2-40B4-BE49-F238E27FC236}">
                      <a16:creationId xmlns:a16="http://schemas.microsoft.com/office/drawing/2014/main" id="{FA80F940-3741-A749-977E-5E57F7E2EE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32273" y="2158786"/>
                  <a:ext cx="378511" cy="485482"/>
                </a:xfrm>
                <a:prstGeom prst="rect">
                  <a:avLst/>
                </a:prstGeom>
              </p:spPr>
            </p:pic>
            <p:pic>
              <p:nvPicPr>
                <p:cNvPr id="334" name="Picture 333">
                  <a:extLst>
                    <a:ext uri="{FF2B5EF4-FFF2-40B4-BE49-F238E27FC236}">
                      <a16:creationId xmlns:a16="http://schemas.microsoft.com/office/drawing/2014/main" id="{EDDDCB62-72D3-404C-BEA6-BAA7BEE412B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70927" y="2158786"/>
                  <a:ext cx="378511" cy="485482"/>
                </a:xfrm>
                <a:prstGeom prst="rect">
                  <a:avLst/>
                </a:prstGeom>
              </p:spPr>
            </p:pic>
            <p:pic>
              <p:nvPicPr>
                <p:cNvPr id="335" name="Picture 334">
                  <a:extLst>
                    <a:ext uri="{FF2B5EF4-FFF2-40B4-BE49-F238E27FC236}">
                      <a16:creationId xmlns:a16="http://schemas.microsoft.com/office/drawing/2014/main" id="{8CF55EF2-E19A-8A4C-B9AA-DF32D23BF99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09581" y="2158786"/>
                  <a:ext cx="378511" cy="485482"/>
                </a:xfrm>
                <a:prstGeom prst="rect">
                  <a:avLst/>
                </a:prstGeom>
              </p:spPr>
            </p:pic>
            <p:pic>
              <p:nvPicPr>
                <p:cNvPr id="336" name="Picture 335">
                  <a:extLst>
                    <a:ext uri="{FF2B5EF4-FFF2-40B4-BE49-F238E27FC236}">
                      <a16:creationId xmlns:a16="http://schemas.microsoft.com/office/drawing/2014/main" id="{A2438C44-0AEA-EA4F-8B1D-0D27E2ACD89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28538" y="1334476"/>
                  <a:ext cx="378511" cy="485482"/>
                </a:xfrm>
                <a:prstGeom prst="rect">
                  <a:avLst/>
                </a:prstGeom>
              </p:spPr>
            </p:pic>
            <p:pic>
              <p:nvPicPr>
                <p:cNvPr id="337" name="Picture 336">
                  <a:extLst>
                    <a:ext uri="{FF2B5EF4-FFF2-40B4-BE49-F238E27FC236}">
                      <a16:creationId xmlns:a16="http://schemas.microsoft.com/office/drawing/2014/main" id="{DD80BB3E-C30F-D745-A17C-8A75B04EA57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67192" y="1334476"/>
                  <a:ext cx="378511" cy="485482"/>
                </a:xfrm>
                <a:prstGeom prst="rect">
                  <a:avLst/>
                </a:prstGeom>
              </p:spPr>
            </p:pic>
            <p:cxnSp>
              <p:nvCxnSpPr>
                <p:cNvPr id="338" name="Straight Connector 337">
                  <a:extLst>
                    <a:ext uri="{FF2B5EF4-FFF2-40B4-BE49-F238E27FC236}">
                      <a16:creationId xmlns:a16="http://schemas.microsoft.com/office/drawing/2014/main" id="{4A8EA2C7-136B-B742-935B-3E439D370DE1}"/>
                    </a:ext>
                  </a:extLst>
                </p:cNvPr>
                <p:cNvCxnSpPr/>
                <p:nvPr/>
              </p:nvCxnSpPr>
              <p:spPr>
                <a:xfrm flipV="1">
                  <a:off x="60161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C51640EF-AA33-614A-9E04-8F27B5C595A1}"/>
                    </a:ext>
                  </a:extLst>
                </p:cNvPr>
                <p:cNvCxnSpPr>
                  <a:cxnSpLocks/>
                </p:cNvCxnSpPr>
                <p:nvPr/>
              </p:nvCxnSpPr>
              <p:spPr>
                <a:xfrm flipH="1" flipV="1">
                  <a:off x="65510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DA5CC831-BD4D-8C46-81B6-37FA603C84A0}"/>
                    </a:ext>
                  </a:extLst>
                </p:cNvPr>
                <p:cNvCxnSpPr>
                  <a:cxnSpLocks/>
                </p:cNvCxnSpPr>
                <p:nvPr/>
              </p:nvCxnSpPr>
              <p:spPr>
                <a:xfrm flipH="1" flipV="1">
                  <a:off x="65510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B9C6F769-4F55-A14F-A501-6726E6E2BE6E}"/>
                    </a:ext>
                  </a:extLst>
                </p:cNvPr>
                <p:cNvCxnSpPr>
                  <a:cxnSpLocks/>
                </p:cNvCxnSpPr>
                <p:nvPr/>
              </p:nvCxnSpPr>
              <p:spPr>
                <a:xfrm>
                  <a:off x="6551021"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061FDD37-9696-254E-A994-C5D253389656}"/>
                    </a:ext>
                  </a:extLst>
                </p:cNvPr>
                <p:cNvCxnSpPr>
                  <a:cxnSpLocks/>
                </p:cNvCxnSpPr>
                <p:nvPr/>
              </p:nvCxnSpPr>
              <p:spPr>
                <a:xfrm>
                  <a:off x="7089675"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75E4F185-7623-8D4C-920D-DC839A858436}"/>
                    </a:ext>
                  </a:extLst>
                </p:cNvPr>
                <p:cNvCxnSpPr>
                  <a:cxnSpLocks/>
                </p:cNvCxnSpPr>
                <p:nvPr/>
              </p:nvCxnSpPr>
              <p:spPr>
                <a:xfrm flipH="1">
                  <a:off x="6554756"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12582621-745B-2A4D-8CF5-0D7C96250A07}"/>
                    </a:ext>
                  </a:extLst>
                </p:cNvPr>
                <p:cNvCxnSpPr>
                  <a:cxnSpLocks/>
                </p:cNvCxnSpPr>
                <p:nvPr/>
              </p:nvCxnSpPr>
              <p:spPr>
                <a:xfrm flipH="1">
                  <a:off x="6016102"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4C34F6CD-CAD7-914C-8C4C-30D32D6F9881}"/>
                    </a:ext>
                  </a:extLst>
                </p:cNvPr>
                <p:cNvCxnSpPr>
                  <a:cxnSpLocks/>
                </p:cNvCxnSpPr>
                <p:nvPr/>
              </p:nvCxnSpPr>
              <p:spPr>
                <a:xfrm>
                  <a:off x="7089675"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C630789C-2E01-2D44-B01A-D5D0E7CD883B}"/>
                    </a:ext>
                  </a:extLst>
                </p:cNvPr>
                <p:cNvCxnSpPr>
                  <a:cxnSpLocks/>
                </p:cNvCxnSpPr>
                <p:nvPr/>
              </p:nvCxnSpPr>
              <p:spPr>
                <a:xfrm>
                  <a:off x="5816671"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8280AEDC-50D3-5E4F-B880-D83562B3C562}"/>
                    </a:ext>
                  </a:extLst>
                </p:cNvPr>
                <p:cNvCxnSpPr>
                  <a:cxnSpLocks/>
                </p:cNvCxnSpPr>
                <p:nvPr/>
              </p:nvCxnSpPr>
              <p:spPr>
                <a:xfrm>
                  <a:off x="5864422"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0B92A13D-B20F-334A-9C34-96B195A0B09D}"/>
                    </a:ext>
                  </a:extLst>
                </p:cNvPr>
                <p:cNvCxnSpPr>
                  <a:cxnSpLocks/>
                </p:cNvCxnSpPr>
                <p:nvPr/>
              </p:nvCxnSpPr>
              <p:spPr>
                <a:xfrm>
                  <a:off x="591217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5316EAE6-0996-A44E-8B9D-758564E4D0D0}"/>
                    </a:ext>
                  </a:extLst>
                </p:cNvPr>
                <p:cNvCxnSpPr>
                  <a:cxnSpLocks/>
                </p:cNvCxnSpPr>
                <p:nvPr/>
              </p:nvCxnSpPr>
              <p:spPr>
                <a:xfrm>
                  <a:off x="595992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93F46143-07A7-D444-B21E-4B8E14B4E886}"/>
                    </a:ext>
                  </a:extLst>
                </p:cNvPr>
                <p:cNvCxnSpPr>
                  <a:cxnSpLocks/>
                </p:cNvCxnSpPr>
                <p:nvPr/>
              </p:nvCxnSpPr>
              <p:spPr>
                <a:xfrm>
                  <a:off x="600767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F0C5262D-C472-A24A-AFE9-36022053FA5E}"/>
                    </a:ext>
                  </a:extLst>
                </p:cNvPr>
                <p:cNvCxnSpPr>
                  <a:cxnSpLocks/>
                </p:cNvCxnSpPr>
                <p:nvPr/>
              </p:nvCxnSpPr>
              <p:spPr>
                <a:xfrm>
                  <a:off x="605542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6665E160-48B9-104C-B6D0-A3DC92C2F963}"/>
                    </a:ext>
                  </a:extLst>
                </p:cNvPr>
                <p:cNvCxnSpPr>
                  <a:cxnSpLocks/>
                </p:cNvCxnSpPr>
                <p:nvPr/>
              </p:nvCxnSpPr>
              <p:spPr>
                <a:xfrm>
                  <a:off x="610317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165A3674-DDA3-4140-A67D-9ECD8A2B6EE6}"/>
                    </a:ext>
                  </a:extLst>
                </p:cNvPr>
                <p:cNvCxnSpPr>
                  <a:cxnSpLocks/>
                </p:cNvCxnSpPr>
                <p:nvPr/>
              </p:nvCxnSpPr>
              <p:spPr>
                <a:xfrm>
                  <a:off x="61509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009E129D-7CE8-044F-BCC8-9DE0CE4B7493}"/>
                    </a:ext>
                  </a:extLst>
                </p:cNvPr>
                <p:cNvCxnSpPr>
                  <a:cxnSpLocks/>
                </p:cNvCxnSpPr>
                <p:nvPr/>
              </p:nvCxnSpPr>
              <p:spPr>
                <a:xfrm>
                  <a:off x="634512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26B36D10-3039-194D-B97D-4B01D1253BD1}"/>
                    </a:ext>
                  </a:extLst>
                </p:cNvPr>
                <p:cNvCxnSpPr>
                  <a:cxnSpLocks/>
                </p:cNvCxnSpPr>
                <p:nvPr/>
              </p:nvCxnSpPr>
              <p:spPr>
                <a:xfrm>
                  <a:off x="639287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A40ECFA9-6228-1A41-AC3D-3C225128FBAD}"/>
                    </a:ext>
                  </a:extLst>
                </p:cNvPr>
                <p:cNvCxnSpPr>
                  <a:cxnSpLocks/>
                </p:cNvCxnSpPr>
                <p:nvPr/>
              </p:nvCxnSpPr>
              <p:spPr>
                <a:xfrm>
                  <a:off x="644062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DEFAAD2A-1AFD-B841-B7E8-68B5D122E268}"/>
                    </a:ext>
                  </a:extLst>
                </p:cNvPr>
                <p:cNvCxnSpPr>
                  <a:cxnSpLocks/>
                </p:cNvCxnSpPr>
                <p:nvPr/>
              </p:nvCxnSpPr>
              <p:spPr>
                <a:xfrm>
                  <a:off x="648837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C20A5310-3952-3340-A836-D31F24C1F640}"/>
                    </a:ext>
                  </a:extLst>
                </p:cNvPr>
                <p:cNvCxnSpPr>
                  <a:cxnSpLocks/>
                </p:cNvCxnSpPr>
                <p:nvPr/>
              </p:nvCxnSpPr>
              <p:spPr>
                <a:xfrm>
                  <a:off x="65361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D70BE24A-B280-C440-8F9F-197D10F82442}"/>
                    </a:ext>
                  </a:extLst>
                </p:cNvPr>
                <p:cNvCxnSpPr>
                  <a:cxnSpLocks/>
                </p:cNvCxnSpPr>
                <p:nvPr/>
              </p:nvCxnSpPr>
              <p:spPr>
                <a:xfrm>
                  <a:off x="6583878"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4C1D31FE-50EB-D349-B8DB-193298C84A30}"/>
                    </a:ext>
                  </a:extLst>
                </p:cNvPr>
                <p:cNvCxnSpPr>
                  <a:cxnSpLocks/>
                </p:cNvCxnSpPr>
                <p:nvPr/>
              </p:nvCxnSpPr>
              <p:spPr>
                <a:xfrm>
                  <a:off x="663162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DA143978-C7AF-6943-BE55-6FA42220BE81}"/>
                    </a:ext>
                  </a:extLst>
                </p:cNvPr>
                <p:cNvCxnSpPr>
                  <a:cxnSpLocks/>
                </p:cNvCxnSpPr>
                <p:nvPr/>
              </p:nvCxnSpPr>
              <p:spPr>
                <a:xfrm>
                  <a:off x="667937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51C87A55-F802-1C48-9344-364E6D959D66}"/>
                    </a:ext>
                  </a:extLst>
                </p:cNvPr>
                <p:cNvCxnSpPr>
                  <a:cxnSpLocks/>
                </p:cNvCxnSpPr>
                <p:nvPr/>
              </p:nvCxnSpPr>
              <p:spPr>
                <a:xfrm>
                  <a:off x="6883777"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FE753450-D598-C043-A39D-F7E91F229460}"/>
                    </a:ext>
                  </a:extLst>
                </p:cNvPr>
                <p:cNvCxnSpPr>
                  <a:cxnSpLocks/>
                </p:cNvCxnSpPr>
                <p:nvPr/>
              </p:nvCxnSpPr>
              <p:spPr>
                <a:xfrm>
                  <a:off x="6931528"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2C60C428-4696-804C-8077-7323C439CE2B}"/>
                    </a:ext>
                  </a:extLst>
                </p:cNvPr>
                <p:cNvCxnSpPr>
                  <a:cxnSpLocks/>
                </p:cNvCxnSpPr>
                <p:nvPr/>
              </p:nvCxnSpPr>
              <p:spPr>
                <a:xfrm>
                  <a:off x="6979279"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921ECB4F-30AE-5245-8D8F-00DA9B64400E}"/>
                    </a:ext>
                  </a:extLst>
                </p:cNvPr>
                <p:cNvCxnSpPr>
                  <a:cxnSpLocks/>
                </p:cNvCxnSpPr>
                <p:nvPr/>
              </p:nvCxnSpPr>
              <p:spPr>
                <a:xfrm>
                  <a:off x="7027030"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C40C8084-E874-7A43-92B7-7D3CE02226C6}"/>
                    </a:ext>
                  </a:extLst>
                </p:cNvPr>
                <p:cNvCxnSpPr>
                  <a:cxnSpLocks/>
                </p:cNvCxnSpPr>
                <p:nvPr/>
              </p:nvCxnSpPr>
              <p:spPr>
                <a:xfrm>
                  <a:off x="7074781"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75118753-0DF3-B54A-B962-7B5F26F54509}"/>
                    </a:ext>
                  </a:extLst>
                </p:cNvPr>
                <p:cNvCxnSpPr>
                  <a:cxnSpLocks/>
                </p:cNvCxnSpPr>
                <p:nvPr/>
              </p:nvCxnSpPr>
              <p:spPr>
                <a:xfrm>
                  <a:off x="7122532"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388196C1-57C3-6E4A-8A2B-A359E68BD882}"/>
                    </a:ext>
                  </a:extLst>
                </p:cNvPr>
                <p:cNvCxnSpPr>
                  <a:cxnSpLocks/>
                </p:cNvCxnSpPr>
                <p:nvPr/>
              </p:nvCxnSpPr>
              <p:spPr>
                <a:xfrm>
                  <a:off x="717028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6D822C64-72CD-6C41-BB6E-DFDA2302E992}"/>
                    </a:ext>
                  </a:extLst>
                </p:cNvPr>
                <p:cNvCxnSpPr>
                  <a:cxnSpLocks/>
                </p:cNvCxnSpPr>
                <p:nvPr/>
              </p:nvCxnSpPr>
              <p:spPr>
                <a:xfrm>
                  <a:off x="721803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975EA81E-3C34-904E-9079-742098154A3A}"/>
                    </a:ext>
                  </a:extLst>
                </p:cNvPr>
                <p:cNvCxnSpPr>
                  <a:cxnSpLocks/>
                </p:cNvCxnSpPr>
                <p:nvPr/>
              </p:nvCxnSpPr>
              <p:spPr>
                <a:xfrm>
                  <a:off x="7420334"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049E458D-17C1-EB4D-A31D-44B5A0DE7906}"/>
                    </a:ext>
                  </a:extLst>
                </p:cNvPr>
                <p:cNvCxnSpPr>
                  <a:cxnSpLocks/>
                </p:cNvCxnSpPr>
                <p:nvPr/>
              </p:nvCxnSpPr>
              <p:spPr>
                <a:xfrm>
                  <a:off x="7468085"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340A5FB3-DDFE-044E-BACE-63F640A05796}"/>
                    </a:ext>
                  </a:extLst>
                </p:cNvPr>
                <p:cNvCxnSpPr>
                  <a:cxnSpLocks/>
                </p:cNvCxnSpPr>
                <p:nvPr/>
              </p:nvCxnSpPr>
              <p:spPr>
                <a:xfrm>
                  <a:off x="7515836"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0CC4024D-A9DB-E344-9A36-38A2FCCA9953}"/>
                    </a:ext>
                  </a:extLst>
                </p:cNvPr>
                <p:cNvCxnSpPr>
                  <a:cxnSpLocks/>
                </p:cNvCxnSpPr>
                <p:nvPr/>
              </p:nvCxnSpPr>
              <p:spPr>
                <a:xfrm>
                  <a:off x="7563587"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893FDA6B-D9F0-824A-BE8C-DC4DA071A03D}"/>
                    </a:ext>
                  </a:extLst>
                </p:cNvPr>
                <p:cNvCxnSpPr>
                  <a:cxnSpLocks/>
                </p:cNvCxnSpPr>
                <p:nvPr/>
              </p:nvCxnSpPr>
              <p:spPr>
                <a:xfrm>
                  <a:off x="7611338"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8D01F5D4-8E49-864F-AC4B-89D458AC0B45}"/>
                    </a:ext>
                  </a:extLst>
                </p:cNvPr>
                <p:cNvCxnSpPr>
                  <a:cxnSpLocks/>
                </p:cNvCxnSpPr>
                <p:nvPr/>
              </p:nvCxnSpPr>
              <p:spPr>
                <a:xfrm>
                  <a:off x="7659089"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06891B1F-83C1-5342-A8BE-605FE16B43F1}"/>
                    </a:ext>
                  </a:extLst>
                </p:cNvPr>
                <p:cNvCxnSpPr>
                  <a:cxnSpLocks/>
                </p:cNvCxnSpPr>
                <p:nvPr/>
              </p:nvCxnSpPr>
              <p:spPr>
                <a:xfrm>
                  <a:off x="770684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120A7731-6C36-EE41-87BE-100DDEB65899}"/>
                    </a:ext>
                  </a:extLst>
                </p:cNvPr>
                <p:cNvCxnSpPr>
                  <a:cxnSpLocks/>
                </p:cNvCxnSpPr>
                <p:nvPr/>
              </p:nvCxnSpPr>
              <p:spPr>
                <a:xfrm>
                  <a:off x="775459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BBDE27A2-E5EB-C84F-8105-FCFFF9A0F6CF}"/>
                    </a:ext>
                  </a:extLst>
                </p:cNvPr>
                <p:cNvCxnSpPr/>
                <p:nvPr/>
              </p:nvCxnSpPr>
              <p:spPr>
                <a:xfrm flipV="1">
                  <a:off x="5941325"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F211CC11-C3AA-DB48-A7E9-F3A8BBFF0341}"/>
                    </a:ext>
                  </a:extLst>
                </p:cNvPr>
                <p:cNvCxnSpPr>
                  <a:cxnSpLocks/>
                </p:cNvCxnSpPr>
                <p:nvPr/>
              </p:nvCxnSpPr>
              <p:spPr>
                <a:xfrm flipH="1" flipV="1">
                  <a:off x="6476244"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7F2AF944-523E-DE49-A61F-BB2A7BF3254A}"/>
                    </a:ext>
                  </a:extLst>
                </p:cNvPr>
                <p:cNvCxnSpPr>
                  <a:cxnSpLocks/>
                </p:cNvCxnSpPr>
                <p:nvPr/>
              </p:nvCxnSpPr>
              <p:spPr>
                <a:xfrm flipH="1" flipV="1">
                  <a:off x="6476244"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69E64FF3-E8C0-DD48-A583-3C7301F43301}"/>
                    </a:ext>
                  </a:extLst>
                </p:cNvPr>
                <p:cNvCxnSpPr>
                  <a:cxnSpLocks/>
                </p:cNvCxnSpPr>
                <p:nvPr/>
              </p:nvCxnSpPr>
              <p:spPr>
                <a:xfrm>
                  <a:off x="6476244"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E2277B8A-2495-3743-A637-755AF76B2F1E}"/>
                    </a:ext>
                  </a:extLst>
                </p:cNvPr>
                <p:cNvCxnSpPr>
                  <a:cxnSpLocks/>
                </p:cNvCxnSpPr>
                <p:nvPr/>
              </p:nvCxnSpPr>
              <p:spPr>
                <a:xfrm>
                  <a:off x="7014898"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E1511104-7F66-7A4B-A0D4-496FAA001887}"/>
                    </a:ext>
                  </a:extLst>
                </p:cNvPr>
                <p:cNvCxnSpPr>
                  <a:cxnSpLocks/>
                </p:cNvCxnSpPr>
                <p:nvPr/>
              </p:nvCxnSpPr>
              <p:spPr>
                <a:xfrm flipH="1">
                  <a:off x="6479979"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7AF2F263-595C-474D-8F0A-BE804BB576D7}"/>
                    </a:ext>
                  </a:extLst>
                </p:cNvPr>
                <p:cNvCxnSpPr>
                  <a:cxnSpLocks/>
                </p:cNvCxnSpPr>
                <p:nvPr/>
              </p:nvCxnSpPr>
              <p:spPr>
                <a:xfrm flipH="1">
                  <a:off x="5941325"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CCAE4F87-96DE-F244-A7B5-F41F02EEB7AB}"/>
                    </a:ext>
                  </a:extLst>
                </p:cNvPr>
                <p:cNvCxnSpPr>
                  <a:cxnSpLocks/>
                </p:cNvCxnSpPr>
                <p:nvPr/>
              </p:nvCxnSpPr>
              <p:spPr>
                <a:xfrm>
                  <a:off x="7014898"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C201273A-5052-2C48-9EE6-B13FFAD54CAC}"/>
                    </a:ext>
                  </a:extLst>
                </p:cNvPr>
                <p:cNvCxnSpPr/>
                <p:nvPr/>
              </p:nvCxnSpPr>
              <p:spPr>
                <a:xfrm flipV="1">
                  <a:off x="609087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BEB1D790-0ACD-0D47-86D4-34DC71B0E162}"/>
                    </a:ext>
                  </a:extLst>
                </p:cNvPr>
                <p:cNvCxnSpPr>
                  <a:cxnSpLocks/>
                </p:cNvCxnSpPr>
                <p:nvPr/>
              </p:nvCxnSpPr>
              <p:spPr>
                <a:xfrm flipH="1" flipV="1">
                  <a:off x="662579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A5E0F479-4893-EC4D-999B-DA9E43EC1AA8}"/>
                    </a:ext>
                  </a:extLst>
                </p:cNvPr>
                <p:cNvCxnSpPr>
                  <a:cxnSpLocks/>
                </p:cNvCxnSpPr>
                <p:nvPr/>
              </p:nvCxnSpPr>
              <p:spPr>
                <a:xfrm flipH="1" flipV="1">
                  <a:off x="662579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5D3F44CB-37F7-1146-8BFD-0750C959E3E0}"/>
                    </a:ext>
                  </a:extLst>
                </p:cNvPr>
                <p:cNvCxnSpPr>
                  <a:cxnSpLocks/>
                </p:cNvCxnSpPr>
                <p:nvPr/>
              </p:nvCxnSpPr>
              <p:spPr>
                <a:xfrm>
                  <a:off x="662579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A9C02803-D1AE-914E-A476-9AACD48B53B7}"/>
                    </a:ext>
                  </a:extLst>
                </p:cNvPr>
                <p:cNvCxnSpPr>
                  <a:cxnSpLocks/>
                </p:cNvCxnSpPr>
                <p:nvPr/>
              </p:nvCxnSpPr>
              <p:spPr>
                <a:xfrm>
                  <a:off x="716445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D7082FFE-F027-4D4A-8EC7-B1891F90292C}"/>
                    </a:ext>
                  </a:extLst>
                </p:cNvPr>
                <p:cNvCxnSpPr>
                  <a:cxnSpLocks/>
                </p:cNvCxnSpPr>
                <p:nvPr/>
              </p:nvCxnSpPr>
              <p:spPr>
                <a:xfrm flipH="1">
                  <a:off x="662953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CF84BFE0-4CD8-184D-9F74-88195C02D6C7}"/>
                    </a:ext>
                  </a:extLst>
                </p:cNvPr>
                <p:cNvCxnSpPr>
                  <a:cxnSpLocks/>
                </p:cNvCxnSpPr>
                <p:nvPr/>
              </p:nvCxnSpPr>
              <p:spPr>
                <a:xfrm flipH="1">
                  <a:off x="609087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94B266AA-B1A7-7948-8144-B57DEAD7A69C}"/>
                    </a:ext>
                  </a:extLst>
                </p:cNvPr>
                <p:cNvCxnSpPr>
                  <a:cxnSpLocks/>
                </p:cNvCxnSpPr>
                <p:nvPr/>
              </p:nvCxnSpPr>
              <p:spPr>
                <a:xfrm>
                  <a:off x="716445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3F403F39-6767-FD44-B686-6E966B3C5645}"/>
                    </a:ext>
                  </a:extLst>
                </p:cNvPr>
                <p:cNvCxnSpPr/>
                <p:nvPr/>
              </p:nvCxnSpPr>
              <p:spPr>
                <a:xfrm flipV="1">
                  <a:off x="586654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BA4D7F2F-A11B-AF4F-8BF0-983403B97899}"/>
                    </a:ext>
                  </a:extLst>
                </p:cNvPr>
                <p:cNvCxnSpPr>
                  <a:cxnSpLocks/>
                </p:cNvCxnSpPr>
                <p:nvPr/>
              </p:nvCxnSpPr>
              <p:spPr>
                <a:xfrm flipH="1" flipV="1">
                  <a:off x="640146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A071FB0D-4EB2-C345-9C38-24E607D4E3BE}"/>
                    </a:ext>
                  </a:extLst>
                </p:cNvPr>
                <p:cNvCxnSpPr>
                  <a:cxnSpLocks/>
                </p:cNvCxnSpPr>
                <p:nvPr/>
              </p:nvCxnSpPr>
              <p:spPr>
                <a:xfrm flipH="1" flipV="1">
                  <a:off x="640146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249F9012-0970-5C43-A84D-C210E4C6544E}"/>
                    </a:ext>
                  </a:extLst>
                </p:cNvPr>
                <p:cNvCxnSpPr>
                  <a:cxnSpLocks/>
                </p:cNvCxnSpPr>
                <p:nvPr/>
              </p:nvCxnSpPr>
              <p:spPr>
                <a:xfrm>
                  <a:off x="640146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D0AB873A-0BA8-DC4C-9D02-73C765E7DB23}"/>
                    </a:ext>
                  </a:extLst>
                </p:cNvPr>
                <p:cNvCxnSpPr>
                  <a:cxnSpLocks/>
                </p:cNvCxnSpPr>
                <p:nvPr/>
              </p:nvCxnSpPr>
              <p:spPr>
                <a:xfrm>
                  <a:off x="69401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1448CC0A-B382-6847-861A-FDFC7BC837B9}"/>
                    </a:ext>
                  </a:extLst>
                </p:cNvPr>
                <p:cNvCxnSpPr>
                  <a:cxnSpLocks/>
                </p:cNvCxnSpPr>
                <p:nvPr/>
              </p:nvCxnSpPr>
              <p:spPr>
                <a:xfrm flipH="1">
                  <a:off x="64052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6965AFB9-C52A-304D-8D2E-173DD27F012F}"/>
                    </a:ext>
                  </a:extLst>
                </p:cNvPr>
                <p:cNvCxnSpPr>
                  <a:cxnSpLocks/>
                </p:cNvCxnSpPr>
                <p:nvPr/>
              </p:nvCxnSpPr>
              <p:spPr>
                <a:xfrm flipH="1">
                  <a:off x="586654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8C7EB7B9-A1A0-F743-B13B-EB073AE03EE8}"/>
                    </a:ext>
                  </a:extLst>
                </p:cNvPr>
                <p:cNvCxnSpPr>
                  <a:cxnSpLocks/>
                </p:cNvCxnSpPr>
                <p:nvPr/>
              </p:nvCxnSpPr>
              <p:spPr>
                <a:xfrm>
                  <a:off x="69401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16" name="Group 315"/>
              <p:cNvGrpSpPr>
                <a:grpSpLocks noChangeAspect="1"/>
              </p:cNvGrpSpPr>
              <p:nvPr/>
            </p:nvGrpSpPr>
            <p:grpSpPr>
              <a:xfrm rot="974379">
                <a:off x="5993010" y="1205719"/>
                <a:ext cx="297676" cy="364360"/>
                <a:chOff x="4929188" y="1022351"/>
                <a:chExt cx="687388" cy="841375"/>
              </a:xfrm>
            </p:grpSpPr>
            <p:sp>
              <p:nvSpPr>
                <p:cNvPr id="325" name="Freeform 124"/>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26" name="Freeform 125"/>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27" name="Freeform 126"/>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28" name="Freeform 127"/>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29" name="Freeform 128"/>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30" name="Freeform 129"/>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31" name="Freeform 130"/>
                <p:cNvSpPr>
                  <a:spLocks/>
                </p:cNvSpPr>
                <p:nvPr/>
              </p:nvSpPr>
              <p:spPr bwMode="auto">
                <a:xfrm>
                  <a:off x="5468938"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grpSp>
          <p:grpSp>
            <p:nvGrpSpPr>
              <p:cNvPr id="317" name="Group 316"/>
              <p:cNvGrpSpPr>
                <a:grpSpLocks noChangeAspect="1"/>
              </p:cNvGrpSpPr>
              <p:nvPr/>
            </p:nvGrpSpPr>
            <p:grpSpPr>
              <a:xfrm rot="10230679">
                <a:off x="6341186" y="1803921"/>
                <a:ext cx="302884" cy="370735"/>
                <a:chOff x="4929188" y="1022351"/>
                <a:chExt cx="687388" cy="841375"/>
              </a:xfrm>
            </p:grpSpPr>
            <p:sp>
              <p:nvSpPr>
                <p:cNvPr id="318" name="Freeform 124"/>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19" name="Freeform 125"/>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20" name="Freeform 126"/>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21" name="Freeform 127"/>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22" name="Freeform 128"/>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23" name="Freeform 129"/>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24" name="Freeform 130"/>
                <p:cNvSpPr>
                  <a:spLocks/>
                </p:cNvSpPr>
                <p:nvPr/>
              </p:nvSpPr>
              <p:spPr bwMode="auto">
                <a:xfrm>
                  <a:off x="5468938"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grpSp>
        </p:grpSp>
        <p:pic>
          <p:nvPicPr>
            <p:cNvPr id="313" name="Picture 3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20457" y="1414604"/>
              <a:ext cx="586964" cy="586964"/>
            </a:xfrm>
            <a:prstGeom prst="rect">
              <a:avLst/>
            </a:prstGeom>
          </p:spPr>
        </p:pic>
        <p:grpSp>
          <p:nvGrpSpPr>
            <p:cNvPr id="295" name="Group 294"/>
            <p:cNvGrpSpPr>
              <a:grpSpLocks noChangeAspect="1"/>
            </p:cNvGrpSpPr>
            <p:nvPr/>
          </p:nvGrpSpPr>
          <p:grpSpPr>
            <a:xfrm rot="12754484" flipV="1">
              <a:off x="7457150" y="1955461"/>
              <a:ext cx="229738" cy="97541"/>
              <a:chOff x="7413625" y="908051"/>
              <a:chExt cx="1162844" cy="493712"/>
            </a:xfrm>
          </p:grpSpPr>
          <p:sp>
            <p:nvSpPr>
              <p:cNvPr id="304" name="Freeform 61"/>
              <p:cNvSpPr>
                <a:spLocks noEditPoints="1"/>
              </p:cNvSpPr>
              <p:nvPr/>
            </p:nvSpPr>
            <p:spPr bwMode="auto">
              <a:xfrm>
                <a:off x="7413625" y="1093788"/>
                <a:ext cx="1160463" cy="122237"/>
              </a:xfrm>
              <a:custGeom>
                <a:avLst/>
                <a:gdLst>
                  <a:gd name="T0" fmla="*/ 654 w 664"/>
                  <a:gd name="T1" fmla="*/ 60 h 70"/>
                  <a:gd name="T2" fmla="*/ 653 w 664"/>
                  <a:gd name="T3" fmla="*/ 60 h 70"/>
                  <a:gd name="T4" fmla="*/ 653 w 664"/>
                  <a:gd name="T5" fmla="*/ 60 h 70"/>
                  <a:gd name="T6" fmla="*/ 654 w 664"/>
                  <a:gd name="T7" fmla="*/ 60 h 70"/>
                  <a:gd name="T8" fmla="*/ 654 w 664"/>
                  <a:gd name="T9" fmla="*/ 60 h 70"/>
                  <a:gd name="T10" fmla="*/ 654 w 664"/>
                  <a:gd name="T11" fmla="*/ 60 h 70"/>
                  <a:gd name="T12" fmla="*/ 654 w 664"/>
                  <a:gd name="T13" fmla="*/ 60 h 70"/>
                  <a:gd name="T14" fmla="*/ 654 w 664"/>
                  <a:gd name="T15" fmla="*/ 60 h 70"/>
                  <a:gd name="T16" fmla="*/ 654 w 664"/>
                  <a:gd name="T17" fmla="*/ 60 h 70"/>
                  <a:gd name="T18" fmla="*/ 654 w 664"/>
                  <a:gd name="T19" fmla="*/ 60 h 70"/>
                  <a:gd name="T20" fmla="*/ 654 w 664"/>
                  <a:gd name="T21" fmla="*/ 59 h 70"/>
                  <a:gd name="T22" fmla="*/ 654 w 664"/>
                  <a:gd name="T23" fmla="*/ 59 h 70"/>
                  <a:gd name="T24" fmla="*/ 654 w 664"/>
                  <a:gd name="T25" fmla="*/ 59 h 70"/>
                  <a:gd name="T26" fmla="*/ 661 w 664"/>
                  <a:gd name="T27" fmla="*/ 49 h 70"/>
                  <a:gd name="T28" fmla="*/ 661 w 664"/>
                  <a:gd name="T29" fmla="*/ 49 h 70"/>
                  <a:gd name="T30" fmla="*/ 661 w 664"/>
                  <a:gd name="T31" fmla="*/ 49 h 70"/>
                  <a:gd name="T32" fmla="*/ 661 w 664"/>
                  <a:gd name="T33" fmla="*/ 20 h 70"/>
                  <a:gd name="T34" fmla="*/ 664 w 664"/>
                  <a:gd name="T35" fmla="*/ 35 h 70"/>
                  <a:gd name="T36" fmla="*/ 661 w 664"/>
                  <a:gd name="T37" fmla="*/ 49 h 70"/>
                  <a:gd name="T38" fmla="*/ 664 w 664"/>
                  <a:gd name="T39" fmla="*/ 35 h 70"/>
                  <a:gd name="T40" fmla="*/ 661 w 664"/>
                  <a:gd name="T41" fmla="*/ 20 h 70"/>
                  <a:gd name="T42" fmla="*/ 660 w 664"/>
                  <a:gd name="T43" fmla="*/ 20 h 70"/>
                  <a:gd name="T44" fmla="*/ 660 w 664"/>
                  <a:gd name="T45" fmla="*/ 20 h 70"/>
                  <a:gd name="T46" fmla="*/ 660 w 664"/>
                  <a:gd name="T47" fmla="*/ 20 h 70"/>
                  <a:gd name="T48" fmla="*/ 654 w 664"/>
                  <a:gd name="T49" fmla="*/ 11 h 70"/>
                  <a:gd name="T50" fmla="*/ 654 w 664"/>
                  <a:gd name="T51" fmla="*/ 11 h 70"/>
                  <a:gd name="T52" fmla="*/ 654 w 664"/>
                  <a:gd name="T53" fmla="*/ 11 h 70"/>
                  <a:gd name="T54" fmla="*/ 654 w 664"/>
                  <a:gd name="T55" fmla="*/ 11 h 70"/>
                  <a:gd name="T56" fmla="*/ 654 w 664"/>
                  <a:gd name="T57" fmla="*/ 11 h 70"/>
                  <a:gd name="T58" fmla="*/ 654 w 664"/>
                  <a:gd name="T59" fmla="*/ 11 h 70"/>
                  <a:gd name="T60" fmla="*/ 653 w 664"/>
                  <a:gd name="T61" fmla="*/ 10 h 70"/>
                  <a:gd name="T62" fmla="*/ 653 w 664"/>
                  <a:gd name="T63" fmla="*/ 10 h 70"/>
                  <a:gd name="T64" fmla="*/ 653 w 664"/>
                  <a:gd name="T65" fmla="*/ 10 h 70"/>
                  <a:gd name="T66" fmla="*/ 654 w 664"/>
                  <a:gd name="T67" fmla="*/ 11 h 70"/>
                  <a:gd name="T68" fmla="*/ 653 w 664"/>
                  <a:gd name="T69" fmla="*/ 10 h 70"/>
                  <a:gd name="T70" fmla="*/ 543 w 664"/>
                  <a:gd name="T71" fmla="*/ 0 h 70"/>
                  <a:gd name="T72" fmla="*/ 35 w 664"/>
                  <a:gd name="T73" fmla="*/ 0 h 70"/>
                  <a:gd name="T74" fmla="*/ 0 w 664"/>
                  <a:gd name="T75" fmla="*/ 35 h 70"/>
                  <a:gd name="T76" fmla="*/ 35 w 664"/>
                  <a:gd name="T77" fmla="*/ 70 h 70"/>
                  <a:gd name="T78" fmla="*/ 543 w 664"/>
                  <a:gd name="T79" fmla="*/ 70 h 70"/>
                  <a:gd name="T80" fmla="*/ 578 w 664"/>
                  <a:gd name="T81" fmla="*/ 35 h 70"/>
                  <a:gd name="T82" fmla="*/ 543 w 664"/>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4" h="70">
                    <a:moveTo>
                      <a:pt x="654" y="60"/>
                    </a:moveTo>
                    <a:cubicBezTo>
                      <a:pt x="653" y="60"/>
                      <a:pt x="653" y="60"/>
                      <a:pt x="653" y="60"/>
                    </a:cubicBezTo>
                    <a:cubicBezTo>
                      <a:pt x="653" y="60"/>
                      <a:pt x="653" y="60"/>
                      <a:pt x="653" y="60"/>
                    </a:cubicBezTo>
                    <a:cubicBezTo>
                      <a:pt x="653" y="60"/>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59"/>
                    </a:moveTo>
                    <a:cubicBezTo>
                      <a:pt x="654" y="59"/>
                      <a:pt x="654" y="59"/>
                      <a:pt x="654" y="59"/>
                    </a:cubicBezTo>
                    <a:cubicBezTo>
                      <a:pt x="654" y="59"/>
                      <a:pt x="654" y="59"/>
                      <a:pt x="654" y="59"/>
                    </a:cubicBezTo>
                    <a:moveTo>
                      <a:pt x="661" y="49"/>
                    </a:moveTo>
                    <a:cubicBezTo>
                      <a:pt x="661" y="49"/>
                      <a:pt x="661" y="49"/>
                      <a:pt x="661" y="49"/>
                    </a:cubicBezTo>
                    <a:cubicBezTo>
                      <a:pt x="661" y="49"/>
                      <a:pt x="661" y="49"/>
                      <a:pt x="661" y="49"/>
                    </a:cubicBezTo>
                    <a:moveTo>
                      <a:pt x="661" y="20"/>
                    </a:moveTo>
                    <a:cubicBezTo>
                      <a:pt x="663" y="25"/>
                      <a:pt x="664" y="30"/>
                      <a:pt x="664" y="35"/>
                    </a:cubicBezTo>
                    <a:cubicBezTo>
                      <a:pt x="664" y="40"/>
                      <a:pt x="663" y="45"/>
                      <a:pt x="661" y="49"/>
                    </a:cubicBezTo>
                    <a:cubicBezTo>
                      <a:pt x="663" y="45"/>
                      <a:pt x="664" y="40"/>
                      <a:pt x="664" y="35"/>
                    </a:cubicBezTo>
                    <a:cubicBezTo>
                      <a:pt x="664" y="30"/>
                      <a:pt x="663" y="25"/>
                      <a:pt x="661" y="20"/>
                    </a:cubicBezTo>
                    <a:moveTo>
                      <a:pt x="660" y="20"/>
                    </a:moveTo>
                    <a:cubicBezTo>
                      <a:pt x="660" y="20"/>
                      <a:pt x="660" y="20"/>
                      <a:pt x="660" y="20"/>
                    </a:cubicBezTo>
                    <a:cubicBezTo>
                      <a:pt x="660" y="20"/>
                      <a:pt x="660" y="20"/>
                      <a:pt x="660" y="20"/>
                    </a:cubicBezTo>
                    <a:moveTo>
                      <a:pt x="654" y="11"/>
                    </a:moveTo>
                    <a:cubicBezTo>
                      <a:pt x="654" y="11"/>
                      <a:pt x="654" y="11"/>
                      <a:pt x="654" y="11"/>
                    </a:cubicBezTo>
                    <a:cubicBezTo>
                      <a:pt x="654" y="11"/>
                      <a:pt x="654" y="11"/>
                      <a:pt x="654" y="11"/>
                    </a:cubicBezTo>
                    <a:moveTo>
                      <a:pt x="654" y="11"/>
                    </a:moveTo>
                    <a:cubicBezTo>
                      <a:pt x="654" y="11"/>
                      <a:pt x="654" y="11"/>
                      <a:pt x="654" y="11"/>
                    </a:cubicBezTo>
                    <a:cubicBezTo>
                      <a:pt x="654" y="11"/>
                      <a:pt x="654" y="11"/>
                      <a:pt x="654" y="11"/>
                    </a:cubicBezTo>
                    <a:moveTo>
                      <a:pt x="653" y="10"/>
                    </a:moveTo>
                    <a:cubicBezTo>
                      <a:pt x="653" y="10"/>
                      <a:pt x="653" y="10"/>
                      <a:pt x="653" y="10"/>
                    </a:cubicBezTo>
                    <a:cubicBezTo>
                      <a:pt x="653" y="10"/>
                      <a:pt x="653" y="10"/>
                      <a:pt x="653" y="10"/>
                    </a:cubicBezTo>
                    <a:cubicBezTo>
                      <a:pt x="654" y="10"/>
                      <a:pt x="654" y="11"/>
                      <a:pt x="654" y="11"/>
                    </a:cubicBezTo>
                    <a:cubicBezTo>
                      <a:pt x="654" y="11"/>
                      <a:pt x="654" y="10"/>
                      <a:pt x="653" y="10"/>
                    </a:cubicBezTo>
                    <a:moveTo>
                      <a:pt x="543" y="0"/>
                    </a:moveTo>
                    <a:cubicBezTo>
                      <a:pt x="35" y="0"/>
                      <a:pt x="35" y="0"/>
                      <a:pt x="35" y="0"/>
                    </a:cubicBezTo>
                    <a:cubicBezTo>
                      <a:pt x="15" y="0"/>
                      <a:pt x="0" y="16"/>
                      <a:pt x="0" y="35"/>
                    </a:cubicBezTo>
                    <a:cubicBezTo>
                      <a:pt x="0" y="55"/>
                      <a:pt x="15" y="70"/>
                      <a:pt x="35" y="70"/>
                    </a:cubicBezTo>
                    <a:cubicBezTo>
                      <a:pt x="543" y="70"/>
                      <a:pt x="543" y="70"/>
                      <a:pt x="543" y="70"/>
                    </a:cubicBezTo>
                    <a:cubicBezTo>
                      <a:pt x="578" y="35"/>
                      <a:pt x="578" y="35"/>
                      <a:pt x="578" y="35"/>
                    </a:cubicBezTo>
                    <a:cubicBezTo>
                      <a:pt x="543" y="0"/>
                      <a:pt x="543" y="0"/>
                      <a:pt x="54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05" name="Freeform 62"/>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06" name="Freeform 63"/>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07" name="Freeform 64"/>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08" name="Freeform 65"/>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09" name="Freeform 66"/>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10" name="Freeform 67"/>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grpSp>
        <p:grpSp>
          <p:nvGrpSpPr>
            <p:cNvPr id="296" name="Group 295"/>
            <p:cNvGrpSpPr>
              <a:grpSpLocks noChangeAspect="1"/>
            </p:cNvGrpSpPr>
            <p:nvPr/>
          </p:nvGrpSpPr>
          <p:grpSpPr>
            <a:xfrm rot="1750739" flipV="1">
              <a:off x="7505049" y="1880137"/>
              <a:ext cx="229738" cy="97541"/>
              <a:chOff x="7413625" y="908051"/>
              <a:chExt cx="1162844" cy="493712"/>
            </a:xfrm>
          </p:grpSpPr>
          <p:sp>
            <p:nvSpPr>
              <p:cNvPr id="297" name="Freeform 61"/>
              <p:cNvSpPr>
                <a:spLocks noEditPoints="1"/>
              </p:cNvSpPr>
              <p:nvPr/>
            </p:nvSpPr>
            <p:spPr bwMode="auto">
              <a:xfrm>
                <a:off x="7413625" y="1093788"/>
                <a:ext cx="1160463" cy="122237"/>
              </a:xfrm>
              <a:custGeom>
                <a:avLst/>
                <a:gdLst>
                  <a:gd name="T0" fmla="*/ 654 w 664"/>
                  <a:gd name="T1" fmla="*/ 60 h 70"/>
                  <a:gd name="T2" fmla="*/ 653 w 664"/>
                  <a:gd name="T3" fmla="*/ 60 h 70"/>
                  <a:gd name="T4" fmla="*/ 653 w 664"/>
                  <a:gd name="T5" fmla="*/ 60 h 70"/>
                  <a:gd name="T6" fmla="*/ 654 w 664"/>
                  <a:gd name="T7" fmla="*/ 60 h 70"/>
                  <a:gd name="T8" fmla="*/ 654 w 664"/>
                  <a:gd name="T9" fmla="*/ 60 h 70"/>
                  <a:gd name="T10" fmla="*/ 654 w 664"/>
                  <a:gd name="T11" fmla="*/ 60 h 70"/>
                  <a:gd name="T12" fmla="*/ 654 w 664"/>
                  <a:gd name="T13" fmla="*/ 60 h 70"/>
                  <a:gd name="T14" fmla="*/ 654 w 664"/>
                  <a:gd name="T15" fmla="*/ 60 h 70"/>
                  <a:gd name="T16" fmla="*/ 654 w 664"/>
                  <a:gd name="T17" fmla="*/ 60 h 70"/>
                  <a:gd name="T18" fmla="*/ 654 w 664"/>
                  <a:gd name="T19" fmla="*/ 60 h 70"/>
                  <a:gd name="T20" fmla="*/ 654 w 664"/>
                  <a:gd name="T21" fmla="*/ 59 h 70"/>
                  <a:gd name="T22" fmla="*/ 654 w 664"/>
                  <a:gd name="T23" fmla="*/ 59 h 70"/>
                  <a:gd name="T24" fmla="*/ 654 w 664"/>
                  <a:gd name="T25" fmla="*/ 59 h 70"/>
                  <a:gd name="T26" fmla="*/ 661 w 664"/>
                  <a:gd name="T27" fmla="*/ 49 h 70"/>
                  <a:gd name="T28" fmla="*/ 661 w 664"/>
                  <a:gd name="T29" fmla="*/ 49 h 70"/>
                  <a:gd name="T30" fmla="*/ 661 w 664"/>
                  <a:gd name="T31" fmla="*/ 49 h 70"/>
                  <a:gd name="T32" fmla="*/ 661 w 664"/>
                  <a:gd name="T33" fmla="*/ 20 h 70"/>
                  <a:gd name="T34" fmla="*/ 664 w 664"/>
                  <a:gd name="T35" fmla="*/ 35 h 70"/>
                  <a:gd name="T36" fmla="*/ 661 w 664"/>
                  <a:gd name="T37" fmla="*/ 49 h 70"/>
                  <a:gd name="T38" fmla="*/ 664 w 664"/>
                  <a:gd name="T39" fmla="*/ 35 h 70"/>
                  <a:gd name="T40" fmla="*/ 661 w 664"/>
                  <a:gd name="T41" fmla="*/ 20 h 70"/>
                  <a:gd name="T42" fmla="*/ 660 w 664"/>
                  <a:gd name="T43" fmla="*/ 20 h 70"/>
                  <a:gd name="T44" fmla="*/ 660 w 664"/>
                  <a:gd name="T45" fmla="*/ 20 h 70"/>
                  <a:gd name="T46" fmla="*/ 660 w 664"/>
                  <a:gd name="T47" fmla="*/ 20 h 70"/>
                  <a:gd name="T48" fmla="*/ 654 w 664"/>
                  <a:gd name="T49" fmla="*/ 11 h 70"/>
                  <a:gd name="T50" fmla="*/ 654 w 664"/>
                  <a:gd name="T51" fmla="*/ 11 h 70"/>
                  <a:gd name="T52" fmla="*/ 654 w 664"/>
                  <a:gd name="T53" fmla="*/ 11 h 70"/>
                  <a:gd name="T54" fmla="*/ 654 w 664"/>
                  <a:gd name="T55" fmla="*/ 11 h 70"/>
                  <a:gd name="T56" fmla="*/ 654 w 664"/>
                  <a:gd name="T57" fmla="*/ 11 h 70"/>
                  <a:gd name="T58" fmla="*/ 654 w 664"/>
                  <a:gd name="T59" fmla="*/ 11 h 70"/>
                  <a:gd name="T60" fmla="*/ 653 w 664"/>
                  <a:gd name="T61" fmla="*/ 10 h 70"/>
                  <a:gd name="T62" fmla="*/ 653 w 664"/>
                  <a:gd name="T63" fmla="*/ 10 h 70"/>
                  <a:gd name="T64" fmla="*/ 653 w 664"/>
                  <a:gd name="T65" fmla="*/ 10 h 70"/>
                  <a:gd name="T66" fmla="*/ 654 w 664"/>
                  <a:gd name="T67" fmla="*/ 11 h 70"/>
                  <a:gd name="T68" fmla="*/ 653 w 664"/>
                  <a:gd name="T69" fmla="*/ 10 h 70"/>
                  <a:gd name="T70" fmla="*/ 543 w 664"/>
                  <a:gd name="T71" fmla="*/ 0 h 70"/>
                  <a:gd name="T72" fmla="*/ 35 w 664"/>
                  <a:gd name="T73" fmla="*/ 0 h 70"/>
                  <a:gd name="T74" fmla="*/ 0 w 664"/>
                  <a:gd name="T75" fmla="*/ 35 h 70"/>
                  <a:gd name="T76" fmla="*/ 35 w 664"/>
                  <a:gd name="T77" fmla="*/ 70 h 70"/>
                  <a:gd name="T78" fmla="*/ 543 w 664"/>
                  <a:gd name="T79" fmla="*/ 70 h 70"/>
                  <a:gd name="T80" fmla="*/ 578 w 664"/>
                  <a:gd name="T81" fmla="*/ 35 h 70"/>
                  <a:gd name="T82" fmla="*/ 543 w 664"/>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4" h="70">
                    <a:moveTo>
                      <a:pt x="654" y="60"/>
                    </a:moveTo>
                    <a:cubicBezTo>
                      <a:pt x="653" y="60"/>
                      <a:pt x="653" y="60"/>
                      <a:pt x="653" y="60"/>
                    </a:cubicBezTo>
                    <a:cubicBezTo>
                      <a:pt x="653" y="60"/>
                      <a:pt x="653" y="60"/>
                      <a:pt x="653" y="60"/>
                    </a:cubicBezTo>
                    <a:cubicBezTo>
                      <a:pt x="653" y="60"/>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59"/>
                    </a:moveTo>
                    <a:cubicBezTo>
                      <a:pt x="654" y="59"/>
                      <a:pt x="654" y="59"/>
                      <a:pt x="654" y="59"/>
                    </a:cubicBezTo>
                    <a:cubicBezTo>
                      <a:pt x="654" y="59"/>
                      <a:pt x="654" y="59"/>
                      <a:pt x="654" y="59"/>
                    </a:cubicBezTo>
                    <a:moveTo>
                      <a:pt x="661" y="49"/>
                    </a:moveTo>
                    <a:cubicBezTo>
                      <a:pt x="661" y="49"/>
                      <a:pt x="661" y="49"/>
                      <a:pt x="661" y="49"/>
                    </a:cubicBezTo>
                    <a:cubicBezTo>
                      <a:pt x="661" y="49"/>
                      <a:pt x="661" y="49"/>
                      <a:pt x="661" y="49"/>
                    </a:cubicBezTo>
                    <a:moveTo>
                      <a:pt x="661" y="20"/>
                    </a:moveTo>
                    <a:cubicBezTo>
                      <a:pt x="663" y="25"/>
                      <a:pt x="664" y="30"/>
                      <a:pt x="664" y="35"/>
                    </a:cubicBezTo>
                    <a:cubicBezTo>
                      <a:pt x="664" y="40"/>
                      <a:pt x="663" y="45"/>
                      <a:pt x="661" y="49"/>
                    </a:cubicBezTo>
                    <a:cubicBezTo>
                      <a:pt x="663" y="45"/>
                      <a:pt x="664" y="40"/>
                      <a:pt x="664" y="35"/>
                    </a:cubicBezTo>
                    <a:cubicBezTo>
                      <a:pt x="664" y="30"/>
                      <a:pt x="663" y="25"/>
                      <a:pt x="661" y="20"/>
                    </a:cubicBezTo>
                    <a:moveTo>
                      <a:pt x="660" y="20"/>
                    </a:moveTo>
                    <a:cubicBezTo>
                      <a:pt x="660" y="20"/>
                      <a:pt x="660" y="20"/>
                      <a:pt x="660" y="20"/>
                    </a:cubicBezTo>
                    <a:cubicBezTo>
                      <a:pt x="660" y="20"/>
                      <a:pt x="660" y="20"/>
                      <a:pt x="660" y="20"/>
                    </a:cubicBezTo>
                    <a:moveTo>
                      <a:pt x="654" y="11"/>
                    </a:moveTo>
                    <a:cubicBezTo>
                      <a:pt x="654" y="11"/>
                      <a:pt x="654" y="11"/>
                      <a:pt x="654" y="11"/>
                    </a:cubicBezTo>
                    <a:cubicBezTo>
                      <a:pt x="654" y="11"/>
                      <a:pt x="654" y="11"/>
                      <a:pt x="654" y="11"/>
                    </a:cubicBezTo>
                    <a:moveTo>
                      <a:pt x="654" y="11"/>
                    </a:moveTo>
                    <a:cubicBezTo>
                      <a:pt x="654" y="11"/>
                      <a:pt x="654" y="11"/>
                      <a:pt x="654" y="11"/>
                    </a:cubicBezTo>
                    <a:cubicBezTo>
                      <a:pt x="654" y="11"/>
                      <a:pt x="654" y="11"/>
                      <a:pt x="654" y="11"/>
                    </a:cubicBezTo>
                    <a:moveTo>
                      <a:pt x="653" y="10"/>
                    </a:moveTo>
                    <a:cubicBezTo>
                      <a:pt x="653" y="10"/>
                      <a:pt x="653" y="10"/>
                      <a:pt x="653" y="10"/>
                    </a:cubicBezTo>
                    <a:cubicBezTo>
                      <a:pt x="653" y="10"/>
                      <a:pt x="653" y="10"/>
                      <a:pt x="653" y="10"/>
                    </a:cubicBezTo>
                    <a:cubicBezTo>
                      <a:pt x="654" y="10"/>
                      <a:pt x="654" y="11"/>
                      <a:pt x="654" y="11"/>
                    </a:cubicBezTo>
                    <a:cubicBezTo>
                      <a:pt x="654" y="11"/>
                      <a:pt x="654" y="10"/>
                      <a:pt x="653" y="10"/>
                    </a:cubicBezTo>
                    <a:moveTo>
                      <a:pt x="543" y="0"/>
                    </a:moveTo>
                    <a:cubicBezTo>
                      <a:pt x="35" y="0"/>
                      <a:pt x="35" y="0"/>
                      <a:pt x="35" y="0"/>
                    </a:cubicBezTo>
                    <a:cubicBezTo>
                      <a:pt x="15" y="0"/>
                      <a:pt x="0" y="16"/>
                      <a:pt x="0" y="35"/>
                    </a:cubicBezTo>
                    <a:cubicBezTo>
                      <a:pt x="0" y="55"/>
                      <a:pt x="15" y="70"/>
                      <a:pt x="35" y="70"/>
                    </a:cubicBezTo>
                    <a:cubicBezTo>
                      <a:pt x="543" y="70"/>
                      <a:pt x="543" y="70"/>
                      <a:pt x="543" y="70"/>
                    </a:cubicBezTo>
                    <a:cubicBezTo>
                      <a:pt x="578" y="35"/>
                      <a:pt x="578" y="35"/>
                      <a:pt x="578" y="35"/>
                    </a:cubicBezTo>
                    <a:cubicBezTo>
                      <a:pt x="543" y="0"/>
                      <a:pt x="543" y="0"/>
                      <a:pt x="54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98" name="Freeform 62"/>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99" name="Freeform 63"/>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00" name="Freeform 64"/>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01" name="Freeform 65"/>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02" name="Freeform 66"/>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303" name="Freeform 67"/>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grpSp>
      </p:grpSp>
      <p:sp>
        <p:nvSpPr>
          <p:cNvPr id="18" name="Rectangle 17"/>
          <p:cNvSpPr/>
          <p:nvPr/>
        </p:nvSpPr>
        <p:spPr>
          <a:xfrm>
            <a:off x="2604861" y="1266864"/>
            <a:ext cx="1946267" cy="1539636"/>
          </a:xfrm>
          <a:prstGeom prst="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 name="Title 1">
            <a:extLst>
              <a:ext uri="{FF2B5EF4-FFF2-40B4-BE49-F238E27FC236}">
                <a16:creationId xmlns:a16="http://schemas.microsoft.com/office/drawing/2014/main" id="{A943B545-77C9-544C-B940-F487C2886375}"/>
              </a:ext>
            </a:extLst>
          </p:cNvPr>
          <p:cNvSpPr>
            <a:spLocks noGrp="1"/>
          </p:cNvSpPr>
          <p:nvPr>
            <p:ph type="title"/>
          </p:nvPr>
        </p:nvSpPr>
        <p:spPr/>
        <p:txBody>
          <a:bodyPr/>
          <a:lstStyle/>
          <a:p>
            <a:r>
              <a:rPr lang="en-US" dirty="0"/>
              <a:t>Cisco Fabric Routing </a:t>
            </a:r>
            <a:r>
              <a:rPr lang="mr-IN" dirty="0"/>
              <a:t>–</a:t>
            </a:r>
            <a:r>
              <a:rPr lang="en-US" dirty="0"/>
              <a:t> Simplified Operations Enabled through Automation</a:t>
            </a:r>
          </a:p>
        </p:txBody>
      </p:sp>
      <p:sp>
        <p:nvSpPr>
          <p:cNvPr id="4" name="Rectangle 3"/>
          <p:cNvSpPr/>
          <p:nvPr/>
        </p:nvSpPr>
        <p:spPr>
          <a:xfrm>
            <a:off x="472736" y="1266864"/>
            <a:ext cx="1924546" cy="1539636"/>
          </a:xfrm>
          <a:prstGeom prst="rect">
            <a:avLst/>
          </a:prstGeom>
          <a:blipFill rotWithShape="1">
            <a:blip r:embed="rId6"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defTabSz="457189">
              <a:defRPr/>
            </a:pPr>
            <a:endParaRPr lang="en-US" dirty="0">
              <a:solidFill>
                <a:srgbClr val="005073">
                  <a:hueOff val="0"/>
                  <a:satOff val="0"/>
                  <a:lumOff val="0"/>
                  <a:alphaOff val="0"/>
                </a:srgbClr>
              </a:solidFill>
              <a:latin typeface="CiscoSansTT ExtraLight"/>
            </a:endParaRPr>
          </a:p>
        </p:txBody>
      </p:sp>
      <p:sp>
        <p:nvSpPr>
          <p:cNvPr id="5" name="Freeform 4"/>
          <p:cNvSpPr/>
          <p:nvPr/>
        </p:nvSpPr>
        <p:spPr>
          <a:xfrm>
            <a:off x="645946" y="2652538"/>
            <a:ext cx="1712846" cy="538872"/>
          </a:xfrm>
          <a:custGeom>
            <a:avLst/>
            <a:gdLst>
              <a:gd name="connsiteX0" fmla="*/ 0 w 1712846"/>
              <a:gd name="connsiteY0" fmla="*/ 0 h 538872"/>
              <a:gd name="connsiteX1" fmla="*/ 999160 w 1712846"/>
              <a:gd name="connsiteY1" fmla="*/ 0 h 538872"/>
              <a:gd name="connsiteX2" fmla="*/ 1203274 w 1712846"/>
              <a:gd name="connsiteY2" fmla="*/ -57659 h 538872"/>
              <a:gd name="connsiteX3" fmla="*/ 1427372 w 1712846"/>
              <a:gd name="connsiteY3" fmla="*/ 0 h 538872"/>
              <a:gd name="connsiteX4" fmla="*/ 1712846 w 1712846"/>
              <a:gd name="connsiteY4" fmla="*/ 0 h 538872"/>
              <a:gd name="connsiteX5" fmla="*/ 1712846 w 1712846"/>
              <a:gd name="connsiteY5" fmla="*/ 89812 h 538872"/>
              <a:gd name="connsiteX6" fmla="*/ 1712846 w 1712846"/>
              <a:gd name="connsiteY6" fmla="*/ 89812 h 538872"/>
              <a:gd name="connsiteX7" fmla="*/ 1712846 w 1712846"/>
              <a:gd name="connsiteY7" fmla="*/ 224530 h 538872"/>
              <a:gd name="connsiteX8" fmla="*/ 1712846 w 1712846"/>
              <a:gd name="connsiteY8" fmla="*/ 538872 h 538872"/>
              <a:gd name="connsiteX9" fmla="*/ 1427372 w 1712846"/>
              <a:gd name="connsiteY9" fmla="*/ 538872 h 538872"/>
              <a:gd name="connsiteX10" fmla="*/ 999160 w 1712846"/>
              <a:gd name="connsiteY10" fmla="*/ 538872 h 538872"/>
              <a:gd name="connsiteX11" fmla="*/ 999160 w 1712846"/>
              <a:gd name="connsiteY11" fmla="*/ 538872 h 538872"/>
              <a:gd name="connsiteX12" fmla="*/ 0 w 1712846"/>
              <a:gd name="connsiteY12" fmla="*/ 538872 h 538872"/>
              <a:gd name="connsiteX13" fmla="*/ 0 w 1712846"/>
              <a:gd name="connsiteY13" fmla="*/ 224530 h 538872"/>
              <a:gd name="connsiteX14" fmla="*/ 0 w 1712846"/>
              <a:gd name="connsiteY14" fmla="*/ 89812 h 538872"/>
              <a:gd name="connsiteX15" fmla="*/ 0 w 1712846"/>
              <a:gd name="connsiteY15" fmla="*/ 89812 h 538872"/>
              <a:gd name="connsiteX16" fmla="*/ 0 w 1712846"/>
              <a:gd name="connsiteY16" fmla="*/ 0 h 53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2846" h="538872">
                <a:moveTo>
                  <a:pt x="0" y="0"/>
                </a:moveTo>
                <a:lnTo>
                  <a:pt x="999160" y="0"/>
                </a:lnTo>
                <a:lnTo>
                  <a:pt x="1203274" y="-57659"/>
                </a:lnTo>
                <a:lnTo>
                  <a:pt x="1427372" y="0"/>
                </a:lnTo>
                <a:lnTo>
                  <a:pt x="1712846" y="0"/>
                </a:lnTo>
                <a:lnTo>
                  <a:pt x="1712846" y="89812"/>
                </a:lnTo>
                <a:lnTo>
                  <a:pt x="1712846" y="89812"/>
                </a:lnTo>
                <a:lnTo>
                  <a:pt x="1712846" y="224530"/>
                </a:lnTo>
                <a:lnTo>
                  <a:pt x="1712846" y="538872"/>
                </a:lnTo>
                <a:lnTo>
                  <a:pt x="1427372" y="538872"/>
                </a:lnTo>
                <a:lnTo>
                  <a:pt x="999160" y="538872"/>
                </a:lnTo>
                <a:lnTo>
                  <a:pt x="999160" y="538872"/>
                </a:lnTo>
                <a:lnTo>
                  <a:pt x="0" y="538872"/>
                </a:lnTo>
                <a:lnTo>
                  <a:pt x="0" y="224530"/>
                </a:lnTo>
                <a:lnTo>
                  <a:pt x="0" y="89812"/>
                </a:lnTo>
                <a:lnTo>
                  <a:pt x="0" y="89812"/>
                </a:lnTo>
                <a:lnTo>
                  <a:pt x="0" y="0"/>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34">
              <a:lnSpc>
                <a:spcPct val="90000"/>
              </a:lnSpc>
              <a:spcAft>
                <a:spcPct val="35000"/>
              </a:spcAft>
              <a:defRPr/>
            </a:pPr>
            <a:r>
              <a:rPr lang="en-US" sz="1500" dirty="0">
                <a:solidFill>
                  <a:schemeClr val="bg2"/>
                </a:solidFill>
                <a:latin typeface="CiscoSansTT ExtraLight"/>
              </a:rPr>
              <a:t>“Lots” of “Small” Devices</a:t>
            </a:r>
          </a:p>
        </p:txBody>
      </p:sp>
      <p:sp>
        <p:nvSpPr>
          <p:cNvPr id="13" name="Freeform 12"/>
          <p:cNvSpPr/>
          <p:nvPr/>
        </p:nvSpPr>
        <p:spPr>
          <a:xfrm>
            <a:off x="2762946" y="2652538"/>
            <a:ext cx="1712846" cy="538872"/>
          </a:xfrm>
          <a:custGeom>
            <a:avLst/>
            <a:gdLst>
              <a:gd name="connsiteX0" fmla="*/ 0 w 1712846"/>
              <a:gd name="connsiteY0" fmla="*/ 0 h 538872"/>
              <a:gd name="connsiteX1" fmla="*/ 999160 w 1712846"/>
              <a:gd name="connsiteY1" fmla="*/ 0 h 538872"/>
              <a:gd name="connsiteX2" fmla="*/ 1203274 w 1712846"/>
              <a:gd name="connsiteY2" fmla="*/ -57659 h 538872"/>
              <a:gd name="connsiteX3" fmla="*/ 1427372 w 1712846"/>
              <a:gd name="connsiteY3" fmla="*/ 0 h 538872"/>
              <a:gd name="connsiteX4" fmla="*/ 1712846 w 1712846"/>
              <a:gd name="connsiteY4" fmla="*/ 0 h 538872"/>
              <a:gd name="connsiteX5" fmla="*/ 1712846 w 1712846"/>
              <a:gd name="connsiteY5" fmla="*/ 89812 h 538872"/>
              <a:gd name="connsiteX6" fmla="*/ 1712846 w 1712846"/>
              <a:gd name="connsiteY6" fmla="*/ 89812 h 538872"/>
              <a:gd name="connsiteX7" fmla="*/ 1712846 w 1712846"/>
              <a:gd name="connsiteY7" fmla="*/ 224530 h 538872"/>
              <a:gd name="connsiteX8" fmla="*/ 1712846 w 1712846"/>
              <a:gd name="connsiteY8" fmla="*/ 538872 h 538872"/>
              <a:gd name="connsiteX9" fmla="*/ 1427372 w 1712846"/>
              <a:gd name="connsiteY9" fmla="*/ 538872 h 538872"/>
              <a:gd name="connsiteX10" fmla="*/ 999160 w 1712846"/>
              <a:gd name="connsiteY10" fmla="*/ 538872 h 538872"/>
              <a:gd name="connsiteX11" fmla="*/ 999160 w 1712846"/>
              <a:gd name="connsiteY11" fmla="*/ 538872 h 538872"/>
              <a:gd name="connsiteX12" fmla="*/ 0 w 1712846"/>
              <a:gd name="connsiteY12" fmla="*/ 538872 h 538872"/>
              <a:gd name="connsiteX13" fmla="*/ 0 w 1712846"/>
              <a:gd name="connsiteY13" fmla="*/ 224530 h 538872"/>
              <a:gd name="connsiteX14" fmla="*/ 0 w 1712846"/>
              <a:gd name="connsiteY14" fmla="*/ 89812 h 538872"/>
              <a:gd name="connsiteX15" fmla="*/ 0 w 1712846"/>
              <a:gd name="connsiteY15" fmla="*/ 89812 h 538872"/>
              <a:gd name="connsiteX16" fmla="*/ 0 w 1712846"/>
              <a:gd name="connsiteY16" fmla="*/ 0 h 53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2846" h="538872">
                <a:moveTo>
                  <a:pt x="0" y="0"/>
                </a:moveTo>
                <a:lnTo>
                  <a:pt x="999160" y="0"/>
                </a:lnTo>
                <a:lnTo>
                  <a:pt x="1203274" y="-57659"/>
                </a:lnTo>
                <a:lnTo>
                  <a:pt x="1427372" y="0"/>
                </a:lnTo>
                <a:lnTo>
                  <a:pt x="1712846" y="0"/>
                </a:lnTo>
                <a:lnTo>
                  <a:pt x="1712846" y="89812"/>
                </a:lnTo>
                <a:lnTo>
                  <a:pt x="1712846" y="89812"/>
                </a:lnTo>
                <a:lnTo>
                  <a:pt x="1712846" y="224530"/>
                </a:lnTo>
                <a:lnTo>
                  <a:pt x="1712846" y="538872"/>
                </a:lnTo>
                <a:lnTo>
                  <a:pt x="1427372" y="538872"/>
                </a:lnTo>
                <a:lnTo>
                  <a:pt x="999160" y="538872"/>
                </a:lnTo>
                <a:lnTo>
                  <a:pt x="999160" y="538872"/>
                </a:lnTo>
                <a:lnTo>
                  <a:pt x="0" y="538872"/>
                </a:lnTo>
                <a:lnTo>
                  <a:pt x="0" y="224530"/>
                </a:lnTo>
                <a:lnTo>
                  <a:pt x="0" y="89812"/>
                </a:lnTo>
                <a:lnTo>
                  <a:pt x="0" y="89812"/>
                </a:lnTo>
                <a:lnTo>
                  <a:pt x="0" y="0"/>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34">
              <a:lnSpc>
                <a:spcPct val="90000"/>
              </a:lnSpc>
              <a:spcAft>
                <a:spcPct val="35000"/>
              </a:spcAft>
              <a:defRPr/>
            </a:pPr>
            <a:r>
              <a:rPr lang="en-US" sz="1500" dirty="0">
                <a:solidFill>
                  <a:schemeClr val="bg2"/>
                </a:solidFill>
                <a:latin typeface="CiscoSansTT ExtraLight"/>
              </a:rPr>
              <a:t>Optimized for Services</a:t>
            </a:r>
          </a:p>
        </p:txBody>
      </p:sp>
      <p:sp>
        <p:nvSpPr>
          <p:cNvPr id="17" name="Freeform 16"/>
          <p:cNvSpPr/>
          <p:nvPr/>
        </p:nvSpPr>
        <p:spPr>
          <a:xfrm>
            <a:off x="6996948" y="2652538"/>
            <a:ext cx="1712846" cy="538872"/>
          </a:xfrm>
          <a:custGeom>
            <a:avLst/>
            <a:gdLst>
              <a:gd name="connsiteX0" fmla="*/ 0 w 1712846"/>
              <a:gd name="connsiteY0" fmla="*/ 0 h 538872"/>
              <a:gd name="connsiteX1" fmla="*/ 999160 w 1712846"/>
              <a:gd name="connsiteY1" fmla="*/ 0 h 538872"/>
              <a:gd name="connsiteX2" fmla="*/ 1203274 w 1712846"/>
              <a:gd name="connsiteY2" fmla="*/ -57659 h 538872"/>
              <a:gd name="connsiteX3" fmla="*/ 1427372 w 1712846"/>
              <a:gd name="connsiteY3" fmla="*/ 0 h 538872"/>
              <a:gd name="connsiteX4" fmla="*/ 1712846 w 1712846"/>
              <a:gd name="connsiteY4" fmla="*/ 0 h 538872"/>
              <a:gd name="connsiteX5" fmla="*/ 1712846 w 1712846"/>
              <a:gd name="connsiteY5" fmla="*/ 89812 h 538872"/>
              <a:gd name="connsiteX6" fmla="*/ 1712846 w 1712846"/>
              <a:gd name="connsiteY6" fmla="*/ 89812 h 538872"/>
              <a:gd name="connsiteX7" fmla="*/ 1712846 w 1712846"/>
              <a:gd name="connsiteY7" fmla="*/ 224530 h 538872"/>
              <a:gd name="connsiteX8" fmla="*/ 1712846 w 1712846"/>
              <a:gd name="connsiteY8" fmla="*/ 538872 h 538872"/>
              <a:gd name="connsiteX9" fmla="*/ 1427372 w 1712846"/>
              <a:gd name="connsiteY9" fmla="*/ 538872 h 538872"/>
              <a:gd name="connsiteX10" fmla="*/ 999160 w 1712846"/>
              <a:gd name="connsiteY10" fmla="*/ 538872 h 538872"/>
              <a:gd name="connsiteX11" fmla="*/ 999160 w 1712846"/>
              <a:gd name="connsiteY11" fmla="*/ 538872 h 538872"/>
              <a:gd name="connsiteX12" fmla="*/ 0 w 1712846"/>
              <a:gd name="connsiteY12" fmla="*/ 538872 h 538872"/>
              <a:gd name="connsiteX13" fmla="*/ 0 w 1712846"/>
              <a:gd name="connsiteY13" fmla="*/ 224530 h 538872"/>
              <a:gd name="connsiteX14" fmla="*/ 0 w 1712846"/>
              <a:gd name="connsiteY14" fmla="*/ 89812 h 538872"/>
              <a:gd name="connsiteX15" fmla="*/ 0 w 1712846"/>
              <a:gd name="connsiteY15" fmla="*/ 89812 h 538872"/>
              <a:gd name="connsiteX16" fmla="*/ 0 w 1712846"/>
              <a:gd name="connsiteY16" fmla="*/ 0 h 53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2846" h="538872">
                <a:moveTo>
                  <a:pt x="0" y="0"/>
                </a:moveTo>
                <a:lnTo>
                  <a:pt x="999160" y="0"/>
                </a:lnTo>
                <a:lnTo>
                  <a:pt x="1203274" y="-57659"/>
                </a:lnTo>
                <a:lnTo>
                  <a:pt x="1427372" y="0"/>
                </a:lnTo>
                <a:lnTo>
                  <a:pt x="1712846" y="0"/>
                </a:lnTo>
                <a:lnTo>
                  <a:pt x="1712846" y="89812"/>
                </a:lnTo>
                <a:lnTo>
                  <a:pt x="1712846" y="89812"/>
                </a:lnTo>
                <a:lnTo>
                  <a:pt x="1712846" y="224530"/>
                </a:lnTo>
                <a:lnTo>
                  <a:pt x="1712846" y="538872"/>
                </a:lnTo>
                <a:lnTo>
                  <a:pt x="1427372" y="538872"/>
                </a:lnTo>
                <a:lnTo>
                  <a:pt x="999160" y="538872"/>
                </a:lnTo>
                <a:lnTo>
                  <a:pt x="999160" y="538872"/>
                </a:lnTo>
                <a:lnTo>
                  <a:pt x="0" y="538872"/>
                </a:lnTo>
                <a:lnTo>
                  <a:pt x="0" y="224530"/>
                </a:lnTo>
                <a:lnTo>
                  <a:pt x="0" y="89812"/>
                </a:lnTo>
                <a:lnTo>
                  <a:pt x="0" y="89812"/>
                </a:lnTo>
                <a:lnTo>
                  <a:pt x="0" y="0"/>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34">
              <a:lnSpc>
                <a:spcPct val="90000"/>
              </a:lnSpc>
              <a:spcAft>
                <a:spcPct val="35000"/>
              </a:spcAft>
              <a:defRPr/>
            </a:pPr>
            <a:r>
              <a:rPr lang="en-US" sz="1500" dirty="0">
                <a:solidFill>
                  <a:schemeClr val="bg2"/>
                </a:solidFill>
                <a:latin typeface="CiscoSansTT ExtraLight"/>
              </a:rPr>
              <a:t>Enhanced By Cloud</a:t>
            </a:r>
          </a:p>
        </p:txBody>
      </p:sp>
      <p:sp>
        <p:nvSpPr>
          <p:cNvPr id="6" name="TextBox 5"/>
          <p:cNvSpPr txBox="1"/>
          <p:nvPr/>
        </p:nvSpPr>
        <p:spPr>
          <a:xfrm>
            <a:off x="548848" y="3195654"/>
            <a:ext cx="1910373" cy="646331"/>
          </a:xfrm>
          <a:prstGeom prst="rect">
            <a:avLst/>
          </a:prstGeom>
          <a:noFill/>
        </p:spPr>
        <p:txBody>
          <a:bodyPr wrap="square" rtlCol="0">
            <a:spAutoFit/>
          </a:bodyPr>
          <a:lstStyle/>
          <a:p>
            <a:pPr marL="112710" indent="-112710" defTabSz="457189">
              <a:buFont typeface="Arial" charset="0"/>
              <a:buChar char="•"/>
              <a:defRPr/>
            </a:pPr>
            <a:r>
              <a:rPr lang="en-US" sz="1200" dirty="0">
                <a:solidFill>
                  <a:srgbClr val="282828"/>
                </a:solidFill>
                <a:latin typeface="CiscoSansTT ExtraLight"/>
              </a:rPr>
              <a:t>Optimal topology for traffic patterns and growth</a:t>
            </a:r>
          </a:p>
        </p:txBody>
      </p:sp>
      <p:sp>
        <p:nvSpPr>
          <p:cNvPr id="7" name="TextBox 6"/>
          <p:cNvSpPr txBox="1"/>
          <p:nvPr/>
        </p:nvSpPr>
        <p:spPr>
          <a:xfrm>
            <a:off x="2604860" y="3195655"/>
            <a:ext cx="2022408" cy="1461939"/>
          </a:xfrm>
          <a:prstGeom prst="rect">
            <a:avLst/>
          </a:prstGeom>
          <a:noFill/>
        </p:spPr>
        <p:txBody>
          <a:bodyPr wrap="square" rtlCol="0">
            <a:spAutoFit/>
          </a:bodyPr>
          <a:lstStyle/>
          <a:p>
            <a:pPr marL="112710" indent="-112710" defTabSz="457189">
              <a:spcBef>
                <a:spcPts val="600"/>
              </a:spcBef>
              <a:buFont typeface="Arial" charset="0"/>
              <a:buChar char="•"/>
              <a:defRPr/>
            </a:pPr>
            <a:r>
              <a:rPr lang="en-US" sz="1200" dirty="0">
                <a:solidFill>
                  <a:srgbClr val="282828"/>
                </a:solidFill>
                <a:latin typeface="CiscoSansTT ExtraLight"/>
              </a:rPr>
              <a:t>Deploy services as close to edge as is economically and operationally viable</a:t>
            </a:r>
          </a:p>
          <a:p>
            <a:pPr marL="112710" indent="-112710" defTabSz="457189">
              <a:spcBef>
                <a:spcPts val="600"/>
              </a:spcBef>
              <a:buFont typeface="Arial" charset="0"/>
              <a:buChar char="•"/>
              <a:defRPr/>
            </a:pPr>
            <a:r>
              <a:rPr lang="en-US" sz="1200" dirty="0">
                <a:solidFill>
                  <a:srgbClr val="282828"/>
                </a:solidFill>
                <a:latin typeface="CiscoSansTT ExtraLight"/>
              </a:rPr>
              <a:t>Unified forwarding plane (SR), common control plane (EVPN)</a:t>
            </a:r>
          </a:p>
        </p:txBody>
      </p:sp>
      <p:sp>
        <p:nvSpPr>
          <p:cNvPr id="8" name="TextBox 7"/>
          <p:cNvSpPr txBox="1"/>
          <p:nvPr/>
        </p:nvSpPr>
        <p:spPr>
          <a:xfrm>
            <a:off x="4771655" y="3195654"/>
            <a:ext cx="1908955" cy="1092607"/>
          </a:xfrm>
          <a:prstGeom prst="rect">
            <a:avLst/>
          </a:prstGeom>
          <a:noFill/>
        </p:spPr>
        <p:txBody>
          <a:bodyPr wrap="square" rtlCol="0">
            <a:spAutoFit/>
          </a:bodyPr>
          <a:lstStyle/>
          <a:p>
            <a:pPr marL="112710" indent="-112710" defTabSz="457189">
              <a:spcBef>
                <a:spcPts val="600"/>
              </a:spcBef>
              <a:buFont typeface="Arial" charset="0"/>
              <a:buChar char="•"/>
              <a:defRPr/>
            </a:pPr>
            <a:r>
              <a:rPr lang="en-US" sz="1200" dirty="0">
                <a:solidFill>
                  <a:srgbClr val="282828"/>
                </a:solidFill>
                <a:latin typeface="CiscoSansTT ExtraLight"/>
              </a:rPr>
              <a:t>Fully automated, zero-touch operations</a:t>
            </a:r>
          </a:p>
          <a:p>
            <a:pPr marL="112710" indent="-112710" defTabSz="457189">
              <a:spcBef>
                <a:spcPts val="600"/>
              </a:spcBef>
              <a:buFont typeface="Arial" charset="0"/>
              <a:buChar char="•"/>
              <a:defRPr/>
            </a:pPr>
            <a:r>
              <a:rPr lang="en-US" sz="1200" dirty="0">
                <a:solidFill>
                  <a:srgbClr val="282828"/>
                </a:solidFill>
                <a:latin typeface="CiscoSansTT ExtraLight"/>
              </a:rPr>
              <a:t>Fabric manager for bring up, deploy and maintenance</a:t>
            </a:r>
          </a:p>
        </p:txBody>
      </p:sp>
      <p:sp>
        <p:nvSpPr>
          <p:cNvPr id="9" name="TextBox 8"/>
          <p:cNvSpPr txBox="1"/>
          <p:nvPr/>
        </p:nvSpPr>
        <p:spPr>
          <a:xfrm>
            <a:off x="6939704" y="3195655"/>
            <a:ext cx="1843552" cy="276999"/>
          </a:xfrm>
          <a:prstGeom prst="rect">
            <a:avLst/>
          </a:prstGeom>
          <a:noFill/>
        </p:spPr>
        <p:txBody>
          <a:bodyPr wrap="square" rtlCol="0">
            <a:spAutoFit/>
          </a:bodyPr>
          <a:lstStyle/>
          <a:p>
            <a:pPr marL="285743" indent="-285743" defTabSz="457189">
              <a:buFont typeface="Arial" charset="0"/>
              <a:buChar char="•"/>
              <a:defRPr/>
            </a:pPr>
            <a:r>
              <a:rPr lang="en-US" sz="1200" dirty="0">
                <a:solidFill>
                  <a:srgbClr val="282828"/>
                </a:solidFill>
                <a:latin typeface="CiscoSansTT ExtraLight"/>
              </a:rPr>
              <a:t>Cloud tethered</a:t>
            </a:r>
          </a:p>
        </p:txBody>
      </p:sp>
      <p:grpSp>
        <p:nvGrpSpPr>
          <p:cNvPr id="59" name="Group 58"/>
          <p:cNvGrpSpPr/>
          <p:nvPr/>
        </p:nvGrpSpPr>
        <p:grpSpPr>
          <a:xfrm rot="16200000">
            <a:off x="2967853" y="1456128"/>
            <a:ext cx="1143024" cy="1007687"/>
            <a:chOff x="5793619" y="1334476"/>
            <a:chExt cx="1994473" cy="1471157"/>
          </a:xfrm>
        </p:grpSpPr>
        <p:pic>
          <p:nvPicPr>
            <p:cNvPr id="60" name="Picture 59">
              <a:extLst>
                <a:ext uri="{FF2B5EF4-FFF2-40B4-BE49-F238E27FC236}">
                  <a16:creationId xmlns:a16="http://schemas.microsoft.com/office/drawing/2014/main" id="{6501BE4D-6095-7947-97C8-5D71E695D1D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93619" y="2158786"/>
              <a:ext cx="378511" cy="485482"/>
            </a:xfrm>
            <a:prstGeom prst="rect">
              <a:avLst/>
            </a:prstGeom>
          </p:spPr>
        </p:pic>
        <p:pic>
          <p:nvPicPr>
            <p:cNvPr id="61" name="Picture 60">
              <a:extLst>
                <a:ext uri="{FF2B5EF4-FFF2-40B4-BE49-F238E27FC236}">
                  <a16:creationId xmlns:a16="http://schemas.microsoft.com/office/drawing/2014/main" id="{FA80F940-3741-A749-977E-5E57F7E2EEF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32273" y="2158786"/>
              <a:ext cx="378511" cy="485482"/>
            </a:xfrm>
            <a:prstGeom prst="rect">
              <a:avLst/>
            </a:prstGeom>
          </p:spPr>
        </p:pic>
        <p:pic>
          <p:nvPicPr>
            <p:cNvPr id="62" name="Picture 61">
              <a:extLst>
                <a:ext uri="{FF2B5EF4-FFF2-40B4-BE49-F238E27FC236}">
                  <a16:creationId xmlns:a16="http://schemas.microsoft.com/office/drawing/2014/main" id="{EDDDCB62-72D3-404C-BEA6-BAA7BEE412B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870927" y="2158786"/>
              <a:ext cx="378511" cy="485482"/>
            </a:xfrm>
            <a:prstGeom prst="rect">
              <a:avLst/>
            </a:prstGeom>
          </p:spPr>
        </p:pic>
        <p:pic>
          <p:nvPicPr>
            <p:cNvPr id="63" name="Picture 62">
              <a:extLst>
                <a:ext uri="{FF2B5EF4-FFF2-40B4-BE49-F238E27FC236}">
                  <a16:creationId xmlns:a16="http://schemas.microsoft.com/office/drawing/2014/main" id="{8CF55EF2-E19A-8A4C-B9AA-DF32D23BF99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409581" y="2158786"/>
              <a:ext cx="378511" cy="485482"/>
            </a:xfrm>
            <a:prstGeom prst="rect">
              <a:avLst/>
            </a:prstGeom>
          </p:spPr>
        </p:pic>
        <p:pic>
          <p:nvPicPr>
            <p:cNvPr id="64" name="Picture 63">
              <a:extLst>
                <a:ext uri="{FF2B5EF4-FFF2-40B4-BE49-F238E27FC236}">
                  <a16:creationId xmlns:a16="http://schemas.microsoft.com/office/drawing/2014/main" id="{A2438C44-0AEA-EA4F-8B1D-0D27E2ACD89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28538" y="1334476"/>
              <a:ext cx="378511" cy="485482"/>
            </a:xfrm>
            <a:prstGeom prst="rect">
              <a:avLst/>
            </a:prstGeom>
          </p:spPr>
        </p:pic>
        <p:pic>
          <p:nvPicPr>
            <p:cNvPr id="65" name="Picture 64">
              <a:extLst>
                <a:ext uri="{FF2B5EF4-FFF2-40B4-BE49-F238E27FC236}">
                  <a16:creationId xmlns:a16="http://schemas.microsoft.com/office/drawing/2014/main" id="{DD80BB3E-C30F-D745-A17C-8A75B04EA57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867192" y="1334476"/>
              <a:ext cx="378511" cy="485482"/>
            </a:xfrm>
            <a:prstGeom prst="rect">
              <a:avLst/>
            </a:prstGeom>
          </p:spPr>
        </p:pic>
        <p:cxnSp>
          <p:nvCxnSpPr>
            <p:cNvPr id="66" name="Straight Connector 65">
              <a:extLst>
                <a:ext uri="{FF2B5EF4-FFF2-40B4-BE49-F238E27FC236}">
                  <a16:creationId xmlns:a16="http://schemas.microsoft.com/office/drawing/2014/main" id="{4A8EA2C7-136B-B742-935B-3E439D370DE1}"/>
                </a:ext>
              </a:extLst>
            </p:cNvPr>
            <p:cNvCxnSpPr/>
            <p:nvPr/>
          </p:nvCxnSpPr>
          <p:spPr>
            <a:xfrm flipV="1">
              <a:off x="60161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51640EF-AA33-614A-9E04-8F27B5C595A1}"/>
                </a:ext>
              </a:extLst>
            </p:cNvPr>
            <p:cNvCxnSpPr>
              <a:cxnSpLocks/>
            </p:cNvCxnSpPr>
            <p:nvPr/>
          </p:nvCxnSpPr>
          <p:spPr>
            <a:xfrm flipH="1" flipV="1">
              <a:off x="65510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A5CC831-BD4D-8C46-81B6-37FA603C84A0}"/>
                </a:ext>
              </a:extLst>
            </p:cNvPr>
            <p:cNvCxnSpPr>
              <a:cxnSpLocks/>
            </p:cNvCxnSpPr>
            <p:nvPr/>
          </p:nvCxnSpPr>
          <p:spPr>
            <a:xfrm flipH="1" flipV="1">
              <a:off x="65510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9C6F769-4F55-A14F-A501-6726E6E2BE6E}"/>
                </a:ext>
              </a:extLst>
            </p:cNvPr>
            <p:cNvCxnSpPr>
              <a:cxnSpLocks/>
            </p:cNvCxnSpPr>
            <p:nvPr/>
          </p:nvCxnSpPr>
          <p:spPr>
            <a:xfrm>
              <a:off x="6551021"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1FDD37-9696-254E-A994-C5D253389656}"/>
                </a:ext>
              </a:extLst>
            </p:cNvPr>
            <p:cNvCxnSpPr>
              <a:cxnSpLocks/>
            </p:cNvCxnSpPr>
            <p:nvPr/>
          </p:nvCxnSpPr>
          <p:spPr>
            <a:xfrm>
              <a:off x="7089675"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5E4F185-7623-8D4C-920D-DC839A858436}"/>
                </a:ext>
              </a:extLst>
            </p:cNvPr>
            <p:cNvCxnSpPr>
              <a:cxnSpLocks/>
            </p:cNvCxnSpPr>
            <p:nvPr/>
          </p:nvCxnSpPr>
          <p:spPr>
            <a:xfrm flipH="1">
              <a:off x="6554756"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2582621-745B-2A4D-8CF5-0D7C96250A07}"/>
                </a:ext>
              </a:extLst>
            </p:cNvPr>
            <p:cNvCxnSpPr>
              <a:cxnSpLocks/>
            </p:cNvCxnSpPr>
            <p:nvPr/>
          </p:nvCxnSpPr>
          <p:spPr>
            <a:xfrm flipH="1">
              <a:off x="6016102"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C34F6CD-CAD7-914C-8C4C-30D32D6F9881}"/>
                </a:ext>
              </a:extLst>
            </p:cNvPr>
            <p:cNvCxnSpPr>
              <a:cxnSpLocks/>
            </p:cNvCxnSpPr>
            <p:nvPr/>
          </p:nvCxnSpPr>
          <p:spPr>
            <a:xfrm>
              <a:off x="7089675"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630789C-2E01-2D44-B01A-D5D0E7CD883B}"/>
                </a:ext>
              </a:extLst>
            </p:cNvPr>
            <p:cNvCxnSpPr>
              <a:cxnSpLocks/>
            </p:cNvCxnSpPr>
            <p:nvPr/>
          </p:nvCxnSpPr>
          <p:spPr>
            <a:xfrm>
              <a:off x="5816671"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280AEDC-50D3-5E4F-B880-D83562B3C562}"/>
                </a:ext>
              </a:extLst>
            </p:cNvPr>
            <p:cNvCxnSpPr>
              <a:cxnSpLocks/>
            </p:cNvCxnSpPr>
            <p:nvPr/>
          </p:nvCxnSpPr>
          <p:spPr>
            <a:xfrm>
              <a:off x="5864422"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B92A13D-B20F-334A-9C34-96B195A0B09D}"/>
                </a:ext>
              </a:extLst>
            </p:cNvPr>
            <p:cNvCxnSpPr>
              <a:cxnSpLocks/>
            </p:cNvCxnSpPr>
            <p:nvPr/>
          </p:nvCxnSpPr>
          <p:spPr>
            <a:xfrm>
              <a:off x="591217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316EAE6-0996-A44E-8B9D-758564E4D0D0}"/>
                </a:ext>
              </a:extLst>
            </p:cNvPr>
            <p:cNvCxnSpPr>
              <a:cxnSpLocks/>
            </p:cNvCxnSpPr>
            <p:nvPr/>
          </p:nvCxnSpPr>
          <p:spPr>
            <a:xfrm>
              <a:off x="595992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F46143-07A7-D444-B21E-4B8E14B4E886}"/>
                </a:ext>
              </a:extLst>
            </p:cNvPr>
            <p:cNvCxnSpPr>
              <a:cxnSpLocks/>
            </p:cNvCxnSpPr>
            <p:nvPr/>
          </p:nvCxnSpPr>
          <p:spPr>
            <a:xfrm>
              <a:off x="600767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0C5262D-C472-A24A-AFE9-36022053FA5E}"/>
                </a:ext>
              </a:extLst>
            </p:cNvPr>
            <p:cNvCxnSpPr>
              <a:cxnSpLocks/>
            </p:cNvCxnSpPr>
            <p:nvPr/>
          </p:nvCxnSpPr>
          <p:spPr>
            <a:xfrm>
              <a:off x="605542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665E160-48B9-104C-B6D0-A3DC92C2F963}"/>
                </a:ext>
              </a:extLst>
            </p:cNvPr>
            <p:cNvCxnSpPr>
              <a:cxnSpLocks/>
            </p:cNvCxnSpPr>
            <p:nvPr/>
          </p:nvCxnSpPr>
          <p:spPr>
            <a:xfrm>
              <a:off x="610317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65A3674-DDA3-4140-A67D-9ECD8A2B6EE6}"/>
                </a:ext>
              </a:extLst>
            </p:cNvPr>
            <p:cNvCxnSpPr>
              <a:cxnSpLocks/>
            </p:cNvCxnSpPr>
            <p:nvPr/>
          </p:nvCxnSpPr>
          <p:spPr>
            <a:xfrm>
              <a:off x="61509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09E129D-7CE8-044F-BCC8-9DE0CE4B7493}"/>
                </a:ext>
              </a:extLst>
            </p:cNvPr>
            <p:cNvCxnSpPr>
              <a:cxnSpLocks/>
            </p:cNvCxnSpPr>
            <p:nvPr/>
          </p:nvCxnSpPr>
          <p:spPr>
            <a:xfrm>
              <a:off x="634512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6B36D10-3039-194D-B97D-4B01D1253BD1}"/>
                </a:ext>
              </a:extLst>
            </p:cNvPr>
            <p:cNvCxnSpPr>
              <a:cxnSpLocks/>
            </p:cNvCxnSpPr>
            <p:nvPr/>
          </p:nvCxnSpPr>
          <p:spPr>
            <a:xfrm>
              <a:off x="639287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40ECFA9-6228-1A41-AC3D-3C225128FBAD}"/>
                </a:ext>
              </a:extLst>
            </p:cNvPr>
            <p:cNvCxnSpPr>
              <a:cxnSpLocks/>
            </p:cNvCxnSpPr>
            <p:nvPr/>
          </p:nvCxnSpPr>
          <p:spPr>
            <a:xfrm>
              <a:off x="644062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EFAAD2A-1AFD-B841-B7E8-68B5D122E268}"/>
                </a:ext>
              </a:extLst>
            </p:cNvPr>
            <p:cNvCxnSpPr>
              <a:cxnSpLocks/>
            </p:cNvCxnSpPr>
            <p:nvPr/>
          </p:nvCxnSpPr>
          <p:spPr>
            <a:xfrm>
              <a:off x="648837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20A5310-3952-3340-A836-D31F24C1F640}"/>
                </a:ext>
              </a:extLst>
            </p:cNvPr>
            <p:cNvCxnSpPr>
              <a:cxnSpLocks/>
            </p:cNvCxnSpPr>
            <p:nvPr/>
          </p:nvCxnSpPr>
          <p:spPr>
            <a:xfrm>
              <a:off x="65361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70BE24A-B280-C440-8F9F-197D10F82442}"/>
                </a:ext>
              </a:extLst>
            </p:cNvPr>
            <p:cNvCxnSpPr>
              <a:cxnSpLocks/>
            </p:cNvCxnSpPr>
            <p:nvPr/>
          </p:nvCxnSpPr>
          <p:spPr>
            <a:xfrm>
              <a:off x="6583878"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C1D31FE-50EB-D349-B8DB-193298C84A30}"/>
                </a:ext>
              </a:extLst>
            </p:cNvPr>
            <p:cNvCxnSpPr>
              <a:cxnSpLocks/>
            </p:cNvCxnSpPr>
            <p:nvPr/>
          </p:nvCxnSpPr>
          <p:spPr>
            <a:xfrm>
              <a:off x="663162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A143978-C7AF-6943-BE55-6FA42220BE81}"/>
                </a:ext>
              </a:extLst>
            </p:cNvPr>
            <p:cNvCxnSpPr>
              <a:cxnSpLocks/>
            </p:cNvCxnSpPr>
            <p:nvPr/>
          </p:nvCxnSpPr>
          <p:spPr>
            <a:xfrm>
              <a:off x="667937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1C87A55-F802-1C48-9344-364E6D959D66}"/>
                </a:ext>
              </a:extLst>
            </p:cNvPr>
            <p:cNvCxnSpPr>
              <a:cxnSpLocks/>
            </p:cNvCxnSpPr>
            <p:nvPr/>
          </p:nvCxnSpPr>
          <p:spPr>
            <a:xfrm>
              <a:off x="6883777"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E753450-D598-C043-A39D-F7E91F229460}"/>
                </a:ext>
              </a:extLst>
            </p:cNvPr>
            <p:cNvCxnSpPr>
              <a:cxnSpLocks/>
            </p:cNvCxnSpPr>
            <p:nvPr/>
          </p:nvCxnSpPr>
          <p:spPr>
            <a:xfrm>
              <a:off x="6931528"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60C428-4696-804C-8077-7323C439CE2B}"/>
                </a:ext>
              </a:extLst>
            </p:cNvPr>
            <p:cNvCxnSpPr>
              <a:cxnSpLocks/>
            </p:cNvCxnSpPr>
            <p:nvPr/>
          </p:nvCxnSpPr>
          <p:spPr>
            <a:xfrm>
              <a:off x="6979279"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21ECB4F-30AE-5245-8D8F-00DA9B64400E}"/>
                </a:ext>
              </a:extLst>
            </p:cNvPr>
            <p:cNvCxnSpPr>
              <a:cxnSpLocks/>
            </p:cNvCxnSpPr>
            <p:nvPr/>
          </p:nvCxnSpPr>
          <p:spPr>
            <a:xfrm>
              <a:off x="7027030"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C40C8084-E874-7A43-92B7-7D3CE02226C6}"/>
                </a:ext>
              </a:extLst>
            </p:cNvPr>
            <p:cNvCxnSpPr>
              <a:cxnSpLocks/>
            </p:cNvCxnSpPr>
            <p:nvPr/>
          </p:nvCxnSpPr>
          <p:spPr>
            <a:xfrm>
              <a:off x="7074781"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5118753-0DF3-B54A-B962-7B5F26F54509}"/>
                </a:ext>
              </a:extLst>
            </p:cNvPr>
            <p:cNvCxnSpPr>
              <a:cxnSpLocks/>
            </p:cNvCxnSpPr>
            <p:nvPr/>
          </p:nvCxnSpPr>
          <p:spPr>
            <a:xfrm>
              <a:off x="7122532"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88196C1-57C3-6E4A-8A2B-A359E68BD882}"/>
                </a:ext>
              </a:extLst>
            </p:cNvPr>
            <p:cNvCxnSpPr>
              <a:cxnSpLocks/>
            </p:cNvCxnSpPr>
            <p:nvPr/>
          </p:nvCxnSpPr>
          <p:spPr>
            <a:xfrm>
              <a:off x="717028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D822C64-72CD-6C41-BB6E-DFDA2302E992}"/>
                </a:ext>
              </a:extLst>
            </p:cNvPr>
            <p:cNvCxnSpPr>
              <a:cxnSpLocks/>
            </p:cNvCxnSpPr>
            <p:nvPr/>
          </p:nvCxnSpPr>
          <p:spPr>
            <a:xfrm>
              <a:off x="721803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975EA81E-3C34-904E-9079-742098154A3A}"/>
                </a:ext>
              </a:extLst>
            </p:cNvPr>
            <p:cNvCxnSpPr>
              <a:cxnSpLocks/>
            </p:cNvCxnSpPr>
            <p:nvPr/>
          </p:nvCxnSpPr>
          <p:spPr>
            <a:xfrm>
              <a:off x="7420334"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49E458D-17C1-EB4D-A31D-44B5A0DE7906}"/>
                </a:ext>
              </a:extLst>
            </p:cNvPr>
            <p:cNvCxnSpPr>
              <a:cxnSpLocks/>
            </p:cNvCxnSpPr>
            <p:nvPr/>
          </p:nvCxnSpPr>
          <p:spPr>
            <a:xfrm>
              <a:off x="7468085"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40A5FB3-DDFE-044E-BACE-63F640A05796}"/>
                </a:ext>
              </a:extLst>
            </p:cNvPr>
            <p:cNvCxnSpPr>
              <a:cxnSpLocks/>
            </p:cNvCxnSpPr>
            <p:nvPr/>
          </p:nvCxnSpPr>
          <p:spPr>
            <a:xfrm>
              <a:off x="7515836"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CC4024D-A9DB-E344-9A36-38A2FCCA9953}"/>
                </a:ext>
              </a:extLst>
            </p:cNvPr>
            <p:cNvCxnSpPr>
              <a:cxnSpLocks/>
            </p:cNvCxnSpPr>
            <p:nvPr/>
          </p:nvCxnSpPr>
          <p:spPr>
            <a:xfrm>
              <a:off x="7563587"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93FDA6B-D9F0-824A-BE8C-DC4DA071A03D}"/>
                </a:ext>
              </a:extLst>
            </p:cNvPr>
            <p:cNvCxnSpPr>
              <a:cxnSpLocks/>
            </p:cNvCxnSpPr>
            <p:nvPr/>
          </p:nvCxnSpPr>
          <p:spPr>
            <a:xfrm>
              <a:off x="7611338"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8D01F5D4-8E49-864F-AC4B-89D458AC0B45}"/>
                </a:ext>
              </a:extLst>
            </p:cNvPr>
            <p:cNvCxnSpPr>
              <a:cxnSpLocks/>
            </p:cNvCxnSpPr>
            <p:nvPr/>
          </p:nvCxnSpPr>
          <p:spPr>
            <a:xfrm>
              <a:off x="7659089"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6891B1F-83C1-5342-A8BE-605FE16B43F1}"/>
                </a:ext>
              </a:extLst>
            </p:cNvPr>
            <p:cNvCxnSpPr>
              <a:cxnSpLocks/>
            </p:cNvCxnSpPr>
            <p:nvPr/>
          </p:nvCxnSpPr>
          <p:spPr>
            <a:xfrm>
              <a:off x="770684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20A7731-6C36-EE41-87BE-100DDEB65899}"/>
                </a:ext>
              </a:extLst>
            </p:cNvPr>
            <p:cNvCxnSpPr>
              <a:cxnSpLocks/>
            </p:cNvCxnSpPr>
            <p:nvPr/>
          </p:nvCxnSpPr>
          <p:spPr>
            <a:xfrm>
              <a:off x="775459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DE27A2-E5EB-C84F-8105-FCFFF9A0F6CF}"/>
                </a:ext>
              </a:extLst>
            </p:cNvPr>
            <p:cNvCxnSpPr/>
            <p:nvPr/>
          </p:nvCxnSpPr>
          <p:spPr>
            <a:xfrm flipV="1">
              <a:off x="5941325"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211CC11-C3AA-DB48-A7E9-F3A8BBFF0341}"/>
                </a:ext>
              </a:extLst>
            </p:cNvPr>
            <p:cNvCxnSpPr>
              <a:cxnSpLocks/>
            </p:cNvCxnSpPr>
            <p:nvPr/>
          </p:nvCxnSpPr>
          <p:spPr>
            <a:xfrm flipH="1" flipV="1">
              <a:off x="6476244"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F2AF944-523E-DE49-A61F-BB2A7BF3254A}"/>
                </a:ext>
              </a:extLst>
            </p:cNvPr>
            <p:cNvCxnSpPr>
              <a:cxnSpLocks/>
            </p:cNvCxnSpPr>
            <p:nvPr/>
          </p:nvCxnSpPr>
          <p:spPr>
            <a:xfrm flipH="1" flipV="1">
              <a:off x="6476244"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9E64FF3-E8C0-DD48-A583-3C7301F43301}"/>
                </a:ext>
              </a:extLst>
            </p:cNvPr>
            <p:cNvCxnSpPr>
              <a:cxnSpLocks/>
            </p:cNvCxnSpPr>
            <p:nvPr/>
          </p:nvCxnSpPr>
          <p:spPr>
            <a:xfrm>
              <a:off x="6476244"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2277B8A-2495-3743-A637-755AF76B2F1E}"/>
                </a:ext>
              </a:extLst>
            </p:cNvPr>
            <p:cNvCxnSpPr>
              <a:cxnSpLocks/>
            </p:cNvCxnSpPr>
            <p:nvPr/>
          </p:nvCxnSpPr>
          <p:spPr>
            <a:xfrm>
              <a:off x="7014898"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1511104-7F66-7A4B-A0D4-496FAA001887}"/>
                </a:ext>
              </a:extLst>
            </p:cNvPr>
            <p:cNvCxnSpPr>
              <a:cxnSpLocks/>
            </p:cNvCxnSpPr>
            <p:nvPr/>
          </p:nvCxnSpPr>
          <p:spPr>
            <a:xfrm flipH="1">
              <a:off x="6479979"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AF2F263-595C-474D-8F0A-BE804BB576D7}"/>
                </a:ext>
              </a:extLst>
            </p:cNvPr>
            <p:cNvCxnSpPr>
              <a:cxnSpLocks/>
            </p:cNvCxnSpPr>
            <p:nvPr/>
          </p:nvCxnSpPr>
          <p:spPr>
            <a:xfrm flipH="1">
              <a:off x="5941325"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CAE4F87-96DE-F244-A7B5-F41F02EEB7AB}"/>
                </a:ext>
              </a:extLst>
            </p:cNvPr>
            <p:cNvCxnSpPr>
              <a:cxnSpLocks/>
            </p:cNvCxnSpPr>
            <p:nvPr/>
          </p:nvCxnSpPr>
          <p:spPr>
            <a:xfrm>
              <a:off x="7014898"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201273A-5052-2C48-9EE6-B13FFAD54CAC}"/>
                </a:ext>
              </a:extLst>
            </p:cNvPr>
            <p:cNvCxnSpPr/>
            <p:nvPr/>
          </p:nvCxnSpPr>
          <p:spPr>
            <a:xfrm flipV="1">
              <a:off x="609087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BEB1D790-0ACD-0D47-86D4-34DC71B0E162}"/>
                </a:ext>
              </a:extLst>
            </p:cNvPr>
            <p:cNvCxnSpPr>
              <a:cxnSpLocks/>
            </p:cNvCxnSpPr>
            <p:nvPr/>
          </p:nvCxnSpPr>
          <p:spPr>
            <a:xfrm flipH="1" flipV="1">
              <a:off x="662579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5E0F479-4893-EC4D-999B-DA9E43EC1AA8}"/>
                </a:ext>
              </a:extLst>
            </p:cNvPr>
            <p:cNvCxnSpPr>
              <a:cxnSpLocks/>
            </p:cNvCxnSpPr>
            <p:nvPr/>
          </p:nvCxnSpPr>
          <p:spPr>
            <a:xfrm flipH="1" flipV="1">
              <a:off x="662579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5D3F44CB-37F7-1146-8BFD-0750C959E3E0}"/>
                </a:ext>
              </a:extLst>
            </p:cNvPr>
            <p:cNvCxnSpPr>
              <a:cxnSpLocks/>
            </p:cNvCxnSpPr>
            <p:nvPr/>
          </p:nvCxnSpPr>
          <p:spPr>
            <a:xfrm>
              <a:off x="662579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9C02803-D1AE-914E-A476-9AACD48B53B7}"/>
                </a:ext>
              </a:extLst>
            </p:cNvPr>
            <p:cNvCxnSpPr>
              <a:cxnSpLocks/>
            </p:cNvCxnSpPr>
            <p:nvPr/>
          </p:nvCxnSpPr>
          <p:spPr>
            <a:xfrm>
              <a:off x="716445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7082FFE-F027-4D4A-8EC7-B1891F90292C}"/>
                </a:ext>
              </a:extLst>
            </p:cNvPr>
            <p:cNvCxnSpPr>
              <a:cxnSpLocks/>
            </p:cNvCxnSpPr>
            <p:nvPr/>
          </p:nvCxnSpPr>
          <p:spPr>
            <a:xfrm flipH="1">
              <a:off x="662953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F84BFE0-4CD8-184D-9F74-88195C02D6C7}"/>
                </a:ext>
              </a:extLst>
            </p:cNvPr>
            <p:cNvCxnSpPr>
              <a:cxnSpLocks/>
            </p:cNvCxnSpPr>
            <p:nvPr/>
          </p:nvCxnSpPr>
          <p:spPr>
            <a:xfrm flipH="1">
              <a:off x="609087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4B266AA-B1A7-7948-8144-B57DEAD7A69C}"/>
                </a:ext>
              </a:extLst>
            </p:cNvPr>
            <p:cNvCxnSpPr>
              <a:cxnSpLocks/>
            </p:cNvCxnSpPr>
            <p:nvPr/>
          </p:nvCxnSpPr>
          <p:spPr>
            <a:xfrm>
              <a:off x="716445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F403F39-6767-FD44-B686-6E966B3C5645}"/>
                </a:ext>
              </a:extLst>
            </p:cNvPr>
            <p:cNvCxnSpPr/>
            <p:nvPr/>
          </p:nvCxnSpPr>
          <p:spPr>
            <a:xfrm flipV="1">
              <a:off x="586654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A4D7F2F-A11B-AF4F-8BF0-983403B97899}"/>
                </a:ext>
              </a:extLst>
            </p:cNvPr>
            <p:cNvCxnSpPr>
              <a:cxnSpLocks/>
            </p:cNvCxnSpPr>
            <p:nvPr/>
          </p:nvCxnSpPr>
          <p:spPr>
            <a:xfrm flipH="1" flipV="1">
              <a:off x="640146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071FB0D-4EB2-C345-9C38-24E607D4E3BE}"/>
                </a:ext>
              </a:extLst>
            </p:cNvPr>
            <p:cNvCxnSpPr>
              <a:cxnSpLocks/>
            </p:cNvCxnSpPr>
            <p:nvPr/>
          </p:nvCxnSpPr>
          <p:spPr>
            <a:xfrm flipH="1" flipV="1">
              <a:off x="640146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49F9012-0970-5C43-A84D-C210E4C6544E}"/>
                </a:ext>
              </a:extLst>
            </p:cNvPr>
            <p:cNvCxnSpPr>
              <a:cxnSpLocks/>
            </p:cNvCxnSpPr>
            <p:nvPr/>
          </p:nvCxnSpPr>
          <p:spPr>
            <a:xfrm>
              <a:off x="640146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D0AB873A-0BA8-DC4C-9D02-73C765E7DB23}"/>
                </a:ext>
              </a:extLst>
            </p:cNvPr>
            <p:cNvCxnSpPr>
              <a:cxnSpLocks/>
            </p:cNvCxnSpPr>
            <p:nvPr/>
          </p:nvCxnSpPr>
          <p:spPr>
            <a:xfrm>
              <a:off x="69401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448CC0A-B382-6847-861A-FDFC7BC837B9}"/>
                </a:ext>
              </a:extLst>
            </p:cNvPr>
            <p:cNvCxnSpPr>
              <a:cxnSpLocks/>
            </p:cNvCxnSpPr>
            <p:nvPr/>
          </p:nvCxnSpPr>
          <p:spPr>
            <a:xfrm flipH="1">
              <a:off x="64052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965AFB9-C52A-304D-8D2E-173DD27F012F}"/>
                </a:ext>
              </a:extLst>
            </p:cNvPr>
            <p:cNvCxnSpPr>
              <a:cxnSpLocks/>
            </p:cNvCxnSpPr>
            <p:nvPr/>
          </p:nvCxnSpPr>
          <p:spPr>
            <a:xfrm flipH="1">
              <a:off x="586654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8C7EB7B9-A1A0-F743-B13B-EB073AE03EE8}"/>
                </a:ext>
              </a:extLst>
            </p:cNvPr>
            <p:cNvCxnSpPr>
              <a:cxnSpLocks/>
            </p:cNvCxnSpPr>
            <p:nvPr/>
          </p:nvCxnSpPr>
          <p:spPr>
            <a:xfrm>
              <a:off x="69401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grpSp>
      <p:sp>
        <p:nvSpPr>
          <p:cNvPr id="202" name="Rectangle 201"/>
          <p:cNvSpPr/>
          <p:nvPr/>
        </p:nvSpPr>
        <p:spPr>
          <a:xfrm>
            <a:off x="4746184" y="1266864"/>
            <a:ext cx="1946267" cy="1539636"/>
          </a:xfrm>
          <a:prstGeom prst="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nvGrpSpPr>
          <p:cNvPr id="203" name="Group 202"/>
          <p:cNvGrpSpPr/>
          <p:nvPr/>
        </p:nvGrpSpPr>
        <p:grpSpPr>
          <a:xfrm>
            <a:off x="5057425" y="1363468"/>
            <a:ext cx="1468813" cy="1136001"/>
            <a:chOff x="5366550" y="1127079"/>
            <a:chExt cx="1634195" cy="1304358"/>
          </a:xfrm>
        </p:grpSpPr>
        <p:pic>
          <p:nvPicPr>
            <p:cNvPr id="204" name="Picture 20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66584" y="1127079"/>
              <a:ext cx="634161" cy="634161"/>
            </a:xfrm>
            <a:prstGeom prst="rect">
              <a:avLst/>
            </a:prstGeom>
          </p:spPr>
        </p:pic>
        <p:grpSp>
          <p:nvGrpSpPr>
            <p:cNvPr id="205" name="Group 204"/>
            <p:cNvGrpSpPr/>
            <p:nvPr/>
          </p:nvGrpSpPr>
          <p:grpSpPr>
            <a:xfrm rot="16200000">
              <a:off x="5344777" y="1636885"/>
              <a:ext cx="816325" cy="772779"/>
              <a:chOff x="5793619" y="1334476"/>
              <a:chExt cx="1994473" cy="1471157"/>
            </a:xfrm>
          </p:grpSpPr>
          <p:pic>
            <p:nvPicPr>
              <p:cNvPr id="222" name="Picture 221">
                <a:extLst>
                  <a:ext uri="{FF2B5EF4-FFF2-40B4-BE49-F238E27FC236}">
                    <a16:creationId xmlns:a16="http://schemas.microsoft.com/office/drawing/2014/main" id="{6501BE4D-6095-7947-97C8-5D71E695D1D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93619" y="2158786"/>
                <a:ext cx="378511" cy="485482"/>
              </a:xfrm>
              <a:prstGeom prst="rect">
                <a:avLst/>
              </a:prstGeom>
            </p:spPr>
          </p:pic>
          <p:pic>
            <p:nvPicPr>
              <p:cNvPr id="223" name="Picture 222">
                <a:extLst>
                  <a:ext uri="{FF2B5EF4-FFF2-40B4-BE49-F238E27FC236}">
                    <a16:creationId xmlns:a16="http://schemas.microsoft.com/office/drawing/2014/main" id="{FA80F940-3741-A749-977E-5E57F7E2EEF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32273" y="2158786"/>
                <a:ext cx="378511" cy="485482"/>
              </a:xfrm>
              <a:prstGeom prst="rect">
                <a:avLst/>
              </a:prstGeom>
            </p:spPr>
          </p:pic>
          <p:pic>
            <p:nvPicPr>
              <p:cNvPr id="224" name="Picture 223">
                <a:extLst>
                  <a:ext uri="{FF2B5EF4-FFF2-40B4-BE49-F238E27FC236}">
                    <a16:creationId xmlns:a16="http://schemas.microsoft.com/office/drawing/2014/main" id="{EDDDCB62-72D3-404C-BEA6-BAA7BEE412B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870927" y="2158786"/>
                <a:ext cx="378511" cy="485482"/>
              </a:xfrm>
              <a:prstGeom prst="rect">
                <a:avLst/>
              </a:prstGeom>
            </p:spPr>
          </p:pic>
          <p:pic>
            <p:nvPicPr>
              <p:cNvPr id="225" name="Picture 224">
                <a:extLst>
                  <a:ext uri="{FF2B5EF4-FFF2-40B4-BE49-F238E27FC236}">
                    <a16:creationId xmlns:a16="http://schemas.microsoft.com/office/drawing/2014/main" id="{8CF55EF2-E19A-8A4C-B9AA-DF32D23BF99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09581" y="2158786"/>
                <a:ext cx="378511" cy="485482"/>
              </a:xfrm>
              <a:prstGeom prst="rect">
                <a:avLst/>
              </a:prstGeom>
            </p:spPr>
          </p:pic>
          <p:pic>
            <p:nvPicPr>
              <p:cNvPr id="226" name="Picture 225">
                <a:extLst>
                  <a:ext uri="{FF2B5EF4-FFF2-40B4-BE49-F238E27FC236}">
                    <a16:creationId xmlns:a16="http://schemas.microsoft.com/office/drawing/2014/main" id="{A2438C44-0AEA-EA4F-8B1D-0D27E2ACD89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28538" y="1334476"/>
                <a:ext cx="378511" cy="485482"/>
              </a:xfrm>
              <a:prstGeom prst="rect">
                <a:avLst/>
              </a:prstGeom>
            </p:spPr>
          </p:pic>
          <p:pic>
            <p:nvPicPr>
              <p:cNvPr id="227" name="Picture 226">
                <a:extLst>
                  <a:ext uri="{FF2B5EF4-FFF2-40B4-BE49-F238E27FC236}">
                    <a16:creationId xmlns:a16="http://schemas.microsoft.com/office/drawing/2014/main" id="{DD80BB3E-C30F-D745-A17C-8A75B04EA57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867192" y="1334476"/>
                <a:ext cx="378511" cy="485482"/>
              </a:xfrm>
              <a:prstGeom prst="rect">
                <a:avLst/>
              </a:prstGeom>
            </p:spPr>
          </p:pic>
          <p:cxnSp>
            <p:nvCxnSpPr>
              <p:cNvPr id="228" name="Straight Connector 227">
                <a:extLst>
                  <a:ext uri="{FF2B5EF4-FFF2-40B4-BE49-F238E27FC236}">
                    <a16:creationId xmlns:a16="http://schemas.microsoft.com/office/drawing/2014/main" id="{4A8EA2C7-136B-B742-935B-3E439D370DE1}"/>
                  </a:ext>
                </a:extLst>
              </p:cNvPr>
              <p:cNvCxnSpPr/>
              <p:nvPr/>
            </p:nvCxnSpPr>
            <p:spPr>
              <a:xfrm flipV="1">
                <a:off x="60161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51640EF-AA33-614A-9E04-8F27B5C595A1}"/>
                  </a:ext>
                </a:extLst>
              </p:cNvPr>
              <p:cNvCxnSpPr>
                <a:cxnSpLocks/>
              </p:cNvCxnSpPr>
              <p:nvPr/>
            </p:nvCxnSpPr>
            <p:spPr>
              <a:xfrm flipH="1" flipV="1">
                <a:off x="65510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DA5CC831-BD4D-8C46-81B6-37FA603C84A0}"/>
                  </a:ext>
                </a:extLst>
              </p:cNvPr>
              <p:cNvCxnSpPr>
                <a:cxnSpLocks/>
              </p:cNvCxnSpPr>
              <p:nvPr/>
            </p:nvCxnSpPr>
            <p:spPr>
              <a:xfrm flipH="1" flipV="1">
                <a:off x="65510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B9C6F769-4F55-A14F-A501-6726E6E2BE6E}"/>
                  </a:ext>
                </a:extLst>
              </p:cNvPr>
              <p:cNvCxnSpPr>
                <a:cxnSpLocks/>
              </p:cNvCxnSpPr>
              <p:nvPr/>
            </p:nvCxnSpPr>
            <p:spPr>
              <a:xfrm>
                <a:off x="6551021"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061FDD37-9696-254E-A994-C5D253389656}"/>
                  </a:ext>
                </a:extLst>
              </p:cNvPr>
              <p:cNvCxnSpPr>
                <a:cxnSpLocks/>
              </p:cNvCxnSpPr>
              <p:nvPr/>
            </p:nvCxnSpPr>
            <p:spPr>
              <a:xfrm>
                <a:off x="7089675"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75E4F185-7623-8D4C-920D-DC839A858436}"/>
                  </a:ext>
                </a:extLst>
              </p:cNvPr>
              <p:cNvCxnSpPr>
                <a:cxnSpLocks/>
              </p:cNvCxnSpPr>
              <p:nvPr/>
            </p:nvCxnSpPr>
            <p:spPr>
              <a:xfrm flipH="1">
                <a:off x="6554756"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12582621-745B-2A4D-8CF5-0D7C96250A07}"/>
                  </a:ext>
                </a:extLst>
              </p:cNvPr>
              <p:cNvCxnSpPr>
                <a:cxnSpLocks/>
              </p:cNvCxnSpPr>
              <p:nvPr/>
            </p:nvCxnSpPr>
            <p:spPr>
              <a:xfrm flipH="1">
                <a:off x="6016102"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C34F6CD-CAD7-914C-8C4C-30D32D6F9881}"/>
                  </a:ext>
                </a:extLst>
              </p:cNvPr>
              <p:cNvCxnSpPr>
                <a:cxnSpLocks/>
              </p:cNvCxnSpPr>
              <p:nvPr/>
            </p:nvCxnSpPr>
            <p:spPr>
              <a:xfrm>
                <a:off x="7089675"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C630789C-2E01-2D44-B01A-D5D0E7CD883B}"/>
                  </a:ext>
                </a:extLst>
              </p:cNvPr>
              <p:cNvCxnSpPr>
                <a:cxnSpLocks/>
              </p:cNvCxnSpPr>
              <p:nvPr/>
            </p:nvCxnSpPr>
            <p:spPr>
              <a:xfrm>
                <a:off x="5816671"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8280AEDC-50D3-5E4F-B880-D83562B3C562}"/>
                  </a:ext>
                </a:extLst>
              </p:cNvPr>
              <p:cNvCxnSpPr>
                <a:cxnSpLocks/>
              </p:cNvCxnSpPr>
              <p:nvPr/>
            </p:nvCxnSpPr>
            <p:spPr>
              <a:xfrm>
                <a:off x="5864422"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B92A13D-B20F-334A-9C34-96B195A0B09D}"/>
                  </a:ext>
                </a:extLst>
              </p:cNvPr>
              <p:cNvCxnSpPr>
                <a:cxnSpLocks/>
              </p:cNvCxnSpPr>
              <p:nvPr/>
            </p:nvCxnSpPr>
            <p:spPr>
              <a:xfrm>
                <a:off x="591217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316EAE6-0996-A44E-8B9D-758564E4D0D0}"/>
                  </a:ext>
                </a:extLst>
              </p:cNvPr>
              <p:cNvCxnSpPr>
                <a:cxnSpLocks/>
              </p:cNvCxnSpPr>
              <p:nvPr/>
            </p:nvCxnSpPr>
            <p:spPr>
              <a:xfrm>
                <a:off x="595992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93F46143-07A7-D444-B21E-4B8E14B4E886}"/>
                  </a:ext>
                </a:extLst>
              </p:cNvPr>
              <p:cNvCxnSpPr>
                <a:cxnSpLocks/>
              </p:cNvCxnSpPr>
              <p:nvPr/>
            </p:nvCxnSpPr>
            <p:spPr>
              <a:xfrm>
                <a:off x="600767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F0C5262D-C472-A24A-AFE9-36022053FA5E}"/>
                  </a:ext>
                </a:extLst>
              </p:cNvPr>
              <p:cNvCxnSpPr>
                <a:cxnSpLocks/>
              </p:cNvCxnSpPr>
              <p:nvPr/>
            </p:nvCxnSpPr>
            <p:spPr>
              <a:xfrm>
                <a:off x="605542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665E160-48B9-104C-B6D0-A3DC92C2F963}"/>
                  </a:ext>
                </a:extLst>
              </p:cNvPr>
              <p:cNvCxnSpPr>
                <a:cxnSpLocks/>
              </p:cNvCxnSpPr>
              <p:nvPr/>
            </p:nvCxnSpPr>
            <p:spPr>
              <a:xfrm>
                <a:off x="610317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165A3674-DDA3-4140-A67D-9ECD8A2B6EE6}"/>
                  </a:ext>
                </a:extLst>
              </p:cNvPr>
              <p:cNvCxnSpPr>
                <a:cxnSpLocks/>
              </p:cNvCxnSpPr>
              <p:nvPr/>
            </p:nvCxnSpPr>
            <p:spPr>
              <a:xfrm>
                <a:off x="61509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009E129D-7CE8-044F-BCC8-9DE0CE4B7493}"/>
                  </a:ext>
                </a:extLst>
              </p:cNvPr>
              <p:cNvCxnSpPr>
                <a:cxnSpLocks/>
              </p:cNvCxnSpPr>
              <p:nvPr/>
            </p:nvCxnSpPr>
            <p:spPr>
              <a:xfrm>
                <a:off x="634512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26B36D10-3039-194D-B97D-4B01D1253BD1}"/>
                  </a:ext>
                </a:extLst>
              </p:cNvPr>
              <p:cNvCxnSpPr>
                <a:cxnSpLocks/>
              </p:cNvCxnSpPr>
              <p:nvPr/>
            </p:nvCxnSpPr>
            <p:spPr>
              <a:xfrm>
                <a:off x="639287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40ECFA9-6228-1A41-AC3D-3C225128FBAD}"/>
                  </a:ext>
                </a:extLst>
              </p:cNvPr>
              <p:cNvCxnSpPr>
                <a:cxnSpLocks/>
              </p:cNvCxnSpPr>
              <p:nvPr/>
            </p:nvCxnSpPr>
            <p:spPr>
              <a:xfrm>
                <a:off x="644062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DEFAAD2A-1AFD-B841-B7E8-68B5D122E268}"/>
                  </a:ext>
                </a:extLst>
              </p:cNvPr>
              <p:cNvCxnSpPr>
                <a:cxnSpLocks/>
              </p:cNvCxnSpPr>
              <p:nvPr/>
            </p:nvCxnSpPr>
            <p:spPr>
              <a:xfrm>
                <a:off x="648837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C20A5310-3952-3340-A836-D31F24C1F640}"/>
                  </a:ext>
                </a:extLst>
              </p:cNvPr>
              <p:cNvCxnSpPr>
                <a:cxnSpLocks/>
              </p:cNvCxnSpPr>
              <p:nvPr/>
            </p:nvCxnSpPr>
            <p:spPr>
              <a:xfrm>
                <a:off x="65361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D70BE24A-B280-C440-8F9F-197D10F82442}"/>
                  </a:ext>
                </a:extLst>
              </p:cNvPr>
              <p:cNvCxnSpPr>
                <a:cxnSpLocks/>
              </p:cNvCxnSpPr>
              <p:nvPr/>
            </p:nvCxnSpPr>
            <p:spPr>
              <a:xfrm>
                <a:off x="6583878"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4C1D31FE-50EB-D349-B8DB-193298C84A30}"/>
                  </a:ext>
                </a:extLst>
              </p:cNvPr>
              <p:cNvCxnSpPr>
                <a:cxnSpLocks/>
              </p:cNvCxnSpPr>
              <p:nvPr/>
            </p:nvCxnSpPr>
            <p:spPr>
              <a:xfrm>
                <a:off x="663162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A143978-C7AF-6943-BE55-6FA42220BE81}"/>
                  </a:ext>
                </a:extLst>
              </p:cNvPr>
              <p:cNvCxnSpPr>
                <a:cxnSpLocks/>
              </p:cNvCxnSpPr>
              <p:nvPr/>
            </p:nvCxnSpPr>
            <p:spPr>
              <a:xfrm>
                <a:off x="667937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51C87A55-F802-1C48-9344-364E6D959D66}"/>
                  </a:ext>
                </a:extLst>
              </p:cNvPr>
              <p:cNvCxnSpPr>
                <a:cxnSpLocks/>
              </p:cNvCxnSpPr>
              <p:nvPr/>
            </p:nvCxnSpPr>
            <p:spPr>
              <a:xfrm>
                <a:off x="6883777"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FE753450-D598-C043-A39D-F7E91F229460}"/>
                  </a:ext>
                </a:extLst>
              </p:cNvPr>
              <p:cNvCxnSpPr>
                <a:cxnSpLocks/>
              </p:cNvCxnSpPr>
              <p:nvPr/>
            </p:nvCxnSpPr>
            <p:spPr>
              <a:xfrm>
                <a:off x="6931528"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2C60C428-4696-804C-8077-7323C439CE2B}"/>
                  </a:ext>
                </a:extLst>
              </p:cNvPr>
              <p:cNvCxnSpPr>
                <a:cxnSpLocks/>
              </p:cNvCxnSpPr>
              <p:nvPr/>
            </p:nvCxnSpPr>
            <p:spPr>
              <a:xfrm>
                <a:off x="6979279"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921ECB4F-30AE-5245-8D8F-00DA9B64400E}"/>
                  </a:ext>
                </a:extLst>
              </p:cNvPr>
              <p:cNvCxnSpPr>
                <a:cxnSpLocks/>
              </p:cNvCxnSpPr>
              <p:nvPr/>
            </p:nvCxnSpPr>
            <p:spPr>
              <a:xfrm>
                <a:off x="7027030"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C40C8084-E874-7A43-92B7-7D3CE02226C6}"/>
                  </a:ext>
                </a:extLst>
              </p:cNvPr>
              <p:cNvCxnSpPr>
                <a:cxnSpLocks/>
              </p:cNvCxnSpPr>
              <p:nvPr/>
            </p:nvCxnSpPr>
            <p:spPr>
              <a:xfrm>
                <a:off x="7074781"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75118753-0DF3-B54A-B962-7B5F26F54509}"/>
                  </a:ext>
                </a:extLst>
              </p:cNvPr>
              <p:cNvCxnSpPr>
                <a:cxnSpLocks/>
              </p:cNvCxnSpPr>
              <p:nvPr/>
            </p:nvCxnSpPr>
            <p:spPr>
              <a:xfrm>
                <a:off x="7122532"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388196C1-57C3-6E4A-8A2B-A359E68BD882}"/>
                  </a:ext>
                </a:extLst>
              </p:cNvPr>
              <p:cNvCxnSpPr>
                <a:cxnSpLocks/>
              </p:cNvCxnSpPr>
              <p:nvPr/>
            </p:nvCxnSpPr>
            <p:spPr>
              <a:xfrm>
                <a:off x="717028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822C64-72CD-6C41-BB6E-DFDA2302E992}"/>
                  </a:ext>
                </a:extLst>
              </p:cNvPr>
              <p:cNvCxnSpPr>
                <a:cxnSpLocks/>
              </p:cNvCxnSpPr>
              <p:nvPr/>
            </p:nvCxnSpPr>
            <p:spPr>
              <a:xfrm>
                <a:off x="721803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975EA81E-3C34-904E-9079-742098154A3A}"/>
                  </a:ext>
                </a:extLst>
              </p:cNvPr>
              <p:cNvCxnSpPr>
                <a:cxnSpLocks/>
              </p:cNvCxnSpPr>
              <p:nvPr/>
            </p:nvCxnSpPr>
            <p:spPr>
              <a:xfrm>
                <a:off x="7420334"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049E458D-17C1-EB4D-A31D-44B5A0DE7906}"/>
                  </a:ext>
                </a:extLst>
              </p:cNvPr>
              <p:cNvCxnSpPr>
                <a:cxnSpLocks/>
              </p:cNvCxnSpPr>
              <p:nvPr/>
            </p:nvCxnSpPr>
            <p:spPr>
              <a:xfrm>
                <a:off x="7468085"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340A5FB3-DDFE-044E-BACE-63F640A05796}"/>
                  </a:ext>
                </a:extLst>
              </p:cNvPr>
              <p:cNvCxnSpPr>
                <a:cxnSpLocks/>
              </p:cNvCxnSpPr>
              <p:nvPr/>
            </p:nvCxnSpPr>
            <p:spPr>
              <a:xfrm>
                <a:off x="7515836"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0CC4024D-A9DB-E344-9A36-38A2FCCA9953}"/>
                  </a:ext>
                </a:extLst>
              </p:cNvPr>
              <p:cNvCxnSpPr>
                <a:cxnSpLocks/>
              </p:cNvCxnSpPr>
              <p:nvPr/>
            </p:nvCxnSpPr>
            <p:spPr>
              <a:xfrm>
                <a:off x="7563587"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893FDA6B-D9F0-824A-BE8C-DC4DA071A03D}"/>
                  </a:ext>
                </a:extLst>
              </p:cNvPr>
              <p:cNvCxnSpPr>
                <a:cxnSpLocks/>
              </p:cNvCxnSpPr>
              <p:nvPr/>
            </p:nvCxnSpPr>
            <p:spPr>
              <a:xfrm>
                <a:off x="7611338"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8D01F5D4-8E49-864F-AC4B-89D458AC0B45}"/>
                  </a:ext>
                </a:extLst>
              </p:cNvPr>
              <p:cNvCxnSpPr>
                <a:cxnSpLocks/>
              </p:cNvCxnSpPr>
              <p:nvPr/>
            </p:nvCxnSpPr>
            <p:spPr>
              <a:xfrm>
                <a:off x="7659089"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06891B1F-83C1-5342-A8BE-605FE16B43F1}"/>
                  </a:ext>
                </a:extLst>
              </p:cNvPr>
              <p:cNvCxnSpPr>
                <a:cxnSpLocks/>
              </p:cNvCxnSpPr>
              <p:nvPr/>
            </p:nvCxnSpPr>
            <p:spPr>
              <a:xfrm>
                <a:off x="770684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120A7731-6C36-EE41-87BE-100DDEB65899}"/>
                  </a:ext>
                </a:extLst>
              </p:cNvPr>
              <p:cNvCxnSpPr>
                <a:cxnSpLocks/>
              </p:cNvCxnSpPr>
              <p:nvPr/>
            </p:nvCxnSpPr>
            <p:spPr>
              <a:xfrm>
                <a:off x="775459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BBDE27A2-E5EB-C84F-8105-FCFFF9A0F6CF}"/>
                  </a:ext>
                </a:extLst>
              </p:cNvPr>
              <p:cNvCxnSpPr/>
              <p:nvPr/>
            </p:nvCxnSpPr>
            <p:spPr>
              <a:xfrm flipV="1">
                <a:off x="5941325"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F211CC11-C3AA-DB48-A7E9-F3A8BBFF0341}"/>
                  </a:ext>
                </a:extLst>
              </p:cNvPr>
              <p:cNvCxnSpPr>
                <a:cxnSpLocks/>
              </p:cNvCxnSpPr>
              <p:nvPr/>
            </p:nvCxnSpPr>
            <p:spPr>
              <a:xfrm flipH="1" flipV="1">
                <a:off x="6476244"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7F2AF944-523E-DE49-A61F-BB2A7BF3254A}"/>
                  </a:ext>
                </a:extLst>
              </p:cNvPr>
              <p:cNvCxnSpPr>
                <a:cxnSpLocks/>
              </p:cNvCxnSpPr>
              <p:nvPr/>
            </p:nvCxnSpPr>
            <p:spPr>
              <a:xfrm flipH="1" flipV="1">
                <a:off x="6476244"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69E64FF3-E8C0-DD48-A583-3C7301F43301}"/>
                  </a:ext>
                </a:extLst>
              </p:cNvPr>
              <p:cNvCxnSpPr>
                <a:cxnSpLocks/>
              </p:cNvCxnSpPr>
              <p:nvPr/>
            </p:nvCxnSpPr>
            <p:spPr>
              <a:xfrm>
                <a:off x="6476244"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E2277B8A-2495-3743-A637-755AF76B2F1E}"/>
                  </a:ext>
                </a:extLst>
              </p:cNvPr>
              <p:cNvCxnSpPr>
                <a:cxnSpLocks/>
              </p:cNvCxnSpPr>
              <p:nvPr/>
            </p:nvCxnSpPr>
            <p:spPr>
              <a:xfrm>
                <a:off x="7014898"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E1511104-7F66-7A4B-A0D4-496FAA001887}"/>
                  </a:ext>
                </a:extLst>
              </p:cNvPr>
              <p:cNvCxnSpPr>
                <a:cxnSpLocks/>
              </p:cNvCxnSpPr>
              <p:nvPr/>
            </p:nvCxnSpPr>
            <p:spPr>
              <a:xfrm flipH="1">
                <a:off x="6479979"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7AF2F263-595C-474D-8F0A-BE804BB576D7}"/>
                  </a:ext>
                </a:extLst>
              </p:cNvPr>
              <p:cNvCxnSpPr>
                <a:cxnSpLocks/>
              </p:cNvCxnSpPr>
              <p:nvPr/>
            </p:nvCxnSpPr>
            <p:spPr>
              <a:xfrm flipH="1">
                <a:off x="5941325"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CCAE4F87-96DE-F244-A7B5-F41F02EEB7AB}"/>
                  </a:ext>
                </a:extLst>
              </p:cNvPr>
              <p:cNvCxnSpPr>
                <a:cxnSpLocks/>
              </p:cNvCxnSpPr>
              <p:nvPr/>
            </p:nvCxnSpPr>
            <p:spPr>
              <a:xfrm>
                <a:off x="7014898"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C201273A-5052-2C48-9EE6-B13FFAD54CAC}"/>
                  </a:ext>
                </a:extLst>
              </p:cNvPr>
              <p:cNvCxnSpPr/>
              <p:nvPr/>
            </p:nvCxnSpPr>
            <p:spPr>
              <a:xfrm flipV="1">
                <a:off x="609087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BEB1D790-0ACD-0D47-86D4-34DC71B0E162}"/>
                  </a:ext>
                </a:extLst>
              </p:cNvPr>
              <p:cNvCxnSpPr>
                <a:cxnSpLocks/>
              </p:cNvCxnSpPr>
              <p:nvPr/>
            </p:nvCxnSpPr>
            <p:spPr>
              <a:xfrm flipH="1" flipV="1">
                <a:off x="662579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A5E0F479-4893-EC4D-999B-DA9E43EC1AA8}"/>
                  </a:ext>
                </a:extLst>
              </p:cNvPr>
              <p:cNvCxnSpPr>
                <a:cxnSpLocks/>
              </p:cNvCxnSpPr>
              <p:nvPr/>
            </p:nvCxnSpPr>
            <p:spPr>
              <a:xfrm flipH="1" flipV="1">
                <a:off x="662579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D3F44CB-37F7-1146-8BFD-0750C959E3E0}"/>
                  </a:ext>
                </a:extLst>
              </p:cNvPr>
              <p:cNvCxnSpPr>
                <a:cxnSpLocks/>
              </p:cNvCxnSpPr>
              <p:nvPr/>
            </p:nvCxnSpPr>
            <p:spPr>
              <a:xfrm>
                <a:off x="662579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A9C02803-D1AE-914E-A476-9AACD48B53B7}"/>
                  </a:ext>
                </a:extLst>
              </p:cNvPr>
              <p:cNvCxnSpPr>
                <a:cxnSpLocks/>
              </p:cNvCxnSpPr>
              <p:nvPr/>
            </p:nvCxnSpPr>
            <p:spPr>
              <a:xfrm>
                <a:off x="716445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D7082FFE-F027-4D4A-8EC7-B1891F90292C}"/>
                  </a:ext>
                </a:extLst>
              </p:cNvPr>
              <p:cNvCxnSpPr>
                <a:cxnSpLocks/>
              </p:cNvCxnSpPr>
              <p:nvPr/>
            </p:nvCxnSpPr>
            <p:spPr>
              <a:xfrm flipH="1">
                <a:off x="662953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CF84BFE0-4CD8-184D-9F74-88195C02D6C7}"/>
                  </a:ext>
                </a:extLst>
              </p:cNvPr>
              <p:cNvCxnSpPr>
                <a:cxnSpLocks/>
              </p:cNvCxnSpPr>
              <p:nvPr/>
            </p:nvCxnSpPr>
            <p:spPr>
              <a:xfrm flipH="1">
                <a:off x="609087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94B266AA-B1A7-7948-8144-B57DEAD7A69C}"/>
                  </a:ext>
                </a:extLst>
              </p:cNvPr>
              <p:cNvCxnSpPr>
                <a:cxnSpLocks/>
              </p:cNvCxnSpPr>
              <p:nvPr/>
            </p:nvCxnSpPr>
            <p:spPr>
              <a:xfrm>
                <a:off x="716445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3F403F39-6767-FD44-B686-6E966B3C5645}"/>
                  </a:ext>
                </a:extLst>
              </p:cNvPr>
              <p:cNvCxnSpPr/>
              <p:nvPr/>
            </p:nvCxnSpPr>
            <p:spPr>
              <a:xfrm flipV="1">
                <a:off x="586654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BA4D7F2F-A11B-AF4F-8BF0-983403B97899}"/>
                  </a:ext>
                </a:extLst>
              </p:cNvPr>
              <p:cNvCxnSpPr>
                <a:cxnSpLocks/>
              </p:cNvCxnSpPr>
              <p:nvPr/>
            </p:nvCxnSpPr>
            <p:spPr>
              <a:xfrm flipH="1" flipV="1">
                <a:off x="640146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A071FB0D-4EB2-C345-9C38-24E607D4E3BE}"/>
                  </a:ext>
                </a:extLst>
              </p:cNvPr>
              <p:cNvCxnSpPr>
                <a:cxnSpLocks/>
              </p:cNvCxnSpPr>
              <p:nvPr/>
            </p:nvCxnSpPr>
            <p:spPr>
              <a:xfrm flipH="1" flipV="1">
                <a:off x="640146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249F9012-0970-5C43-A84D-C210E4C6544E}"/>
                  </a:ext>
                </a:extLst>
              </p:cNvPr>
              <p:cNvCxnSpPr>
                <a:cxnSpLocks/>
              </p:cNvCxnSpPr>
              <p:nvPr/>
            </p:nvCxnSpPr>
            <p:spPr>
              <a:xfrm>
                <a:off x="640146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D0AB873A-0BA8-DC4C-9D02-73C765E7DB23}"/>
                  </a:ext>
                </a:extLst>
              </p:cNvPr>
              <p:cNvCxnSpPr>
                <a:cxnSpLocks/>
              </p:cNvCxnSpPr>
              <p:nvPr/>
            </p:nvCxnSpPr>
            <p:spPr>
              <a:xfrm>
                <a:off x="69401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1448CC0A-B382-6847-861A-FDFC7BC837B9}"/>
                  </a:ext>
                </a:extLst>
              </p:cNvPr>
              <p:cNvCxnSpPr>
                <a:cxnSpLocks/>
              </p:cNvCxnSpPr>
              <p:nvPr/>
            </p:nvCxnSpPr>
            <p:spPr>
              <a:xfrm flipH="1">
                <a:off x="64052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6965AFB9-C52A-304D-8D2E-173DD27F012F}"/>
                  </a:ext>
                </a:extLst>
              </p:cNvPr>
              <p:cNvCxnSpPr>
                <a:cxnSpLocks/>
              </p:cNvCxnSpPr>
              <p:nvPr/>
            </p:nvCxnSpPr>
            <p:spPr>
              <a:xfrm flipH="1">
                <a:off x="586654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8C7EB7B9-A1A0-F743-B13B-EB073AE03EE8}"/>
                  </a:ext>
                </a:extLst>
              </p:cNvPr>
              <p:cNvCxnSpPr>
                <a:cxnSpLocks/>
              </p:cNvCxnSpPr>
              <p:nvPr/>
            </p:nvCxnSpPr>
            <p:spPr>
              <a:xfrm>
                <a:off x="69401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6" name="Group 205"/>
            <p:cNvGrpSpPr>
              <a:grpSpLocks noChangeAspect="1"/>
            </p:cNvGrpSpPr>
            <p:nvPr/>
          </p:nvGrpSpPr>
          <p:grpSpPr>
            <a:xfrm rot="974379">
              <a:off x="5993010" y="1205719"/>
              <a:ext cx="297676" cy="364360"/>
              <a:chOff x="4929188" y="1022351"/>
              <a:chExt cx="687388" cy="841375"/>
            </a:xfrm>
          </p:grpSpPr>
          <p:sp>
            <p:nvSpPr>
              <p:cNvPr id="215" name="Freeform 124"/>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16" name="Freeform 125"/>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17" name="Freeform 126"/>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18" name="Freeform 127"/>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19" name="Freeform 128"/>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20" name="Freeform 129"/>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21" name="Freeform 130"/>
              <p:cNvSpPr>
                <a:spLocks/>
              </p:cNvSpPr>
              <p:nvPr/>
            </p:nvSpPr>
            <p:spPr bwMode="auto">
              <a:xfrm>
                <a:off x="5468938"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grpSp>
        <p:grpSp>
          <p:nvGrpSpPr>
            <p:cNvPr id="207" name="Group 206"/>
            <p:cNvGrpSpPr>
              <a:grpSpLocks noChangeAspect="1"/>
            </p:cNvGrpSpPr>
            <p:nvPr/>
          </p:nvGrpSpPr>
          <p:grpSpPr>
            <a:xfrm rot="10230679">
              <a:off x="6341186" y="1803921"/>
              <a:ext cx="302884" cy="370735"/>
              <a:chOff x="4929188" y="1022351"/>
              <a:chExt cx="687388" cy="841375"/>
            </a:xfrm>
          </p:grpSpPr>
          <p:sp>
            <p:nvSpPr>
              <p:cNvPr id="208" name="Freeform 124"/>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09" name="Freeform 125"/>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10" name="Freeform 126"/>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11" name="Freeform 127"/>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12" name="Freeform 128"/>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13" name="Freeform 129"/>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sp>
            <p:nvSpPr>
              <p:cNvPr id="214" name="Freeform 130"/>
              <p:cNvSpPr>
                <a:spLocks/>
              </p:cNvSpPr>
              <p:nvPr/>
            </p:nvSpPr>
            <p:spPr bwMode="auto">
              <a:xfrm>
                <a:off x="5468938"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dirty="0">
                  <a:solidFill>
                    <a:srgbClr val="282828"/>
                  </a:solidFill>
                </a:endParaRPr>
              </a:p>
            </p:txBody>
          </p:sp>
        </p:grpSp>
      </p:grpSp>
      <p:sp>
        <p:nvSpPr>
          <p:cNvPr id="15" name="Freeform 14"/>
          <p:cNvSpPr/>
          <p:nvPr/>
        </p:nvSpPr>
        <p:spPr>
          <a:xfrm>
            <a:off x="4879947" y="2652538"/>
            <a:ext cx="1712846" cy="538872"/>
          </a:xfrm>
          <a:custGeom>
            <a:avLst/>
            <a:gdLst>
              <a:gd name="connsiteX0" fmla="*/ 0 w 1712846"/>
              <a:gd name="connsiteY0" fmla="*/ 0 h 538872"/>
              <a:gd name="connsiteX1" fmla="*/ 999160 w 1712846"/>
              <a:gd name="connsiteY1" fmla="*/ 0 h 538872"/>
              <a:gd name="connsiteX2" fmla="*/ 1203274 w 1712846"/>
              <a:gd name="connsiteY2" fmla="*/ -57659 h 538872"/>
              <a:gd name="connsiteX3" fmla="*/ 1427372 w 1712846"/>
              <a:gd name="connsiteY3" fmla="*/ 0 h 538872"/>
              <a:gd name="connsiteX4" fmla="*/ 1712846 w 1712846"/>
              <a:gd name="connsiteY4" fmla="*/ 0 h 538872"/>
              <a:gd name="connsiteX5" fmla="*/ 1712846 w 1712846"/>
              <a:gd name="connsiteY5" fmla="*/ 89812 h 538872"/>
              <a:gd name="connsiteX6" fmla="*/ 1712846 w 1712846"/>
              <a:gd name="connsiteY6" fmla="*/ 89812 h 538872"/>
              <a:gd name="connsiteX7" fmla="*/ 1712846 w 1712846"/>
              <a:gd name="connsiteY7" fmla="*/ 224530 h 538872"/>
              <a:gd name="connsiteX8" fmla="*/ 1712846 w 1712846"/>
              <a:gd name="connsiteY8" fmla="*/ 538872 h 538872"/>
              <a:gd name="connsiteX9" fmla="*/ 1427372 w 1712846"/>
              <a:gd name="connsiteY9" fmla="*/ 538872 h 538872"/>
              <a:gd name="connsiteX10" fmla="*/ 999160 w 1712846"/>
              <a:gd name="connsiteY10" fmla="*/ 538872 h 538872"/>
              <a:gd name="connsiteX11" fmla="*/ 999160 w 1712846"/>
              <a:gd name="connsiteY11" fmla="*/ 538872 h 538872"/>
              <a:gd name="connsiteX12" fmla="*/ 0 w 1712846"/>
              <a:gd name="connsiteY12" fmla="*/ 538872 h 538872"/>
              <a:gd name="connsiteX13" fmla="*/ 0 w 1712846"/>
              <a:gd name="connsiteY13" fmla="*/ 224530 h 538872"/>
              <a:gd name="connsiteX14" fmla="*/ 0 w 1712846"/>
              <a:gd name="connsiteY14" fmla="*/ 89812 h 538872"/>
              <a:gd name="connsiteX15" fmla="*/ 0 w 1712846"/>
              <a:gd name="connsiteY15" fmla="*/ 89812 h 538872"/>
              <a:gd name="connsiteX16" fmla="*/ 0 w 1712846"/>
              <a:gd name="connsiteY16" fmla="*/ 0 h 53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2846" h="538872">
                <a:moveTo>
                  <a:pt x="0" y="0"/>
                </a:moveTo>
                <a:lnTo>
                  <a:pt x="999160" y="0"/>
                </a:lnTo>
                <a:lnTo>
                  <a:pt x="1203274" y="-57659"/>
                </a:lnTo>
                <a:lnTo>
                  <a:pt x="1427372" y="0"/>
                </a:lnTo>
                <a:lnTo>
                  <a:pt x="1712846" y="0"/>
                </a:lnTo>
                <a:lnTo>
                  <a:pt x="1712846" y="89812"/>
                </a:lnTo>
                <a:lnTo>
                  <a:pt x="1712846" y="89812"/>
                </a:lnTo>
                <a:lnTo>
                  <a:pt x="1712846" y="224530"/>
                </a:lnTo>
                <a:lnTo>
                  <a:pt x="1712846" y="538872"/>
                </a:lnTo>
                <a:lnTo>
                  <a:pt x="1427372" y="538872"/>
                </a:lnTo>
                <a:lnTo>
                  <a:pt x="999160" y="538872"/>
                </a:lnTo>
                <a:lnTo>
                  <a:pt x="999160" y="538872"/>
                </a:lnTo>
                <a:lnTo>
                  <a:pt x="0" y="538872"/>
                </a:lnTo>
                <a:lnTo>
                  <a:pt x="0" y="224530"/>
                </a:lnTo>
                <a:lnTo>
                  <a:pt x="0" y="89812"/>
                </a:lnTo>
                <a:lnTo>
                  <a:pt x="0" y="89812"/>
                </a:lnTo>
                <a:lnTo>
                  <a:pt x="0" y="0"/>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34">
              <a:lnSpc>
                <a:spcPct val="90000"/>
              </a:lnSpc>
              <a:spcAft>
                <a:spcPct val="35000"/>
              </a:spcAft>
              <a:defRPr/>
            </a:pPr>
            <a:r>
              <a:rPr lang="en-US" sz="1500" dirty="0">
                <a:solidFill>
                  <a:schemeClr val="bg2"/>
                </a:solidFill>
                <a:latin typeface="CiscoSansTT ExtraLight"/>
              </a:rPr>
              <a:t>Unified By Automation</a:t>
            </a:r>
          </a:p>
        </p:txBody>
      </p:sp>
    </p:spTree>
    <p:extLst>
      <p:ext uri="{BB962C8B-B14F-4D97-AF65-F5344CB8AC3E}">
        <p14:creationId xmlns:p14="http://schemas.microsoft.com/office/powerpoint/2010/main" val="191486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ering Creates New Requirements</a:t>
            </a:r>
          </a:p>
        </p:txBody>
      </p:sp>
      <p:pic>
        <p:nvPicPr>
          <p:cNvPr id="3" name="Picture 2"/>
          <p:cNvPicPr>
            <a:picLocks noChangeAspect="1"/>
          </p:cNvPicPr>
          <p:nvPr/>
        </p:nvPicPr>
        <p:blipFill>
          <a:blip r:embed="rId3"/>
          <a:stretch>
            <a:fillRect/>
          </a:stretch>
        </p:blipFill>
        <p:spPr>
          <a:xfrm>
            <a:off x="5704218" y="1687252"/>
            <a:ext cx="2937053" cy="2720873"/>
          </a:xfrm>
          <a:prstGeom prst="rect">
            <a:avLst/>
          </a:prstGeom>
        </p:spPr>
      </p:pic>
      <p:sp>
        <p:nvSpPr>
          <p:cNvPr id="4" name="Title 1"/>
          <p:cNvSpPr txBox="1">
            <a:spLocks/>
          </p:cNvSpPr>
          <p:nvPr/>
        </p:nvSpPr>
        <p:spPr bwMode="auto">
          <a:xfrm>
            <a:off x="437766" y="872415"/>
            <a:ext cx="8203504" cy="36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6251" indent="-6251" algn="l" defTabSz="457200" rtl="0" eaLnBrk="0" fontAlgn="base" hangingPunct="0">
              <a:lnSpc>
                <a:spcPct val="90000"/>
              </a:lnSpc>
              <a:spcBef>
                <a:spcPct val="0"/>
              </a:spcBef>
              <a:spcAft>
                <a:spcPct val="0"/>
              </a:spcAft>
              <a:defRPr lang="en-US" sz="2400" b="0" kern="1200" baseline="0" dirty="0">
                <a:solidFill>
                  <a:schemeClr val="accent6"/>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r>
              <a:rPr lang="en-US" sz="1800">
                <a:solidFill>
                  <a:schemeClr val="accent4"/>
                </a:solidFill>
              </a:rPr>
              <a:t>As traffic continues to grow and 5G evolves, peering and </a:t>
            </a:r>
            <a:br>
              <a:rPr lang="en-US" sz="1800">
                <a:solidFill>
                  <a:schemeClr val="accent4"/>
                </a:solidFill>
              </a:rPr>
            </a:br>
            <a:r>
              <a:rPr lang="en-US" sz="1800">
                <a:solidFill>
                  <a:schemeClr val="accent4"/>
                </a:solidFill>
              </a:rPr>
              <a:t>CDN will be driven deeper into the network</a:t>
            </a:r>
            <a:endParaRPr sz="1800">
              <a:solidFill>
                <a:schemeClr val="accent4"/>
              </a:solidFill>
            </a:endParaRPr>
          </a:p>
        </p:txBody>
      </p:sp>
      <p:sp>
        <p:nvSpPr>
          <p:cNvPr id="5" name="Rectangle 3"/>
          <p:cNvSpPr>
            <a:spLocks noChangeArrowheads="1"/>
          </p:cNvSpPr>
          <p:nvPr/>
        </p:nvSpPr>
        <p:spPr bwMode="gray">
          <a:xfrm>
            <a:off x="730174" y="1742590"/>
            <a:ext cx="2285816" cy="591349"/>
          </a:xfrm>
          <a:prstGeom prst="rect">
            <a:avLst/>
          </a:prstGeom>
          <a:solidFill>
            <a:schemeClr val="bg2">
              <a:lumMod val="95000"/>
            </a:schemeClr>
          </a:solidFill>
          <a:ln w="19050" algn="ctr">
            <a:noFill/>
            <a:miter lim="800000"/>
            <a:headEnd/>
            <a:tailEnd/>
          </a:ln>
          <a:effectLst/>
        </p:spPr>
        <p:txBody>
          <a:bodyPr lIns="123460" tIns="27387" rIns="54776" bIns="27387" anchor="ctr"/>
          <a:lstStyle/>
          <a:p>
            <a:pPr defTabSz="610857"/>
            <a:r>
              <a:rPr lang="en-US" sz="1200" dirty="0"/>
              <a:t>Distributed CDN/peering locations</a:t>
            </a:r>
          </a:p>
        </p:txBody>
      </p:sp>
      <p:sp>
        <p:nvSpPr>
          <p:cNvPr id="6" name="Rectangle 4"/>
          <p:cNvSpPr>
            <a:spLocks noChangeArrowheads="1"/>
          </p:cNvSpPr>
          <p:nvPr/>
        </p:nvSpPr>
        <p:spPr bwMode="gray">
          <a:xfrm>
            <a:off x="590942" y="1742590"/>
            <a:ext cx="139233" cy="591349"/>
          </a:xfrm>
          <a:prstGeom prst="rect">
            <a:avLst/>
          </a:prstGeom>
          <a:solidFill>
            <a:schemeClr val="accent1"/>
          </a:solidFill>
          <a:ln w="19050" algn="ctr">
            <a:noFill/>
            <a:miter lim="800000"/>
            <a:headEnd/>
            <a:tailEnd/>
          </a:ln>
          <a:effectLst/>
        </p:spPr>
        <p:txBody>
          <a:bodyPr wrap="none" lIns="68589" tIns="68589" rIns="68589" bIns="68589" anchor="ctr"/>
          <a:lstStyle/>
          <a:p>
            <a:pPr algn="ctr" defTabSz="610857"/>
            <a:endParaRPr lang="en-US" sz="1500" dirty="0">
              <a:solidFill>
                <a:schemeClr val="bg1"/>
              </a:solidFill>
            </a:endParaRPr>
          </a:p>
        </p:txBody>
      </p:sp>
      <p:sp>
        <p:nvSpPr>
          <p:cNvPr id="7" name="Rectangle 7"/>
          <p:cNvSpPr>
            <a:spLocks noChangeArrowheads="1"/>
          </p:cNvSpPr>
          <p:nvPr/>
        </p:nvSpPr>
        <p:spPr bwMode="gray">
          <a:xfrm>
            <a:off x="730174" y="2419526"/>
            <a:ext cx="2285816" cy="591349"/>
          </a:xfrm>
          <a:prstGeom prst="rect">
            <a:avLst/>
          </a:prstGeom>
          <a:solidFill>
            <a:schemeClr val="bg2">
              <a:lumMod val="95000"/>
            </a:schemeClr>
          </a:solidFill>
          <a:ln w="19050" algn="ctr">
            <a:noFill/>
            <a:miter lim="800000"/>
            <a:headEnd/>
            <a:tailEnd/>
          </a:ln>
          <a:effectLst/>
        </p:spPr>
        <p:txBody>
          <a:bodyPr lIns="123460" tIns="27387" rIns="54776" bIns="27387" anchor="ctr"/>
          <a:lstStyle/>
          <a:p>
            <a:pPr defTabSz="610857"/>
            <a:r>
              <a:rPr lang="en-US" sz="1200" dirty="0"/>
              <a:t>Traffic steering end-to-end, from network peer ingress to egress</a:t>
            </a:r>
          </a:p>
        </p:txBody>
      </p:sp>
      <p:sp>
        <p:nvSpPr>
          <p:cNvPr id="8" name="Rectangle 8"/>
          <p:cNvSpPr>
            <a:spLocks noChangeArrowheads="1"/>
          </p:cNvSpPr>
          <p:nvPr/>
        </p:nvSpPr>
        <p:spPr bwMode="gray">
          <a:xfrm>
            <a:off x="590942" y="2419526"/>
            <a:ext cx="139233" cy="591349"/>
          </a:xfrm>
          <a:prstGeom prst="rect">
            <a:avLst/>
          </a:prstGeom>
          <a:solidFill>
            <a:schemeClr val="accent2"/>
          </a:solidFill>
          <a:ln w="19050" algn="ctr">
            <a:noFill/>
            <a:miter lim="800000"/>
            <a:headEnd/>
            <a:tailEnd/>
          </a:ln>
          <a:effectLst/>
        </p:spPr>
        <p:txBody>
          <a:bodyPr wrap="none" lIns="68589" tIns="68589" rIns="68589" bIns="68589" anchor="ctr"/>
          <a:lstStyle/>
          <a:p>
            <a:pPr algn="ctr" defTabSz="610857"/>
            <a:endParaRPr lang="en-US" sz="1500" dirty="0">
              <a:solidFill>
                <a:schemeClr val="bg1"/>
              </a:solidFill>
            </a:endParaRPr>
          </a:p>
        </p:txBody>
      </p:sp>
      <p:sp>
        <p:nvSpPr>
          <p:cNvPr id="9" name="Rectangle 11"/>
          <p:cNvSpPr>
            <a:spLocks noChangeArrowheads="1"/>
          </p:cNvSpPr>
          <p:nvPr/>
        </p:nvSpPr>
        <p:spPr bwMode="gray">
          <a:xfrm>
            <a:off x="730174" y="3110223"/>
            <a:ext cx="2285816" cy="591349"/>
          </a:xfrm>
          <a:prstGeom prst="rect">
            <a:avLst/>
          </a:prstGeom>
          <a:solidFill>
            <a:schemeClr val="bg2">
              <a:lumMod val="95000"/>
            </a:schemeClr>
          </a:solidFill>
          <a:ln w="19050" algn="ctr">
            <a:noFill/>
            <a:miter lim="800000"/>
            <a:headEnd/>
            <a:tailEnd/>
          </a:ln>
          <a:effectLst/>
        </p:spPr>
        <p:txBody>
          <a:bodyPr lIns="123460" tIns="27387" rIns="54776" bIns="27387" anchor="ctr"/>
          <a:lstStyle/>
          <a:p>
            <a:pPr defTabSz="610857"/>
            <a:r>
              <a:rPr lang="en-US" sz="1200" dirty="0"/>
              <a:t>Analytic data</a:t>
            </a:r>
          </a:p>
        </p:txBody>
      </p:sp>
      <p:sp>
        <p:nvSpPr>
          <p:cNvPr id="10" name="Rectangle 12"/>
          <p:cNvSpPr>
            <a:spLocks noChangeArrowheads="1"/>
          </p:cNvSpPr>
          <p:nvPr/>
        </p:nvSpPr>
        <p:spPr bwMode="gray">
          <a:xfrm>
            <a:off x="590942" y="3110223"/>
            <a:ext cx="139233" cy="591349"/>
          </a:xfrm>
          <a:prstGeom prst="rect">
            <a:avLst/>
          </a:prstGeom>
          <a:solidFill>
            <a:schemeClr val="accent3"/>
          </a:solidFill>
          <a:ln w="19050" algn="ctr">
            <a:noFill/>
            <a:miter lim="800000"/>
            <a:headEnd/>
            <a:tailEnd/>
          </a:ln>
          <a:effectLst/>
        </p:spPr>
        <p:txBody>
          <a:bodyPr wrap="none" lIns="68589" tIns="68589" rIns="68589" bIns="68589" anchor="ctr"/>
          <a:lstStyle/>
          <a:p>
            <a:pPr algn="ctr" defTabSz="610857"/>
            <a:endParaRPr lang="en-US" sz="1500" dirty="0">
              <a:solidFill>
                <a:schemeClr val="bg2"/>
              </a:solidFill>
            </a:endParaRPr>
          </a:p>
        </p:txBody>
      </p:sp>
      <p:sp>
        <p:nvSpPr>
          <p:cNvPr id="11" name="Rectangle 14"/>
          <p:cNvSpPr>
            <a:spLocks noChangeArrowheads="1"/>
          </p:cNvSpPr>
          <p:nvPr/>
        </p:nvSpPr>
        <p:spPr bwMode="gray">
          <a:xfrm>
            <a:off x="730174" y="3794040"/>
            <a:ext cx="2285816" cy="591349"/>
          </a:xfrm>
          <a:prstGeom prst="rect">
            <a:avLst/>
          </a:prstGeom>
          <a:solidFill>
            <a:schemeClr val="bg2">
              <a:lumMod val="95000"/>
            </a:schemeClr>
          </a:solidFill>
          <a:ln w="19050" algn="ctr">
            <a:noFill/>
            <a:miter lim="800000"/>
            <a:headEnd/>
            <a:tailEnd/>
          </a:ln>
          <a:effectLst/>
        </p:spPr>
        <p:txBody>
          <a:bodyPr lIns="123460" tIns="27387" rIns="54776" bIns="27387" anchor="ctr"/>
          <a:lstStyle/>
          <a:p>
            <a:pPr defTabSz="610857"/>
            <a:r>
              <a:rPr lang="en-US" sz="1200" dirty="0"/>
              <a:t>Trusted device and edge security</a:t>
            </a:r>
          </a:p>
        </p:txBody>
      </p:sp>
      <p:sp>
        <p:nvSpPr>
          <p:cNvPr id="12" name="Rectangle 15"/>
          <p:cNvSpPr>
            <a:spLocks noChangeArrowheads="1"/>
          </p:cNvSpPr>
          <p:nvPr/>
        </p:nvSpPr>
        <p:spPr bwMode="gray">
          <a:xfrm>
            <a:off x="590942" y="3794040"/>
            <a:ext cx="139233" cy="591349"/>
          </a:xfrm>
          <a:prstGeom prst="rect">
            <a:avLst/>
          </a:prstGeom>
          <a:solidFill>
            <a:schemeClr val="accent5"/>
          </a:solidFill>
          <a:ln w="19050" algn="ctr">
            <a:noFill/>
            <a:miter lim="800000"/>
            <a:headEnd/>
            <a:tailEnd/>
          </a:ln>
          <a:effectLst/>
        </p:spPr>
        <p:txBody>
          <a:bodyPr wrap="none" lIns="68589" tIns="68589" rIns="68589" bIns="68589" anchor="ctr"/>
          <a:lstStyle/>
          <a:p>
            <a:pPr algn="ctr" defTabSz="610857"/>
            <a:endParaRPr lang="en-US" sz="1500" dirty="0">
              <a:solidFill>
                <a:schemeClr val="bg1"/>
              </a:solidFill>
            </a:endParaRPr>
          </a:p>
        </p:txBody>
      </p:sp>
      <p:sp>
        <p:nvSpPr>
          <p:cNvPr id="13" name="Rectangle 3"/>
          <p:cNvSpPr>
            <a:spLocks noChangeArrowheads="1"/>
          </p:cNvSpPr>
          <p:nvPr/>
        </p:nvSpPr>
        <p:spPr bwMode="gray">
          <a:xfrm>
            <a:off x="3139714" y="1742590"/>
            <a:ext cx="2285816" cy="591349"/>
          </a:xfrm>
          <a:prstGeom prst="rect">
            <a:avLst/>
          </a:prstGeom>
          <a:solidFill>
            <a:schemeClr val="bg2">
              <a:lumMod val="95000"/>
            </a:schemeClr>
          </a:solidFill>
          <a:ln w="19050" algn="ctr">
            <a:noFill/>
            <a:miter lim="800000"/>
            <a:headEnd/>
            <a:tailEnd/>
          </a:ln>
          <a:effectLst/>
        </p:spPr>
        <p:txBody>
          <a:bodyPr lIns="123460" tIns="27387" rIns="54776" bIns="27387" anchor="ctr"/>
          <a:lstStyle/>
          <a:p>
            <a:pPr defTabSz="610857"/>
            <a:r>
              <a:rPr lang="en-US" sz="1200" dirty="0"/>
              <a:t>Resiliency, reduced bit-miles, and IP/optical hops</a:t>
            </a:r>
          </a:p>
        </p:txBody>
      </p:sp>
      <p:sp>
        <p:nvSpPr>
          <p:cNvPr id="15" name="Rectangle 7"/>
          <p:cNvSpPr>
            <a:spLocks noChangeArrowheads="1"/>
          </p:cNvSpPr>
          <p:nvPr/>
        </p:nvSpPr>
        <p:spPr bwMode="gray">
          <a:xfrm>
            <a:off x="3139714" y="2419526"/>
            <a:ext cx="2285816" cy="591349"/>
          </a:xfrm>
          <a:prstGeom prst="rect">
            <a:avLst/>
          </a:prstGeom>
          <a:solidFill>
            <a:schemeClr val="bg2">
              <a:lumMod val="95000"/>
            </a:schemeClr>
          </a:solidFill>
          <a:ln w="19050" algn="ctr">
            <a:noFill/>
            <a:miter lim="800000"/>
            <a:headEnd/>
            <a:tailEnd/>
          </a:ln>
          <a:effectLst/>
        </p:spPr>
        <p:txBody>
          <a:bodyPr lIns="123460" tIns="27387" rIns="54776" bIns="27387" anchor="ctr"/>
          <a:lstStyle/>
          <a:p>
            <a:pPr defTabSz="610857"/>
            <a:r>
              <a:rPr lang="en-US" sz="1200" dirty="0"/>
              <a:t>Optimal bandwidth utilization and application SLA</a:t>
            </a:r>
          </a:p>
        </p:txBody>
      </p:sp>
      <p:sp>
        <p:nvSpPr>
          <p:cNvPr id="17" name="Rectangle 11"/>
          <p:cNvSpPr>
            <a:spLocks noChangeArrowheads="1"/>
          </p:cNvSpPr>
          <p:nvPr/>
        </p:nvSpPr>
        <p:spPr bwMode="gray">
          <a:xfrm>
            <a:off x="3139714" y="3110223"/>
            <a:ext cx="2285816" cy="591349"/>
          </a:xfrm>
          <a:prstGeom prst="rect">
            <a:avLst/>
          </a:prstGeom>
          <a:solidFill>
            <a:schemeClr val="bg2">
              <a:lumMod val="95000"/>
            </a:schemeClr>
          </a:solidFill>
          <a:ln w="19050" algn="ctr">
            <a:noFill/>
            <a:miter lim="800000"/>
            <a:headEnd/>
            <a:tailEnd/>
          </a:ln>
          <a:effectLst/>
        </p:spPr>
        <p:txBody>
          <a:bodyPr lIns="123460" tIns="27387" rIns="54776" bIns="27387" anchor="ctr"/>
          <a:lstStyle/>
          <a:p>
            <a:pPr defTabSz="610857"/>
            <a:r>
              <a:rPr lang="en-US" sz="1200" dirty="0"/>
              <a:t>Network insight, policy control and automated egress and ingress peering engineering</a:t>
            </a:r>
          </a:p>
        </p:txBody>
      </p:sp>
      <p:sp>
        <p:nvSpPr>
          <p:cNvPr id="19" name="Rectangle 14"/>
          <p:cNvSpPr>
            <a:spLocks noChangeArrowheads="1"/>
          </p:cNvSpPr>
          <p:nvPr/>
        </p:nvSpPr>
        <p:spPr bwMode="gray">
          <a:xfrm>
            <a:off x="3139714" y="3794040"/>
            <a:ext cx="2285816" cy="591349"/>
          </a:xfrm>
          <a:prstGeom prst="rect">
            <a:avLst/>
          </a:prstGeom>
          <a:solidFill>
            <a:schemeClr val="bg2">
              <a:lumMod val="95000"/>
            </a:schemeClr>
          </a:solidFill>
          <a:ln w="19050" algn="ctr">
            <a:noFill/>
            <a:miter lim="800000"/>
            <a:headEnd/>
            <a:tailEnd/>
          </a:ln>
          <a:effectLst/>
        </p:spPr>
        <p:txBody>
          <a:bodyPr lIns="123460" tIns="27387" rIns="54776" bIns="27387" anchor="ctr"/>
          <a:lstStyle/>
          <a:p>
            <a:pPr defTabSz="610857"/>
            <a:r>
              <a:rPr lang="en-US" sz="1200" dirty="0"/>
              <a:t>To mitigate </a:t>
            </a:r>
            <a:r>
              <a:rPr lang="en-US" sz="1200" dirty="0" err="1"/>
              <a:t>DDoS</a:t>
            </a:r>
            <a:r>
              <a:rPr lang="en-US" sz="1200" dirty="0"/>
              <a:t> and secure network infrastructure</a:t>
            </a:r>
          </a:p>
        </p:txBody>
      </p:sp>
      <p:cxnSp>
        <p:nvCxnSpPr>
          <p:cNvPr id="28" name="Straight Connector 27"/>
          <p:cNvCxnSpPr/>
          <p:nvPr/>
        </p:nvCxnSpPr>
        <p:spPr>
          <a:xfrm>
            <a:off x="585389" y="1742589"/>
            <a:ext cx="483458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85389" y="2411069"/>
            <a:ext cx="483458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97828" y="3113119"/>
            <a:ext cx="483458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91608" y="3794039"/>
            <a:ext cx="483458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034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8492E5-4120-4816-A074-B4E903958B84}"/>
              </a:ext>
            </a:extLst>
          </p:cNvPr>
          <p:cNvPicPr>
            <a:picLocks noChangeAspect="1"/>
          </p:cNvPicPr>
          <p:nvPr/>
        </p:nvPicPr>
        <p:blipFill>
          <a:blip r:embed="rId3"/>
          <a:stretch>
            <a:fillRect/>
          </a:stretch>
        </p:blipFill>
        <p:spPr>
          <a:xfrm>
            <a:off x="2368680" y="5128"/>
            <a:ext cx="6775321" cy="5143500"/>
          </a:xfrm>
          <a:prstGeom prst="rect">
            <a:avLst/>
          </a:prstGeom>
        </p:spPr>
      </p:pic>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7" name="Group 106">
            <a:extLst>
              <a:ext uri="{FF2B5EF4-FFF2-40B4-BE49-F238E27FC236}">
                <a16:creationId xmlns:a16="http://schemas.microsoft.com/office/drawing/2014/main" id="{47553045-D6C2-4B0B-9FFA-913806AFDD86}"/>
              </a:ext>
            </a:extLst>
          </p:cNvPr>
          <p:cNvGrpSpPr/>
          <p:nvPr/>
        </p:nvGrpSpPr>
        <p:grpSpPr>
          <a:xfrm>
            <a:off x="90338" y="369387"/>
            <a:ext cx="304786" cy="304788"/>
            <a:chOff x="4083769" y="2552776"/>
            <a:chExt cx="529089" cy="529089"/>
          </a:xfrm>
        </p:grpSpPr>
        <p:sp>
          <p:nvSpPr>
            <p:cNvPr id="108" name="Oval 107">
              <a:extLst>
                <a:ext uri="{FF2B5EF4-FFF2-40B4-BE49-F238E27FC236}">
                  <a16:creationId xmlns:a16="http://schemas.microsoft.com/office/drawing/2014/main" id="{DA9C8E9A-6AFB-4BB2-B1AF-4726F9DB634F}"/>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09" name="Freeform: Shape 298">
              <a:extLst>
                <a:ext uri="{FF2B5EF4-FFF2-40B4-BE49-F238E27FC236}">
                  <a16:creationId xmlns:a16="http://schemas.microsoft.com/office/drawing/2014/main" id="{F027A440-7CF6-4F72-B4A9-331CDA8FA3E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0" name="Freeform: Shape 299">
              <a:extLst>
                <a:ext uri="{FF2B5EF4-FFF2-40B4-BE49-F238E27FC236}">
                  <a16:creationId xmlns:a16="http://schemas.microsoft.com/office/drawing/2014/main" id="{757B6622-5D59-4906-866D-E57B2111215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1" name="Freeform: Shape 301">
              <a:extLst>
                <a:ext uri="{FF2B5EF4-FFF2-40B4-BE49-F238E27FC236}">
                  <a16:creationId xmlns:a16="http://schemas.microsoft.com/office/drawing/2014/main" id="{F701CA7A-24FC-48DE-8455-A8D10E0675D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2" name="Freeform: Shape 302">
              <a:extLst>
                <a:ext uri="{FF2B5EF4-FFF2-40B4-BE49-F238E27FC236}">
                  <a16:creationId xmlns:a16="http://schemas.microsoft.com/office/drawing/2014/main" id="{3C0291BF-2906-4864-9B5C-355F7B8ABEC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114" name="TextBox 113">
            <a:extLst>
              <a:ext uri="{FF2B5EF4-FFF2-40B4-BE49-F238E27FC236}">
                <a16:creationId xmlns:a16="http://schemas.microsoft.com/office/drawing/2014/main" id="{BD5FCF40-F8C8-4C2E-9C48-73A9844F8761}"/>
              </a:ext>
            </a:extLst>
          </p:cNvPr>
          <p:cNvSpPr txBox="1"/>
          <p:nvPr/>
        </p:nvSpPr>
        <p:spPr>
          <a:xfrm>
            <a:off x="400160" y="304844"/>
            <a:ext cx="1160895" cy="369332"/>
          </a:xfrm>
          <a:prstGeom prst="rect">
            <a:avLst/>
          </a:prstGeom>
          <a:noFill/>
        </p:spPr>
        <p:txBody>
          <a:bodyPr wrap="none" rtlCol="0">
            <a:spAutoFit/>
          </a:bodyPr>
          <a:lstStyle/>
          <a:p>
            <a:pPr defTabSz="457189"/>
            <a:r>
              <a:rPr lang="en-ZA" dirty="0">
                <a:solidFill>
                  <a:srgbClr val="282828"/>
                </a:solidFill>
                <a:latin typeface="CiscoSansTT ExtraLight"/>
              </a:rPr>
              <a:t>Core Site</a:t>
            </a:r>
          </a:p>
        </p:txBody>
      </p:sp>
      <p:grpSp>
        <p:nvGrpSpPr>
          <p:cNvPr id="115" name="Group 114">
            <a:extLst>
              <a:ext uri="{FF2B5EF4-FFF2-40B4-BE49-F238E27FC236}">
                <a16:creationId xmlns:a16="http://schemas.microsoft.com/office/drawing/2014/main" id="{86496AE5-61D1-4B8C-BDE6-CB291E9C2F87}"/>
              </a:ext>
            </a:extLst>
          </p:cNvPr>
          <p:cNvGrpSpPr/>
          <p:nvPr/>
        </p:nvGrpSpPr>
        <p:grpSpPr>
          <a:xfrm>
            <a:off x="104172" y="749925"/>
            <a:ext cx="304786" cy="304788"/>
            <a:chOff x="4083769" y="2552776"/>
            <a:chExt cx="529089" cy="529089"/>
          </a:xfrm>
        </p:grpSpPr>
        <p:sp>
          <p:nvSpPr>
            <p:cNvPr id="116" name="Oval 115">
              <a:extLst>
                <a:ext uri="{FF2B5EF4-FFF2-40B4-BE49-F238E27FC236}">
                  <a16:creationId xmlns:a16="http://schemas.microsoft.com/office/drawing/2014/main" id="{E4A0FB55-18E8-45EA-9FDC-43DBEDB2DCD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7" name="Freeform: Shape 298">
              <a:extLst>
                <a:ext uri="{FF2B5EF4-FFF2-40B4-BE49-F238E27FC236}">
                  <a16:creationId xmlns:a16="http://schemas.microsoft.com/office/drawing/2014/main" id="{C9E57A15-DDF1-4FB2-9226-25C14BEB2DB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8" name="Freeform: Shape 299">
              <a:extLst>
                <a:ext uri="{FF2B5EF4-FFF2-40B4-BE49-F238E27FC236}">
                  <a16:creationId xmlns:a16="http://schemas.microsoft.com/office/drawing/2014/main" id="{A7CF688B-B368-4668-B9A4-0F47DC86B33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9" name="Freeform: Shape 301">
              <a:extLst>
                <a:ext uri="{FF2B5EF4-FFF2-40B4-BE49-F238E27FC236}">
                  <a16:creationId xmlns:a16="http://schemas.microsoft.com/office/drawing/2014/main" id="{527A1B48-0332-403E-A997-80ABAF403B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0" name="Freeform: Shape 302">
              <a:extLst>
                <a:ext uri="{FF2B5EF4-FFF2-40B4-BE49-F238E27FC236}">
                  <a16:creationId xmlns:a16="http://schemas.microsoft.com/office/drawing/2014/main" id="{A7872A07-346A-4F95-943E-975F8CBBC00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121" name="TextBox 120">
            <a:extLst>
              <a:ext uri="{FF2B5EF4-FFF2-40B4-BE49-F238E27FC236}">
                <a16:creationId xmlns:a16="http://schemas.microsoft.com/office/drawing/2014/main" id="{730E934F-8DE3-44E6-B10C-2AF5E66C3554}"/>
              </a:ext>
            </a:extLst>
          </p:cNvPr>
          <p:cNvSpPr txBox="1"/>
          <p:nvPr/>
        </p:nvSpPr>
        <p:spPr>
          <a:xfrm>
            <a:off x="408957" y="731385"/>
            <a:ext cx="1806905" cy="369332"/>
          </a:xfrm>
          <a:prstGeom prst="rect">
            <a:avLst/>
          </a:prstGeom>
          <a:noFill/>
        </p:spPr>
        <p:txBody>
          <a:bodyPr wrap="none" rtlCol="0">
            <a:spAutoFit/>
          </a:bodyPr>
          <a:lstStyle/>
          <a:p>
            <a:pPr defTabSz="457189"/>
            <a:r>
              <a:rPr lang="en-ZA" dirty="0">
                <a:solidFill>
                  <a:srgbClr val="282828"/>
                </a:solidFill>
                <a:latin typeface="CiscoSansTT ExtraLight"/>
              </a:rPr>
              <a:t>Distribution Site</a:t>
            </a:r>
          </a:p>
        </p:txBody>
      </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75" name="Group 174">
            <a:extLst>
              <a:ext uri="{FF2B5EF4-FFF2-40B4-BE49-F238E27FC236}">
                <a16:creationId xmlns:a16="http://schemas.microsoft.com/office/drawing/2014/main" id="{BF6AC144-5DBB-471E-A7EF-C84ECF6F8CA3}"/>
              </a:ext>
            </a:extLst>
          </p:cNvPr>
          <p:cNvGrpSpPr/>
          <p:nvPr/>
        </p:nvGrpSpPr>
        <p:grpSpPr>
          <a:xfrm>
            <a:off x="104172" y="1146718"/>
            <a:ext cx="304786" cy="304788"/>
            <a:chOff x="4083769" y="2552776"/>
            <a:chExt cx="529089" cy="529089"/>
          </a:xfrm>
        </p:grpSpPr>
        <p:sp>
          <p:nvSpPr>
            <p:cNvPr id="176" name="Oval 175">
              <a:extLst>
                <a:ext uri="{FF2B5EF4-FFF2-40B4-BE49-F238E27FC236}">
                  <a16:creationId xmlns:a16="http://schemas.microsoft.com/office/drawing/2014/main" id="{C74457F1-4973-46E1-8279-6AAF390C2C71}"/>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7" name="Freeform: Shape 298">
              <a:extLst>
                <a:ext uri="{FF2B5EF4-FFF2-40B4-BE49-F238E27FC236}">
                  <a16:creationId xmlns:a16="http://schemas.microsoft.com/office/drawing/2014/main" id="{301860A5-9429-49E4-A353-706F94ABCD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8" name="Freeform: Shape 299">
              <a:extLst>
                <a:ext uri="{FF2B5EF4-FFF2-40B4-BE49-F238E27FC236}">
                  <a16:creationId xmlns:a16="http://schemas.microsoft.com/office/drawing/2014/main" id="{ECEAF285-5205-43F1-BC0B-0C5D1B64F2A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9" name="Freeform: Shape 301">
              <a:extLst>
                <a:ext uri="{FF2B5EF4-FFF2-40B4-BE49-F238E27FC236}">
                  <a16:creationId xmlns:a16="http://schemas.microsoft.com/office/drawing/2014/main" id="{5BFEE31C-7D4A-4E01-8550-2C2A04E1205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0" name="Freeform: Shape 302">
              <a:extLst>
                <a:ext uri="{FF2B5EF4-FFF2-40B4-BE49-F238E27FC236}">
                  <a16:creationId xmlns:a16="http://schemas.microsoft.com/office/drawing/2014/main" id="{F8BA9AF7-B71F-40B8-90BE-060B5FEF2FD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181" name="TextBox 180">
            <a:extLst>
              <a:ext uri="{FF2B5EF4-FFF2-40B4-BE49-F238E27FC236}">
                <a16:creationId xmlns:a16="http://schemas.microsoft.com/office/drawing/2014/main" id="{078277D6-7B1B-4EEE-9C07-E8FD96E7E515}"/>
              </a:ext>
            </a:extLst>
          </p:cNvPr>
          <p:cNvSpPr txBox="1"/>
          <p:nvPr/>
        </p:nvSpPr>
        <p:spPr>
          <a:xfrm>
            <a:off x="408957" y="1128178"/>
            <a:ext cx="1917513" cy="369332"/>
          </a:xfrm>
          <a:prstGeom prst="rect">
            <a:avLst/>
          </a:prstGeom>
          <a:noFill/>
        </p:spPr>
        <p:txBody>
          <a:bodyPr wrap="none" rtlCol="0">
            <a:spAutoFit/>
          </a:bodyPr>
          <a:lstStyle/>
          <a:p>
            <a:pPr defTabSz="457189"/>
            <a:r>
              <a:rPr lang="en-ZA" dirty="0">
                <a:solidFill>
                  <a:srgbClr val="282828"/>
                </a:solidFill>
                <a:latin typeface="CiscoSansTT ExtraLight"/>
              </a:rPr>
              <a:t>Aggregation Site</a:t>
            </a:r>
          </a:p>
        </p:txBody>
      </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6" name="Group 485">
            <a:extLst>
              <a:ext uri="{FF2B5EF4-FFF2-40B4-BE49-F238E27FC236}">
                <a16:creationId xmlns:a16="http://schemas.microsoft.com/office/drawing/2014/main" id="{B27DE993-F3E1-42D4-B5DC-CD562A442398}"/>
              </a:ext>
            </a:extLst>
          </p:cNvPr>
          <p:cNvGrpSpPr/>
          <p:nvPr/>
        </p:nvGrpSpPr>
        <p:grpSpPr>
          <a:xfrm>
            <a:off x="97462" y="1564872"/>
            <a:ext cx="311495" cy="311498"/>
            <a:chOff x="4083769" y="2552776"/>
            <a:chExt cx="529089" cy="529089"/>
          </a:xfrm>
        </p:grpSpPr>
        <p:sp>
          <p:nvSpPr>
            <p:cNvPr id="487" name="Oval 486">
              <a:extLst>
                <a:ext uri="{FF2B5EF4-FFF2-40B4-BE49-F238E27FC236}">
                  <a16:creationId xmlns:a16="http://schemas.microsoft.com/office/drawing/2014/main" id="{9A4D8DB9-D169-4C05-9D93-EAA75051C546}"/>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8" name="Freeform: Shape 298">
              <a:extLst>
                <a:ext uri="{FF2B5EF4-FFF2-40B4-BE49-F238E27FC236}">
                  <a16:creationId xmlns:a16="http://schemas.microsoft.com/office/drawing/2014/main" id="{9B306727-F69C-4DFF-840F-3C08D71D789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9" name="Freeform: Shape 299">
              <a:extLst>
                <a:ext uri="{FF2B5EF4-FFF2-40B4-BE49-F238E27FC236}">
                  <a16:creationId xmlns:a16="http://schemas.microsoft.com/office/drawing/2014/main" id="{3BA03BE2-DECE-40A2-B4B7-02E3D85165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0" name="Freeform: Shape 301">
              <a:extLst>
                <a:ext uri="{FF2B5EF4-FFF2-40B4-BE49-F238E27FC236}">
                  <a16:creationId xmlns:a16="http://schemas.microsoft.com/office/drawing/2014/main" id="{B942404F-1F4C-49D5-A5DC-7ADB8536ECB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1" name="Freeform: Shape 302">
              <a:extLst>
                <a:ext uri="{FF2B5EF4-FFF2-40B4-BE49-F238E27FC236}">
                  <a16:creationId xmlns:a16="http://schemas.microsoft.com/office/drawing/2014/main" id="{408B8E02-0A6A-4CBA-8BD2-0E38DE30AEB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92" name="TextBox 491">
            <a:extLst>
              <a:ext uri="{FF2B5EF4-FFF2-40B4-BE49-F238E27FC236}">
                <a16:creationId xmlns:a16="http://schemas.microsoft.com/office/drawing/2014/main" id="{D5F0698A-95D8-433F-BB7D-F4691D171BF9}"/>
              </a:ext>
            </a:extLst>
          </p:cNvPr>
          <p:cNvSpPr txBox="1"/>
          <p:nvPr/>
        </p:nvSpPr>
        <p:spPr>
          <a:xfrm>
            <a:off x="415223" y="1521921"/>
            <a:ext cx="1447832" cy="369332"/>
          </a:xfrm>
          <a:prstGeom prst="rect">
            <a:avLst/>
          </a:prstGeom>
          <a:noFill/>
        </p:spPr>
        <p:txBody>
          <a:bodyPr wrap="none" rtlCol="0">
            <a:spAutoFit/>
          </a:bodyPr>
          <a:lstStyle/>
          <a:p>
            <a:pPr defTabSz="457189"/>
            <a:r>
              <a:rPr lang="en-ZA" dirty="0">
                <a:solidFill>
                  <a:srgbClr val="282828"/>
                </a:solidFill>
                <a:latin typeface="CiscoSansTT ExtraLight"/>
              </a:rPr>
              <a:t>Peering Site</a:t>
            </a:r>
          </a:p>
        </p:txBody>
      </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297440" y="3288128"/>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43343" y="2135212"/>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a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Debre 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
        <p:nvSpPr>
          <p:cNvPr id="505" name="Isosceles Triangle 504">
            <a:extLst>
              <a:ext uri="{FF2B5EF4-FFF2-40B4-BE49-F238E27FC236}">
                <a16:creationId xmlns:a16="http://schemas.microsoft.com/office/drawing/2014/main" id="{F1893565-0AFF-4623-B9C2-104843C39C96}"/>
              </a:ext>
            </a:extLst>
          </p:cNvPr>
          <p:cNvSpPr/>
          <p:nvPr/>
        </p:nvSpPr>
        <p:spPr>
          <a:xfrm rot="2564761">
            <a:off x="3728104" y="1545416"/>
            <a:ext cx="2472603" cy="2610207"/>
          </a:xfrm>
          <a:prstGeom prst="triangle">
            <a:avLst>
              <a:gd name="adj" fmla="val 0"/>
            </a:avLst>
          </a:prstGeom>
          <a:gradFill flip="none" rotWithShape="1">
            <a:gsLst>
              <a:gs pos="40000">
                <a:schemeClr val="bg2"/>
              </a:gs>
              <a:gs pos="0">
                <a:schemeClr val="accent4"/>
              </a:gs>
            </a:gsLst>
            <a:lin ang="189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523" name="Rectangle: Rounded Corners 522">
            <a:extLst>
              <a:ext uri="{FF2B5EF4-FFF2-40B4-BE49-F238E27FC236}">
                <a16:creationId xmlns:a16="http://schemas.microsoft.com/office/drawing/2014/main" id="{72F01608-9876-40AB-B97C-C77D0CC5D7F2}"/>
              </a:ext>
            </a:extLst>
          </p:cNvPr>
          <p:cNvSpPr/>
          <p:nvPr/>
        </p:nvSpPr>
        <p:spPr>
          <a:xfrm>
            <a:off x="4664344" y="456272"/>
            <a:ext cx="3754247" cy="4512260"/>
          </a:xfrm>
          <a:prstGeom prst="roundRect">
            <a:avLst/>
          </a:prstGeom>
          <a:blipFill dpi="0" rotWithShape="1">
            <a:blip r:embed="rId4"/>
            <a:srcRect/>
            <a:stretch>
              <a:fillRect l="-7000" r="-2000"/>
            </a:stretch>
          </a:blip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0" name="Arrow: Right 29">
            <a:extLst>
              <a:ext uri="{FF2B5EF4-FFF2-40B4-BE49-F238E27FC236}">
                <a16:creationId xmlns:a16="http://schemas.microsoft.com/office/drawing/2014/main" id="{AEC97C19-AC02-4253-9B48-BCCA68F50684}"/>
              </a:ext>
            </a:extLst>
          </p:cNvPr>
          <p:cNvSpPr/>
          <p:nvPr/>
        </p:nvSpPr>
        <p:spPr>
          <a:xfrm rot="16200000">
            <a:off x="6117472" y="620649"/>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7" name="Rectangle 536">
            <a:extLst>
              <a:ext uri="{FF2B5EF4-FFF2-40B4-BE49-F238E27FC236}">
                <a16:creationId xmlns:a16="http://schemas.microsoft.com/office/drawing/2014/main" id="{B5E60C12-0097-4BD7-B46E-FAF0AA7F774A}"/>
              </a:ext>
            </a:extLst>
          </p:cNvPr>
          <p:cNvSpPr/>
          <p:nvPr/>
        </p:nvSpPr>
        <p:spPr>
          <a:xfrm>
            <a:off x="7898064" y="4386111"/>
            <a:ext cx="419600"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Gore</a:t>
            </a:r>
            <a:endParaRPr lang="en-GB" sz="700" dirty="0">
              <a:solidFill>
                <a:srgbClr val="0D274D"/>
              </a:solidFill>
              <a:latin typeface="CiscoSansTT ExtraLight"/>
            </a:endParaRPr>
          </a:p>
        </p:txBody>
      </p:sp>
      <p:sp>
        <p:nvSpPr>
          <p:cNvPr id="538" name="Rectangle 537">
            <a:extLst>
              <a:ext uri="{FF2B5EF4-FFF2-40B4-BE49-F238E27FC236}">
                <a16:creationId xmlns:a16="http://schemas.microsoft.com/office/drawing/2014/main" id="{37EF48BB-7456-43F5-83EF-FBA9F3748ED1}"/>
              </a:ext>
            </a:extLst>
          </p:cNvPr>
          <p:cNvSpPr/>
          <p:nvPr/>
        </p:nvSpPr>
        <p:spPr>
          <a:xfrm>
            <a:off x="6420360" y="728242"/>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mbi</a:t>
            </a:r>
            <a:endParaRPr lang="en-GB" sz="700" dirty="0">
              <a:solidFill>
                <a:srgbClr val="0D274D"/>
              </a:solidFill>
              <a:latin typeface="CiscoSansTT ExtraLight"/>
            </a:endParaRPr>
          </a:p>
        </p:txBody>
      </p:sp>
      <p:sp>
        <p:nvSpPr>
          <p:cNvPr id="539" name="Arrow: Right 538">
            <a:extLst>
              <a:ext uri="{FF2B5EF4-FFF2-40B4-BE49-F238E27FC236}">
                <a16:creationId xmlns:a16="http://schemas.microsoft.com/office/drawing/2014/main" id="{4EACC18C-96F8-4E13-95DD-3D5DB10BF4E6}"/>
              </a:ext>
            </a:extLst>
          </p:cNvPr>
          <p:cNvSpPr/>
          <p:nvPr/>
        </p:nvSpPr>
        <p:spPr>
          <a:xfrm rot="2545325">
            <a:off x="7790589" y="4617076"/>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40" name="Group 29">
            <a:extLst>
              <a:ext uri="{FF2B5EF4-FFF2-40B4-BE49-F238E27FC236}">
                <a16:creationId xmlns:a16="http://schemas.microsoft.com/office/drawing/2014/main" id="{A5F2AF66-2214-4951-A65E-E9CAE2DC79C7}"/>
              </a:ext>
            </a:extLst>
          </p:cNvPr>
          <p:cNvGrpSpPr/>
          <p:nvPr/>
        </p:nvGrpSpPr>
        <p:grpSpPr>
          <a:xfrm>
            <a:off x="5282921" y="2968278"/>
            <a:ext cx="302619" cy="317247"/>
            <a:chOff x="4163060" y="2537711"/>
            <a:chExt cx="520926" cy="520926"/>
          </a:xfrm>
        </p:grpSpPr>
        <p:sp>
          <p:nvSpPr>
            <p:cNvPr id="541" name="Oval 540">
              <a:extLst>
                <a:ext uri="{FF2B5EF4-FFF2-40B4-BE49-F238E27FC236}">
                  <a16:creationId xmlns:a16="http://schemas.microsoft.com/office/drawing/2014/main" id="{BF9B52A4-50AD-4090-98F7-A8514D6D41F4}"/>
                </a:ext>
              </a:extLst>
            </p:cNvPr>
            <p:cNvSpPr/>
            <p:nvPr/>
          </p:nvSpPr>
          <p:spPr>
            <a:xfrm>
              <a:off x="4163060" y="2537711"/>
              <a:ext cx="520926" cy="520926"/>
            </a:xfrm>
            <a:prstGeom prst="ellipse">
              <a:avLst/>
            </a:pr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defTabSz="456917">
                <a:defRPr/>
              </a:pPr>
              <a:endParaRPr lang="en-US" dirty="0">
                <a:solidFill>
                  <a:srgbClr val="FFFFFF"/>
                </a:solidFill>
                <a:latin typeface="CiscoSansTT ExtraLight"/>
              </a:endParaRPr>
            </a:p>
          </p:txBody>
        </p:sp>
        <p:sp>
          <p:nvSpPr>
            <p:cNvPr id="542" name="Freeform 41">
              <a:extLst>
                <a:ext uri="{FF2B5EF4-FFF2-40B4-BE49-F238E27FC236}">
                  <a16:creationId xmlns:a16="http://schemas.microsoft.com/office/drawing/2014/main" id="{A56A3E57-A0C9-477B-81EC-EC35AEBBBF77}"/>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5" name="Group 29">
            <a:extLst>
              <a:ext uri="{FF2B5EF4-FFF2-40B4-BE49-F238E27FC236}">
                <a16:creationId xmlns:a16="http://schemas.microsoft.com/office/drawing/2014/main" id="{9B7D416B-937A-4362-9916-A04800C1BBAA}"/>
              </a:ext>
            </a:extLst>
          </p:cNvPr>
          <p:cNvGrpSpPr/>
          <p:nvPr/>
        </p:nvGrpSpPr>
        <p:grpSpPr>
          <a:xfrm>
            <a:off x="5739506" y="1982494"/>
            <a:ext cx="302619" cy="317247"/>
            <a:chOff x="4163060" y="2537711"/>
            <a:chExt cx="520926" cy="520926"/>
          </a:xfrm>
        </p:grpSpPr>
        <p:sp>
          <p:nvSpPr>
            <p:cNvPr id="596" name="Oval 595">
              <a:extLst>
                <a:ext uri="{FF2B5EF4-FFF2-40B4-BE49-F238E27FC236}">
                  <a16:creationId xmlns:a16="http://schemas.microsoft.com/office/drawing/2014/main" id="{65341EEA-0A1C-4504-99F5-4D42CEC62D2A}"/>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597" name="Freeform 41">
              <a:extLst>
                <a:ext uri="{FF2B5EF4-FFF2-40B4-BE49-F238E27FC236}">
                  <a16:creationId xmlns:a16="http://schemas.microsoft.com/office/drawing/2014/main" id="{51E359D6-77A8-4CFC-B071-7D93C536A488}"/>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8" name="Group 29">
            <a:extLst>
              <a:ext uri="{FF2B5EF4-FFF2-40B4-BE49-F238E27FC236}">
                <a16:creationId xmlns:a16="http://schemas.microsoft.com/office/drawing/2014/main" id="{93CC09B8-F968-41A8-B214-141AA4AF960B}"/>
              </a:ext>
            </a:extLst>
          </p:cNvPr>
          <p:cNvGrpSpPr/>
          <p:nvPr/>
        </p:nvGrpSpPr>
        <p:grpSpPr>
          <a:xfrm>
            <a:off x="6268132" y="1603292"/>
            <a:ext cx="302619" cy="317247"/>
            <a:chOff x="4163060" y="2537711"/>
            <a:chExt cx="520926" cy="520926"/>
          </a:xfrm>
        </p:grpSpPr>
        <p:sp>
          <p:nvSpPr>
            <p:cNvPr id="606" name="Oval 605">
              <a:extLst>
                <a:ext uri="{FF2B5EF4-FFF2-40B4-BE49-F238E27FC236}">
                  <a16:creationId xmlns:a16="http://schemas.microsoft.com/office/drawing/2014/main" id="{BC8DBA18-9627-4B1F-B11A-3FDB467F999E}"/>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07" name="Freeform 41">
              <a:extLst>
                <a:ext uri="{FF2B5EF4-FFF2-40B4-BE49-F238E27FC236}">
                  <a16:creationId xmlns:a16="http://schemas.microsoft.com/office/drawing/2014/main" id="{F13CD59C-7C44-4460-A662-CBF7056A4DBD}"/>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08" name="Group 29">
            <a:extLst>
              <a:ext uri="{FF2B5EF4-FFF2-40B4-BE49-F238E27FC236}">
                <a16:creationId xmlns:a16="http://schemas.microsoft.com/office/drawing/2014/main" id="{77E1AA06-B3E8-48CD-9C5D-399E73E40C3B}"/>
              </a:ext>
            </a:extLst>
          </p:cNvPr>
          <p:cNvGrpSpPr/>
          <p:nvPr/>
        </p:nvGrpSpPr>
        <p:grpSpPr>
          <a:xfrm>
            <a:off x="7339817" y="1345406"/>
            <a:ext cx="302619" cy="317247"/>
            <a:chOff x="4163060" y="2537711"/>
            <a:chExt cx="520926" cy="520926"/>
          </a:xfrm>
        </p:grpSpPr>
        <p:sp>
          <p:nvSpPr>
            <p:cNvPr id="609" name="Oval 608">
              <a:extLst>
                <a:ext uri="{FF2B5EF4-FFF2-40B4-BE49-F238E27FC236}">
                  <a16:creationId xmlns:a16="http://schemas.microsoft.com/office/drawing/2014/main" id="{C29DB126-B7DB-4DB0-AF57-3D5726CF2355}"/>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0" name="Freeform 41">
              <a:extLst>
                <a:ext uri="{FF2B5EF4-FFF2-40B4-BE49-F238E27FC236}">
                  <a16:creationId xmlns:a16="http://schemas.microsoft.com/office/drawing/2014/main" id="{ECD2092C-0796-4913-9BD9-12B2633B784C}"/>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1" name="Group 29">
            <a:extLst>
              <a:ext uri="{FF2B5EF4-FFF2-40B4-BE49-F238E27FC236}">
                <a16:creationId xmlns:a16="http://schemas.microsoft.com/office/drawing/2014/main" id="{27CB4948-CFD6-4009-9827-31E3DF98708C}"/>
              </a:ext>
            </a:extLst>
          </p:cNvPr>
          <p:cNvGrpSpPr/>
          <p:nvPr/>
        </p:nvGrpSpPr>
        <p:grpSpPr>
          <a:xfrm>
            <a:off x="6903626" y="2244574"/>
            <a:ext cx="302619" cy="317247"/>
            <a:chOff x="4163060" y="2537711"/>
            <a:chExt cx="520926" cy="520926"/>
          </a:xfrm>
        </p:grpSpPr>
        <p:sp>
          <p:nvSpPr>
            <p:cNvPr id="612" name="Oval 611">
              <a:extLst>
                <a:ext uri="{FF2B5EF4-FFF2-40B4-BE49-F238E27FC236}">
                  <a16:creationId xmlns:a16="http://schemas.microsoft.com/office/drawing/2014/main" id="{C2EA128A-9593-4066-A311-92023D1336A2}"/>
                </a:ext>
              </a:extLst>
            </p:cNvPr>
            <p:cNvSpPr/>
            <p:nvPr/>
          </p:nvSpPr>
          <p:spPr>
            <a:xfrm>
              <a:off x="4163060" y="2537711"/>
              <a:ext cx="520926" cy="520926"/>
            </a:xfrm>
            <a:prstGeom prst="ellipse">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456917">
                <a:defRPr/>
              </a:pPr>
              <a:endParaRPr lang="en-US" dirty="0">
                <a:solidFill>
                  <a:srgbClr val="FFFFFF"/>
                </a:solidFill>
                <a:latin typeface="CiscoSansTT ExtraLight"/>
              </a:endParaRPr>
            </a:p>
          </p:txBody>
        </p:sp>
        <p:sp>
          <p:nvSpPr>
            <p:cNvPr id="613" name="Freeform 41">
              <a:extLst>
                <a:ext uri="{FF2B5EF4-FFF2-40B4-BE49-F238E27FC236}">
                  <a16:creationId xmlns:a16="http://schemas.microsoft.com/office/drawing/2014/main" id="{3BB0BD81-E52E-46C9-B6D9-9D0FA3285610}"/>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4" name="Group 29">
            <a:extLst>
              <a:ext uri="{FF2B5EF4-FFF2-40B4-BE49-F238E27FC236}">
                <a16:creationId xmlns:a16="http://schemas.microsoft.com/office/drawing/2014/main" id="{E7DB4215-9524-48BF-B8E5-684CCDF82591}"/>
              </a:ext>
            </a:extLst>
          </p:cNvPr>
          <p:cNvGrpSpPr/>
          <p:nvPr/>
        </p:nvGrpSpPr>
        <p:grpSpPr>
          <a:xfrm>
            <a:off x="6275388" y="2823251"/>
            <a:ext cx="302619" cy="317247"/>
            <a:chOff x="4163060" y="2537711"/>
            <a:chExt cx="520926" cy="520926"/>
          </a:xfrm>
        </p:grpSpPr>
        <p:sp>
          <p:nvSpPr>
            <p:cNvPr id="615" name="Oval 614">
              <a:extLst>
                <a:ext uri="{FF2B5EF4-FFF2-40B4-BE49-F238E27FC236}">
                  <a16:creationId xmlns:a16="http://schemas.microsoft.com/office/drawing/2014/main" id="{1B5E7FBB-EC69-4268-8826-A2B262641679}"/>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6" name="Freeform 41">
              <a:extLst>
                <a:ext uri="{FF2B5EF4-FFF2-40B4-BE49-F238E27FC236}">
                  <a16:creationId xmlns:a16="http://schemas.microsoft.com/office/drawing/2014/main" id="{8D9FDE30-D3C3-468F-993B-2658B6109CE6}"/>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7" name="Group 29">
            <a:extLst>
              <a:ext uri="{FF2B5EF4-FFF2-40B4-BE49-F238E27FC236}">
                <a16:creationId xmlns:a16="http://schemas.microsoft.com/office/drawing/2014/main" id="{CB4C2803-1D31-473D-B05B-14FECC0FEBD9}"/>
              </a:ext>
            </a:extLst>
          </p:cNvPr>
          <p:cNvGrpSpPr/>
          <p:nvPr/>
        </p:nvGrpSpPr>
        <p:grpSpPr>
          <a:xfrm>
            <a:off x="7155101" y="3370835"/>
            <a:ext cx="302619" cy="317247"/>
            <a:chOff x="4163060" y="2537711"/>
            <a:chExt cx="520926" cy="520926"/>
          </a:xfrm>
        </p:grpSpPr>
        <p:sp>
          <p:nvSpPr>
            <p:cNvPr id="618" name="Oval 617">
              <a:extLst>
                <a:ext uri="{FF2B5EF4-FFF2-40B4-BE49-F238E27FC236}">
                  <a16:creationId xmlns:a16="http://schemas.microsoft.com/office/drawing/2014/main" id="{EC8B7BA3-44FD-4707-8DDB-3F73C5745317}"/>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9" name="Freeform 41">
              <a:extLst>
                <a:ext uri="{FF2B5EF4-FFF2-40B4-BE49-F238E27FC236}">
                  <a16:creationId xmlns:a16="http://schemas.microsoft.com/office/drawing/2014/main" id="{2C7B4928-6595-43BB-AD82-7D69319B999A}"/>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cxnSp>
        <p:nvCxnSpPr>
          <p:cNvPr id="32" name="Straight Connector 31">
            <a:extLst>
              <a:ext uri="{FF2B5EF4-FFF2-40B4-BE49-F238E27FC236}">
                <a16:creationId xmlns:a16="http://schemas.microsoft.com/office/drawing/2014/main" id="{C7EB0EA3-A702-4528-B1C9-ABAA7A5B3B4C}"/>
              </a:ext>
            </a:extLst>
          </p:cNvPr>
          <p:cNvCxnSpPr>
            <a:cxnSpLocks/>
            <a:stCxn id="596" idx="5"/>
            <a:endCxn id="525" idx="2"/>
          </p:cNvCxnSpPr>
          <p:nvPr/>
        </p:nvCxnSpPr>
        <p:spPr>
          <a:xfrm>
            <a:off x="5997808" y="2253282"/>
            <a:ext cx="968435" cy="331126"/>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0" name="Straight Connector 69">
            <a:extLst>
              <a:ext uri="{FF2B5EF4-FFF2-40B4-BE49-F238E27FC236}">
                <a16:creationId xmlns:a16="http://schemas.microsoft.com/office/drawing/2014/main" id="{685B54BB-7668-4C43-8B50-4969C55EF348}"/>
              </a:ext>
            </a:extLst>
          </p:cNvPr>
          <p:cNvCxnSpPr>
            <a:cxnSpLocks/>
            <a:stCxn id="606" idx="5"/>
            <a:endCxn id="525" idx="1"/>
          </p:cNvCxnSpPr>
          <p:nvPr/>
        </p:nvCxnSpPr>
        <p:spPr>
          <a:xfrm>
            <a:off x="6526434" y="1874080"/>
            <a:ext cx="464419" cy="65091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3" name="Straight Connector 72">
            <a:extLst>
              <a:ext uri="{FF2B5EF4-FFF2-40B4-BE49-F238E27FC236}">
                <a16:creationId xmlns:a16="http://schemas.microsoft.com/office/drawing/2014/main" id="{2DCDD96F-61C1-4EFA-BD1B-F57C6A13A1FC}"/>
              </a:ext>
            </a:extLst>
          </p:cNvPr>
          <p:cNvCxnSpPr>
            <a:cxnSpLocks/>
            <a:stCxn id="612" idx="4"/>
          </p:cNvCxnSpPr>
          <p:nvPr/>
        </p:nvCxnSpPr>
        <p:spPr>
          <a:xfrm flipH="1">
            <a:off x="7023021" y="2561821"/>
            <a:ext cx="31914" cy="384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13D577-06EB-4CA4-973B-BD002BEDF6E7}"/>
              </a:ext>
            </a:extLst>
          </p:cNvPr>
          <p:cNvCxnSpPr>
            <a:cxnSpLocks/>
            <a:stCxn id="609" idx="4"/>
            <a:endCxn id="525" idx="7"/>
          </p:cNvCxnSpPr>
          <p:nvPr/>
        </p:nvCxnSpPr>
        <p:spPr>
          <a:xfrm flipH="1">
            <a:off x="7109678" y="1662653"/>
            <a:ext cx="381449" cy="862341"/>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7" name="Straight Connector 76">
            <a:extLst>
              <a:ext uri="{FF2B5EF4-FFF2-40B4-BE49-F238E27FC236}">
                <a16:creationId xmlns:a16="http://schemas.microsoft.com/office/drawing/2014/main" id="{5B2818DB-830E-4AD7-B13B-996AAE83C77B}"/>
              </a:ext>
            </a:extLst>
          </p:cNvPr>
          <p:cNvCxnSpPr>
            <a:cxnSpLocks/>
            <a:stCxn id="615" idx="6"/>
            <a:endCxn id="525" idx="3"/>
          </p:cNvCxnSpPr>
          <p:nvPr/>
        </p:nvCxnSpPr>
        <p:spPr>
          <a:xfrm flipV="1">
            <a:off x="6578007" y="2643820"/>
            <a:ext cx="412845" cy="33805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0" name="Straight Connector 79">
            <a:extLst>
              <a:ext uri="{FF2B5EF4-FFF2-40B4-BE49-F238E27FC236}">
                <a16:creationId xmlns:a16="http://schemas.microsoft.com/office/drawing/2014/main" id="{65C2C988-5928-40F4-9D29-E0484818AB7A}"/>
              </a:ext>
            </a:extLst>
          </p:cNvPr>
          <p:cNvCxnSpPr>
            <a:cxnSpLocks/>
            <a:stCxn id="541" idx="6"/>
            <a:endCxn id="525" idx="2"/>
          </p:cNvCxnSpPr>
          <p:nvPr/>
        </p:nvCxnSpPr>
        <p:spPr>
          <a:xfrm flipV="1">
            <a:off x="5585540" y="2584407"/>
            <a:ext cx="1380702" cy="542495"/>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3" name="Straight Connector 82">
            <a:extLst>
              <a:ext uri="{FF2B5EF4-FFF2-40B4-BE49-F238E27FC236}">
                <a16:creationId xmlns:a16="http://schemas.microsoft.com/office/drawing/2014/main" id="{6096C28E-B668-4D25-B65D-9E575C33A5B3}"/>
              </a:ext>
            </a:extLst>
          </p:cNvPr>
          <p:cNvCxnSpPr>
            <a:stCxn id="618" idx="0"/>
            <a:endCxn id="525" idx="4"/>
          </p:cNvCxnSpPr>
          <p:nvPr/>
        </p:nvCxnSpPr>
        <p:spPr>
          <a:xfrm flipH="1" flipV="1">
            <a:off x="7050265" y="2668430"/>
            <a:ext cx="256146" cy="702405"/>
          </a:xfrm>
          <a:prstGeom prst="line">
            <a:avLst/>
          </a:prstGeom>
          <a:ln/>
        </p:spPr>
        <p:style>
          <a:lnRef idx="1">
            <a:schemeClr val="accent3"/>
          </a:lnRef>
          <a:fillRef idx="0">
            <a:schemeClr val="accent3"/>
          </a:fillRef>
          <a:effectRef idx="0">
            <a:schemeClr val="accent3"/>
          </a:effectRef>
          <a:fontRef idx="minor">
            <a:schemeClr val="tx1"/>
          </a:fontRef>
        </p:style>
      </p:cxnSp>
      <p:sp>
        <p:nvSpPr>
          <p:cNvPr id="94" name="Freeform: Shape 93">
            <a:extLst>
              <a:ext uri="{FF2B5EF4-FFF2-40B4-BE49-F238E27FC236}">
                <a16:creationId xmlns:a16="http://schemas.microsoft.com/office/drawing/2014/main" id="{F2C417E4-D4A9-44AA-9830-F1BE0AA19845}"/>
              </a:ext>
            </a:extLst>
          </p:cNvPr>
          <p:cNvSpPr/>
          <p:nvPr/>
        </p:nvSpPr>
        <p:spPr>
          <a:xfrm>
            <a:off x="6122147" y="2153242"/>
            <a:ext cx="2192937" cy="2787034"/>
          </a:xfrm>
          <a:custGeom>
            <a:avLst/>
            <a:gdLst>
              <a:gd name="connsiteX0" fmla="*/ 1162112 w 2923916"/>
              <a:gd name="connsiteY0" fmla="*/ 575226 h 3628485"/>
              <a:gd name="connsiteX1" fmla="*/ 285812 w 2923916"/>
              <a:gd name="connsiteY1" fmla="*/ 3726 h 3628485"/>
              <a:gd name="connsiteX2" fmla="*/ 19112 w 2923916"/>
              <a:gd name="connsiteY2" fmla="*/ 365676 h 3628485"/>
              <a:gd name="connsiteX3" fmla="*/ 76262 w 2923916"/>
              <a:gd name="connsiteY3" fmla="*/ 1080051 h 3628485"/>
              <a:gd name="connsiteX4" fmla="*/ 514412 w 2923916"/>
              <a:gd name="connsiteY4" fmla="*/ 1689651 h 3628485"/>
              <a:gd name="connsiteX5" fmla="*/ 1266887 w 2923916"/>
              <a:gd name="connsiteY5" fmla="*/ 1946826 h 3628485"/>
              <a:gd name="connsiteX6" fmla="*/ 1600262 w 2923916"/>
              <a:gd name="connsiteY6" fmla="*/ 2670726 h 3628485"/>
              <a:gd name="connsiteX7" fmla="*/ 2762312 w 2923916"/>
              <a:gd name="connsiteY7" fmla="*/ 3508926 h 3628485"/>
              <a:gd name="connsiteX8" fmla="*/ 2886137 w 2923916"/>
              <a:gd name="connsiteY8" fmla="*/ 3604176 h 362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3916" h="3628485">
                <a:moveTo>
                  <a:pt x="1162112" y="575226"/>
                </a:moveTo>
                <a:cubicBezTo>
                  <a:pt x="819212" y="306938"/>
                  <a:pt x="476312" y="38651"/>
                  <a:pt x="285812" y="3726"/>
                </a:cubicBezTo>
                <a:cubicBezTo>
                  <a:pt x="95312" y="-31199"/>
                  <a:pt x="54037" y="186289"/>
                  <a:pt x="19112" y="365676"/>
                </a:cubicBezTo>
                <a:cubicBezTo>
                  <a:pt x="-15813" y="545063"/>
                  <a:pt x="-6288" y="859389"/>
                  <a:pt x="76262" y="1080051"/>
                </a:cubicBezTo>
                <a:cubicBezTo>
                  <a:pt x="158812" y="1300713"/>
                  <a:pt x="315975" y="1545189"/>
                  <a:pt x="514412" y="1689651"/>
                </a:cubicBezTo>
                <a:cubicBezTo>
                  <a:pt x="712849" y="1834113"/>
                  <a:pt x="1085912" y="1783314"/>
                  <a:pt x="1266887" y="1946826"/>
                </a:cubicBezTo>
                <a:cubicBezTo>
                  <a:pt x="1447862" y="2110338"/>
                  <a:pt x="1351024" y="2410376"/>
                  <a:pt x="1600262" y="2670726"/>
                </a:cubicBezTo>
                <a:cubicBezTo>
                  <a:pt x="1849500" y="2931076"/>
                  <a:pt x="2548000" y="3353351"/>
                  <a:pt x="2762312" y="3508926"/>
                </a:cubicBezTo>
                <a:cubicBezTo>
                  <a:pt x="2976625" y="3664501"/>
                  <a:pt x="2931381" y="3634338"/>
                  <a:pt x="2886137" y="3604176"/>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sp>
        <p:nvSpPr>
          <p:cNvPr id="96" name="Freeform: Shape 95">
            <a:extLst>
              <a:ext uri="{FF2B5EF4-FFF2-40B4-BE49-F238E27FC236}">
                <a16:creationId xmlns:a16="http://schemas.microsoft.com/office/drawing/2014/main" id="{3F8BFE22-2214-497E-BF03-EBB9CB38F4DE}"/>
              </a:ext>
            </a:extLst>
          </p:cNvPr>
          <p:cNvSpPr/>
          <p:nvPr/>
        </p:nvSpPr>
        <p:spPr>
          <a:xfrm>
            <a:off x="5931265" y="411849"/>
            <a:ext cx="1091042" cy="2131327"/>
          </a:xfrm>
          <a:custGeom>
            <a:avLst/>
            <a:gdLst>
              <a:gd name="connsiteX0" fmla="*/ 1454722 w 1454722"/>
              <a:gd name="connsiteY0" fmla="*/ 2841769 h 2841769"/>
              <a:gd name="connsiteX1" fmla="*/ 521272 w 1454722"/>
              <a:gd name="connsiteY1" fmla="*/ 2175019 h 2841769"/>
              <a:gd name="connsiteX2" fmla="*/ 149797 w 1454722"/>
              <a:gd name="connsiteY2" fmla="*/ 641494 h 2841769"/>
              <a:gd name="connsiteX3" fmla="*/ 6922 w 1454722"/>
              <a:gd name="connsiteY3" fmla="*/ 50944 h 2841769"/>
              <a:gd name="connsiteX4" fmla="*/ 35497 w 1454722"/>
              <a:gd name="connsiteY4" fmla="*/ 69994 h 284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722" h="2841769">
                <a:moveTo>
                  <a:pt x="1454722" y="2841769"/>
                </a:moveTo>
                <a:cubicBezTo>
                  <a:pt x="1096740" y="2691750"/>
                  <a:pt x="738759" y="2541731"/>
                  <a:pt x="521272" y="2175019"/>
                </a:cubicBezTo>
                <a:cubicBezTo>
                  <a:pt x="303785" y="1808307"/>
                  <a:pt x="149797" y="641494"/>
                  <a:pt x="149797" y="641494"/>
                </a:cubicBezTo>
                <a:lnTo>
                  <a:pt x="6922" y="50944"/>
                </a:lnTo>
                <a:cubicBezTo>
                  <a:pt x="-12128" y="-44306"/>
                  <a:pt x="11684" y="12844"/>
                  <a:pt x="35497" y="69994"/>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grpSp>
        <p:nvGrpSpPr>
          <p:cNvPr id="524" name="Group 523">
            <a:extLst>
              <a:ext uri="{FF2B5EF4-FFF2-40B4-BE49-F238E27FC236}">
                <a16:creationId xmlns:a16="http://schemas.microsoft.com/office/drawing/2014/main" id="{E1663DD4-DA51-4B2D-B167-258896EFE2D0}"/>
              </a:ext>
            </a:extLst>
          </p:cNvPr>
          <p:cNvGrpSpPr/>
          <p:nvPr/>
        </p:nvGrpSpPr>
        <p:grpSpPr>
          <a:xfrm>
            <a:off x="6966242" y="2500385"/>
            <a:ext cx="168045" cy="168045"/>
            <a:chOff x="4083769" y="2552776"/>
            <a:chExt cx="529089" cy="529089"/>
          </a:xfrm>
        </p:grpSpPr>
        <p:sp>
          <p:nvSpPr>
            <p:cNvPr id="525" name="Oval 524">
              <a:extLst>
                <a:ext uri="{FF2B5EF4-FFF2-40B4-BE49-F238E27FC236}">
                  <a16:creationId xmlns:a16="http://schemas.microsoft.com/office/drawing/2014/main" id="{85034D52-F106-4E56-A399-DDE2C758F1FB}"/>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6" name="Freeform: Shape 298">
              <a:extLst>
                <a:ext uri="{FF2B5EF4-FFF2-40B4-BE49-F238E27FC236}">
                  <a16:creationId xmlns:a16="http://schemas.microsoft.com/office/drawing/2014/main" id="{4A1CAA4F-2377-434A-9F13-9E763294C0D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299">
              <a:extLst>
                <a:ext uri="{FF2B5EF4-FFF2-40B4-BE49-F238E27FC236}">
                  <a16:creationId xmlns:a16="http://schemas.microsoft.com/office/drawing/2014/main" id="{13B65276-0B83-4462-9EB0-03C4032ECC9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1">
              <a:extLst>
                <a:ext uri="{FF2B5EF4-FFF2-40B4-BE49-F238E27FC236}">
                  <a16:creationId xmlns:a16="http://schemas.microsoft.com/office/drawing/2014/main" id="{7F8006FB-D45A-4C5F-8CE1-B64192D41C3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9" name="Freeform: Shape 302">
              <a:extLst>
                <a:ext uri="{FF2B5EF4-FFF2-40B4-BE49-F238E27FC236}">
                  <a16:creationId xmlns:a16="http://schemas.microsoft.com/office/drawing/2014/main" id="{7EA827F4-EB63-4832-92DB-DCB54240DDB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43" name="Freeform 9">
            <a:extLst>
              <a:ext uri="{FF2B5EF4-FFF2-40B4-BE49-F238E27FC236}">
                <a16:creationId xmlns:a16="http://schemas.microsoft.com/office/drawing/2014/main" id="{EB141EAE-CC92-4BEA-BF5D-C4FDECBA8CE7}"/>
              </a:ext>
            </a:extLst>
          </p:cNvPr>
          <p:cNvSpPr>
            <a:spLocks noEditPoints="1"/>
          </p:cNvSpPr>
          <p:nvPr/>
        </p:nvSpPr>
        <p:spPr bwMode="auto">
          <a:xfrm>
            <a:off x="7791851" y="21331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544" name="Freeform 9">
            <a:extLst>
              <a:ext uri="{FF2B5EF4-FFF2-40B4-BE49-F238E27FC236}">
                <a16:creationId xmlns:a16="http://schemas.microsoft.com/office/drawing/2014/main" id="{AFE31779-0293-44EE-AFB0-25460BA8E838}"/>
              </a:ext>
            </a:extLst>
          </p:cNvPr>
          <p:cNvSpPr>
            <a:spLocks noEditPoints="1"/>
          </p:cNvSpPr>
          <p:nvPr/>
        </p:nvSpPr>
        <p:spPr bwMode="auto">
          <a:xfrm>
            <a:off x="7906151" y="22474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593" name="Freeform 9">
            <a:extLst>
              <a:ext uri="{FF2B5EF4-FFF2-40B4-BE49-F238E27FC236}">
                <a16:creationId xmlns:a16="http://schemas.microsoft.com/office/drawing/2014/main" id="{956C4BA2-ED2E-4DF8-B962-CBBCA112DFCF}"/>
              </a:ext>
            </a:extLst>
          </p:cNvPr>
          <p:cNvSpPr>
            <a:spLocks noEditPoints="1"/>
          </p:cNvSpPr>
          <p:nvPr/>
        </p:nvSpPr>
        <p:spPr bwMode="auto">
          <a:xfrm>
            <a:off x="8020451" y="23617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cxnSp>
        <p:nvCxnSpPr>
          <p:cNvPr id="5" name="Straight Connector 4">
            <a:extLst>
              <a:ext uri="{FF2B5EF4-FFF2-40B4-BE49-F238E27FC236}">
                <a16:creationId xmlns:a16="http://schemas.microsoft.com/office/drawing/2014/main" id="{66C439AD-AE67-46B2-A72C-1F415EE4E9F2}"/>
              </a:ext>
            </a:extLst>
          </p:cNvPr>
          <p:cNvCxnSpPr>
            <a:cxnSpLocks/>
            <a:stCxn id="543" idx="10"/>
            <a:endCxn id="525" idx="6"/>
          </p:cNvCxnSpPr>
          <p:nvPr/>
        </p:nvCxnSpPr>
        <p:spPr>
          <a:xfrm flipH="1">
            <a:off x="7134288" y="2413408"/>
            <a:ext cx="674189" cy="17099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7D0C5C51-02EF-4BAA-93F0-E445D1DE6141}"/>
              </a:ext>
            </a:extLst>
          </p:cNvPr>
          <p:cNvSpPr/>
          <p:nvPr/>
        </p:nvSpPr>
        <p:spPr>
          <a:xfrm>
            <a:off x="7029530" y="2770344"/>
            <a:ext cx="1300835" cy="135611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Ethernet supplied to Enterprises through Core Tower Site</a:t>
            </a:r>
            <a:endParaRPr lang="en-GB" dirty="0"/>
          </a:p>
        </p:txBody>
      </p:sp>
    </p:spTree>
    <p:extLst>
      <p:ext uri="{BB962C8B-B14F-4D97-AF65-F5344CB8AC3E}">
        <p14:creationId xmlns:p14="http://schemas.microsoft.com/office/powerpoint/2010/main" val="252566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B8735-8838-4D22-96E7-F2493611177F}"/>
              </a:ext>
            </a:extLst>
          </p:cNvPr>
          <p:cNvSpPr>
            <a:spLocks noGrp="1"/>
          </p:cNvSpPr>
          <p:nvPr>
            <p:ph type="title"/>
          </p:nvPr>
        </p:nvSpPr>
        <p:spPr/>
        <p:txBody>
          <a:bodyPr/>
          <a:lstStyle/>
          <a:p>
            <a:r>
              <a:rPr lang="en-ZA" dirty="0"/>
              <a:t>Segment Routing Necessary for Enterprise Connectivity through the Access router Sites</a:t>
            </a:r>
            <a:endParaRPr lang="en-GB" dirty="0"/>
          </a:p>
        </p:txBody>
      </p:sp>
      <p:sp>
        <p:nvSpPr>
          <p:cNvPr id="3" name="Content Placeholder 2">
            <a:extLst>
              <a:ext uri="{FF2B5EF4-FFF2-40B4-BE49-F238E27FC236}">
                <a16:creationId xmlns:a16="http://schemas.microsoft.com/office/drawing/2014/main" id="{8CF11D7E-42CE-4219-AAFA-D0ADA94A6C6E}"/>
              </a:ext>
            </a:extLst>
          </p:cNvPr>
          <p:cNvSpPr>
            <a:spLocks noGrp="1"/>
          </p:cNvSpPr>
          <p:nvPr>
            <p:ph sz="quarter" idx="11"/>
          </p:nvPr>
        </p:nvSpPr>
        <p:spPr/>
        <p:txBody>
          <a:bodyPr/>
          <a:lstStyle/>
          <a:p>
            <a:r>
              <a:rPr lang="en-ZA" dirty="0"/>
              <a:t>Assuming here that we are building an IPv6 Network from the ground up.</a:t>
            </a:r>
          </a:p>
          <a:p>
            <a:r>
              <a:rPr lang="en-ZA" dirty="0"/>
              <a:t>Segment routing can be applied to the IPv6 architecture with a new type of routing extension header. A segment is encoded as an IPv6 address. An ordered list of segments is encoded as an ordered list of IPv6 addresses in the routing extension header. The segment to process is indicated by a pointer in the routing extension header. The pointer is incremented, after the completion of a segment. </a:t>
            </a:r>
          </a:p>
          <a:p>
            <a:r>
              <a:rPr lang="en-ZA" dirty="0"/>
              <a:t>Segment Routing provides automatic traffic protection without any topological restrictions. The network protects traffic against link and node failures without requiring additional </a:t>
            </a:r>
            <a:r>
              <a:rPr lang="en-ZA" dirty="0" err="1"/>
              <a:t>signaling</a:t>
            </a:r>
            <a:r>
              <a:rPr lang="en-ZA" dirty="0"/>
              <a:t> in the network. Existing IP fast re-route (FRR) technology, in combination with the explicit routing capabilities in Segment Routing guarantees full protection coverage with optimum backup paths. Traffic protection does not impose any additional </a:t>
            </a:r>
            <a:r>
              <a:rPr lang="en-ZA" dirty="0" err="1"/>
              <a:t>signaling</a:t>
            </a:r>
            <a:r>
              <a:rPr lang="en-ZA" dirty="0"/>
              <a:t> requirements. </a:t>
            </a:r>
          </a:p>
        </p:txBody>
      </p:sp>
    </p:spTree>
    <p:extLst>
      <p:ext uri="{BB962C8B-B14F-4D97-AF65-F5344CB8AC3E}">
        <p14:creationId xmlns:p14="http://schemas.microsoft.com/office/powerpoint/2010/main" val="184360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B8735-8838-4D22-96E7-F2493611177F}"/>
              </a:ext>
            </a:extLst>
          </p:cNvPr>
          <p:cNvSpPr>
            <a:spLocks noGrp="1"/>
          </p:cNvSpPr>
          <p:nvPr>
            <p:ph type="title"/>
          </p:nvPr>
        </p:nvSpPr>
        <p:spPr/>
        <p:txBody>
          <a:bodyPr/>
          <a:lstStyle/>
          <a:p>
            <a:r>
              <a:rPr lang="en-ZA" dirty="0"/>
              <a:t>How Segment Routing Works</a:t>
            </a:r>
          </a:p>
        </p:txBody>
      </p:sp>
      <p:sp>
        <p:nvSpPr>
          <p:cNvPr id="3" name="Content Placeholder 2">
            <a:extLst>
              <a:ext uri="{FF2B5EF4-FFF2-40B4-BE49-F238E27FC236}">
                <a16:creationId xmlns:a16="http://schemas.microsoft.com/office/drawing/2014/main" id="{8CF11D7E-42CE-4219-AAFA-D0ADA94A6C6E}"/>
              </a:ext>
            </a:extLst>
          </p:cNvPr>
          <p:cNvSpPr>
            <a:spLocks noGrp="1"/>
          </p:cNvSpPr>
          <p:nvPr>
            <p:ph sz="quarter" idx="11"/>
          </p:nvPr>
        </p:nvSpPr>
        <p:spPr/>
        <p:txBody>
          <a:bodyPr/>
          <a:lstStyle/>
          <a:p>
            <a:r>
              <a:rPr lang="en-ZA" dirty="0"/>
              <a:t>A router in a Segment Routing network is capable of selecting any path to forward traffic, whether it is explicit or Interior Gateway Protocol (IGP) shortest path. Segments represent </a:t>
            </a:r>
            <a:r>
              <a:rPr lang="en-ZA" dirty="0" err="1"/>
              <a:t>subpaths</a:t>
            </a:r>
            <a:r>
              <a:rPr lang="en-ZA" dirty="0"/>
              <a:t> that a router can combine to form a complete route to a network destination. Each segment has an identifier (Segment Identifier) that is distributed throughout the network using new IGP extensions. The extensions are equally applicable to IPv4 and IPv6 control planes. Unlike the case for traditional MPLS networks, routers in a Segment Router network do not require Label Distribution Protocol (LDP) and Resource Reservation Protocol - Traffic Engineering (RSVP-TE) to allocate or signal their segment identifiers and program their forwarding information. </a:t>
            </a:r>
          </a:p>
          <a:p>
            <a:r>
              <a:rPr lang="en-ZA" dirty="0"/>
              <a:t>Each router (node) and each link (adjacency) has an associated segment identifier (SID). Node segment identifiers are globally unique and represent the shortest path to a router as determined by the IGP. The network administrator allocates a node ID to each router from a reserved block. On the other hand, an adjacency segment ID is locally significant and represents a specific adjacency, such as egress interface, to a </a:t>
            </a:r>
            <a:r>
              <a:rPr lang="en-ZA" dirty="0" err="1"/>
              <a:t>neighboring</a:t>
            </a:r>
            <a:r>
              <a:rPr lang="en-ZA" dirty="0"/>
              <a:t> router. Routers automatically generate adjacency identifiers outside of the reserved block of node IDs. In an MPLS network, a segment identifier is encoded as an MPLS label stack entry. Segment IDs direct the data along a specified path.</a:t>
            </a:r>
          </a:p>
        </p:txBody>
      </p:sp>
    </p:spTree>
    <p:extLst>
      <p:ext uri="{BB962C8B-B14F-4D97-AF65-F5344CB8AC3E}">
        <p14:creationId xmlns:p14="http://schemas.microsoft.com/office/powerpoint/2010/main" val="427768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160F6-EE20-49A5-8603-45E490E5B3DE}"/>
              </a:ext>
            </a:extLst>
          </p:cNvPr>
          <p:cNvSpPr>
            <a:spLocks noGrp="1"/>
          </p:cNvSpPr>
          <p:nvPr>
            <p:ph type="title"/>
          </p:nvPr>
        </p:nvSpPr>
        <p:spPr/>
        <p:txBody>
          <a:bodyPr/>
          <a:lstStyle/>
          <a:p>
            <a:r>
              <a:rPr lang="en-GB" dirty="0"/>
              <a:t>Benefits of Segment Routing</a:t>
            </a:r>
          </a:p>
        </p:txBody>
      </p:sp>
      <p:sp>
        <p:nvSpPr>
          <p:cNvPr id="3" name="Content Placeholder 2">
            <a:extLst>
              <a:ext uri="{FF2B5EF4-FFF2-40B4-BE49-F238E27FC236}">
                <a16:creationId xmlns:a16="http://schemas.microsoft.com/office/drawing/2014/main" id="{2B558882-7C51-4A18-99A2-D3F2C72D3E40}"/>
              </a:ext>
            </a:extLst>
          </p:cNvPr>
          <p:cNvSpPr>
            <a:spLocks noGrp="1"/>
          </p:cNvSpPr>
          <p:nvPr>
            <p:ph sz="quarter" idx="11"/>
          </p:nvPr>
        </p:nvSpPr>
        <p:spPr/>
        <p:txBody>
          <a:bodyPr/>
          <a:lstStyle/>
          <a:p>
            <a:r>
              <a:rPr lang="en-ZA" b="1" dirty="0"/>
              <a:t>Ready for SDN</a:t>
            </a:r>
            <a:r>
              <a:rPr lang="en-ZA" dirty="0"/>
              <a:t>— Segment Routing is a compelling architecture conceived to embrace Software-Defined Network (SDN) and is the foundation for Application Engineered Routing (AER). It strikes a balance between network-based distributed intelligence, such as automatic link and node protection, and controller-based centralized intelligence, such as traffic optimization. It can provide strict network performance guarantees, efficient use of network resources, and very high scalability for application-based transactions. The network uses minimal state information to meet these requirements. Segment routing can be easily integrated with a controller-based SDN architecture. The controller performs centralized optimization, including bandwidth admission control. In this scenario, the controller has a complete picture of the network topology and flows. A router can request a path to a destination with certain characteristics, for example, delay, bandwidth, diversity. The controller computes an optimal path and returns the corresponding segment list, such as an MPLS label stack, to the requesting router. At that point, the router can inject traffic with the segment list without any additional signalling in the network. </a:t>
            </a:r>
          </a:p>
          <a:p>
            <a:endParaRPr lang="en-GB" dirty="0"/>
          </a:p>
        </p:txBody>
      </p:sp>
    </p:spTree>
    <p:extLst>
      <p:ext uri="{BB962C8B-B14F-4D97-AF65-F5344CB8AC3E}">
        <p14:creationId xmlns:p14="http://schemas.microsoft.com/office/powerpoint/2010/main" val="342459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160F6-EE20-49A5-8603-45E490E5B3DE}"/>
              </a:ext>
            </a:extLst>
          </p:cNvPr>
          <p:cNvSpPr>
            <a:spLocks noGrp="1"/>
          </p:cNvSpPr>
          <p:nvPr>
            <p:ph type="title"/>
          </p:nvPr>
        </p:nvSpPr>
        <p:spPr/>
        <p:txBody>
          <a:bodyPr/>
          <a:lstStyle/>
          <a:p>
            <a:r>
              <a:rPr lang="en-GB" dirty="0"/>
              <a:t>Benefits of Segment Routing</a:t>
            </a:r>
          </a:p>
        </p:txBody>
      </p:sp>
      <p:sp>
        <p:nvSpPr>
          <p:cNvPr id="3" name="Content Placeholder 2">
            <a:extLst>
              <a:ext uri="{FF2B5EF4-FFF2-40B4-BE49-F238E27FC236}">
                <a16:creationId xmlns:a16="http://schemas.microsoft.com/office/drawing/2014/main" id="{2B558882-7C51-4A18-99A2-D3F2C72D3E40}"/>
              </a:ext>
            </a:extLst>
          </p:cNvPr>
          <p:cNvSpPr>
            <a:spLocks noGrp="1"/>
          </p:cNvSpPr>
          <p:nvPr>
            <p:ph sz="quarter" idx="11"/>
          </p:nvPr>
        </p:nvSpPr>
        <p:spPr/>
        <p:txBody>
          <a:bodyPr/>
          <a:lstStyle/>
          <a:p>
            <a:r>
              <a:rPr lang="en-ZA" dirty="0"/>
              <a:t>In addition, segment lists allow complete network virtualization without adding any application state to the network. The state is encoded in the packet as a list of segments. Because the network only maintains segment state, it can support a large number - and a higher frequency - of transaction-based application requests without creating any burden on the network.</a:t>
            </a:r>
          </a:p>
          <a:p>
            <a:r>
              <a:rPr lang="en-ZA" dirty="0"/>
              <a:t>Simplified—</a:t>
            </a:r>
          </a:p>
          <a:p>
            <a:pPr lvl="1"/>
            <a:r>
              <a:rPr lang="en-ZA" dirty="0"/>
              <a:t>    When applied to the MPLS data plane, Segment Routing offers the ability to tunnel MPLS services (VPN, VPLS, and VPWS) from an ingress provider edge to an egress provider edge without any other protocol than an IGP (ISIS or OSPF).</a:t>
            </a:r>
          </a:p>
          <a:p>
            <a:pPr lvl="1"/>
            <a:r>
              <a:rPr lang="en-ZA" dirty="0"/>
              <a:t>    Simpler operation without separate protocols for label distribution (for example, no LDP or RSVP).</a:t>
            </a:r>
          </a:p>
          <a:p>
            <a:pPr lvl="1"/>
            <a:r>
              <a:rPr lang="en-ZA" dirty="0"/>
              <a:t>    No complex LDP or IGP synchronization to troubleshoot.</a:t>
            </a:r>
          </a:p>
          <a:p>
            <a:pPr lvl="1"/>
            <a:r>
              <a:rPr lang="en-ZA" dirty="0"/>
              <a:t>    Better utilization of installed infrastructure, for lower capital expenditures (</a:t>
            </a:r>
            <a:r>
              <a:rPr lang="en-ZA" dirty="0" err="1"/>
              <a:t>CapEx</a:t>
            </a:r>
            <a:r>
              <a:rPr lang="en-ZA" dirty="0"/>
              <a:t>), with ECMP-aware shortest path forwarding (using node segment IDs). </a:t>
            </a:r>
            <a:endParaRPr lang="en-GB" dirty="0"/>
          </a:p>
        </p:txBody>
      </p:sp>
    </p:spTree>
    <p:extLst>
      <p:ext uri="{BB962C8B-B14F-4D97-AF65-F5344CB8AC3E}">
        <p14:creationId xmlns:p14="http://schemas.microsoft.com/office/powerpoint/2010/main" val="243520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cxnSpLocks/>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cxnSpLocks/>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cxnSpLocks/>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cxnSpLocks/>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cxnSpLocks/>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cxnSpLocks/>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cxnSpLocks/>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cxnSpLocks/>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cxnSpLocks/>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cxnSpLocks/>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cxnSpLocks/>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cxnSpLocks/>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cxnSpLocks/>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cxnSpLocks/>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cxnSpLocks/>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cxnSpLocks/>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cxnSpLocks/>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5" name="Straight Connector 324">
            <a:extLst>
              <a:ext uri="{FF2B5EF4-FFF2-40B4-BE49-F238E27FC236}">
                <a16:creationId xmlns:a16="http://schemas.microsoft.com/office/drawing/2014/main" id="{2FEDD49F-5532-4A01-A65B-A75472BC342B}"/>
              </a:ext>
            </a:extLst>
          </p:cNvPr>
          <p:cNvCxnSpPr>
            <a:cxnSpLocks/>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cxnSpLocks/>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cxnSpLocks/>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cxnSpLocks/>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cxnSpLocks/>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cxnSpLocks/>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cxnSpLocks/>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cxnSpLocks/>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cxnSpLocks/>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72" name="Group 271">
            <a:extLst>
              <a:ext uri="{FF2B5EF4-FFF2-40B4-BE49-F238E27FC236}">
                <a16:creationId xmlns:a16="http://schemas.microsoft.com/office/drawing/2014/main" id="{E9BC3174-1A75-4DCB-907C-D37F39F73F34}"/>
              </a:ext>
            </a:extLst>
          </p:cNvPr>
          <p:cNvGrpSpPr/>
          <p:nvPr/>
        </p:nvGrpSpPr>
        <p:grpSpPr>
          <a:xfrm>
            <a:off x="6190105" y="1266458"/>
            <a:ext cx="232754" cy="232756"/>
            <a:chOff x="4083769" y="2552776"/>
            <a:chExt cx="529089" cy="529089"/>
          </a:xfrm>
        </p:grpSpPr>
        <p:sp>
          <p:nvSpPr>
            <p:cNvPr id="273" name="Oval 272">
              <a:extLst>
                <a:ext uri="{FF2B5EF4-FFF2-40B4-BE49-F238E27FC236}">
                  <a16:creationId xmlns:a16="http://schemas.microsoft.com/office/drawing/2014/main" id="{86F32A9E-D450-468F-B982-FC2EFE81B64B}"/>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4" name="Freeform: Shape 298">
              <a:extLst>
                <a:ext uri="{FF2B5EF4-FFF2-40B4-BE49-F238E27FC236}">
                  <a16:creationId xmlns:a16="http://schemas.microsoft.com/office/drawing/2014/main" id="{5F076FC6-F1BA-4339-B45A-DA1855FBFAB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75" name="Freeform: Shape 299">
              <a:extLst>
                <a:ext uri="{FF2B5EF4-FFF2-40B4-BE49-F238E27FC236}">
                  <a16:creationId xmlns:a16="http://schemas.microsoft.com/office/drawing/2014/main" id="{DF2BD81A-21F2-48A1-9649-A524413066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76" name="Freeform: Shape 301">
              <a:extLst>
                <a:ext uri="{FF2B5EF4-FFF2-40B4-BE49-F238E27FC236}">
                  <a16:creationId xmlns:a16="http://schemas.microsoft.com/office/drawing/2014/main" id="{B6119B35-809A-430F-AB63-AFF277D72D4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3" name="Freeform: Shape 302">
              <a:extLst>
                <a:ext uri="{FF2B5EF4-FFF2-40B4-BE49-F238E27FC236}">
                  <a16:creationId xmlns:a16="http://schemas.microsoft.com/office/drawing/2014/main" id="{146B9B48-2EA4-4447-B300-842C0E8CFDD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 name="Straight Connector 4">
            <a:extLst>
              <a:ext uri="{FF2B5EF4-FFF2-40B4-BE49-F238E27FC236}">
                <a16:creationId xmlns:a16="http://schemas.microsoft.com/office/drawing/2014/main" id="{A8625418-61A6-41DD-BB75-9B5E334E6A19}"/>
              </a:ext>
            </a:extLst>
          </p:cNvPr>
          <p:cNvCxnSpPr>
            <a:cxnSpLocks/>
            <a:stCxn id="127" idx="7"/>
            <a:endCxn id="273" idx="2"/>
          </p:cNvCxnSpPr>
          <p:nvPr/>
        </p:nvCxnSpPr>
        <p:spPr>
          <a:xfrm flipV="1">
            <a:off x="5922473" y="1382835"/>
            <a:ext cx="267633" cy="16231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99035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86730-D13E-4C1F-9320-DDE30D900148}"/>
              </a:ext>
            </a:extLst>
          </p:cNvPr>
          <p:cNvSpPr>
            <a:spLocks noGrp="1"/>
          </p:cNvSpPr>
          <p:nvPr>
            <p:ph type="title"/>
          </p:nvPr>
        </p:nvSpPr>
        <p:spPr/>
        <p:txBody>
          <a:bodyPr/>
          <a:lstStyle/>
          <a:p>
            <a:r>
              <a:rPr lang="en-ZA" dirty="0"/>
              <a:t>Enterprise Customers Connecting to the SR Network</a:t>
            </a:r>
            <a:endParaRPr lang="en-GB" dirty="0"/>
          </a:p>
        </p:txBody>
      </p:sp>
      <p:sp>
        <p:nvSpPr>
          <p:cNvPr id="3" name="Content Placeholder 2">
            <a:extLst>
              <a:ext uri="{FF2B5EF4-FFF2-40B4-BE49-F238E27FC236}">
                <a16:creationId xmlns:a16="http://schemas.microsoft.com/office/drawing/2014/main" id="{E06B5E38-45C4-4BB9-9559-C8EF0B01622B}"/>
              </a:ext>
            </a:extLst>
          </p:cNvPr>
          <p:cNvSpPr>
            <a:spLocks noGrp="1"/>
          </p:cNvSpPr>
          <p:nvPr>
            <p:ph sz="quarter" idx="11"/>
          </p:nvPr>
        </p:nvSpPr>
        <p:spPr/>
        <p:txBody>
          <a:bodyPr/>
          <a:lstStyle/>
          <a:p>
            <a:r>
              <a:rPr lang="en-ZA" dirty="0"/>
              <a:t>With the Cell-Sites having SR and IP to the edge; core cell sites, like those built on NCS560’s or NCS5500’s for larger sites, are able to then separate and use existing backhaul and infrastructure to create an Enterprise Network Segment for the additional customers.</a:t>
            </a:r>
          </a:p>
          <a:p>
            <a:r>
              <a:rPr lang="en-ZA" dirty="0"/>
              <a:t>The customers will then be able to purchase an SD-WAN solution, for example </a:t>
            </a:r>
            <a:r>
              <a:rPr lang="en-ZA" dirty="0" err="1"/>
              <a:t>Viptella</a:t>
            </a:r>
            <a:r>
              <a:rPr lang="en-ZA" dirty="0"/>
              <a:t> which will then be connecting via the Fibre to the local cell sites.</a:t>
            </a:r>
          </a:p>
          <a:p>
            <a:pPr lvl="1"/>
            <a:r>
              <a:rPr lang="en-ZA" dirty="0"/>
              <a:t>Many different sizes and types of CPE devices are available to meet customer needs.</a:t>
            </a:r>
          </a:p>
          <a:p>
            <a:pPr lvl="1"/>
            <a:r>
              <a:rPr lang="en-ZA" dirty="0"/>
              <a:t>Connection via SFP to the Access/Aggregation NCS’s the Enterprise CPE can then via SRv6 or SR-TE become part of the transmission network. </a:t>
            </a:r>
          </a:p>
          <a:p>
            <a:r>
              <a:rPr lang="en-ZA" dirty="0"/>
              <a:t>The end result is that with a segment routing, SDN controlled network; Vodacom will be able to use the same site to host equipment to manage both the Radio and Base Stations and the Enterprise connectivity. </a:t>
            </a:r>
            <a:endParaRPr lang="en-GB" dirty="0"/>
          </a:p>
        </p:txBody>
      </p:sp>
    </p:spTree>
    <p:extLst>
      <p:ext uri="{BB962C8B-B14F-4D97-AF65-F5344CB8AC3E}">
        <p14:creationId xmlns:p14="http://schemas.microsoft.com/office/powerpoint/2010/main" val="233614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BD63E-60A8-4A16-A1AE-5FAA04E66064}"/>
              </a:ext>
            </a:extLst>
          </p:cNvPr>
          <p:cNvSpPr>
            <a:spLocks noGrp="1"/>
          </p:cNvSpPr>
          <p:nvPr>
            <p:ph type="title"/>
          </p:nvPr>
        </p:nvSpPr>
        <p:spPr/>
        <p:txBody>
          <a:bodyPr/>
          <a:lstStyle/>
          <a:p>
            <a:r>
              <a:rPr lang="en-ZA" dirty="0"/>
              <a:t>Enterprise Connectivity</a:t>
            </a:r>
            <a:endParaRPr lang="en-GB" dirty="0"/>
          </a:p>
        </p:txBody>
      </p:sp>
      <p:sp>
        <p:nvSpPr>
          <p:cNvPr id="3" name="Content Placeholder 2">
            <a:extLst>
              <a:ext uri="{FF2B5EF4-FFF2-40B4-BE49-F238E27FC236}">
                <a16:creationId xmlns:a16="http://schemas.microsoft.com/office/drawing/2014/main" id="{18BE2B6E-9921-4941-823B-261CA04D02D8}"/>
              </a:ext>
            </a:extLst>
          </p:cNvPr>
          <p:cNvSpPr>
            <a:spLocks noGrp="1"/>
          </p:cNvSpPr>
          <p:nvPr>
            <p:ph sz="quarter" idx="11"/>
          </p:nvPr>
        </p:nvSpPr>
        <p:spPr>
          <a:xfrm>
            <a:off x="352925" y="1077914"/>
            <a:ext cx="8513064" cy="1614953"/>
          </a:xfrm>
        </p:spPr>
        <p:txBody>
          <a:bodyPr/>
          <a:lstStyle/>
          <a:p>
            <a:r>
              <a:rPr lang="en-ZA" dirty="0"/>
              <a:t>Enterprise customers can connect to the core tower via ethernet to allow for DIA or SD-WAN services to be supplied.</a:t>
            </a:r>
          </a:p>
          <a:p>
            <a:r>
              <a:rPr lang="en-ZA" dirty="0"/>
              <a:t>Traffic from radio towers and enterprise are separated via SR-TE and can follow different paths to end locations depending on network requirements.</a:t>
            </a:r>
          </a:p>
          <a:p>
            <a:r>
              <a:rPr lang="en-ZA" dirty="0"/>
              <a:t>Managed via the SR-PCE (SR-Path Computation Engine) and network orchestration tools.</a:t>
            </a:r>
          </a:p>
          <a:p>
            <a:pPr marL="0" indent="0">
              <a:buNone/>
            </a:pPr>
            <a:endParaRPr lang="en-ZA" dirty="0"/>
          </a:p>
        </p:txBody>
      </p:sp>
      <p:pic>
        <p:nvPicPr>
          <p:cNvPr id="5" name="Picture 4">
            <a:extLst>
              <a:ext uri="{FF2B5EF4-FFF2-40B4-BE49-F238E27FC236}">
                <a16:creationId xmlns:a16="http://schemas.microsoft.com/office/drawing/2014/main" id="{3FA45F78-0763-4EB3-B2C3-EF340AB0EC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2059" y="2489958"/>
            <a:ext cx="3185438" cy="2247725"/>
          </a:xfrm>
          <a:prstGeom prst="rect">
            <a:avLst/>
          </a:prstGeom>
        </p:spPr>
      </p:pic>
      <p:sp>
        <p:nvSpPr>
          <p:cNvPr id="6" name="Content Placeholder 2">
            <a:extLst>
              <a:ext uri="{FF2B5EF4-FFF2-40B4-BE49-F238E27FC236}">
                <a16:creationId xmlns:a16="http://schemas.microsoft.com/office/drawing/2014/main" id="{15816D38-4D69-4B81-AF27-10D975DB5410}"/>
              </a:ext>
            </a:extLst>
          </p:cNvPr>
          <p:cNvSpPr txBox="1">
            <a:spLocks/>
          </p:cNvSpPr>
          <p:nvPr/>
        </p:nvSpPr>
        <p:spPr>
          <a:xfrm>
            <a:off x="352926" y="2692867"/>
            <a:ext cx="5327626" cy="1614953"/>
          </a:xfr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1500" b="1" dirty="0"/>
              <a:t>Dual-plane Networks</a:t>
            </a:r>
            <a:r>
              <a:rPr lang="en-ZA" sz="1500" dirty="0"/>
              <a:t>— Segment Routing provides a simple solution for </a:t>
            </a:r>
            <a:r>
              <a:rPr lang="en-ZA" sz="1500" dirty="0" err="1"/>
              <a:t>disjointness</a:t>
            </a:r>
            <a:r>
              <a:rPr lang="en-ZA" sz="1500" dirty="0"/>
              <a:t> enforcement within a so-called “dual-plane” network, where the route to an edge destination from a given plane stays within the plane unless the plane is partitioned. </a:t>
            </a:r>
            <a:r>
              <a:rPr lang="en-ZA" sz="1500" dirty="0" err="1"/>
              <a:t>Seperating</a:t>
            </a:r>
            <a:r>
              <a:rPr lang="en-ZA" sz="1500" dirty="0"/>
              <a:t> the Enterprise and Tower networks further.</a:t>
            </a:r>
          </a:p>
          <a:p>
            <a:r>
              <a:rPr lang="en-ZA" sz="1500" dirty="0"/>
              <a:t>An additional SID “anycast” segment ID allows the expression of macro policies such as: "Flow 1 injected in node A toward node Z must go via plane 1" and "Flow 2 injected in node A towards node Z must go via plane 2." </a:t>
            </a:r>
          </a:p>
        </p:txBody>
      </p:sp>
    </p:spTree>
    <p:extLst>
      <p:ext uri="{BB962C8B-B14F-4D97-AF65-F5344CB8AC3E}">
        <p14:creationId xmlns:p14="http://schemas.microsoft.com/office/powerpoint/2010/main" val="97343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8492E5-4120-4816-A074-B4E903958B84}"/>
              </a:ext>
            </a:extLst>
          </p:cNvPr>
          <p:cNvPicPr>
            <a:picLocks noChangeAspect="1"/>
          </p:cNvPicPr>
          <p:nvPr/>
        </p:nvPicPr>
        <p:blipFill>
          <a:blip r:embed="rId3"/>
          <a:stretch>
            <a:fillRect/>
          </a:stretch>
        </p:blipFill>
        <p:spPr>
          <a:xfrm>
            <a:off x="2368680" y="5128"/>
            <a:ext cx="6775321" cy="5143500"/>
          </a:xfrm>
          <a:prstGeom prst="rect">
            <a:avLst/>
          </a:prstGeom>
        </p:spPr>
      </p:pic>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7" name="Group 106">
            <a:extLst>
              <a:ext uri="{FF2B5EF4-FFF2-40B4-BE49-F238E27FC236}">
                <a16:creationId xmlns:a16="http://schemas.microsoft.com/office/drawing/2014/main" id="{47553045-D6C2-4B0B-9FFA-913806AFDD86}"/>
              </a:ext>
            </a:extLst>
          </p:cNvPr>
          <p:cNvGrpSpPr/>
          <p:nvPr/>
        </p:nvGrpSpPr>
        <p:grpSpPr>
          <a:xfrm>
            <a:off x="90338" y="369387"/>
            <a:ext cx="304786" cy="304788"/>
            <a:chOff x="4083769" y="2552776"/>
            <a:chExt cx="529089" cy="529089"/>
          </a:xfrm>
        </p:grpSpPr>
        <p:sp>
          <p:nvSpPr>
            <p:cNvPr id="108" name="Oval 107">
              <a:extLst>
                <a:ext uri="{FF2B5EF4-FFF2-40B4-BE49-F238E27FC236}">
                  <a16:creationId xmlns:a16="http://schemas.microsoft.com/office/drawing/2014/main" id="{DA9C8E9A-6AFB-4BB2-B1AF-4726F9DB634F}"/>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09" name="Freeform: Shape 298">
              <a:extLst>
                <a:ext uri="{FF2B5EF4-FFF2-40B4-BE49-F238E27FC236}">
                  <a16:creationId xmlns:a16="http://schemas.microsoft.com/office/drawing/2014/main" id="{F027A440-7CF6-4F72-B4A9-331CDA8FA3E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0" name="Freeform: Shape 299">
              <a:extLst>
                <a:ext uri="{FF2B5EF4-FFF2-40B4-BE49-F238E27FC236}">
                  <a16:creationId xmlns:a16="http://schemas.microsoft.com/office/drawing/2014/main" id="{757B6622-5D59-4906-866D-E57B2111215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1" name="Freeform: Shape 301">
              <a:extLst>
                <a:ext uri="{FF2B5EF4-FFF2-40B4-BE49-F238E27FC236}">
                  <a16:creationId xmlns:a16="http://schemas.microsoft.com/office/drawing/2014/main" id="{F701CA7A-24FC-48DE-8455-A8D10E0675D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2" name="Freeform: Shape 302">
              <a:extLst>
                <a:ext uri="{FF2B5EF4-FFF2-40B4-BE49-F238E27FC236}">
                  <a16:creationId xmlns:a16="http://schemas.microsoft.com/office/drawing/2014/main" id="{3C0291BF-2906-4864-9B5C-355F7B8ABEC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114" name="TextBox 113">
            <a:extLst>
              <a:ext uri="{FF2B5EF4-FFF2-40B4-BE49-F238E27FC236}">
                <a16:creationId xmlns:a16="http://schemas.microsoft.com/office/drawing/2014/main" id="{BD5FCF40-F8C8-4C2E-9C48-73A9844F8761}"/>
              </a:ext>
            </a:extLst>
          </p:cNvPr>
          <p:cNvSpPr txBox="1"/>
          <p:nvPr/>
        </p:nvSpPr>
        <p:spPr>
          <a:xfrm>
            <a:off x="400160" y="304844"/>
            <a:ext cx="1160895" cy="369332"/>
          </a:xfrm>
          <a:prstGeom prst="rect">
            <a:avLst/>
          </a:prstGeom>
          <a:noFill/>
        </p:spPr>
        <p:txBody>
          <a:bodyPr wrap="none" rtlCol="0">
            <a:spAutoFit/>
          </a:bodyPr>
          <a:lstStyle/>
          <a:p>
            <a:pPr defTabSz="457189"/>
            <a:r>
              <a:rPr lang="en-ZA" dirty="0">
                <a:solidFill>
                  <a:srgbClr val="282828"/>
                </a:solidFill>
                <a:latin typeface="CiscoSansTT ExtraLight"/>
              </a:rPr>
              <a:t>Core Site</a:t>
            </a:r>
          </a:p>
        </p:txBody>
      </p:sp>
      <p:grpSp>
        <p:nvGrpSpPr>
          <p:cNvPr id="115" name="Group 114">
            <a:extLst>
              <a:ext uri="{FF2B5EF4-FFF2-40B4-BE49-F238E27FC236}">
                <a16:creationId xmlns:a16="http://schemas.microsoft.com/office/drawing/2014/main" id="{86496AE5-61D1-4B8C-BDE6-CB291E9C2F87}"/>
              </a:ext>
            </a:extLst>
          </p:cNvPr>
          <p:cNvGrpSpPr/>
          <p:nvPr/>
        </p:nvGrpSpPr>
        <p:grpSpPr>
          <a:xfrm>
            <a:off x="104172" y="749925"/>
            <a:ext cx="304786" cy="304788"/>
            <a:chOff x="4083769" y="2552776"/>
            <a:chExt cx="529089" cy="529089"/>
          </a:xfrm>
        </p:grpSpPr>
        <p:sp>
          <p:nvSpPr>
            <p:cNvPr id="116" name="Oval 115">
              <a:extLst>
                <a:ext uri="{FF2B5EF4-FFF2-40B4-BE49-F238E27FC236}">
                  <a16:creationId xmlns:a16="http://schemas.microsoft.com/office/drawing/2014/main" id="{E4A0FB55-18E8-45EA-9FDC-43DBEDB2DCD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7" name="Freeform: Shape 298">
              <a:extLst>
                <a:ext uri="{FF2B5EF4-FFF2-40B4-BE49-F238E27FC236}">
                  <a16:creationId xmlns:a16="http://schemas.microsoft.com/office/drawing/2014/main" id="{C9E57A15-DDF1-4FB2-9226-25C14BEB2DB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8" name="Freeform: Shape 299">
              <a:extLst>
                <a:ext uri="{FF2B5EF4-FFF2-40B4-BE49-F238E27FC236}">
                  <a16:creationId xmlns:a16="http://schemas.microsoft.com/office/drawing/2014/main" id="{A7CF688B-B368-4668-B9A4-0F47DC86B33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19" name="Freeform: Shape 301">
              <a:extLst>
                <a:ext uri="{FF2B5EF4-FFF2-40B4-BE49-F238E27FC236}">
                  <a16:creationId xmlns:a16="http://schemas.microsoft.com/office/drawing/2014/main" id="{527A1B48-0332-403E-A997-80ABAF403B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0" name="Freeform: Shape 302">
              <a:extLst>
                <a:ext uri="{FF2B5EF4-FFF2-40B4-BE49-F238E27FC236}">
                  <a16:creationId xmlns:a16="http://schemas.microsoft.com/office/drawing/2014/main" id="{A7872A07-346A-4F95-943E-975F8CBBC00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121" name="TextBox 120">
            <a:extLst>
              <a:ext uri="{FF2B5EF4-FFF2-40B4-BE49-F238E27FC236}">
                <a16:creationId xmlns:a16="http://schemas.microsoft.com/office/drawing/2014/main" id="{730E934F-8DE3-44E6-B10C-2AF5E66C3554}"/>
              </a:ext>
            </a:extLst>
          </p:cNvPr>
          <p:cNvSpPr txBox="1"/>
          <p:nvPr/>
        </p:nvSpPr>
        <p:spPr>
          <a:xfrm>
            <a:off x="408957" y="731385"/>
            <a:ext cx="1806905" cy="369332"/>
          </a:xfrm>
          <a:prstGeom prst="rect">
            <a:avLst/>
          </a:prstGeom>
          <a:noFill/>
        </p:spPr>
        <p:txBody>
          <a:bodyPr wrap="none" rtlCol="0">
            <a:spAutoFit/>
          </a:bodyPr>
          <a:lstStyle/>
          <a:p>
            <a:pPr defTabSz="457189"/>
            <a:r>
              <a:rPr lang="en-ZA" dirty="0">
                <a:solidFill>
                  <a:srgbClr val="282828"/>
                </a:solidFill>
                <a:latin typeface="CiscoSansTT ExtraLight"/>
              </a:rPr>
              <a:t>Distribution Site</a:t>
            </a:r>
          </a:p>
        </p:txBody>
      </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75" name="Group 174">
            <a:extLst>
              <a:ext uri="{FF2B5EF4-FFF2-40B4-BE49-F238E27FC236}">
                <a16:creationId xmlns:a16="http://schemas.microsoft.com/office/drawing/2014/main" id="{BF6AC144-5DBB-471E-A7EF-C84ECF6F8CA3}"/>
              </a:ext>
            </a:extLst>
          </p:cNvPr>
          <p:cNvGrpSpPr/>
          <p:nvPr/>
        </p:nvGrpSpPr>
        <p:grpSpPr>
          <a:xfrm>
            <a:off x="104172" y="1146718"/>
            <a:ext cx="304786" cy="304788"/>
            <a:chOff x="4083769" y="2552776"/>
            <a:chExt cx="529089" cy="529089"/>
          </a:xfrm>
        </p:grpSpPr>
        <p:sp>
          <p:nvSpPr>
            <p:cNvPr id="176" name="Oval 175">
              <a:extLst>
                <a:ext uri="{FF2B5EF4-FFF2-40B4-BE49-F238E27FC236}">
                  <a16:creationId xmlns:a16="http://schemas.microsoft.com/office/drawing/2014/main" id="{C74457F1-4973-46E1-8279-6AAF390C2C71}"/>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7" name="Freeform: Shape 298">
              <a:extLst>
                <a:ext uri="{FF2B5EF4-FFF2-40B4-BE49-F238E27FC236}">
                  <a16:creationId xmlns:a16="http://schemas.microsoft.com/office/drawing/2014/main" id="{301860A5-9429-49E4-A353-706F94ABCD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8" name="Freeform: Shape 299">
              <a:extLst>
                <a:ext uri="{FF2B5EF4-FFF2-40B4-BE49-F238E27FC236}">
                  <a16:creationId xmlns:a16="http://schemas.microsoft.com/office/drawing/2014/main" id="{ECEAF285-5205-43F1-BC0B-0C5D1B64F2A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9" name="Freeform: Shape 301">
              <a:extLst>
                <a:ext uri="{FF2B5EF4-FFF2-40B4-BE49-F238E27FC236}">
                  <a16:creationId xmlns:a16="http://schemas.microsoft.com/office/drawing/2014/main" id="{5BFEE31C-7D4A-4E01-8550-2C2A04E1205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0" name="Freeform: Shape 302">
              <a:extLst>
                <a:ext uri="{FF2B5EF4-FFF2-40B4-BE49-F238E27FC236}">
                  <a16:creationId xmlns:a16="http://schemas.microsoft.com/office/drawing/2014/main" id="{F8BA9AF7-B71F-40B8-90BE-060B5FEF2FD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181" name="TextBox 180">
            <a:extLst>
              <a:ext uri="{FF2B5EF4-FFF2-40B4-BE49-F238E27FC236}">
                <a16:creationId xmlns:a16="http://schemas.microsoft.com/office/drawing/2014/main" id="{078277D6-7B1B-4EEE-9C07-E8FD96E7E515}"/>
              </a:ext>
            </a:extLst>
          </p:cNvPr>
          <p:cNvSpPr txBox="1"/>
          <p:nvPr/>
        </p:nvSpPr>
        <p:spPr>
          <a:xfrm>
            <a:off x="408957" y="1128178"/>
            <a:ext cx="1917513" cy="369332"/>
          </a:xfrm>
          <a:prstGeom prst="rect">
            <a:avLst/>
          </a:prstGeom>
          <a:noFill/>
        </p:spPr>
        <p:txBody>
          <a:bodyPr wrap="none" rtlCol="0">
            <a:spAutoFit/>
          </a:bodyPr>
          <a:lstStyle/>
          <a:p>
            <a:pPr defTabSz="457189"/>
            <a:r>
              <a:rPr lang="en-ZA" dirty="0">
                <a:solidFill>
                  <a:srgbClr val="282828"/>
                </a:solidFill>
                <a:latin typeface="CiscoSansTT ExtraLight"/>
              </a:rPr>
              <a:t>Aggregation Site</a:t>
            </a:r>
          </a:p>
        </p:txBody>
      </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6" name="Group 485">
            <a:extLst>
              <a:ext uri="{FF2B5EF4-FFF2-40B4-BE49-F238E27FC236}">
                <a16:creationId xmlns:a16="http://schemas.microsoft.com/office/drawing/2014/main" id="{B27DE993-F3E1-42D4-B5DC-CD562A442398}"/>
              </a:ext>
            </a:extLst>
          </p:cNvPr>
          <p:cNvGrpSpPr/>
          <p:nvPr/>
        </p:nvGrpSpPr>
        <p:grpSpPr>
          <a:xfrm>
            <a:off x="97462" y="1564872"/>
            <a:ext cx="311495" cy="311498"/>
            <a:chOff x="4083769" y="2552776"/>
            <a:chExt cx="529089" cy="529089"/>
          </a:xfrm>
        </p:grpSpPr>
        <p:sp>
          <p:nvSpPr>
            <p:cNvPr id="487" name="Oval 486">
              <a:extLst>
                <a:ext uri="{FF2B5EF4-FFF2-40B4-BE49-F238E27FC236}">
                  <a16:creationId xmlns:a16="http://schemas.microsoft.com/office/drawing/2014/main" id="{9A4D8DB9-D169-4C05-9D93-EAA75051C546}"/>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8" name="Freeform: Shape 298">
              <a:extLst>
                <a:ext uri="{FF2B5EF4-FFF2-40B4-BE49-F238E27FC236}">
                  <a16:creationId xmlns:a16="http://schemas.microsoft.com/office/drawing/2014/main" id="{9B306727-F69C-4DFF-840F-3C08D71D789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9" name="Freeform: Shape 299">
              <a:extLst>
                <a:ext uri="{FF2B5EF4-FFF2-40B4-BE49-F238E27FC236}">
                  <a16:creationId xmlns:a16="http://schemas.microsoft.com/office/drawing/2014/main" id="{3BA03BE2-DECE-40A2-B4B7-02E3D85165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0" name="Freeform: Shape 301">
              <a:extLst>
                <a:ext uri="{FF2B5EF4-FFF2-40B4-BE49-F238E27FC236}">
                  <a16:creationId xmlns:a16="http://schemas.microsoft.com/office/drawing/2014/main" id="{B942404F-1F4C-49D5-A5DC-7ADB8536ECB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1" name="Freeform: Shape 302">
              <a:extLst>
                <a:ext uri="{FF2B5EF4-FFF2-40B4-BE49-F238E27FC236}">
                  <a16:creationId xmlns:a16="http://schemas.microsoft.com/office/drawing/2014/main" id="{408B8E02-0A6A-4CBA-8BD2-0E38DE30AEB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92" name="TextBox 491">
            <a:extLst>
              <a:ext uri="{FF2B5EF4-FFF2-40B4-BE49-F238E27FC236}">
                <a16:creationId xmlns:a16="http://schemas.microsoft.com/office/drawing/2014/main" id="{D5F0698A-95D8-433F-BB7D-F4691D171BF9}"/>
              </a:ext>
            </a:extLst>
          </p:cNvPr>
          <p:cNvSpPr txBox="1"/>
          <p:nvPr/>
        </p:nvSpPr>
        <p:spPr>
          <a:xfrm>
            <a:off x="415223" y="1521921"/>
            <a:ext cx="1447832" cy="369332"/>
          </a:xfrm>
          <a:prstGeom prst="rect">
            <a:avLst/>
          </a:prstGeom>
          <a:noFill/>
        </p:spPr>
        <p:txBody>
          <a:bodyPr wrap="none" rtlCol="0">
            <a:spAutoFit/>
          </a:bodyPr>
          <a:lstStyle/>
          <a:p>
            <a:pPr defTabSz="457189"/>
            <a:r>
              <a:rPr lang="en-ZA" dirty="0">
                <a:solidFill>
                  <a:srgbClr val="282828"/>
                </a:solidFill>
                <a:latin typeface="CiscoSansTT ExtraLight"/>
              </a:rPr>
              <a:t>Peering Site</a:t>
            </a:r>
          </a:p>
        </p:txBody>
      </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297440" y="3288128"/>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43343" y="2135212"/>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a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Debre 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
        <p:nvSpPr>
          <p:cNvPr id="505" name="Isosceles Triangle 504">
            <a:extLst>
              <a:ext uri="{FF2B5EF4-FFF2-40B4-BE49-F238E27FC236}">
                <a16:creationId xmlns:a16="http://schemas.microsoft.com/office/drawing/2014/main" id="{F1893565-0AFF-4623-B9C2-104843C39C96}"/>
              </a:ext>
            </a:extLst>
          </p:cNvPr>
          <p:cNvSpPr/>
          <p:nvPr/>
        </p:nvSpPr>
        <p:spPr>
          <a:xfrm rot="2564761">
            <a:off x="3728104" y="1545416"/>
            <a:ext cx="2472603" cy="2610207"/>
          </a:xfrm>
          <a:prstGeom prst="triangle">
            <a:avLst>
              <a:gd name="adj" fmla="val 0"/>
            </a:avLst>
          </a:prstGeom>
          <a:gradFill flip="none" rotWithShape="1">
            <a:gsLst>
              <a:gs pos="40000">
                <a:schemeClr val="bg2"/>
              </a:gs>
              <a:gs pos="0">
                <a:schemeClr val="accent4"/>
              </a:gs>
            </a:gsLst>
            <a:lin ang="189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523" name="Rectangle: Rounded Corners 522">
            <a:extLst>
              <a:ext uri="{FF2B5EF4-FFF2-40B4-BE49-F238E27FC236}">
                <a16:creationId xmlns:a16="http://schemas.microsoft.com/office/drawing/2014/main" id="{72F01608-9876-40AB-B97C-C77D0CC5D7F2}"/>
              </a:ext>
            </a:extLst>
          </p:cNvPr>
          <p:cNvSpPr/>
          <p:nvPr/>
        </p:nvSpPr>
        <p:spPr>
          <a:xfrm>
            <a:off x="4664344" y="456272"/>
            <a:ext cx="3754247" cy="4512260"/>
          </a:xfrm>
          <a:prstGeom prst="roundRect">
            <a:avLst/>
          </a:prstGeom>
          <a:blipFill dpi="0" rotWithShape="1">
            <a:blip r:embed="rId4"/>
            <a:srcRect/>
            <a:stretch>
              <a:fillRect l="-7000" r="-2000"/>
            </a:stretch>
          </a:blip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0" name="Arrow: Right 29">
            <a:extLst>
              <a:ext uri="{FF2B5EF4-FFF2-40B4-BE49-F238E27FC236}">
                <a16:creationId xmlns:a16="http://schemas.microsoft.com/office/drawing/2014/main" id="{AEC97C19-AC02-4253-9B48-BCCA68F50684}"/>
              </a:ext>
            </a:extLst>
          </p:cNvPr>
          <p:cNvSpPr/>
          <p:nvPr/>
        </p:nvSpPr>
        <p:spPr>
          <a:xfrm rot="16200000">
            <a:off x="6117472" y="620649"/>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7" name="Rectangle 536">
            <a:extLst>
              <a:ext uri="{FF2B5EF4-FFF2-40B4-BE49-F238E27FC236}">
                <a16:creationId xmlns:a16="http://schemas.microsoft.com/office/drawing/2014/main" id="{B5E60C12-0097-4BD7-B46E-FAF0AA7F774A}"/>
              </a:ext>
            </a:extLst>
          </p:cNvPr>
          <p:cNvSpPr/>
          <p:nvPr/>
        </p:nvSpPr>
        <p:spPr>
          <a:xfrm>
            <a:off x="7898064" y="4386111"/>
            <a:ext cx="419600"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Gore</a:t>
            </a:r>
            <a:endParaRPr lang="en-GB" sz="700" dirty="0">
              <a:solidFill>
                <a:srgbClr val="0D274D"/>
              </a:solidFill>
              <a:latin typeface="CiscoSansTT ExtraLight"/>
            </a:endParaRPr>
          </a:p>
        </p:txBody>
      </p:sp>
      <p:sp>
        <p:nvSpPr>
          <p:cNvPr id="538" name="Rectangle 537">
            <a:extLst>
              <a:ext uri="{FF2B5EF4-FFF2-40B4-BE49-F238E27FC236}">
                <a16:creationId xmlns:a16="http://schemas.microsoft.com/office/drawing/2014/main" id="{37EF48BB-7456-43F5-83EF-FBA9F3748ED1}"/>
              </a:ext>
            </a:extLst>
          </p:cNvPr>
          <p:cNvSpPr/>
          <p:nvPr/>
        </p:nvSpPr>
        <p:spPr>
          <a:xfrm>
            <a:off x="6420360" y="728242"/>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mbi</a:t>
            </a:r>
            <a:endParaRPr lang="en-GB" sz="700" dirty="0">
              <a:solidFill>
                <a:srgbClr val="0D274D"/>
              </a:solidFill>
              <a:latin typeface="CiscoSansTT ExtraLight"/>
            </a:endParaRPr>
          </a:p>
        </p:txBody>
      </p:sp>
      <p:sp>
        <p:nvSpPr>
          <p:cNvPr id="539" name="Arrow: Right 538">
            <a:extLst>
              <a:ext uri="{FF2B5EF4-FFF2-40B4-BE49-F238E27FC236}">
                <a16:creationId xmlns:a16="http://schemas.microsoft.com/office/drawing/2014/main" id="{4EACC18C-96F8-4E13-95DD-3D5DB10BF4E6}"/>
              </a:ext>
            </a:extLst>
          </p:cNvPr>
          <p:cNvSpPr/>
          <p:nvPr/>
        </p:nvSpPr>
        <p:spPr>
          <a:xfrm rot="2545325">
            <a:off x="7790589" y="4617076"/>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40" name="Group 29">
            <a:extLst>
              <a:ext uri="{FF2B5EF4-FFF2-40B4-BE49-F238E27FC236}">
                <a16:creationId xmlns:a16="http://schemas.microsoft.com/office/drawing/2014/main" id="{A5F2AF66-2214-4951-A65E-E9CAE2DC79C7}"/>
              </a:ext>
            </a:extLst>
          </p:cNvPr>
          <p:cNvGrpSpPr/>
          <p:nvPr/>
        </p:nvGrpSpPr>
        <p:grpSpPr>
          <a:xfrm>
            <a:off x="5282921" y="2968278"/>
            <a:ext cx="302619" cy="317247"/>
            <a:chOff x="4163060" y="2537711"/>
            <a:chExt cx="520926" cy="520926"/>
          </a:xfrm>
        </p:grpSpPr>
        <p:sp>
          <p:nvSpPr>
            <p:cNvPr id="541" name="Oval 540">
              <a:extLst>
                <a:ext uri="{FF2B5EF4-FFF2-40B4-BE49-F238E27FC236}">
                  <a16:creationId xmlns:a16="http://schemas.microsoft.com/office/drawing/2014/main" id="{BF9B52A4-50AD-4090-98F7-A8514D6D41F4}"/>
                </a:ext>
              </a:extLst>
            </p:cNvPr>
            <p:cNvSpPr/>
            <p:nvPr/>
          </p:nvSpPr>
          <p:spPr>
            <a:xfrm>
              <a:off x="4163060" y="2537711"/>
              <a:ext cx="520926" cy="520926"/>
            </a:xfrm>
            <a:prstGeom prst="ellipse">
              <a:avLst/>
            </a:pr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defTabSz="456917">
                <a:defRPr/>
              </a:pPr>
              <a:endParaRPr lang="en-US" dirty="0">
                <a:solidFill>
                  <a:srgbClr val="FFFFFF"/>
                </a:solidFill>
                <a:latin typeface="CiscoSansTT ExtraLight"/>
              </a:endParaRPr>
            </a:p>
          </p:txBody>
        </p:sp>
        <p:sp>
          <p:nvSpPr>
            <p:cNvPr id="542" name="Freeform 41">
              <a:extLst>
                <a:ext uri="{FF2B5EF4-FFF2-40B4-BE49-F238E27FC236}">
                  <a16:creationId xmlns:a16="http://schemas.microsoft.com/office/drawing/2014/main" id="{A56A3E57-A0C9-477B-81EC-EC35AEBBBF77}"/>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5" name="Group 29">
            <a:extLst>
              <a:ext uri="{FF2B5EF4-FFF2-40B4-BE49-F238E27FC236}">
                <a16:creationId xmlns:a16="http://schemas.microsoft.com/office/drawing/2014/main" id="{9B7D416B-937A-4362-9916-A04800C1BBAA}"/>
              </a:ext>
            </a:extLst>
          </p:cNvPr>
          <p:cNvGrpSpPr/>
          <p:nvPr/>
        </p:nvGrpSpPr>
        <p:grpSpPr>
          <a:xfrm>
            <a:off x="5739506" y="1982494"/>
            <a:ext cx="302619" cy="317247"/>
            <a:chOff x="4163060" y="2537711"/>
            <a:chExt cx="520926" cy="520926"/>
          </a:xfrm>
        </p:grpSpPr>
        <p:sp>
          <p:nvSpPr>
            <p:cNvPr id="596" name="Oval 595">
              <a:extLst>
                <a:ext uri="{FF2B5EF4-FFF2-40B4-BE49-F238E27FC236}">
                  <a16:creationId xmlns:a16="http://schemas.microsoft.com/office/drawing/2014/main" id="{65341EEA-0A1C-4504-99F5-4D42CEC62D2A}"/>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597" name="Freeform 41">
              <a:extLst>
                <a:ext uri="{FF2B5EF4-FFF2-40B4-BE49-F238E27FC236}">
                  <a16:creationId xmlns:a16="http://schemas.microsoft.com/office/drawing/2014/main" id="{51E359D6-77A8-4CFC-B071-7D93C536A488}"/>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8" name="Group 29">
            <a:extLst>
              <a:ext uri="{FF2B5EF4-FFF2-40B4-BE49-F238E27FC236}">
                <a16:creationId xmlns:a16="http://schemas.microsoft.com/office/drawing/2014/main" id="{93CC09B8-F968-41A8-B214-141AA4AF960B}"/>
              </a:ext>
            </a:extLst>
          </p:cNvPr>
          <p:cNvGrpSpPr/>
          <p:nvPr/>
        </p:nvGrpSpPr>
        <p:grpSpPr>
          <a:xfrm>
            <a:off x="6268132" y="1603292"/>
            <a:ext cx="302619" cy="317247"/>
            <a:chOff x="4163060" y="2537711"/>
            <a:chExt cx="520926" cy="520926"/>
          </a:xfrm>
        </p:grpSpPr>
        <p:sp>
          <p:nvSpPr>
            <p:cNvPr id="606" name="Oval 605">
              <a:extLst>
                <a:ext uri="{FF2B5EF4-FFF2-40B4-BE49-F238E27FC236}">
                  <a16:creationId xmlns:a16="http://schemas.microsoft.com/office/drawing/2014/main" id="{BC8DBA18-9627-4B1F-B11A-3FDB467F999E}"/>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07" name="Freeform 41">
              <a:extLst>
                <a:ext uri="{FF2B5EF4-FFF2-40B4-BE49-F238E27FC236}">
                  <a16:creationId xmlns:a16="http://schemas.microsoft.com/office/drawing/2014/main" id="{F13CD59C-7C44-4460-A662-CBF7056A4DBD}"/>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08" name="Group 29">
            <a:extLst>
              <a:ext uri="{FF2B5EF4-FFF2-40B4-BE49-F238E27FC236}">
                <a16:creationId xmlns:a16="http://schemas.microsoft.com/office/drawing/2014/main" id="{77E1AA06-B3E8-48CD-9C5D-399E73E40C3B}"/>
              </a:ext>
            </a:extLst>
          </p:cNvPr>
          <p:cNvGrpSpPr/>
          <p:nvPr/>
        </p:nvGrpSpPr>
        <p:grpSpPr>
          <a:xfrm>
            <a:off x="7339817" y="1345406"/>
            <a:ext cx="302619" cy="317247"/>
            <a:chOff x="4163060" y="2537711"/>
            <a:chExt cx="520926" cy="520926"/>
          </a:xfrm>
        </p:grpSpPr>
        <p:sp>
          <p:nvSpPr>
            <p:cNvPr id="609" name="Oval 608">
              <a:extLst>
                <a:ext uri="{FF2B5EF4-FFF2-40B4-BE49-F238E27FC236}">
                  <a16:creationId xmlns:a16="http://schemas.microsoft.com/office/drawing/2014/main" id="{C29DB126-B7DB-4DB0-AF57-3D5726CF2355}"/>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0" name="Freeform 41">
              <a:extLst>
                <a:ext uri="{FF2B5EF4-FFF2-40B4-BE49-F238E27FC236}">
                  <a16:creationId xmlns:a16="http://schemas.microsoft.com/office/drawing/2014/main" id="{ECD2092C-0796-4913-9BD9-12B2633B784C}"/>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1" name="Group 29">
            <a:extLst>
              <a:ext uri="{FF2B5EF4-FFF2-40B4-BE49-F238E27FC236}">
                <a16:creationId xmlns:a16="http://schemas.microsoft.com/office/drawing/2014/main" id="{27CB4948-CFD6-4009-9827-31E3DF98708C}"/>
              </a:ext>
            </a:extLst>
          </p:cNvPr>
          <p:cNvGrpSpPr/>
          <p:nvPr/>
        </p:nvGrpSpPr>
        <p:grpSpPr>
          <a:xfrm>
            <a:off x="6903626" y="2244574"/>
            <a:ext cx="302619" cy="317247"/>
            <a:chOff x="4163060" y="2537711"/>
            <a:chExt cx="520926" cy="520926"/>
          </a:xfrm>
        </p:grpSpPr>
        <p:sp>
          <p:nvSpPr>
            <p:cNvPr id="612" name="Oval 611">
              <a:extLst>
                <a:ext uri="{FF2B5EF4-FFF2-40B4-BE49-F238E27FC236}">
                  <a16:creationId xmlns:a16="http://schemas.microsoft.com/office/drawing/2014/main" id="{C2EA128A-9593-4066-A311-92023D1336A2}"/>
                </a:ext>
              </a:extLst>
            </p:cNvPr>
            <p:cNvSpPr/>
            <p:nvPr/>
          </p:nvSpPr>
          <p:spPr>
            <a:xfrm>
              <a:off x="4163060" y="2537711"/>
              <a:ext cx="520926" cy="520926"/>
            </a:xfrm>
            <a:prstGeom prst="ellipse">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456917">
                <a:defRPr/>
              </a:pPr>
              <a:endParaRPr lang="en-US" dirty="0">
                <a:solidFill>
                  <a:srgbClr val="FFFFFF"/>
                </a:solidFill>
                <a:latin typeface="CiscoSansTT ExtraLight"/>
              </a:endParaRPr>
            </a:p>
          </p:txBody>
        </p:sp>
        <p:sp>
          <p:nvSpPr>
            <p:cNvPr id="613" name="Freeform 41">
              <a:extLst>
                <a:ext uri="{FF2B5EF4-FFF2-40B4-BE49-F238E27FC236}">
                  <a16:creationId xmlns:a16="http://schemas.microsoft.com/office/drawing/2014/main" id="{3BB0BD81-E52E-46C9-B6D9-9D0FA3285610}"/>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4" name="Group 29">
            <a:extLst>
              <a:ext uri="{FF2B5EF4-FFF2-40B4-BE49-F238E27FC236}">
                <a16:creationId xmlns:a16="http://schemas.microsoft.com/office/drawing/2014/main" id="{E7DB4215-9524-48BF-B8E5-684CCDF82591}"/>
              </a:ext>
            </a:extLst>
          </p:cNvPr>
          <p:cNvGrpSpPr/>
          <p:nvPr/>
        </p:nvGrpSpPr>
        <p:grpSpPr>
          <a:xfrm>
            <a:off x="6275388" y="2823251"/>
            <a:ext cx="302619" cy="317247"/>
            <a:chOff x="4163060" y="2537711"/>
            <a:chExt cx="520926" cy="520926"/>
          </a:xfrm>
        </p:grpSpPr>
        <p:sp>
          <p:nvSpPr>
            <p:cNvPr id="615" name="Oval 614">
              <a:extLst>
                <a:ext uri="{FF2B5EF4-FFF2-40B4-BE49-F238E27FC236}">
                  <a16:creationId xmlns:a16="http://schemas.microsoft.com/office/drawing/2014/main" id="{1B5E7FBB-EC69-4268-8826-A2B262641679}"/>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6" name="Freeform 41">
              <a:extLst>
                <a:ext uri="{FF2B5EF4-FFF2-40B4-BE49-F238E27FC236}">
                  <a16:creationId xmlns:a16="http://schemas.microsoft.com/office/drawing/2014/main" id="{8D9FDE30-D3C3-468F-993B-2658B6109CE6}"/>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7" name="Group 29">
            <a:extLst>
              <a:ext uri="{FF2B5EF4-FFF2-40B4-BE49-F238E27FC236}">
                <a16:creationId xmlns:a16="http://schemas.microsoft.com/office/drawing/2014/main" id="{CB4C2803-1D31-473D-B05B-14FECC0FEBD9}"/>
              </a:ext>
            </a:extLst>
          </p:cNvPr>
          <p:cNvGrpSpPr/>
          <p:nvPr/>
        </p:nvGrpSpPr>
        <p:grpSpPr>
          <a:xfrm>
            <a:off x="7155101" y="3370835"/>
            <a:ext cx="302619" cy="317247"/>
            <a:chOff x="4163060" y="2537711"/>
            <a:chExt cx="520926" cy="520926"/>
          </a:xfrm>
        </p:grpSpPr>
        <p:sp>
          <p:nvSpPr>
            <p:cNvPr id="618" name="Oval 617">
              <a:extLst>
                <a:ext uri="{FF2B5EF4-FFF2-40B4-BE49-F238E27FC236}">
                  <a16:creationId xmlns:a16="http://schemas.microsoft.com/office/drawing/2014/main" id="{EC8B7BA3-44FD-4707-8DDB-3F73C5745317}"/>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9" name="Freeform 41">
              <a:extLst>
                <a:ext uri="{FF2B5EF4-FFF2-40B4-BE49-F238E27FC236}">
                  <a16:creationId xmlns:a16="http://schemas.microsoft.com/office/drawing/2014/main" id="{2C7B4928-6595-43BB-AD82-7D69319B999A}"/>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cxnSp>
        <p:nvCxnSpPr>
          <p:cNvPr id="32" name="Straight Connector 31">
            <a:extLst>
              <a:ext uri="{FF2B5EF4-FFF2-40B4-BE49-F238E27FC236}">
                <a16:creationId xmlns:a16="http://schemas.microsoft.com/office/drawing/2014/main" id="{C7EB0EA3-A702-4528-B1C9-ABAA7A5B3B4C}"/>
              </a:ext>
            </a:extLst>
          </p:cNvPr>
          <p:cNvCxnSpPr>
            <a:cxnSpLocks/>
            <a:stCxn id="596" idx="5"/>
            <a:endCxn id="525" idx="2"/>
          </p:cNvCxnSpPr>
          <p:nvPr/>
        </p:nvCxnSpPr>
        <p:spPr>
          <a:xfrm>
            <a:off x="5997808" y="2253282"/>
            <a:ext cx="968435" cy="331126"/>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0" name="Straight Connector 69">
            <a:extLst>
              <a:ext uri="{FF2B5EF4-FFF2-40B4-BE49-F238E27FC236}">
                <a16:creationId xmlns:a16="http://schemas.microsoft.com/office/drawing/2014/main" id="{685B54BB-7668-4C43-8B50-4969C55EF348}"/>
              </a:ext>
            </a:extLst>
          </p:cNvPr>
          <p:cNvCxnSpPr>
            <a:cxnSpLocks/>
            <a:stCxn id="606" idx="5"/>
            <a:endCxn id="525" idx="1"/>
          </p:cNvCxnSpPr>
          <p:nvPr/>
        </p:nvCxnSpPr>
        <p:spPr>
          <a:xfrm>
            <a:off x="6526434" y="1874080"/>
            <a:ext cx="464419" cy="65091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3" name="Straight Connector 72">
            <a:extLst>
              <a:ext uri="{FF2B5EF4-FFF2-40B4-BE49-F238E27FC236}">
                <a16:creationId xmlns:a16="http://schemas.microsoft.com/office/drawing/2014/main" id="{2DCDD96F-61C1-4EFA-BD1B-F57C6A13A1FC}"/>
              </a:ext>
            </a:extLst>
          </p:cNvPr>
          <p:cNvCxnSpPr>
            <a:cxnSpLocks/>
            <a:stCxn id="612" idx="4"/>
          </p:cNvCxnSpPr>
          <p:nvPr/>
        </p:nvCxnSpPr>
        <p:spPr>
          <a:xfrm flipH="1">
            <a:off x="7023021" y="2561821"/>
            <a:ext cx="31914" cy="384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13D577-06EB-4CA4-973B-BD002BEDF6E7}"/>
              </a:ext>
            </a:extLst>
          </p:cNvPr>
          <p:cNvCxnSpPr>
            <a:cxnSpLocks/>
            <a:stCxn id="609" idx="4"/>
            <a:endCxn id="525" idx="7"/>
          </p:cNvCxnSpPr>
          <p:nvPr/>
        </p:nvCxnSpPr>
        <p:spPr>
          <a:xfrm flipH="1">
            <a:off x="7109678" y="1662653"/>
            <a:ext cx="381449" cy="862341"/>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7" name="Straight Connector 76">
            <a:extLst>
              <a:ext uri="{FF2B5EF4-FFF2-40B4-BE49-F238E27FC236}">
                <a16:creationId xmlns:a16="http://schemas.microsoft.com/office/drawing/2014/main" id="{5B2818DB-830E-4AD7-B13B-996AAE83C77B}"/>
              </a:ext>
            </a:extLst>
          </p:cNvPr>
          <p:cNvCxnSpPr>
            <a:cxnSpLocks/>
            <a:stCxn id="615" idx="6"/>
            <a:endCxn id="525" idx="3"/>
          </p:cNvCxnSpPr>
          <p:nvPr/>
        </p:nvCxnSpPr>
        <p:spPr>
          <a:xfrm flipV="1">
            <a:off x="6578007" y="2643820"/>
            <a:ext cx="412845" cy="33805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0" name="Straight Connector 79">
            <a:extLst>
              <a:ext uri="{FF2B5EF4-FFF2-40B4-BE49-F238E27FC236}">
                <a16:creationId xmlns:a16="http://schemas.microsoft.com/office/drawing/2014/main" id="{65C2C988-5928-40F4-9D29-E0484818AB7A}"/>
              </a:ext>
            </a:extLst>
          </p:cNvPr>
          <p:cNvCxnSpPr>
            <a:cxnSpLocks/>
            <a:stCxn id="541" idx="6"/>
            <a:endCxn id="525" idx="2"/>
          </p:cNvCxnSpPr>
          <p:nvPr/>
        </p:nvCxnSpPr>
        <p:spPr>
          <a:xfrm flipV="1">
            <a:off x="5585540" y="2584407"/>
            <a:ext cx="1380702" cy="542495"/>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3" name="Straight Connector 82">
            <a:extLst>
              <a:ext uri="{FF2B5EF4-FFF2-40B4-BE49-F238E27FC236}">
                <a16:creationId xmlns:a16="http://schemas.microsoft.com/office/drawing/2014/main" id="{6096C28E-B668-4D25-B65D-9E575C33A5B3}"/>
              </a:ext>
            </a:extLst>
          </p:cNvPr>
          <p:cNvCxnSpPr>
            <a:stCxn id="618" idx="0"/>
            <a:endCxn id="525" idx="4"/>
          </p:cNvCxnSpPr>
          <p:nvPr/>
        </p:nvCxnSpPr>
        <p:spPr>
          <a:xfrm flipH="1" flipV="1">
            <a:off x="7050265" y="2668430"/>
            <a:ext cx="256146" cy="702405"/>
          </a:xfrm>
          <a:prstGeom prst="line">
            <a:avLst/>
          </a:prstGeom>
          <a:ln/>
        </p:spPr>
        <p:style>
          <a:lnRef idx="1">
            <a:schemeClr val="accent3"/>
          </a:lnRef>
          <a:fillRef idx="0">
            <a:schemeClr val="accent3"/>
          </a:fillRef>
          <a:effectRef idx="0">
            <a:schemeClr val="accent3"/>
          </a:effectRef>
          <a:fontRef idx="minor">
            <a:schemeClr val="tx1"/>
          </a:fontRef>
        </p:style>
      </p:cxnSp>
      <p:sp>
        <p:nvSpPr>
          <p:cNvPr id="94" name="Freeform: Shape 93">
            <a:extLst>
              <a:ext uri="{FF2B5EF4-FFF2-40B4-BE49-F238E27FC236}">
                <a16:creationId xmlns:a16="http://schemas.microsoft.com/office/drawing/2014/main" id="{F2C417E4-D4A9-44AA-9830-F1BE0AA19845}"/>
              </a:ext>
            </a:extLst>
          </p:cNvPr>
          <p:cNvSpPr/>
          <p:nvPr/>
        </p:nvSpPr>
        <p:spPr>
          <a:xfrm>
            <a:off x="6122147" y="2153242"/>
            <a:ext cx="2192937" cy="2787034"/>
          </a:xfrm>
          <a:custGeom>
            <a:avLst/>
            <a:gdLst>
              <a:gd name="connsiteX0" fmla="*/ 1162112 w 2923916"/>
              <a:gd name="connsiteY0" fmla="*/ 575226 h 3628485"/>
              <a:gd name="connsiteX1" fmla="*/ 285812 w 2923916"/>
              <a:gd name="connsiteY1" fmla="*/ 3726 h 3628485"/>
              <a:gd name="connsiteX2" fmla="*/ 19112 w 2923916"/>
              <a:gd name="connsiteY2" fmla="*/ 365676 h 3628485"/>
              <a:gd name="connsiteX3" fmla="*/ 76262 w 2923916"/>
              <a:gd name="connsiteY3" fmla="*/ 1080051 h 3628485"/>
              <a:gd name="connsiteX4" fmla="*/ 514412 w 2923916"/>
              <a:gd name="connsiteY4" fmla="*/ 1689651 h 3628485"/>
              <a:gd name="connsiteX5" fmla="*/ 1266887 w 2923916"/>
              <a:gd name="connsiteY5" fmla="*/ 1946826 h 3628485"/>
              <a:gd name="connsiteX6" fmla="*/ 1600262 w 2923916"/>
              <a:gd name="connsiteY6" fmla="*/ 2670726 h 3628485"/>
              <a:gd name="connsiteX7" fmla="*/ 2762312 w 2923916"/>
              <a:gd name="connsiteY7" fmla="*/ 3508926 h 3628485"/>
              <a:gd name="connsiteX8" fmla="*/ 2886137 w 2923916"/>
              <a:gd name="connsiteY8" fmla="*/ 3604176 h 362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3916" h="3628485">
                <a:moveTo>
                  <a:pt x="1162112" y="575226"/>
                </a:moveTo>
                <a:cubicBezTo>
                  <a:pt x="819212" y="306938"/>
                  <a:pt x="476312" y="38651"/>
                  <a:pt x="285812" y="3726"/>
                </a:cubicBezTo>
                <a:cubicBezTo>
                  <a:pt x="95312" y="-31199"/>
                  <a:pt x="54037" y="186289"/>
                  <a:pt x="19112" y="365676"/>
                </a:cubicBezTo>
                <a:cubicBezTo>
                  <a:pt x="-15813" y="545063"/>
                  <a:pt x="-6288" y="859389"/>
                  <a:pt x="76262" y="1080051"/>
                </a:cubicBezTo>
                <a:cubicBezTo>
                  <a:pt x="158812" y="1300713"/>
                  <a:pt x="315975" y="1545189"/>
                  <a:pt x="514412" y="1689651"/>
                </a:cubicBezTo>
                <a:cubicBezTo>
                  <a:pt x="712849" y="1834113"/>
                  <a:pt x="1085912" y="1783314"/>
                  <a:pt x="1266887" y="1946826"/>
                </a:cubicBezTo>
                <a:cubicBezTo>
                  <a:pt x="1447862" y="2110338"/>
                  <a:pt x="1351024" y="2410376"/>
                  <a:pt x="1600262" y="2670726"/>
                </a:cubicBezTo>
                <a:cubicBezTo>
                  <a:pt x="1849500" y="2931076"/>
                  <a:pt x="2548000" y="3353351"/>
                  <a:pt x="2762312" y="3508926"/>
                </a:cubicBezTo>
                <a:cubicBezTo>
                  <a:pt x="2976625" y="3664501"/>
                  <a:pt x="2931381" y="3634338"/>
                  <a:pt x="2886137" y="3604176"/>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sp>
        <p:nvSpPr>
          <p:cNvPr id="96" name="Freeform: Shape 95">
            <a:extLst>
              <a:ext uri="{FF2B5EF4-FFF2-40B4-BE49-F238E27FC236}">
                <a16:creationId xmlns:a16="http://schemas.microsoft.com/office/drawing/2014/main" id="{3F8BFE22-2214-497E-BF03-EBB9CB38F4DE}"/>
              </a:ext>
            </a:extLst>
          </p:cNvPr>
          <p:cNvSpPr/>
          <p:nvPr/>
        </p:nvSpPr>
        <p:spPr>
          <a:xfrm>
            <a:off x="5931265" y="411849"/>
            <a:ext cx="1091042" cy="2131327"/>
          </a:xfrm>
          <a:custGeom>
            <a:avLst/>
            <a:gdLst>
              <a:gd name="connsiteX0" fmla="*/ 1454722 w 1454722"/>
              <a:gd name="connsiteY0" fmla="*/ 2841769 h 2841769"/>
              <a:gd name="connsiteX1" fmla="*/ 521272 w 1454722"/>
              <a:gd name="connsiteY1" fmla="*/ 2175019 h 2841769"/>
              <a:gd name="connsiteX2" fmla="*/ 149797 w 1454722"/>
              <a:gd name="connsiteY2" fmla="*/ 641494 h 2841769"/>
              <a:gd name="connsiteX3" fmla="*/ 6922 w 1454722"/>
              <a:gd name="connsiteY3" fmla="*/ 50944 h 2841769"/>
              <a:gd name="connsiteX4" fmla="*/ 35497 w 1454722"/>
              <a:gd name="connsiteY4" fmla="*/ 69994 h 284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722" h="2841769">
                <a:moveTo>
                  <a:pt x="1454722" y="2841769"/>
                </a:moveTo>
                <a:cubicBezTo>
                  <a:pt x="1096740" y="2691750"/>
                  <a:pt x="738759" y="2541731"/>
                  <a:pt x="521272" y="2175019"/>
                </a:cubicBezTo>
                <a:cubicBezTo>
                  <a:pt x="303785" y="1808307"/>
                  <a:pt x="149797" y="641494"/>
                  <a:pt x="149797" y="641494"/>
                </a:cubicBezTo>
                <a:lnTo>
                  <a:pt x="6922" y="50944"/>
                </a:lnTo>
                <a:cubicBezTo>
                  <a:pt x="-12128" y="-44306"/>
                  <a:pt x="11684" y="12844"/>
                  <a:pt x="35497" y="69994"/>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grpSp>
        <p:nvGrpSpPr>
          <p:cNvPr id="524" name="Group 523">
            <a:extLst>
              <a:ext uri="{FF2B5EF4-FFF2-40B4-BE49-F238E27FC236}">
                <a16:creationId xmlns:a16="http://schemas.microsoft.com/office/drawing/2014/main" id="{E1663DD4-DA51-4B2D-B167-258896EFE2D0}"/>
              </a:ext>
            </a:extLst>
          </p:cNvPr>
          <p:cNvGrpSpPr/>
          <p:nvPr/>
        </p:nvGrpSpPr>
        <p:grpSpPr>
          <a:xfrm>
            <a:off x="6966242" y="2500385"/>
            <a:ext cx="168045" cy="168045"/>
            <a:chOff x="4083769" y="2552776"/>
            <a:chExt cx="529089" cy="529089"/>
          </a:xfrm>
        </p:grpSpPr>
        <p:sp>
          <p:nvSpPr>
            <p:cNvPr id="525" name="Oval 524">
              <a:extLst>
                <a:ext uri="{FF2B5EF4-FFF2-40B4-BE49-F238E27FC236}">
                  <a16:creationId xmlns:a16="http://schemas.microsoft.com/office/drawing/2014/main" id="{85034D52-F106-4E56-A399-DDE2C758F1FB}"/>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6" name="Freeform: Shape 298">
              <a:extLst>
                <a:ext uri="{FF2B5EF4-FFF2-40B4-BE49-F238E27FC236}">
                  <a16:creationId xmlns:a16="http://schemas.microsoft.com/office/drawing/2014/main" id="{4A1CAA4F-2377-434A-9F13-9E763294C0D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299">
              <a:extLst>
                <a:ext uri="{FF2B5EF4-FFF2-40B4-BE49-F238E27FC236}">
                  <a16:creationId xmlns:a16="http://schemas.microsoft.com/office/drawing/2014/main" id="{13B65276-0B83-4462-9EB0-03C4032ECC9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1">
              <a:extLst>
                <a:ext uri="{FF2B5EF4-FFF2-40B4-BE49-F238E27FC236}">
                  <a16:creationId xmlns:a16="http://schemas.microsoft.com/office/drawing/2014/main" id="{7F8006FB-D45A-4C5F-8CE1-B64192D41C3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9" name="Freeform: Shape 302">
              <a:extLst>
                <a:ext uri="{FF2B5EF4-FFF2-40B4-BE49-F238E27FC236}">
                  <a16:creationId xmlns:a16="http://schemas.microsoft.com/office/drawing/2014/main" id="{7EA827F4-EB63-4832-92DB-DCB54240DDB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43" name="Freeform 9">
            <a:extLst>
              <a:ext uri="{FF2B5EF4-FFF2-40B4-BE49-F238E27FC236}">
                <a16:creationId xmlns:a16="http://schemas.microsoft.com/office/drawing/2014/main" id="{EB141EAE-CC92-4BEA-BF5D-C4FDECBA8CE7}"/>
              </a:ext>
            </a:extLst>
          </p:cNvPr>
          <p:cNvSpPr>
            <a:spLocks noEditPoints="1"/>
          </p:cNvSpPr>
          <p:nvPr/>
        </p:nvSpPr>
        <p:spPr bwMode="auto">
          <a:xfrm>
            <a:off x="7791851" y="21331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544" name="Freeform 9">
            <a:extLst>
              <a:ext uri="{FF2B5EF4-FFF2-40B4-BE49-F238E27FC236}">
                <a16:creationId xmlns:a16="http://schemas.microsoft.com/office/drawing/2014/main" id="{AFE31779-0293-44EE-AFB0-25460BA8E838}"/>
              </a:ext>
            </a:extLst>
          </p:cNvPr>
          <p:cNvSpPr>
            <a:spLocks noEditPoints="1"/>
          </p:cNvSpPr>
          <p:nvPr/>
        </p:nvSpPr>
        <p:spPr bwMode="auto">
          <a:xfrm>
            <a:off x="7906151" y="22474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593" name="Freeform 9">
            <a:extLst>
              <a:ext uri="{FF2B5EF4-FFF2-40B4-BE49-F238E27FC236}">
                <a16:creationId xmlns:a16="http://schemas.microsoft.com/office/drawing/2014/main" id="{956C4BA2-ED2E-4DF8-B962-CBBCA112DFCF}"/>
              </a:ext>
            </a:extLst>
          </p:cNvPr>
          <p:cNvSpPr>
            <a:spLocks noEditPoints="1"/>
          </p:cNvSpPr>
          <p:nvPr/>
        </p:nvSpPr>
        <p:spPr bwMode="auto">
          <a:xfrm>
            <a:off x="8020451" y="23617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cxnSp>
        <p:nvCxnSpPr>
          <p:cNvPr id="5" name="Straight Connector 4">
            <a:extLst>
              <a:ext uri="{FF2B5EF4-FFF2-40B4-BE49-F238E27FC236}">
                <a16:creationId xmlns:a16="http://schemas.microsoft.com/office/drawing/2014/main" id="{66C439AD-AE67-46B2-A72C-1F415EE4E9F2}"/>
              </a:ext>
            </a:extLst>
          </p:cNvPr>
          <p:cNvCxnSpPr>
            <a:cxnSpLocks/>
            <a:stCxn id="543" idx="10"/>
            <a:endCxn id="525" idx="6"/>
          </p:cNvCxnSpPr>
          <p:nvPr/>
        </p:nvCxnSpPr>
        <p:spPr>
          <a:xfrm flipH="1">
            <a:off x="7134288" y="2413408"/>
            <a:ext cx="674189" cy="17099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7D0C5C51-02EF-4BAA-93F0-E445D1DE6141}"/>
              </a:ext>
            </a:extLst>
          </p:cNvPr>
          <p:cNvSpPr/>
          <p:nvPr/>
        </p:nvSpPr>
        <p:spPr>
          <a:xfrm>
            <a:off x="4689784" y="726527"/>
            <a:ext cx="1300835" cy="1356118"/>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dirty="0">
                <a:solidFill>
                  <a:schemeClr val="bg2"/>
                </a:solidFill>
              </a:rPr>
              <a:t>Mobile Data flows via its own data plane to the MEC sites for processing</a:t>
            </a:r>
            <a:endParaRPr lang="en-GB" dirty="0">
              <a:solidFill>
                <a:schemeClr val="bg2"/>
              </a:solidFill>
            </a:endParaRPr>
          </a:p>
        </p:txBody>
      </p:sp>
      <p:sp>
        <p:nvSpPr>
          <p:cNvPr id="2" name="Freeform: Shape 1">
            <a:extLst>
              <a:ext uri="{FF2B5EF4-FFF2-40B4-BE49-F238E27FC236}">
                <a16:creationId xmlns:a16="http://schemas.microsoft.com/office/drawing/2014/main" id="{88A25DF2-44F2-499E-94A5-A14A454FBAAB}"/>
              </a:ext>
            </a:extLst>
          </p:cNvPr>
          <p:cNvSpPr/>
          <p:nvPr/>
        </p:nvSpPr>
        <p:spPr>
          <a:xfrm>
            <a:off x="6239274" y="2365682"/>
            <a:ext cx="1556196" cy="1006693"/>
          </a:xfrm>
          <a:custGeom>
            <a:avLst/>
            <a:gdLst>
              <a:gd name="connsiteX0" fmla="*/ 2074928 w 2074928"/>
              <a:gd name="connsiteY0" fmla="*/ 260077 h 1342257"/>
              <a:gd name="connsiteX1" fmla="*/ 1126972 w 2074928"/>
              <a:gd name="connsiteY1" fmla="*/ 511747 h 1342257"/>
              <a:gd name="connsiteX2" fmla="*/ 271295 w 2074928"/>
              <a:gd name="connsiteY2" fmla="*/ 19 h 1342257"/>
              <a:gd name="connsiteX3" fmla="*/ 11236 w 2074928"/>
              <a:gd name="connsiteY3" fmla="*/ 494969 h 1342257"/>
              <a:gd name="connsiteX4" fmla="*/ 573298 w 2074928"/>
              <a:gd name="connsiteY4" fmla="*/ 1199644 h 1342257"/>
              <a:gd name="connsiteX5" fmla="*/ 824968 w 2074928"/>
              <a:gd name="connsiteY5" fmla="*/ 1342257 h 1342257"/>
              <a:gd name="connsiteX6" fmla="*/ 824968 w 2074928"/>
              <a:gd name="connsiteY6" fmla="*/ 1342257 h 134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4928" h="1342257">
                <a:moveTo>
                  <a:pt x="2074928" y="260077"/>
                </a:moveTo>
                <a:cubicBezTo>
                  <a:pt x="1751252" y="407583"/>
                  <a:pt x="1427577" y="555090"/>
                  <a:pt x="1126972" y="511747"/>
                </a:cubicBezTo>
                <a:cubicBezTo>
                  <a:pt x="826367" y="468404"/>
                  <a:pt x="457251" y="2815"/>
                  <a:pt x="271295" y="19"/>
                </a:cubicBezTo>
                <a:cubicBezTo>
                  <a:pt x="85339" y="-2777"/>
                  <a:pt x="-39098" y="295032"/>
                  <a:pt x="11236" y="494969"/>
                </a:cubicBezTo>
                <a:cubicBezTo>
                  <a:pt x="61570" y="694907"/>
                  <a:pt x="437676" y="1058429"/>
                  <a:pt x="573298" y="1199644"/>
                </a:cubicBezTo>
                <a:cubicBezTo>
                  <a:pt x="708920" y="1340859"/>
                  <a:pt x="824968" y="1342257"/>
                  <a:pt x="824968" y="1342257"/>
                </a:cubicBezTo>
                <a:lnTo>
                  <a:pt x="824968" y="1342257"/>
                </a:lnTo>
              </a:path>
            </a:pathLst>
          </a:custGeom>
          <a:ln w="5715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Freeform: Shape 6">
            <a:extLst>
              <a:ext uri="{FF2B5EF4-FFF2-40B4-BE49-F238E27FC236}">
                <a16:creationId xmlns:a16="http://schemas.microsoft.com/office/drawing/2014/main" id="{C7822401-EB22-473F-8D46-05A54F9B0859}"/>
              </a:ext>
            </a:extLst>
          </p:cNvPr>
          <p:cNvSpPr/>
          <p:nvPr/>
        </p:nvSpPr>
        <p:spPr>
          <a:xfrm>
            <a:off x="6109283" y="931179"/>
            <a:ext cx="912068" cy="1494521"/>
          </a:xfrm>
          <a:custGeom>
            <a:avLst/>
            <a:gdLst>
              <a:gd name="connsiteX0" fmla="*/ 696286 w 1216091"/>
              <a:gd name="connsiteY0" fmla="*/ 1216403 h 1992695"/>
              <a:gd name="connsiteX1" fmla="*/ 1208015 w 1216091"/>
              <a:gd name="connsiteY1" fmla="*/ 1988190 h 1992695"/>
              <a:gd name="connsiteX2" fmla="*/ 335560 w 1216091"/>
              <a:gd name="connsiteY2" fmla="*/ 1459684 h 1992695"/>
              <a:gd name="connsiteX3" fmla="*/ 0 w 1216091"/>
              <a:gd name="connsiteY3" fmla="*/ 0 h 1992695"/>
              <a:gd name="connsiteX4" fmla="*/ 0 w 1216091"/>
              <a:gd name="connsiteY4" fmla="*/ 0 h 1992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091" h="1992695">
                <a:moveTo>
                  <a:pt x="696286" y="1216403"/>
                </a:moveTo>
                <a:cubicBezTo>
                  <a:pt x="982211" y="1582023"/>
                  <a:pt x="1268136" y="1947643"/>
                  <a:pt x="1208015" y="1988190"/>
                </a:cubicBezTo>
                <a:cubicBezTo>
                  <a:pt x="1147894" y="2028737"/>
                  <a:pt x="536896" y="1791049"/>
                  <a:pt x="335560" y="1459684"/>
                </a:cubicBezTo>
                <a:cubicBezTo>
                  <a:pt x="134224" y="1128319"/>
                  <a:pt x="0" y="0"/>
                  <a:pt x="0" y="0"/>
                </a:cubicBezTo>
                <a:lnTo>
                  <a:pt x="0" y="0"/>
                </a:lnTo>
              </a:path>
            </a:pathLst>
          </a:custGeom>
          <a:ln>
            <a:headEnd type="none" w="med" len="med"/>
            <a:tailEnd type="triangle" w="med" len="med"/>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p>
        </p:txBody>
      </p:sp>
      <p:sp>
        <p:nvSpPr>
          <p:cNvPr id="594" name="Rectangle: Rounded Corners 593">
            <a:extLst>
              <a:ext uri="{FF2B5EF4-FFF2-40B4-BE49-F238E27FC236}">
                <a16:creationId xmlns:a16="http://schemas.microsoft.com/office/drawing/2014/main" id="{88AB3151-A24A-4127-80D7-7802502431A1}"/>
              </a:ext>
            </a:extLst>
          </p:cNvPr>
          <p:cNvSpPr/>
          <p:nvPr/>
        </p:nvSpPr>
        <p:spPr>
          <a:xfrm>
            <a:off x="4712433" y="2696017"/>
            <a:ext cx="1528438" cy="135611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Customer uses different Data Plane / Path to Customer Services</a:t>
            </a:r>
            <a:endParaRPr lang="en-GB" dirty="0"/>
          </a:p>
        </p:txBody>
      </p:sp>
      <p:sp>
        <p:nvSpPr>
          <p:cNvPr id="620" name="Rectangle 619">
            <a:extLst>
              <a:ext uri="{FF2B5EF4-FFF2-40B4-BE49-F238E27FC236}">
                <a16:creationId xmlns:a16="http://schemas.microsoft.com/office/drawing/2014/main" id="{731557B4-D92D-4639-A34C-8B82E0F7DFE0}"/>
              </a:ext>
            </a:extLst>
          </p:cNvPr>
          <p:cNvSpPr/>
          <p:nvPr/>
        </p:nvSpPr>
        <p:spPr>
          <a:xfrm>
            <a:off x="7366973" y="2848756"/>
            <a:ext cx="1292154" cy="12522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dirty="0"/>
              <a:t>Aggregation / Local Tower using SRv6 to manage flows</a:t>
            </a:r>
            <a:endParaRPr lang="en-GB" dirty="0"/>
          </a:p>
        </p:txBody>
      </p:sp>
    </p:spTree>
    <p:extLst>
      <p:ext uri="{BB962C8B-B14F-4D97-AF65-F5344CB8AC3E}">
        <p14:creationId xmlns:p14="http://schemas.microsoft.com/office/powerpoint/2010/main" val="326686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714" y="261876"/>
            <a:ext cx="7388352" cy="221599"/>
          </a:xfrm>
        </p:spPr>
        <p:txBody>
          <a:bodyPr/>
          <a:lstStyle/>
          <a:p>
            <a:r>
              <a:rPr lang="en-US" sz="1800" dirty="0">
                <a:solidFill>
                  <a:srgbClr val="002060"/>
                </a:solidFill>
              </a:rPr>
              <a:t>Comprehensive CPE Portfolio – Physical and Virtual</a:t>
            </a:r>
          </a:p>
        </p:txBody>
      </p:sp>
      <p:pic>
        <p:nvPicPr>
          <p:cNvPr id="4" name="Picture 3" descr="vEdge1000_Front.jpg"/>
          <p:cNvPicPr>
            <a:picLocks noChangeAspect="1"/>
          </p:cNvPicPr>
          <p:nvPr/>
        </p:nvPicPr>
        <p:blipFill>
          <a:blip r:embed="rId2" cstate="email">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1876610" y="1488384"/>
            <a:ext cx="1351455" cy="662086"/>
          </a:xfrm>
          <a:prstGeom prst="rect">
            <a:avLst/>
          </a:prstGeom>
        </p:spPr>
      </p:pic>
      <p:pic>
        <p:nvPicPr>
          <p:cNvPr id="5" name="Picture 4" descr="vEdge2000_Front.jp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363742" y="1677069"/>
            <a:ext cx="1289240" cy="284717"/>
          </a:xfrm>
          <a:prstGeom prst="rect">
            <a:avLst/>
          </a:prstGeom>
        </p:spPr>
      </p:pic>
      <p:grpSp>
        <p:nvGrpSpPr>
          <p:cNvPr id="21" name="Group 20"/>
          <p:cNvGrpSpPr/>
          <p:nvPr/>
        </p:nvGrpSpPr>
        <p:grpSpPr>
          <a:xfrm>
            <a:off x="805963" y="1656093"/>
            <a:ext cx="813806" cy="588480"/>
            <a:chOff x="362164" y="2775306"/>
            <a:chExt cx="996764" cy="946030"/>
          </a:xfrm>
        </p:grpSpPr>
        <p:pic>
          <p:nvPicPr>
            <p:cNvPr id="6" name="Picture 5"/>
            <p:cNvPicPr>
              <a:picLocks/>
            </p:cNvPicPr>
            <p:nvPr/>
          </p:nvPicPr>
          <p:blipFill>
            <a:blip r:embed="rId5" cstate="screen">
              <a:extLst>
                <a:ext uri="{28A0092B-C50C-407E-A947-70E740481C1C}">
                  <a14:useLocalDpi xmlns:a14="http://schemas.microsoft.com/office/drawing/2010/main"/>
                </a:ext>
              </a:extLst>
            </a:blip>
            <a:stretch>
              <a:fillRect/>
            </a:stretch>
          </p:blipFill>
          <p:spPr>
            <a:xfrm>
              <a:off x="362164" y="2775306"/>
              <a:ext cx="851656" cy="452927"/>
            </a:xfrm>
            <a:prstGeom prst="rect">
              <a:avLst/>
            </a:prstGeom>
          </p:spPr>
        </p:pic>
        <p:pic>
          <p:nvPicPr>
            <p:cNvPr id="19" name="Pictur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1259" y="3365188"/>
              <a:ext cx="436076" cy="280334"/>
            </a:xfrm>
            <a:prstGeom prst="rect">
              <a:avLst/>
            </a:prstGeom>
          </p:spPr>
        </p:pic>
        <p:pic>
          <p:nvPicPr>
            <p:cNvPr id="20" name="Picture 1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5359" y="3228811"/>
              <a:ext cx="533569" cy="492525"/>
            </a:xfrm>
            <a:prstGeom prst="rect">
              <a:avLst/>
            </a:prstGeom>
          </p:spPr>
        </p:pic>
      </p:grpSp>
      <p:sp>
        <p:nvSpPr>
          <p:cNvPr id="23" name="AutoShape 2" descr="Image result for amazon AWS logo"/>
          <p:cNvSpPr>
            <a:spLocks noChangeAspect="1" noChangeArrowheads="1"/>
          </p:cNvSpPr>
          <p:nvPr/>
        </p:nvSpPr>
        <p:spPr bwMode="auto">
          <a:xfrm>
            <a:off x="-252131" y="-21802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78"/>
            <a:endParaRPr lang="en-GB">
              <a:solidFill>
                <a:srgbClr val="000000"/>
              </a:solidFill>
            </a:endParaRPr>
          </a:p>
        </p:txBody>
      </p:sp>
      <p:pic>
        <p:nvPicPr>
          <p:cNvPr id="26" name="Picture 2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94238" y="1676077"/>
            <a:ext cx="400393" cy="276098"/>
          </a:xfrm>
          <a:prstGeom prst="rect">
            <a:avLst/>
          </a:prstGeom>
        </p:spPr>
      </p:pic>
      <p:pic>
        <p:nvPicPr>
          <p:cNvPr id="34" name="Picture 3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119775" y="1626161"/>
            <a:ext cx="1828800" cy="311676"/>
          </a:xfrm>
          <a:prstGeom prst="rect">
            <a:avLst/>
          </a:prstGeom>
        </p:spPr>
      </p:pic>
      <p:sp>
        <p:nvSpPr>
          <p:cNvPr id="36" name="TextBox 35"/>
          <p:cNvSpPr txBox="1"/>
          <p:nvPr/>
        </p:nvSpPr>
        <p:spPr>
          <a:xfrm>
            <a:off x="643171" y="1207409"/>
            <a:ext cx="943820" cy="246221"/>
          </a:xfrm>
          <a:prstGeom prst="rect">
            <a:avLst/>
          </a:prstGeom>
        </p:spPr>
        <p:txBody>
          <a:bodyPr vert="horz" wrap="square" lIns="91440" tIns="45720" rIns="91440" bIns="45720" rtlCol="0" anchor="t" anchorCtr="0">
            <a:spAutoFit/>
          </a:bodyPr>
          <a:lstStyle/>
          <a:p>
            <a:pPr marL="71997" defTabSz="457178"/>
            <a:r>
              <a:rPr lang="en-GB" sz="1000" dirty="0" err="1">
                <a:solidFill>
                  <a:srgbClr val="113074"/>
                </a:solidFill>
                <a:latin typeface="Verdana"/>
                <a:cs typeface="Verdana"/>
              </a:rPr>
              <a:t>vEdge</a:t>
            </a:r>
            <a:r>
              <a:rPr lang="en-GB" sz="1000" dirty="0">
                <a:solidFill>
                  <a:srgbClr val="113074"/>
                </a:solidFill>
                <a:latin typeface="Verdana"/>
                <a:cs typeface="Verdana"/>
              </a:rPr>
              <a:t> 100</a:t>
            </a:r>
          </a:p>
        </p:txBody>
      </p:sp>
      <p:sp>
        <p:nvSpPr>
          <p:cNvPr id="38" name="TextBox 37"/>
          <p:cNvSpPr txBox="1"/>
          <p:nvPr/>
        </p:nvSpPr>
        <p:spPr>
          <a:xfrm>
            <a:off x="1931530" y="1177664"/>
            <a:ext cx="1032810" cy="246221"/>
          </a:xfrm>
          <a:prstGeom prst="rect">
            <a:avLst/>
          </a:prstGeom>
        </p:spPr>
        <p:txBody>
          <a:bodyPr vert="horz" wrap="square" lIns="91440" tIns="45720" rIns="91440" bIns="45720" rtlCol="0" anchor="t" anchorCtr="0">
            <a:spAutoFit/>
          </a:bodyPr>
          <a:lstStyle/>
          <a:p>
            <a:pPr marL="71997" defTabSz="457178"/>
            <a:r>
              <a:rPr lang="en-GB" sz="1000" dirty="0" err="1">
                <a:solidFill>
                  <a:srgbClr val="113074"/>
                </a:solidFill>
                <a:latin typeface="Verdana"/>
                <a:cs typeface="Verdana"/>
              </a:rPr>
              <a:t>vEdge</a:t>
            </a:r>
            <a:r>
              <a:rPr lang="en-GB" sz="1000" dirty="0">
                <a:solidFill>
                  <a:srgbClr val="113074"/>
                </a:solidFill>
                <a:latin typeface="Verdana"/>
                <a:cs typeface="Verdana"/>
              </a:rPr>
              <a:t> 1000</a:t>
            </a:r>
          </a:p>
        </p:txBody>
      </p:sp>
      <p:sp>
        <p:nvSpPr>
          <p:cNvPr id="39" name="TextBox 38"/>
          <p:cNvSpPr txBox="1"/>
          <p:nvPr/>
        </p:nvSpPr>
        <p:spPr>
          <a:xfrm>
            <a:off x="3313713" y="1125868"/>
            <a:ext cx="1269156" cy="400110"/>
          </a:xfrm>
          <a:prstGeom prst="rect">
            <a:avLst/>
          </a:prstGeom>
        </p:spPr>
        <p:txBody>
          <a:bodyPr vert="horz" wrap="square" lIns="91440" tIns="45720" rIns="91440" bIns="45720" rtlCol="0" anchor="t" anchorCtr="0">
            <a:spAutoFit/>
          </a:bodyPr>
          <a:lstStyle/>
          <a:p>
            <a:pPr marL="71997" algn="ctr" defTabSz="457178"/>
            <a:r>
              <a:rPr lang="en-GB" sz="1000" dirty="0" err="1">
                <a:solidFill>
                  <a:srgbClr val="113074"/>
                </a:solidFill>
                <a:latin typeface="Verdana"/>
                <a:cs typeface="Verdana"/>
              </a:rPr>
              <a:t>vEdge</a:t>
            </a:r>
            <a:r>
              <a:rPr lang="en-GB" sz="1000" dirty="0">
                <a:solidFill>
                  <a:srgbClr val="113074"/>
                </a:solidFill>
                <a:latin typeface="Verdana"/>
                <a:cs typeface="Verdana"/>
              </a:rPr>
              <a:t> 2000 Modular</a:t>
            </a:r>
          </a:p>
        </p:txBody>
      </p:sp>
      <p:sp>
        <p:nvSpPr>
          <p:cNvPr id="40" name="TextBox 39"/>
          <p:cNvSpPr txBox="1"/>
          <p:nvPr/>
        </p:nvSpPr>
        <p:spPr>
          <a:xfrm>
            <a:off x="5231713" y="1129033"/>
            <a:ext cx="1269156" cy="400110"/>
          </a:xfrm>
          <a:prstGeom prst="rect">
            <a:avLst/>
          </a:prstGeom>
        </p:spPr>
        <p:txBody>
          <a:bodyPr vert="horz" wrap="square" lIns="91440" tIns="45720" rIns="91440" bIns="45720" rtlCol="0" anchor="t" anchorCtr="0">
            <a:spAutoFit/>
          </a:bodyPr>
          <a:lstStyle/>
          <a:p>
            <a:pPr marL="71997" algn="ctr" defTabSz="457178"/>
            <a:r>
              <a:rPr lang="en-GB" sz="1000" dirty="0" err="1">
                <a:solidFill>
                  <a:srgbClr val="113074"/>
                </a:solidFill>
                <a:latin typeface="Verdana"/>
                <a:cs typeface="Verdana"/>
              </a:rPr>
              <a:t>vEdge</a:t>
            </a:r>
            <a:r>
              <a:rPr lang="en-GB" sz="1000" dirty="0">
                <a:solidFill>
                  <a:srgbClr val="113074"/>
                </a:solidFill>
                <a:latin typeface="Verdana"/>
                <a:cs typeface="Verdana"/>
              </a:rPr>
              <a:t> 5000 Modular</a:t>
            </a:r>
            <a:endParaRPr lang="en-GB" sz="700" dirty="0">
              <a:solidFill>
                <a:srgbClr val="113074"/>
              </a:solidFill>
              <a:latin typeface="Verdana"/>
              <a:cs typeface="Verdana"/>
            </a:endParaRPr>
          </a:p>
        </p:txBody>
      </p:sp>
      <p:sp>
        <p:nvSpPr>
          <p:cNvPr id="41" name="TextBox 40"/>
          <p:cNvSpPr txBox="1"/>
          <p:nvPr/>
        </p:nvSpPr>
        <p:spPr>
          <a:xfrm>
            <a:off x="7194620" y="1128880"/>
            <a:ext cx="1059407" cy="400110"/>
          </a:xfrm>
          <a:prstGeom prst="rect">
            <a:avLst/>
          </a:prstGeom>
        </p:spPr>
        <p:txBody>
          <a:bodyPr vert="horz" wrap="square" lIns="91440" tIns="45720" rIns="91440" bIns="45720" rtlCol="0" anchor="t" anchorCtr="0">
            <a:spAutoFit/>
          </a:bodyPr>
          <a:lstStyle/>
          <a:p>
            <a:pPr marL="71997" algn="ctr" defTabSz="457178"/>
            <a:r>
              <a:rPr lang="en-GB" sz="1000" dirty="0" err="1">
                <a:solidFill>
                  <a:srgbClr val="113074"/>
                </a:solidFill>
                <a:latin typeface="Verdana"/>
                <a:cs typeface="Verdana"/>
              </a:rPr>
              <a:t>vEdge</a:t>
            </a:r>
            <a:r>
              <a:rPr lang="en-GB" sz="1000" dirty="0">
                <a:solidFill>
                  <a:srgbClr val="113074"/>
                </a:solidFill>
                <a:latin typeface="Verdana"/>
                <a:cs typeface="Verdana"/>
              </a:rPr>
              <a:t> Cloud VNF</a:t>
            </a:r>
          </a:p>
        </p:txBody>
      </p:sp>
      <p:pic>
        <p:nvPicPr>
          <p:cNvPr id="7" name="Picture 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831644" y="1674495"/>
            <a:ext cx="757114" cy="263344"/>
          </a:xfrm>
          <a:prstGeom prst="rect">
            <a:avLst/>
          </a:prstGeom>
        </p:spPr>
      </p:pic>
      <p:pic>
        <p:nvPicPr>
          <p:cNvPr id="48" name="Picture 47"/>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424625" y="2729648"/>
            <a:ext cx="1523666" cy="356715"/>
          </a:xfrm>
          <a:prstGeom prst="rect">
            <a:avLst/>
          </a:prstGeom>
        </p:spPr>
      </p:pic>
      <p:pic>
        <p:nvPicPr>
          <p:cNvPr id="49" name="Picture 48"/>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652983" y="2729648"/>
            <a:ext cx="1523666" cy="356715"/>
          </a:xfrm>
          <a:prstGeom prst="rect">
            <a:avLst/>
          </a:prstGeom>
        </p:spPr>
      </p:pic>
      <p:pic>
        <p:nvPicPr>
          <p:cNvPr id="50" name="Picture 49"/>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6902041" y="2729648"/>
            <a:ext cx="1523666" cy="356715"/>
          </a:xfrm>
          <a:prstGeom prst="rect">
            <a:avLst/>
          </a:prstGeom>
        </p:spPr>
      </p:pic>
      <p:pic>
        <p:nvPicPr>
          <p:cNvPr id="51" name="Picture 5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77236" y="2808257"/>
            <a:ext cx="907869" cy="240891"/>
          </a:xfrm>
          <a:prstGeom prst="rect">
            <a:avLst/>
          </a:prstGeom>
        </p:spPr>
      </p:pic>
      <p:pic>
        <p:nvPicPr>
          <p:cNvPr id="57" name="Picture 2"/>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387572" y="3715365"/>
            <a:ext cx="1378950" cy="313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2"/>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956897" y="4031968"/>
            <a:ext cx="1284771" cy="1110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3"/>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449183" y="4164528"/>
            <a:ext cx="1379382" cy="2792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60" descr="KO46026.png"/>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2964340" y="4430701"/>
            <a:ext cx="1317896" cy="179228"/>
          </a:xfrm>
          <a:prstGeom prst="rect">
            <a:avLst/>
          </a:prstGeom>
          <a:ln>
            <a:noFill/>
          </a:ln>
        </p:spPr>
      </p:pic>
      <p:pic>
        <p:nvPicPr>
          <p:cNvPr id="60" name="Picture 3"/>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506400" y="4628830"/>
            <a:ext cx="942783" cy="1245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 name="Picture 4"/>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978181" y="4264010"/>
            <a:ext cx="1749853" cy="2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tangle 25"/>
          <p:cNvSpPr>
            <a:spLocks noChangeArrowheads="1"/>
          </p:cNvSpPr>
          <p:nvPr/>
        </p:nvSpPr>
        <p:spPr bwMode="auto">
          <a:xfrm>
            <a:off x="6559350" y="4520314"/>
            <a:ext cx="1164149" cy="236812"/>
          </a:xfrm>
          <a:prstGeom prst="rect">
            <a:avLst/>
          </a:prstGeom>
          <a:noFill/>
          <a:ln w="9525">
            <a:noFill/>
            <a:miter lim="800000"/>
            <a:headEnd/>
            <a:tailEnd/>
          </a:ln>
          <a:effectLst/>
        </p:spPr>
        <p:txBody>
          <a:bodyPr lIns="82124" tIns="41061" rIns="82124" bIns="41061">
            <a:spAutoFit/>
          </a:bodyPr>
          <a:lstStyle/>
          <a:p>
            <a:pPr algn="ctr" defTabSz="814348">
              <a:spcBef>
                <a:spcPct val="50000"/>
              </a:spcBef>
            </a:pPr>
            <a:r>
              <a:rPr lang="en-US" sz="1000" b="1" dirty="0">
                <a:solidFill>
                  <a:srgbClr val="002060"/>
                </a:solidFill>
              </a:rPr>
              <a:t>ASR 1000 Series</a:t>
            </a:r>
          </a:p>
        </p:txBody>
      </p:sp>
      <p:sp>
        <p:nvSpPr>
          <p:cNvPr id="66" name="Rectangle 25"/>
          <p:cNvSpPr>
            <a:spLocks noChangeArrowheads="1"/>
          </p:cNvSpPr>
          <p:nvPr/>
        </p:nvSpPr>
        <p:spPr bwMode="auto">
          <a:xfrm>
            <a:off x="8254027" y="3833368"/>
            <a:ext cx="669464" cy="236812"/>
          </a:xfrm>
          <a:prstGeom prst="rect">
            <a:avLst/>
          </a:prstGeom>
          <a:noFill/>
          <a:ln w="9525">
            <a:noFill/>
            <a:miter lim="800000"/>
            <a:headEnd/>
            <a:tailEnd/>
          </a:ln>
          <a:effectLst/>
        </p:spPr>
        <p:txBody>
          <a:bodyPr wrap="square" lIns="82124" tIns="41061" rIns="82124" bIns="41061">
            <a:spAutoFit/>
          </a:bodyPr>
          <a:lstStyle/>
          <a:p>
            <a:pPr algn="ctr" defTabSz="814348">
              <a:spcBef>
                <a:spcPct val="50000"/>
              </a:spcBef>
            </a:pPr>
            <a:r>
              <a:rPr lang="en-US" sz="1000" dirty="0">
                <a:solidFill>
                  <a:srgbClr val="002060"/>
                </a:solidFill>
              </a:rPr>
              <a:t>1002-HX</a:t>
            </a:r>
          </a:p>
        </p:txBody>
      </p:sp>
      <p:pic>
        <p:nvPicPr>
          <p:cNvPr id="67" name="Picture 2" descr="J:\root\ASR1k\Router Pics\kahuna\low\KR17004.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6714580" y="3787381"/>
            <a:ext cx="1624561" cy="36609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8" name="Picture 67"/>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833300" y="3920425"/>
            <a:ext cx="851805" cy="475783"/>
          </a:xfrm>
          <a:prstGeom prst="rect">
            <a:avLst/>
          </a:prstGeom>
        </p:spPr>
      </p:pic>
      <p:sp>
        <p:nvSpPr>
          <p:cNvPr id="69" name="TextBox 68"/>
          <p:cNvSpPr txBox="1"/>
          <p:nvPr/>
        </p:nvSpPr>
        <p:spPr>
          <a:xfrm>
            <a:off x="643171" y="4447251"/>
            <a:ext cx="1266693" cy="246221"/>
          </a:xfrm>
          <a:prstGeom prst="rect">
            <a:avLst/>
          </a:prstGeom>
          <a:noFill/>
        </p:spPr>
        <p:txBody>
          <a:bodyPr wrap="none" rtlCol="0">
            <a:spAutoFit/>
          </a:bodyPr>
          <a:lstStyle/>
          <a:p>
            <a:pPr defTabSz="457178"/>
            <a:r>
              <a:rPr lang="sv-SE" sz="1000" b="1" dirty="0">
                <a:solidFill>
                  <a:srgbClr val="002060"/>
                </a:solidFill>
              </a:rPr>
              <a:t>Cisco 1100 Series</a:t>
            </a:r>
            <a:endParaRPr lang="en-US" sz="1000" b="1" dirty="0">
              <a:solidFill>
                <a:srgbClr val="002060"/>
              </a:solidFill>
            </a:endParaRPr>
          </a:p>
        </p:txBody>
      </p:sp>
      <p:sp>
        <p:nvSpPr>
          <p:cNvPr id="70" name="TextBox 69"/>
          <p:cNvSpPr txBox="1"/>
          <p:nvPr/>
        </p:nvSpPr>
        <p:spPr>
          <a:xfrm>
            <a:off x="2203129" y="3885780"/>
            <a:ext cx="1515158" cy="246221"/>
          </a:xfrm>
          <a:prstGeom prst="rect">
            <a:avLst/>
          </a:prstGeom>
          <a:noFill/>
        </p:spPr>
        <p:txBody>
          <a:bodyPr wrap="none" rtlCol="0">
            <a:spAutoFit/>
          </a:bodyPr>
          <a:lstStyle/>
          <a:p>
            <a:pPr defTabSz="457178"/>
            <a:r>
              <a:rPr lang="sv-SE" sz="1000" b="1" dirty="0">
                <a:solidFill>
                  <a:srgbClr val="002060"/>
                </a:solidFill>
              </a:rPr>
              <a:t>Cisco ISR 4000 Series</a:t>
            </a:r>
            <a:endParaRPr lang="en-US" sz="1000" b="1" dirty="0">
              <a:solidFill>
                <a:srgbClr val="002060"/>
              </a:solidFill>
            </a:endParaRPr>
          </a:p>
        </p:txBody>
      </p:sp>
      <p:cxnSp>
        <p:nvCxnSpPr>
          <p:cNvPr id="29" name="Straight Connector 28"/>
          <p:cNvCxnSpPr/>
          <p:nvPr/>
        </p:nvCxnSpPr>
        <p:spPr>
          <a:xfrm>
            <a:off x="267377" y="871870"/>
            <a:ext cx="8431029" cy="0"/>
          </a:xfrm>
          <a:prstGeom prst="line">
            <a:avLst/>
          </a:prstGeom>
          <a:ln w="9525" cmpd="sng">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nvCxnSpPr>
        <p:spPr>
          <a:xfrm>
            <a:off x="157730" y="2353340"/>
            <a:ext cx="8431029" cy="0"/>
          </a:xfrm>
          <a:prstGeom prst="line">
            <a:avLst/>
          </a:prstGeom>
          <a:ln w="9525" cmpd="sng">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52670" y="3664570"/>
            <a:ext cx="8431029" cy="0"/>
          </a:xfrm>
          <a:prstGeom prst="line">
            <a:avLst/>
          </a:prstGeom>
          <a:ln w="9525" cmpd="sng">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a:off x="157730" y="4960089"/>
            <a:ext cx="8431029" cy="0"/>
          </a:xfrm>
          <a:prstGeom prst="line">
            <a:avLst/>
          </a:prstGeom>
          <a:ln w="9525" cmpd="sng">
            <a:solidFill>
              <a:srgbClr val="FF0000"/>
            </a:solidFill>
          </a:ln>
          <a:effectLst/>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5708560" y="3735318"/>
            <a:ext cx="466794" cy="246221"/>
          </a:xfrm>
          <a:prstGeom prst="rect">
            <a:avLst/>
          </a:prstGeom>
          <a:noFill/>
        </p:spPr>
        <p:txBody>
          <a:bodyPr wrap="none" rtlCol="0">
            <a:spAutoFit/>
          </a:bodyPr>
          <a:lstStyle/>
          <a:p>
            <a:pPr defTabSz="457178"/>
            <a:r>
              <a:rPr lang="sv-SE" sz="1000" dirty="0">
                <a:solidFill>
                  <a:srgbClr val="002060"/>
                </a:solidFill>
              </a:rPr>
              <a:t>4451</a:t>
            </a:r>
            <a:endParaRPr lang="en-US" sz="1000" dirty="0">
              <a:solidFill>
                <a:srgbClr val="002060"/>
              </a:solidFill>
            </a:endParaRPr>
          </a:p>
        </p:txBody>
      </p:sp>
      <p:sp>
        <p:nvSpPr>
          <p:cNvPr id="76" name="TextBox 75"/>
          <p:cNvSpPr txBox="1"/>
          <p:nvPr/>
        </p:nvSpPr>
        <p:spPr>
          <a:xfrm>
            <a:off x="5241670" y="3982683"/>
            <a:ext cx="466794" cy="246221"/>
          </a:xfrm>
          <a:prstGeom prst="rect">
            <a:avLst/>
          </a:prstGeom>
          <a:noFill/>
        </p:spPr>
        <p:txBody>
          <a:bodyPr wrap="none" rtlCol="0">
            <a:spAutoFit/>
          </a:bodyPr>
          <a:lstStyle/>
          <a:p>
            <a:pPr defTabSz="457178"/>
            <a:r>
              <a:rPr lang="sv-SE" sz="1000" dirty="0">
                <a:solidFill>
                  <a:srgbClr val="002060"/>
                </a:solidFill>
              </a:rPr>
              <a:t>4431</a:t>
            </a:r>
            <a:endParaRPr lang="en-US" sz="1000" dirty="0">
              <a:solidFill>
                <a:srgbClr val="002060"/>
              </a:solidFill>
            </a:endParaRPr>
          </a:p>
        </p:txBody>
      </p:sp>
      <p:sp>
        <p:nvSpPr>
          <p:cNvPr id="77" name="TextBox 76"/>
          <p:cNvSpPr txBox="1"/>
          <p:nvPr/>
        </p:nvSpPr>
        <p:spPr>
          <a:xfrm>
            <a:off x="4807450" y="4164528"/>
            <a:ext cx="466794" cy="246221"/>
          </a:xfrm>
          <a:prstGeom prst="rect">
            <a:avLst/>
          </a:prstGeom>
          <a:noFill/>
        </p:spPr>
        <p:txBody>
          <a:bodyPr wrap="none" rtlCol="0">
            <a:spAutoFit/>
          </a:bodyPr>
          <a:lstStyle/>
          <a:p>
            <a:pPr defTabSz="457178"/>
            <a:r>
              <a:rPr lang="sv-SE" sz="1000" dirty="0">
                <a:solidFill>
                  <a:srgbClr val="002060"/>
                </a:solidFill>
              </a:rPr>
              <a:t>4351</a:t>
            </a:r>
            <a:endParaRPr lang="en-US" sz="1000" dirty="0">
              <a:solidFill>
                <a:srgbClr val="002060"/>
              </a:solidFill>
            </a:endParaRPr>
          </a:p>
        </p:txBody>
      </p:sp>
      <p:sp>
        <p:nvSpPr>
          <p:cNvPr id="78" name="TextBox 77"/>
          <p:cNvSpPr txBox="1"/>
          <p:nvPr/>
        </p:nvSpPr>
        <p:spPr>
          <a:xfrm>
            <a:off x="4239706" y="4410747"/>
            <a:ext cx="466794" cy="246221"/>
          </a:xfrm>
          <a:prstGeom prst="rect">
            <a:avLst/>
          </a:prstGeom>
          <a:noFill/>
        </p:spPr>
        <p:txBody>
          <a:bodyPr wrap="none" rtlCol="0">
            <a:spAutoFit/>
          </a:bodyPr>
          <a:lstStyle/>
          <a:p>
            <a:pPr defTabSz="457178"/>
            <a:r>
              <a:rPr lang="sv-SE" sz="1000" dirty="0">
                <a:solidFill>
                  <a:srgbClr val="002060"/>
                </a:solidFill>
              </a:rPr>
              <a:t>4331</a:t>
            </a:r>
            <a:endParaRPr lang="en-US" sz="1000" dirty="0">
              <a:solidFill>
                <a:srgbClr val="002060"/>
              </a:solidFill>
            </a:endParaRPr>
          </a:p>
        </p:txBody>
      </p:sp>
      <p:sp>
        <p:nvSpPr>
          <p:cNvPr id="80" name="TextBox 79"/>
          <p:cNvSpPr txBox="1"/>
          <p:nvPr/>
        </p:nvSpPr>
        <p:spPr>
          <a:xfrm>
            <a:off x="3468181" y="4593057"/>
            <a:ext cx="466794" cy="246221"/>
          </a:xfrm>
          <a:prstGeom prst="rect">
            <a:avLst/>
          </a:prstGeom>
          <a:noFill/>
        </p:spPr>
        <p:txBody>
          <a:bodyPr wrap="none" rtlCol="0">
            <a:spAutoFit/>
          </a:bodyPr>
          <a:lstStyle/>
          <a:p>
            <a:pPr defTabSz="457178"/>
            <a:r>
              <a:rPr lang="sv-SE" sz="1000" dirty="0">
                <a:solidFill>
                  <a:srgbClr val="002060"/>
                </a:solidFill>
              </a:rPr>
              <a:t>4321</a:t>
            </a:r>
            <a:endParaRPr lang="en-US" sz="1000" dirty="0">
              <a:solidFill>
                <a:srgbClr val="002060"/>
              </a:solidFill>
            </a:endParaRPr>
          </a:p>
        </p:txBody>
      </p:sp>
      <p:sp>
        <p:nvSpPr>
          <p:cNvPr id="81" name="Rectangle 25"/>
          <p:cNvSpPr>
            <a:spLocks noChangeArrowheads="1"/>
          </p:cNvSpPr>
          <p:nvPr/>
        </p:nvSpPr>
        <p:spPr bwMode="auto">
          <a:xfrm>
            <a:off x="7607068" y="4254612"/>
            <a:ext cx="669464" cy="236812"/>
          </a:xfrm>
          <a:prstGeom prst="rect">
            <a:avLst/>
          </a:prstGeom>
          <a:noFill/>
          <a:ln w="9525">
            <a:noFill/>
            <a:miter lim="800000"/>
            <a:headEnd/>
            <a:tailEnd/>
          </a:ln>
          <a:effectLst/>
        </p:spPr>
        <p:txBody>
          <a:bodyPr wrap="square" lIns="82124" tIns="41061" rIns="82124" bIns="41061">
            <a:spAutoFit/>
          </a:bodyPr>
          <a:lstStyle/>
          <a:p>
            <a:pPr algn="ctr" defTabSz="814348">
              <a:spcBef>
                <a:spcPct val="50000"/>
              </a:spcBef>
            </a:pPr>
            <a:r>
              <a:rPr lang="en-US" sz="1000" dirty="0">
                <a:solidFill>
                  <a:srgbClr val="002060"/>
                </a:solidFill>
              </a:rPr>
              <a:t>1001-X</a:t>
            </a:r>
          </a:p>
        </p:txBody>
      </p:sp>
      <p:sp>
        <p:nvSpPr>
          <p:cNvPr id="82" name="TextBox 81"/>
          <p:cNvSpPr txBox="1"/>
          <p:nvPr/>
        </p:nvSpPr>
        <p:spPr>
          <a:xfrm rot="16200000">
            <a:off x="-304798" y="4070465"/>
            <a:ext cx="1130438" cy="415498"/>
          </a:xfrm>
          <a:prstGeom prst="rect">
            <a:avLst/>
          </a:prstGeom>
          <a:noFill/>
        </p:spPr>
        <p:txBody>
          <a:bodyPr wrap="none" rtlCol="0">
            <a:spAutoFit/>
          </a:bodyPr>
          <a:lstStyle/>
          <a:p>
            <a:pPr algn="ctr" defTabSz="457178"/>
            <a:r>
              <a:rPr lang="sv-SE" sz="1050" dirty="0">
                <a:solidFill>
                  <a:srgbClr val="FF0000"/>
                </a:solidFill>
              </a:rPr>
              <a:t>Cisco </a:t>
            </a:r>
          </a:p>
          <a:p>
            <a:pPr algn="ctr" defTabSz="457178"/>
            <a:r>
              <a:rPr lang="sv-SE" sz="1050" dirty="0">
                <a:solidFill>
                  <a:srgbClr val="FF0000"/>
                </a:solidFill>
              </a:rPr>
              <a:t>Traditional CPE</a:t>
            </a:r>
            <a:endParaRPr lang="en-US" sz="1050" dirty="0">
              <a:solidFill>
                <a:srgbClr val="FF0000"/>
              </a:solidFill>
            </a:endParaRPr>
          </a:p>
        </p:txBody>
      </p:sp>
      <p:sp>
        <p:nvSpPr>
          <p:cNvPr id="83" name="TextBox 82"/>
          <p:cNvSpPr txBox="1"/>
          <p:nvPr/>
        </p:nvSpPr>
        <p:spPr>
          <a:xfrm rot="16200000">
            <a:off x="-189802" y="1458292"/>
            <a:ext cx="912430" cy="253916"/>
          </a:xfrm>
          <a:prstGeom prst="rect">
            <a:avLst/>
          </a:prstGeom>
          <a:noFill/>
        </p:spPr>
        <p:txBody>
          <a:bodyPr wrap="none" rtlCol="0">
            <a:spAutoFit/>
          </a:bodyPr>
          <a:lstStyle/>
          <a:p>
            <a:pPr algn="ctr" defTabSz="457178"/>
            <a:r>
              <a:rPr lang="sv-SE" sz="1050" dirty="0">
                <a:solidFill>
                  <a:srgbClr val="FF0000"/>
                </a:solidFill>
              </a:rPr>
              <a:t>Viptela CPE</a:t>
            </a:r>
            <a:endParaRPr lang="en-US" sz="1050" dirty="0">
              <a:solidFill>
                <a:srgbClr val="FF0000"/>
              </a:solidFill>
            </a:endParaRPr>
          </a:p>
        </p:txBody>
      </p:sp>
      <p:sp>
        <p:nvSpPr>
          <p:cNvPr id="84" name="TextBox 83"/>
          <p:cNvSpPr txBox="1"/>
          <p:nvPr/>
        </p:nvSpPr>
        <p:spPr>
          <a:xfrm rot="16200000">
            <a:off x="-271134" y="2801225"/>
            <a:ext cx="1063112" cy="415498"/>
          </a:xfrm>
          <a:prstGeom prst="rect">
            <a:avLst/>
          </a:prstGeom>
          <a:noFill/>
        </p:spPr>
        <p:txBody>
          <a:bodyPr wrap="none" rtlCol="0">
            <a:spAutoFit/>
          </a:bodyPr>
          <a:lstStyle/>
          <a:p>
            <a:pPr algn="ctr" defTabSz="457178"/>
            <a:r>
              <a:rPr lang="sv-SE" sz="1050" dirty="0">
                <a:solidFill>
                  <a:srgbClr val="FF0000"/>
                </a:solidFill>
              </a:rPr>
              <a:t>Cisco x86 </a:t>
            </a:r>
          </a:p>
          <a:p>
            <a:pPr algn="ctr" defTabSz="457178"/>
            <a:r>
              <a:rPr lang="sv-SE" sz="1050" dirty="0">
                <a:solidFill>
                  <a:srgbClr val="FF0000"/>
                </a:solidFill>
              </a:rPr>
              <a:t>Universal CPE</a:t>
            </a:r>
            <a:endParaRPr lang="en-US" sz="1050" dirty="0">
              <a:solidFill>
                <a:srgbClr val="FF0000"/>
              </a:solidFill>
            </a:endParaRPr>
          </a:p>
        </p:txBody>
      </p:sp>
      <p:sp>
        <p:nvSpPr>
          <p:cNvPr id="85" name="TextBox 84"/>
          <p:cNvSpPr txBox="1"/>
          <p:nvPr/>
        </p:nvSpPr>
        <p:spPr>
          <a:xfrm>
            <a:off x="710261" y="3176741"/>
            <a:ext cx="1032810" cy="246221"/>
          </a:xfrm>
          <a:prstGeom prst="rect">
            <a:avLst/>
          </a:prstGeom>
        </p:spPr>
        <p:txBody>
          <a:bodyPr vert="horz" wrap="square" lIns="91440" tIns="45720" rIns="91440" bIns="45720" rtlCol="0" anchor="t" anchorCtr="0">
            <a:spAutoFit/>
          </a:bodyPr>
          <a:lstStyle/>
          <a:p>
            <a:pPr marL="71997" defTabSz="457178"/>
            <a:r>
              <a:rPr lang="en-GB" sz="1000" dirty="0">
                <a:solidFill>
                  <a:srgbClr val="113074"/>
                </a:solidFill>
                <a:latin typeface="Verdana"/>
                <a:cs typeface="Verdana"/>
              </a:rPr>
              <a:t>ENCS 5104</a:t>
            </a:r>
          </a:p>
        </p:txBody>
      </p:sp>
      <p:sp>
        <p:nvSpPr>
          <p:cNvPr id="86" name="TextBox 85"/>
          <p:cNvSpPr txBox="1"/>
          <p:nvPr/>
        </p:nvSpPr>
        <p:spPr>
          <a:xfrm>
            <a:off x="7109633" y="3176741"/>
            <a:ext cx="1144392" cy="246221"/>
          </a:xfrm>
          <a:prstGeom prst="rect">
            <a:avLst/>
          </a:prstGeom>
        </p:spPr>
        <p:txBody>
          <a:bodyPr vert="horz" wrap="square" lIns="91440" tIns="45720" rIns="91440" bIns="45720" rtlCol="0" anchor="t" anchorCtr="0">
            <a:spAutoFit/>
          </a:bodyPr>
          <a:lstStyle/>
          <a:p>
            <a:pPr marL="71997" defTabSz="457178"/>
            <a:r>
              <a:rPr lang="en-GB" sz="1000" dirty="0">
                <a:solidFill>
                  <a:srgbClr val="113074"/>
                </a:solidFill>
                <a:latin typeface="Verdana"/>
                <a:cs typeface="Verdana"/>
              </a:rPr>
              <a:t>ENCS 5412</a:t>
            </a:r>
          </a:p>
        </p:txBody>
      </p:sp>
      <p:sp>
        <p:nvSpPr>
          <p:cNvPr id="87" name="TextBox 86"/>
          <p:cNvSpPr txBox="1"/>
          <p:nvPr/>
        </p:nvSpPr>
        <p:spPr>
          <a:xfrm>
            <a:off x="4895968" y="3176741"/>
            <a:ext cx="1032810" cy="246221"/>
          </a:xfrm>
          <a:prstGeom prst="rect">
            <a:avLst/>
          </a:prstGeom>
        </p:spPr>
        <p:txBody>
          <a:bodyPr vert="horz" wrap="square" lIns="91440" tIns="45720" rIns="91440" bIns="45720" rtlCol="0" anchor="t" anchorCtr="0">
            <a:spAutoFit/>
          </a:bodyPr>
          <a:lstStyle/>
          <a:p>
            <a:pPr marL="71997" defTabSz="457178"/>
            <a:r>
              <a:rPr lang="en-GB" sz="1000" dirty="0">
                <a:solidFill>
                  <a:srgbClr val="113074"/>
                </a:solidFill>
                <a:latin typeface="Verdana"/>
                <a:cs typeface="Verdana"/>
              </a:rPr>
              <a:t>ENCS 5408</a:t>
            </a:r>
          </a:p>
        </p:txBody>
      </p:sp>
      <p:sp>
        <p:nvSpPr>
          <p:cNvPr id="88" name="TextBox 87"/>
          <p:cNvSpPr txBox="1"/>
          <p:nvPr/>
        </p:nvSpPr>
        <p:spPr>
          <a:xfrm>
            <a:off x="2685476" y="3176741"/>
            <a:ext cx="1032810" cy="246221"/>
          </a:xfrm>
          <a:prstGeom prst="rect">
            <a:avLst/>
          </a:prstGeom>
        </p:spPr>
        <p:txBody>
          <a:bodyPr vert="horz" wrap="square" lIns="91440" tIns="45720" rIns="91440" bIns="45720" rtlCol="0" anchor="t" anchorCtr="0">
            <a:spAutoFit/>
          </a:bodyPr>
          <a:lstStyle/>
          <a:p>
            <a:pPr marL="71997" defTabSz="457178"/>
            <a:r>
              <a:rPr lang="en-GB" sz="1000" dirty="0">
                <a:solidFill>
                  <a:srgbClr val="113074"/>
                </a:solidFill>
                <a:latin typeface="Verdana"/>
                <a:cs typeface="Verdana"/>
              </a:rPr>
              <a:t>ENCS 5406</a:t>
            </a:r>
          </a:p>
        </p:txBody>
      </p:sp>
      <p:pic>
        <p:nvPicPr>
          <p:cNvPr id="30" name="Picture 29"/>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155566" y="86777"/>
            <a:ext cx="656267" cy="661434"/>
          </a:xfrm>
          <a:prstGeom prst="rect">
            <a:avLst/>
          </a:prstGeom>
        </p:spPr>
      </p:pic>
      <p:sp>
        <p:nvSpPr>
          <p:cNvPr id="62" name="TextBox 61"/>
          <p:cNvSpPr txBox="1"/>
          <p:nvPr/>
        </p:nvSpPr>
        <p:spPr>
          <a:xfrm>
            <a:off x="4173103" y="3432649"/>
            <a:ext cx="2552737" cy="246221"/>
          </a:xfrm>
          <a:prstGeom prst="rect">
            <a:avLst/>
          </a:prstGeom>
          <a:noFill/>
        </p:spPr>
        <p:txBody>
          <a:bodyPr wrap="square" rtlCol="0">
            <a:spAutoFit/>
          </a:bodyPr>
          <a:lstStyle/>
          <a:p>
            <a:pPr defTabSz="457178"/>
            <a:r>
              <a:rPr lang="en-GB" sz="1000" dirty="0">
                <a:solidFill>
                  <a:srgbClr val="00B0CA">
                    <a:lumMod val="75000"/>
                  </a:srgbClr>
                </a:solidFill>
                <a:latin typeface="Vodafone Rg"/>
              </a:rPr>
              <a:t>All ENCS Models Supported March 2018 </a:t>
            </a:r>
          </a:p>
        </p:txBody>
      </p:sp>
      <p:sp>
        <p:nvSpPr>
          <p:cNvPr id="63" name="TextBox 62"/>
          <p:cNvSpPr txBox="1"/>
          <p:nvPr/>
        </p:nvSpPr>
        <p:spPr>
          <a:xfrm>
            <a:off x="7218170" y="2041465"/>
            <a:ext cx="1035857" cy="246221"/>
          </a:xfrm>
          <a:prstGeom prst="rect">
            <a:avLst/>
          </a:prstGeom>
          <a:noFill/>
        </p:spPr>
        <p:txBody>
          <a:bodyPr wrap="square" rtlCol="0">
            <a:spAutoFit/>
          </a:bodyPr>
          <a:lstStyle/>
          <a:p>
            <a:pPr defTabSz="457178"/>
            <a:r>
              <a:rPr lang="en-GB" sz="1000" dirty="0">
                <a:solidFill>
                  <a:srgbClr val="00B0CA">
                    <a:lumMod val="75000"/>
                  </a:srgbClr>
                </a:solidFill>
                <a:latin typeface="Vodafone Rg"/>
              </a:rPr>
              <a:t>Support: Now</a:t>
            </a:r>
          </a:p>
        </p:txBody>
      </p:sp>
      <p:sp>
        <p:nvSpPr>
          <p:cNvPr id="71" name="TextBox 70"/>
          <p:cNvSpPr txBox="1"/>
          <p:nvPr/>
        </p:nvSpPr>
        <p:spPr>
          <a:xfrm>
            <a:off x="5308379" y="2042102"/>
            <a:ext cx="1593663" cy="246221"/>
          </a:xfrm>
          <a:prstGeom prst="rect">
            <a:avLst/>
          </a:prstGeom>
          <a:noFill/>
        </p:spPr>
        <p:txBody>
          <a:bodyPr wrap="square" rtlCol="0">
            <a:spAutoFit/>
          </a:bodyPr>
          <a:lstStyle/>
          <a:p>
            <a:pPr defTabSz="457178"/>
            <a:r>
              <a:rPr lang="en-GB" sz="1000" dirty="0">
                <a:solidFill>
                  <a:srgbClr val="00B0CA">
                    <a:lumMod val="75000"/>
                  </a:srgbClr>
                </a:solidFill>
                <a:latin typeface="Vodafone Rg"/>
              </a:rPr>
              <a:t>Support: March 2018 </a:t>
            </a:r>
          </a:p>
        </p:txBody>
      </p:sp>
      <p:sp>
        <p:nvSpPr>
          <p:cNvPr id="79" name="TextBox 78"/>
          <p:cNvSpPr txBox="1"/>
          <p:nvPr/>
        </p:nvSpPr>
        <p:spPr>
          <a:xfrm>
            <a:off x="627002" y="4669635"/>
            <a:ext cx="1593663" cy="246221"/>
          </a:xfrm>
          <a:prstGeom prst="rect">
            <a:avLst/>
          </a:prstGeom>
          <a:noFill/>
        </p:spPr>
        <p:txBody>
          <a:bodyPr wrap="square" rtlCol="0">
            <a:spAutoFit/>
          </a:bodyPr>
          <a:lstStyle/>
          <a:p>
            <a:pPr defTabSz="457178"/>
            <a:r>
              <a:rPr lang="en-GB" sz="1000" dirty="0">
                <a:solidFill>
                  <a:srgbClr val="00B0CA">
                    <a:lumMod val="75000"/>
                  </a:srgbClr>
                </a:solidFill>
                <a:latin typeface="Vodafone Rg"/>
              </a:rPr>
              <a:t>Support: July 2018 </a:t>
            </a:r>
          </a:p>
        </p:txBody>
      </p:sp>
      <p:sp>
        <p:nvSpPr>
          <p:cNvPr id="89" name="TextBox 88"/>
          <p:cNvSpPr txBox="1"/>
          <p:nvPr/>
        </p:nvSpPr>
        <p:spPr>
          <a:xfrm>
            <a:off x="3933435" y="4698210"/>
            <a:ext cx="4870471" cy="246221"/>
          </a:xfrm>
          <a:prstGeom prst="rect">
            <a:avLst/>
          </a:prstGeom>
          <a:noFill/>
        </p:spPr>
        <p:txBody>
          <a:bodyPr wrap="square" rtlCol="0">
            <a:spAutoFit/>
          </a:bodyPr>
          <a:lstStyle/>
          <a:p>
            <a:pPr defTabSz="457178"/>
            <a:r>
              <a:rPr lang="en-GB" sz="1000" dirty="0">
                <a:solidFill>
                  <a:srgbClr val="00B0CA">
                    <a:lumMod val="75000"/>
                  </a:srgbClr>
                </a:solidFill>
                <a:latin typeface="Vodafone Rg"/>
              </a:rPr>
              <a:t>ISR4K &amp; ASR1K Support: March–August 2018 (Dependent on Model)</a:t>
            </a:r>
          </a:p>
        </p:txBody>
      </p:sp>
      <p:pic>
        <p:nvPicPr>
          <p:cNvPr id="90" name="Picture 3"/>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214086" y="4791300"/>
            <a:ext cx="942783" cy="1245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1" name="TextBox 90"/>
          <p:cNvSpPr txBox="1"/>
          <p:nvPr/>
        </p:nvSpPr>
        <p:spPr>
          <a:xfrm>
            <a:off x="3175864" y="4755528"/>
            <a:ext cx="466794" cy="246221"/>
          </a:xfrm>
          <a:prstGeom prst="rect">
            <a:avLst/>
          </a:prstGeom>
          <a:noFill/>
        </p:spPr>
        <p:txBody>
          <a:bodyPr wrap="none" rtlCol="0">
            <a:spAutoFit/>
          </a:bodyPr>
          <a:lstStyle/>
          <a:p>
            <a:pPr defTabSz="457178"/>
            <a:r>
              <a:rPr lang="sv-SE" sz="1000" dirty="0">
                <a:solidFill>
                  <a:srgbClr val="002060"/>
                </a:solidFill>
              </a:rPr>
              <a:t>4221</a:t>
            </a:r>
            <a:endParaRPr lang="en-US" sz="1000" dirty="0">
              <a:solidFill>
                <a:srgbClr val="002060"/>
              </a:solidFill>
            </a:endParaRPr>
          </a:p>
        </p:txBody>
      </p:sp>
    </p:spTree>
    <p:extLst>
      <p:ext uri="{BB962C8B-B14F-4D97-AF65-F5344CB8AC3E}">
        <p14:creationId xmlns:p14="http://schemas.microsoft.com/office/powerpoint/2010/main" val="3656522049"/>
      </p:ext>
    </p:extLst>
  </p:cSld>
  <p:clrMapOvr>
    <a:masterClrMapping/>
  </p:clrMapOvr>
  <mc:AlternateContent xmlns:mc="http://schemas.openxmlformats.org/markup-compatibility/2006" xmlns:p14="http://schemas.microsoft.com/office/powerpoint/2010/main">
    <mc:Choice Requires="p14">
      <p:transition spd="slow" p14:dur="2000" advTm="10407"/>
    </mc:Choice>
    <mc:Fallback xmlns="">
      <p:transition spd="slow" advTm="10407"/>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a:spLocks noChangeArrowheads="1"/>
          </p:cNvSpPr>
          <p:nvPr/>
        </p:nvSpPr>
        <p:spPr bwMode="auto">
          <a:xfrm>
            <a:off x="1750255" y="880260"/>
            <a:ext cx="7286724" cy="745392"/>
          </a:xfrm>
          <a:prstGeom prst="rect">
            <a:avLst/>
          </a:prstGeom>
          <a:solidFill>
            <a:srgbClr val="FFFFFF">
              <a:lumMod val="85000"/>
            </a:srgbClr>
          </a:solidFill>
          <a:ln w="19050" algn="ctr">
            <a:noFill/>
            <a:miter lim="800000"/>
            <a:headEnd/>
            <a:tailEnd/>
          </a:ln>
        </p:spPr>
        <p:txBody>
          <a:bodyPr lIns="402336" tIns="45720" rIns="45720" bIns="45720" anchor="ctr"/>
          <a:lstStyle/>
          <a:p>
            <a:pPr marL="285750" indent="-117475">
              <a:spcBef>
                <a:spcPct val="35000"/>
              </a:spcBef>
              <a:buSzPct val="80000"/>
              <a:buFont typeface="Arial" panose="020B0604020202020204" pitchFamily="34" charset="0"/>
              <a:buChar char="•"/>
              <a:defRPr/>
            </a:pPr>
            <a:r>
              <a:rPr kumimoji="1" lang="en-US" sz="1200" kern="0" dirty="0">
                <a:solidFill>
                  <a:srgbClr val="282828"/>
                </a:solidFill>
                <a:latin typeface="CiscoSansTT ExtraLight"/>
              </a:rPr>
              <a:t>Improved operational efficiency with a simplified protocol stack &amp; modern automation tooling</a:t>
            </a:r>
          </a:p>
          <a:p>
            <a:pPr marL="285750" indent="-117475">
              <a:spcBef>
                <a:spcPct val="35000"/>
              </a:spcBef>
              <a:buSzPct val="80000"/>
              <a:buFont typeface="Arial" panose="020B0604020202020204" pitchFamily="34" charset="0"/>
              <a:buChar char="•"/>
              <a:defRPr/>
            </a:pPr>
            <a:r>
              <a:rPr kumimoji="1" lang="en-US" sz="1200" kern="0" dirty="0">
                <a:solidFill>
                  <a:srgbClr val="282828"/>
                </a:solidFill>
                <a:latin typeface="CiscoSansTT ExtraLight"/>
              </a:rPr>
              <a:t>Operate same IOS-XR software across the network.</a:t>
            </a:r>
          </a:p>
          <a:p>
            <a:pPr marL="285750" indent="-117475">
              <a:spcBef>
                <a:spcPct val="35000"/>
              </a:spcBef>
              <a:buSzPct val="80000"/>
              <a:buFont typeface="Arial" panose="020B0604020202020204" pitchFamily="34" charset="0"/>
              <a:buChar char="•"/>
              <a:defRPr/>
            </a:pPr>
            <a:r>
              <a:rPr kumimoji="1" lang="en-US" sz="1200" kern="0" dirty="0">
                <a:solidFill>
                  <a:srgbClr val="282828"/>
                </a:solidFill>
                <a:latin typeface="CiscoSansTT ExtraLight"/>
              </a:rPr>
              <a:t>Simplify traffic engineering &amp; better cater for app requirements.</a:t>
            </a:r>
          </a:p>
        </p:txBody>
      </p:sp>
      <p:sp>
        <p:nvSpPr>
          <p:cNvPr id="44" name="Freeform 8"/>
          <p:cNvSpPr>
            <a:spLocks/>
          </p:cNvSpPr>
          <p:nvPr/>
        </p:nvSpPr>
        <p:spPr bwMode="auto">
          <a:xfrm>
            <a:off x="184453" y="888424"/>
            <a:ext cx="2085034" cy="743754"/>
          </a:xfrm>
          <a:custGeom>
            <a:avLst/>
            <a:gdLst>
              <a:gd name="T0" fmla="*/ 151 w 841"/>
              <a:gd name="T1" fmla="*/ 0 h 303"/>
              <a:gd name="T2" fmla="*/ 0 w 841"/>
              <a:gd name="T3" fmla="*/ 152 h 303"/>
              <a:gd name="T4" fmla="*/ 151 w 841"/>
              <a:gd name="T5" fmla="*/ 303 h 303"/>
              <a:gd name="T6" fmla="*/ 689 w 841"/>
              <a:gd name="T7" fmla="*/ 303 h 303"/>
              <a:gd name="T8" fmla="*/ 841 w 841"/>
              <a:gd name="T9" fmla="*/ 152 h 303"/>
              <a:gd name="T10" fmla="*/ 689 w 841"/>
              <a:gd name="T11" fmla="*/ 0 h 303"/>
              <a:gd name="T12" fmla="*/ 151 w 841"/>
              <a:gd name="T13" fmla="*/ 0 h 303"/>
            </a:gdLst>
            <a:ahLst/>
            <a:cxnLst>
              <a:cxn ang="0">
                <a:pos x="T0" y="T1"/>
              </a:cxn>
              <a:cxn ang="0">
                <a:pos x="T2" y="T3"/>
              </a:cxn>
              <a:cxn ang="0">
                <a:pos x="T4" y="T5"/>
              </a:cxn>
              <a:cxn ang="0">
                <a:pos x="T6" y="T7"/>
              </a:cxn>
              <a:cxn ang="0">
                <a:pos x="T8" y="T9"/>
              </a:cxn>
              <a:cxn ang="0">
                <a:pos x="T10" y="T11"/>
              </a:cxn>
              <a:cxn ang="0">
                <a:pos x="T12" y="T13"/>
              </a:cxn>
            </a:cxnLst>
            <a:rect l="0" t="0" r="r" b="b"/>
            <a:pathLst>
              <a:path w="841" h="303">
                <a:moveTo>
                  <a:pt x="151" y="0"/>
                </a:moveTo>
                <a:cubicBezTo>
                  <a:pt x="68" y="0"/>
                  <a:pt x="0" y="68"/>
                  <a:pt x="0" y="152"/>
                </a:cubicBezTo>
                <a:cubicBezTo>
                  <a:pt x="0" y="235"/>
                  <a:pt x="68" y="303"/>
                  <a:pt x="151" y="303"/>
                </a:cubicBezTo>
                <a:cubicBezTo>
                  <a:pt x="689" y="303"/>
                  <a:pt x="689" y="303"/>
                  <a:pt x="689" y="303"/>
                </a:cubicBezTo>
                <a:cubicBezTo>
                  <a:pt x="773" y="303"/>
                  <a:pt x="841" y="235"/>
                  <a:pt x="841" y="152"/>
                </a:cubicBezTo>
                <a:cubicBezTo>
                  <a:pt x="841" y="68"/>
                  <a:pt x="773" y="0"/>
                  <a:pt x="689" y="0"/>
                </a:cubicBezTo>
                <a:lnTo>
                  <a:pt x="151" y="0"/>
                </a:ln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800" b="0" i="0" u="none" strike="noStrike" kern="0" cap="none" spc="-30" normalizeH="0" noProof="0" dirty="0">
                <a:ln>
                  <a:noFill/>
                </a:ln>
                <a:solidFill>
                  <a:schemeClr val="bg2"/>
                </a:solidFill>
                <a:effectLst/>
                <a:uLnTx/>
                <a:uFillTx/>
                <a:latin typeface="CiscoSansTT ExtraLight"/>
                <a:ea typeface="ＭＳ Ｐゴシック" charset="0"/>
                <a:cs typeface="ＭＳ Ｐゴシック" charset="0"/>
              </a:rPr>
              <a:t>Network Simplification</a:t>
            </a:r>
            <a:endParaRPr kumimoji="0" lang="en-US" sz="1800" b="0" i="0" u="none" strike="noStrike" kern="0" cap="none" spc="0" normalizeH="0" baseline="0" noProof="0" dirty="0">
              <a:ln>
                <a:noFill/>
              </a:ln>
              <a:solidFill>
                <a:schemeClr val="bg2"/>
              </a:solidFill>
              <a:effectLst/>
              <a:uLnTx/>
              <a:uFillTx/>
              <a:latin typeface="CiscoSansTT ExtraLight"/>
              <a:ea typeface="ＭＳ Ｐゴシック" charset="0"/>
              <a:cs typeface="ＭＳ Ｐゴシック" charset="0"/>
            </a:endParaRPr>
          </a:p>
        </p:txBody>
      </p:sp>
      <p:sp>
        <p:nvSpPr>
          <p:cNvPr id="45" name="Rectangle 44"/>
          <p:cNvSpPr>
            <a:spLocks noChangeArrowheads="1"/>
          </p:cNvSpPr>
          <p:nvPr/>
        </p:nvSpPr>
        <p:spPr bwMode="auto">
          <a:xfrm>
            <a:off x="1750256" y="2623691"/>
            <a:ext cx="7286723" cy="745392"/>
          </a:xfrm>
          <a:prstGeom prst="rect">
            <a:avLst/>
          </a:prstGeom>
          <a:solidFill>
            <a:srgbClr val="FFFFFF">
              <a:lumMod val="85000"/>
            </a:srgbClr>
          </a:solidFill>
          <a:ln w="19050" algn="ctr">
            <a:noFill/>
            <a:miter lim="800000"/>
            <a:headEnd/>
            <a:tailEnd/>
          </a:ln>
        </p:spPr>
        <p:txBody>
          <a:bodyPr lIns="402336" tIns="45720" rIns="45720" bIns="45720" anchor="ctr"/>
          <a:lstStyle/>
          <a:p>
            <a:pPr marL="285750" marR="0" lvl="0" indent="-117475" defTabSz="457200" eaLnBrk="1" fontAlgn="base" latinLnBrk="0" hangingPunct="1">
              <a:lnSpc>
                <a:spcPct val="100000"/>
              </a:lnSpc>
              <a:spcBef>
                <a:spcPct val="35000"/>
              </a:spcBef>
              <a:spcAft>
                <a:spcPct val="0"/>
              </a:spcAft>
              <a:buClrTx/>
              <a:buSzPct val="80000"/>
              <a:buFont typeface="Arial" panose="020B0604020202020204" pitchFamily="34" charset="0"/>
              <a:buChar char="•"/>
              <a:tabLst/>
              <a:defRPr/>
            </a:pPr>
            <a:endParaRPr kumimoji="1" lang="en-US" sz="1200" kern="0" dirty="0">
              <a:solidFill>
                <a:srgbClr val="282828"/>
              </a:solidFill>
              <a:latin typeface="CiscoSansTT ExtraLight"/>
              <a:ea typeface="ＭＳ Ｐゴシック" charset="0"/>
              <a:cs typeface="ＭＳ Ｐゴシック" charset="0"/>
            </a:endParaRPr>
          </a:p>
          <a:p>
            <a:pPr marL="285750" indent="-117475" defTabSz="457200" fontAlgn="base">
              <a:spcBef>
                <a:spcPct val="35000"/>
              </a:spcBef>
              <a:spcAft>
                <a:spcPct val="0"/>
              </a:spcAft>
              <a:buSzPct val="80000"/>
              <a:buFont typeface="Arial" panose="020B0604020202020204" pitchFamily="34" charset="0"/>
              <a:buChar char="•"/>
            </a:pPr>
            <a:r>
              <a:rPr kumimoji="1" lang="en-US" sz="1200" kern="0" noProof="0" dirty="0">
                <a:solidFill>
                  <a:srgbClr val="282828"/>
                </a:solidFill>
                <a:latin typeface="CiscoSansTT ExtraLight"/>
                <a:ea typeface="ＭＳ Ｐゴシック" charset="0"/>
                <a:cs typeface="ＭＳ Ｐゴシック" charset="0"/>
              </a:rPr>
              <a:t>Verified </a:t>
            </a:r>
            <a:r>
              <a:rPr kumimoji="1" lang="en-US" sz="1200" kern="0" dirty="0">
                <a:solidFill>
                  <a:srgbClr val="282828"/>
                </a:solidFill>
                <a:latin typeface="CiscoSansTT ExtraLight"/>
                <a:ea typeface="ＭＳ Ｐゴシック" charset="0"/>
                <a:cs typeface="ＭＳ Ｐゴシック" charset="0"/>
              </a:rPr>
              <a:t>&amp;</a:t>
            </a:r>
            <a:r>
              <a:rPr kumimoji="1" lang="en-US" sz="1200" kern="0" noProof="0" dirty="0">
                <a:solidFill>
                  <a:srgbClr val="282828"/>
                </a:solidFill>
                <a:latin typeface="CiscoSansTT ExtraLight"/>
                <a:ea typeface="ＭＳ Ｐゴシック" charset="0"/>
                <a:cs typeface="ＭＳ Ｐゴシック" charset="0"/>
              </a:rPr>
              <a:t> tested</a:t>
            </a:r>
            <a:r>
              <a:rPr kumimoji="1" lang="en-US" sz="1200" kern="0" dirty="0">
                <a:solidFill>
                  <a:srgbClr val="282828"/>
                </a:solidFill>
                <a:latin typeface="CiscoSansTT ExtraLight"/>
                <a:ea typeface="ＭＳ Ｐゴシック" charset="0"/>
                <a:cs typeface="ＭＳ Ｐゴシック" charset="0"/>
              </a:rPr>
              <a:t> Cisco design to shorten deployment cycle.</a:t>
            </a:r>
          </a:p>
          <a:p>
            <a:pPr marL="285750" indent="-117475" defTabSz="457200" fontAlgn="base">
              <a:spcBef>
                <a:spcPct val="35000"/>
              </a:spcBef>
              <a:spcAft>
                <a:spcPct val="0"/>
              </a:spcAft>
              <a:buSzPct val="80000"/>
              <a:buFont typeface="Arial" panose="020B0604020202020204" pitchFamily="34" charset="0"/>
              <a:buChar char="•"/>
            </a:pPr>
            <a:r>
              <a:rPr kumimoji="1" lang="en-US" sz="1200" kern="0" dirty="0">
                <a:solidFill>
                  <a:srgbClr val="282828"/>
                </a:solidFill>
                <a:latin typeface="CiscoSansTT ExtraLight"/>
                <a:ea typeface="ＭＳ Ｐゴシック" charset="0"/>
                <a:cs typeface="ＭＳ Ｐゴシック" charset="0"/>
              </a:rPr>
              <a:t>Automated service activation across infrastructure.</a:t>
            </a:r>
          </a:p>
          <a:p>
            <a:pPr marL="285750" indent="-117475" defTabSz="457200" fontAlgn="base">
              <a:spcBef>
                <a:spcPct val="35000"/>
              </a:spcBef>
              <a:spcAft>
                <a:spcPct val="0"/>
              </a:spcAft>
              <a:buSzPct val="80000"/>
              <a:buFont typeface="Arial" panose="020B0604020202020204" pitchFamily="34" charset="0"/>
              <a:buChar char="•"/>
            </a:pPr>
            <a:endParaRPr kumimoji="1" lang="en-US" sz="1200" b="0" i="0" u="none" strike="noStrike" kern="0" cap="none" spc="0" normalizeH="0" baseline="0" noProof="0" dirty="0">
              <a:ln>
                <a:noFill/>
              </a:ln>
              <a:solidFill>
                <a:srgbClr val="282828"/>
              </a:solidFill>
              <a:effectLst/>
              <a:uLnTx/>
              <a:uFillTx/>
              <a:latin typeface="CiscoSansTT ExtraLight"/>
              <a:ea typeface="ＭＳ Ｐゴシック" charset="0"/>
              <a:cs typeface="ＭＳ Ｐゴシック" charset="0"/>
            </a:endParaRPr>
          </a:p>
        </p:txBody>
      </p:sp>
      <p:sp>
        <p:nvSpPr>
          <p:cNvPr id="47" name="Freeform 8"/>
          <p:cNvSpPr>
            <a:spLocks/>
          </p:cNvSpPr>
          <p:nvPr/>
        </p:nvSpPr>
        <p:spPr bwMode="auto">
          <a:xfrm>
            <a:off x="184454" y="2623691"/>
            <a:ext cx="2085034" cy="743754"/>
          </a:xfrm>
          <a:custGeom>
            <a:avLst/>
            <a:gdLst>
              <a:gd name="T0" fmla="*/ 151 w 841"/>
              <a:gd name="T1" fmla="*/ 0 h 303"/>
              <a:gd name="T2" fmla="*/ 0 w 841"/>
              <a:gd name="T3" fmla="*/ 152 h 303"/>
              <a:gd name="T4" fmla="*/ 151 w 841"/>
              <a:gd name="T5" fmla="*/ 303 h 303"/>
              <a:gd name="T6" fmla="*/ 689 w 841"/>
              <a:gd name="T7" fmla="*/ 303 h 303"/>
              <a:gd name="T8" fmla="*/ 841 w 841"/>
              <a:gd name="T9" fmla="*/ 152 h 303"/>
              <a:gd name="T10" fmla="*/ 689 w 841"/>
              <a:gd name="T11" fmla="*/ 0 h 303"/>
              <a:gd name="T12" fmla="*/ 151 w 841"/>
              <a:gd name="T13" fmla="*/ 0 h 303"/>
            </a:gdLst>
            <a:ahLst/>
            <a:cxnLst>
              <a:cxn ang="0">
                <a:pos x="T0" y="T1"/>
              </a:cxn>
              <a:cxn ang="0">
                <a:pos x="T2" y="T3"/>
              </a:cxn>
              <a:cxn ang="0">
                <a:pos x="T4" y="T5"/>
              </a:cxn>
              <a:cxn ang="0">
                <a:pos x="T6" y="T7"/>
              </a:cxn>
              <a:cxn ang="0">
                <a:pos x="T8" y="T9"/>
              </a:cxn>
              <a:cxn ang="0">
                <a:pos x="T10" y="T11"/>
              </a:cxn>
              <a:cxn ang="0">
                <a:pos x="T12" y="T13"/>
              </a:cxn>
            </a:cxnLst>
            <a:rect l="0" t="0" r="r" b="b"/>
            <a:pathLst>
              <a:path w="841" h="303">
                <a:moveTo>
                  <a:pt x="151" y="0"/>
                </a:moveTo>
                <a:cubicBezTo>
                  <a:pt x="68" y="0"/>
                  <a:pt x="0" y="68"/>
                  <a:pt x="0" y="152"/>
                </a:cubicBezTo>
                <a:cubicBezTo>
                  <a:pt x="0" y="235"/>
                  <a:pt x="68" y="303"/>
                  <a:pt x="151" y="303"/>
                </a:cubicBezTo>
                <a:cubicBezTo>
                  <a:pt x="689" y="303"/>
                  <a:pt x="689" y="303"/>
                  <a:pt x="689" y="303"/>
                </a:cubicBezTo>
                <a:cubicBezTo>
                  <a:pt x="773" y="303"/>
                  <a:pt x="841" y="235"/>
                  <a:pt x="841" y="152"/>
                </a:cubicBezTo>
                <a:cubicBezTo>
                  <a:pt x="841" y="68"/>
                  <a:pt x="773" y="0"/>
                  <a:pt x="689" y="0"/>
                </a:cubicBezTo>
                <a:lnTo>
                  <a:pt x="151"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800" b="0" i="0" u="none" strike="noStrike" kern="0" cap="none" spc="-30" normalizeH="0" noProof="0" dirty="0">
                <a:ln>
                  <a:noFill/>
                </a:ln>
                <a:solidFill>
                  <a:schemeClr val="bg2"/>
                </a:solidFill>
                <a:effectLst/>
                <a:uLnTx/>
                <a:uFillTx/>
                <a:latin typeface="CiscoSansTT ExtraLight"/>
                <a:ea typeface="ＭＳ Ｐゴシック" charset="0"/>
                <a:cs typeface="ＭＳ Ｐゴシック" charset="0"/>
              </a:rPr>
              <a:t>Time to Revenue</a:t>
            </a:r>
            <a:endParaRPr kumimoji="0" lang="en-US" sz="1800" b="0" i="0" u="none" strike="noStrike" kern="0" cap="none" spc="0" normalizeH="0" baseline="0" noProof="0" dirty="0">
              <a:ln>
                <a:noFill/>
              </a:ln>
              <a:solidFill>
                <a:schemeClr val="bg2"/>
              </a:solidFill>
              <a:effectLst/>
              <a:uLnTx/>
              <a:uFillTx/>
              <a:latin typeface="CiscoSansTT ExtraLight"/>
              <a:ea typeface="ＭＳ Ｐゴシック" charset="0"/>
              <a:cs typeface="ＭＳ Ｐゴシック" charset="0"/>
            </a:endParaRPr>
          </a:p>
        </p:txBody>
      </p:sp>
      <p:sp>
        <p:nvSpPr>
          <p:cNvPr id="48" name="Rectangle 47"/>
          <p:cNvSpPr>
            <a:spLocks noChangeArrowheads="1"/>
          </p:cNvSpPr>
          <p:nvPr/>
        </p:nvSpPr>
        <p:spPr bwMode="auto">
          <a:xfrm>
            <a:off x="1750256" y="3450198"/>
            <a:ext cx="7286724" cy="745392"/>
          </a:xfrm>
          <a:prstGeom prst="rect">
            <a:avLst/>
          </a:prstGeom>
          <a:solidFill>
            <a:srgbClr val="FFFFFF">
              <a:lumMod val="85000"/>
            </a:srgbClr>
          </a:solidFill>
          <a:ln w="19050" algn="ctr">
            <a:noFill/>
            <a:miter lim="800000"/>
            <a:headEnd/>
            <a:tailEnd/>
          </a:ln>
        </p:spPr>
        <p:txBody>
          <a:bodyPr lIns="402336" tIns="45720" rIns="45720" bIns="45720" anchor="ctr"/>
          <a:lstStyle/>
          <a:p>
            <a:pPr marL="285750" marR="0" lvl="0" indent="-117475" defTabSz="457200" eaLnBrk="1" fontAlgn="base" latinLnBrk="0" hangingPunct="1">
              <a:lnSpc>
                <a:spcPct val="100000"/>
              </a:lnSpc>
              <a:spcBef>
                <a:spcPct val="35000"/>
              </a:spcBef>
              <a:spcAft>
                <a:spcPct val="0"/>
              </a:spcAft>
              <a:buClrTx/>
              <a:buSzPct val="80000"/>
              <a:buFont typeface="Arial" panose="020B0604020202020204" pitchFamily="34" charset="0"/>
              <a:buChar char="•"/>
              <a:tabLst/>
              <a:defRPr/>
            </a:pPr>
            <a:r>
              <a:rPr kumimoji="1" lang="en-US" sz="1200" kern="0" dirty="0">
                <a:solidFill>
                  <a:srgbClr val="282828"/>
                </a:solidFill>
                <a:latin typeface="CiscoSansTT ExtraLight"/>
                <a:ea typeface="ＭＳ Ｐゴシック" charset="0"/>
                <a:cs typeface="ＭＳ Ｐゴシック" charset="0"/>
              </a:rPr>
              <a:t>Combines industry-leading transport and service enablement, with a best of breed Service Provider routing portfolio</a:t>
            </a:r>
          </a:p>
          <a:p>
            <a:pPr marL="285750" marR="0" lvl="0" indent="-117475" defTabSz="457200" eaLnBrk="1" fontAlgn="base" latinLnBrk="0" hangingPunct="1">
              <a:lnSpc>
                <a:spcPct val="100000"/>
              </a:lnSpc>
              <a:spcBef>
                <a:spcPct val="35000"/>
              </a:spcBef>
              <a:spcAft>
                <a:spcPct val="0"/>
              </a:spcAft>
              <a:buClrTx/>
              <a:buSzPct val="80000"/>
              <a:buFont typeface="Arial" panose="020B0604020202020204" pitchFamily="34" charset="0"/>
              <a:buChar char="•"/>
              <a:tabLst/>
              <a:defRPr/>
            </a:pPr>
            <a:r>
              <a:rPr kumimoji="1" lang="en-US" sz="1200" kern="0" dirty="0">
                <a:latin typeface="+mn-lt"/>
                <a:ea typeface="ＭＳ Ｐゴシック"/>
                <a:cs typeface="Arial"/>
              </a:rPr>
              <a:t>Scalable</a:t>
            </a:r>
            <a:r>
              <a:rPr lang="en-US" sz="1200" kern="0" dirty="0">
                <a:latin typeface="+mn-lt"/>
                <a:cs typeface="Arial"/>
              </a:rPr>
              <a:t> and flexible design to accommodate future traffic growth &amp; investment protection.</a:t>
            </a:r>
          </a:p>
        </p:txBody>
      </p:sp>
      <p:sp>
        <p:nvSpPr>
          <p:cNvPr id="49" name="Freeform 8"/>
          <p:cNvSpPr>
            <a:spLocks/>
          </p:cNvSpPr>
          <p:nvPr/>
        </p:nvSpPr>
        <p:spPr bwMode="auto">
          <a:xfrm>
            <a:off x="184454" y="3450198"/>
            <a:ext cx="2085034" cy="743754"/>
          </a:xfrm>
          <a:custGeom>
            <a:avLst/>
            <a:gdLst>
              <a:gd name="T0" fmla="*/ 151 w 841"/>
              <a:gd name="T1" fmla="*/ 0 h 303"/>
              <a:gd name="T2" fmla="*/ 0 w 841"/>
              <a:gd name="T3" fmla="*/ 152 h 303"/>
              <a:gd name="T4" fmla="*/ 151 w 841"/>
              <a:gd name="T5" fmla="*/ 303 h 303"/>
              <a:gd name="T6" fmla="*/ 689 w 841"/>
              <a:gd name="T7" fmla="*/ 303 h 303"/>
              <a:gd name="T8" fmla="*/ 841 w 841"/>
              <a:gd name="T9" fmla="*/ 152 h 303"/>
              <a:gd name="T10" fmla="*/ 689 w 841"/>
              <a:gd name="T11" fmla="*/ 0 h 303"/>
              <a:gd name="T12" fmla="*/ 151 w 841"/>
              <a:gd name="T13" fmla="*/ 0 h 303"/>
            </a:gdLst>
            <a:ahLst/>
            <a:cxnLst>
              <a:cxn ang="0">
                <a:pos x="T0" y="T1"/>
              </a:cxn>
              <a:cxn ang="0">
                <a:pos x="T2" y="T3"/>
              </a:cxn>
              <a:cxn ang="0">
                <a:pos x="T4" y="T5"/>
              </a:cxn>
              <a:cxn ang="0">
                <a:pos x="T6" y="T7"/>
              </a:cxn>
              <a:cxn ang="0">
                <a:pos x="T8" y="T9"/>
              </a:cxn>
              <a:cxn ang="0">
                <a:pos x="T10" y="T11"/>
              </a:cxn>
              <a:cxn ang="0">
                <a:pos x="T12" y="T13"/>
              </a:cxn>
            </a:cxnLst>
            <a:rect l="0" t="0" r="r" b="b"/>
            <a:pathLst>
              <a:path w="841" h="303">
                <a:moveTo>
                  <a:pt x="151" y="0"/>
                </a:moveTo>
                <a:cubicBezTo>
                  <a:pt x="68" y="0"/>
                  <a:pt x="0" y="68"/>
                  <a:pt x="0" y="152"/>
                </a:cubicBezTo>
                <a:cubicBezTo>
                  <a:pt x="0" y="235"/>
                  <a:pt x="68" y="303"/>
                  <a:pt x="151" y="303"/>
                </a:cubicBezTo>
                <a:cubicBezTo>
                  <a:pt x="689" y="303"/>
                  <a:pt x="689" y="303"/>
                  <a:pt x="689" y="303"/>
                </a:cubicBezTo>
                <a:cubicBezTo>
                  <a:pt x="773" y="303"/>
                  <a:pt x="841" y="235"/>
                  <a:pt x="841" y="152"/>
                </a:cubicBezTo>
                <a:cubicBezTo>
                  <a:pt x="841" y="68"/>
                  <a:pt x="773" y="0"/>
                  <a:pt x="689" y="0"/>
                </a:cubicBezTo>
                <a:lnTo>
                  <a:pt x="151" y="0"/>
                </a:lnTo>
                <a:close/>
              </a:path>
            </a:pathLst>
          </a:cu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800" b="0" i="0" u="none" strike="noStrike" kern="0" cap="none" spc="-30" normalizeH="0" noProof="0" dirty="0">
                <a:ln>
                  <a:noFill/>
                </a:ln>
                <a:solidFill>
                  <a:schemeClr val="bg2"/>
                </a:solidFill>
                <a:effectLst/>
                <a:uLnTx/>
                <a:uFillTx/>
                <a:latin typeface="CiscoSansTT ExtraLight"/>
                <a:ea typeface="ＭＳ Ｐゴシック" charset="0"/>
                <a:cs typeface="ＭＳ Ｐゴシック" charset="0"/>
              </a:rPr>
              <a:t>Best of Breed</a:t>
            </a:r>
            <a:endParaRPr kumimoji="0" lang="en-US" sz="1800" b="0" i="0" u="none" strike="noStrike" kern="0" cap="none" spc="0" normalizeH="0" baseline="0" noProof="0" dirty="0">
              <a:ln>
                <a:noFill/>
              </a:ln>
              <a:solidFill>
                <a:schemeClr val="bg2"/>
              </a:solidFill>
              <a:effectLst/>
              <a:uLnTx/>
              <a:uFillTx/>
              <a:latin typeface="CiscoSansTT ExtraLight"/>
              <a:ea typeface="ＭＳ Ｐゴシック" charset="0"/>
              <a:cs typeface="ＭＳ Ｐゴシック" charset="0"/>
            </a:endParaRPr>
          </a:p>
        </p:txBody>
      </p:sp>
      <p:sp>
        <p:nvSpPr>
          <p:cNvPr id="50" name="Rectangle 49"/>
          <p:cNvSpPr>
            <a:spLocks noChangeArrowheads="1"/>
          </p:cNvSpPr>
          <p:nvPr/>
        </p:nvSpPr>
        <p:spPr bwMode="auto">
          <a:xfrm>
            <a:off x="1750255" y="1748784"/>
            <a:ext cx="7286724" cy="745392"/>
          </a:xfrm>
          <a:prstGeom prst="rect">
            <a:avLst/>
          </a:prstGeom>
          <a:solidFill>
            <a:srgbClr val="FFFFFF">
              <a:lumMod val="85000"/>
            </a:srgbClr>
          </a:solidFill>
          <a:ln w="19050" algn="ctr">
            <a:noFill/>
            <a:miter lim="800000"/>
            <a:headEnd/>
            <a:tailEnd/>
          </a:ln>
        </p:spPr>
        <p:txBody>
          <a:bodyPr lIns="402336" tIns="45720" rIns="45720" bIns="45720" anchor="ctr"/>
          <a:lstStyle/>
          <a:p>
            <a:pPr marL="285750" marR="0" lvl="0" indent="-117475" defTabSz="457200" eaLnBrk="1" fontAlgn="base" latinLnBrk="0" hangingPunct="1">
              <a:lnSpc>
                <a:spcPct val="100000"/>
              </a:lnSpc>
              <a:spcBef>
                <a:spcPct val="35000"/>
              </a:spcBef>
              <a:spcAft>
                <a:spcPct val="0"/>
              </a:spcAft>
              <a:buClrTx/>
              <a:buSzPct val="80000"/>
              <a:buFont typeface="Arial" panose="020B0604020202020204" pitchFamily="34" charset="0"/>
              <a:buChar char="•"/>
              <a:tabLst/>
              <a:defRPr/>
            </a:pPr>
            <a:r>
              <a:rPr kumimoji="1" lang="en-US" sz="1200" kern="0" dirty="0">
                <a:solidFill>
                  <a:srgbClr val="282828"/>
                </a:solidFill>
                <a:latin typeface="CiscoSansTT ExtraLight"/>
              </a:rPr>
              <a:t>Dense, cost-competitive &amp; power-efficient NCS 5500 based on merchant silicon.</a:t>
            </a:r>
          </a:p>
          <a:p>
            <a:pPr marL="285750" indent="-117475" defTabSz="457200" fontAlgn="base">
              <a:spcBef>
                <a:spcPct val="35000"/>
              </a:spcBef>
              <a:spcAft>
                <a:spcPct val="0"/>
              </a:spcAft>
              <a:buSzPct val="80000"/>
              <a:buFont typeface="Arial" panose="020B0604020202020204" pitchFamily="34" charset="0"/>
              <a:buChar char="•"/>
              <a:defRPr/>
            </a:pPr>
            <a:r>
              <a:rPr kumimoji="1" lang="en-US" sz="1200" kern="0" dirty="0">
                <a:solidFill>
                  <a:srgbClr val="282828"/>
                </a:solidFill>
                <a:latin typeface="CiscoSansTT ExtraLight"/>
              </a:rPr>
              <a:t>Operation savings Automation, programmability and network stack simplification </a:t>
            </a:r>
          </a:p>
          <a:p>
            <a:pPr marL="285750" indent="-117475" defTabSz="457200" fontAlgn="base">
              <a:spcBef>
                <a:spcPct val="35000"/>
              </a:spcBef>
              <a:spcAft>
                <a:spcPct val="0"/>
              </a:spcAft>
              <a:buSzPct val="80000"/>
              <a:buFont typeface="Arial" panose="020B0604020202020204" pitchFamily="34" charset="0"/>
              <a:buChar char="•"/>
              <a:defRPr/>
            </a:pPr>
            <a:r>
              <a:rPr kumimoji="1" lang="en-US" sz="1200" kern="0" dirty="0">
                <a:solidFill>
                  <a:srgbClr val="282828"/>
                </a:solidFill>
                <a:latin typeface="CiscoSansTT ExtraLight"/>
              </a:rPr>
              <a:t>Optimized network bandwidth utilization with Segment Routing. </a:t>
            </a:r>
          </a:p>
        </p:txBody>
      </p:sp>
      <p:sp>
        <p:nvSpPr>
          <p:cNvPr id="51" name="Freeform 8"/>
          <p:cNvSpPr>
            <a:spLocks/>
          </p:cNvSpPr>
          <p:nvPr/>
        </p:nvSpPr>
        <p:spPr bwMode="auto">
          <a:xfrm>
            <a:off x="184452" y="1743545"/>
            <a:ext cx="2085034" cy="743754"/>
          </a:xfrm>
          <a:custGeom>
            <a:avLst/>
            <a:gdLst>
              <a:gd name="T0" fmla="*/ 151 w 841"/>
              <a:gd name="T1" fmla="*/ 0 h 303"/>
              <a:gd name="T2" fmla="*/ 0 w 841"/>
              <a:gd name="T3" fmla="*/ 152 h 303"/>
              <a:gd name="T4" fmla="*/ 151 w 841"/>
              <a:gd name="T5" fmla="*/ 303 h 303"/>
              <a:gd name="T6" fmla="*/ 689 w 841"/>
              <a:gd name="T7" fmla="*/ 303 h 303"/>
              <a:gd name="T8" fmla="*/ 841 w 841"/>
              <a:gd name="T9" fmla="*/ 152 h 303"/>
              <a:gd name="T10" fmla="*/ 689 w 841"/>
              <a:gd name="T11" fmla="*/ 0 h 303"/>
              <a:gd name="T12" fmla="*/ 151 w 841"/>
              <a:gd name="T13" fmla="*/ 0 h 303"/>
            </a:gdLst>
            <a:ahLst/>
            <a:cxnLst>
              <a:cxn ang="0">
                <a:pos x="T0" y="T1"/>
              </a:cxn>
              <a:cxn ang="0">
                <a:pos x="T2" y="T3"/>
              </a:cxn>
              <a:cxn ang="0">
                <a:pos x="T4" y="T5"/>
              </a:cxn>
              <a:cxn ang="0">
                <a:pos x="T6" y="T7"/>
              </a:cxn>
              <a:cxn ang="0">
                <a:pos x="T8" y="T9"/>
              </a:cxn>
              <a:cxn ang="0">
                <a:pos x="T10" y="T11"/>
              </a:cxn>
              <a:cxn ang="0">
                <a:pos x="T12" y="T13"/>
              </a:cxn>
            </a:cxnLst>
            <a:rect l="0" t="0" r="r" b="b"/>
            <a:pathLst>
              <a:path w="841" h="303">
                <a:moveTo>
                  <a:pt x="151" y="0"/>
                </a:moveTo>
                <a:cubicBezTo>
                  <a:pt x="68" y="0"/>
                  <a:pt x="0" y="68"/>
                  <a:pt x="0" y="152"/>
                </a:cubicBezTo>
                <a:cubicBezTo>
                  <a:pt x="0" y="235"/>
                  <a:pt x="68" y="303"/>
                  <a:pt x="151" y="303"/>
                </a:cubicBezTo>
                <a:cubicBezTo>
                  <a:pt x="689" y="303"/>
                  <a:pt x="689" y="303"/>
                  <a:pt x="689" y="303"/>
                </a:cubicBezTo>
                <a:cubicBezTo>
                  <a:pt x="773" y="303"/>
                  <a:pt x="841" y="235"/>
                  <a:pt x="841" y="152"/>
                </a:cubicBezTo>
                <a:cubicBezTo>
                  <a:pt x="841" y="68"/>
                  <a:pt x="773" y="0"/>
                  <a:pt x="689" y="0"/>
                </a:cubicBezTo>
                <a:lnTo>
                  <a:pt x="151" y="0"/>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800" b="0" i="0" u="none" strike="noStrike" kern="0" cap="none" spc="-30" normalizeH="0" noProof="0" dirty="0">
                <a:ln>
                  <a:noFill/>
                </a:ln>
                <a:solidFill>
                  <a:schemeClr val="bg2"/>
                </a:solidFill>
                <a:effectLst/>
                <a:uLnTx/>
                <a:uFillTx/>
                <a:latin typeface="CiscoSansTT ExtraLight"/>
                <a:ea typeface="ＭＳ Ｐゴシック" charset="0"/>
                <a:cs typeface="ＭＳ Ｐゴシック" charset="0"/>
              </a:rPr>
              <a:t>Cost Savings</a:t>
            </a:r>
            <a:endParaRPr kumimoji="0" lang="en-US" sz="1800" b="0" i="0" u="none" strike="noStrike" kern="0" cap="none" spc="0" normalizeH="0" baseline="0" noProof="0" dirty="0">
              <a:ln>
                <a:noFill/>
              </a:ln>
              <a:solidFill>
                <a:schemeClr val="bg2"/>
              </a:solidFill>
              <a:effectLst/>
              <a:uLnTx/>
              <a:uFillTx/>
              <a:latin typeface="CiscoSansTT ExtraLight"/>
              <a:ea typeface="ＭＳ Ｐゴシック" charset="0"/>
              <a:cs typeface="ＭＳ Ｐゴシック" charset="0"/>
            </a:endParaRPr>
          </a:p>
        </p:txBody>
      </p:sp>
      <p:sp>
        <p:nvSpPr>
          <p:cNvPr id="52" name="Rectangle 51"/>
          <p:cNvSpPr>
            <a:spLocks noChangeArrowheads="1"/>
          </p:cNvSpPr>
          <p:nvPr/>
        </p:nvSpPr>
        <p:spPr bwMode="auto">
          <a:xfrm>
            <a:off x="1806753" y="4290769"/>
            <a:ext cx="7230227" cy="745392"/>
          </a:xfrm>
          <a:prstGeom prst="rect">
            <a:avLst/>
          </a:prstGeom>
          <a:solidFill>
            <a:srgbClr val="FFFFFF">
              <a:lumMod val="85000"/>
            </a:srgbClr>
          </a:solidFill>
          <a:ln w="19050" algn="ctr">
            <a:noFill/>
            <a:miter lim="800000"/>
            <a:headEnd/>
            <a:tailEnd/>
          </a:ln>
        </p:spPr>
        <p:txBody>
          <a:bodyPr lIns="402336" tIns="45720" rIns="45720" bIns="45720" anchor="ctr"/>
          <a:lstStyle/>
          <a:p>
            <a:pPr marL="285750" marR="0" lvl="0" indent="-117475" defTabSz="457200" eaLnBrk="1" fontAlgn="base" latinLnBrk="0" hangingPunct="1">
              <a:lnSpc>
                <a:spcPct val="100000"/>
              </a:lnSpc>
              <a:spcBef>
                <a:spcPct val="35000"/>
              </a:spcBef>
              <a:spcAft>
                <a:spcPct val="0"/>
              </a:spcAft>
              <a:buClrTx/>
              <a:buSzPct val="80000"/>
              <a:buFont typeface="Arial" panose="020B0604020202020204" pitchFamily="34" charset="0"/>
              <a:buChar char="•"/>
              <a:tabLst/>
              <a:defRPr/>
            </a:pPr>
            <a:r>
              <a:rPr kumimoji="1" lang="en-US" sz="1200" kern="0" dirty="0">
                <a:solidFill>
                  <a:srgbClr val="282828"/>
                </a:solidFill>
                <a:latin typeface="CiscoSansTT ExtraLight"/>
                <a:ea typeface="ＭＳ Ｐゴシック" charset="0"/>
                <a:cs typeface="ＭＳ Ｐゴシック" charset="0"/>
              </a:rPr>
              <a:t>Designed to address 5G and IoT requirements</a:t>
            </a:r>
          </a:p>
          <a:p>
            <a:pPr marL="285750" marR="0" lvl="0" indent="-117475" defTabSz="457200" eaLnBrk="1" fontAlgn="base" latinLnBrk="0" hangingPunct="1">
              <a:lnSpc>
                <a:spcPct val="100000"/>
              </a:lnSpc>
              <a:spcBef>
                <a:spcPct val="35000"/>
              </a:spcBef>
              <a:spcAft>
                <a:spcPct val="0"/>
              </a:spcAft>
              <a:buClrTx/>
              <a:buSzPct val="80000"/>
              <a:buFont typeface="Arial" panose="020B0604020202020204" pitchFamily="34" charset="0"/>
              <a:buChar char="•"/>
              <a:tabLst/>
              <a:defRPr/>
            </a:pPr>
            <a:r>
              <a:rPr kumimoji="1" lang="en-US" sz="1200" kern="0" dirty="0">
                <a:solidFill>
                  <a:srgbClr val="282828"/>
                </a:solidFill>
                <a:latin typeface="CiscoSansTT ExtraLight"/>
                <a:ea typeface="ＭＳ Ｐゴシック" charset="0"/>
                <a:cs typeface="ＭＳ Ｐゴシック" charset="0"/>
              </a:rPr>
              <a:t>Global network view with telemetry offers new services and revenue streams </a:t>
            </a:r>
          </a:p>
        </p:txBody>
      </p:sp>
      <p:sp>
        <p:nvSpPr>
          <p:cNvPr id="53" name="Freeform 8"/>
          <p:cNvSpPr>
            <a:spLocks/>
          </p:cNvSpPr>
          <p:nvPr/>
        </p:nvSpPr>
        <p:spPr bwMode="auto">
          <a:xfrm>
            <a:off x="184452" y="4290769"/>
            <a:ext cx="2141534" cy="743754"/>
          </a:xfrm>
          <a:custGeom>
            <a:avLst/>
            <a:gdLst>
              <a:gd name="T0" fmla="*/ 151 w 841"/>
              <a:gd name="T1" fmla="*/ 0 h 303"/>
              <a:gd name="T2" fmla="*/ 0 w 841"/>
              <a:gd name="T3" fmla="*/ 152 h 303"/>
              <a:gd name="T4" fmla="*/ 151 w 841"/>
              <a:gd name="T5" fmla="*/ 303 h 303"/>
              <a:gd name="T6" fmla="*/ 689 w 841"/>
              <a:gd name="T7" fmla="*/ 303 h 303"/>
              <a:gd name="T8" fmla="*/ 841 w 841"/>
              <a:gd name="T9" fmla="*/ 152 h 303"/>
              <a:gd name="T10" fmla="*/ 689 w 841"/>
              <a:gd name="T11" fmla="*/ 0 h 303"/>
              <a:gd name="T12" fmla="*/ 151 w 841"/>
              <a:gd name="T13" fmla="*/ 0 h 303"/>
            </a:gdLst>
            <a:ahLst/>
            <a:cxnLst>
              <a:cxn ang="0">
                <a:pos x="T0" y="T1"/>
              </a:cxn>
              <a:cxn ang="0">
                <a:pos x="T2" y="T3"/>
              </a:cxn>
              <a:cxn ang="0">
                <a:pos x="T4" y="T5"/>
              </a:cxn>
              <a:cxn ang="0">
                <a:pos x="T6" y="T7"/>
              </a:cxn>
              <a:cxn ang="0">
                <a:pos x="T8" y="T9"/>
              </a:cxn>
              <a:cxn ang="0">
                <a:pos x="T10" y="T11"/>
              </a:cxn>
              <a:cxn ang="0">
                <a:pos x="T12" y="T13"/>
              </a:cxn>
            </a:cxnLst>
            <a:rect l="0" t="0" r="r" b="b"/>
            <a:pathLst>
              <a:path w="841" h="303">
                <a:moveTo>
                  <a:pt x="151" y="0"/>
                </a:moveTo>
                <a:cubicBezTo>
                  <a:pt x="68" y="0"/>
                  <a:pt x="0" y="68"/>
                  <a:pt x="0" y="152"/>
                </a:cubicBezTo>
                <a:cubicBezTo>
                  <a:pt x="0" y="235"/>
                  <a:pt x="68" y="303"/>
                  <a:pt x="151" y="303"/>
                </a:cubicBezTo>
                <a:cubicBezTo>
                  <a:pt x="689" y="303"/>
                  <a:pt x="689" y="303"/>
                  <a:pt x="689" y="303"/>
                </a:cubicBezTo>
                <a:cubicBezTo>
                  <a:pt x="773" y="303"/>
                  <a:pt x="841" y="235"/>
                  <a:pt x="841" y="152"/>
                </a:cubicBezTo>
                <a:cubicBezTo>
                  <a:pt x="841" y="68"/>
                  <a:pt x="773" y="0"/>
                  <a:pt x="689" y="0"/>
                </a:cubicBezTo>
                <a:lnTo>
                  <a:pt x="151" y="0"/>
                </a:lnTo>
                <a:close/>
              </a:path>
            </a:pathLst>
          </a:cu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800" b="0" i="0" u="none" strike="noStrike" kern="0" cap="none" spc="-30" normalizeH="0" noProof="0" dirty="0">
                <a:ln>
                  <a:noFill/>
                </a:ln>
                <a:solidFill>
                  <a:schemeClr val="bg2"/>
                </a:solidFill>
                <a:effectLst/>
                <a:uLnTx/>
                <a:uFillTx/>
                <a:latin typeface="CiscoSansTT ExtraLight"/>
                <a:ea typeface="ＭＳ Ｐゴシック" charset="0"/>
                <a:cs typeface="ＭＳ Ｐゴシック" charset="0"/>
              </a:rPr>
              <a:t>New Revenue Streams</a:t>
            </a:r>
            <a:endParaRPr kumimoji="0" lang="en-US" sz="1800" b="0" i="0" u="none" strike="noStrike" kern="0" cap="none" spc="0" normalizeH="0" baseline="0" noProof="0" dirty="0">
              <a:ln>
                <a:noFill/>
              </a:ln>
              <a:solidFill>
                <a:schemeClr val="bg2"/>
              </a:solidFill>
              <a:effectLst/>
              <a:uLnTx/>
              <a:uFillTx/>
              <a:latin typeface="CiscoSansTT ExtraLight"/>
              <a:ea typeface="ＭＳ Ｐゴシック" charset="0"/>
              <a:cs typeface="ＭＳ Ｐゴシック" charset="0"/>
            </a:endParaRPr>
          </a:p>
        </p:txBody>
      </p:sp>
      <p:sp>
        <p:nvSpPr>
          <p:cNvPr id="5" name="Title 4">
            <a:extLst>
              <a:ext uri="{FF2B5EF4-FFF2-40B4-BE49-F238E27FC236}">
                <a16:creationId xmlns:a16="http://schemas.microsoft.com/office/drawing/2014/main" id="{BC95EC2B-C76F-44D6-B8E4-3ED4ABBF75C7}"/>
              </a:ext>
            </a:extLst>
          </p:cNvPr>
          <p:cNvSpPr>
            <a:spLocks noGrp="1"/>
          </p:cNvSpPr>
          <p:nvPr>
            <p:ph type="title"/>
          </p:nvPr>
        </p:nvSpPr>
        <p:spPr>
          <a:xfrm>
            <a:off x="437766" y="124802"/>
            <a:ext cx="8345488" cy="731837"/>
          </a:xfrm>
        </p:spPr>
        <p:txBody>
          <a:bodyPr/>
          <a:lstStyle/>
          <a:p>
            <a:r>
              <a:rPr lang="en-ZA" dirty="0"/>
              <a:t>Value Proposition</a:t>
            </a:r>
          </a:p>
        </p:txBody>
      </p:sp>
    </p:spTree>
    <p:extLst>
      <p:ext uri="{BB962C8B-B14F-4D97-AF65-F5344CB8AC3E}">
        <p14:creationId xmlns:p14="http://schemas.microsoft.com/office/powerpoint/2010/main" val="1367524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826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Rectangle 169"/>
          <p:cNvSpPr/>
          <p:nvPr/>
        </p:nvSpPr>
        <p:spPr>
          <a:xfrm>
            <a:off x="874817" y="856159"/>
            <a:ext cx="7430499" cy="3666585"/>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defTabSz="607396">
              <a:defRPr/>
            </a:pPr>
            <a:endParaRPr lang="en-US" sz="2400" dirty="0">
              <a:solidFill>
                <a:srgbClr val="FFFFFF"/>
              </a:solidFill>
              <a:latin typeface="CiscoSansTT ExtraLight"/>
              <a:cs typeface="Arial" panose="020B0604020202020204" pitchFamily="34" charset="0"/>
            </a:endParaRPr>
          </a:p>
        </p:txBody>
      </p:sp>
      <p:sp>
        <p:nvSpPr>
          <p:cNvPr id="23" name="Freeform 22"/>
          <p:cNvSpPr/>
          <p:nvPr/>
        </p:nvSpPr>
        <p:spPr>
          <a:xfrm>
            <a:off x="870981" y="2138780"/>
            <a:ext cx="1878934" cy="2381865"/>
          </a:xfrm>
          <a:custGeom>
            <a:avLst/>
            <a:gdLst>
              <a:gd name="connsiteX0" fmla="*/ 3288890 w 4240161"/>
              <a:gd name="connsiteY0" fmla="*/ 2381864 h 2381864"/>
              <a:gd name="connsiteX1" fmla="*/ 4218038 w 4240161"/>
              <a:gd name="connsiteY1" fmla="*/ 1732935 h 2381864"/>
              <a:gd name="connsiteX2" fmla="*/ 4240161 w 4240161"/>
              <a:gd name="connsiteY2" fmla="*/ 0 h 2381864"/>
              <a:gd name="connsiteX3" fmla="*/ 2713703 w 4240161"/>
              <a:gd name="connsiteY3" fmla="*/ 22123 h 2381864"/>
              <a:gd name="connsiteX4" fmla="*/ 0 w 4240161"/>
              <a:gd name="connsiteY4" fmla="*/ 2367116 h 2381864"/>
              <a:gd name="connsiteX5" fmla="*/ 3288890 w 4240161"/>
              <a:gd name="connsiteY5" fmla="*/ 2381864 h 2381864"/>
              <a:gd name="connsiteX0" fmla="*/ 3288890 w 4240161"/>
              <a:gd name="connsiteY0" fmla="*/ 2381864 h 2381864"/>
              <a:gd name="connsiteX1" fmla="*/ 4218038 w 4240161"/>
              <a:gd name="connsiteY1" fmla="*/ 1732935 h 2381864"/>
              <a:gd name="connsiteX2" fmla="*/ 4240161 w 4240161"/>
              <a:gd name="connsiteY2" fmla="*/ 0 h 2381864"/>
              <a:gd name="connsiteX3" fmla="*/ 2713703 w 4240161"/>
              <a:gd name="connsiteY3" fmla="*/ 22123 h 2381864"/>
              <a:gd name="connsiteX4" fmla="*/ 0 w 4240161"/>
              <a:gd name="connsiteY4" fmla="*/ 2367116 h 2381864"/>
              <a:gd name="connsiteX5" fmla="*/ 682153 w 4240161"/>
              <a:gd name="connsiteY5" fmla="*/ 2358924 h 2381864"/>
              <a:gd name="connsiteX6" fmla="*/ 3288890 w 4240161"/>
              <a:gd name="connsiteY6" fmla="*/ 2381864 h 2381864"/>
              <a:gd name="connsiteX0" fmla="*/ 3288890 w 4240161"/>
              <a:gd name="connsiteY0" fmla="*/ 2381864 h 2381864"/>
              <a:gd name="connsiteX1" fmla="*/ 4218038 w 4240161"/>
              <a:gd name="connsiteY1" fmla="*/ 1732935 h 2381864"/>
              <a:gd name="connsiteX2" fmla="*/ 4240161 w 4240161"/>
              <a:gd name="connsiteY2" fmla="*/ 0 h 2381864"/>
              <a:gd name="connsiteX3" fmla="*/ 2713703 w 4240161"/>
              <a:gd name="connsiteY3" fmla="*/ 22123 h 2381864"/>
              <a:gd name="connsiteX4" fmla="*/ 623160 w 4240161"/>
              <a:gd name="connsiteY4" fmla="*/ 1813234 h 2381864"/>
              <a:gd name="connsiteX5" fmla="*/ 0 w 4240161"/>
              <a:gd name="connsiteY5" fmla="*/ 2367116 h 2381864"/>
              <a:gd name="connsiteX6" fmla="*/ 682153 w 4240161"/>
              <a:gd name="connsiteY6" fmla="*/ 2358924 h 2381864"/>
              <a:gd name="connsiteX7" fmla="*/ 3288890 w 4240161"/>
              <a:gd name="connsiteY7" fmla="*/ 2381864 h 2381864"/>
              <a:gd name="connsiteX0" fmla="*/ 2665730 w 3617001"/>
              <a:gd name="connsiteY0" fmla="*/ 2381864 h 2381864"/>
              <a:gd name="connsiteX1" fmla="*/ 3594878 w 3617001"/>
              <a:gd name="connsiteY1" fmla="*/ 1732935 h 2381864"/>
              <a:gd name="connsiteX2" fmla="*/ 3617001 w 3617001"/>
              <a:gd name="connsiteY2" fmla="*/ 0 h 2381864"/>
              <a:gd name="connsiteX3" fmla="*/ 2090543 w 3617001"/>
              <a:gd name="connsiteY3" fmla="*/ 22123 h 2381864"/>
              <a:gd name="connsiteX4" fmla="*/ 0 w 3617001"/>
              <a:gd name="connsiteY4" fmla="*/ 1813234 h 2381864"/>
              <a:gd name="connsiteX5" fmla="*/ 58993 w 3617001"/>
              <a:gd name="connsiteY5" fmla="*/ 2358924 h 2381864"/>
              <a:gd name="connsiteX6" fmla="*/ 2665730 w 3617001"/>
              <a:gd name="connsiteY6" fmla="*/ 2381864 h 2381864"/>
              <a:gd name="connsiteX0" fmla="*/ 2633073 w 3584344"/>
              <a:gd name="connsiteY0" fmla="*/ 2381864 h 2381864"/>
              <a:gd name="connsiteX1" fmla="*/ 3562221 w 3584344"/>
              <a:gd name="connsiteY1" fmla="*/ 1732935 h 2381864"/>
              <a:gd name="connsiteX2" fmla="*/ 3584344 w 3584344"/>
              <a:gd name="connsiteY2" fmla="*/ 0 h 2381864"/>
              <a:gd name="connsiteX3" fmla="*/ 2057886 w 3584344"/>
              <a:gd name="connsiteY3" fmla="*/ 22123 h 2381864"/>
              <a:gd name="connsiteX4" fmla="*/ 0 w 3584344"/>
              <a:gd name="connsiteY4" fmla="*/ 1778065 h 2381864"/>
              <a:gd name="connsiteX5" fmla="*/ 26336 w 3584344"/>
              <a:gd name="connsiteY5" fmla="*/ 2358924 h 2381864"/>
              <a:gd name="connsiteX6" fmla="*/ 2633073 w 3584344"/>
              <a:gd name="connsiteY6" fmla="*/ 2381864 h 2381864"/>
              <a:gd name="connsiteX0" fmla="*/ 2634370 w 3585641"/>
              <a:gd name="connsiteY0" fmla="*/ 2381864 h 2381864"/>
              <a:gd name="connsiteX1" fmla="*/ 3563518 w 3585641"/>
              <a:gd name="connsiteY1" fmla="*/ 1732935 h 2381864"/>
              <a:gd name="connsiteX2" fmla="*/ 3585641 w 3585641"/>
              <a:gd name="connsiteY2" fmla="*/ 0 h 2381864"/>
              <a:gd name="connsiteX3" fmla="*/ 2059183 w 3585641"/>
              <a:gd name="connsiteY3" fmla="*/ 22123 h 2381864"/>
              <a:gd name="connsiteX4" fmla="*/ 1297 w 3585641"/>
              <a:gd name="connsiteY4" fmla="*/ 1778065 h 2381864"/>
              <a:gd name="connsiteX5" fmla="*/ 0 w 3585641"/>
              <a:gd name="connsiteY5" fmla="*/ 2371485 h 2381864"/>
              <a:gd name="connsiteX6" fmla="*/ 2634370 w 3585641"/>
              <a:gd name="connsiteY6" fmla="*/ 2381864 h 2381864"/>
              <a:gd name="connsiteX0" fmla="*/ 2629345 w 3585641"/>
              <a:gd name="connsiteY0" fmla="*/ 2319062 h 2371485"/>
              <a:gd name="connsiteX1" fmla="*/ 3563518 w 3585641"/>
              <a:gd name="connsiteY1" fmla="*/ 1732935 h 2371485"/>
              <a:gd name="connsiteX2" fmla="*/ 3585641 w 3585641"/>
              <a:gd name="connsiteY2" fmla="*/ 0 h 2371485"/>
              <a:gd name="connsiteX3" fmla="*/ 2059183 w 3585641"/>
              <a:gd name="connsiteY3" fmla="*/ 22123 h 2371485"/>
              <a:gd name="connsiteX4" fmla="*/ 1297 w 3585641"/>
              <a:gd name="connsiteY4" fmla="*/ 1778065 h 2371485"/>
              <a:gd name="connsiteX5" fmla="*/ 0 w 3585641"/>
              <a:gd name="connsiteY5" fmla="*/ 2371485 h 2371485"/>
              <a:gd name="connsiteX6" fmla="*/ 2629345 w 3585641"/>
              <a:gd name="connsiteY6" fmla="*/ 2319062 h 2371485"/>
              <a:gd name="connsiteX0" fmla="*/ 2677075 w 3585641"/>
              <a:gd name="connsiteY0" fmla="*/ 2359256 h 2371485"/>
              <a:gd name="connsiteX1" fmla="*/ 3563518 w 3585641"/>
              <a:gd name="connsiteY1" fmla="*/ 1732935 h 2371485"/>
              <a:gd name="connsiteX2" fmla="*/ 3585641 w 3585641"/>
              <a:gd name="connsiteY2" fmla="*/ 0 h 2371485"/>
              <a:gd name="connsiteX3" fmla="*/ 2059183 w 3585641"/>
              <a:gd name="connsiteY3" fmla="*/ 22123 h 2371485"/>
              <a:gd name="connsiteX4" fmla="*/ 1297 w 3585641"/>
              <a:gd name="connsiteY4" fmla="*/ 1778065 h 2371485"/>
              <a:gd name="connsiteX5" fmla="*/ 0 w 3585641"/>
              <a:gd name="connsiteY5" fmla="*/ 2371485 h 2371485"/>
              <a:gd name="connsiteX6" fmla="*/ 2677075 w 3585641"/>
              <a:gd name="connsiteY6" fmla="*/ 2359256 h 2371485"/>
              <a:gd name="connsiteX0" fmla="*/ 2644418 w 3585641"/>
              <a:gd name="connsiteY0" fmla="*/ 2381865 h 2381865"/>
              <a:gd name="connsiteX1" fmla="*/ 3563518 w 3585641"/>
              <a:gd name="connsiteY1" fmla="*/ 1732935 h 2381865"/>
              <a:gd name="connsiteX2" fmla="*/ 3585641 w 3585641"/>
              <a:gd name="connsiteY2" fmla="*/ 0 h 2381865"/>
              <a:gd name="connsiteX3" fmla="*/ 2059183 w 3585641"/>
              <a:gd name="connsiteY3" fmla="*/ 22123 h 2381865"/>
              <a:gd name="connsiteX4" fmla="*/ 1297 w 3585641"/>
              <a:gd name="connsiteY4" fmla="*/ 1778065 h 2381865"/>
              <a:gd name="connsiteX5" fmla="*/ 0 w 3585641"/>
              <a:gd name="connsiteY5" fmla="*/ 2371485 h 2381865"/>
              <a:gd name="connsiteX6" fmla="*/ 2644418 w 3585641"/>
              <a:gd name="connsiteY6" fmla="*/ 2381865 h 2381865"/>
              <a:gd name="connsiteX0" fmla="*/ 2644418 w 3585641"/>
              <a:gd name="connsiteY0" fmla="*/ 2381865 h 2386558"/>
              <a:gd name="connsiteX1" fmla="*/ 3563518 w 3585641"/>
              <a:gd name="connsiteY1" fmla="*/ 1732935 h 2386558"/>
              <a:gd name="connsiteX2" fmla="*/ 3585641 w 3585641"/>
              <a:gd name="connsiteY2" fmla="*/ 0 h 2386558"/>
              <a:gd name="connsiteX3" fmla="*/ 2059183 w 3585641"/>
              <a:gd name="connsiteY3" fmla="*/ 22123 h 2386558"/>
              <a:gd name="connsiteX4" fmla="*/ 1297 w 3585641"/>
              <a:gd name="connsiteY4" fmla="*/ 1778065 h 2386558"/>
              <a:gd name="connsiteX5" fmla="*/ 0 w 3585641"/>
              <a:gd name="connsiteY5" fmla="*/ 2386558 h 2386558"/>
              <a:gd name="connsiteX6" fmla="*/ 2644418 w 3585641"/>
              <a:gd name="connsiteY6" fmla="*/ 2381865 h 2386558"/>
              <a:gd name="connsiteX0" fmla="*/ 2644418 w 3585641"/>
              <a:gd name="connsiteY0" fmla="*/ 2381865 h 2386558"/>
              <a:gd name="connsiteX1" fmla="*/ 3563518 w 3585641"/>
              <a:gd name="connsiteY1" fmla="*/ 1732935 h 2386558"/>
              <a:gd name="connsiteX2" fmla="*/ 3585641 w 3585641"/>
              <a:gd name="connsiteY2" fmla="*/ 0 h 2386558"/>
              <a:gd name="connsiteX3" fmla="*/ 2059183 w 3585641"/>
              <a:gd name="connsiteY3" fmla="*/ 22123 h 2386558"/>
              <a:gd name="connsiteX4" fmla="*/ 1701683 w 3585641"/>
              <a:gd name="connsiteY4" fmla="*/ 325048 h 2386558"/>
              <a:gd name="connsiteX5" fmla="*/ 1297 w 3585641"/>
              <a:gd name="connsiteY5" fmla="*/ 1778065 h 2386558"/>
              <a:gd name="connsiteX6" fmla="*/ 0 w 3585641"/>
              <a:gd name="connsiteY6" fmla="*/ 2386558 h 2386558"/>
              <a:gd name="connsiteX7" fmla="*/ 2644418 w 3585641"/>
              <a:gd name="connsiteY7" fmla="*/ 2381865 h 2386558"/>
              <a:gd name="connsiteX0" fmla="*/ 2644418 w 3585641"/>
              <a:gd name="connsiteY0" fmla="*/ 2381865 h 2386558"/>
              <a:gd name="connsiteX1" fmla="*/ 3563518 w 3585641"/>
              <a:gd name="connsiteY1" fmla="*/ 1732935 h 2386558"/>
              <a:gd name="connsiteX2" fmla="*/ 3585641 w 3585641"/>
              <a:gd name="connsiteY2" fmla="*/ 0 h 2386558"/>
              <a:gd name="connsiteX3" fmla="*/ 2059183 w 3585641"/>
              <a:gd name="connsiteY3" fmla="*/ 22123 h 2386558"/>
              <a:gd name="connsiteX4" fmla="*/ 1701683 w 3585641"/>
              <a:gd name="connsiteY4" fmla="*/ 325048 h 2386558"/>
              <a:gd name="connsiteX5" fmla="*/ 1297 w 3585641"/>
              <a:gd name="connsiteY5" fmla="*/ 1778065 h 2386558"/>
              <a:gd name="connsiteX6" fmla="*/ 0 w 3585641"/>
              <a:gd name="connsiteY6" fmla="*/ 2386558 h 2386558"/>
              <a:gd name="connsiteX7" fmla="*/ 1828852 w 3585641"/>
              <a:gd name="connsiteY7" fmla="*/ 2383962 h 2386558"/>
              <a:gd name="connsiteX8" fmla="*/ 2644418 w 3585641"/>
              <a:gd name="connsiteY8" fmla="*/ 2381865 h 2386558"/>
              <a:gd name="connsiteX0" fmla="*/ 2644418 w 3585641"/>
              <a:gd name="connsiteY0" fmla="*/ 2381865 h 2386558"/>
              <a:gd name="connsiteX1" fmla="*/ 3563518 w 3585641"/>
              <a:gd name="connsiteY1" fmla="*/ 1732935 h 2386558"/>
              <a:gd name="connsiteX2" fmla="*/ 3585641 w 3585641"/>
              <a:gd name="connsiteY2" fmla="*/ 0 h 2386558"/>
              <a:gd name="connsiteX3" fmla="*/ 2059183 w 3585641"/>
              <a:gd name="connsiteY3" fmla="*/ 22123 h 2386558"/>
              <a:gd name="connsiteX4" fmla="*/ 1701683 w 3585641"/>
              <a:gd name="connsiteY4" fmla="*/ 325048 h 2386558"/>
              <a:gd name="connsiteX5" fmla="*/ 0 w 3585641"/>
              <a:gd name="connsiteY5" fmla="*/ 2386558 h 2386558"/>
              <a:gd name="connsiteX6" fmla="*/ 1828852 w 3585641"/>
              <a:gd name="connsiteY6" fmla="*/ 2383962 h 2386558"/>
              <a:gd name="connsiteX7" fmla="*/ 2644418 w 3585641"/>
              <a:gd name="connsiteY7" fmla="*/ 2381865 h 2386558"/>
              <a:gd name="connsiteX0" fmla="*/ 942735 w 1883958"/>
              <a:gd name="connsiteY0" fmla="*/ 2381865 h 2383962"/>
              <a:gd name="connsiteX1" fmla="*/ 1861835 w 1883958"/>
              <a:gd name="connsiteY1" fmla="*/ 1732935 h 2383962"/>
              <a:gd name="connsiteX2" fmla="*/ 1883958 w 1883958"/>
              <a:gd name="connsiteY2" fmla="*/ 0 h 2383962"/>
              <a:gd name="connsiteX3" fmla="*/ 357500 w 1883958"/>
              <a:gd name="connsiteY3" fmla="*/ 22123 h 2383962"/>
              <a:gd name="connsiteX4" fmla="*/ 0 w 1883958"/>
              <a:gd name="connsiteY4" fmla="*/ 325048 h 2383962"/>
              <a:gd name="connsiteX5" fmla="*/ 127169 w 1883958"/>
              <a:gd name="connsiteY5" fmla="*/ 2383962 h 2383962"/>
              <a:gd name="connsiteX6" fmla="*/ 942735 w 1883958"/>
              <a:gd name="connsiteY6" fmla="*/ 2381865 h 2383962"/>
              <a:gd name="connsiteX0" fmla="*/ 942735 w 1883958"/>
              <a:gd name="connsiteY0" fmla="*/ 2381865 h 2383962"/>
              <a:gd name="connsiteX1" fmla="*/ 1861835 w 1883958"/>
              <a:gd name="connsiteY1" fmla="*/ 1732935 h 2383962"/>
              <a:gd name="connsiteX2" fmla="*/ 1883958 w 1883958"/>
              <a:gd name="connsiteY2" fmla="*/ 0 h 2383962"/>
              <a:gd name="connsiteX3" fmla="*/ 357500 w 1883958"/>
              <a:gd name="connsiteY3" fmla="*/ 22123 h 2383962"/>
              <a:gd name="connsiteX4" fmla="*/ 0 w 1883958"/>
              <a:gd name="connsiteY4" fmla="*/ 325048 h 2383962"/>
              <a:gd name="connsiteX5" fmla="*/ 18168 w 1883958"/>
              <a:gd name="connsiteY5" fmla="*/ 2383962 h 2383962"/>
              <a:gd name="connsiteX6" fmla="*/ 942735 w 1883958"/>
              <a:gd name="connsiteY6" fmla="*/ 2381865 h 2383962"/>
              <a:gd name="connsiteX0" fmla="*/ 942735 w 1883958"/>
              <a:gd name="connsiteY0" fmla="*/ 2381865 h 2383962"/>
              <a:gd name="connsiteX1" fmla="*/ 1861835 w 1883958"/>
              <a:gd name="connsiteY1" fmla="*/ 1732935 h 2383962"/>
              <a:gd name="connsiteX2" fmla="*/ 1883958 w 1883958"/>
              <a:gd name="connsiteY2" fmla="*/ 0 h 2383962"/>
              <a:gd name="connsiteX3" fmla="*/ 357500 w 1883958"/>
              <a:gd name="connsiteY3" fmla="*/ 22123 h 2383962"/>
              <a:gd name="connsiteX4" fmla="*/ 0 w 1883958"/>
              <a:gd name="connsiteY4" fmla="*/ 367437 h 2383962"/>
              <a:gd name="connsiteX5" fmla="*/ 18168 w 1883958"/>
              <a:gd name="connsiteY5" fmla="*/ 2383962 h 2383962"/>
              <a:gd name="connsiteX6" fmla="*/ 942735 w 1883958"/>
              <a:gd name="connsiteY6" fmla="*/ 2381865 h 2383962"/>
              <a:gd name="connsiteX0" fmla="*/ 942735 w 1883958"/>
              <a:gd name="connsiteY0" fmla="*/ 2381865 h 2383962"/>
              <a:gd name="connsiteX1" fmla="*/ 1861835 w 1883958"/>
              <a:gd name="connsiteY1" fmla="*/ 1732935 h 2383962"/>
              <a:gd name="connsiteX2" fmla="*/ 1883958 w 1883958"/>
              <a:gd name="connsiteY2" fmla="*/ 0 h 2383962"/>
              <a:gd name="connsiteX3" fmla="*/ 357500 w 1883958"/>
              <a:gd name="connsiteY3" fmla="*/ 22123 h 2383962"/>
              <a:gd name="connsiteX4" fmla="*/ 0 w 1883958"/>
              <a:gd name="connsiteY4" fmla="*/ 367437 h 2383962"/>
              <a:gd name="connsiteX5" fmla="*/ 20680 w 1883958"/>
              <a:gd name="connsiteY5" fmla="*/ 2383962 h 2383962"/>
              <a:gd name="connsiteX6" fmla="*/ 942735 w 1883958"/>
              <a:gd name="connsiteY6" fmla="*/ 2381865 h 2383962"/>
              <a:gd name="connsiteX0" fmla="*/ 942735 w 1883958"/>
              <a:gd name="connsiteY0" fmla="*/ 2381865 h 2383962"/>
              <a:gd name="connsiteX1" fmla="*/ 1861835 w 1883958"/>
              <a:gd name="connsiteY1" fmla="*/ 1732935 h 2383962"/>
              <a:gd name="connsiteX2" fmla="*/ 1883958 w 1883958"/>
              <a:gd name="connsiteY2" fmla="*/ 0 h 2383962"/>
              <a:gd name="connsiteX3" fmla="*/ 357500 w 1883958"/>
              <a:gd name="connsiteY3" fmla="*/ 22123 h 2383962"/>
              <a:gd name="connsiteX4" fmla="*/ 0 w 1883958"/>
              <a:gd name="connsiteY4" fmla="*/ 367437 h 2383962"/>
              <a:gd name="connsiteX5" fmla="*/ 20680 w 1883958"/>
              <a:gd name="connsiteY5" fmla="*/ 2383962 h 2383962"/>
              <a:gd name="connsiteX6" fmla="*/ 942735 w 1883958"/>
              <a:gd name="connsiteY6" fmla="*/ 2381865 h 2383962"/>
              <a:gd name="connsiteX0" fmla="*/ 942735 w 1883958"/>
              <a:gd name="connsiteY0" fmla="*/ 2381865 h 2383962"/>
              <a:gd name="connsiteX1" fmla="*/ 1861835 w 1883958"/>
              <a:gd name="connsiteY1" fmla="*/ 1732935 h 2383962"/>
              <a:gd name="connsiteX2" fmla="*/ 1883958 w 1883958"/>
              <a:gd name="connsiteY2" fmla="*/ 0 h 2383962"/>
              <a:gd name="connsiteX3" fmla="*/ 357500 w 1883958"/>
              <a:gd name="connsiteY3" fmla="*/ 22123 h 2383962"/>
              <a:gd name="connsiteX4" fmla="*/ 0 w 1883958"/>
              <a:gd name="connsiteY4" fmla="*/ 367437 h 2383962"/>
              <a:gd name="connsiteX5" fmla="*/ 20680 w 1883958"/>
              <a:gd name="connsiteY5" fmla="*/ 2383962 h 2383962"/>
              <a:gd name="connsiteX6" fmla="*/ 942735 w 1883958"/>
              <a:gd name="connsiteY6" fmla="*/ 2381865 h 2383962"/>
              <a:gd name="connsiteX0" fmla="*/ 942735 w 1883958"/>
              <a:gd name="connsiteY0" fmla="*/ 2381865 h 2381865"/>
              <a:gd name="connsiteX1" fmla="*/ 1861835 w 1883958"/>
              <a:gd name="connsiteY1" fmla="*/ 1732935 h 2381865"/>
              <a:gd name="connsiteX2" fmla="*/ 1883958 w 1883958"/>
              <a:gd name="connsiteY2" fmla="*/ 0 h 2381865"/>
              <a:gd name="connsiteX3" fmla="*/ 357500 w 1883958"/>
              <a:gd name="connsiteY3" fmla="*/ 22123 h 2381865"/>
              <a:gd name="connsiteX4" fmla="*/ 0 w 1883958"/>
              <a:gd name="connsiteY4" fmla="*/ 367437 h 2381865"/>
              <a:gd name="connsiteX5" fmla="*/ 25704 w 1883958"/>
              <a:gd name="connsiteY5" fmla="*/ 2378938 h 2381865"/>
              <a:gd name="connsiteX6" fmla="*/ 942735 w 1883958"/>
              <a:gd name="connsiteY6" fmla="*/ 2381865 h 2381865"/>
              <a:gd name="connsiteX0" fmla="*/ 937711 w 1878934"/>
              <a:gd name="connsiteY0" fmla="*/ 2381865 h 2381865"/>
              <a:gd name="connsiteX1" fmla="*/ 1856811 w 1878934"/>
              <a:gd name="connsiteY1" fmla="*/ 1732935 h 2381865"/>
              <a:gd name="connsiteX2" fmla="*/ 1878934 w 1878934"/>
              <a:gd name="connsiteY2" fmla="*/ 0 h 2381865"/>
              <a:gd name="connsiteX3" fmla="*/ 352476 w 1878934"/>
              <a:gd name="connsiteY3" fmla="*/ 22123 h 2381865"/>
              <a:gd name="connsiteX4" fmla="*/ 0 w 1878934"/>
              <a:gd name="connsiteY4" fmla="*/ 367437 h 2381865"/>
              <a:gd name="connsiteX5" fmla="*/ 20680 w 1878934"/>
              <a:gd name="connsiteY5" fmla="*/ 2378938 h 2381865"/>
              <a:gd name="connsiteX6" fmla="*/ 937711 w 1878934"/>
              <a:gd name="connsiteY6" fmla="*/ 2381865 h 2381865"/>
              <a:gd name="connsiteX0" fmla="*/ 937711 w 1878934"/>
              <a:gd name="connsiteY0" fmla="*/ 2381865 h 2381865"/>
              <a:gd name="connsiteX1" fmla="*/ 1856811 w 1878934"/>
              <a:gd name="connsiteY1" fmla="*/ 1732935 h 2381865"/>
              <a:gd name="connsiteX2" fmla="*/ 1878934 w 1878934"/>
              <a:gd name="connsiteY2" fmla="*/ 0 h 2381865"/>
              <a:gd name="connsiteX3" fmla="*/ 352476 w 1878934"/>
              <a:gd name="connsiteY3" fmla="*/ 22123 h 2381865"/>
              <a:gd name="connsiteX4" fmla="*/ 0 w 1878934"/>
              <a:gd name="connsiteY4" fmla="*/ 367437 h 2381865"/>
              <a:gd name="connsiteX5" fmla="*/ 20680 w 1878934"/>
              <a:gd name="connsiteY5" fmla="*/ 2378938 h 2381865"/>
              <a:gd name="connsiteX6" fmla="*/ 937711 w 1878934"/>
              <a:gd name="connsiteY6" fmla="*/ 2381865 h 2381865"/>
              <a:gd name="connsiteX0" fmla="*/ 937711 w 1878934"/>
              <a:gd name="connsiteY0" fmla="*/ 2381865 h 2381865"/>
              <a:gd name="connsiteX1" fmla="*/ 1856811 w 1878934"/>
              <a:gd name="connsiteY1" fmla="*/ 1732935 h 2381865"/>
              <a:gd name="connsiteX2" fmla="*/ 1878934 w 1878934"/>
              <a:gd name="connsiteY2" fmla="*/ 0 h 2381865"/>
              <a:gd name="connsiteX3" fmla="*/ 352476 w 1878934"/>
              <a:gd name="connsiteY3" fmla="*/ 22123 h 2381865"/>
              <a:gd name="connsiteX4" fmla="*/ 0 w 1878934"/>
              <a:gd name="connsiteY4" fmla="*/ 367437 h 2381865"/>
              <a:gd name="connsiteX5" fmla="*/ 14855 w 1878934"/>
              <a:gd name="connsiteY5" fmla="*/ 2373113 h 2381865"/>
              <a:gd name="connsiteX6" fmla="*/ 937711 w 1878934"/>
              <a:gd name="connsiteY6" fmla="*/ 2381865 h 2381865"/>
              <a:gd name="connsiteX0" fmla="*/ 937711 w 1878934"/>
              <a:gd name="connsiteY0" fmla="*/ 2381865 h 2381865"/>
              <a:gd name="connsiteX1" fmla="*/ 1856811 w 1878934"/>
              <a:gd name="connsiteY1" fmla="*/ 1732935 h 2381865"/>
              <a:gd name="connsiteX2" fmla="*/ 1878934 w 1878934"/>
              <a:gd name="connsiteY2" fmla="*/ 0 h 2381865"/>
              <a:gd name="connsiteX3" fmla="*/ 352476 w 1878934"/>
              <a:gd name="connsiteY3" fmla="*/ 22123 h 2381865"/>
              <a:gd name="connsiteX4" fmla="*/ 0 w 1878934"/>
              <a:gd name="connsiteY4" fmla="*/ 367437 h 2381865"/>
              <a:gd name="connsiteX5" fmla="*/ 8354 w 1878934"/>
              <a:gd name="connsiteY5" fmla="*/ 2381780 h 2381865"/>
              <a:gd name="connsiteX6" fmla="*/ 937711 w 1878934"/>
              <a:gd name="connsiteY6" fmla="*/ 2381865 h 2381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8934" h="2381865">
                <a:moveTo>
                  <a:pt x="937711" y="2381865"/>
                </a:moveTo>
                <a:lnTo>
                  <a:pt x="1856811" y="1732935"/>
                </a:lnTo>
                <a:lnTo>
                  <a:pt x="1878934" y="0"/>
                </a:lnTo>
                <a:lnTo>
                  <a:pt x="352476" y="22123"/>
                </a:lnTo>
                <a:cubicBezTo>
                  <a:pt x="235328" y="123098"/>
                  <a:pt x="117148" y="266462"/>
                  <a:pt x="0" y="367437"/>
                </a:cubicBezTo>
                <a:cubicBezTo>
                  <a:pt x="2785" y="1038885"/>
                  <a:pt x="5569" y="1710332"/>
                  <a:pt x="8354" y="2381780"/>
                </a:cubicBezTo>
                <a:lnTo>
                  <a:pt x="937711" y="2381865"/>
                </a:lnTo>
                <a:close/>
              </a:path>
            </a:pathLst>
          </a:custGeom>
          <a:solidFill>
            <a:srgbClr val="00A1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2" name="Freeform 21"/>
          <p:cNvSpPr/>
          <p:nvPr/>
        </p:nvSpPr>
        <p:spPr>
          <a:xfrm>
            <a:off x="876080" y="2143128"/>
            <a:ext cx="3622655" cy="2378412"/>
          </a:xfrm>
          <a:custGeom>
            <a:avLst/>
            <a:gdLst>
              <a:gd name="connsiteX0" fmla="*/ 3288890 w 4240161"/>
              <a:gd name="connsiteY0" fmla="*/ 2381864 h 2381864"/>
              <a:gd name="connsiteX1" fmla="*/ 4218038 w 4240161"/>
              <a:gd name="connsiteY1" fmla="*/ 1732935 h 2381864"/>
              <a:gd name="connsiteX2" fmla="*/ 4240161 w 4240161"/>
              <a:gd name="connsiteY2" fmla="*/ 0 h 2381864"/>
              <a:gd name="connsiteX3" fmla="*/ 2713703 w 4240161"/>
              <a:gd name="connsiteY3" fmla="*/ 22123 h 2381864"/>
              <a:gd name="connsiteX4" fmla="*/ 0 w 4240161"/>
              <a:gd name="connsiteY4" fmla="*/ 2367116 h 2381864"/>
              <a:gd name="connsiteX5" fmla="*/ 3288890 w 4240161"/>
              <a:gd name="connsiteY5" fmla="*/ 2381864 h 2381864"/>
              <a:gd name="connsiteX0" fmla="*/ 3288890 w 4240161"/>
              <a:gd name="connsiteY0" fmla="*/ 2381864 h 2381864"/>
              <a:gd name="connsiteX1" fmla="*/ 4218038 w 4240161"/>
              <a:gd name="connsiteY1" fmla="*/ 1732935 h 2381864"/>
              <a:gd name="connsiteX2" fmla="*/ 4240161 w 4240161"/>
              <a:gd name="connsiteY2" fmla="*/ 0 h 2381864"/>
              <a:gd name="connsiteX3" fmla="*/ 2713703 w 4240161"/>
              <a:gd name="connsiteY3" fmla="*/ 22123 h 2381864"/>
              <a:gd name="connsiteX4" fmla="*/ 0 w 4240161"/>
              <a:gd name="connsiteY4" fmla="*/ 2367116 h 2381864"/>
              <a:gd name="connsiteX5" fmla="*/ 682153 w 4240161"/>
              <a:gd name="connsiteY5" fmla="*/ 2358924 h 2381864"/>
              <a:gd name="connsiteX6" fmla="*/ 3288890 w 4240161"/>
              <a:gd name="connsiteY6" fmla="*/ 2381864 h 2381864"/>
              <a:gd name="connsiteX0" fmla="*/ 3288890 w 4240161"/>
              <a:gd name="connsiteY0" fmla="*/ 2381864 h 2381864"/>
              <a:gd name="connsiteX1" fmla="*/ 4218038 w 4240161"/>
              <a:gd name="connsiteY1" fmla="*/ 1732935 h 2381864"/>
              <a:gd name="connsiteX2" fmla="*/ 4240161 w 4240161"/>
              <a:gd name="connsiteY2" fmla="*/ 0 h 2381864"/>
              <a:gd name="connsiteX3" fmla="*/ 2713703 w 4240161"/>
              <a:gd name="connsiteY3" fmla="*/ 22123 h 2381864"/>
              <a:gd name="connsiteX4" fmla="*/ 623160 w 4240161"/>
              <a:gd name="connsiteY4" fmla="*/ 1813234 h 2381864"/>
              <a:gd name="connsiteX5" fmla="*/ 0 w 4240161"/>
              <a:gd name="connsiteY5" fmla="*/ 2367116 h 2381864"/>
              <a:gd name="connsiteX6" fmla="*/ 682153 w 4240161"/>
              <a:gd name="connsiteY6" fmla="*/ 2358924 h 2381864"/>
              <a:gd name="connsiteX7" fmla="*/ 3288890 w 4240161"/>
              <a:gd name="connsiteY7" fmla="*/ 2381864 h 2381864"/>
              <a:gd name="connsiteX0" fmla="*/ 2665730 w 3617001"/>
              <a:gd name="connsiteY0" fmla="*/ 2381864 h 2381864"/>
              <a:gd name="connsiteX1" fmla="*/ 3594878 w 3617001"/>
              <a:gd name="connsiteY1" fmla="*/ 1732935 h 2381864"/>
              <a:gd name="connsiteX2" fmla="*/ 3617001 w 3617001"/>
              <a:gd name="connsiteY2" fmla="*/ 0 h 2381864"/>
              <a:gd name="connsiteX3" fmla="*/ 2090543 w 3617001"/>
              <a:gd name="connsiteY3" fmla="*/ 22123 h 2381864"/>
              <a:gd name="connsiteX4" fmla="*/ 0 w 3617001"/>
              <a:gd name="connsiteY4" fmla="*/ 1813234 h 2381864"/>
              <a:gd name="connsiteX5" fmla="*/ 58993 w 3617001"/>
              <a:gd name="connsiteY5" fmla="*/ 2358924 h 2381864"/>
              <a:gd name="connsiteX6" fmla="*/ 2665730 w 3617001"/>
              <a:gd name="connsiteY6" fmla="*/ 2381864 h 2381864"/>
              <a:gd name="connsiteX0" fmla="*/ 2633073 w 3584344"/>
              <a:gd name="connsiteY0" fmla="*/ 2381864 h 2381864"/>
              <a:gd name="connsiteX1" fmla="*/ 3562221 w 3584344"/>
              <a:gd name="connsiteY1" fmla="*/ 1732935 h 2381864"/>
              <a:gd name="connsiteX2" fmla="*/ 3584344 w 3584344"/>
              <a:gd name="connsiteY2" fmla="*/ 0 h 2381864"/>
              <a:gd name="connsiteX3" fmla="*/ 2057886 w 3584344"/>
              <a:gd name="connsiteY3" fmla="*/ 22123 h 2381864"/>
              <a:gd name="connsiteX4" fmla="*/ 0 w 3584344"/>
              <a:gd name="connsiteY4" fmla="*/ 1778065 h 2381864"/>
              <a:gd name="connsiteX5" fmla="*/ 26336 w 3584344"/>
              <a:gd name="connsiteY5" fmla="*/ 2358924 h 2381864"/>
              <a:gd name="connsiteX6" fmla="*/ 2633073 w 3584344"/>
              <a:gd name="connsiteY6" fmla="*/ 2381864 h 2381864"/>
              <a:gd name="connsiteX0" fmla="*/ 2634370 w 3585641"/>
              <a:gd name="connsiteY0" fmla="*/ 2381864 h 2381864"/>
              <a:gd name="connsiteX1" fmla="*/ 3563518 w 3585641"/>
              <a:gd name="connsiteY1" fmla="*/ 1732935 h 2381864"/>
              <a:gd name="connsiteX2" fmla="*/ 3585641 w 3585641"/>
              <a:gd name="connsiteY2" fmla="*/ 0 h 2381864"/>
              <a:gd name="connsiteX3" fmla="*/ 2059183 w 3585641"/>
              <a:gd name="connsiteY3" fmla="*/ 22123 h 2381864"/>
              <a:gd name="connsiteX4" fmla="*/ 1297 w 3585641"/>
              <a:gd name="connsiteY4" fmla="*/ 1778065 h 2381864"/>
              <a:gd name="connsiteX5" fmla="*/ 0 w 3585641"/>
              <a:gd name="connsiteY5" fmla="*/ 2371485 h 2381864"/>
              <a:gd name="connsiteX6" fmla="*/ 2634370 w 3585641"/>
              <a:gd name="connsiteY6" fmla="*/ 2381864 h 2381864"/>
              <a:gd name="connsiteX0" fmla="*/ 2629345 w 3585641"/>
              <a:gd name="connsiteY0" fmla="*/ 2319062 h 2371485"/>
              <a:gd name="connsiteX1" fmla="*/ 3563518 w 3585641"/>
              <a:gd name="connsiteY1" fmla="*/ 1732935 h 2371485"/>
              <a:gd name="connsiteX2" fmla="*/ 3585641 w 3585641"/>
              <a:gd name="connsiteY2" fmla="*/ 0 h 2371485"/>
              <a:gd name="connsiteX3" fmla="*/ 2059183 w 3585641"/>
              <a:gd name="connsiteY3" fmla="*/ 22123 h 2371485"/>
              <a:gd name="connsiteX4" fmla="*/ 1297 w 3585641"/>
              <a:gd name="connsiteY4" fmla="*/ 1778065 h 2371485"/>
              <a:gd name="connsiteX5" fmla="*/ 0 w 3585641"/>
              <a:gd name="connsiteY5" fmla="*/ 2371485 h 2371485"/>
              <a:gd name="connsiteX6" fmla="*/ 2629345 w 3585641"/>
              <a:gd name="connsiteY6" fmla="*/ 2319062 h 2371485"/>
              <a:gd name="connsiteX0" fmla="*/ 2677075 w 3585641"/>
              <a:gd name="connsiteY0" fmla="*/ 2359256 h 2371485"/>
              <a:gd name="connsiteX1" fmla="*/ 3563518 w 3585641"/>
              <a:gd name="connsiteY1" fmla="*/ 1732935 h 2371485"/>
              <a:gd name="connsiteX2" fmla="*/ 3585641 w 3585641"/>
              <a:gd name="connsiteY2" fmla="*/ 0 h 2371485"/>
              <a:gd name="connsiteX3" fmla="*/ 2059183 w 3585641"/>
              <a:gd name="connsiteY3" fmla="*/ 22123 h 2371485"/>
              <a:gd name="connsiteX4" fmla="*/ 1297 w 3585641"/>
              <a:gd name="connsiteY4" fmla="*/ 1778065 h 2371485"/>
              <a:gd name="connsiteX5" fmla="*/ 0 w 3585641"/>
              <a:gd name="connsiteY5" fmla="*/ 2371485 h 2371485"/>
              <a:gd name="connsiteX6" fmla="*/ 2677075 w 3585641"/>
              <a:gd name="connsiteY6" fmla="*/ 2359256 h 2371485"/>
              <a:gd name="connsiteX0" fmla="*/ 2644418 w 3585641"/>
              <a:gd name="connsiteY0" fmla="*/ 2381865 h 2381865"/>
              <a:gd name="connsiteX1" fmla="*/ 3563518 w 3585641"/>
              <a:gd name="connsiteY1" fmla="*/ 1732935 h 2381865"/>
              <a:gd name="connsiteX2" fmla="*/ 3585641 w 3585641"/>
              <a:gd name="connsiteY2" fmla="*/ 0 h 2381865"/>
              <a:gd name="connsiteX3" fmla="*/ 2059183 w 3585641"/>
              <a:gd name="connsiteY3" fmla="*/ 22123 h 2381865"/>
              <a:gd name="connsiteX4" fmla="*/ 1297 w 3585641"/>
              <a:gd name="connsiteY4" fmla="*/ 1778065 h 2381865"/>
              <a:gd name="connsiteX5" fmla="*/ 0 w 3585641"/>
              <a:gd name="connsiteY5" fmla="*/ 2371485 h 2381865"/>
              <a:gd name="connsiteX6" fmla="*/ 2644418 w 3585641"/>
              <a:gd name="connsiteY6" fmla="*/ 2381865 h 2381865"/>
              <a:gd name="connsiteX0" fmla="*/ 2644418 w 3585641"/>
              <a:gd name="connsiteY0" fmla="*/ 2381865 h 2386558"/>
              <a:gd name="connsiteX1" fmla="*/ 3563518 w 3585641"/>
              <a:gd name="connsiteY1" fmla="*/ 1732935 h 2386558"/>
              <a:gd name="connsiteX2" fmla="*/ 3585641 w 3585641"/>
              <a:gd name="connsiteY2" fmla="*/ 0 h 2386558"/>
              <a:gd name="connsiteX3" fmla="*/ 2059183 w 3585641"/>
              <a:gd name="connsiteY3" fmla="*/ 22123 h 2386558"/>
              <a:gd name="connsiteX4" fmla="*/ 1297 w 3585641"/>
              <a:gd name="connsiteY4" fmla="*/ 1778065 h 2386558"/>
              <a:gd name="connsiteX5" fmla="*/ 0 w 3585641"/>
              <a:gd name="connsiteY5" fmla="*/ 2386558 h 2386558"/>
              <a:gd name="connsiteX6" fmla="*/ 2644418 w 3585641"/>
              <a:gd name="connsiteY6" fmla="*/ 2381865 h 2386558"/>
              <a:gd name="connsiteX0" fmla="*/ 2695454 w 3636677"/>
              <a:gd name="connsiteY0" fmla="*/ 2381865 h 2390811"/>
              <a:gd name="connsiteX1" fmla="*/ 3614554 w 3636677"/>
              <a:gd name="connsiteY1" fmla="*/ 1732935 h 2390811"/>
              <a:gd name="connsiteX2" fmla="*/ 3636677 w 3636677"/>
              <a:gd name="connsiteY2" fmla="*/ 0 h 2390811"/>
              <a:gd name="connsiteX3" fmla="*/ 2110219 w 3636677"/>
              <a:gd name="connsiteY3" fmla="*/ 22123 h 2390811"/>
              <a:gd name="connsiteX4" fmla="*/ 52333 w 3636677"/>
              <a:gd name="connsiteY4" fmla="*/ 1778065 h 2390811"/>
              <a:gd name="connsiteX5" fmla="*/ 0 w 3636677"/>
              <a:gd name="connsiteY5" fmla="*/ 2390811 h 2390811"/>
              <a:gd name="connsiteX6" fmla="*/ 2695454 w 3636677"/>
              <a:gd name="connsiteY6" fmla="*/ 2381865 h 2390811"/>
              <a:gd name="connsiteX0" fmla="*/ 2695454 w 3636677"/>
              <a:gd name="connsiteY0" fmla="*/ 2381865 h 2390811"/>
              <a:gd name="connsiteX1" fmla="*/ 3614554 w 3636677"/>
              <a:gd name="connsiteY1" fmla="*/ 1732935 h 2390811"/>
              <a:gd name="connsiteX2" fmla="*/ 3636677 w 3636677"/>
              <a:gd name="connsiteY2" fmla="*/ 0 h 2390811"/>
              <a:gd name="connsiteX3" fmla="*/ 2110219 w 3636677"/>
              <a:gd name="connsiteY3" fmla="*/ 22123 h 2390811"/>
              <a:gd name="connsiteX4" fmla="*/ 14056 w 3636677"/>
              <a:gd name="connsiteY4" fmla="*/ 1790824 h 2390811"/>
              <a:gd name="connsiteX5" fmla="*/ 0 w 3636677"/>
              <a:gd name="connsiteY5" fmla="*/ 2390811 h 2390811"/>
              <a:gd name="connsiteX6" fmla="*/ 2695454 w 3636677"/>
              <a:gd name="connsiteY6" fmla="*/ 2381865 h 2390811"/>
              <a:gd name="connsiteX0" fmla="*/ 2682695 w 3623918"/>
              <a:gd name="connsiteY0" fmla="*/ 2381865 h 2382305"/>
              <a:gd name="connsiteX1" fmla="*/ 3601795 w 3623918"/>
              <a:gd name="connsiteY1" fmla="*/ 1732935 h 2382305"/>
              <a:gd name="connsiteX2" fmla="*/ 3623918 w 3623918"/>
              <a:gd name="connsiteY2" fmla="*/ 0 h 2382305"/>
              <a:gd name="connsiteX3" fmla="*/ 2097460 w 3623918"/>
              <a:gd name="connsiteY3" fmla="*/ 22123 h 2382305"/>
              <a:gd name="connsiteX4" fmla="*/ 1297 w 3623918"/>
              <a:gd name="connsiteY4" fmla="*/ 1790824 h 2382305"/>
              <a:gd name="connsiteX5" fmla="*/ 0 w 3623918"/>
              <a:gd name="connsiteY5" fmla="*/ 2382305 h 2382305"/>
              <a:gd name="connsiteX6" fmla="*/ 2682695 w 3623918"/>
              <a:gd name="connsiteY6" fmla="*/ 2381865 h 2382305"/>
              <a:gd name="connsiteX0" fmla="*/ 2682695 w 3623918"/>
              <a:gd name="connsiteY0" fmla="*/ 2381865 h 2381865"/>
              <a:gd name="connsiteX1" fmla="*/ 3601795 w 3623918"/>
              <a:gd name="connsiteY1" fmla="*/ 1732935 h 2381865"/>
              <a:gd name="connsiteX2" fmla="*/ 3623918 w 3623918"/>
              <a:gd name="connsiteY2" fmla="*/ 0 h 2381865"/>
              <a:gd name="connsiteX3" fmla="*/ 2097460 w 3623918"/>
              <a:gd name="connsiteY3" fmla="*/ 22123 h 2381865"/>
              <a:gd name="connsiteX4" fmla="*/ 1297 w 3623918"/>
              <a:gd name="connsiteY4" fmla="*/ 1790824 h 2381865"/>
              <a:gd name="connsiteX5" fmla="*/ 0 w 3623918"/>
              <a:gd name="connsiteY5" fmla="*/ 2369745 h 2381865"/>
              <a:gd name="connsiteX6" fmla="*/ 2682695 w 3623918"/>
              <a:gd name="connsiteY6" fmla="*/ 2381865 h 2381865"/>
              <a:gd name="connsiteX0" fmla="*/ 2682695 w 3623918"/>
              <a:gd name="connsiteY0" fmla="*/ 2366793 h 2369745"/>
              <a:gd name="connsiteX1" fmla="*/ 3601795 w 3623918"/>
              <a:gd name="connsiteY1" fmla="*/ 1732935 h 2369745"/>
              <a:gd name="connsiteX2" fmla="*/ 3623918 w 3623918"/>
              <a:gd name="connsiteY2" fmla="*/ 0 h 2369745"/>
              <a:gd name="connsiteX3" fmla="*/ 2097460 w 3623918"/>
              <a:gd name="connsiteY3" fmla="*/ 22123 h 2369745"/>
              <a:gd name="connsiteX4" fmla="*/ 1297 w 3623918"/>
              <a:gd name="connsiteY4" fmla="*/ 1790824 h 2369745"/>
              <a:gd name="connsiteX5" fmla="*/ 0 w 3623918"/>
              <a:gd name="connsiteY5" fmla="*/ 2369745 h 2369745"/>
              <a:gd name="connsiteX6" fmla="*/ 2682695 w 3623918"/>
              <a:gd name="connsiteY6" fmla="*/ 2366793 h 2369745"/>
              <a:gd name="connsiteX0" fmla="*/ 2682695 w 3623918"/>
              <a:gd name="connsiteY0" fmla="*/ 2374329 h 2374329"/>
              <a:gd name="connsiteX1" fmla="*/ 3601795 w 3623918"/>
              <a:gd name="connsiteY1" fmla="*/ 1732935 h 2374329"/>
              <a:gd name="connsiteX2" fmla="*/ 3623918 w 3623918"/>
              <a:gd name="connsiteY2" fmla="*/ 0 h 2374329"/>
              <a:gd name="connsiteX3" fmla="*/ 2097460 w 3623918"/>
              <a:gd name="connsiteY3" fmla="*/ 22123 h 2374329"/>
              <a:gd name="connsiteX4" fmla="*/ 1297 w 3623918"/>
              <a:gd name="connsiteY4" fmla="*/ 1790824 h 2374329"/>
              <a:gd name="connsiteX5" fmla="*/ 0 w 3623918"/>
              <a:gd name="connsiteY5" fmla="*/ 2369745 h 2374329"/>
              <a:gd name="connsiteX6" fmla="*/ 2682695 w 3623918"/>
              <a:gd name="connsiteY6" fmla="*/ 2374329 h 2374329"/>
              <a:gd name="connsiteX0" fmla="*/ 2681432 w 3622655"/>
              <a:gd name="connsiteY0" fmla="*/ 2374329 h 2378412"/>
              <a:gd name="connsiteX1" fmla="*/ 3600532 w 3622655"/>
              <a:gd name="connsiteY1" fmla="*/ 1732935 h 2378412"/>
              <a:gd name="connsiteX2" fmla="*/ 3622655 w 3622655"/>
              <a:gd name="connsiteY2" fmla="*/ 0 h 2378412"/>
              <a:gd name="connsiteX3" fmla="*/ 2096197 w 3622655"/>
              <a:gd name="connsiteY3" fmla="*/ 22123 h 2378412"/>
              <a:gd name="connsiteX4" fmla="*/ 34 w 3622655"/>
              <a:gd name="connsiteY4" fmla="*/ 1790824 h 2378412"/>
              <a:gd name="connsiteX5" fmla="*/ 3070 w 3622655"/>
              <a:gd name="connsiteY5" fmla="*/ 2378412 h 2378412"/>
              <a:gd name="connsiteX6" fmla="*/ 2681432 w 3622655"/>
              <a:gd name="connsiteY6" fmla="*/ 2374329 h 237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22655" h="2378412">
                <a:moveTo>
                  <a:pt x="2681432" y="2374329"/>
                </a:moveTo>
                <a:lnTo>
                  <a:pt x="3600532" y="1732935"/>
                </a:lnTo>
                <a:lnTo>
                  <a:pt x="3622655" y="0"/>
                </a:lnTo>
                <a:lnTo>
                  <a:pt x="2096197" y="22123"/>
                </a:lnTo>
                <a:lnTo>
                  <a:pt x="34" y="1790824"/>
                </a:lnTo>
                <a:cubicBezTo>
                  <a:pt x="-398" y="1988631"/>
                  <a:pt x="3502" y="2180605"/>
                  <a:pt x="3070" y="2378412"/>
                </a:cubicBezTo>
                <a:lnTo>
                  <a:pt x="2681432" y="2374329"/>
                </a:lnTo>
                <a:close/>
              </a:path>
            </a:pathLst>
          </a:custGeom>
          <a:solidFill>
            <a:srgbClr val="00A1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0" name="Freeform 19"/>
          <p:cNvSpPr/>
          <p:nvPr/>
        </p:nvSpPr>
        <p:spPr>
          <a:xfrm>
            <a:off x="3740904" y="2150291"/>
            <a:ext cx="4252722" cy="2388019"/>
          </a:xfrm>
          <a:custGeom>
            <a:avLst/>
            <a:gdLst>
              <a:gd name="connsiteX0" fmla="*/ 3288890 w 4240161"/>
              <a:gd name="connsiteY0" fmla="*/ 2381864 h 2381864"/>
              <a:gd name="connsiteX1" fmla="*/ 4218038 w 4240161"/>
              <a:gd name="connsiteY1" fmla="*/ 1732935 h 2381864"/>
              <a:gd name="connsiteX2" fmla="*/ 4240161 w 4240161"/>
              <a:gd name="connsiteY2" fmla="*/ 0 h 2381864"/>
              <a:gd name="connsiteX3" fmla="*/ 2713703 w 4240161"/>
              <a:gd name="connsiteY3" fmla="*/ 22123 h 2381864"/>
              <a:gd name="connsiteX4" fmla="*/ 0 w 4240161"/>
              <a:gd name="connsiteY4" fmla="*/ 2367116 h 2381864"/>
              <a:gd name="connsiteX5" fmla="*/ 3288890 w 4240161"/>
              <a:gd name="connsiteY5" fmla="*/ 2381864 h 2381864"/>
              <a:gd name="connsiteX0" fmla="*/ 3288890 w 4240161"/>
              <a:gd name="connsiteY0" fmla="*/ 2381864 h 2381864"/>
              <a:gd name="connsiteX1" fmla="*/ 4218038 w 4240161"/>
              <a:gd name="connsiteY1" fmla="*/ 1732935 h 2381864"/>
              <a:gd name="connsiteX2" fmla="*/ 4240161 w 4240161"/>
              <a:gd name="connsiteY2" fmla="*/ 0 h 2381864"/>
              <a:gd name="connsiteX3" fmla="*/ 2713703 w 4240161"/>
              <a:gd name="connsiteY3" fmla="*/ 22123 h 2381864"/>
              <a:gd name="connsiteX4" fmla="*/ 0 w 4240161"/>
              <a:gd name="connsiteY4" fmla="*/ 2374652 h 2381864"/>
              <a:gd name="connsiteX5" fmla="*/ 3288890 w 4240161"/>
              <a:gd name="connsiteY5" fmla="*/ 2381864 h 2381864"/>
              <a:gd name="connsiteX0" fmla="*/ 3296426 w 4240161"/>
              <a:gd name="connsiteY0" fmla="*/ 2341671 h 2374652"/>
              <a:gd name="connsiteX1" fmla="*/ 4218038 w 4240161"/>
              <a:gd name="connsiteY1" fmla="*/ 1732935 h 2374652"/>
              <a:gd name="connsiteX2" fmla="*/ 4240161 w 4240161"/>
              <a:gd name="connsiteY2" fmla="*/ 0 h 2374652"/>
              <a:gd name="connsiteX3" fmla="*/ 2713703 w 4240161"/>
              <a:gd name="connsiteY3" fmla="*/ 22123 h 2374652"/>
              <a:gd name="connsiteX4" fmla="*/ 0 w 4240161"/>
              <a:gd name="connsiteY4" fmla="*/ 2374652 h 2374652"/>
              <a:gd name="connsiteX5" fmla="*/ 3296426 w 4240161"/>
              <a:gd name="connsiteY5" fmla="*/ 2341671 h 2374652"/>
              <a:gd name="connsiteX0" fmla="*/ 3296426 w 4240161"/>
              <a:gd name="connsiteY0" fmla="*/ 2379352 h 2379352"/>
              <a:gd name="connsiteX1" fmla="*/ 4218038 w 4240161"/>
              <a:gd name="connsiteY1" fmla="*/ 1732935 h 2379352"/>
              <a:gd name="connsiteX2" fmla="*/ 4240161 w 4240161"/>
              <a:gd name="connsiteY2" fmla="*/ 0 h 2379352"/>
              <a:gd name="connsiteX3" fmla="*/ 2713703 w 4240161"/>
              <a:gd name="connsiteY3" fmla="*/ 22123 h 2379352"/>
              <a:gd name="connsiteX4" fmla="*/ 0 w 4240161"/>
              <a:gd name="connsiteY4" fmla="*/ 2374652 h 2379352"/>
              <a:gd name="connsiteX5" fmla="*/ 3296426 w 4240161"/>
              <a:gd name="connsiteY5" fmla="*/ 2379352 h 2379352"/>
              <a:gd name="connsiteX0" fmla="*/ 3296426 w 4240161"/>
              <a:gd name="connsiteY0" fmla="*/ 2379352 h 2379352"/>
              <a:gd name="connsiteX1" fmla="*/ 4218038 w 4240161"/>
              <a:gd name="connsiteY1" fmla="*/ 1732935 h 2379352"/>
              <a:gd name="connsiteX2" fmla="*/ 4240161 w 4240161"/>
              <a:gd name="connsiteY2" fmla="*/ 0 h 2379352"/>
              <a:gd name="connsiteX3" fmla="*/ 2713703 w 4240161"/>
              <a:gd name="connsiteY3" fmla="*/ 22123 h 2379352"/>
              <a:gd name="connsiteX4" fmla="*/ 0 w 4240161"/>
              <a:gd name="connsiteY4" fmla="*/ 2367116 h 2379352"/>
              <a:gd name="connsiteX5" fmla="*/ 3296426 w 4240161"/>
              <a:gd name="connsiteY5" fmla="*/ 2379352 h 2379352"/>
              <a:gd name="connsiteX0" fmla="*/ 3311499 w 4255234"/>
              <a:gd name="connsiteY0" fmla="*/ 2379352 h 2387212"/>
              <a:gd name="connsiteX1" fmla="*/ 4233111 w 4255234"/>
              <a:gd name="connsiteY1" fmla="*/ 1732935 h 2387212"/>
              <a:gd name="connsiteX2" fmla="*/ 4255234 w 4255234"/>
              <a:gd name="connsiteY2" fmla="*/ 0 h 2387212"/>
              <a:gd name="connsiteX3" fmla="*/ 2728776 w 4255234"/>
              <a:gd name="connsiteY3" fmla="*/ 22123 h 2387212"/>
              <a:gd name="connsiteX4" fmla="*/ 0 w 4255234"/>
              <a:gd name="connsiteY4" fmla="*/ 2387212 h 2387212"/>
              <a:gd name="connsiteX5" fmla="*/ 3311499 w 4255234"/>
              <a:gd name="connsiteY5" fmla="*/ 2379352 h 2387212"/>
              <a:gd name="connsiteX0" fmla="*/ 3308987 w 4252722"/>
              <a:gd name="connsiteY0" fmla="*/ 2379352 h 2379352"/>
              <a:gd name="connsiteX1" fmla="*/ 4230599 w 4252722"/>
              <a:gd name="connsiteY1" fmla="*/ 1732935 h 2379352"/>
              <a:gd name="connsiteX2" fmla="*/ 4252722 w 4252722"/>
              <a:gd name="connsiteY2" fmla="*/ 0 h 2379352"/>
              <a:gd name="connsiteX3" fmla="*/ 2726264 w 4252722"/>
              <a:gd name="connsiteY3" fmla="*/ 22123 h 2379352"/>
              <a:gd name="connsiteX4" fmla="*/ 0 w 4252722"/>
              <a:gd name="connsiteY4" fmla="*/ 2369627 h 2379352"/>
              <a:gd name="connsiteX5" fmla="*/ 3308987 w 4252722"/>
              <a:gd name="connsiteY5" fmla="*/ 2379352 h 2379352"/>
              <a:gd name="connsiteX0" fmla="*/ 3308987 w 4252722"/>
              <a:gd name="connsiteY0" fmla="*/ 2379352 h 2379352"/>
              <a:gd name="connsiteX1" fmla="*/ 4230599 w 4252722"/>
              <a:gd name="connsiteY1" fmla="*/ 1732935 h 2379352"/>
              <a:gd name="connsiteX2" fmla="*/ 4252722 w 4252722"/>
              <a:gd name="connsiteY2" fmla="*/ 0 h 2379352"/>
              <a:gd name="connsiteX3" fmla="*/ 2726264 w 4252722"/>
              <a:gd name="connsiteY3" fmla="*/ 22123 h 2379352"/>
              <a:gd name="connsiteX4" fmla="*/ 0 w 4252722"/>
              <a:gd name="connsiteY4" fmla="*/ 2372139 h 2379352"/>
              <a:gd name="connsiteX5" fmla="*/ 3308987 w 4252722"/>
              <a:gd name="connsiteY5" fmla="*/ 2379352 h 2379352"/>
              <a:gd name="connsiteX0" fmla="*/ 3289485 w 4252722"/>
              <a:gd name="connsiteY0" fmla="*/ 2383686 h 2383686"/>
              <a:gd name="connsiteX1" fmla="*/ 4230599 w 4252722"/>
              <a:gd name="connsiteY1" fmla="*/ 1732935 h 2383686"/>
              <a:gd name="connsiteX2" fmla="*/ 4252722 w 4252722"/>
              <a:gd name="connsiteY2" fmla="*/ 0 h 2383686"/>
              <a:gd name="connsiteX3" fmla="*/ 2726264 w 4252722"/>
              <a:gd name="connsiteY3" fmla="*/ 22123 h 2383686"/>
              <a:gd name="connsiteX4" fmla="*/ 0 w 4252722"/>
              <a:gd name="connsiteY4" fmla="*/ 2372139 h 2383686"/>
              <a:gd name="connsiteX5" fmla="*/ 3289485 w 4252722"/>
              <a:gd name="connsiteY5" fmla="*/ 2383686 h 2383686"/>
              <a:gd name="connsiteX0" fmla="*/ 3289485 w 4252722"/>
              <a:gd name="connsiteY0" fmla="*/ 2383686 h 2383686"/>
              <a:gd name="connsiteX1" fmla="*/ 4230599 w 4252722"/>
              <a:gd name="connsiteY1" fmla="*/ 1732935 h 2383686"/>
              <a:gd name="connsiteX2" fmla="*/ 4252722 w 4252722"/>
              <a:gd name="connsiteY2" fmla="*/ 0 h 2383686"/>
              <a:gd name="connsiteX3" fmla="*/ 2726264 w 4252722"/>
              <a:gd name="connsiteY3" fmla="*/ 22123 h 2383686"/>
              <a:gd name="connsiteX4" fmla="*/ 0 w 4252722"/>
              <a:gd name="connsiteY4" fmla="*/ 2367805 h 2383686"/>
              <a:gd name="connsiteX5" fmla="*/ 3289485 w 4252722"/>
              <a:gd name="connsiteY5" fmla="*/ 2383686 h 2383686"/>
              <a:gd name="connsiteX0" fmla="*/ 3289485 w 4252722"/>
              <a:gd name="connsiteY0" fmla="*/ 2383686 h 2383686"/>
              <a:gd name="connsiteX1" fmla="*/ 4230599 w 4252722"/>
              <a:gd name="connsiteY1" fmla="*/ 1732935 h 2383686"/>
              <a:gd name="connsiteX2" fmla="*/ 4252722 w 4252722"/>
              <a:gd name="connsiteY2" fmla="*/ 0 h 2383686"/>
              <a:gd name="connsiteX3" fmla="*/ 2726264 w 4252722"/>
              <a:gd name="connsiteY3" fmla="*/ 22123 h 2383686"/>
              <a:gd name="connsiteX4" fmla="*/ 0 w 4252722"/>
              <a:gd name="connsiteY4" fmla="*/ 2374305 h 2383686"/>
              <a:gd name="connsiteX5" fmla="*/ 3289485 w 4252722"/>
              <a:gd name="connsiteY5" fmla="*/ 2383686 h 2383686"/>
              <a:gd name="connsiteX0" fmla="*/ 3289485 w 4252722"/>
              <a:gd name="connsiteY0" fmla="*/ 2383686 h 2383686"/>
              <a:gd name="connsiteX1" fmla="*/ 4230599 w 4252722"/>
              <a:gd name="connsiteY1" fmla="*/ 1732935 h 2383686"/>
              <a:gd name="connsiteX2" fmla="*/ 4252722 w 4252722"/>
              <a:gd name="connsiteY2" fmla="*/ 0 h 2383686"/>
              <a:gd name="connsiteX3" fmla="*/ 2726264 w 4252722"/>
              <a:gd name="connsiteY3" fmla="*/ 22123 h 2383686"/>
              <a:gd name="connsiteX4" fmla="*/ 0 w 4252722"/>
              <a:gd name="connsiteY4" fmla="*/ 2374305 h 2383686"/>
              <a:gd name="connsiteX5" fmla="*/ 3289485 w 4252722"/>
              <a:gd name="connsiteY5" fmla="*/ 2383686 h 2383686"/>
              <a:gd name="connsiteX0" fmla="*/ 3285152 w 4252722"/>
              <a:gd name="connsiteY0" fmla="*/ 2390186 h 2390186"/>
              <a:gd name="connsiteX1" fmla="*/ 4230599 w 4252722"/>
              <a:gd name="connsiteY1" fmla="*/ 1732935 h 2390186"/>
              <a:gd name="connsiteX2" fmla="*/ 4252722 w 4252722"/>
              <a:gd name="connsiteY2" fmla="*/ 0 h 2390186"/>
              <a:gd name="connsiteX3" fmla="*/ 2726264 w 4252722"/>
              <a:gd name="connsiteY3" fmla="*/ 22123 h 2390186"/>
              <a:gd name="connsiteX4" fmla="*/ 0 w 4252722"/>
              <a:gd name="connsiteY4" fmla="*/ 2374305 h 2390186"/>
              <a:gd name="connsiteX5" fmla="*/ 3285152 w 4252722"/>
              <a:gd name="connsiteY5" fmla="*/ 2390186 h 2390186"/>
              <a:gd name="connsiteX0" fmla="*/ 3282985 w 4252722"/>
              <a:gd name="connsiteY0" fmla="*/ 2388019 h 2388019"/>
              <a:gd name="connsiteX1" fmla="*/ 4230599 w 4252722"/>
              <a:gd name="connsiteY1" fmla="*/ 1732935 h 2388019"/>
              <a:gd name="connsiteX2" fmla="*/ 4252722 w 4252722"/>
              <a:gd name="connsiteY2" fmla="*/ 0 h 2388019"/>
              <a:gd name="connsiteX3" fmla="*/ 2726264 w 4252722"/>
              <a:gd name="connsiteY3" fmla="*/ 22123 h 2388019"/>
              <a:gd name="connsiteX4" fmla="*/ 0 w 4252722"/>
              <a:gd name="connsiteY4" fmla="*/ 2374305 h 2388019"/>
              <a:gd name="connsiteX5" fmla="*/ 3282985 w 4252722"/>
              <a:gd name="connsiteY5" fmla="*/ 2388019 h 2388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2722" h="2388019">
                <a:moveTo>
                  <a:pt x="3282985" y="2388019"/>
                </a:moveTo>
                <a:lnTo>
                  <a:pt x="4230599" y="1732935"/>
                </a:lnTo>
                <a:lnTo>
                  <a:pt x="4252722" y="0"/>
                </a:lnTo>
                <a:lnTo>
                  <a:pt x="2726264" y="22123"/>
                </a:lnTo>
                <a:lnTo>
                  <a:pt x="0" y="2374305"/>
                </a:lnTo>
                <a:lnTo>
                  <a:pt x="3282985" y="2388019"/>
                </a:lnTo>
                <a:close/>
              </a:path>
            </a:pathLst>
          </a:custGeom>
          <a:solidFill>
            <a:srgbClr val="00A1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1" name="Freeform 20"/>
          <p:cNvSpPr/>
          <p:nvPr/>
        </p:nvSpPr>
        <p:spPr>
          <a:xfrm>
            <a:off x="1996580" y="2143036"/>
            <a:ext cx="4240161" cy="2381864"/>
          </a:xfrm>
          <a:custGeom>
            <a:avLst/>
            <a:gdLst>
              <a:gd name="connsiteX0" fmla="*/ 3288890 w 4240161"/>
              <a:gd name="connsiteY0" fmla="*/ 2381864 h 2381864"/>
              <a:gd name="connsiteX1" fmla="*/ 4218038 w 4240161"/>
              <a:gd name="connsiteY1" fmla="*/ 1732935 h 2381864"/>
              <a:gd name="connsiteX2" fmla="*/ 4240161 w 4240161"/>
              <a:gd name="connsiteY2" fmla="*/ 0 h 2381864"/>
              <a:gd name="connsiteX3" fmla="*/ 2713703 w 4240161"/>
              <a:gd name="connsiteY3" fmla="*/ 22123 h 2381864"/>
              <a:gd name="connsiteX4" fmla="*/ 0 w 4240161"/>
              <a:gd name="connsiteY4" fmla="*/ 2367116 h 2381864"/>
              <a:gd name="connsiteX5" fmla="*/ 3288890 w 4240161"/>
              <a:gd name="connsiteY5" fmla="*/ 2381864 h 238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0161" h="2381864">
                <a:moveTo>
                  <a:pt x="3288890" y="2381864"/>
                </a:moveTo>
                <a:lnTo>
                  <a:pt x="4218038" y="1732935"/>
                </a:lnTo>
                <a:lnTo>
                  <a:pt x="4240161" y="0"/>
                </a:lnTo>
                <a:lnTo>
                  <a:pt x="2713703" y="22123"/>
                </a:lnTo>
                <a:lnTo>
                  <a:pt x="0" y="2367116"/>
                </a:lnTo>
                <a:lnTo>
                  <a:pt x="3288890" y="2381864"/>
                </a:lnTo>
                <a:close/>
              </a:path>
            </a:pathLst>
          </a:custGeom>
          <a:solidFill>
            <a:srgbClr val="00A1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 name="Title 1"/>
          <p:cNvSpPr>
            <a:spLocks noGrp="1"/>
          </p:cNvSpPr>
          <p:nvPr>
            <p:ph type="title"/>
          </p:nvPr>
        </p:nvSpPr>
        <p:spPr/>
        <p:txBody>
          <a:bodyPr/>
          <a:lstStyle/>
          <a:p>
            <a:r>
              <a:rPr lang="en-US" dirty="0"/>
              <a:t>Common OS Across IP Network</a:t>
            </a:r>
            <a:br>
              <a:rPr lang="en-US" dirty="0"/>
            </a:br>
            <a:r>
              <a:rPr lang="en-US" sz="1600" dirty="0"/>
              <a:t>IOS XR 7: Built for All Deployments</a:t>
            </a:r>
          </a:p>
        </p:txBody>
      </p:sp>
      <p:sp>
        <p:nvSpPr>
          <p:cNvPr id="14" name="Rounded Rectangle 13"/>
          <p:cNvSpPr/>
          <p:nvPr/>
        </p:nvSpPr>
        <p:spPr>
          <a:xfrm>
            <a:off x="1194619" y="2113584"/>
            <a:ext cx="1618338" cy="1774740"/>
          </a:xfrm>
          <a:prstGeom prst="roundRect">
            <a:avLst>
              <a:gd name="adj" fmla="val 7537"/>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89">
              <a:defRPr/>
            </a:pPr>
            <a:r>
              <a:rPr lang="en-US" sz="1200" dirty="0">
                <a:solidFill>
                  <a:srgbClr val="FFFFFF"/>
                </a:solidFill>
                <a:latin typeface="CiscoSansTT ExtraLight"/>
              </a:rPr>
              <a:t>IOS </a:t>
            </a:r>
            <a:r>
              <a:rPr lang="en-US" sz="1200" dirty="0" err="1">
                <a:solidFill>
                  <a:srgbClr val="FFFFFF"/>
                </a:solidFill>
                <a:latin typeface="CiscoSansTT ExtraLight"/>
              </a:rPr>
              <a:t>XRv</a:t>
            </a:r>
            <a:r>
              <a:rPr lang="en-US" sz="1200" dirty="0">
                <a:solidFill>
                  <a:srgbClr val="FFFFFF"/>
                </a:solidFill>
                <a:latin typeface="CiscoSansTT ExtraLight"/>
              </a:rPr>
              <a:t> 9000</a:t>
            </a:r>
          </a:p>
        </p:txBody>
      </p:sp>
      <p:sp>
        <p:nvSpPr>
          <p:cNvPr id="15" name="Rounded Rectangle 14"/>
          <p:cNvSpPr/>
          <p:nvPr/>
        </p:nvSpPr>
        <p:spPr>
          <a:xfrm>
            <a:off x="2941173" y="2119640"/>
            <a:ext cx="1618338" cy="1774740"/>
          </a:xfrm>
          <a:prstGeom prst="roundRect">
            <a:avLst>
              <a:gd name="adj" fmla="val 7537"/>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89">
              <a:defRPr/>
            </a:pPr>
            <a:r>
              <a:rPr lang="en-US" sz="1200" dirty="0">
                <a:solidFill>
                  <a:srgbClr val="FFFFFF"/>
                </a:solidFill>
                <a:latin typeface="CiscoSansTT ExtraLight"/>
              </a:rPr>
              <a:t>Curated set of </a:t>
            </a:r>
            <a:br>
              <a:rPr lang="en-US" sz="1200" dirty="0">
                <a:solidFill>
                  <a:srgbClr val="FFFFFF"/>
                </a:solidFill>
                <a:latin typeface="CiscoSansTT ExtraLight"/>
              </a:rPr>
            </a:br>
            <a:r>
              <a:rPr lang="en-US" sz="1200" dirty="0">
                <a:solidFill>
                  <a:srgbClr val="FFFFFF"/>
                </a:solidFill>
                <a:latin typeface="CiscoSansTT ExtraLight"/>
              </a:rPr>
              <a:t>third-party hardware</a:t>
            </a:r>
          </a:p>
        </p:txBody>
      </p:sp>
      <p:sp>
        <p:nvSpPr>
          <p:cNvPr id="16" name="Rounded Rectangle 15"/>
          <p:cNvSpPr/>
          <p:nvPr/>
        </p:nvSpPr>
        <p:spPr>
          <a:xfrm>
            <a:off x="4687727" y="2113584"/>
            <a:ext cx="1618338" cy="1774740"/>
          </a:xfrm>
          <a:prstGeom prst="roundRect">
            <a:avLst>
              <a:gd name="adj" fmla="val 7537"/>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89">
              <a:defRPr/>
            </a:pPr>
            <a:r>
              <a:rPr lang="en-US" sz="1200" dirty="0">
                <a:solidFill>
                  <a:srgbClr val="FFFFFF"/>
                </a:solidFill>
                <a:latin typeface="CiscoSansTT ExtraLight"/>
              </a:rPr>
              <a:t>NCS 500, 5000, and 5500</a:t>
            </a:r>
          </a:p>
        </p:txBody>
      </p:sp>
      <p:sp>
        <p:nvSpPr>
          <p:cNvPr id="17" name="Rounded Rectangle 16"/>
          <p:cNvSpPr/>
          <p:nvPr/>
        </p:nvSpPr>
        <p:spPr>
          <a:xfrm>
            <a:off x="6434281" y="2113584"/>
            <a:ext cx="1618338" cy="1774740"/>
          </a:xfrm>
          <a:prstGeom prst="roundRect">
            <a:avLst>
              <a:gd name="adj" fmla="val 7537"/>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89">
              <a:defRPr/>
            </a:pPr>
            <a:r>
              <a:rPr lang="en-US" sz="1200" dirty="0">
                <a:solidFill>
                  <a:srgbClr val="FFFFFF"/>
                </a:solidFill>
                <a:latin typeface="CiscoSansTT ExtraLight"/>
              </a:rPr>
              <a:t>ASR 9000</a:t>
            </a:r>
          </a:p>
        </p:txBody>
      </p:sp>
      <p:sp>
        <p:nvSpPr>
          <p:cNvPr id="19" name="Rounded Rectangle 18"/>
          <p:cNvSpPr/>
          <p:nvPr/>
        </p:nvSpPr>
        <p:spPr>
          <a:xfrm>
            <a:off x="1194619" y="3957135"/>
            <a:ext cx="6858000" cy="376084"/>
          </a:xfrm>
          <a:prstGeom prst="roundRect">
            <a:avLst>
              <a:gd name="adj" fmla="val 50000"/>
            </a:avLst>
          </a:prstGeom>
          <a:solidFill>
            <a:srgbClr val="0476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400" dirty="0">
                <a:solidFill>
                  <a:srgbClr val="FFFFFF"/>
                </a:solidFill>
                <a:latin typeface="CiscoSansTT ExtraLight"/>
              </a:rPr>
              <a:t>Common SP Operating System Across Physical and Virtual Data Planes </a:t>
            </a:r>
          </a:p>
        </p:txBody>
      </p:sp>
      <p:pic>
        <p:nvPicPr>
          <p:cNvPr id="24" name="Picture 2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53862" y="1033743"/>
            <a:ext cx="685800" cy="685800"/>
          </a:xfrm>
          <a:prstGeom prst="rect">
            <a:avLst/>
          </a:prstGeom>
        </p:spPr>
      </p:pic>
      <p:pic>
        <p:nvPicPr>
          <p:cNvPr id="25" name="Picture 2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44750" y="1033743"/>
            <a:ext cx="685800" cy="685800"/>
          </a:xfrm>
          <a:prstGeom prst="rect">
            <a:avLst/>
          </a:prstGeom>
        </p:spPr>
      </p:pic>
      <p:pic>
        <p:nvPicPr>
          <p:cNvPr id="26" name="Picture 2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40194" y="1033743"/>
            <a:ext cx="685800" cy="685800"/>
          </a:xfrm>
          <a:prstGeom prst="rect">
            <a:avLst/>
          </a:prstGeom>
        </p:spPr>
      </p:pic>
      <p:grpSp>
        <p:nvGrpSpPr>
          <p:cNvPr id="39" name="Group 38"/>
          <p:cNvGrpSpPr/>
          <p:nvPr/>
        </p:nvGrpSpPr>
        <p:grpSpPr>
          <a:xfrm>
            <a:off x="1658418" y="1033743"/>
            <a:ext cx="685800" cy="685800"/>
            <a:chOff x="1363555" y="1141960"/>
            <a:chExt cx="815430" cy="815430"/>
          </a:xfrm>
        </p:grpSpPr>
        <p:sp>
          <p:nvSpPr>
            <p:cNvPr id="38" name="Oval 37"/>
            <p:cNvSpPr/>
            <p:nvPr/>
          </p:nvSpPr>
          <p:spPr>
            <a:xfrm>
              <a:off x="1363555" y="1141960"/>
              <a:ext cx="815430" cy="81543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nvGrpSpPr>
            <p:cNvPr id="37" name="Group 36"/>
            <p:cNvGrpSpPr/>
            <p:nvPr/>
          </p:nvGrpSpPr>
          <p:grpSpPr>
            <a:xfrm rot="4208014">
              <a:off x="1500923" y="1259013"/>
              <a:ext cx="540695" cy="581325"/>
              <a:chOff x="1590331" y="2644856"/>
              <a:chExt cx="1099811" cy="1182455"/>
            </a:xfrm>
            <a:solidFill>
              <a:srgbClr val="FAAB1A"/>
            </a:solidFill>
          </p:grpSpPr>
          <p:sp>
            <p:nvSpPr>
              <p:cNvPr id="28" name="Rounded Rectangle 27"/>
              <p:cNvSpPr/>
              <p:nvPr/>
            </p:nvSpPr>
            <p:spPr>
              <a:xfrm>
                <a:off x="1745549" y="2853778"/>
                <a:ext cx="944593" cy="15736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9" name="Rounded Rectangle 28"/>
              <p:cNvSpPr/>
              <p:nvPr/>
            </p:nvSpPr>
            <p:spPr>
              <a:xfrm>
                <a:off x="1708679" y="3057084"/>
                <a:ext cx="944593" cy="15736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0" name="Rounded Rectangle 29"/>
              <p:cNvSpPr/>
              <p:nvPr/>
            </p:nvSpPr>
            <p:spPr>
              <a:xfrm>
                <a:off x="1627201" y="3260390"/>
                <a:ext cx="944593" cy="15736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1" name="Rounded Rectangle 30"/>
              <p:cNvSpPr/>
              <p:nvPr/>
            </p:nvSpPr>
            <p:spPr>
              <a:xfrm>
                <a:off x="1590331" y="3463696"/>
                <a:ext cx="944593" cy="15736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2" name="Oval 31"/>
              <p:cNvSpPr/>
              <p:nvPr/>
            </p:nvSpPr>
            <p:spPr>
              <a:xfrm>
                <a:off x="1816515" y="2644856"/>
                <a:ext cx="150768" cy="150768"/>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3" name="Oval 32"/>
              <p:cNvSpPr/>
              <p:nvPr/>
            </p:nvSpPr>
            <p:spPr>
              <a:xfrm>
                <a:off x="2299468" y="3669759"/>
                <a:ext cx="150768" cy="150768"/>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5" name="Right Triangle 34"/>
              <p:cNvSpPr/>
              <p:nvPr/>
            </p:nvSpPr>
            <p:spPr>
              <a:xfrm>
                <a:off x="2003788" y="2644856"/>
                <a:ext cx="501243" cy="150768"/>
              </a:xfrm>
              <a:prstGeom prst="r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6" name="Right Triangle 35"/>
              <p:cNvSpPr/>
              <p:nvPr/>
            </p:nvSpPr>
            <p:spPr>
              <a:xfrm rot="10800000">
                <a:off x="1757753" y="3676543"/>
                <a:ext cx="501243" cy="150768"/>
              </a:xfrm>
              <a:prstGeom prst="r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grpSp>
      <p:sp>
        <p:nvSpPr>
          <p:cNvPr id="40" name="Oval 39"/>
          <p:cNvSpPr/>
          <p:nvPr/>
        </p:nvSpPr>
        <p:spPr>
          <a:xfrm>
            <a:off x="4249306" y="1033743"/>
            <a:ext cx="685800" cy="6858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42" name="TextBox 41"/>
          <p:cNvSpPr txBox="1"/>
          <p:nvPr/>
        </p:nvSpPr>
        <p:spPr>
          <a:xfrm>
            <a:off x="1726243" y="1720230"/>
            <a:ext cx="550151" cy="246221"/>
          </a:xfrm>
          <a:prstGeom prst="rect">
            <a:avLst/>
          </a:prstGeom>
          <a:noFill/>
        </p:spPr>
        <p:txBody>
          <a:bodyPr wrap="none" rtlCol="0">
            <a:spAutoFit/>
          </a:bodyPr>
          <a:lstStyle/>
          <a:p>
            <a:pPr algn="ctr" defTabSz="457189">
              <a:defRPr/>
            </a:pPr>
            <a:r>
              <a:rPr lang="en-US" sz="1000" dirty="0">
                <a:solidFill>
                  <a:srgbClr val="282828"/>
                </a:solidFill>
                <a:latin typeface="CiscoSansTT ExtraLight"/>
              </a:rPr>
              <a:t>Elastic</a:t>
            </a:r>
          </a:p>
        </p:txBody>
      </p:sp>
      <p:sp>
        <p:nvSpPr>
          <p:cNvPr id="43" name="TextBox 42"/>
          <p:cNvSpPr txBox="1"/>
          <p:nvPr/>
        </p:nvSpPr>
        <p:spPr>
          <a:xfrm>
            <a:off x="2761074" y="1720230"/>
            <a:ext cx="1072731" cy="246221"/>
          </a:xfrm>
          <a:prstGeom prst="rect">
            <a:avLst/>
          </a:prstGeom>
          <a:noFill/>
        </p:spPr>
        <p:txBody>
          <a:bodyPr wrap="none" rtlCol="0">
            <a:spAutoFit/>
          </a:bodyPr>
          <a:lstStyle/>
          <a:p>
            <a:pPr algn="ctr" defTabSz="457189">
              <a:defRPr/>
            </a:pPr>
            <a:r>
              <a:rPr lang="en-US" sz="1000" dirty="0">
                <a:solidFill>
                  <a:srgbClr val="282828"/>
                </a:solidFill>
                <a:latin typeface="CiscoSansTT ExtraLight"/>
              </a:rPr>
              <a:t>Cost Optimized</a:t>
            </a:r>
          </a:p>
        </p:txBody>
      </p:sp>
      <p:sp>
        <p:nvSpPr>
          <p:cNvPr id="44" name="TextBox 43"/>
          <p:cNvSpPr txBox="1"/>
          <p:nvPr/>
        </p:nvSpPr>
        <p:spPr>
          <a:xfrm>
            <a:off x="3992240" y="1709997"/>
            <a:ext cx="1226619" cy="246221"/>
          </a:xfrm>
          <a:prstGeom prst="rect">
            <a:avLst/>
          </a:prstGeom>
          <a:noFill/>
        </p:spPr>
        <p:txBody>
          <a:bodyPr wrap="none" rtlCol="0">
            <a:spAutoFit/>
          </a:bodyPr>
          <a:lstStyle/>
          <a:p>
            <a:pPr algn="ctr" defTabSz="457189">
              <a:defRPr/>
            </a:pPr>
            <a:r>
              <a:rPr lang="en-US" sz="1000" dirty="0">
                <a:solidFill>
                  <a:srgbClr val="282828"/>
                </a:solidFill>
                <a:latin typeface="CiscoSansTT ExtraLight"/>
              </a:rPr>
              <a:t>Ultra-high Density</a:t>
            </a:r>
          </a:p>
        </p:txBody>
      </p:sp>
      <p:sp>
        <p:nvSpPr>
          <p:cNvPr id="45" name="TextBox 44"/>
          <p:cNvSpPr txBox="1"/>
          <p:nvPr/>
        </p:nvSpPr>
        <p:spPr>
          <a:xfrm>
            <a:off x="5416042" y="1709997"/>
            <a:ext cx="965329" cy="246221"/>
          </a:xfrm>
          <a:prstGeom prst="rect">
            <a:avLst/>
          </a:prstGeom>
          <a:noFill/>
        </p:spPr>
        <p:txBody>
          <a:bodyPr wrap="none" rtlCol="0">
            <a:spAutoFit/>
          </a:bodyPr>
          <a:lstStyle/>
          <a:p>
            <a:pPr algn="ctr" defTabSz="457189">
              <a:defRPr/>
            </a:pPr>
            <a:r>
              <a:rPr lang="en-US" sz="1000" dirty="0">
                <a:solidFill>
                  <a:srgbClr val="282828"/>
                </a:solidFill>
                <a:latin typeface="CiscoSansTT ExtraLight"/>
              </a:rPr>
              <a:t>Carrier Grade</a:t>
            </a:r>
          </a:p>
        </p:txBody>
      </p:sp>
      <p:sp>
        <p:nvSpPr>
          <p:cNvPr id="46" name="TextBox 45"/>
          <p:cNvSpPr txBox="1"/>
          <p:nvPr/>
        </p:nvSpPr>
        <p:spPr>
          <a:xfrm>
            <a:off x="6555146" y="1722822"/>
            <a:ext cx="1276311" cy="400110"/>
          </a:xfrm>
          <a:prstGeom prst="rect">
            <a:avLst/>
          </a:prstGeom>
          <a:noFill/>
        </p:spPr>
        <p:txBody>
          <a:bodyPr wrap="none" rtlCol="0">
            <a:spAutoFit/>
          </a:bodyPr>
          <a:lstStyle/>
          <a:p>
            <a:pPr algn="ctr" defTabSz="457189">
              <a:defRPr/>
            </a:pPr>
            <a:r>
              <a:rPr lang="en-US" sz="1000" dirty="0">
                <a:solidFill>
                  <a:srgbClr val="282828"/>
                </a:solidFill>
                <a:latin typeface="CiscoSansTT ExtraLight"/>
              </a:rPr>
              <a:t>Programmable and</a:t>
            </a:r>
            <a:br>
              <a:rPr lang="en-US" sz="1000" dirty="0">
                <a:solidFill>
                  <a:srgbClr val="282828"/>
                </a:solidFill>
                <a:latin typeface="CiscoSansTT ExtraLight"/>
              </a:rPr>
            </a:br>
            <a:r>
              <a:rPr lang="en-US" sz="1000" dirty="0">
                <a:solidFill>
                  <a:srgbClr val="282828"/>
                </a:solidFill>
                <a:latin typeface="CiscoSansTT ExtraLight"/>
              </a:rPr>
              <a:t>Automatable</a:t>
            </a:r>
          </a:p>
        </p:txBody>
      </p:sp>
      <p:sp>
        <p:nvSpPr>
          <p:cNvPr id="47" name="TextBox 46"/>
          <p:cNvSpPr txBox="1"/>
          <p:nvPr/>
        </p:nvSpPr>
        <p:spPr>
          <a:xfrm>
            <a:off x="1194621" y="3644532"/>
            <a:ext cx="1627198" cy="215444"/>
          </a:xfrm>
          <a:prstGeom prst="rect">
            <a:avLst/>
          </a:prstGeom>
          <a:noFill/>
        </p:spPr>
        <p:txBody>
          <a:bodyPr wrap="square" rtlCol="0" anchor="b">
            <a:spAutoFit/>
          </a:bodyPr>
          <a:lstStyle/>
          <a:p>
            <a:pPr algn="ctr" defTabSz="457189">
              <a:defRPr/>
            </a:pPr>
            <a:r>
              <a:rPr lang="en-US" sz="800" dirty="0">
                <a:solidFill>
                  <a:srgbClr val="00BCEB"/>
                </a:solidFill>
                <a:latin typeface="CiscoSansTT ExtraLight"/>
              </a:rPr>
              <a:t>x86 data plane</a:t>
            </a:r>
          </a:p>
        </p:txBody>
      </p:sp>
      <p:sp>
        <p:nvSpPr>
          <p:cNvPr id="48" name="TextBox 47"/>
          <p:cNvSpPr txBox="1"/>
          <p:nvPr/>
        </p:nvSpPr>
        <p:spPr>
          <a:xfrm>
            <a:off x="2945541" y="3521423"/>
            <a:ext cx="1627198" cy="338554"/>
          </a:xfrm>
          <a:prstGeom prst="rect">
            <a:avLst/>
          </a:prstGeom>
          <a:noFill/>
        </p:spPr>
        <p:txBody>
          <a:bodyPr wrap="square" rtlCol="0" anchor="b">
            <a:spAutoFit/>
          </a:bodyPr>
          <a:lstStyle/>
          <a:p>
            <a:pPr algn="ctr" defTabSz="457189">
              <a:defRPr/>
            </a:pPr>
            <a:r>
              <a:rPr lang="en-US" sz="800" dirty="0">
                <a:solidFill>
                  <a:srgbClr val="00BCEB"/>
                </a:solidFill>
                <a:latin typeface="CiscoSansTT ExtraLight"/>
              </a:rPr>
              <a:t>Fixed hardware,</a:t>
            </a:r>
            <a:br>
              <a:rPr lang="en-US" sz="800" dirty="0">
                <a:solidFill>
                  <a:srgbClr val="00BCEB"/>
                </a:solidFill>
                <a:latin typeface="CiscoSansTT ExtraLight"/>
              </a:rPr>
            </a:br>
            <a:r>
              <a:rPr lang="en-US" sz="800" dirty="0">
                <a:solidFill>
                  <a:srgbClr val="00BCEB"/>
                </a:solidFill>
                <a:latin typeface="CiscoSansTT ExtraLight"/>
              </a:rPr>
              <a:t>merchant data plane</a:t>
            </a:r>
          </a:p>
        </p:txBody>
      </p:sp>
      <p:sp>
        <p:nvSpPr>
          <p:cNvPr id="49" name="TextBox 48"/>
          <p:cNvSpPr txBox="1"/>
          <p:nvPr/>
        </p:nvSpPr>
        <p:spPr>
          <a:xfrm>
            <a:off x="4696202" y="3521423"/>
            <a:ext cx="1627198" cy="338554"/>
          </a:xfrm>
          <a:prstGeom prst="rect">
            <a:avLst/>
          </a:prstGeom>
          <a:noFill/>
        </p:spPr>
        <p:txBody>
          <a:bodyPr wrap="square" rtlCol="0" anchor="b">
            <a:spAutoFit/>
          </a:bodyPr>
          <a:lstStyle/>
          <a:p>
            <a:pPr algn="ctr" defTabSz="457189">
              <a:defRPr/>
            </a:pPr>
            <a:r>
              <a:rPr lang="en-US" sz="800" dirty="0">
                <a:solidFill>
                  <a:srgbClr val="00BCEB"/>
                </a:solidFill>
                <a:latin typeface="CiscoSansTT ExtraLight"/>
              </a:rPr>
              <a:t>Fixed and modular hardware, merchant data plane</a:t>
            </a:r>
          </a:p>
        </p:txBody>
      </p:sp>
      <p:sp>
        <p:nvSpPr>
          <p:cNvPr id="50" name="TextBox 49"/>
          <p:cNvSpPr txBox="1"/>
          <p:nvPr/>
        </p:nvSpPr>
        <p:spPr>
          <a:xfrm>
            <a:off x="6350331" y="3521423"/>
            <a:ext cx="1776319" cy="338554"/>
          </a:xfrm>
          <a:prstGeom prst="rect">
            <a:avLst/>
          </a:prstGeom>
          <a:noFill/>
        </p:spPr>
        <p:txBody>
          <a:bodyPr wrap="square" rtlCol="0" anchor="b">
            <a:spAutoFit/>
          </a:bodyPr>
          <a:lstStyle/>
          <a:p>
            <a:pPr algn="ctr" defTabSz="457189">
              <a:defRPr/>
            </a:pPr>
            <a:r>
              <a:rPr lang="en-US" sz="800" dirty="0">
                <a:solidFill>
                  <a:srgbClr val="00BCEB"/>
                </a:solidFill>
                <a:latin typeface="CiscoSansTT ExtraLight"/>
              </a:rPr>
              <a:t>Fixed, modular, and multi-chassis hardware; Cisco data plane</a:t>
            </a:r>
          </a:p>
        </p:txBody>
      </p:sp>
      <p:pic>
        <p:nvPicPr>
          <p:cNvPr id="53" name="Picture 5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287727" y="1163288"/>
            <a:ext cx="567793" cy="389344"/>
          </a:xfrm>
          <a:prstGeom prst="rect">
            <a:avLst/>
          </a:prstGeom>
        </p:spPr>
      </p:pic>
      <p:grpSp>
        <p:nvGrpSpPr>
          <p:cNvPr id="3" name="Group 2">
            <a:extLst>
              <a:ext uri="{FF2B5EF4-FFF2-40B4-BE49-F238E27FC236}">
                <a16:creationId xmlns:a16="http://schemas.microsoft.com/office/drawing/2014/main" id="{3DD9EA7C-28DF-4F00-AECC-2FD4E59D16AB}"/>
              </a:ext>
            </a:extLst>
          </p:cNvPr>
          <p:cNvGrpSpPr/>
          <p:nvPr/>
        </p:nvGrpSpPr>
        <p:grpSpPr>
          <a:xfrm>
            <a:off x="3297424" y="2953322"/>
            <a:ext cx="934262" cy="485541"/>
            <a:chOff x="3297424" y="2953322"/>
            <a:chExt cx="934262" cy="485541"/>
          </a:xfrm>
        </p:grpSpPr>
        <p:sp>
          <p:nvSpPr>
            <p:cNvPr id="92" name="Freeform 290"/>
            <p:cNvSpPr>
              <a:spLocks/>
            </p:cNvSpPr>
            <p:nvPr/>
          </p:nvSpPr>
          <p:spPr bwMode="auto">
            <a:xfrm>
              <a:off x="3297424" y="2953322"/>
              <a:ext cx="934262" cy="149575"/>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7"/>
                    <a:pt x="382" y="62"/>
                    <a:pt x="376" y="62"/>
                  </a:cubicBezTo>
                  <a:cubicBezTo>
                    <a:pt x="11" y="62"/>
                    <a:pt x="11" y="62"/>
                    <a:pt x="11" y="62"/>
                  </a:cubicBezTo>
                  <a:cubicBezTo>
                    <a:pt x="5" y="62"/>
                    <a:pt x="0" y="57"/>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93" name="Line 291"/>
            <p:cNvSpPr>
              <a:spLocks noChangeShapeType="1"/>
            </p:cNvSpPr>
            <p:nvPr/>
          </p:nvSpPr>
          <p:spPr bwMode="auto">
            <a:xfrm flipV="1">
              <a:off x="3341146" y="2992442"/>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94" name="Line 292"/>
            <p:cNvSpPr>
              <a:spLocks noChangeShapeType="1"/>
            </p:cNvSpPr>
            <p:nvPr/>
          </p:nvSpPr>
          <p:spPr bwMode="auto">
            <a:xfrm flipV="1">
              <a:off x="3384867" y="2992442"/>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95" name="Line 293"/>
            <p:cNvSpPr>
              <a:spLocks noChangeShapeType="1"/>
            </p:cNvSpPr>
            <p:nvPr/>
          </p:nvSpPr>
          <p:spPr bwMode="auto">
            <a:xfrm flipV="1">
              <a:off x="3430890" y="2992442"/>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96" name="Line 294"/>
            <p:cNvSpPr>
              <a:spLocks noChangeShapeType="1"/>
            </p:cNvSpPr>
            <p:nvPr/>
          </p:nvSpPr>
          <p:spPr bwMode="auto">
            <a:xfrm flipV="1">
              <a:off x="3472310" y="2992442"/>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97" name="Line 295"/>
            <p:cNvSpPr>
              <a:spLocks noChangeShapeType="1"/>
            </p:cNvSpPr>
            <p:nvPr/>
          </p:nvSpPr>
          <p:spPr bwMode="auto">
            <a:xfrm flipV="1">
              <a:off x="3516033" y="2992442"/>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98" name="Freeform 296"/>
            <p:cNvSpPr>
              <a:spLocks/>
            </p:cNvSpPr>
            <p:nvPr/>
          </p:nvSpPr>
          <p:spPr bwMode="auto">
            <a:xfrm>
              <a:off x="3297424" y="3289288"/>
              <a:ext cx="934262" cy="149575"/>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8"/>
                    <a:pt x="382" y="62"/>
                    <a:pt x="376" y="62"/>
                  </a:cubicBezTo>
                  <a:cubicBezTo>
                    <a:pt x="11" y="62"/>
                    <a:pt x="11" y="62"/>
                    <a:pt x="11" y="62"/>
                  </a:cubicBezTo>
                  <a:cubicBezTo>
                    <a:pt x="5" y="62"/>
                    <a:pt x="0" y="58"/>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99" name="Line 297"/>
            <p:cNvSpPr>
              <a:spLocks noChangeShapeType="1"/>
            </p:cNvSpPr>
            <p:nvPr/>
          </p:nvSpPr>
          <p:spPr bwMode="auto">
            <a:xfrm flipV="1">
              <a:off x="3341146" y="3328408"/>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0" name="Line 298"/>
            <p:cNvSpPr>
              <a:spLocks noChangeShapeType="1"/>
            </p:cNvSpPr>
            <p:nvPr/>
          </p:nvSpPr>
          <p:spPr bwMode="auto">
            <a:xfrm flipV="1">
              <a:off x="3384867" y="3328408"/>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1" name="Line 299"/>
            <p:cNvSpPr>
              <a:spLocks noChangeShapeType="1"/>
            </p:cNvSpPr>
            <p:nvPr/>
          </p:nvSpPr>
          <p:spPr bwMode="auto">
            <a:xfrm flipV="1">
              <a:off x="3430890" y="3328408"/>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2" name="Line 300"/>
            <p:cNvSpPr>
              <a:spLocks noChangeShapeType="1"/>
            </p:cNvSpPr>
            <p:nvPr/>
          </p:nvSpPr>
          <p:spPr bwMode="auto">
            <a:xfrm flipV="1">
              <a:off x="3472310" y="3328408"/>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3" name="Line 301"/>
            <p:cNvSpPr>
              <a:spLocks noChangeShapeType="1"/>
            </p:cNvSpPr>
            <p:nvPr/>
          </p:nvSpPr>
          <p:spPr bwMode="auto">
            <a:xfrm flipV="1">
              <a:off x="3516033" y="3328408"/>
              <a:ext cx="0" cy="73636"/>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4" name="Freeform 302"/>
            <p:cNvSpPr>
              <a:spLocks/>
            </p:cNvSpPr>
            <p:nvPr/>
          </p:nvSpPr>
          <p:spPr bwMode="auto">
            <a:xfrm>
              <a:off x="3297424" y="3123606"/>
              <a:ext cx="934262" cy="149575"/>
            </a:xfrm>
            <a:custGeom>
              <a:avLst/>
              <a:gdLst>
                <a:gd name="T0" fmla="*/ 387 w 387"/>
                <a:gd name="T1" fmla="*/ 10 h 62"/>
                <a:gd name="T2" fmla="*/ 387 w 387"/>
                <a:gd name="T3" fmla="*/ 51 h 62"/>
                <a:gd name="T4" fmla="*/ 376 w 387"/>
                <a:gd name="T5" fmla="*/ 62 h 62"/>
                <a:gd name="T6" fmla="*/ 11 w 387"/>
                <a:gd name="T7" fmla="*/ 62 h 62"/>
                <a:gd name="T8" fmla="*/ 0 w 387"/>
                <a:gd name="T9" fmla="*/ 51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1"/>
                    <a:pt x="387" y="51"/>
                    <a:pt x="387" y="51"/>
                  </a:cubicBezTo>
                  <a:cubicBezTo>
                    <a:pt x="387" y="57"/>
                    <a:pt x="382" y="62"/>
                    <a:pt x="376" y="62"/>
                  </a:cubicBezTo>
                  <a:cubicBezTo>
                    <a:pt x="11" y="62"/>
                    <a:pt x="11" y="62"/>
                    <a:pt x="11" y="62"/>
                  </a:cubicBezTo>
                  <a:cubicBezTo>
                    <a:pt x="5" y="62"/>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5" name="Line 303"/>
            <p:cNvSpPr>
              <a:spLocks noChangeShapeType="1"/>
            </p:cNvSpPr>
            <p:nvPr/>
          </p:nvSpPr>
          <p:spPr bwMode="auto">
            <a:xfrm flipV="1">
              <a:off x="3341146" y="3158124"/>
              <a:ext cx="0" cy="7593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6" name="Line 304"/>
            <p:cNvSpPr>
              <a:spLocks noChangeShapeType="1"/>
            </p:cNvSpPr>
            <p:nvPr/>
          </p:nvSpPr>
          <p:spPr bwMode="auto">
            <a:xfrm flipV="1">
              <a:off x="3384867" y="3158124"/>
              <a:ext cx="0" cy="7593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7" name="Line 305"/>
            <p:cNvSpPr>
              <a:spLocks noChangeShapeType="1"/>
            </p:cNvSpPr>
            <p:nvPr/>
          </p:nvSpPr>
          <p:spPr bwMode="auto">
            <a:xfrm flipV="1">
              <a:off x="3430890" y="3158124"/>
              <a:ext cx="0" cy="7593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8" name="Line 306"/>
            <p:cNvSpPr>
              <a:spLocks noChangeShapeType="1"/>
            </p:cNvSpPr>
            <p:nvPr/>
          </p:nvSpPr>
          <p:spPr bwMode="auto">
            <a:xfrm flipV="1">
              <a:off x="3472310" y="3158124"/>
              <a:ext cx="0" cy="7593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09" name="Line 307"/>
            <p:cNvSpPr>
              <a:spLocks noChangeShapeType="1"/>
            </p:cNvSpPr>
            <p:nvPr/>
          </p:nvSpPr>
          <p:spPr bwMode="auto">
            <a:xfrm flipV="1">
              <a:off x="3516033" y="3158124"/>
              <a:ext cx="0" cy="7593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5" name="Group 4">
            <a:extLst>
              <a:ext uri="{FF2B5EF4-FFF2-40B4-BE49-F238E27FC236}">
                <a16:creationId xmlns:a16="http://schemas.microsoft.com/office/drawing/2014/main" id="{D53DE0FD-9859-4956-A743-3585A8B15317}"/>
              </a:ext>
            </a:extLst>
          </p:cNvPr>
          <p:cNvGrpSpPr/>
          <p:nvPr/>
        </p:nvGrpSpPr>
        <p:grpSpPr>
          <a:xfrm>
            <a:off x="5007395" y="2632473"/>
            <a:ext cx="1051976" cy="800501"/>
            <a:chOff x="5007395" y="2632473"/>
            <a:chExt cx="1051976" cy="800501"/>
          </a:xfrm>
        </p:grpSpPr>
        <p:grpSp>
          <p:nvGrpSpPr>
            <p:cNvPr id="136" name="Group 135"/>
            <p:cNvGrpSpPr/>
            <p:nvPr/>
          </p:nvGrpSpPr>
          <p:grpSpPr>
            <a:xfrm>
              <a:off x="5212450" y="2632473"/>
              <a:ext cx="267613" cy="703379"/>
              <a:chOff x="5357710" y="2998373"/>
              <a:chExt cx="238125" cy="576262"/>
            </a:xfrm>
          </p:grpSpPr>
          <p:sp>
            <p:nvSpPr>
              <p:cNvPr id="117" name="Freeform 201"/>
              <p:cNvSpPr>
                <a:spLocks/>
              </p:cNvSpPr>
              <p:nvPr/>
            </p:nvSpPr>
            <p:spPr bwMode="auto">
              <a:xfrm>
                <a:off x="5357710" y="2998373"/>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18" name="Line 202"/>
              <p:cNvSpPr>
                <a:spLocks noChangeShapeType="1"/>
              </p:cNvSpPr>
              <p:nvPr/>
            </p:nvSpPr>
            <p:spPr bwMode="auto">
              <a:xfrm>
                <a:off x="5416448" y="306822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19" name="Line 203"/>
              <p:cNvSpPr>
                <a:spLocks noChangeShapeType="1"/>
              </p:cNvSpPr>
              <p:nvPr/>
            </p:nvSpPr>
            <p:spPr bwMode="auto">
              <a:xfrm>
                <a:off x="5416448" y="3139660"/>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20" name="Line 204"/>
              <p:cNvSpPr>
                <a:spLocks noChangeShapeType="1"/>
              </p:cNvSpPr>
              <p:nvPr/>
            </p:nvSpPr>
            <p:spPr bwMode="auto">
              <a:xfrm>
                <a:off x="5416448" y="3209510"/>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21" name="Line 205"/>
              <p:cNvSpPr>
                <a:spLocks noChangeShapeType="1"/>
              </p:cNvSpPr>
              <p:nvPr/>
            </p:nvSpPr>
            <p:spPr bwMode="auto">
              <a:xfrm>
                <a:off x="5416448" y="3279360"/>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22" name="Line 206"/>
              <p:cNvSpPr>
                <a:spLocks noChangeShapeType="1"/>
              </p:cNvSpPr>
              <p:nvPr/>
            </p:nvSpPr>
            <p:spPr bwMode="auto">
              <a:xfrm>
                <a:off x="5416448" y="3350798"/>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135" name="Group 134"/>
            <p:cNvGrpSpPr/>
            <p:nvPr/>
          </p:nvGrpSpPr>
          <p:grpSpPr>
            <a:xfrm>
              <a:off x="5007395" y="3002762"/>
              <a:ext cx="239713" cy="430212"/>
              <a:chOff x="5087835" y="3084098"/>
              <a:chExt cx="239713" cy="430212"/>
            </a:xfrm>
          </p:grpSpPr>
          <p:sp>
            <p:nvSpPr>
              <p:cNvPr id="111" name="Freeform 195"/>
              <p:cNvSpPr>
                <a:spLocks/>
              </p:cNvSpPr>
              <p:nvPr/>
            </p:nvSpPr>
            <p:spPr bwMode="auto">
              <a:xfrm>
                <a:off x="5087835" y="3084098"/>
                <a:ext cx="239713" cy="430212"/>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12" name="Line 196"/>
              <p:cNvSpPr>
                <a:spLocks noChangeShapeType="1"/>
              </p:cNvSpPr>
              <p:nvPr/>
            </p:nvSpPr>
            <p:spPr bwMode="auto">
              <a:xfrm>
                <a:off x="5148160" y="315394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13" name="Line 197"/>
              <p:cNvSpPr>
                <a:spLocks noChangeShapeType="1"/>
              </p:cNvSpPr>
              <p:nvPr/>
            </p:nvSpPr>
            <p:spPr bwMode="auto">
              <a:xfrm>
                <a:off x="5148160" y="3222210"/>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14" name="Line 198"/>
              <p:cNvSpPr>
                <a:spLocks noChangeShapeType="1"/>
              </p:cNvSpPr>
              <p:nvPr/>
            </p:nvSpPr>
            <p:spPr bwMode="auto">
              <a:xfrm>
                <a:off x="5148160" y="329364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15" name="Line 199"/>
              <p:cNvSpPr>
                <a:spLocks noChangeShapeType="1"/>
              </p:cNvSpPr>
              <p:nvPr/>
            </p:nvSpPr>
            <p:spPr bwMode="auto">
              <a:xfrm>
                <a:off x="5148160" y="336349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16" name="Line 200"/>
              <p:cNvSpPr>
                <a:spLocks noChangeShapeType="1"/>
              </p:cNvSpPr>
              <p:nvPr/>
            </p:nvSpPr>
            <p:spPr bwMode="auto">
              <a:xfrm>
                <a:off x="5148160" y="343334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4" name="Group 3">
              <a:extLst>
                <a:ext uri="{FF2B5EF4-FFF2-40B4-BE49-F238E27FC236}">
                  <a16:creationId xmlns:a16="http://schemas.microsoft.com/office/drawing/2014/main" id="{800943A2-0D54-425C-8E8B-C9C0CAD236B9}"/>
                </a:ext>
              </a:extLst>
            </p:cNvPr>
            <p:cNvGrpSpPr/>
            <p:nvPr/>
          </p:nvGrpSpPr>
          <p:grpSpPr>
            <a:xfrm>
              <a:off x="5525163" y="3099350"/>
              <a:ext cx="534208" cy="277631"/>
              <a:chOff x="5525163" y="3099350"/>
              <a:chExt cx="534208" cy="277631"/>
            </a:xfrm>
          </p:grpSpPr>
          <p:sp>
            <p:nvSpPr>
              <p:cNvPr id="148" name="Freeform 290"/>
              <p:cNvSpPr>
                <a:spLocks/>
              </p:cNvSpPr>
              <p:nvPr/>
            </p:nvSpPr>
            <p:spPr bwMode="auto">
              <a:xfrm>
                <a:off x="5525163" y="3099350"/>
                <a:ext cx="534208" cy="85526"/>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7"/>
                      <a:pt x="382" y="62"/>
                      <a:pt x="376" y="62"/>
                    </a:cubicBezTo>
                    <a:cubicBezTo>
                      <a:pt x="11" y="62"/>
                      <a:pt x="11" y="62"/>
                      <a:pt x="11" y="62"/>
                    </a:cubicBezTo>
                    <a:cubicBezTo>
                      <a:pt x="5" y="62"/>
                      <a:pt x="0" y="57"/>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49" name="Line 291"/>
              <p:cNvSpPr>
                <a:spLocks noChangeShapeType="1"/>
              </p:cNvSpPr>
              <p:nvPr/>
            </p:nvSpPr>
            <p:spPr bwMode="auto">
              <a:xfrm flipV="1">
                <a:off x="5550163" y="3121719"/>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0" name="Line 292"/>
              <p:cNvSpPr>
                <a:spLocks noChangeShapeType="1"/>
              </p:cNvSpPr>
              <p:nvPr/>
            </p:nvSpPr>
            <p:spPr bwMode="auto">
              <a:xfrm flipV="1">
                <a:off x="5575163" y="3121719"/>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1" name="Line 293"/>
              <p:cNvSpPr>
                <a:spLocks noChangeShapeType="1"/>
              </p:cNvSpPr>
              <p:nvPr/>
            </p:nvSpPr>
            <p:spPr bwMode="auto">
              <a:xfrm flipV="1">
                <a:off x="5601478" y="3121719"/>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2" name="Line 294"/>
              <p:cNvSpPr>
                <a:spLocks noChangeShapeType="1"/>
              </p:cNvSpPr>
              <p:nvPr/>
            </p:nvSpPr>
            <p:spPr bwMode="auto">
              <a:xfrm flipV="1">
                <a:off x="5625163" y="3121719"/>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3" name="Line 295"/>
              <p:cNvSpPr>
                <a:spLocks noChangeShapeType="1"/>
              </p:cNvSpPr>
              <p:nvPr/>
            </p:nvSpPr>
            <p:spPr bwMode="auto">
              <a:xfrm flipV="1">
                <a:off x="5650163" y="3121719"/>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4" name="Freeform 296"/>
              <p:cNvSpPr>
                <a:spLocks/>
              </p:cNvSpPr>
              <p:nvPr/>
            </p:nvSpPr>
            <p:spPr bwMode="auto">
              <a:xfrm>
                <a:off x="5525163" y="3291455"/>
                <a:ext cx="534208" cy="85526"/>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8"/>
                      <a:pt x="382" y="62"/>
                      <a:pt x="376" y="62"/>
                    </a:cubicBezTo>
                    <a:cubicBezTo>
                      <a:pt x="11" y="62"/>
                      <a:pt x="11" y="62"/>
                      <a:pt x="11" y="62"/>
                    </a:cubicBezTo>
                    <a:cubicBezTo>
                      <a:pt x="5" y="62"/>
                      <a:pt x="0" y="58"/>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5" name="Line 297"/>
              <p:cNvSpPr>
                <a:spLocks noChangeShapeType="1"/>
              </p:cNvSpPr>
              <p:nvPr/>
            </p:nvSpPr>
            <p:spPr bwMode="auto">
              <a:xfrm flipV="1">
                <a:off x="5550163" y="3313823"/>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6" name="Line 298"/>
              <p:cNvSpPr>
                <a:spLocks noChangeShapeType="1"/>
              </p:cNvSpPr>
              <p:nvPr/>
            </p:nvSpPr>
            <p:spPr bwMode="auto">
              <a:xfrm flipV="1">
                <a:off x="5575163" y="3313823"/>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7" name="Line 299"/>
              <p:cNvSpPr>
                <a:spLocks noChangeShapeType="1"/>
              </p:cNvSpPr>
              <p:nvPr/>
            </p:nvSpPr>
            <p:spPr bwMode="auto">
              <a:xfrm flipV="1">
                <a:off x="5601478" y="3313823"/>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8" name="Line 300"/>
              <p:cNvSpPr>
                <a:spLocks noChangeShapeType="1"/>
              </p:cNvSpPr>
              <p:nvPr/>
            </p:nvSpPr>
            <p:spPr bwMode="auto">
              <a:xfrm flipV="1">
                <a:off x="5625163" y="3313823"/>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59" name="Line 301"/>
              <p:cNvSpPr>
                <a:spLocks noChangeShapeType="1"/>
              </p:cNvSpPr>
              <p:nvPr/>
            </p:nvSpPr>
            <p:spPr bwMode="auto">
              <a:xfrm flipV="1">
                <a:off x="5650163" y="3313823"/>
                <a:ext cx="0" cy="42105"/>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60" name="Freeform 302"/>
              <p:cNvSpPr>
                <a:spLocks/>
              </p:cNvSpPr>
              <p:nvPr/>
            </p:nvSpPr>
            <p:spPr bwMode="auto">
              <a:xfrm>
                <a:off x="5525163" y="3196718"/>
                <a:ext cx="534208" cy="85526"/>
              </a:xfrm>
              <a:custGeom>
                <a:avLst/>
                <a:gdLst>
                  <a:gd name="T0" fmla="*/ 387 w 387"/>
                  <a:gd name="T1" fmla="*/ 10 h 62"/>
                  <a:gd name="T2" fmla="*/ 387 w 387"/>
                  <a:gd name="T3" fmla="*/ 51 h 62"/>
                  <a:gd name="T4" fmla="*/ 376 w 387"/>
                  <a:gd name="T5" fmla="*/ 62 h 62"/>
                  <a:gd name="T6" fmla="*/ 11 w 387"/>
                  <a:gd name="T7" fmla="*/ 62 h 62"/>
                  <a:gd name="T8" fmla="*/ 0 w 387"/>
                  <a:gd name="T9" fmla="*/ 51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1"/>
                      <a:pt x="387" y="51"/>
                      <a:pt x="387" y="51"/>
                    </a:cubicBezTo>
                    <a:cubicBezTo>
                      <a:pt x="387" y="57"/>
                      <a:pt x="382" y="62"/>
                      <a:pt x="376" y="62"/>
                    </a:cubicBezTo>
                    <a:cubicBezTo>
                      <a:pt x="11" y="62"/>
                      <a:pt x="11" y="62"/>
                      <a:pt x="11" y="62"/>
                    </a:cubicBezTo>
                    <a:cubicBezTo>
                      <a:pt x="5" y="62"/>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61" name="Line 303"/>
              <p:cNvSpPr>
                <a:spLocks noChangeShapeType="1"/>
              </p:cNvSpPr>
              <p:nvPr/>
            </p:nvSpPr>
            <p:spPr bwMode="auto">
              <a:xfrm flipV="1">
                <a:off x="5550163" y="3216455"/>
                <a:ext cx="0" cy="43421"/>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62" name="Line 304"/>
              <p:cNvSpPr>
                <a:spLocks noChangeShapeType="1"/>
              </p:cNvSpPr>
              <p:nvPr/>
            </p:nvSpPr>
            <p:spPr bwMode="auto">
              <a:xfrm flipV="1">
                <a:off x="5575163" y="3216455"/>
                <a:ext cx="0" cy="43421"/>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63" name="Line 305"/>
              <p:cNvSpPr>
                <a:spLocks noChangeShapeType="1"/>
              </p:cNvSpPr>
              <p:nvPr/>
            </p:nvSpPr>
            <p:spPr bwMode="auto">
              <a:xfrm flipV="1">
                <a:off x="5601478" y="3216455"/>
                <a:ext cx="0" cy="43421"/>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64" name="Line 306"/>
              <p:cNvSpPr>
                <a:spLocks noChangeShapeType="1"/>
              </p:cNvSpPr>
              <p:nvPr/>
            </p:nvSpPr>
            <p:spPr bwMode="auto">
              <a:xfrm flipV="1">
                <a:off x="5625163" y="3216455"/>
                <a:ext cx="0" cy="43421"/>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65" name="Line 307"/>
              <p:cNvSpPr>
                <a:spLocks noChangeShapeType="1"/>
              </p:cNvSpPr>
              <p:nvPr/>
            </p:nvSpPr>
            <p:spPr bwMode="auto">
              <a:xfrm flipV="1">
                <a:off x="5650163" y="3216455"/>
                <a:ext cx="0" cy="43421"/>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grpSp>
        <p:nvGrpSpPr>
          <p:cNvPr id="182" name="Group 181"/>
          <p:cNvGrpSpPr/>
          <p:nvPr/>
        </p:nvGrpSpPr>
        <p:grpSpPr>
          <a:xfrm>
            <a:off x="6583417" y="2847780"/>
            <a:ext cx="1321880" cy="576262"/>
            <a:chOff x="6583417" y="3032059"/>
            <a:chExt cx="1321880" cy="576262"/>
          </a:xfrm>
        </p:grpSpPr>
        <p:grpSp>
          <p:nvGrpSpPr>
            <p:cNvPr id="174" name="Group 173"/>
            <p:cNvGrpSpPr/>
            <p:nvPr/>
          </p:nvGrpSpPr>
          <p:grpSpPr>
            <a:xfrm>
              <a:off x="6855547" y="3178109"/>
              <a:ext cx="239713" cy="430212"/>
              <a:chOff x="6904195" y="3058895"/>
              <a:chExt cx="239713" cy="430212"/>
            </a:xfrm>
          </p:grpSpPr>
          <p:sp>
            <p:nvSpPr>
              <p:cNvPr id="55" name="Freeform 195"/>
              <p:cNvSpPr>
                <a:spLocks/>
              </p:cNvSpPr>
              <p:nvPr/>
            </p:nvSpPr>
            <p:spPr bwMode="auto">
              <a:xfrm>
                <a:off x="6904195" y="3058895"/>
                <a:ext cx="239713" cy="430212"/>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56" name="Line 196"/>
              <p:cNvSpPr>
                <a:spLocks noChangeShapeType="1"/>
              </p:cNvSpPr>
              <p:nvPr/>
            </p:nvSpPr>
            <p:spPr bwMode="auto">
              <a:xfrm>
                <a:off x="6964520" y="3128745"/>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57" name="Line 197"/>
              <p:cNvSpPr>
                <a:spLocks noChangeShapeType="1"/>
              </p:cNvSpPr>
              <p:nvPr/>
            </p:nvSpPr>
            <p:spPr bwMode="auto">
              <a:xfrm>
                <a:off x="6964520" y="3197007"/>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58" name="Line 198"/>
              <p:cNvSpPr>
                <a:spLocks noChangeShapeType="1"/>
              </p:cNvSpPr>
              <p:nvPr/>
            </p:nvSpPr>
            <p:spPr bwMode="auto">
              <a:xfrm>
                <a:off x="6964520" y="3268445"/>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59" name="Line 199"/>
              <p:cNvSpPr>
                <a:spLocks noChangeShapeType="1"/>
              </p:cNvSpPr>
              <p:nvPr/>
            </p:nvSpPr>
            <p:spPr bwMode="auto">
              <a:xfrm>
                <a:off x="6964520" y="3338295"/>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60" name="Line 200"/>
              <p:cNvSpPr>
                <a:spLocks noChangeShapeType="1"/>
              </p:cNvSpPr>
              <p:nvPr/>
            </p:nvSpPr>
            <p:spPr bwMode="auto">
              <a:xfrm>
                <a:off x="6964520" y="3408145"/>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175" name="Group 174"/>
            <p:cNvGrpSpPr/>
            <p:nvPr/>
          </p:nvGrpSpPr>
          <p:grpSpPr>
            <a:xfrm>
              <a:off x="7127677" y="3032059"/>
              <a:ext cx="238125" cy="576262"/>
              <a:chOff x="7174070" y="2973170"/>
              <a:chExt cx="238125" cy="576262"/>
            </a:xfrm>
          </p:grpSpPr>
          <p:sp>
            <p:nvSpPr>
              <p:cNvPr id="61" name="Freeform 201"/>
              <p:cNvSpPr>
                <a:spLocks/>
              </p:cNvSpPr>
              <p:nvPr/>
            </p:nvSpPr>
            <p:spPr bwMode="auto">
              <a:xfrm>
                <a:off x="7174070" y="2973170"/>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62" name="Line 202"/>
              <p:cNvSpPr>
                <a:spLocks noChangeShapeType="1"/>
              </p:cNvSpPr>
              <p:nvPr/>
            </p:nvSpPr>
            <p:spPr bwMode="auto">
              <a:xfrm>
                <a:off x="7232807" y="3043020"/>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63" name="Line 203"/>
              <p:cNvSpPr>
                <a:spLocks noChangeShapeType="1"/>
              </p:cNvSpPr>
              <p:nvPr/>
            </p:nvSpPr>
            <p:spPr bwMode="auto">
              <a:xfrm>
                <a:off x="7232807" y="3114457"/>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64" name="Line 204"/>
              <p:cNvSpPr>
                <a:spLocks noChangeShapeType="1"/>
              </p:cNvSpPr>
              <p:nvPr/>
            </p:nvSpPr>
            <p:spPr bwMode="auto">
              <a:xfrm>
                <a:off x="7232807" y="3184307"/>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65" name="Line 205"/>
              <p:cNvSpPr>
                <a:spLocks noChangeShapeType="1"/>
              </p:cNvSpPr>
              <p:nvPr/>
            </p:nvSpPr>
            <p:spPr bwMode="auto">
              <a:xfrm>
                <a:off x="7232807" y="3254157"/>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66" name="Line 206"/>
              <p:cNvSpPr>
                <a:spLocks noChangeShapeType="1"/>
              </p:cNvSpPr>
              <p:nvPr/>
            </p:nvSpPr>
            <p:spPr bwMode="auto">
              <a:xfrm>
                <a:off x="7232807" y="3325595"/>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176" name="Group 175"/>
            <p:cNvGrpSpPr/>
            <p:nvPr/>
          </p:nvGrpSpPr>
          <p:grpSpPr>
            <a:xfrm>
              <a:off x="7398219" y="3178109"/>
              <a:ext cx="234950" cy="430212"/>
              <a:chOff x="7445532" y="3058895"/>
              <a:chExt cx="234950" cy="430212"/>
            </a:xfrm>
          </p:grpSpPr>
          <p:sp>
            <p:nvSpPr>
              <p:cNvPr id="67" name="Freeform 207"/>
              <p:cNvSpPr>
                <a:spLocks/>
              </p:cNvSpPr>
              <p:nvPr/>
            </p:nvSpPr>
            <p:spPr bwMode="auto">
              <a:xfrm>
                <a:off x="7445532" y="3058895"/>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68" name="Line 208"/>
              <p:cNvSpPr>
                <a:spLocks noChangeShapeType="1"/>
              </p:cNvSpPr>
              <p:nvPr/>
            </p:nvSpPr>
            <p:spPr bwMode="auto">
              <a:xfrm>
                <a:off x="7504270" y="3128745"/>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69" name="Line 209"/>
              <p:cNvSpPr>
                <a:spLocks noChangeShapeType="1"/>
              </p:cNvSpPr>
              <p:nvPr/>
            </p:nvSpPr>
            <p:spPr bwMode="auto">
              <a:xfrm>
                <a:off x="7504270" y="3197007"/>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70" name="Line 210"/>
              <p:cNvSpPr>
                <a:spLocks noChangeShapeType="1"/>
              </p:cNvSpPr>
              <p:nvPr/>
            </p:nvSpPr>
            <p:spPr bwMode="auto">
              <a:xfrm>
                <a:off x="7504270" y="3268445"/>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71" name="Line 211"/>
              <p:cNvSpPr>
                <a:spLocks noChangeShapeType="1"/>
              </p:cNvSpPr>
              <p:nvPr/>
            </p:nvSpPr>
            <p:spPr bwMode="auto">
              <a:xfrm>
                <a:off x="7504270" y="3338295"/>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72" name="Line 212"/>
              <p:cNvSpPr>
                <a:spLocks noChangeShapeType="1"/>
              </p:cNvSpPr>
              <p:nvPr/>
            </p:nvSpPr>
            <p:spPr bwMode="auto">
              <a:xfrm>
                <a:off x="7504270" y="3408145"/>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166" name="Group 165"/>
            <p:cNvGrpSpPr/>
            <p:nvPr/>
          </p:nvGrpSpPr>
          <p:grpSpPr>
            <a:xfrm>
              <a:off x="7665584" y="3334001"/>
              <a:ext cx="239713" cy="274320"/>
              <a:chOff x="5087835" y="3084098"/>
              <a:chExt cx="239713" cy="274320"/>
            </a:xfrm>
          </p:grpSpPr>
          <p:sp>
            <p:nvSpPr>
              <p:cNvPr id="167" name="Freeform 195"/>
              <p:cNvSpPr>
                <a:spLocks/>
              </p:cNvSpPr>
              <p:nvPr/>
            </p:nvSpPr>
            <p:spPr bwMode="auto">
              <a:xfrm>
                <a:off x="5087835" y="3084098"/>
                <a:ext cx="239713" cy="274320"/>
              </a:xfrm>
              <a:prstGeom prst="roundRect">
                <a:avLst>
                  <a:gd name="adj" fmla="val 14308"/>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68" name="Line 196"/>
              <p:cNvSpPr>
                <a:spLocks noChangeShapeType="1"/>
              </p:cNvSpPr>
              <p:nvPr/>
            </p:nvSpPr>
            <p:spPr bwMode="auto">
              <a:xfrm>
                <a:off x="5148160" y="315394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69" name="Line 197"/>
              <p:cNvSpPr>
                <a:spLocks noChangeShapeType="1"/>
              </p:cNvSpPr>
              <p:nvPr/>
            </p:nvSpPr>
            <p:spPr bwMode="auto">
              <a:xfrm>
                <a:off x="5148160" y="3222210"/>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177" name="Group 176"/>
            <p:cNvGrpSpPr/>
            <p:nvPr/>
          </p:nvGrpSpPr>
          <p:grpSpPr>
            <a:xfrm>
              <a:off x="6583417" y="3334001"/>
              <a:ext cx="239713" cy="274320"/>
              <a:chOff x="5087835" y="3084098"/>
              <a:chExt cx="239713" cy="274320"/>
            </a:xfrm>
          </p:grpSpPr>
          <p:sp>
            <p:nvSpPr>
              <p:cNvPr id="178" name="Freeform 195"/>
              <p:cNvSpPr>
                <a:spLocks/>
              </p:cNvSpPr>
              <p:nvPr/>
            </p:nvSpPr>
            <p:spPr bwMode="auto">
              <a:xfrm>
                <a:off x="5087835" y="3084098"/>
                <a:ext cx="239713" cy="274320"/>
              </a:xfrm>
              <a:prstGeom prst="roundRect">
                <a:avLst>
                  <a:gd name="adj" fmla="val 14308"/>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79" name="Line 196"/>
              <p:cNvSpPr>
                <a:spLocks noChangeShapeType="1"/>
              </p:cNvSpPr>
              <p:nvPr/>
            </p:nvSpPr>
            <p:spPr bwMode="auto">
              <a:xfrm>
                <a:off x="5148160" y="315394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80" name="Line 197"/>
              <p:cNvSpPr>
                <a:spLocks noChangeShapeType="1"/>
              </p:cNvSpPr>
              <p:nvPr/>
            </p:nvSpPr>
            <p:spPr bwMode="auto">
              <a:xfrm>
                <a:off x="5148160" y="3222210"/>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grpSp>
        <p:nvGrpSpPr>
          <p:cNvPr id="183" name="Group 182"/>
          <p:cNvGrpSpPr/>
          <p:nvPr/>
        </p:nvGrpSpPr>
        <p:grpSpPr>
          <a:xfrm>
            <a:off x="1806256" y="2728571"/>
            <a:ext cx="393254" cy="705771"/>
            <a:chOff x="5087835" y="3084098"/>
            <a:chExt cx="239713" cy="430212"/>
          </a:xfrm>
        </p:grpSpPr>
        <p:sp>
          <p:nvSpPr>
            <p:cNvPr id="184" name="Freeform 195"/>
            <p:cNvSpPr>
              <a:spLocks/>
            </p:cNvSpPr>
            <p:nvPr/>
          </p:nvSpPr>
          <p:spPr bwMode="auto">
            <a:xfrm>
              <a:off x="5087835" y="3084098"/>
              <a:ext cx="239713" cy="430212"/>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85" name="Line 196"/>
            <p:cNvSpPr>
              <a:spLocks noChangeShapeType="1"/>
            </p:cNvSpPr>
            <p:nvPr/>
          </p:nvSpPr>
          <p:spPr bwMode="auto">
            <a:xfrm>
              <a:off x="5148160" y="315394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86" name="Line 197"/>
            <p:cNvSpPr>
              <a:spLocks noChangeShapeType="1"/>
            </p:cNvSpPr>
            <p:nvPr/>
          </p:nvSpPr>
          <p:spPr bwMode="auto">
            <a:xfrm>
              <a:off x="5148160" y="3222210"/>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87" name="Line 198"/>
            <p:cNvSpPr>
              <a:spLocks noChangeShapeType="1"/>
            </p:cNvSpPr>
            <p:nvPr/>
          </p:nvSpPr>
          <p:spPr bwMode="auto">
            <a:xfrm>
              <a:off x="5148160" y="329364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88" name="Line 199"/>
            <p:cNvSpPr>
              <a:spLocks noChangeShapeType="1"/>
            </p:cNvSpPr>
            <p:nvPr/>
          </p:nvSpPr>
          <p:spPr bwMode="auto">
            <a:xfrm>
              <a:off x="5148160" y="336349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189" name="Line 200"/>
            <p:cNvSpPr>
              <a:spLocks noChangeShapeType="1"/>
            </p:cNvSpPr>
            <p:nvPr/>
          </p:nvSpPr>
          <p:spPr bwMode="auto">
            <a:xfrm>
              <a:off x="5148160" y="3433348"/>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spTree>
    <p:extLst>
      <p:ext uri="{BB962C8B-B14F-4D97-AF65-F5344CB8AC3E}">
        <p14:creationId xmlns:p14="http://schemas.microsoft.com/office/powerpoint/2010/main" val="112072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4537" y="3838046"/>
            <a:ext cx="8760073" cy="369332"/>
          </a:xfrm>
          <a:prstGeom prst="rect">
            <a:avLst/>
          </a:prstGeom>
          <a:solidFill>
            <a:srgbClr val="0B82A3"/>
          </a:solid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rPr>
              <a:t>Secure Network ・ Secure Cloud ・ Secure Enterprise</a:t>
            </a:r>
          </a:p>
        </p:txBody>
      </p:sp>
      <p:grpSp>
        <p:nvGrpSpPr>
          <p:cNvPr id="5" name="Group 4"/>
          <p:cNvGrpSpPr/>
          <p:nvPr/>
        </p:nvGrpSpPr>
        <p:grpSpPr>
          <a:xfrm>
            <a:off x="1166000" y="2585430"/>
            <a:ext cx="914011" cy="810028"/>
            <a:chOff x="632269" y="3373554"/>
            <a:chExt cx="914011" cy="810027"/>
          </a:xfrm>
        </p:grpSpPr>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6654" y="3373554"/>
              <a:ext cx="454460" cy="454460"/>
            </a:xfrm>
            <a:prstGeom prst="rect">
              <a:avLst/>
            </a:prstGeom>
          </p:spPr>
        </p:pic>
        <p:sp>
          <p:nvSpPr>
            <p:cNvPr id="25" name="TextBox 24"/>
            <p:cNvSpPr txBox="1"/>
            <p:nvPr/>
          </p:nvSpPr>
          <p:spPr>
            <a:xfrm>
              <a:off x="632269" y="3814250"/>
              <a:ext cx="914011" cy="369331"/>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Converged Core</a:t>
              </a:r>
            </a:p>
          </p:txBody>
        </p:sp>
      </p:grpSp>
      <p:grpSp>
        <p:nvGrpSpPr>
          <p:cNvPr id="6" name="Group 5"/>
          <p:cNvGrpSpPr/>
          <p:nvPr/>
        </p:nvGrpSpPr>
        <p:grpSpPr>
          <a:xfrm>
            <a:off x="2161835" y="2585430"/>
            <a:ext cx="914011" cy="825803"/>
            <a:chOff x="1844536" y="3373553"/>
            <a:chExt cx="914011" cy="825802"/>
          </a:xfrm>
        </p:grpSpPr>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82204" y="3373553"/>
              <a:ext cx="454460" cy="454460"/>
            </a:xfrm>
            <a:prstGeom prst="rect">
              <a:avLst/>
            </a:prstGeom>
          </p:spPr>
        </p:pic>
        <p:sp>
          <p:nvSpPr>
            <p:cNvPr id="23" name="TextBox 22"/>
            <p:cNvSpPr txBox="1"/>
            <p:nvPr/>
          </p:nvSpPr>
          <p:spPr>
            <a:xfrm>
              <a:off x="1844536" y="3830024"/>
              <a:ext cx="914011" cy="369331"/>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Network</a:t>
              </a:r>
            </a:p>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Slicing</a:t>
              </a:r>
            </a:p>
          </p:txBody>
        </p:sp>
      </p:grpSp>
      <p:grpSp>
        <p:nvGrpSpPr>
          <p:cNvPr id="7" name="Group 6"/>
          <p:cNvGrpSpPr/>
          <p:nvPr/>
        </p:nvGrpSpPr>
        <p:grpSpPr>
          <a:xfrm>
            <a:off x="3157670" y="2585430"/>
            <a:ext cx="914011" cy="821551"/>
            <a:chOff x="3087158" y="3398470"/>
            <a:chExt cx="914011" cy="821550"/>
          </a:xfrm>
        </p:grpSpPr>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10281" y="3398470"/>
              <a:ext cx="454460" cy="454460"/>
            </a:xfrm>
            <a:prstGeom prst="rect">
              <a:avLst/>
            </a:prstGeom>
          </p:spPr>
        </p:pic>
        <p:sp>
          <p:nvSpPr>
            <p:cNvPr id="21" name="TextBox 20"/>
            <p:cNvSpPr txBox="1"/>
            <p:nvPr/>
          </p:nvSpPr>
          <p:spPr>
            <a:xfrm>
              <a:off x="3087158" y="3850689"/>
              <a:ext cx="914011" cy="369331"/>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Service</a:t>
              </a:r>
            </a:p>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Automation</a:t>
              </a:r>
            </a:p>
          </p:txBody>
        </p:sp>
      </p:grpSp>
      <p:grpSp>
        <p:nvGrpSpPr>
          <p:cNvPr id="8" name="Group 7"/>
          <p:cNvGrpSpPr/>
          <p:nvPr/>
        </p:nvGrpSpPr>
        <p:grpSpPr>
          <a:xfrm>
            <a:off x="4153505" y="2585430"/>
            <a:ext cx="914011" cy="795237"/>
            <a:chOff x="4367117" y="3424785"/>
            <a:chExt cx="914011" cy="795236"/>
          </a:xfrm>
        </p:grpSpPr>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92337" y="3424785"/>
              <a:ext cx="454460" cy="454460"/>
            </a:xfrm>
            <a:prstGeom prst="rect">
              <a:avLst/>
            </a:prstGeom>
          </p:spPr>
        </p:pic>
        <p:sp>
          <p:nvSpPr>
            <p:cNvPr id="19" name="TextBox 18"/>
            <p:cNvSpPr txBox="1"/>
            <p:nvPr/>
          </p:nvSpPr>
          <p:spPr>
            <a:xfrm>
              <a:off x="4367117" y="3850690"/>
              <a:ext cx="914011" cy="369331"/>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Edge Distribution</a:t>
              </a:r>
            </a:p>
          </p:txBody>
        </p:sp>
      </p:grpSp>
      <p:grpSp>
        <p:nvGrpSpPr>
          <p:cNvPr id="9" name="Group 8"/>
          <p:cNvGrpSpPr/>
          <p:nvPr/>
        </p:nvGrpSpPr>
        <p:grpSpPr>
          <a:xfrm>
            <a:off x="5149340" y="2585430"/>
            <a:ext cx="914011" cy="785147"/>
            <a:chOff x="5527480" y="3424785"/>
            <a:chExt cx="914011" cy="785146"/>
          </a:xfrm>
        </p:grpSpPr>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74480" y="3424785"/>
              <a:ext cx="454460" cy="454460"/>
            </a:xfrm>
            <a:prstGeom prst="rect">
              <a:avLst/>
            </a:prstGeom>
          </p:spPr>
        </p:pic>
        <p:sp>
          <p:nvSpPr>
            <p:cNvPr id="17" name="TextBox 16"/>
            <p:cNvSpPr txBox="1"/>
            <p:nvPr/>
          </p:nvSpPr>
          <p:spPr>
            <a:xfrm>
              <a:off x="5527480" y="3840600"/>
              <a:ext cx="914011" cy="369331"/>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Virtual</a:t>
              </a:r>
            </a:p>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Scaling</a:t>
              </a:r>
            </a:p>
          </p:txBody>
        </p:sp>
      </p:grpSp>
      <p:grpSp>
        <p:nvGrpSpPr>
          <p:cNvPr id="10" name="Group 9"/>
          <p:cNvGrpSpPr/>
          <p:nvPr/>
        </p:nvGrpSpPr>
        <p:grpSpPr>
          <a:xfrm>
            <a:off x="6145175" y="2585430"/>
            <a:ext cx="914011" cy="668844"/>
            <a:chOff x="6681342" y="3373554"/>
            <a:chExt cx="914011" cy="668843"/>
          </a:xfrm>
        </p:grpSpPr>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14760" y="3373554"/>
              <a:ext cx="454460" cy="454460"/>
            </a:xfrm>
            <a:prstGeom prst="rect">
              <a:avLst/>
            </a:prstGeom>
          </p:spPr>
        </p:pic>
        <p:sp>
          <p:nvSpPr>
            <p:cNvPr id="15" name="TextBox 14"/>
            <p:cNvSpPr txBox="1"/>
            <p:nvPr/>
          </p:nvSpPr>
          <p:spPr>
            <a:xfrm>
              <a:off x="6681342" y="3811565"/>
              <a:ext cx="914011" cy="230832"/>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Security</a:t>
              </a:r>
            </a:p>
          </p:txBody>
        </p:sp>
      </p:grpSp>
      <p:grpSp>
        <p:nvGrpSpPr>
          <p:cNvPr id="11" name="Group 10"/>
          <p:cNvGrpSpPr/>
          <p:nvPr/>
        </p:nvGrpSpPr>
        <p:grpSpPr>
          <a:xfrm>
            <a:off x="7141008" y="2585430"/>
            <a:ext cx="914011" cy="681814"/>
            <a:chOff x="7879137" y="3373554"/>
            <a:chExt cx="914011" cy="681813"/>
          </a:xfrm>
        </p:grpSpPr>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02260" y="3373554"/>
              <a:ext cx="454460" cy="454460"/>
            </a:xfrm>
            <a:prstGeom prst="rect">
              <a:avLst/>
            </a:prstGeom>
          </p:spPr>
        </p:pic>
        <p:sp>
          <p:nvSpPr>
            <p:cNvPr id="13" name="TextBox 12"/>
            <p:cNvSpPr txBox="1"/>
            <p:nvPr/>
          </p:nvSpPr>
          <p:spPr>
            <a:xfrm>
              <a:off x="7879137" y="3824535"/>
              <a:ext cx="914011" cy="230832"/>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TT ExtraLight"/>
                  <a:ea typeface="ＭＳ Ｐゴシック" charset="0"/>
                </a:rPr>
                <a:t>Services</a:t>
              </a:r>
            </a:p>
          </p:txBody>
        </p:sp>
      </p:grpSp>
      <p:grpSp>
        <p:nvGrpSpPr>
          <p:cNvPr id="50" name="Group 49"/>
          <p:cNvGrpSpPr/>
          <p:nvPr/>
        </p:nvGrpSpPr>
        <p:grpSpPr>
          <a:xfrm>
            <a:off x="233975" y="1259955"/>
            <a:ext cx="8604959" cy="986136"/>
            <a:chOff x="233974" y="2059340"/>
            <a:chExt cx="8604959" cy="986136"/>
          </a:xfrm>
        </p:grpSpPr>
        <p:cxnSp>
          <p:nvCxnSpPr>
            <p:cNvPr id="61" name="Straight Connector 60"/>
            <p:cNvCxnSpPr/>
            <p:nvPr/>
          </p:nvCxnSpPr>
          <p:spPr>
            <a:xfrm>
              <a:off x="1567542" y="2550897"/>
              <a:ext cx="754743" cy="0"/>
            </a:xfrm>
            <a:prstGeom prst="line">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316514" y="2550897"/>
              <a:ext cx="754743" cy="0"/>
            </a:xfrm>
            <a:prstGeom prst="line">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043714" y="2550897"/>
              <a:ext cx="754743" cy="0"/>
            </a:xfrm>
            <a:prstGeom prst="line">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756401" y="2550897"/>
              <a:ext cx="754743" cy="0"/>
            </a:xfrm>
            <a:prstGeom prst="line">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233974" y="2550897"/>
              <a:ext cx="365760" cy="0"/>
            </a:xfrm>
            <a:prstGeom prst="line">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8473173" y="2550897"/>
              <a:ext cx="365760" cy="0"/>
            </a:xfrm>
            <a:prstGeom prst="line">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cxnSp>
        <p:sp>
          <p:nvSpPr>
            <p:cNvPr id="67" name="Arc 66"/>
            <p:cNvSpPr/>
            <p:nvPr/>
          </p:nvSpPr>
          <p:spPr>
            <a:xfrm>
              <a:off x="2322285" y="2059340"/>
              <a:ext cx="960120" cy="977070"/>
            </a:xfrm>
            <a:prstGeom prst="arc">
              <a:avLst>
                <a:gd name="adj1" fmla="val 10922722"/>
                <a:gd name="adj2" fmla="val 0"/>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68" name="Arc 67"/>
            <p:cNvSpPr/>
            <p:nvPr/>
          </p:nvSpPr>
          <p:spPr>
            <a:xfrm>
              <a:off x="5783943" y="2068406"/>
              <a:ext cx="960120" cy="977070"/>
            </a:xfrm>
            <a:prstGeom prst="arc">
              <a:avLst>
                <a:gd name="adj1" fmla="val 10922722"/>
                <a:gd name="adj2" fmla="val 0"/>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69" name="Arc 68"/>
            <p:cNvSpPr/>
            <p:nvPr/>
          </p:nvSpPr>
          <p:spPr>
            <a:xfrm flipV="1">
              <a:off x="580422" y="2059340"/>
              <a:ext cx="960120" cy="977070"/>
            </a:xfrm>
            <a:prstGeom prst="arc">
              <a:avLst>
                <a:gd name="adj1" fmla="val 10922722"/>
                <a:gd name="adj2" fmla="val 0"/>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70" name="Arc 69"/>
            <p:cNvSpPr/>
            <p:nvPr/>
          </p:nvSpPr>
          <p:spPr>
            <a:xfrm flipV="1">
              <a:off x="4062911" y="2066597"/>
              <a:ext cx="960120" cy="977070"/>
            </a:xfrm>
            <a:prstGeom prst="arc">
              <a:avLst>
                <a:gd name="adj1" fmla="val 10922722"/>
                <a:gd name="adj2" fmla="val 0"/>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71" name="Arc 70"/>
            <p:cNvSpPr/>
            <p:nvPr/>
          </p:nvSpPr>
          <p:spPr>
            <a:xfrm flipV="1">
              <a:off x="7513053" y="2059340"/>
              <a:ext cx="960120" cy="977070"/>
            </a:xfrm>
            <a:prstGeom prst="arc">
              <a:avLst>
                <a:gd name="adj1" fmla="val 10922722"/>
                <a:gd name="adj2" fmla="val 0"/>
              </a:avLst>
            </a:prstGeom>
            <a:ln w="38100">
              <a:solidFill>
                <a:srgbClr val="2A7A3F"/>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26" name="Group 25">
            <a:extLst>
              <a:ext uri="{FF2B5EF4-FFF2-40B4-BE49-F238E27FC236}">
                <a16:creationId xmlns:a16="http://schemas.microsoft.com/office/drawing/2014/main" id="{E9884975-DC49-4E18-B061-A0D8A93187F5}"/>
              </a:ext>
            </a:extLst>
          </p:cNvPr>
          <p:cNvGrpSpPr/>
          <p:nvPr/>
        </p:nvGrpSpPr>
        <p:grpSpPr>
          <a:xfrm>
            <a:off x="7463773" y="1259955"/>
            <a:ext cx="1071127" cy="953489"/>
            <a:chOff x="512684" y="1259955"/>
            <a:chExt cx="1071127" cy="953489"/>
          </a:xfrm>
        </p:grpSpPr>
        <p:pic>
          <p:nvPicPr>
            <p:cNvPr id="51" name="Picture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0210" y="1430095"/>
              <a:ext cx="636075" cy="636075"/>
            </a:xfrm>
            <a:prstGeom prst="rect">
              <a:avLst/>
            </a:prstGeom>
          </p:spPr>
        </p:pic>
        <p:sp>
          <p:nvSpPr>
            <p:cNvPr id="56" name="TextBox 55"/>
            <p:cNvSpPr txBox="1"/>
            <p:nvPr/>
          </p:nvSpPr>
          <p:spPr>
            <a:xfrm>
              <a:off x="512684" y="1259955"/>
              <a:ext cx="1071127" cy="953489"/>
            </a:xfrm>
            <a:prstGeom prst="rect">
              <a:avLst/>
            </a:prstGeom>
            <a:noFill/>
          </p:spPr>
          <p:txBody>
            <a:bodyPr wrap="none" rtlCol="0">
              <a:prstTxWarp prst="textArchUp">
                <a:avLst/>
              </a:prstTxWarp>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5073"/>
                  </a:solidFill>
                  <a:effectLst/>
                  <a:uLnTx/>
                  <a:uFillTx/>
                  <a:latin typeface="CiscoSansTT ExtraLight"/>
                  <a:ea typeface="ＭＳ Ｐゴシック" charset="0"/>
                </a:rPr>
                <a:t>MULTICLOUD</a:t>
              </a:r>
            </a:p>
          </p:txBody>
        </p:sp>
      </p:grpSp>
      <p:grpSp>
        <p:nvGrpSpPr>
          <p:cNvPr id="30" name="Group 29">
            <a:extLst>
              <a:ext uri="{FF2B5EF4-FFF2-40B4-BE49-F238E27FC236}">
                <a16:creationId xmlns:a16="http://schemas.microsoft.com/office/drawing/2014/main" id="{DF59BD52-A414-47A6-BDB0-F5E945AA1B5B}"/>
              </a:ext>
            </a:extLst>
          </p:cNvPr>
          <p:cNvGrpSpPr/>
          <p:nvPr/>
        </p:nvGrpSpPr>
        <p:grpSpPr>
          <a:xfrm>
            <a:off x="4055941" y="1259955"/>
            <a:ext cx="995062" cy="966348"/>
            <a:chOff x="2309534" y="1259955"/>
            <a:chExt cx="995062" cy="966348"/>
          </a:xfrm>
        </p:grpSpPr>
        <p:pic>
          <p:nvPicPr>
            <p:cNvPr id="54" name="Picture 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89028" y="1430095"/>
              <a:ext cx="636075" cy="636075"/>
            </a:xfrm>
            <a:prstGeom prst="rect">
              <a:avLst/>
            </a:prstGeom>
          </p:spPr>
        </p:pic>
        <p:sp>
          <p:nvSpPr>
            <p:cNvPr id="57" name="TextBox 56"/>
            <p:cNvSpPr txBox="1"/>
            <p:nvPr/>
          </p:nvSpPr>
          <p:spPr>
            <a:xfrm>
              <a:off x="2309534" y="1259955"/>
              <a:ext cx="995062" cy="966348"/>
            </a:xfrm>
            <a:prstGeom prst="rect">
              <a:avLst/>
            </a:prstGeom>
            <a:noFill/>
          </p:spPr>
          <p:txBody>
            <a:bodyPr spcFirstLastPara="1" wrap="none" numCol="1" rtlCol="0">
              <a:prstTxWarp prst="textArchUp">
                <a:avLst/>
              </a:prstTxWarp>
              <a:spAutoFit/>
            </a:bodyPr>
            <a:lstStyle>
              <a:defPPr>
                <a:defRPr lang="en-US"/>
              </a:defPPr>
              <a:lvl1pPr marL="0" marR="0" lvl="0" indent="0" algn="ctr" defTabSz="457189" eaLnBrk="1" latinLnBrk="0" hangingPunct="1">
                <a:lnSpc>
                  <a:spcPct val="100000"/>
                </a:lnSpc>
                <a:buClrTx/>
                <a:buSzTx/>
                <a:buFontTx/>
                <a:buNone/>
                <a:tabLst/>
                <a:defRPr kumimoji="0" sz="1100" b="0" i="0" u="none" strike="noStrike" cap="none" spc="0" normalizeH="0" baseline="0">
                  <a:ln>
                    <a:noFill/>
                  </a:ln>
                  <a:solidFill>
                    <a:srgbClr val="005073"/>
                  </a:solidFill>
                  <a:effectLst/>
                  <a:uLnTx/>
                  <a:uFillTx/>
                  <a:latin typeface="CiscoSansTT ExtraLight"/>
                </a:defRPr>
              </a:lvl1pPr>
            </a:lstStyle>
            <a:p>
              <a:r>
                <a:rPr lang="en-US" dirty="0"/>
                <a:t>5G READY</a:t>
              </a:r>
            </a:p>
          </p:txBody>
        </p:sp>
      </p:grpSp>
      <p:grpSp>
        <p:nvGrpSpPr>
          <p:cNvPr id="28" name="Group 27">
            <a:extLst>
              <a:ext uri="{FF2B5EF4-FFF2-40B4-BE49-F238E27FC236}">
                <a16:creationId xmlns:a16="http://schemas.microsoft.com/office/drawing/2014/main" id="{9E066AFC-B1F2-47C2-9E41-957BCDDE1071}"/>
              </a:ext>
            </a:extLst>
          </p:cNvPr>
          <p:cNvGrpSpPr/>
          <p:nvPr/>
        </p:nvGrpSpPr>
        <p:grpSpPr>
          <a:xfrm>
            <a:off x="5591270" y="1259955"/>
            <a:ext cx="1319592" cy="962556"/>
            <a:chOff x="3873930" y="1259955"/>
            <a:chExt cx="1319592" cy="962556"/>
          </a:xfrm>
        </p:grpSpPr>
        <p:pic>
          <p:nvPicPr>
            <p:cNvPr id="52" name="Picture 5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15689" y="1430095"/>
              <a:ext cx="636075" cy="636075"/>
            </a:xfrm>
            <a:prstGeom prst="rect">
              <a:avLst/>
            </a:prstGeom>
          </p:spPr>
        </p:pic>
        <p:sp>
          <p:nvSpPr>
            <p:cNvPr id="58" name="TextBox 57"/>
            <p:cNvSpPr txBox="1"/>
            <p:nvPr/>
          </p:nvSpPr>
          <p:spPr>
            <a:xfrm>
              <a:off x="3873930" y="1259955"/>
              <a:ext cx="1319592" cy="962556"/>
            </a:xfrm>
            <a:prstGeom prst="rect">
              <a:avLst/>
            </a:prstGeom>
            <a:noFill/>
          </p:spPr>
          <p:txBody>
            <a:bodyPr spcFirstLastPara="1" wrap="none" numCol="1" rtlCol="0">
              <a:prstTxWarp prst="textArchDown">
                <a:avLst/>
              </a:prstTxWarp>
              <a:spAutoFit/>
            </a:bodyPr>
            <a:lstStyle>
              <a:defPPr>
                <a:defRPr lang="en-US"/>
              </a:defPPr>
              <a:lvl1pPr marL="0" marR="0" lvl="0" indent="0" algn="ctr" defTabSz="457189" eaLnBrk="1" latinLnBrk="0" hangingPunct="1">
                <a:lnSpc>
                  <a:spcPct val="100000"/>
                </a:lnSpc>
                <a:buClrTx/>
                <a:buSzTx/>
                <a:buFontTx/>
                <a:buNone/>
                <a:tabLst/>
                <a:defRPr kumimoji="0" sz="1100" b="0" i="0" u="none" strike="noStrike" cap="none" spc="0" normalizeH="0" baseline="0">
                  <a:ln>
                    <a:noFill/>
                  </a:ln>
                  <a:solidFill>
                    <a:srgbClr val="005073"/>
                  </a:solidFill>
                  <a:effectLst/>
                  <a:uLnTx/>
                  <a:uFillTx/>
                  <a:latin typeface="CiscoSansTT ExtraLight"/>
                </a:defRPr>
              </a:lvl1pPr>
            </a:lstStyle>
            <a:p>
              <a:r>
                <a:rPr lang="en-US" dirty="0"/>
                <a:t>IP CORE &amp; EDGE</a:t>
              </a:r>
            </a:p>
          </p:txBody>
        </p:sp>
      </p:grpSp>
      <p:grpSp>
        <p:nvGrpSpPr>
          <p:cNvPr id="29" name="Group 28">
            <a:extLst>
              <a:ext uri="{FF2B5EF4-FFF2-40B4-BE49-F238E27FC236}">
                <a16:creationId xmlns:a16="http://schemas.microsoft.com/office/drawing/2014/main" id="{95BDAE87-13EC-4B7E-9481-E6772083B7AA}"/>
              </a:ext>
            </a:extLst>
          </p:cNvPr>
          <p:cNvGrpSpPr/>
          <p:nvPr/>
        </p:nvGrpSpPr>
        <p:grpSpPr>
          <a:xfrm>
            <a:off x="2290380" y="1259955"/>
            <a:ext cx="1016489" cy="975414"/>
            <a:chOff x="5759577" y="1259955"/>
            <a:chExt cx="1016489" cy="975414"/>
          </a:xfrm>
        </p:grpSpPr>
        <p:pic>
          <p:nvPicPr>
            <p:cNvPr id="55" name="Picture 5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949784" y="1430095"/>
              <a:ext cx="636075" cy="636075"/>
            </a:xfrm>
            <a:prstGeom prst="rect">
              <a:avLst/>
            </a:prstGeom>
          </p:spPr>
        </p:pic>
        <p:sp>
          <p:nvSpPr>
            <p:cNvPr id="59" name="TextBox 58"/>
            <p:cNvSpPr txBox="1"/>
            <p:nvPr/>
          </p:nvSpPr>
          <p:spPr>
            <a:xfrm>
              <a:off x="5759577" y="1259955"/>
              <a:ext cx="1016489" cy="975414"/>
            </a:xfrm>
            <a:prstGeom prst="rect">
              <a:avLst/>
            </a:prstGeom>
            <a:noFill/>
          </p:spPr>
          <p:txBody>
            <a:bodyPr spcFirstLastPara="1" wrap="none" numCol="1" rtlCol="0">
              <a:prstTxWarp prst="textArchDown">
                <a:avLst/>
              </a:prstTxWarp>
              <a:spAutoFit/>
            </a:bodyPr>
            <a:lstStyle>
              <a:defPPr>
                <a:defRPr lang="en-US"/>
              </a:defPPr>
              <a:lvl1pPr algn="ctr">
                <a:defRPr sz="1100">
                  <a:latin typeface="+mn-lt"/>
                </a:defRPr>
              </a:lvl1p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5073"/>
                  </a:solidFill>
                  <a:effectLst/>
                  <a:uLnTx/>
                  <a:uFillTx/>
                  <a:latin typeface="CiscoSansTT ExtraLight"/>
                  <a:ea typeface="ＭＳ Ｐゴシック" charset="0"/>
                </a:rPr>
                <a:t>ACCESS`</a:t>
              </a:r>
            </a:p>
          </p:txBody>
        </p:sp>
      </p:grpSp>
      <p:grpSp>
        <p:nvGrpSpPr>
          <p:cNvPr id="27" name="Group 26">
            <a:extLst>
              <a:ext uri="{FF2B5EF4-FFF2-40B4-BE49-F238E27FC236}">
                <a16:creationId xmlns:a16="http://schemas.microsoft.com/office/drawing/2014/main" id="{5288AFA1-84BE-4925-BBE9-1A1E5F1E6624}"/>
              </a:ext>
            </a:extLst>
          </p:cNvPr>
          <p:cNvGrpSpPr/>
          <p:nvPr/>
        </p:nvGrpSpPr>
        <p:grpSpPr>
          <a:xfrm>
            <a:off x="575116" y="1259955"/>
            <a:ext cx="984021" cy="960627"/>
            <a:chOff x="7489152" y="1259955"/>
            <a:chExt cx="984021" cy="960627"/>
          </a:xfrm>
        </p:grpSpPr>
        <p:pic>
          <p:nvPicPr>
            <p:cNvPr id="53" name="Picture 5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663125" y="1430095"/>
              <a:ext cx="636075" cy="636075"/>
            </a:xfrm>
            <a:prstGeom prst="rect">
              <a:avLst/>
            </a:prstGeom>
          </p:spPr>
        </p:pic>
        <p:sp>
          <p:nvSpPr>
            <p:cNvPr id="60" name="TextBox 59"/>
            <p:cNvSpPr txBox="1"/>
            <p:nvPr/>
          </p:nvSpPr>
          <p:spPr>
            <a:xfrm>
              <a:off x="7489152" y="1259955"/>
              <a:ext cx="984021" cy="960627"/>
            </a:xfrm>
            <a:prstGeom prst="rect">
              <a:avLst/>
            </a:prstGeom>
            <a:noFill/>
          </p:spPr>
          <p:txBody>
            <a:bodyPr spcFirstLastPara="1" wrap="none" numCol="1" rtlCol="0">
              <a:prstTxWarp prst="textArchUp">
                <a:avLst/>
              </a:prstTxWarp>
              <a:spAutoFit/>
            </a:bodyPr>
            <a:lstStyle>
              <a:defPPr>
                <a:defRPr lang="en-US"/>
              </a:defPPr>
              <a:lvl1pPr algn="ctr">
                <a:defRPr sz="1100">
                  <a:latin typeface="+mn-lt"/>
                </a:defRPr>
              </a:lvl1p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5073"/>
                  </a:solidFill>
                  <a:effectLst/>
                  <a:uLnTx/>
                  <a:uFillTx/>
                  <a:latin typeface="CiscoSansTT ExtraLight"/>
                  <a:ea typeface="ＭＳ Ｐゴシック" charset="0"/>
                </a:rPr>
                <a:t>CLIENT</a:t>
              </a:r>
            </a:p>
          </p:txBody>
        </p:sp>
      </p:grpSp>
      <p:sp>
        <p:nvSpPr>
          <p:cNvPr id="3" name="Title 2">
            <a:extLst>
              <a:ext uri="{FF2B5EF4-FFF2-40B4-BE49-F238E27FC236}">
                <a16:creationId xmlns:a16="http://schemas.microsoft.com/office/drawing/2014/main" id="{D11C5792-B308-4E8C-BFCB-B7BAAF109B12}"/>
              </a:ext>
            </a:extLst>
          </p:cNvPr>
          <p:cNvSpPr>
            <a:spLocks noGrp="1"/>
          </p:cNvSpPr>
          <p:nvPr>
            <p:ph type="title"/>
          </p:nvPr>
        </p:nvSpPr>
        <p:spPr/>
        <p:txBody>
          <a:bodyPr/>
          <a:lstStyle/>
          <a:p>
            <a:r>
              <a:rPr lang="en-US" dirty="0">
                <a:solidFill>
                  <a:srgbClr val="005073"/>
                </a:solidFill>
              </a:rPr>
              <a:t>Redefining the Network End-to-End</a:t>
            </a:r>
            <a:br>
              <a:rPr lang="en-US" dirty="0">
                <a:solidFill>
                  <a:srgbClr val="005073"/>
                </a:solidFill>
              </a:rPr>
            </a:br>
            <a:endParaRPr lang="en-ZA" dirty="0"/>
          </a:p>
        </p:txBody>
      </p:sp>
    </p:spTree>
    <p:extLst>
      <p:ext uri="{BB962C8B-B14F-4D97-AF65-F5344CB8AC3E}">
        <p14:creationId xmlns:p14="http://schemas.microsoft.com/office/powerpoint/2010/main" val="341949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Oval 197">
            <a:extLst>
              <a:ext uri="{FF2B5EF4-FFF2-40B4-BE49-F238E27FC236}">
                <a16:creationId xmlns:a16="http://schemas.microsoft.com/office/drawing/2014/main" id="{1AC6F235-C982-B345-A41F-78E13A530235}"/>
              </a:ext>
            </a:extLst>
          </p:cNvPr>
          <p:cNvSpPr/>
          <p:nvPr/>
        </p:nvSpPr>
        <p:spPr>
          <a:xfrm>
            <a:off x="4071226" y="2484894"/>
            <a:ext cx="1664845" cy="1069940"/>
          </a:xfrm>
          <a:prstGeom prst="ellipse">
            <a:avLst/>
          </a:prstGeom>
          <a:solidFill>
            <a:srgbClr val="D2F1F6">
              <a:alpha val="82000"/>
            </a:srgbClr>
          </a:solidFill>
          <a:ln w="19050">
            <a:solidFill>
              <a:srgbClr val="46C4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2399">
              <a:solidFill>
                <a:srgbClr val="FFFFFF"/>
              </a:solidFill>
              <a:latin typeface="Arial"/>
            </a:endParaRPr>
          </a:p>
        </p:txBody>
      </p:sp>
      <p:sp>
        <p:nvSpPr>
          <p:cNvPr id="2" name="Title 1"/>
          <p:cNvSpPr>
            <a:spLocks noGrp="1"/>
          </p:cNvSpPr>
          <p:nvPr>
            <p:ph type="title"/>
          </p:nvPr>
        </p:nvSpPr>
        <p:spPr>
          <a:xfrm>
            <a:off x="437766" y="139434"/>
            <a:ext cx="8345488" cy="731837"/>
          </a:xfrm>
        </p:spPr>
        <p:txBody>
          <a:bodyPr>
            <a:normAutofit/>
          </a:bodyPr>
          <a:lstStyle/>
          <a:p>
            <a:r>
              <a:rPr lang="en-US" dirty="0"/>
              <a:t>Cisco’s overall 5G transport proposition</a:t>
            </a:r>
          </a:p>
        </p:txBody>
      </p:sp>
      <p:sp>
        <p:nvSpPr>
          <p:cNvPr id="88" name="Oval 87"/>
          <p:cNvSpPr/>
          <p:nvPr/>
        </p:nvSpPr>
        <p:spPr>
          <a:xfrm>
            <a:off x="5736071" y="2487991"/>
            <a:ext cx="1910649" cy="1069940"/>
          </a:xfrm>
          <a:prstGeom prst="ellipse">
            <a:avLst/>
          </a:prstGeom>
          <a:solidFill>
            <a:srgbClr val="D2F1F6">
              <a:alpha val="82000"/>
            </a:srgbClr>
          </a:solidFill>
          <a:ln w="19050">
            <a:solidFill>
              <a:srgbClr val="46C4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2399">
              <a:solidFill>
                <a:srgbClr val="FFFFFF"/>
              </a:solidFill>
              <a:latin typeface="Arial"/>
            </a:endParaRPr>
          </a:p>
        </p:txBody>
      </p:sp>
      <p:sp>
        <p:nvSpPr>
          <p:cNvPr id="86" name="Oval 85"/>
          <p:cNvSpPr/>
          <p:nvPr/>
        </p:nvSpPr>
        <p:spPr>
          <a:xfrm>
            <a:off x="1861186" y="2494243"/>
            <a:ext cx="1108490" cy="1086171"/>
          </a:xfrm>
          <a:prstGeom prst="ellipse">
            <a:avLst/>
          </a:prstGeom>
          <a:solidFill>
            <a:srgbClr val="D2F1F6">
              <a:alpha val="82000"/>
            </a:srgbClr>
          </a:solidFill>
          <a:ln w="19050">
            <a:solidFill>
              <a:srgbClr val="46C4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2399">
              <a:solidFill>
                <a:srgbClr val="FFFFFF"/>
              </a:solidFill>
              <a:latin typeface="Arial"/>
            </a:endParaRPr>
          </a:p>
        </p:txBody>
      </p:sp>
      <p:sp>
        <p:nvSpPr>
          <p:cNvPr id="184" name="Oval 183"/>
          <p:cNvSpPr/>
          <p:nvPr/>
        </p:nvSpPr>
        <p:spPr>
          <a:xfrm>
            <a:off x="3029228" y="2496499"/>
            <a:ext cx="990453" cy="1086704"/>
          </a:xfrm>
          <a:prstGeom prst="ellipse">
            <a:avLst/>
          </a:prstGeom>
          <a:solidFill>
            <a:srgbClr val="D2F1F6">
              <a:alpha val="85000"/>
            </a:srgbClr>
          </a:solidFill>
          <a:ln w="19050">
            <a:solidFill>
              <a:srgbClr val="46C4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2399">
              <a:solidFill>
                <a:srgbClr val="FFFFFF"/>
              </a:solidFill>
              <a:latin typeface="Arial"/>
            </a:endParaRPr>
          </a:p>
        </p:txBody>
      </p:sp>
      <p:sp>
        <p:nvSpPr>
          <p:cNvPr id="92" name="Rectangle 91"/>
          <p:cNvSpPr/>
          <p:nvPr/>
        </p:nvSpPr>
        <p:spPr>
          <a:xfrm>
            <a:off x="1361716" y="3705477"/>
            <a:ext cx="832005" cy="276999"/>
          </a:xfrm>
          <a:prstGeom prst="rect">
            <a:avLst/>
          </a:prstGeom>
        </p:spPr>
        <p:txBody>
          <a:bodyPr wrap="square">
            <a:spAutoFit/>
          </a:bodyPr>
          <a:lstStyle/>
          <a:p>
            <a:pPr algn="ctr" defTabSz="608757"/>
            <a:r>
              <a:rPr lang="en-US" sz="1200" dirty="0">
                <a:solidFill>
                  <a:srgbClr val="2968AF"/>
                </a:solidFill>
                <a:latin typeface="Arial"/>
              </a:rPr>
              <a:t>Access </a:t>
            </a:r>
          </a:p>
        </p:txBody>
      </p:sp>
      <p:sp>
        <p:nvSpPr>
          <p:cNvPr id="94" name="Rectangle 93"/>
          <p:cNvSpPr/>
          <p:nvPr/>
        </p:nvSpPr>
        <p:spPr>
          <a:xfrm>
            <a:off x="6267974" y="3690915"/>
            <a:ext cx="1989967" cy="276999"/>
          </a:xfrm>
          <a:prstGeom prst="rect">
            <a:avLst/>
          </a:prstGeom>
        </p:spPr>
        <p:txBody>
          <a:bodyPr wrap="square">
            <a:spAutoFit/>
          </a:bodyPr>
          <a:lstStyle/>
          <a:p>
            <a:pPr algn="ctr" defTabSz="608757"/>
            <a:r>
              <a:rPr lang="en-US" sz="1200" dirty="0">
                <a:solidFill>
                  <a:srgbClr val="2968AF"/>
                </a:solidFill>
                <a:latin typeface="Arial"/>
              </a:rPr>
              <a:t>Core</a:t>
            </a:r>
          </a:p>
        </p:txBody>
      </p:sp>
      <p:pic>
        <p:nvPicPr>
          <p:cNvPr id="135" name="Picture 134"/>
          <p:cNvPicPr>
            <a:picLocks noChangeAspect="1"/>
          </p:cNvPicPr>
          <p:nvPr/>
        </p:nvPicPr>
        <p:blipFill>
          <a:blip r:embed="rId3"/>
          <a:stretch>
            <a:fillRect/>
          </a:stretch>
        </p:blipFill>
        <p:spPr>
          <a:xfrm>
            <a:off x="3787637" y="2590126"/>
            <a:ext cx="583807" cy="456200"/>
          </a:xfrm>
          <a:prstGeom prst="rect">
            <a:avLst/>
          </a:prstGeom>
        </p:spPr>
      </p:pic>
      <p:sp>
        <p:nvSpPr>
          <p:cNvPr id="151" name="Rectangle 150"/>
          <p:cNvSpPr/>
          <p:nvPr/>
        </p:nvSpPr>
        <p:spPr>
          <a:xfrm>
            <a:off x="4264594" y="3995046"/>
            <a:ext cx="3355191" cy="206456"/>
          </a:xfrm>
          <a:prstGeom prst="rect">
            <a:avLst/>
          </a:prstGeom>
          <a:solidFill>
            <a:srgbClr val="46C4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200" dirty="0">
                <a:solidFill>
                  <a:srgbClr val="FFFFFF"/>
                </a:solidFill>
                <a:latin typeface="Arial"/>
              </a:rPr>
              <a:t>Switched DWDM</a:t>
            </a:r>
          </a:p>
        </p:txBody>
      </p:sp>
      <p:pic>
        <p:nvPicPr>
          <p:cNvPr id="158" name="Picture 157"/>
          <p:cNvPicPr>
            <a:picLocks noChangeAspect="1"/>
          </p:cNvPicPr>
          <p:nvPr/>
        </p:nvPicPr>
        <p:blipFill>
          <a:blip r:embed="rId4"/>
          <a:stretch>
            <a:fillRect/>
          </a:stretch>
        </p:blipFill>
        <p:spPr>
          <a:xfrm>
            <a:off x="1477786" y="1983694"/>
            <a:ext cx="390882" cy="411576"/>
          </a:xfrm>
          <a:prstGeom prst="rect">
            <a:avLst/>
          </a:prstGeom>
          <a:effectLst>
            <a:outerShdw blurRad="50800" dist="50800" dir="5400000" algn="ctr" rotWithShape="0">
              <a:srgbClr val="000000">
                <a:alpha val="71000"/>
              </a:srgbClr>
            </a:outerShdw>
          </a:effectLst>
        </p:spPr>
      </p:pic>
      <p:pic>
        <p:nvPicPr>
          <p:cNvPr id="159" name="Picture 158"/>
          <p:cNvPicPr>
            <a:picLocks noChangeAspect="1"/>
          </p:cNvPicPr>
          <p:nvPr/>
        </p:nvPicPr>
        <p:blipFill>
          <a:blip r:embed="rId4"/>
          <a:stretch>
            <a:fillRect/>
          </a:stretch>
        </p:blipFill>
        <p:spPr>
          <a:xfrm>
            <a:off x="1490886" y="3304858"/>
            <a:ext cx="390882" cy="411576"/>
          </a:xfrm>
          <a:prstGeom prst="rect">
            <a:avLst/>
          </a:prstGeom>
        </p:spPr>
      </p:pic>
      <p:cxnSp>
        <p:nvCxnSpPr>
          <p:cNvPr id="120" name="Straight Connector 119"/>
          <p:cNvCxnSpPr/>
          <p:nvPr/>
        </p:nvCxnSpPr>
        <p:spPr>
          <a:xfrm>
            <a:off x="1721598" y="2547616"/>
            <a:ext cx="1135688" cy="554294"/>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stCxn id="78" idx="2"/>
          </p:cNvCxnSpPr>
          <p:nvPr/>
        </p:nvCxnSpPr>
        <p:spPr>
          <a:xfrm flipV="1">
            <a:off x="1679757" y="3101910"/>
            <a:ext cx="1177529" cy="236212"/>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28" name="Picture 127"/>
          <p:cNvPicPr>
            <a:picLocks noChangeAspect="1"/>
          </p:cNvPicPr>
          <p:nvPr/>
        </p:nvPicPr>
        <p:blipFill>
          <a:blip r:embed="rId3"/>
          <a:stretch>
            <a:fillRect/>
          </a:stretch>
        </p:blipFill>
        <p:spPr>
          <a:xfrm>
            <a:off x="3764121" y="2867401"/>
            <a:ext cx="583807" cy="456200"/>
          </a:xfrm>
          <a:prstGeom prst="rect">
            <a:avLst/>
          </a:prstGeom>
        </p:spPr>
      </p:pic>
      <p:grpSp>
        <p:nvGrpSpPr>
          <p:cNvPr id="122" name="Group 121"/>
          <p:cNvGrpSpPr/>
          <p:nvPr/>
        </p:nvGrpSpPr>
        <p:grpSpPr>
          <a:xfrm>
            <a:off x="1479372" y="2434117"/>
            <a:ext cx="392005" cy="444332"/>
            <a:chOff x="1350602" y="1168344"/>
            <a:chExt cx="737046" cy="745755"/>
          </a:xfrm>
        </p:grpSpPr>
        <p:sp>
          <p:nvSpPr>
            <p:cNvPr id="123" name="Oval 122"/>
            <p:cNvSpPr/>
            <p:nvPr/>
          </p:nvSpPr>
          <p:spPr>
            <a:xfrm>
              <a:off x="1350602" y="1177053"/>
              <a:ext cx="737046" cy="737046"/>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2399">
                <a:solidFill>
                  <a:srgbClr val="FFFFFF"/>
                </a:solidFill>
                <a:latin typeface="Arial"/>
              </a:endParaRPr>
            </a:p>
          </p:txBody>
        </p:sp>
        <p:pic>
          <p:nvPicPr>
            <p:cNvPr id="124" name="Picture 123"/>
            <p:cNvPicPr>
              <a:picLocks noChangeAspect="1"/>
            </p:cNvPicPr>
            <p:nvPr/>
          </p:nvPicPr>
          <p:blipFill>
            <a:blip r:embed="rId5"/>
            <a:stretch>
              <a:fillRect/>
            </a:stretch>
          </p:blipFill>
          <p:spPr>
            <a:xfrm>
              <a:off x="1408475" y="1168344"/>
              <a:ext cx="621299" cy="708846"/>
            </a:xfrm>
            <a:prstGeom prst="rect">
              <a:avLst/>
            </a:prstGeom>
          </p:spPr>
        </p:pic>
      </p:grpSp>
      <p:pic>
        <p:nvPicPr>
          <p:cNvPr id="172" name="Picture 171"/>
          <p:cNvPicPr>
            <a:picLocks noChangeAspect="1"/>
          </p:cNvPicPr>
          <p:nvPr/>
        </p:nvPicPr>
        <p:blipFill>
          <a:blip r:embed="rId6"/>
          <a:stretch>
            <a:fillRect/>
          </a:stretch>
        </p:blipFill>
        <p:spPr>
          <a:xfrm>
            <a:off x="7090885" y="2930954"/>
            <a:ext cx="468403" cy="422901"/>
          </a:xfrm>
          <a:prstGeom prst="rect">
            <a:avLst/>
          </a:prstGeom>
        </p:spPr>
      </p:pic>
      <p:grpSp>
        <p:nvGrpSpPr>
          <p:cNvPr id="76" name="Group 75"/>
          <p:cNvGrpSpPr/>
          <p:nvPr/>
        </p:nvGrpSpPr>
        <p:grpSpPr>
          <a:xfrm>
            <a:off x="1483755" y="2915782"/>
            <a:ext cx="392005" cy="444332"/>
            <a:chOff x="1350602" y="1168344"/>
            <a:chExt cx="737046" cy="745755"/>
          </a:xfrm>
        </p:grpSpPr>
        <p:sp>
          <p:nvSpPr>
            <p:cNvPr id="77" name="Oval 76"/>
            <p:cNvSpPr/>
            <p:nvPr/>
          </p:nvSpPr>
          <p:spPr>
            <a:xfrm>
              <a:off x="1350602" y="1177053"/>
              <a:ext cx="737046" cy="737046"/>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2399">
                <a:solidFill>
                  <a:srgbClr val="FFFFFF"/>
                </a:solidFill>
                <a:latin typeface="Arial"/>
              </a:endParaRPr>
            </a:p>
          </p:txBody>
        </p:sp>
        <p:pic>
          <p:nvPicPr>
            <p:cNvPr id="78" name="Picture 77"/>
            <p:cNvPicPr>
              <a:picLocks noChangeAspect="1"/>
            </p:cNvPicPr>
            <p:nvPr/>
          </p:nvPicPr>
          <p:blipFill>
            <a:blip r:embed="rId5"/>
            <a:stretch>
              <a:fillRect/>
            </a:stretch>
          </p:blipFill>
          <p:spPr>
            <a:xfrm>
              <a:off x="1408475" y="1168344"/>
              <a:ext cx="621299" cy="708846"/>
            </a:xfrm>
            <a:prstGeom prst="rect">
              <a:avLst/>
            </a:prstGeom>
          </p:spPr>
        </p:pic>
      </p:grpSp>
      <p:pic>
        <p:nvPicPr>
          <p:cNvPr id="157" name="Picture 156"/>
          <p:cNvPicPr>
            <a:picLocks noChangeAspect="1"/>
          </p:cNvPicPr>
          <p:nvPr/>
        </p:nvPicPr>
        <p:blipFill>
          <a:blip r:embed="rId7"/>
          <a:stretch>
            <a:fillRect/>
          </a:stretch>
        </p:blipFill>
        <p:spPr>
          <a:xfrm>
            <a:off x="231361" y="3026920"/>
            <a:ext cx="533597" cy="581453"/>
          </a:xfrm>
          <a:prstGeom prst="rect">
            <a:avLst/>
          </a:prstGeom>
        </p:spPr>
      </p:pic>
      <p:sp>
        <p:nvSpPr>
          <p:cNvPr id="194" name="Rectangle 193"/>
          <p:cNvSpPr/>
          <p:nvPr/>
        </p:nvSpPr>
        <p:spPr>
          <a:xfrm>
            <a:off x="3537507" y="3688023"/>
            <a:ext cx="1096775" cy="276999"/>
          </a:xfrm>
          <a:prstGeom prst="rect">
            <a:avLst/>
          </a:prstGeom>
        </p:spPr>
        <p:txBody>
          <a:bodyPr wrap="none">
            <a:spAutoFit/>
          </a:bodyPr>
          <a:lstStyle/>
          <a:p>
            <a:pPr algn="ctr" defTabSz="608757"/>
            <a:r>
              <a:rPr lang="en-US" sz="1200" dirty="0">
                <a:solidFill>
                  <a:srgbClr val="2968AF"/>
                </a:solidFill>
                <a:latin typeface="Arial"/>
              </a:rPr>
              <a:t>Aggregation  </a:t>
            </a:r>
          </a:p>
        </p:txBody>
      </p:sp>
      <p:sp>
        <p:nvSpPr>
          <p:cNvPr id="195" name="Rectangle 194"/>
          <p:cNvSpPr/>
          <p:nvPr/>
        </p:nvSpPr>
        <p:spPr>
          <a:xfrm>
            <a:off x="5612571" y="3365138"/>
            <a:ext cx="405881" cy="276999"/>
          </a:xfrm>
          <a:prstGeom prst="rect">
            <a:avLst/>
          </a:prstGeom>
        </p:spPr>
        <p:txBody>
          <a:bodyPr wrap="none">
            <a:spAutoFit/>
          </a:bodyPr>
          <a:lstStyle/>
          <a:p>
            <a:pPr algn="ctr" defTabSz="608757"/>
            <a:r>
              <a:rPr lang="en-US" sz="1200" dirty="0">
                <a:solidFill>
                  <a:srgbClr val="2968AF"/>
                </a:solidFill>
                <a:latin typeface="Arial"/>
              </a:rPr>
              <a:t>DC</a:t>
            </a:r>
          </a:p>
        </p:txBody>
      </p:sp>
      <p:sp>
        <p:nvSpPr>
          <p:cNvPr id="196" name="Rectangle 195"/>
          <p:cNvSpPr/>
          <p:nvPr/>
        </p:nvSpPr>
        <p:spPr>
          <a:xfrm>
            <a:off x="2320035" y="3352711"/>
            <a:ext cx="1226214" cy="646331"/>
          </a:xfrm>
          <a:prstGeom prst="rect">
            <a:avLst/>
          </a:prstGeom>
        </p:spPr>
        <p:txBody>
          <a:bodyPr wrap="square">
            <a:spAutoFit/>
          </a:bodyPr>
          <a:lstStyle/>
          <a:p>
            <a:pPr algn="ctr" defTabSz="608757"/>
            <a:endParaRPr lang="en-US" sz="1200" dirty="0">
              <a:solidFill>
                <a:srgbClr val="2968AF"/>
              </a:solidFill>
              <a:latin typeface="Arial"/>
            </a:endParaRPr>
          </a:p>
          <a:p>
            <a:pPr algn="ctr" defTabSz="608757"/>
            <a:r>
              <a:rPr lang="en-US" sz="1200" dirty="0">
                <a:solidFill>
                  <a:srgbClr val="2968AF"/>
                </a:solidFill>
                <a:latin typeface="Arial"/>
              </a:rPr>
              <a:t>Pre-Aggregation</a:t>
            </a:r>
          </a:p>
        </p:txBody>
      </p:sp>
      <p:pic>
        <p:nvPicPr>
          <p:cNvPr id="197" name="Picture 196"/>
          <p:cNvPicPr>
            <a:picLocks noChangeAspect="1"/>
          </p:cNvPicPr>
          <p:nvPr/>
        </p:nvPicPr>
        <p:blipFill>
          <a:blip r:embed="rId3"/>
          <a:stretch>
            <a:fillRect/>
          </a:stretch>
        </p:blipFill>
        <p:spPr>
          <a:xfrm>
            <a:off x="5490666" y="2873425"/>
            <a:ext cx="583807" cy="456200"/>
          </a:xfrm>
          <a:prstGeom prst="rect">
            <a:avLst/>
          </a:prstGeom>
        </p:spPr>
      </p:pic>
      <p:sp>
        <p:nvSpPr>
          <p:cNvPr id="89" name="Rectangle 88"/>
          <p:cNvSpPr/>
          <p:nvPr/>
        </p:nvSpPr>
        <p:spPr>
          <a:xfrm flipH="1">
            <a:off x="3183462" y="1682627"/>
            <a:ext cx="1472444" cy="372256"/>
          </a:xfrm>
          <a:prstGeom prst="rect">
            <a:avLst/>
          </a:prstGeom>
          <a:solidFill>
            <a:schemeClr val="accent1">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100" dirty="0">
                <a:solidFill>
                  <a:schemeClr val="bg2"/>
                </a:solidFill>
                <a:latin typeface="Arial"/>
              </a:rPr>
              <a:t>Transport control / orchestration</a:t>
            </a:r>
          </a:p>
        </p:txBody>
      </p:sp>
      <p:sp>
        <p:nvSpPr>
          <p:cNvPr id="63" name="Rectangle 62"/>
          <p:cNvSpPr/>
          <p:nvPr/>
        </p:nvSpPr>
        <p:spPr>
          <a:xfrm>
            <a:off x="8076758" y="3530875"/>
            <a:ext cx="976549" cy="461665"/>
          </a:xfrm>
          <a:prstGeom prst="rect">
            <a:avLst/>
          </a:prstGeom>
        </p:spPr>
        <p:txBody>
          <a:bodyPr wrap="none">
            <a:spAutoFit/>
          </a:bodyPr>
          <a:lstStyle/>
          <a:p>
            <a:pPr algn="ctr" defTabSz="608757"/>
            <a:r>
              <a:rPr lang="en-US" sz="1200" dirty="0">
                <a:solidFill>
                  <a:srgbClr val="2968AF"/>
                </a:solidFill>
                <a:latin typeface="Arial"/>
              </a:rPr>
              <a:t>Telco/IT</a:t>
            </a:r>
          </a:p>
          <a:p>
            <a:pPr algn="ctr" defTabSz="608757"/>
            <a:r>
              <a:rPr lang="en-US" sz="1200" dirty="0">
                <a:solidFill>
                  <a:srgbClr val="2968AF"/>
                </a:solidFill>
                <a:latin typeface="Arial"/>
              </a:rPr>
              <a:t>DC Domain</a:t>
            </a:r>
          </a:p>
        </p:txBody>
      </p:sp>
      <p:sp>
        <p:nvSpPr>
          <p:cNvPr id="68" name="Rectangle 67"/>
          <p:cNvSpPr/>
          <p:nvPr/>
        </p:nvSpPr>
        <p:spPr>
          <a:xfrm>
            <a:off x="3821121" y="3322009"/>
            <a:ext cx="405881" cy="276999"/>
          </a:xfrm>
          <a:prstGeom prst="rect">
            <a:avLst/>
          </a:prstGeom>
        </p:spPr>
        <p:txBody>
          <a:bodyPr wrap="none">
            <a:spAutoFit/>
          </a:bodyPr>
          <a:lstStyle/>
          <a:p>
            <a:pPr algn="ctr" defTabSz="608757"/>
            <a:r>
              <a:rPr lang="en-US" sz="1200" dirty="0">
                <a:solidFill>
                  <a:srgbClr val="2968AF"/>
                </a:solidFill>
                <a:latin typeface="Arial"/>
              </a:rPr>
              <a:t>DC</a:t>
            </a:r>
          </a:p>
        </p:txBody>
      </p:sp>
      <p:sp>
        <p:nvSpPr>
          <p:cNvPr id="69" name="Rectangle 68"/>
          <p:cNvSpPr/>
          <p:nvPr/>
        </p:nvSpPr>
        <p:spPr>
          <a:xfrm>
            <a:off x="1599707" y="3983270"/>
            <a:ext cx="2627295" cy="219533"/>
          </a:xfrm>
          <a:prstGeom prst="rect">
            <a:avLst/>
          </a:prstGeom>
          <a:solidFill>
            <a:srgbClr val="46C4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200" dirty="0">
                <a:solidFill>
                  <a:srgbClr val="FFFFFF"/>
                </a:solidFill>
                <a:latin typeface="Arial"/>
              </a:rPr>
              <a:t>Dark Fiber / WDM</a:t>
            </a:r>
          </a:p>
        </p:txBody>
      </p:sp>
      <p:sp>
        <p:nvSpPr>
          <p:cNvPr id="97" name="Rectangle 96"/>
          <p:cNvSpPr/>
          <p:nvPr/>
        </p:nvSpPr>
        <p:spPr>
          <a:xfrm flipH="1">
            <a:off x="4822474" y="1700282"/>
            <a:ext cx="1430816" cy="367841"/>
          </a:xfrm>
          <a:prstGeom prst="rect">
            <a:avLst/>
          </a:prstGeom>
          <a:solidFill>
            <a:schemeClr val="accent1">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100" dirty="0">
                <a:solidFill>
                  <a:schemeClr val="bg2"/>
                </a:solidFill>
                <a:latin typeface="Arial"/>
              </a:rPr>
              <a:t>Mobile Core Control / orchestration</a:t>
            </a:r>
          </a:p>
        </p:txBody>
      </p:sp>
      <p:sp>
        <p:nvSpPr>
          <p:cNvPr id="101" name="Rectangle 100"/>
          <p:cNvSpPr/>
          <p:nvPr/>
        </p:nvSpPr>
        <p:spPr>
          <a:xfrm flipH="1">
            <a:off x="6190403" y="897034"/>
            <a:ext cx="1779267" cy="427530"/>
          </a:xfrm>
          <a:prstGeom prst="rect">
            <a:avLst/>
          </a:prstGeom>
          <a:solidFill>
            <a:srgbClr val="00B050"/>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100" dirty="0">
                <a:solidFill>
                  <a:sysClr val="windowText" lastClr="000000"/>
                </a:solidFill>
                <a:latin typeface="Arial"/>
              </a:rPr>
              <a:t>Enterprise</a:t>
            </a:r>
          </a:p>
        </p:txBody>
      </p:sp>
      <p:sp>
        <p:nvSpPr>
          <p:cNvPr id="102" name="Rectangle 101"/>
          <p:cNvSpPr/>
          <p:nvPr/>
        </p:nvSpPr>
        <p:spPr>
          <a:xfrm flipH="1">
            <a:off x="4303556" y="893388"/>
            <a:ext cx="1855023" cy="427530"/>
          </a:xfrm>
          <a:prstGeom prst="rect">
            <a:avLst/>
          </a:prstGeom>
          <a:solidFill>
            <a:srgbClr val="00B050"/>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100" dirty="0">
                <a:solidFill>
                  <a:sysClr val="windowText" lastClr="000000"/>
                </a:solidFill>
                <a:latin typeface="Arial"/>
              </a:rPr>
              <a:t>Consumer</a:t>
            </a:r>
          </a:p>
        </p:txBody>
      </p:sp>
      <p:sp>
        <p:nvSpPr>
          <p:cNvPr id="103" name="Rectangle 102"/>
          <p:cNvSpPr/>
          <p:nvPr/>
        </p:nvSpPr>
        <p:spPr>
          <a:xfrm flipH="1">
            <a:off x="946813" y="889735"/>
            <a:ext cx="1641224" cy="427530"/>
          </a:xfrm>
          <a:prstGeom prst="rect">
            <a:avLst/>
          </a:prstGeom>
          <a:solidFill>
            <a:srgbClr val="00B050"/>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100" dirty="0">
                <a:solidFill>
                  <a:sysClr val="windowText" lastClr="000000"/>
                </a:solidFill>
                <a:latin typeface="Arial"/>
              </a:rPr>
              <a:t>SMB</a:t>
            </a:r>
          </a:p>
        </p:txBody>
      </p:sp>
      <p:pic>
        <p:nvPicPr>
          <p:cNvPr id="104" name="Picture 103"/>
          <p:cNvPicPr>
            <a:picLocks noChangeAspect="1"/>
          </p:cNvPicPr>
          <p:nvPr/>
        </p:nvPicPr>
        <p:blipFill>
          <a:blip r:embed="rId8">
            <a:duotone>
              <a:prstClr val="black"/>
              <a:srgbClr val="D9C3A5">
                <a:tint val="50000"/>
                <a:satMod val="180000"/>
              </a:srgbClr>
            </a:duotone>
            <a:extLst>
              <a:ext uri="{BEBA8EAE-BF5A-486C-A8C5-ECC9F3942E4B}">
                <a14:imgProps xmlns:a14="http://schemas.microsoft.com/office/drawing/2010/main">
                  <a14:imgLayer r:embed="rId9">
                    <a14:imgEffect>
                      <a14:saturation sat="33000"/>
                    </a14:imgEffect>
                    <a14:imgEffect>
                      <a14:brightnessContrast contrast="40000"/>
                    </a14:imgEffect>
                  </a14:imgLayer>
                </a14:imgProps>
              </a:ext>
            </a:extLst>
          </a:blip>
          <a:stretch>
            <a:fillRect/>
          </a:stretch>
        </p:blipFill>
        <p:spPr>
          <a:xfrm flipH="1">
            <a:off x="6290325" y="967922"/>
            <a:ext cx="220594" cy="281077"/>
          </a:xfrm>
          <a:prstGeom prst="rect">
            <a:avLst/>
          </a:prstGeom>
          <a:solidFill>
            <a:srgbClr val="00B050"/>
          </a:solidFill>
        </p:spPr>
      </p:pic>
      <p:pic>
        <p:nvPicPr>
          <p:cNvPr id="105" name="Picture 104"/>
          <p:cNvPicPr>
            <a:picLocks noChangeAspect="1"/>
          </p:cNvPicPr>
          <p:nvPr/>
        </p:nvPicPr>
        <p:blipFill>
          <a:blip r:embed="rId8">
            <a:duotone>
              <a:prstClr val="black"/>
              <a:srgbClr val="D9C3A5">
                <a:tint val="50000"/>
                <a:satMod val="180000"/>
              </a:srgbClr>
            </a:duotone>
            <a:extLst>
              <a:ext uri="{BEBA8EAE-BF5A-486C-A8C5-ECC9F3942E4B}">
                <a14:imgProps xmlns:a14="http://schemas.microsoft.com/office/drawing/2010/main">
                  <a14:imgLayer r:embed="rId9">
                    <a14:imgEffect>
                      <a14:saturation sat="33000"/>
                    </a14:imgEffect>
                    <a14:imgEffect>
                      <a14:brightnessContrast contrast="40000"/>
                    </a14:imgEffect>
                  </a14:imgLayer>
                </a14:imgProps>
              </a:ext>
            </a:extLst>
          </a:blip>
          <a:stretch>
            <a:fillRect/>
          </a:stretch>
        </p:blipFill>
        <p:spPr>
          <a:xfrm flipH="1">
            <a:off x="4318968" y="961998"/>
            <a:ext cx="220594" cy="281077"/>
          </a:xfrm>
          <a:prstGeom prst="rect">
            <a:avLst/>
          </a:prstGeom>
          <a:solidFill>
            <a:srgbClr val="00B050"/>
          </a:solidFill>
        </p:spPr>
      </p:pic>
      <p:pic>
        <p:nvPicPr>
          <p:cNvPr id="106" name="Picture 105"/>
          <p:cNvPicPr>
            <a:picLocks noChangeAspect="1"/>
          </p:cNvPicPr>
          <p:nvPr/>
        </p:nvPicPr>
        <p:blipFill>
          <a:blip r:embed="rId8">
            <a:duotone>
              <a:prstClr val="black"/>
              <a:srgbClr val="D9C3A5">
                <a:tint val="50000"/>
                <a:satMod val="180000"/>
              </a:srgbClr>
            </a:duotone>
            <a:extLst>
              <a:ext uri="{BEBA8EAE-BF5A-486C-A8C5-ECC9F3942E4B}">
                <a14:imgProps xmlns:a14="http://schemas.microsoft.com/office/drawing/2010/main">
                  <a14:imgLayer r:embed="rId9">
                    <a14:imgEffect>
                      <a14:saturation sat="33000"/>
                    </a14:imgEffect>
                    <a14:imgEffect>
                      <a14:brightnessContrast contrast="40000"/>
                    </a14:imgEffect>
                  </a14:imgLayer>
                </a14:imgProps>
              </a:ext>
            </a:extLst>
          </a:blip>
          <a:stretch>
            <a:fillRect/>
          </a:stretch>
        </p:blipFill>
        <p:spPr>
          <a:xfrm flipH="1">
            <a:off x="994533" y="966280"/>
            <a:ext cx="220594" cy="281077"/>
          </a:xfrm>
          <a:prstGeom prst="rect">
            <a:avLst/>
          </a:prstGeom>
          <a:solidFill>
            <a:srgbClr val="00B050"/>
          </a:solidFill>
        </p:spPr>
      </p:pic>
      <p:pic>
        <p:nvPicPr>
          <p:cNvPr id="64" name="Picture 63"/>
          <p:cNvPicPr>
            <a:picLocks noChangeAspect="1"/>
          </p:cNvPicPr>
          <p:nvPr/>
        </p:nvPicPr>
        <p:blipFill>
          <a:blip r:embed="rId3"/>
          <a:stretch>
            <a:fillRect/>
          </a:stretch>
        </p:blipFill>
        <p:spPr>
          <a:xfrm>
            <a:off x="2691487" y="2631121"/>
            <a:ext cx="583807" cy="456200"/>
          </a:xfrm>
          <a:prstGeom prst="rect">
            <a:avLst/>
          </a:prstGeom>
        </p:spPr>
      </p:pic>
      <p:pic>
        <p:nvPicPr>
          <p:cNvPr id="67" name="Picture 66"/>
          <p:cNvPicPr>
            <a:picLocks noChangeAspect="1"/>
          </p:cNvPicPr>
          <p:nvPr/>
        </p:nvPicPr>
        <p:blipFill>
          <a:blip r:embed="rId3"/>
          <a:stretch>
            <a:fillRect/>
          </a:stretch>
        </p:blipFill>
        <p:spPr>
          <a:xfrm>
            <a:off x="2694676" y="2938689"/>
            <a:ext cx="583807" cy="456200"/>
          </a:xfrm>
          <a:prstGeom prst="rect">
            <a:avLst/>
          </a:prstGeom>
        </p:spPr>
      </p:pic>
      <p:cxnSp>
        <p:nvCxnSpPr>
          <p:cNvPr id="7" name="Straight Arrow Connector 6"/>
          <p:cNvCxnSpPr/>
          <p:nvPr/>
        </p:nvCxnSpPr>
        <p:spPr>
          <a:xfrm flipH="1">
            <a:off x="7353164" y="1708408"/>
            <a:ext cx="0" cy="31455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55" name="Picture 154"/>
          <p:cNvPicPr>
            <a:picLocks noChangeAspect="1"/>
          </p:cNvPicPr>
          <p:nvPr/>
        </p:nvPicPr>
        <p:blipFill>
          <a:blip r:embed="rId10"/>
          <a:stretch>
            <a:fillRect/>
          </a:stretch>
        </p:blipFill>
        <p:spPr>
          <a:xfrm>
            <a:off x="441850" y="2240260"/>
            <a:ext cx="195080" cy="378458"/>
          </a:xfrm>
          <a:prstGeom prst="rect">
            <a:avLst/>
          </a:prstGeom>
        </p:spPr>
      </p:pic>
      <p:pic>
        <p:nvPicPr>
          <p:cNvPr id="156" name="Picture 155"/>
          <p:cNvPicPr>
            <a:picLocks noChangeAspect="1"/>
          </p:cNvPicPr>
          <p:nvPr/>
        </p:nvPicPr>
        <p:blipFill>
          <a:blip r:embed="rId11"/>
          <a:stretch>
            <a:fillRect/>
          </a:stretch>
        </p:blipFill>
        <p:spPr>
          <a:xfrm>
            <a:off x="222652" y="2630093"/>
            <a:ext cx="558440" cy="527299"/>
          </a:xfrm>
          <a:prstGeom prst="rect">
            <a:avLst/>
          </a:prstGeom>
        </p:spPr>
      </p:pic>
      <p:pic>
        <p:nvPicPr>
          <p:cNvPr id="161" name="Picture 160"/>
          <p:cNvPicPr>
            <a:picLocks noChangeAspect="1"/>
          </p:cNvPicPr>
          <p:nvPr/>
        </p:nvPicPr>
        <p:blipFill>
          <a:blip r:embed="rId12"/>
          <a:stretch>
            <a:fillRect/>
          </a:stretch>
        </p:blipFill>
        <p:spPr>
          <a:xfrm>
            <a:off x="633762" y="2240261"/>
            <a:ext cx="714068" cy="636033"/>
          </a:xfrm>
          <a:prstGeom prst="rect">
            <a:avLst/>
          </a:prstGeom>
        </p:spPr>
      </p:pic>
      <p:pic>
        <p:nvPicPr>
          <p:cNvPr id="162" name="Picture 161"/>
          <p:cNvPicPr>
            <a:picLocks noChangeAspect="1"/>
          </p:cNvPicPr>
          <p:nvPr/>
        </p:nvPicPr>
        <p:blipFill>
          <a:blip r:embed="rId13"/>
          <a:stretch>
            <a:fillRect/>
          </a:stretch>
        </p:blipFill>
        <p:spPr>
          <a:xfrm>
            <a:off x="627348" y="2733880"/>
            <a:ext cx="734368" cy="477165"/>
          </a:xfrm>
          <a:prstGeom prst="rect">
            <a:avLst/>
          </a:prstGeom>
        </p:spPr>
      </p:pic>
      <p:pic>
        <p:nvPicPr>
          <p:cNvPr id="170" name="Picture 169"/>
          <p:cNvPicPr>
            <a:picLocks noChangeAspect="1"/>
          </p:cNvPicPr>
          <p:nvPr/>
        </p:nvPicPr>
        <p:blipFill>
          <a:blip r:embed="rId14"/>
          <a:stretch>
            <a:fillRect/>
          </a:stretch>
        </p:blipFill>
        <p:spPr>
          <a:xfrm>
            <a:off x="553451" y="3084104"/>
            <a:ext cx="775767" cy="423934"/>
          </a:xfrm>
          <a:prstGeom prst="rect">
            <a:avLst/>
          </a:prstGeom>
        </p:spPr>
      </p:pic>
      <p:sp>
        <p:nvSpPr>
          <p:cNvPr id="171" name="Rectangle 170"/>
          <p:cNvSpPr/>
          <p:nvPr/>
        </p:nvSpPr>
        <p:spPr>
          <a:xfrm>
            <a:off x="286508" y="2085044"/>
            <a:ext cx="1082340" cy="158592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2399">
              <a:solidFill>
                <a:srgbClr val="FFFFFF"/>
              </a:solidFill>
              <a:latin typeface="Arial"/>
            </a:endParaRPr>
          </a:p>
        </p:txBody>
      </p:sp>
      <p:sp>
        <p:nvSpPr>
          <p:cNvPr id="3" name="TextBox 2"/>
          <p:cNvSpPr txBox="1"/>
          <p:nvPr/>
        </p:nvSpPr>
        <p:spPr>
          <a:xfrm flipH="1">
            <a:off x="599914" y="3453431"/>
            <a:ext cx="577402" cy="276999"/>
          </a:xfrm>
          <a:prstGeom prst="rect">
            <a:avLst/>
          </a:prstGeom>
          <a:noFill/>
        </p:spPr>
        <p:txBody>
          <a:bodyPr wrap="none" rtlCol="0">
            <a:spAutoFit/>
          </a:bodyPr>
          <a:lstStyle/>
          <a:p>
            <a:pPr defTabSz="685783"/>
            <a:r>
              <a:rPr lang="en-US" sz="1200">
                <a:solidFill>
                  <a:srgbClr val="676767"/>
                </a:solidFill>
                <a:latin typeface="Arial"/>
              </a:rPr>
              <a:t>CPEs</a:t>
            </a:r>
          </a:p>
        </p:txBody>
      </p:sp>
      <p:pic>
        <p:nvPicPr>
          <p:cNvPr id="79" name="Picture 78"/>
          <p:cNvPicPr>
            <a:picLocks noChangeAspect="1"/>
          </p:cNvPicPr>
          <p:nvPr/>
        </p:nvPicPr>
        <p:blipFill>
          <a:blip r:embed="rId3"/>
          <a:stretch>
            <a:fillRect/>
          </a:stretch>
        </p:blipFill>
        <p:spPr>
          <a:xfrm>
            <a:off x="961139" y="2162520"/>
            <a:ext cx="396076" cy="285778"/>
          </a:xfrm>
          <a:prstGeom prst="rect">
            <a:avLst/>
          </a:prstGeom>
        </p:spPr>
      </p:pic>
      <p:pic>
        <p:nvPicPr>
          <p:cNvPr id="119" name="Picture 118"/>
          <p:cNvPicPr>
            <a:picLocks noChangeAspect="1"/>
          </p:cNvPicPr>
          <p:nvPr/>
        </p:nvPicPr>
        <p:blipFill>
          <a:blip r:embed="rId3"/>
          <a:stretch>
            <a:fillRect/>
          </a:stretch>
        </p:blipFill>
        <p:spPr>
          <a:xfrm>
            <a:off x="5495067" y="2619394"/>
            <a:ext cx="583807" cy="456200"/>
          </a:xfrm>
          <a:prstGeom prst="rect">
            <a:avLst/>
          </a:prstGeom>
        </p:spPr>
      </p:pic>
      <p:pic>
        <p:nvPicPr>
          <p:cNvPr id="85" name="Picture 84"/>
          <p:cNvPicPr>
            <a:picLocks noChangeAspect="1"/>
          </p:cNvPicPr>
          <p:nvPr/>
        </p:nvPicPr>
        <p:blipFill>
          <a:blip r:embed="rId6"/>
          <a:stretch>
            <a:fillRect/>
          </a:stretch>
        </p:blipFill>
        <p:spPr>
          <a:xfrm>
            <a:off x="7065558" y="2603004"/>
            <a:ext cx="503048" cy="454180"/>
          </a:xfrm>
          <a:prstGeom prst="rect">
            <a:avLst/>
          </a:prstGeom>
        </p:spPr>
      </p:pic>
      <p:cxnSp>
        <p:nvCxnSpPr>
          <p:cNvPr id="251" name="Straight Connector 250"/>
          <p:cNvCxnSpPr/>
          <p:nvPr/>
        </p:nvCxnSpPr>
        <p:spPr>
          <a:xfrm flipH="1" flipV="1">
            <a:off x="738063" y="1487609"/>
            <a:ext cx="7810796" cy="10615"/>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54" name="Rectangle 253"/>
          <p:cNvSpPr/>
          <p:nvPr/>
        </p:nvSpPr>
        <p:spPr>
          <a:xfrm flipH="1">
            <a:off x="2631631" y="889735"/>
            <a:ext cx="1641224" cy="427530"/>
          </a:xfrm>
          <a:prstGeom prst="rect">
            <a:avLst/>
          </a:prstGeom>
          <a:solidFill>
            <a:srgbClr val="00B050"/>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100" dirty="0">
                <a:solidFill>
                  <a:sysClr val="windowText" lastClr="000000"/>
                </a:solidFill>
                <a:latin typeface="Arial"/>
              </a:rPr>
              <a:t>Mobile Network Slice</a:t>
            </a:r>
          </a:p>
          <a:p>
            <a:pPr algn="ctr" defTabSz="685783"/>
            <a:r>
              <a:rPr lang="en-US" sz="1100" dirty="0">
                <a:solidFill>
                  <a:sysClr val="windowText" lastClr="000000"/>
                </a:solidFill>
                <a:latin typeface="Arial"/>
              </a:rPr>
              <a:t>Manager</a:t>
            </a:r>
          </a:p>
        </p:txBody>
      </p:sp>
      <p:pic>
        <p:nvPicPr>
          <p:cNvPr id="255" name="Picture 254"/>
          <p:cNvPicPr>
            <a:picLocks noChangeAspect="1"/>
          </p:cNvPicPr>
          <p:nvPr/>
        </p:nvPicPr>
        <p:blipFill>
          <a:blip r:embed="rId8">
            <a:duotone>
              <a:prstClr val="black"/>
              <a:srgbClr val="D9C3A5">
                <a:tint val="50000"/>
                <a:satMod val="180000"/>
              </a:srgbClr>
            </a:duotone>
            <a:extLst>
              <a:ext uri="{BEBA8EAE-BF5A-486C-A8C5-ECC9F3942E4B}">
                <a14:imgProps xmlns:a14="http://schemas.microsoft.com/office/drawing/2010/main">
                  <a14:imgLayer r:embed="rId9">
                    <a14:imgEffect>
                      <a14:saturation sat="33000"/>
                    </a14:imgEffect>
                    <a14:imgEffect>
                      <a14:brightnessContrast contrast="40000"/>
                    </a14:imgEffect>
                  </a14:imgLayer>
                </a14:imgProps>
              </a:ext>
            </a:extLst>
          </a:blip>
          <a:stretch>
            <a:fillRect/>
          </a:stretch>
        </p:blipFill>
        <p:spPr>
          <a:xfrm flipH="1">
            <a:off x="2638233" y="956857"/>
            <a:ext cx="220594" cy="281077"/>
          </a:xfrm>
          <a:prstGeom prst="rect">
            <a:avLst/>
          </a:prstGeom>
          <a:solidFill>
            <a:srgbClr val="00B050"/>
          </a:solidFill>
        </p:spPr>
      </p:pic>
      <p:sp>
        <p:nvSpPr>
          <p:cNvPr id="250" name="Rectangle 249"/>
          <p:cNvSpPr/>
          <p:nvPr/>
        </p:nvSpPr>
        <p:spPr>
          <a:xfrm flipH="1">
            <a:off x="6473320" y="1688318"/>
            <a:ext cx="1359673" cy="367841"/>
          </a:xfrm>
          <a:prstGeom prst="rect">
            <a:avLst/>
          </a:prstGeom>
          <a:solidFill>
            <a:schemeClr val="accent1">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r>
              <a:rPr lang="en-US" sz="1000" dirty="0">
                <a:solidFill>
                  <a:srgbClr val="FFFFFF"/>
                </a:solidFill>
                <a:latin typeface="Arial"/>
              </a:rPr>
              <a:t>Big data / automation</a:t>
            </a:r>
          </a:p>
        </p:txBody>
      </p:sp>
      <p:pic>
        <p:nvPicPr>
          <p:cNvPr id="262" name="Picture 261" descr="mage result for database pictur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flipH="1">
            <a:off x="7465135" y="1741017"/>
            <a:ext cx="284288" cy="287701"/>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62" descr="mage result for database pictur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flipH="1">
            <a:off x="7236718" y="1748884"/>
            <a:ext cx="284288" cy="287701"/>
          </a:xfrm>
          <a:prstGeom prst="rect">
            <a:avLst/>
          </a:prstGeom>
          <a:noFill/>
          <a:extLst>
            <a:ext uri="{909E8E84-426E-40DD-AFC4-6F175D3DCCD1}">
              <a14:hiddenFill xmlns:a14="http://schemas.microsoft.com/office/drawing/2010/main">
                <a:solidFill>
                  <a:srgbClr val="FFFFFF"/>
                </a:solidFill>
              </a14:hiddenFill>
            </a:ext>
          </a:extLst>
        </p:spPr>
      </p:pic>
      <p:sp>
        <p:nvSpPr>
          <p:cNvPr id="193" name="Rectangle 192"/>
          <p:cNvSpPr/>
          <p:nvPr/>
        </p:nvSpPr>
        <p:spPr>
          <a:xfrm>
            <a:off x="4822475" y="3713556"/>
            <a:ext cx="1989967" cy="276999"/>
          </a:xfrm>
          <a:prstGeom prst="rect">
            <a:avLst/>
          </a:prstGeom>
        </p:spPr>
        <p:txBody>
          <a:bodyPr wrap="square">
            <a:spAutoFit/>
          </a:bodyPr>
          <a:lstStyle/>
          <a:p>
            <a:pPr algn="ctr" defTabSz="608757"/>
            <a:r>
              <a:rPr lang="en-US" sz="1200" dirty="0">
                <a:solidFill>
                  <a:srgbClr val="2968AF"/>
                </a:solidFill>
                <a:latin typeface="Arial"/>
              </a:rPr>
              <a:t>Edge </a:t>
            </a:r>
          </a:p>
        </p:txBody>
      </p:sp>
      <p:sp>
        <p:nvSpPr>
          <p:cNvPr id="5" name="Rectangle 4">
            <a:extLst>
              <a:ext uri="{FF2B5EF4-FFF2-40B4-BE49-F238E27FC236}">
                <a16:creationId xmlns:a16="http://schemas.microsoft.com/office/drawing/2014/main" id="{A1775EFF-5891-0D40-A1E5-7A9FCB5841A9}"/>
              </a:ext>
            </a:extLst>
          </p:cNvPr>
          <p:cNvSpPr/>
          <p:nvPr/>
        </p:nvSpPr>
        <p:spPr>
          <a:xfrm>
            <a:off x="4303556" y="867702"/>
            <a:ext cx="4059988" cy="459541"/>
          </a:xfrm>
          <a:prstGeom prst="rect">
            <a:avLst/>
          </a:prstGeom>
          <a:solidFill>
            <a:srgbClr val="FFFFFF">
              <a:alpha val="56078"/>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latin typeface="Arial"/>
            </a:endParaRPr>
          </a:p>
        </p:txBody>
      </p:sp>
      <p:sp>
        <p:nvSpPr>
          <p:cNvPr id="252" name="Rectangle 251">
            <a:extLst>
              <a:ext uri="{FF2B5EF4-FFF2-40B4-BE49-F238E27FC236}">
                <a16:creationId xmlns:a16="http://schemas.microsoft.com/office/drawing/2014/main" id="{3BAA40C1-6EC0-DE4A-8895-017D06E49624}"/>
              </a:ext>
            </a:extLst>
          </p:cNvPr>
          <p:cNvSpPr/>
          <p:nvPr/>
        </p:nvSpPr>
        <p:spPr>
          <a:xfrm>
            <a:off x="298187" y="854818"/>
            <a:ext cx="2311648" cy="459541"/>
          </a:xfrm>
          <a:prstGeom prst="rect">
            <a:avLst/>
          </a:prstGeom>
          <a:solidFill>
            <a:srgbClr val="FFFFFF">
              <a:alpha val="56078"/>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latin typeface="Arial"/>
            </a:endParaRPr>
          </a:p>
        </p:txBody>
      </p:sp>
      <p:sp>
        <p:nvSpPr>
          <p:cNvPr id="253" name="TextBox 252">
            <a:extLst>
              <a:ext uri="{FF2B5EF4-FFF2-40B4-BE49-F238E27FC236}">
                <a16:creationId xmlns:a16="http://schemas.microsoft.com/office/drawing/2014/main" id="{883F2805-F700-0B44-90D0-CCEAA1E23D9D}"/>
              </a:ext>
            </a:extLst>
          </p:cNvPr>
          <p:cNvSpPr txBox="1"/>
          <p:nvPr/>
        </p:nvSpPr>
        <p:spPr>
          <a:xfrm flipH="1">
            <a:off x="8043892" y="910308"/>
            <a:ext cx="1061509" cy="307777"/>
          </a:xfrm>
          <a:prstGeom prst="rect">
            <a:avLst/>
          </a:prstGeom>
          <a:noFill/>
        </p:spPr>
        <p:txBody>
          <a:bodyPr wrap="none" rtlCol="0">
            <a:spAutoFit/>
          </a:bodyPr>
          <a:lstStyle/>
          <a:p>
            <a:pPr defTabSz="685783"/>
            <a:r>
              <a:rPr lang="en-US" sz="1400" dirty="0">
                <a:solidFill>
                  <a:srgbClr val="676767"/>
                </a:solidFill>
                <a:latin typeface="Arial"/>
              </a:rPr>
              <a:t>Use Cases</a:t>
            </a:r>
          </a:p>
        </p:txBody>
      </p:sp>
      <p:sp>
        <p:nvSpPr>
          <p:cNvPr id="256" name="TextBox 255">
            <a:extLst>
              <a:ext uri="{FF2B5EF4-FFF2-40B4-BE49-F238E27FC236}">
                <a16:creationId xmlns:a16="http://schemas.microsoft.com/office/drawing/2014/main" id="{14AB1530-3A4B-7544-BD71-6EF284549AA6}"/>
              </a:ext>
            </a:extLst>
          </p:cNvPr>
          <p:cNvSpPr txBox="1"/>
          <p:nvPr/>
        </p:nvSpPr>
        <p:spPr>
          <a:xfrm flipH="1">
            <a:off x="7683442" y="1604170"/>
            <a:ext cx="1782408" cy="954107"/>
          </a:xfrm>
          <a:prstGeom prst="rect">
            <a:avLst/>
          </a:prstGeom>
          <a:noFill/>
        </p:spPr>
        <p:txBody>
          <a:bodyPr wrap="square" rtlCol="0">
            <a:spAutoFit/>
          </a:bodyPr>
          <a:lstStyle/>
          <a:p>
            <a:pPr algn="ctr" defTabSz="685783"/>
            <a:r>
              <a:rPr lang="en-US" sz="1400" dirty="0">
                <a:solidFill>
                  <a:srgbClr val="676767"/>
                </a:solidFill>
                <a:latin typeface="Arial"/>
              </a:rPr>
              <a:t>Controllers / Automation / Telemetry /</a:t>
            </a:r>
          </a:p>
          <a:p>
            <a:pPr algn="ctr" defTabSz="685783"/>
            <a:r>
              <a:rPr lang="en-US" sz="1400" dirty="0">
                <a:solidFill>
                  <a:srgbClr val="676767"/>
                </a:solidFill>
                <a:latin typeface="Arial"/>
              </a:rPr>
              <a:t>Analytics</a:t>
            </a:r>
          </a:p>
        </p:txBody>
      </p:sp>
      <p:sp>
        <p:nvSpPr>
          <p:cNvPr id="257" name="Rectangle 256">
            <a:extLst>
              <a:ext uri="{FF2B5EF4-FFF2-40B4-BE49-F238E27FC236}">
                <a16:creationId xmlns:a16="http://schemas.microsoft.com/office/drawing/2014/main" id="{2009D48C-A9B0-CC49-8E46-9542C11FE1F1}"/>
              </a:ext>
            </a:extLst>
          </p:cNvPr>
          <p:cNvSpPr/>
          <p:nvPr/>
        </p:nvSpPr>
        <p:spPr>
          <a:xfrm flipH="1">
            <a:off x="1596810" y="1681059"/>
            <a:ext cx="1472444" cy="372256"/>
          </a:xfrm>
          <a:prstGeom prst="rect">
            <a:avLst/>
          </a:prstGeom>
          <a:solidFill>
            <a:schemeClr val="accent1">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100" dirty="0">
                <a:solidFill>
                  <a:schemeClr val="bg2"/>
                </a:solidFill>
                <a:latin typeface="Arial"/>
              </a:rPr>
              <a:t>Access control / orchestration</a:t>
            </a:r>
          </a:p>
        </p:txBody>
      </p:sp>
      <p:grpSp>
        <p:nvGrpSpPr>
          <p:cNvPr id="259" name="Group 258">
            <a:extLst>
              <a:ext uri="{FF2B5EF4-FFF2-40B4-BE49-F238E27FC236}">
                <a16:creationId xmlns:a16="http://schemas.microsoft.com/office/drawing/2014/main" id="{4090DBAC-062D-D746-A48B-9C356B21402E}"/>
              </a:ext>
            </a:extLst>
          </p:cNvPr>
          <p:cNvGrpSpPr/>
          <p:nvPr/>
        </p:nvGrpSpPr>
        <p:grpSpPr>
          <a:xfrm>
            <a:off x="1662620" y="2631845"/>
            <a:ext cx="5858385" cy="246221"/>
            <a:chOff x="2769306" y="2773982"/>
            <a:chExt cx="5250652" cy="250246"/>
          </a:xfrm>
          <a:solidFill>
            <a:srgbClr val="FF8D02"/>
          </a:solidFill>
        </p:grpSpPr>
        <p:sp>
          <p:nvSpPr>
            <p:cNvPr id="260" name="Can 259">
              <a:extLst>
                <a:ext uri="{FF2B5EF4-FFF2-40B4-BE49-F238E27FC236}">
                  <a16:creationId xmlns:a16="http://schemas.microsoft.com/office/drawing/2014/main" id="{B1024B64-7CC4-E341-B73D-F3E53B8E0884}"/>
                </a:ext>
              </a:extLst>
            </p:cNvPr>
            <p:cNvSpPr/>
            <p:nvPr/>
          </p:nvSpPr>
          <p:spPr>
            <a:xfrm rot="5400000">
              <a:off x="5294364" y="258914"/>
              <a:ext cx="200536" cy="5250652"/>
            </a:xfrm>
            <a:prstGeom prst="can">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005073"/>
                </a:solidFill>
                <a:latin typeface="CiscoSansTT ExtraLight"/>
              </a:endParaRPr>
            </a:p>
          </p:txBody>
        </p:sp>
        <p:sp>
          <p:nvSpPr>
            <p:cNvPr id="261" name="TextBox 260">
              <a:extLst>
                <a:ext uri="{FF2B5EF4-FFF2-40B4-BE49-F238E27FC236}">
                  <a16:creationId xmlns:a16="http://schemas.microsoft.com/office/drawing/2014/main" id="{FB5830D0-DAF7-3F4B-82FA-0F5BC493B90B}"/>
                </a:ext>
              </a:extLst>
            </p:cNvPr>
            <p:cNvSpPr txBox="1"/>
            <p:nvPr/>
          </p:nvSpPr>
          <p:spPr>
            <a:xfrm>
              <a:off x="4528995" y="2773982"/>
              <a:ext cx="1731283" cy="250246"/>
            </a:xfrm>
            <a:prstGeom prst="rect">
              <a:avLst/>
            </a:prstGeom>
            <a:noFill/>
          </p:spPr>
          <p:txBody>
            <a:bodyPr wrap="none" rtlCol="0">
              <a:spAutoFit/>
            </a:bodyPr>
            <a:lstStyle/>
            <a:p>
              <a:pPr algn="ctr" defTabSz="457178">
                <a:defRPr/>
              </a:pPr>
              <a:r>
                <a:rPr lang="en-US" sz="1000" b="1" dirty="0">
                  <a:solidFill>
                    <a:srgbClr val="005073"/>
                  </a:solidFill>
                </a:rPr>
                <a:t>BGP-VPN L2/L3 + Overlay VPNs</a:t>
              </a:r>
            </a:p>
          </p:txBody>
        </p:sp>
      </p:grpSp>
      <p:sp>
        <p:nvSpPr>
          <p:cNvPr id="9" name="TextBox 8">
            <a:extLst>
              <a:ext uri="{FF2B5EF4-FFF2-40B4-BE49-F238E27FC236}">
                <a16:creationId xmlns:a16="http://schemas.microsoft.com/office/drawing/2014/main" id="{F0E475EA-B619-A140-82E2-9C4707721F01}"/>
              </a:ext>
            </a:extLst>
          </p:cNvPr>
          <p:cNvSpPr txBox="1"/>
          <p:nvPr/>
        </p:nvSpPr>
        <p:spPr>
          <a:xfrm>
            <a:off x="430573" y="4423175"/>
            <a:ext cx="3914853" cy="738664"/>
          </a:xfrm>
          <a:prstGeom prst="rect">
            <a:avLst/>
          </a:prstGeom>
          <a:noFill/>
        </p:spPr>
        <p:txBody>
          <a:bodyPr wrap="none" rtlCol="0">
            <a:spAutoFit/>
          </a:bodyPr>
          <a:lstStyle/>
          <a:p>
            <a:pPr algn="ctr"/>
            <a:r>
              <a:rPr lang="en-US" sz="1400" dirty="0"/>
              <a:t>Multi-service</a:t>
            </a:r>
          </a:p>
          <a:p>
            <a:pPr algn="ctr"/>
            <a:r>
              <a:rPr lang="en-US" sz="1400" dirty="0"/>
              <a:t>Flexible radio / mobile core / service placement</a:t>
            </a:r>
          </a:p>
          <a:p>
            <a:pPr algn="ctr"/>
            <a:r>
              <a:rPr lang="en-US" sz="1400" dirty="0"/>
              <a:t>End2end packet infrastructure</a:t>
            </a:r>
          </a:p>
        </p:txBody>
      </p:sp>
      <p:sp>
        <p:nvSpPr>
          <p:cNvPr id="267" name="TextBox 266">
            <a:extLst>
              <a:ext uri="{FF2B5EF4-FFF2-40B4-BE49-F238E27FC236}">
                <a16:creationId xmlns:a16="http://schemas.microsoft.com/office/drawing/2014/main" id="{BBC3B92A-11CA-9947-8D64-A64140AC2DAA}"/>
              </a:ext>
            </a:extLst>
          </p:cNvPr>
          <p:cNvSpPr txBox="1"/>
          <p:nvPr/>
        </p:nvSpPr>
        <p:spPr>
          <a:xfrm>
            <a:off x="5293659" y="4430067"/>
            <a:ext cx="3029997" cy="738664"/>
          </a:xfrm>
          <a:prstGeom prst="rect">
            <a:avLst/>
          </a:prstGeom>
          <a:noFill/>
        </p:spPr>
        <p:txBody>
          <a:bodyPr wrap="none" rtlCol="0">
            <a:spAutoFit/>
          </a:bodyPr>
          <a:lstStyle/>
          <a:p>
            <a:pPr algn="ctr"/>
            <a:r>
              <a:rPr lang="en-US" sz="1400" dirty="0"/>
              <a:t>Up to x10 radios (500k n/w devices)</a:t>
            </a:r>
          </a:p>
          <a:p>
            <a:pPr algn="ctr"/>
            <a:r>
              <a:rPr lang="en-US" sz="1400" dirty="0"/>
              <a:t>x4 – x100 bandwidth than 4G</a:t>
            </a:r>
          </a:p>
          <a:p>
            <a:pPr algn="ctr"/>
            <a:r>
              <a:rPr lang="en-US" sz="1400" dirty="0"/>
              <a:t>Multi-Access Edge Compute</a:t>
            </a:r>
          </a:p>
        </p:txBody>
      </p:sp>
      <p:grpSp>
        <p:nvGrpSpPr>
          <p:cNvPr id="385" name="Group 384">
            <a:extLst>
              <a:ext uri="{FF2B5EF4-FFF2-40B4-BE49-F238E27FC236}">
                <a16:creationId xmlns:a16="http://schemas.microsoft.com/office/drawing/2014/main" id="{CA6ED29C-25EC-4C47-886E-F7079893F604}"/>
              </a:ext>
            </a:extLst>
          </p:cNvPr>
          <p:cNvGrpSpPr/>
          <p:nvPr/>
        </p:nvGrpSpPr>
        <p:grpSpPr>
          <a:xfrm>
            <a:off x="2420882" y="3290943"/>
            <a:ext cx="959821" cy="435602"/>
            <a:chOff x="7357923" y="833099"/>
            <a:chExt cx="2197775" cy="3061351"/>
          </a:xfrm>
        </p:grpSpPr>
        <p:grpSp>
          <p:nvGrpSpPr>
            <p:cNvPr id="386" name="Group 385">
              <a:extLst>
                <a:ext uri="{FF2B5EF4-FFF2-40B4-BE49-F238E27FC236}">
                  <a16:creationId xmlns:a16="http://schemas.microsoft.com/office/drawing/2014/main" id="{1362C750-6C23-3B4E-98B3-8D73E0F843BB}"/>
                </a:ext>
              </a:extLst>
            </p:cNvPr>
            <p:cNvGrpSpPr/>
            <p:nvPr/>
          </p:nvGrpSpPr>
          <p:grpSpPr>
            <a:xfrm>
              <a:off x="7902054" y="833099"/>
              <a:ext cx="1144746" cy="1692321"/>
              <a:chOff x="4645042" y="2115404"/>
              <a:chExt cx="1144746" cy="1692321"/>
            </a:xfrm>
          </p:grpSpPr>
          <p:sp>
            <p:nvSpPr>
              <p:cNvPr id="388" name="Rounded Rectangle 387">
                <a:extLst>
                  <a:ext uri="{FF2B5EF4-FFF2-40B4-BE49-F238E27FC236}">
                    <a16:creationId xmlns:a16="http://schemas.microsoft.com/office/drawing/2014/main" id="{BDF74050-4EB5-6240-9206-B91767DC9A58}"/>
                  </a:ext>
                </a:extLst>
              </p:cNvPr>
              <p:cNvSpPr/>
              <p:nvPr/>
            </p:nvSpPr>
            <p:spPr>
              <a:xfrm>
                <a:off x="4645042" y="2115404"/>
                <a:ext cx="1144746" cy="1692321"/>
              </a:xfrm>
              <a:prstGeom prst="roundRect">
                <a:avLst/>
              </a:prstGeom>
              <a:solidFill>
                <a:schemeClr val="tx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a:solidFill>
                    <a:srgbClr val="FFFFFF"/>
                  </a:solidFill>
                  <a:latin typeface="Arial"/>
                </a:endParaRPr>
              </a:p>
            </p:txBody>
          </p:sp>
          <p:grpSp>
            <p:nvGrpSpPr>
              <p:cNvPr id="389" name="Group 388">
                <a:extLst>
                  <a:ext uri="{FF2B5EF4-FFF2-40B4-BE49-F238E27FC236}">
                    <a16:creationId xmlns:a16="http://schemas.microsoft.com/office/drawing/2014/main" id="{396365DE-33F1-D349-84B1-861195B64155}"/>
                  </a:ext>
                </a:extLst>
              </p:cNvPr>
              <p:cNvGrpSpPr/>
              <p:nvPr/>
            </p:nvGrpSpPr>
            <p:grpSpPr>
              <a:xfrm>
                <a:off x="4696092" y="2227862"/>
                <a:ext cx="1060208" cy="1477686"/>
                <a:chOff x="3613881" y="1202595"/>
                <a:chExt cx="1908341" cy="2659784"/>
              </a:xfrm>
            </p:grpSpPr>
            <p:sp>
              <p:nvSpPr>
                <p:cNvPr id="390" name="Rounded Rectangle 3">
                  <a:extLst>
                    <a:ext uri="{FF2B5EF4-FFF2-40B4-BE49-F238E27FC236}">
                      <a16:creationId xmlns:a16="http://schemas.microsoft.com/office/drawing/2014/main" id="{3FD68897-4FE1-F140-A6EC-289D8E78E229}"/>
                    </a:ext>
                  </a:extLst>
                </p:cNvPr>
                <p:cNvSpPr/>
                <p:nvPr/>
              </p:nvSpPr>
              <p:spPr>
                <a:xfrm>
                  <a:off x="3613881" y="1202595"/>
                  <a:ext cx="1908341" cy="263394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391" name="Oval 390">
                  <a:extLst>
                    <a:ext uri="{FF2B5EF4-FFF2-40B4-BE49-F238E27FC236}">
                      <a16:creationId xmlns:a16="http://schemas.microsoft.com/office/drawing/2014/main" id="{B46FC019-5480-6441-998E-D81BF99B6673}"/>
                    </a:ext>
                  </a:extLst>
                </p:cNvPr>
                <p:cNvSpPr/>
                <p:nvPr/>
              </p:nvSpPr>
              <p:spPr>
                <a:xfrm>
                  <a:off x="3982162" y="1424831"/>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392" name="Oval 391">
                  <a:extLst>
                    <a:ext uri="{FF2B5EF4-FFF2-40B4-BE49-F238E27FC236}">
                      <a16:creationId xmlns:a16="http://schemas.microsoft.com/office/drawing/2014/main" id="{09DD1478-A2CA-FA43-865A-ADC7127C3D11}"/>
                    </a:ext>
                  </a:extLst>
                </p:cNvPr>
                <p:cNvSpPr/>
                <p:nvPr/>
              </p:nvSpPr>
              <p:spPr>
                <a:xfrm>
                  <a:off x="3983123" y="1773403"/>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393" name="Oval 392">
                  <a:extLst>
                    <a:ext uri="{FF2B5EF4-FFF2-40B4-BE49-F238E27FC236}">
                      <a16:creationId xmlns:a16="http://schemas.microsoft.com/office/drawing/2014/main" id="{4AFB3D07-A00B-E547-B053-2CF208418CB2}"/>
                    </a:ext>
                  </a:extLst>
                </p:cNvPr>
                <p:cNvSpPr/>
                <p:nvPr/>
              </p:nvSpPr>
              <p:spPr>
                <a:xfrm>
                  <a:off x="3983123" y="2127890"/>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394" name="Oval 393">
                  <a:extLst>
                    <a:ext uri="{FF2B5EF4-FFF2-40B4-BE49-F238E27FC236}">
                      <a16:creationId xmlns:a16="http://schemas.microsoft.com/office/drawing/2014/main" id="{D50E4A65-5C79-694C-A1AC-6AE586A69948}"/>
                    </a:ext>
                  </a:extLst>
                </p:cNvPr>
                <p:cNvSpPr/>
                <p:nvPr/>
              </p:nvSpPr>
              <p:spPr>
                <a:xfrm>
                  <a:off x="3983124" y="3759130"/>
                  <a:ext cx="103248" cy="103249"/>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395" name="Oval 394">
                  <a:extLst>
                    <a:ext uri="{FF2B5EF4-FFF2-40B4-BE49-F238E27FC236}">
                      <a16:creationId xmlns:a16="http://schemas.microsoft.com/office/drawing/2014/main" id="{C1AD8EC2-DAEC-354D-BDC7-8A5622916F60}"/>
                    </a:ext>
                  </a:extLst>
                </p:cNvPr>
                <p:cNvSpPr/>
                <p:nvPr/>
              </p:nvSpPr>
              <p:spPr>
                <a:xfrm>
                  <a:off x="3983122" y="2826539"/>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396" name="Oval 395">
                  <a:extLst>
                    <a:ext uri="{FF2B5EF4-FFF2-40B4-BE49-F238E27FC236}">
                      <a16:creationId xmlns:a16="http://schemas.microsoft.com/office/drawing/2014/main" id="{422A9E5D-5092-1A43-8F73-22CF2ECCA22B}"/>
                    </a:ext>
                  </a:extLst>
                </p:cNvPr>
                <p:cNvSpPr/>
                <p:nvPr/>
              </p:nvSpPr>
              <p:spPr>
                <a:xfrm>
                  <a:off x="3983123" y="3174142"/>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397" name="Oval 396">
                  <a:extLst>
                    <a:ext uri="{FF2B5EF4-FFF2-40B4-BE49-F238E27FC236}">
                      <a16:creationId xmlns:a16="http://schemas.microsoft.com/office/drawing/2014/main" id="{B0B8F14A-2B18-8A4F-B899-39730ACEEE48}"/>
                    </a:ext>
                  </a:extLst>
                </p:cNvPr>
                <p:cNvSpPr>
                  <a:spLocks noChangeAspect="1"/>
                </p:cNvSpPr>
                <p:nvPr/>
              </p:nvSpPr>
              <p:spPr>
                <a:xfrm>
                  <a:off x="4781619" y="1436125"/>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398" name="Oval 397">
                  <a:extLst>
                    <a:ext uri="{FF2B5EF4-FFF2-40B4-BE49-F238E27FC236}">
                      <a16:creationId xmlns:a16="http://schemas.microsoft.com/office/drawing/2014/main" id="{3217733A-3107-0B40-B92B-F437E92F6F9E}"/>
                    </a:ext>
                  </a:extLst>
                </p:cNvPr>
                <p:cNvSpPr>
                  <a:spLocks noChangeAspect="1"/>
                </p:cNvSpPr>
                <p:nvPr/>
              </p:nvSpPr>
              <p:spPr>
                <a:xfrm>
                  <a:off x="5061365" y="1437094"/>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399" name="Oval 398">
                  <a:extLst>
                    <a:ext uri="{FF2B5EF4-FFF2-40B4-BE49-F238E27FC236}">
                      <a16:creationId xmlns:a16="http://schemas.microsoft.com/office/drawing/2014/main" id="{6B63D97B-5F9A-D243-90DE-A260D5754418}"/>
                    </a:ext>
                  </a:extLst>
                </p:cNvPr>
                <p:cNvSpPr>
                  <a:spLocks noChangeAspect="1"/>
                </p:cNvSpPr>
                <p:nvPr/>
              </p:nvSpPr>
              <p:spPr>
                <a:xfrm>
                  <a:off x="4924653" y="1785665"/>
                  <a:ext cx="84960" cy="84960"/>
                </a:xfrm>
                <a:prstGeom prst="ellipse">
                  <a:avLst/>
                </a:prstGeom>
                <a:solidFill>
                  <a:srgbClr val="FFFFFF"/>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0" name="Oval 399">
                  <a:extLst>
                    <a:ext uri="{FF2B5EF4-FFF2-40B4-BE49-F238E27FC236}">
                      <a16:creationId xmlns:a16="http://schemas.microsoft.com/office/drawing/2014/main" id="{75C3818E-6717-AA4F-8F26-B857C05904A7}"/>
                    </a:ext>
                  </a:extLst>
                </p:cNvPr>
                <p:cNvSpPr>
                  <a:spLocks noChangeAspect="1"/>
                </p:cNvSpPr>
                <p:nvPr/>
              </p:nvSpPr>
              <p:spPr>
                <a:xfrm>
                  <a:off x="4779138" y="213574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1" name="Oval 400">
                  <a:extLst>
                    <a:ext uri="{FF2B5EF4-FFF2-40B4-BE49-F238E27FC236}">
                      <a16:creationId xmlns:a16="http://schemas.microsoft.com/office/drawing/2014/main" id="{63A6004B-AC3D-FB4A-B873-F3F3BF656EB9}"/>
                    </a:ext>
                  </a:extLst>
                </p:cNvPr>
                <p:cNvSpPr>
                  <a:spLocks noChangeAspect="1"/>
                </p:cNvSpPr>
                <p:nvPr/>
              </p:nvSpPr>
              <p:spPr>
                <a:xfrm>
                  <a:off x="4779138" y="2479904"/>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2" name="Oval 401">
                  <a:extLst>
                    <a:ext uri="{FF2B5EF4-FFF2-40B4-BE49-F238E27FC236}">
                      <a16:creationId xmlns:a16="http://schemas.microsoft.com/office/drawing/2014/main" id="{E001A469-9092-C148-B5C5-BA4317A7D9FC}"/>
                    </a:ext>
                  </a:extLst>
                </p:cNvPr>
                <p:cNvSpPr>
                  <a:spLocks noChangeAspect="1"/>
                </p:cNvSpPr>
                <p:nvPr/>
              </p:nvSpPr>
              <p:spPr>
                <a:xfrm>
                  <a:off x="5058884" y="2480873"/>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3" name="Oval 402">
                  <a:extLst>
                    <a:ext uri="{FF2B5EF4-FFF2-40B4-BE49-F238E27FC236}">
                      <a16:creationId xmlns:a16="http://schemas.microsoft.com/office/drawing/2014/main" id="{2A5A1624-2C97-D043-A5D0-605A6BF45565}"/>
                    </a:ext>
                  </a:extLst>
                </p:cNvPr>
                <p:cNvSpPr>
                  <a:spLocks noChangeAspect="1"/>
                </p:cNvSpPr>
                <p:nvPr/>
              </p:nvSpPr>
              <p:spPr>
                <a:xfrm>
                  <a:off x="4921212" y="248087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4" name="Oval 403">
                  <a:extLst>
                    <a:ext uri="{FF2B5EF4-FFF2-40B4-BE49-F238E27FC236}">
                      <a16:creationId xmlns:a16="http://schemas.microsoft.com/office/drawing/2014/main" id="{AA9FCF5C-6104-F14A-B667-BC7C4A2A22D2}"/>
                    </a:ext>
                  </a:extLst>
                </p:cNvPr>
                <p:cNvSpPr>
                  <a:spLocks noChangeAspect="1"/>
                </p:cNvSpPr>
                <p:nvPr/>
              </p:nvSpPr>
              <p:spPr>
                <a:xfrm>
                  <a:off x="5062326" y="2828477"/>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5" name="Oval 404">
                  <a:extLst>
                    <a:ext uri="{FF2B5EF4-FFF2-40B4-BE49-F238E27FC236}">
                      <a16:creationId xmlns:a16="http://schemas.microsoft.com/office/drawing/2014/main" id="{1DA8CD2D-F18B-C84E-8ACB-186E7D46A361}"/>
                    </a:ext>
                  </a:extLst>
                </p:cNvPr>
                <p:cNvSpPr>
                  <a:spLocks noChangeAspect="1"/>
                </p:cNvSpPr>
                <p:nvPr/>
              </p:nvSpPr>
              <p:spPr>
                <a:xfrm>
                  <a:off x="4924654" y="2828476"/>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6" name="Oval 405">
                  <a:extLst>
                    <a:ext uri="{FF2B5EF4-FFF2-40B4-BE49-F238E27FC236}">
                      <a16:creationId xmlns:a16="http://schemas.microsoft.com/office/drawing/2014/main" id="{BB88DE6C-B854-1646-99EA-9B0393CFABCE}"/>
                    </a:ext>
                  </a:extLst>
                </p:cNvPr>
                <p:cNvSpPr>
                  <a:spLocks noChangeAspect="1"/>
                </p:cNvSpPr>
                <p:nvPr/>
              </p:nvSpPr>
              <p:spPr>
                <a:xfrm>
                  <a:off x="4779138" y="317511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7" name="Oval 406">
                  <a:extLst>
                    <a:ext uri="{FF2B5EF4-FFF2-40B4-BE49-F238E27FC236}">
                      <a16:creationId xmlns:a16="http://schemas.microsoft.com/office/drawing/2014/main" id="{E429611A-4559-924F-B925-7C332AC5FF7C}"/>
                    </a:ext>
                  </a:extLst>
                </p:cNvPr>
                <p:cNvSpPr>
                  <a:spLocks noChangeAspect="1"/>
                </p:cNvSpPr>
                <p:nvPr/>
              </p:nvSpPr>
              <p:spPr>
                <a:xfrm>
                  <a:off x="4921212" y="3176080"/>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8" name="Oval 71">
                  <a:extLst>
                    <a:ext uri="{FF2B5EF4-FFF2-40B4-BE49-F238E27FC236}">
                      <a16:creationId xmlns:a16="http://schemas.microsoft.com/office/drawing/2014/main" id="{C92D0746-0063-414E-B9E2-9B0B3B0369E5}"/>
                    </a:ext>
                  </a:extLst>
                </p:cNvPr>
                <p:cNvSpPr>
                  <a:spLocks noChangeAspect="1"/>
                </p:cNvSpPr>
                <p:nvPr/>
              </p:nvSpPr>
              <p:spPr>
                <a:xfrm>
                  <a:off x="4788657" y="2828313"/>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09" name="Oval 71">
                  <a:extLst>
                    <a:ext uri="{FF2B5EF4-FFF2-40B4-BE49-F238E27FC236}">
                      <a16:creationId xmlns:a16="http://schemas.microsoft.com/office/drawing/2014/main" id="{55C95085-FDCE-9249-BA8E-654E621252B5}"/>
                    </a:ext>
                  </a:extLst>
                </p:cNvPr>
                <p:cNvSpPr>
                  <a:spLocks noChangeAspect="1"/>
                </p:cNvSpPr>
                <p:nvPr/>
              </p:nvSpPr>
              <p:spPr>
                <a:xfrm>
                  <a:off x="5053303" y="317955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10" name="Oval 71">
                  <a:extLst>
                    <a:ext uri="{FF2B5EF4-FFF2-40B4-BE49-F238E27FC236}">
                      <a16:creationId xmlns:a16="http://schemas.microsoft.com/office/drawing/2014/main" id="{FC42F7F1-46CE-634E-8E05-E845B5A057C1}"/>
                    </a:ext>
                  </a:extLst>
                </p:cNvPr>
                <p:cNvSpPr>
                  <a:spLocks noChangeAspect="1"/>
                </p:cNvSpPr>
                <p:nvPr/>
              </p:nvSpPr>
              <p:spPr>
                <a:xfrm>
                  <a:off x="4918608" y="213722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11" name="Oval 71">
                  <a:extLst>
                    <a:ext uri="{FF2B5EF4-FFF2-40B4-BE49-F238E27FC236}">
                      <a16:creationId xmlns:a16="http://schemas.microsoft.com/office/drawing/2014/main" id="{6C2509A6-CCD4-EE4B-9494-D9C27BE963FD}"/>
                    </a:ext>
                  </a:extLst>
                </p:cNvPr>
                <p:cNvSpPr>
                  <a:spLocks noChangeAspect="1"/>
                </p:cNvSpPr>
                <p:nvPr/>
              </p:nvSpPr>
              <p:spPr>
                <a:xfrm>
                  <a:off x="5053302" y="2137227"/>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12" name="Oval 71">
                  <a:extLst>
                    <a:ext uri="{FF2B5EF4-FFF2-40B4-BE49-F238E27FC236}">
                      <a16:creationId xmlns:a16="http://schemas.microsoft.com/office/drawing/2014/main" id="{F2B41C47-CEBF-B845-880C-9DCBC8FBAA26}"/>
                    </a:ext>
                  </a:extLst>
                </p:cNvPr>
                <p:cNvSpPr>
                  <a:spLocks noChangeAspect="1"/>
                </p:cNvSpPr>
                <p:nvPr/>
              </p:nvSpPr>
              <p:spPr>
                <a:xfrm>
                  <a:off x="5053303" y="178443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13" name="Oval 71">
                  <a:extLst>
                    <a:ext uri="{FF2B5EF4-FFF2-40B4-BE49-F238E27FC236}">
                      <a16:creationId xmlns:a16="http://schemas.microsoft.com/office/drawing/2014/main" id="{FEF93AB9-B011-F74E-A18D-0C8945E7182B}"/>
                    </a:ext>
                  </a:extLst>
                </p:cNvPr>
                <p:cNvSpPr>
                  <a:spLocks noChangeAspect="1"/>
                </p:cNvSpPr>
                <p:nvPr/>
              </p:nvSpPr>
              <p:spPr>
                <a:xfrm>
                  <a:off x="4774292" y="1787645"/>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14" name="Oval 71">
                  <a:extLst>
                    <a:ext uri="{FF2B5EF4-FFF2-40B4-BE49-F238E27FC236}">
                      <a16:creationId xmlns:a16="http://schemas.microsoft.com/office/drawing/2014/main" id="{7FBE0C2D-578F-AD4F-AC33-845790713ABF}"/>
                    </a:ext>
                  </a:extLst>
                </p:cNvPr>
                <p:cNvSpPr>
                  <a:spLocks noChangeAspect="1"/>
                </p:cNvSpPr>
                <p:nvPr/>
              </p:nvSpPr>
              <p:spPr>
                <a:xfrm>
                  <a:off x="4918608" y="1438064"/>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grpSp>
        </p:grpSp>
        <p:sp>
          <p:nvSpPr>
            <p:cNvPr id="387" name="TextBox 386">
              <a:extLst>
                <a:ext uri="{FF2B5EF4-FFF2-40B4-BE49-F238E27FC236}">
                  <a16:creationId xmlns:a16="http://schemas.microsoft.com/office/drawing/2014/main" id="{AF488AC4-C28A-874C-B057-E226C7597EDB}"/>
                </a:ext>
              </a:extLst>
            </p:cNvPr>
            <p:cNvSpPr txBox="1"/>
            <p:nvPr/>
          </p:nvSpPr>
          <p:spPr>
            <a:xfrm>
              <a:off x="7357923" y="2540578"/>
              <a:ext cx="2197775" cy="1353872"/>
            </a:xfrm>
            <a:prstGeom prst="rect">
              <a:avLst/>
            </a:prstGeom>
            <a:noFill/>
          </p:spPr>
          <p:txBody>
            <a:bodyPr wrap="square" lIns="68580" tIns="34290" rIns="68580" bIns="34290" rtlCol="0">
              <a:spAutoFit/>
            </a:bodyPr>
            <a:lstStyle/>
            <a:p>
              <a:pPr algn="ctr" defTabSz="685783" fontAlgn="auto">
                <a:spcBef>
                  <a:spcPts val="0"/>
                </a:spcBef>
                <a:spcAft>
                  <a:spcPts val="0"/>
                </a:spcAft>
              </a:pPr>
              <a:endParaRPr lang="en-US" sz="800" dirty="0">
                <a:solidFill>
                  <a:srgbClr val="676767"/>
                </a:solidFill>
                <a:latin typeface="Arial"/>
                <a:cs typeface="+mn-cs"/>
              </a:endParaRPr>
            </a:p>
          </p:txBody>
        </p:sp>
      </p:grpSp>
      <p:grpSp>
        <p:nvGrpSpPr>
          <p:cNvPr id="415" name="Group 414">
            <a:extLst>
              <a:ext uri="{FF2B5EF4-FFF2-40B4-BE49-F238E27FC236}">
                <a16:creationId xmlns:a16="http://schemas.microsoft.com/office/drawing/2014/main" id="{5482A6CF-617E-3843-A56A-30EF54936BDB}"/>
              </a:ext>
            </a:extLst>
          </p:cNvPr>
          <p:cNvGrpSpPr/>
          <p:nvPr/>
        </p:nvGrpSpPr>
        <p:grpSpPr>
          <a:xfrm>
            <a:off x="3544431" y="3249463"/>
            <a:ext cx="959821" cy="687011"/>
            <a:chOff x="7357923" y="833099"/>
            <a:chExt cx="2197775" cy="3061351"/>
          </a:xfrm>
        </p:grpSpPr>
        <p:grpSp>
          <p:nvGrpSpPr>
            <p:cNvPr id="416" name="Group 415">
              <a:extLst>
                <a:ext uri="{FF2B5EF4-FFF2-40B4-BE49-F238E27FC236}">
                  <a16:creationId xmlns:a16="http://schemas.microsoft.com/office/drawing/2014/main" id="{78B138E3-90F3-8241-B7B8-94052E4CE7F2}"/>
                </a:ext>
              </a:extLst>
            </p:cNvPr>
            <p:cNvGrpSpPr/>
            <p:nvPr/>
          </p:nvGrpSpPr>
          <p:grpSpPr>
            <a:xfrm>
              <a:off x="7902054" y="833099"/>
              <a:ext cx="1144746" cy="1692321"/>
              <a:chOff x="4645042" y="2115404"/>
              <a:chExt cx="1144746" cy="1692321"/>
            </a:xfrm>
          </p:grpSpPr>
          <p:sp>
            <p:nvSpPr>
              <p:cNvPr id="418" name="Rounded Rectangle 417">
                <a:extLst>
                  <a:ext uri="{FF2B5EF4-FFF2-40B4-BE49-F238E27FC236}">
                    <a16:creationId xmlns:a16="http://schemas.microsoft.com/office/drawing/2014/main" id="{FAF14175-EB9A-BB46-8BF3-52022012AE71}"/>
                  </a:ext>
                </a:extLst>
              </p:cNvPr>
              <p:cNvSpPr/>
              <p:nvPr/>
            </p:nvSpPr>
            <p:spPr>
              <a:xfrm>
                <a:off x="4645042" y="2115404"/>
                <a:ext cx="1144746" cy="1692321"/>
              </a:xfrm>
              <a:prstGeom prst="roundRect">
                <a:avLst/>
              </a:prstGeom>
              <a:solidFill>
                <a:schemeClr val="tx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a:solidFill>
                    <a:srgbClr val="FFFFFF"/>
                  </a:solidFill>
                  <a:latin typeface="Arial"/>
                </a:endParaRPr>
              </a:p>
            </p:txBody>
          </p:sp>
          <p:grpSp>
            <p:nvGrpSpPr>
              <p:cNvPr id="419" name="Group 418">
                <a:extLst>
                  <a:ext uri="{FF2B5EF4-FFF2-40B4-BE49-F238E27FC236}">
                    <a16:creationId xmlns:a16="http://schemas.microsoft.com/office/drawing/2014/main" id="{FE8D7687-3DEA-D440-B10C-5B71880A347D}"/>
                  </a:ext>
                </a:extLst>
              </p:cNvPr>
              <p:cNvGrpSpPr/>
              <p:nvPr/>
            </p:nvGrpSpPr>
            <p:grpSpPr>
              <a:xfrm>
                <a:off x="4696092" y="2227862"/>
                <a:ext cx="1060208" cy="1477686"/>
                <a:chOff x="3613881" y="1202595"/>
                <a:chExt cx="1908341" cy="2659784"/>
              </a:xfrm>
            </p:grpSpPr>
            <p:sp>
              <p:nvSpPr>
                <p:cNvPr id="420" name="Rounded Rectangle 3">
                  <a:extLst>
                    <a:ext uri="{FF2B5EF4-FFF2-40B4-BE49-F238E27FC236}">
                      <a16:creationId xmlns:a16="http://schemas.microsoft.com/office/drawing/2014/main" id="{1E49A7C3-CCD5-9142-9B7D-AAC27108B643}"/>
                    </a:ext>
                  </a:extLst>
                </p:cNvPr>
                <p:cNvSpPr/>
                <p:nvPr/>
              </p:nvSpPr>
              <p:spPr>
                <a:xfrm>
                  <a:off x="3613881" y="1202595"/>
                  <a:ext cx="1908341" cy="263394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21" name="Oval 420">
                  <a:extLst>
                    <a:ext uri="{FF2B5EF4-FFF2-40B4-BE49-F238E27FC236}">
                      <a16:creationId xmlns:a16="http://schemas.microsoft.com/office/drawing/2014/main" id="{09EA949A-0FEA-F74F-A8DE-DEFFE30CF8A8}"/>
                    </a:ext>
                  </a:extLst>
                </p:cNvPr>
                <p:cNvSpPr/>
                <p:nvPr/>
              </p:nvSpPr>
              <p:spPr>
                <a:xfrm>
                  <a:off x="3982162" y="1424831"/>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22" name="Oval 421">
                  <a:extLst>
                    <a:ext uri="{FF2B5EF4-FFF2-40B4-BE49-F238E27FC236}">
                      <a16:creationId xmlns:a16="http://schemas.microsoft.com/office/drawing/2014/main" id="{8AC5EA14-316D-0F4B-9F02-603D9205EE63}"/>
                    </a:ext>
                  </a:extLst>
                </p:cNvPr>
                <p:cNvSpPr/>
                <p:nvPr/>
              </p:nvSpPr>
              <p:spPr>
                <a:xfrm>
                  <a:off x="3983123" y="1773403"/>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23" name="Oval 422">
                  <a:extLst>
                    <a:ext uri="{FF2B5EF4-FFF2-40B4-BE49-F238E27FC236}">
                      <a16:creationId xmlns:a16="http://schemas.microsoft.com/office/drawing/2014/main" id="{04C27A05-78EB-6543-BBD7-EBACF580A371}"/>
                    </a:ext>
                  </a:extLst>
                </p:cNvPr>
                <p:cNvSpPr/>
                <p:nvPr/>
              </p:nvSpPr>
              <p:spPr>
                <a:xfrm>
                  <a:off x="3983123" y="2127890"/>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24" name="Oval 423">
                  <a:extLst>
                    <a:ext uri="{FF2B5EF4-FFF2-40B4-BE49-F238E27FC236}">
                      <a16:creationId xmlns:a16="http://schemas.microsoft.com/office/drawing/2014/main" id="{E324A6F5-CAA2-AB43-B21D-29BB4AE296F3}"/>
                    </a:ext>
                  </a:extLst>
                </p:cNvPr>
                <p:cNvSpPr/>
                <p:nvPr/>
              </p:nvSpPr>
              <p:spPr>
                <a:xfrm>
                  <a:off x="3983124" y="3759130"/>
                  <a:ext cx="103248" cy="103249"/>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25" name="Oval 424">
                  <a:extLst>
                    <a:ext uri="{FF2B5EF4-FFF2-40B4-BE49-F238E27FC236}">
                      <a16:creationId xmlns:a16="http://schemas.microsoft.com/office/drawing/2014/main" id="{68A8A368-610C-2649-8FA9-BF85628D47FA}"/>
                    </a:ext>
                  </a:extLst>
                </p:cNvPr>
                <p:cNvSpPr/>
                <p:nvPr/>
              </p:nvSpPr>
              <p:spPr>
                <a:xfrm>
                  <a:off x="3983122" y="2826539"/>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26" name="Oval 425">
                  <a:extLst>
                    <a:ext uri="{FF2B5EF4-FFF2-40B4-BE49-F238E27FC236}">
                      <a16:creationId xmlns:a16="http://schemas.microsoft.com/office/drawing/2014/main" id="{39461E74-EFB3-534D-8D88-93327012E2DF}"/>
                    </a:ext>
                  </a:extLst>
                </p:cNvPr>
                <p:cNvSpPr/>
                <p:nvPr/>
              </p:nvSpPr>
              <p:spPr>
                <a:xfrm>
                  <a:off x="3983123" y="3174142"/>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27" name="Oval 426">
                  <a:extLst>
                    <a:ext uri="{FF2B5EF4-FFF2-40B4-BE49-F238E27FC236}">
                      <a16:creationId xmlns:a16="http://schemas.microsoft.com/office/drawing/2014/main" id="{4EFCBE86-F871-0944-AA28-6AF9C01E2385}"/>
                    </a:ext>
                  </a:extLst>
                </p:cNvPr>
                <p:cNvSpPr>
                  <a:spLocks noChangeAspect="1"/>
                </p:cNvSpPr>
                <p:nvPr/>
              </p:nvSpPr>
              <p:spPr>
                <a:xfrm>
                  <a:off x="4781619" y="1436125"/>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28" name="Oval 427">
                  <a:extLst>
                    <a:ext uri="{FF2B5EF4-FFF2-40B4-BE49-F238E27FC236}">
                      <a16:creationId xmlns:a16="http://schemas.microsoft.com/office/drawing/2014/main" id="{42B335D8-E2E7-B545-9699-59D39776A0D6}"/>
                    </a:ext>
                  </a:extLst>
                </p:cNvPr>
                <p:cNvSpPr>
                  <a:spLocks noChangeAspect="1"/>
                </p:cNvSpPr>
                <p:nvPr/>
              </p:nvSpPr>
              <p:spPr>
                <a:xfrm>
                  <a:off x="5061365" y="1437094"/>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29" name="Oval 428">
                  <a:extLst>
                    <a:ext uri="{FF2B5EF4-FFF2-40B4-BE49-F238E27FC236}">
                      <a16:creationId xmlns:a16="http://schemas.microsoft.com/office/drawing/2014/main" id="{0BABFD68-2479-3843-B0DE-E3DF4113DF78}"/>
                    </a:ext>
                  </a:extLst>
                </p:cNvPr>
                <p:cNvSpPr>
                  <a:spLocks noChangeAspect="1"/>
                </p:cNvSpPr>
                <p:nvPr/>
              </p:nvSpPr>
              <p:spPr>
                <a:xfrm>
                  <a:off x="4924653" y="1785665"/>
                  <a:ext cx="84960" cy="84960"/>
                </a:xfrm>
                <a:prstGeom prst="ellipse">
                  <a:avLst/>
                </a:prstGeom>
                <a:solidFill>
                  <a:srgbClr val="FFFFFF"/>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0" name="Oval 429">
                  <a:extLst>
                    <a:ext uri="{FF2B5EF4-FFF2-40B4-BE49-F238E27FC236}">
                      <a16:creationId xmlns:a16="http://schemas.microsoft.com/office/drawing/2014/main" id="{766E5056-5F72-3C4D-95B0-1719CEEDF73E}"/>
                    </a:ext>
                  </a:extLst>
                </p:cNvPr>
                <p:cNvSpPr>
                  <a:spLocks noChangeAspect="1"/>
                </p:cNvSpPr>
                <p:nvPr/>
              </p:nvSpPr>
              <p:spPr>
                <a:xfrm>
                  <a:off x="4779138" y="213574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1" name="Oval 430">
                  <a:extLst>
                    <a:ext uri="{FF2B5EF4-FFF2-40B4-BE49-F238E27FC236}">
                      <a16:creationId xmlns:a16="http://schemas.microsoft.com/office/drawing/2014/main" id="{1122A207-6AA5-CC44-A5A8-BA3187A087E4}"/>
                    </a:ext>
                  </a:extLst>
                </p:cNvPr>
                <p:cNvSpPr>
                  <a:spLocks noChangeAspect="1"/>
                </p:cNvSpPr>
                <p:nvPr/>
              </p:nvSpPr>
              <p:spPr>
                <a:xfrm>
                  <a:off x="4779138" y="2479904"/>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2" name="Oval 431">
                  <a:extLst>
                    <a:ext uri="{FF2B5EF4-FFF2-40B4-BE49-F238E27FC236}">
                      <a16:creationId xmlns:a16="http://schemas.microsoft.com/office/drawing/2014/main" id="{859DB2C6-0326-0542-9AF7-9D6432963049}"/>
                    </a:ext>
                  </a:extLst>
                </p:cNvPr>
                <p:cNvSpPr>
                  <a:spLocks noChangeAspect="1"/>
                </p:cNvSpPr>
                <p:nvPr/>
              </p:nvSpPr>
              <p:spPr>
                <a:xfrm>
                  <a:off x="5058884" y="2480873"/>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3" name="Oval 432">
                  <a:extLst>
                    <a:ext uri="{FF2B5EF4-FFF2-40B4-BE49-F238E27FC236}">
                      <a16:creationId xmlns:a16="http://schemas.microsoft.com/office/drawing/2014/main" id="{1675EBA3-610A-F84C-A171-E01DC454CF62}"/>
                    </a:ext>
                  </a:extLst>
                </p:cNvPr>
                <p:cNvSpPr>
                  <a:spLocks noChangeAspect="1"/>
                </p:cNvSpPr>
                <p:nvPr/>
              </p:nvSpPr>
              <p:spPr>
                <a:xfrm>
                  <a:off x="4921212" y="248087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4" name="Oval 433">
                  <a:extLst>
                    <a:ext uri="{FF2B5EF4-FFF2-40B4-BE49-F238E27FC236}">
                      <a16:creationId xmlns:a16="http://schemas.microsoft.com/office/drawing/2014/main" id="{B0E46F3F-E71E-4F4E-9688-A21618801448}"/>
                    </a:ext>
                  </a:extLst>
                </p:cNvPr>
                <p:cNvSpPr>
                  <a:spLocks noChangeAspect="1"/>
                </p:cNvSpPr>
                <p:nvPr/>
              </p:nvSpPr>
              <p:spPr>
                <a:xfrm>
                  <a:off x="5062326" y="2828477"/>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5" name="Oval 434">
                  <a:extLst>
                    <a:ext uri="{FF2B5EF4-FFF2-40B4-BE49-F238E27FC236}">
                      <a16:creationId xmlns:a16="http://schemas.microsoft.com/office/drawing/2014/main" id="{DE04BCFD-C378-2046-A89E-7D6D649C8DEA}"/>
                    </a:ext>
                  </a:extLst>
                </p:cNvPr>
                <p:cNvSpPr>
                  <a:spLocks noChangeAspect="1"/>
                </p:cNvSpPr>
                <p:nvPr/>
              </p:nvSpPr>
              <p:spPr>
                <a:xfrm>
                  <a:off x="4924654" y="2828476"/>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6" name="Oval 435">
                  <a:extLst>
                    <a:ext uri="{FF2B5EF4-FFF2-40B4-BE49-F238E27FC236}">
                      <a16:creationId xmlns:a16="http://schemas.microsoft.com/office/drawing/2014/main" id="{F5B76DA0-5FC2-1F4B-94C8-577496C79C36}"/>
                    </a:ext>
                  </a:extLst>
                </p:cNvPr>
                <p:cNvSpPr>
                  <a:spLocks noChangeAspect="1"/>
                </p:cNvSpPr>
                <p:nvPr/>
              </p:nvSpPr>
              <p:spPr>
                <a:xfrm>
                  <a:off x="4779138" y="317511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7" name="Oval 436">
                  <a:extLst>
                    <a:ext uri="{FF2B5EF4-FFF2-40B4-BE49-F238E27FC236}">
                      <a16:creationId xmlns:a16="http://schemas.microsoft.com/office/drawing/2014/main" id="{C74735D1-D40E-E84C-A1B0-ADBCFDA4B071}"/>
                    </a:ext>
                  </a:extLst>
                </p:cNvPr>
                <p:cNvSpPr>
                  <a:spLocks noChangeAspect="1"/>
                </p:cNvSpPr>
                <p:nvPr/>
              </p:nvSpPr>
              <p:spPr>
                <a:xfrm>
                  <a:off x="4921212" y="3176080"/>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8" name="Oval 71">
                  <a:extLst>
                    <a:ext uri="{FF2B5EF4-FFF2-40B4-BE49-F238E27FC236}">
                      <a16:creationId xmlns:a16="http://schemas.microsoft.com/office/drawing/2014/main" id="{AC6D862E-5B26-4749-9D4B-F35D1A9E978F}"/>
                    </a:ext>
                  </a:extLst>
                </p:cNvPr>
                <p:cNvSpPr>
                  <a:spLocks noChangeAspect="1"/>
                </p:cNvSpPr>
                <p:nvPr/>
              </p:nvSpPr>
              <p:spPr>
                <a:xfrm>
                  <a:off x="4788657" y="2828313"/>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39" name="Oval 71">
                  <a:extLst>
                    <a:ext uri="{FF2B5EF4-FFF2-40B4-BE49-F238E27FC236}">
                      <a16:creationId xmlns:a16="http://schemas.microsoft.com/office/drawing/2014/main" id="{9DCC273B-517B-7F44-9487-90F5EFF4032A}"/>
                    </a:ext>
                  </a:extLst>
                </p:cNvPr>
                <p:cNvSpPr>
                  <a:spLocks noChangeAspect="1"/>
                </p:cNvSpPr>
                <p:nvPr/>
              </p:nvSpPr>
              <p:spPr>
                <a:xfrm>
                  <a:off x="5053303" y="317955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40" name="Oval 71">
                  <a:extLst>
                    <a:ext uri="{FF2B5EF4-FFF2-40B4-BE49-F238E27FC236}">
                      <a16:creationId xmlns:a16="http://schemas.microsoft.com/office/drawing/2014/main" id="{5FC90B6C-8F9A-B046-ADAE-B9805469C779}"/>
                    </a:ext>
                  </a:extLst>
                </p:cNvPr>
                <p:cNvSpPr>
                  <a:spLocks noChangeAspect="1"/>
                </p:cNvSpPr>
                <p:nvPr/>
              </p:nvSpPr>
              <p:spPr>
                <a:xfrm>
                  <a:off x="4918608" y="213722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41" name="Oval 71">
                  <a:extLst>
                    <a:ext uri="{FF2B5EF4-FFF2-40B4-BE49-F238E27FC236}">
                      <a16:creationId xmlns:a16="http://schemas.microsoft.com/office/drawing/2014/main" id="{20E69AD5-84B5-654F-AA07-D0042547200D}"/>
                    </a:ext>
                  </a:extLst>
                </p:cNvPr>
                <p:cNvSpPr>
                  <a:spLocks noChangeAspect="1"/>
                </p:cNvSpPr>
                <p:nvPr/>
              </p:nvSpPr>
              <p:spPr>
                <a:xfrm>
                  <a:off x="5053302" y="2137227"/>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42" name="Oval 71">
                  <a:extLst>
                    <a:ext uri="{FF2B5EF4-FFF2-40B4-BE49-F238E27FC236}">
                      <a16:creationId xmlns:a16="http://schemas.microsoft.com/office/drawing/2014/main" id="{54FDF0A5-BA66-9A4C-B760-C70406209148}"/>
                    </a:ext>
                  </a:extLst>
                </p:cNvPr>
                <p:cNvSpPr>
                  <a:spLocks noChangeAspect="1"/>
                </p:cNvSpPr>
                <p:nvPr/>
              </p:nvSpPr>
              <p:spPr>
                <a:xfrm>
                  <a:off x="5053303" y="178443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43" name="Oval 71">
                  <a:extLst>
                    <a:ext uri="{FF2B5EF4-FFF2-40B4-BE49-F238E27FC236}">
                      <a16:creationId xmlns:a16="http://schemas.microsoft.com/office/drawing/2014/main" id="{67794445-099F-A544-8C5D-AD8FE5A75142}"/>
                    </a:ext>
                  </a:extLst>
                </p:cNvPr>
                <p:cNvSpPr>
                  <a:spLocks noChangeAspect="1"/>
                </p:cNvSpPr>
                <p:nvPr/>
              </p:nvSpPr>
              <p:spPr>
                <a:xfrm>
                  <a:off x="4774292" y="1787645"/>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44" name="Oval 71">
                  <a:extLst>
                    <a:ext uri="{FF2B5EF4-FFF2-40B4-BE49-F238E27FC236}">
                      <a16:creationId xmlns:a16="http://schemas.microsoft.com/office/drawing/2014/main" id="{47640DEA-6499-AD42-8720-9FB16D275FDF}"/>
                    </a:ext>
                  </a:extLst>
                </p:cNvPr>
                <p:cNvSpPr>
                  <a:spLocks noChangeAspect="1"/>
                </p:cNvSpPr>
                <p:nvPr/>
              </p:nvSpPr>
              <p:spPr>
                <a:xfrm>
                  <a:off x="4918608" y="1438064"/>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grpSp>
        </p:grpSp>
        <p:sp>
          <p:nvSpPr>
            <p:cNvPr id="417" name="TextBox 416">
              <a:extLst>
                <a:ext uri="{FF2B5EF4-FFF2-40B4-BE49-F238E27FC236}">
                  <a16:creationId xmlns:a16="http://schemas.microsoft.com/office/drawing/2014/main" id="{CBCD4FF1-B08E-8543-904D-6EE1752B82AC}"/>
                </a:ext>
              </a:extLst>
            </p:cNvPr>
            <p:cNvSpPr txBox="1"/>
            <p:nvPr/>
          </p:nvSpPr>
          <p:spPr>
            <a:xfrm>
              <a:off x="7357923" y="2540578"/>
              <a:ext cx="2197775" cy="1353872"/>
            </a:xfrm>
            <a:prstGeom prst="rect">
              <a:avLst/>
            </a:prstGeom>
            <a:noFill/>
          </p:spPr>
          <p:txBody>
            <a:bodyPr wrap="square" lIns="68580" tIns="34290" rIns="68580" bIns="34290" rtlCol="0">
              <a:spAutoFit/>
            </a:bodyPr>
            <a:lstStyle/>
            <a:p>
              <a:pPr algn="ctr" defTabSz="685783" fontAlgn="auto">
                <a:spcBef>
                  <a:spcPts val="0"/>
                </a:spcBef>
                <a:spcAft>
                  <a:spcPts val="0"/>
                </a:spcAft>
              </a:pPr>
              <a:endParaRPr lang="en-US" sz="800" dirty="0">
                <a:solidFill>
                  <a:srgbClr val="676767"/>
                </a:solidFill>
                <a:latin typeface="Arial"/>
                <a:cs typeface="+mn-cs"/>
              </a:endParaRPr>
            </a:p>
          </p:txBody>
        </p:sp>
      </p:grpSp>
      <p:grpSp>
        <p:nvGrpSpPr>
          <p:cNvPr id="445" name="Group 444">
            <a:extLst>
              <a:ext uri="{FF2B5EF4-FFF2-40B4-BE49-F238E27FC236}">
                <a16:creationId xmlns:a16="http://schemas.microsoft.com/office/drawing/2014/main" id="{66227265-A47F-164D-9DD4-9DF10A49E3AB}"/>
              </a:ext>
            </a:extLst>
          </p:cNvPr>
          <p:cNvGrpSpPr/>
          <p:nvPr/>
        </p:nvGrpSpPr>
        <p:grpSpPr>
          <a:xfrm>
            <a:off x="5304576" y="3269095"/>
            <a:ext cx="959821" cy="968422"/>
            <a:chOff x="7357923" y="833099"/>
            <a:chExt cx="2197775" cy="3061351"/>
          </a:xfrm>
        </p:grpSpPr>
        <p:grpSp>
          <p:nvGrpSpPr>
            <p:cNvPr id="446" name="Group 445">
              <a:extLst>
                <a:ext uri="{FF2B5EF4-FFF2-40B4-BE49-F238E27FC236}">
                  <a16:creationId xmlns:a16="http://schemas.microsoft.com/office/drawing/2014/main" id="{2B3CA361-BA7B-C542-ABA0-202F57B5B919}"/>
                </a:ext>
              </a:extLst>
            </p:cNvPr>
            <p:cNvGrpSpPr/>
            <p:nvPr/>
          </p:nvGrpSpPr>
          <p:grpSpPr>
            <a:xfrm>
              <a:off x="7902054" y="833099"/>
              <a:ext cx="1144746" cy="1692321"/>
              <a:chOff x="4645042" y="2115404"/>
              <a:chExt cx="1144746" cy="1692321"/>
            </a:xfrm>
          </p:grpSpPr>
          <p:sp>
            <p:nvSpPr>
              <p:cNvPr id="448" name="Rounded Rectangle 447">
                <a:extLst>
                  <a:ext uri="{FF2B5EF4-FFF2-40B4-BE49-F238E27FC236}">
                    <a16:creationId xmlns:a16="http://schemas.microsoft.com/office/drawing/2014/main" id="{3CF31CE1-EF5A-C24E-80E6-20B97A7D709C}"/>
                  </a:ext>
                </a:extLst>
              </p:cNvPr>
              <p:cNvSpPr/>
              <p:nvPr/>
            </p:nvSpPr>
            <p:spPr>
              <a:xfrm>
                <a:off x="4645042" y="2115404"/>
                <a:ext cx="1144746" cy="1692321"/>
              </a:xfrm>
              <a:prstGeom prst="roundRect">
                <a:avLst/>
              </a:prstGeom>
              <a:solidFill>
                <a:schemeClr val="tx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a:solidFill>
                    <a:srgbClr val="FFFFFF"/>
                  </a:solidFill>
                  <a:latin typeface="Arial"/>
                </a:endParaRPr>
              </a:p>
            </p:txBody>
          </p:sp>
          <p:grpSp>
            <p:nvGrpSpPr>
              <p:cNvPr id="449" name="Group 448">
                <a:extLst>
                  <a:ext uri="{FF2B5EF4-FFF2-40B4-BE49-F238E27FC236}">
                    <a16:creationId xmlns:a16="http://schemas.microsoft.com/office/drawing/2014/main" id="{D9136EFA-F812-ED4B-9D61-449706A3C9D7}"/>
                  </a:ext>
                </a:extLst>
              </p:cNvPr>
              <p:cNvGrpSpPr/>
              <p:nvPr/>
            </p:nvGrpSpPr>
            <p:grpSpPr>
              <a:xfrm>
                <a:off x="4696092" y="2227862"/>
                <a:ext cx="1060208" cy="1477686"/>
                <a:chOff x="3613881" y="1202595"/>
                <a:chExt cx="1908341" cy="2659784"/>
              </a:xfrm>
            </p:grpSpPr>
            <p:sp>
              <p:nvSpPr>
                <p:cNvPr id="450" name="Rounded Rectangle 3">
                  <a:extLst>
                    <a:ext uri="{FF2B5EF4-FFF2-40B4-BE49-F238E27FC236}">
                      <a16:creationId xmlns:a16="http://schemas.microsoft.com/office/drawing/2014/main" id="{140418F6-1B68-3643-A844-E8DB3E9086E1}"/>
                    </a:ext>
                  </a:extLst>
                </p:cNvPr>
                <p:cNvSpPr/>
                <p:nvPr/>
              </p:nvSpPr>
              <p:spPr>
                <a:xfrm>
                  <a:off x="3613881" y="1202595"/>
                  <a:ext cx="1908341" cy="263394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51" name="Oval 450">
                  <a:extLst>
                    <a:ext uri="{FF2B5EF4-FFF2-40B4-BE49-F238E27FC236}">
                      <a16:creationId xmlns:a16="http://schemas.microsoft.com/office/drawing/2014/main" id="{7622A736-B17D-EE44-9618-18C977574CAC}"/>
                    </a:ext>
                  </a:extLst>
                </p:cNvPr>
                <p:cNvSpPr/>
                <p:nvPr/>
              </p:nvSpPr>
              <p:spPr>
                <a:xfrm>
                  <a:off x="3982162" y="1424831"/>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52" name="Oval 451">
                  <a:extLst>
                    <a:ext uri="{FF2B5EF4-FFF2-40B4-BE49-F238E27FC236}">
                      <a16:creationId xmlns:a16="http://schemas.microsoft.com/office/drawing/2014/main" id="{F30455D8-683B-6840-B7B9-003721C82040}"/>
                    </a:ext>
                  </a:extLst>
                </p:cNvPr>
                <p:cNvSpPr/>
                <p:nvPr/>
              </p:nvSpPr>
              <p:spPr>
                <a:xfrm>
                  <a:off x="3983123" y="1773403"/>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53" name="Oval 452">
                  <a:extLst>
                    <a:ext uri="{FF2B5EF4-FFF2-40B4-BE49-F238E27FC236}">
                      <a16:creationId xmlns:a16="http://schemas.microsoft.com/office/drawing/2014/main" id="{E60AECDF-222A-2E4A-9310-7C63DC22ED13}"/>
                    </a:ext>
                  </a:extLst>
                </p:cNvPr>
                <p:cNvSpPr/>
                <p:nvPr/>
              </p:nvSpPr>
              <p:spPr>
                <a:xfrm>
                  <a:off x="3983123" y="2127890"/>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54" name="Oval 453">
                  <a:extLst>
                    <a:ext uri="{FF2B5EF4-FFF2-40B4-BE49-F238E27FC236}">
                      <a16:creationId xmlns:a16="http://schemas.microsoft.com/office/drawing/2014/main" id="{8B6D3BA2-E649-1343-B3B6-8569A688B7E4}"/>
                    </a:ext>
                  </a:extLst>
                </p:cNvPr>
                <p:cNvSpPr/>
                <p:nvPr/>
              </p:nvSpPr>
              <p:spPr>
                <a:xfrm>
                  <a:off x="3983124" y="3759130"/>
                  <a:ext cx="103248" cy="103249"/>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55" name="Oval 454">
                  <a:extLst>
                    <a:ext uri="{FF2B5EF4-FFF2-40B4-BE49-F238E27FC236}">
                      <a16:creationId xmlns:a16="http://schemas.microsoft.com/office/drawing/2014/main" id="{82ED552C-488E-2D45-BD7A-EA162050B16B}"/>
                    </a:ext>
                  </a:extLst>
                </p:cNvPr>
                <p:cNvSpPr/>
                <p:nvPr/>
              </p:nvSpPr>
              <p:spPr>
                <a:xfrm>
                  <a:off x="3983122" y="2826539"/>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56" name="Oval 455">
                  <a:extLst>
                    <a:ext uri="{FF2B5EF4-FFF2-40B4-BE49-F238E27FC236}">
                      <a16:creationId xmlns:a16="http://schemas.microsoft.com/office/drawing/2014/main" id="{DAB790D3-56C0-034F-9F81-CB21389588DD}"/>
                    </a:ext>
                  </a:extLst>
                </p:cNvPr>
                <p:cNvSpPr/>
                <p:nvPr/>
              </p:nvSpPr>
              <p:spPr>
                <a:xfrm>
                  <a:off x="3983123" y="3174142"/>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57" name="Oval 456">
                  <a:extLst>
                    <a:ext uri="{FF2B5EF4-FFF2-40B4-BE49-F238E27FC236}">
                      <a16:creationId xmlns:a16="http://schemas.microsoft.com/office/drawing/2014/main" id="{2CEECFF3-9B56-8843-A300-EB6CA5C705E9}"/>
                    </a:ext>
                  </a:extLst>
                </p:cNvPr>
                <p:cNvSpPr>
                  <a:spLocks noChangeAspect="1"/>
                </p:cNvSpPr>
                <p:nvPr/>
              </p:nvSpPr>
              <p:spPr>
                <a:xfrm>
                  <a:off x="4781619" y="1436125"/>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58" name="Oval 457">
                  <a:extLst>
                    <a:ext uri="{FF2B5EF4-FFF2-40B4-BE49-F238E27FC236}">
                      <a16:creationId xmlns:a16="http://schemas.microsoft.com/office/drawing/2014/main" id="{B0960959-D011-A649-8E22-B6DA40E97DE4}"/>
                    </a:ext>
                  </a:extLst>
                </p:cNvPr>
                <p:cNvSpPr>
                  <a:spLocks noChangeAspect="1"/>
                </p:cNvSpPr>
                <p:nvPr/>
              </p:nvSpPr>
              <p:spPr>
                <a:xfrm>
                  <a:off x="5061365" y="1437094"/>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59" name="Oval 458">
                  <a:extLst>
                    <a:ext uri="{FF2B5EF4-FFF2-40B4-BE49-F238E27FC236}">
                      <a16:creationId xmlns:a16="http://schemas.microsoft.com/office/drawing/2014/main" id="{CF3A28C6-BF44-D64F-84DE-99AE3D4012A1}"/>
                    </a:ext>
                  </a:extLst>
                </p:cNvPr>
                <p:cNvSpPr>
                  <a:spLocks noChangeAspect="1"/>
                </p:cNvSpPr>
                <p:nvPr/>
              </p:nvSpPr>
              <p:spPr>
                <a:xfrm>
                  <a:off x="4924653" y="1785665"/>
                  <a:ext cx="84960" cy="84960"/>
                </a:xfrm>
                <a:prstGeom prst="ellipse">
                  <a:avLst/>
                </a:prstGeom>
                <a:solidFill>
                  <a:srgbClr val="FFFFFF"/>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0" name="Oval 459">
                  <a:extLst>
                    <a:ext uri="{FF2B5EF4-FFF2-40B4-BE49-F238E27FC236}">
                      <a16:creationId xmlns:a16="http://schemas.microsoft.com/office/drawing/2014/main" id="{9B5F8A46-EB7D-D742-9CCF-860C92B500B4}"/>
                    </a:ext>
                  </a:extLst>
                </p:cNvPr>
                <p:cNvSpPr>
                  <a:spLocks noChangeAspect="1"/>
                </p:cNvSpPr>
                <p:nvPr/>
              </p:nvSpPr>
              <p:spPr>
                <a:xfrm>
                  <a:off x="4779138" y="213574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1" name="Oval 460">
                  <a:extLst>
                    <a:ext uri="{FF2B5EF4-FFF2-40B4-BE49-F238E27FC236}">
                      <a16:creationId xmlns:a16="http://schemas.microsoft.com/office/drawing/2014/main" id="{AB9A2CF3-0A89-504E-AFC9-F1180A3F1239}"/>
                    </a:ext>
                  </a:extLst>
                </p:cNvPr>
                <p:cNvSpPr>
                  <a:spLocks noChangeAspect="1"/>
                </p:cNvSpPr>
                <p:nvPr/>
              </p:nvSpPr>
              <p:spPr>
                <a:xfrm>
                  <a:off x="4779138" y="2479904"/>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2" name="Oval 461">
                  <a:extLst>
                    <a:ext uri="{FF2B5EF4-FFF2-40B4-BE49-F238E27FC236}">
                      <a16:creationId xmlns:a16="http://schemas.microsoft.com/office/drawing/2014/main" id="{F362E7E1-B93D-7649-8286-D41FF1B94615}"/>
                    </a:ext>
                  </a:extLst>
                </p:cNvPr>
                <p:cNvSpPr>
                  <a:spLocks noChangeAspect="1"/>
                </p:cNvSpPr>
                <p:nvPr/>
              </p:nvSpPr>
              <p:spPr>
                <a:xfrm>
                  <a:off x="5058884" y="2480873"/>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3" name="Oval 462">
                  <a:extLst>
                    <a:ext uri="{FF2B5EF4-FFF2-40B4-BE49-F238E27FC236}">
                      <a16:creationId xmlns:a16="http://schemas.microsoft.com/office/drawing/2014/main" id="{269C9A6B-75F8-6941-A381-AE1DB49212A1}"/>
                    </a:ext>
                  </a:extLst>
                </p:cNvPr>
                <p:cNvSpPr>
                  <a:spLocks noChangeAspect="1"/>
                </p:cNvSpPr>
                <p:nvPr/>
              </p:nvSpPr>
              <p:spPr>
                <a:xfrm>
                  <a:off x="4921212" y="248087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4" name="Oval 463">
                  <a:extLst>
                    <a:ext uri="{FF2B5EF4-FFF2-40B4-BE49-F238E27FC236}">
                      <a16:creationId xmlns:a16="http://schemas.microsoft.com/office/drawing/2014/main" id="{98941F26-B5D3-9343-AEB0-16023D424120}"/>
                    </a:ext>
                  </a:extLst>
                </p:cNvPr>
                <p:cNvSpPr>
                  <a:spLocks noChangeAspect="1"/>
                </p:cNvSpPr>
                <p:nvPr/>
              </p:nvSpPr>
              <p:spPr>
                <a:xfrm>
                  <a:off x="5062326" y="2828477"/>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5" name="Oval 464">
                  <a:extLst>
                    <a:ext uri="{FF2B5EF4-FFF2-40B4-BE49-F238E27FC236}">
                      <a16:creationId xmlns:a16="http://schemas.microsoft.com/office/drawing/2014/main" id="{7F65AE0C-A1F7-154A-8EE6-91A456578247}"/>
                    </a:ext>
                  </a:extLst>
                </p:cNvPr>
                <p:cNvSpPr>
                  <a:spLocks noChangeAspect="1"/>
                </p:cNvSpPr>
                <p:nvPr/>
              </p:nvSpPr>
              <p:spPr>
                <a:xfrm>
                  <a:off x="4924654" y="2828476"/>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6" name="Oval 465">
                  <a:extLst>
                    <a:ext uri="{FF2B5EF4-FFF2-40B4-BE49-F238E27FC236}">
                      <a16:creationId xmlns:a16="http://schemas.microsoft.com/office/drawing/2014/main" id="{2FF65B96-0AD0-C343-8270-F42F20F8B56D}"/>
                    </a:ext>
                  </a:extLst>
                </p:cNvPr>
                <p:cNvSpPr>
                  <a:spLocks noChangeAspect="1"/>
                </p:cNvSpPr>
                <p:nvPr/>
              </p:nvSpPr>
              <p:spPr>
                <a:xfrm>
                  <a:off x="4779138" y="317511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7" name="Oval 466">
                  <a:extLst>
                    <a:ext uri="{FF2B5EF4-FFF2-40B4-BE49-F238E27FC236}">
                      <a16:creationId xmlns:a16="http://schemas.microsoft.com/office/drawing/2014/main" id="{2F4474FD-ED39-FF43-A627-8F3C14E1E8D0}"/>
                    </a:ext>
                  </a:extLst>
                </p:cNvPr>
                <p:cNvSpPr>
                  <a:spLocks noChangeAspect="1"/>
                </p:cNvSpPr>
                <p:nvPr/>
              </p:nvSpPr>
              <p:spPr>
                <a:xfrm>
                  <a:off x="4921212" y="3176080"/>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8" name="Oval 71">
                  <a:extLst>
                    <a:ext uri="{FF2B5EF4-FFF2-40B4-BE49-F238E27FC236}">
                      <a16:creationId xmlns:a16="http://schemas.microsoft.com/office/drawing/2014/main" id="{5109D6FA-4EA3-CB4F-973F-FB7A52552C6E}"/>
                    </a:ext>
                  </a:extLst>
                </p:cNvPr>
                <p:cNvSpPr>
                  <a:spLocks noChangeAspect="1"/>
                </p:cNvSpPr>
                <p:nvPr/>
              </p:nvSpPr>
              <p:spPr>
                <a:xfrm>
                  <a:off x="4788657" y="2828313"/>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69" name="Oval 71">
                  <a:extLst>
                    <a:ext uri="{FF2B5EF4-FFF2-40B4-BE49-F238E27FC236}">
                      <a16:creationId xmlns:a16="http://schemas.microsoft.com/office/drawing/2014/main" id="{213F0108-66E4-054C-81BF-370214CC6C43}"/>
                    </a:ext>
                  </a:extLst>
                </p:cNvPr>
                <p:cNvSpPr>
                  <a:spLocks noChangeAspect="1"/>
                </p:cNvSpPr>
                <p:nvPr/>
              </p:nvSpPr>
              <p:spPr>
                <a:xfrm>
                  <a:off x="5053303" y="317955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70" name="Oval 71">
                  <a:extLst>
                    <a:ext uri="{FF2B5EF4-FFF2-40B4-BE49-F238E27FC236}">
                      <a16:creationId xmlns:a16="http://schemas.microsoft.com/office/drawing/2014/main" id="{DD8E3533-B6E0-C84B-9B8E-1B2FA73233CA}"/>
                    </a:ext>
                  </a:extLst>
                </p:cNvPr>
                <p:cNvSpPr>
                  <a:spLocks noChangeAspect="1"/>
                </p:cNvSpPr>
                <p:nvPr/>
              </p:nvSpPr>
              <p:spPr>
                <a:xfrm>
                  <a:off x="4918608" y="213722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71" name="Oval 71">
                  <a:extLst>
                    <a:ext uri="{FF2B5EF4-FFF2-40B4-BE49-F238E27FC236}">
                      <a16:creationId xmlns:a16="http://schemas.microsoft.com/office/drawing/2014/main" id="{239B79D4-3E9E-BB42-B408-9843456371E1}"/>
                    </a:ext>
                  </a:extLst>
                </p:cNvPr>
                <p:cNvSpPr>
                  <a:spLocks noChangeAspect="1"/>
                </p:cNvSpPr>
                <p:nvPr/>
              </p:nvSpPr>
              <p:spPr>
                <a:xfrm>
                  <a:off x="5053302" y="2137227"/>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72" name="Oval 71">
                  <a:extLst>
                    <a:ext uri="{FF2B5EF4-FFF2-40B4-BE49-F238E27FC236}">
                      <a16:creationId xmlns:a16="http://schemas.microsoft.com/office/drawing/2014/main" id="{6CD34352-1401-D24B-B67C-0A27FBB7F431}"/>
                    </a:ext>
                  </a:extLst>
                </p:cNvPr>
                <p:cNvSpPr>
                  <a:spLocks noChangeAspect="1"/>
                </p:cNvSpPr>
                <p:nvPr/>
              </p:nvSpPr>
              <p:spPr>
                <a:xfrm>
                  <a:off x="5053303" y="178443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73" name="Oval 71">
                  <a:extLst>
                    <a:ext uri="{FF2B5EF4-FFF2-40B4-BE49-F238E27FC236}">
                      <a16:creationId xmlns:a16="http://schemas.microsoft.com/office/drawing/2014/main" id="{1AC67013-FD5C-A94C-A0B2-0AF09EFFBC81}"/>
                    </a:ext>
                  </a:extLst>
                </p:cNvPr>
                <p:cNvSpPr>
                  <a:spLocks noChangeAspect="1"/>
                </p:cNvSpPr>
                <p:nvPr/>
              </p:nvSpPr>
              <p:spPr>
                <a:xfrm>
                  <a:off x="4774292" y="1787645"/>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74" name="Oval 71">
                  <a:extLst>
                    <a:ext uri="{FF2B5EF4-FFF2-40B4-BE49-F238E27FC236}">
                      <a16:creationId xmlns:a16="http://schemas.microsoft.com/office/drawing/2014/main" id="{E309B8B8-DDCB-544F-ACBF-419F8D50E84E}"/>
                    </a:ext>
                  </a:extLst>
                </p:cNvPr>
                <p:cNvSpPr>
                  <a:spLocks noChangeAspect="1"/>
                </p:cNvSpPr>
                <p:nvPr/>
              </p:nvSpPr>
              <p:spPr>
                <a:xfrm>
                  <a:off x="4918608" y="1438064"/>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grpSp>
        </p:grpSp>
        <p:sp>
          <p:nvSpPr>
            <p:cNvPr id="447" name="TextBox 446">
              <a:extLst>
                <a:ext uri="{FF2B5EF4-FFF2-40B4-BE49-F238E27FC236}">
                  <a16:creationId xmlns:a16="http://schemas.microsoft.com/office/drawing/2014/main" id="{BD83CCF4-7C56-6645-93DD-26F3FCF31EEB}"/>
                </a:ext>
              </a:extLst>
            </p:cNvPr>
            <p:cNvSpPr txBox="1"/>
            <p:nvPr/>
          </p:nvSpPr>
          <p:spPr>
            <a:xfrm>
              <a:off x="7357923" y="2540578"/>
              <a:ext cx="2197775" cy="1353872"/>
            </a:xfrm>
            <a:prstGeom prst="rect">
              <a:avLst/>
            </a:prstGeom>
            <a:noFill/>
          </p:spPr>
          <p:txBody>
            <a:bodyPr wrap="square" lIns="68580" tIns="34290" rIns="68580" bIns="34290" rtlCol="0">
              <a:spAutoFit/>
            </a:bodyPr>
            <a:lstStyle/>
            <a:p>
              <a:pPr algn="ctr" defTabSz="685783" fontAlgn="auto">
                <a:spcBef>
                  <a:spcPts val="0"/>
                </a:spcBef>
                <a:spcAft>
                  <a:spcPts val="0"/>
                </a:spcAft>
              </a:pPr>
              <a:endParaRPr lang="en-US" sz="800" dirty="0">
                <a:solidFill>
                  <a:srgbClr val="676767"/>
                </a:solidFill>
                <a:latin typeface="Arial"/>
                <a:cs typeface="+mn-cs"/>
              </a:endParaRPr>
            </a:p>
          </p:txBody>
        </p:sp>
      </p:grpSp>
      <p:grpSp>
        <p:nvGrpSpPr>
          <p:cNvPr id="475" name="Group 474">
            <a:extLst>
              <a:ext uri="{FF2B5EF4-FFF2-40B4-BE49-F238E27FC236}">
                <a16:creationId xmlns:a16="http://schemas.microsoft.com/office/drawing/2014/main" id="{3DE94530-E257-EE45-8EA0-E689B2B29B0C}"/>
              </a:ext>
            </a:extLst>
          </p:cNvPr>
          <p:cNvGrpSpPr/>
          <p:nvPr/>
        </p:nvGrpSpPr>
        <p:grpSpPr>
          <a:xfrm>
            <a:off x="7235959" y="3086536"/>
            <a:ext cx="959821" cy="1122266"/>
            <a:chOff x="7357923" y="833099"/>
            <a:chExt cx="2197775" cy="3061351"/>
          </a:xfrm>
        </p:grpSpPr>
        <p:grpSp>
          <p:nvGrpSpPr>
            <p:cNvPr id="476" name="Group 475">
              <a:extLst>
                <a:ext uri="{FF2B5EF4-FFF2-40B4-BE49-F238E27FC236}">
                  <a16:creationId xmlns:a16="http://schemas.microsoft.com/office/drawing/2014/main" id="{0CB39C7F-7CE5-6545-A23D-80EB44B5C692}"/>
                </a:ext>
              </a:extLst>
            </p:cNvPr>
            <p:cNvGrpSpPr/>
            <p:nvPr/>
          </p:nvGrpSpPr>
          <p:grpSpPr>
            <a:xfrm>
              <a:off x="7902054" y="833099"/>
              <a:ext cx="1144746" cy="1692321"/>
              <a:chOff x="4645042" y="2115404"/>
              <a:chExt cx="1144746" cy="1692321"/>
            </a:xfrm>
          </p:grpSpPr>
          <p:sp>
            <p:nvSpPr>
              <p:cNvPr id="478" name="Rounded Rectangle 477">
                <a:extLst>
                  <a:ext uri="{FF2B5EF4-FFF2-40B4-BE49-F238E27FC236}">
                    <a16:creationId xmlns:a16="http://schemas.microsoft.com/office/drawing/2014/main" id="{FB7ADCEA-CA55-5545-BCFF-271FB54C4973}"/>
                  </a:ext>
                </a:extLst>
              </p:cNvPr>
              <p:cNvSpPr/>
              <p:nvPr/>
            </p:nvSpPr>
            <p:spPr>
              <a:xfrm>
                <a:off x="4645042" y="2115404"/>
                <a:ext cx="1144746" cy="1692321"/>
              </a:xfrm>
              <a:prstGeom prst="roundRect">
                <a:avLst/>
              </a:prstGeom>
              <a:solidFill>
                <a:schemeClr val="tx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a:solidFill>
                    <a:srgbClr val="FFFFFF"/>
                  </a:solidFill>
                  <a:latin typeface="Arial"/>
                </a:endParaRPr>
              </a:p>
            </p:txBody>
          </p:sp>
          <p:grpSp>
            <p:nvGrpSpPr>
              <p:cNvPr id="479" name="Group 478">
                <a:extLst>
                  <a:ext uri="{FF2B5EF4-FFF2-40B4-BE49-F238E27FC236}">
                    <a16:creationId xmlns:a16="http://schemas.microsoft.com/office/drawing/2014/main" id="{E1114D46-688D-F74A-8535-EB02AB11B6D9}"/>
                  </a:ext>
                </a:extLst>
              </p:cNvPr>
              <p:cNvGrpSpPr/>
              <p:nvPr/>
            </p:nvGrpSpPr>
            <p:grpSpPr>
              <a:xfrm>
                <a:off x="4696092" y="2227862"/>
                <a:ext cx="1060208" cy="1477686"/>
                <a:chOff x="3613881" y="1202595"/>
                <a:chExt cx="1908341" cy="2659784"/>
              </a:xfrm>
            </p:grpSpPr>
            <p:sp>
              <p:nvSpPr>
                <p:cNvPr id="480" name="Rounded Rectangle 3">
                  <a:extLst>
                    <a:ext uri="{FF2B5EF4-FFF2-40B4-BE49-F238E27FC236}">
                      <a16:creationId xmlns:a16="http://schemas.microsoft.com/office/drawing/2014/main" id="{A0CC461D-15DA-E745-AFD0-03A50D184E66}"/>
                    </a:ext>
                  </a:extLst>
                </p:cNvPr>
                <p:cNvSpPr/>
                <p:nvPr/>
              </p:nvSpPr>
              <p:spPr>
                <a:xfrm>
                  <a:off x="3613881" y="1202595"/>
                  <a:ext cx="1908341" cy="263394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81" name="Oval 480">
                  <a:extLst>
                    <a:ext uri="{FF2B5EF4-FFF2-40B4-BE49-F238E27FC236}">
                      <a16:creationId xmlns:a16="http://schemas.microsoft.com/office/drawing/2014/main" id="{E25B531D-327F-1042-B4D0-C51CFE2694CB}"/>
                    </a:ext>
                  </a:extLst>
                </p:cNvPr>
                <p:cNvSpPr/>
                <p:nvPr/>
              </p:nvSpPr>
              <p:spPr>
                <a:xfrm>
                  <a:off x="3982162" y="1424831"/>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82" name="Oval 481">
                  <a:extLst>
                    <a:ext uri="{FF2B5EF4-FFF2-40B4-BE49-F238E27FC236}">
                      <a16:creationId xmlns:a16="http://schemas.microsoft.com/office/drawing/2014/main" id="{57EA5887-6149-F74F-B81A-07561D243172}"/>
                    </a:ext>
                  </a:extLst>
                </p:cNvPr>
                <p:cNvSpPr/>
                <p:nvPr/>
              </p:nvSpPr>
              <p:spPr>
                <a:xfrm>
                  <a:off x="3983123" y="1773403"/>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83" name="Oval 482">
                  <a:extLst>
                    <a:ext uri="{FF2B5EF4-FFF2-40B4-BE49-F238E27FC236}">
                      <a16:creationId xmlns:a16="http://schemas.microsoft.com/office/drawing/2014/main" id="{D928AC26-C4D8-5C4E-8798-3FE84204D611}"/>
                    </a:ext>
                  </a:extLst>
                </p:cNvPr>
                <p:cNvSpPr/>
                <p:nvPr/>
              </p:nvSpPr>
              <p:spPr>
                <a:xfrm>
                  <a:off x="3983123" y="2127890"/>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84" name="Oval 483">
                  <a:extLst>
                    <a:ext uri="{FF2B5EF4-FFF2-40B4-BE49-F238E27FC236}">
                      <a16:creationId xmlns:a16="http://schemas.microsoft.com/office/drawing/2014/main" id="{06A01045-94C4-A740-8282-4343BF622E4A}"/>
                    </a:ext>
                  </a:extLst>
                </p:cNvPr>
                <p:cNvSpPr/>
                <p:nvPr/>
              </p:nvSpPr>
              <p:spPr>
                <a:xfrm>
                  <a:off x="3983124" y="3759130"/>
                  <a:ext cx="103248" cy="103249"/>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85" name="Oval 484">
                  <a:extLst>
                    <a:ext uri="{FF2B5EF4-FFF2-40B4-BE49-F238E27FC236}">
                      <a16:creationId xmlns:a16="http://schemas.microsoft.com/office/drawing/2014/main" id="{39A89B38-1FD6-D147-9001-5D82E2AE047F}"/>
                    </a:ext>
                  </a:extLst>
                </p:cNvPr>
                <p:cNvSpPr/>
                <p:nvPr/>
              </p:nvSpPr>
              <p:spPr>
                <a:xfrm>
                  <a:off x="3983122" y="2826539"/>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86" name="Oval 485">
                  <a:extLst>
                    <a:ext uri="{FF2B5EF4-FFF2-40B4-BE49-F238E27FC236}">
                      <a16:creationId xmlns:a16="http://schemas.microsoft.com/office/drawing/2014/main" id="{8DF5B5F6-1BD9-4542-961A-4842C9EFA279}"/>
                    </a:ext>
                  </a:extLst>
                </p:cNvPr>
                <p:cNvSpPr/>
                <p:nvPr/>
              </p:nvSpPr>
              <p:spPr>
                <a:xfrm>
                  <a:off x="3983123" y="3174142"/>
                  <a:ext cx="103248" cy="103248"/>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87" name="Oval 486">
                  <a:extLst>
                    <a:ext uri="{FF2B5EF4-FFF2-40B4-BE49-F238E27FC236}">
                      <a16:creationId xmlns:a16="http://schemas.microsoft.com/office/drawing/2014/main" id="{1BB5F334-17CC-384B-BA3D-77822144D91E}"/>
                    </a:ext>
                  </a:extLst>
                </p:cNvPr>
                <p:cNvSpPr>
                  <a:spLocks noChangeAspect="1"/>
                </p:cNvSpPr>
                <p:nvPr/>
              </p:nvSpPr>
              <p:spPr>
                <a:xfrm>
                  <a:off x="4781619" y="1436125"/>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88" name="Oval 487">
                  <a:extLst>
                    <a:ext uri="{FF2B5EF4-FFF2-40B4-BE49-F238E27FC236}">
                      <a16:creationId xmlns:a16="http://schemas.microsoft.com/office/drawing/2014/main" id="{3D67AB90-BCFE-C543-9B6E-EC9D1A94903E}"/>
                    </a:ext>
                  </a:extLst>
                </p:cNvPr>
                <p:cNvSpPr>
                  <a:spLocks noChangeAspect="1"/>
                </p:cNvSpPr>
                <p:nvPr/>
              </p:nvSpPr>
              <p:spPr>
                <a:xfrm>
                  <a:off x="5061365" y="1437094"/>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89" name="Oval 488">
                  <a:extLst>
                    <a:ext uri="{FF2B5EF4-FFF2-40B4-BE49-F238E27FC236}">
                      <a16:creationId xmlns:a16="http://schemas.microsoft.com/office/drawing/2014/main" id="{DF67F3FC-124B-4948-97B9-FC22D9C390DC}"/>
                    </a:ext>
                  </a:extLst>
                </p:cNvPr>
                <p:cNvSpPr>
                  <a:spLocks noChangeAspect="1"/>
                </p:cNvSpPr>
                <p:nvPr/>
              </p:nvSpPr>
              <p:spPr>
                <a:xfrm>
                  <a:off x="4924653" y="1785665"/>
                  <a:ext cx="84960" cy="84960"/>
                </a:xfrm>
                <a:prstGeom prst="ellipse">
                  <a:avLst/>
                </a:prstGeom>
                <a:solidFill>
                  <a:srgbClr val="FFFFFF"/>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0" name="Oval 489">
                  <a:extLst>
                    <a:ext uri="{FF2B5EF4-FFF2-40B4-BE49-F238E27FC236}">
                      <a16:creationId xmlns:a16="http://schemas.microsoft.com/office/drawing/2014/main" id="{2F868618-BB60-824E-AA0F-25E1C9A53D00}"/>
                    </a:ext>
                  </a:extLst>
                </p:cNvPr>
                <p:cNvSpPr>
                  <a:spLocks noChangeAspect="1"/>
                </p:cNvSpPr>
                <p:nvPr/>
              </p:nvSpPr>
              <p:spPr>
                <a:xfrm>
                  <a:off x="4779138" y="213574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1" name="Oval 490">
                  <a:extLst>
                    <a:ext uri="{FF2B5EF4-FFF2-40B4-BE49-F238E27FC236}">
                      <a16:creationId xmlns:a16="http://schemas.microsoft.com/office/drawing/2014/main" id="{0BB20A04-D87E-D745-9545-44AA2D8BAFBD}"/>
                    </a:ext>
                  </a:extLst>
                </p:cNvPr>
                <p:cNvSpPr>
                  <a:spLocks noChangeAspect="1"/>
                </p:cNvSpPr>
                <p:nvPr/>
              </p:nvSpPr>
              <p:spPr>
                <a:xfrm>
                  <a:off x="4779138" y="2479904"/>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2" name="Oval 491">
                  <a:extLst>
                    <a:ext uri="{FF2B5EF4-FFF2-40B4-BE49-F238E27FC236}">
                      <a16:creationId xmlns:a16="http://schemas.microsoft.com/office/drawing/2014/main" id="{7BF3FC80-3388-B548-BCA2-9BA66B1D0523}"/>
                    </a:ext>
                  </a:extLst>
                </p:cNvPr>
                <p:cNvSpPr>
                  <a:spLocks noChangeAspect="1"/>
                </p:cNvSpPr>
                <p:nvPr/>
              </p:nvSpPr>
              <p:spPr>
                <a:xfrm>
                  <a:off x="5058884" y="2480873"/>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3" name="Oval 492">
                  <a:extLst>
                    <a:ext uri="{FF2B5EF4-FFF2-40B4-BE49-F238E27FC236}">
                      <a16:creationId xmlns:a16="http://schemas.microsoft.com/office/drawing/2014/main" id="{2E9B9A2D-DED3-AD45-84D5-16B77A46C4E1}"/>
                    </a:ext>
                  </a:extLst>
                </p:cNvPr>
                <p:cNvSpPr>
                  <a:spLocks noChangeAspect="1"/>
                </p:cNvSpPr>
                <p:nvPr/>
              </p:nvSpPr>
              <p:spPr>
                <a:xfrm>
                  <a:off x="4921212" y="248087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4" name="Oval 493">
                  <a:extLst>
                    <a:ext uri="{FF2B5EF4-FFF2-40B4-BE49-F238E27FC236}">
                      <a16:creationId xmlns:a16="http://schemas.microsoft.com/office/drawing/2014/main" id="{AFD5DF48-B193-D34E-A88B-D3745550DD17}"/>
                    </a:ext>
                  </a:extLst>
                </p:cNvPr>
                <p:cNvSpPr>
                  <a:spLocks noChangeAspect="1"/>
                </p:cNvSpPr>
                <p:nvPr/>
              </p:nvSpPr>
              <p:spPr>
                <a:xfrm>
                  <a:off x="5062326" y="2828477"/>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5" name="Oval 494">
                  <a:extLst>
                    <a:ext uri="{FF2B5EF4-FFF2-40B4-BE49-F238E27FC236}">
                      <a16:creationId xmlns:a16="http://schemas.microsoft.com/office/drawing/2014/main" id="{956D0147-DBF6-BF47-A353-7C30FEA13FA8}"/>
                    </a:ext>
                  </a:extLst>
                </p:cNvPr>
                <p:cNvSpPr>
                  <a:spLocks noChangeAspect="1"/>
                </p:cNvSpPr>
                <p:nvPr/>
              </p:nvSpPr>
              <p:spPr>
                <a:xfrm>
                  <a:off x="4924654" y="2828476"/>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6" name="Oval 495">
                  <a:extLst>
                    <a:ext uri="{FF2B5EF4-FFF2-40B4-BE49-F238E27FC236}">
                      <a16:creationId xmlns:a16="http://schemas.microsoft.com/office/drawing/2014/main" id="{C23C2A82-1A6A-E443-B94D-A016C2063F93}"/>
                    </a:ext>
                  </a:extLst>
                </p:cNvPr>
                <p:cNvSpPr>
                  <a:spLocks noChangeAspect="1"/>
                </p:cNvSpPr>
                <p:nvPr/>
              </p:nvSpPr>
              <p:spPr>
                <a:xfrm>
                  <a:off x="4779138" y="3175112"/>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7" name="Oval 496">
                  <a:extLst>
                    <a:ext uri="{FF2B5EF4-FFF2-40B4-BE49-F238E27FC236}">
                      <a16:creationId xmlns:a16="http://schemas.microsoft.com/office/drawing/2014/main" id="{6958AA20-FD48-1F4C-BB74-6E924A9B94AE}"/>
                    </a:ext>
                  </a:extLst>
                </p:cNvPr>
                <p:cNvSpPr>
                  <a:spLocks noChangeAspect="1"/>
                </p:cNvSpPr>
                <p:nvPr/>
              </p:nvSpPr>
              <p:spPr>
                <a:xfrm>
                  <a:off x="4921212" y="3176080"/>
                  <a:ext cx="84960" cy="84960"/>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8" name="Oval 71">
                  <a:extLst>
                    <a:ext uri="{FF2B5EF4-FFF2-40B4-BE49-F238E27FC236}">
                      <a16:creationId xmlns:a16="http://schemas.microsoft.com/office/drawing/2014/main" id="{64303C54-93E6-D247-A79C-9C7BA3FCED33}"/>
                    </a:ext>
                  </a:extLst>
                </p:cNvPr>
                <p:cNvSpPr>
                  <a:spLocks noChangeAspect="1"/>
                </p:cNvSpPr>
                <p:nvPr/>
              </p:nvSpPr>
              <p:spPr>
                <a:xfrm>
                  <a:off x="4788657" y="2828313"/>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499" name="Oval 71">
                  <a:extLst>
                    <a:ext uri="{FF2B5EF4-FFF2-40B4-BE49-F238E27FC236}">
                      <a16:creationId xmlns:a16="http://schemas.microsoft.com/office/drawing/2014/main" id="{440A3A5E-DE1C-8A49-B93C-806C13D7C982}"/>
                    </a:ext>
                  </a:extLst>
                </p:cNvPr>
                <p:cNvSpPr>
                  <a:spLocks noChangeAspect="1"/>
                </p:cNvSpPr>
                <p:nvPr/>
              </p:nvSpPr>
              <p:spPr>
                <a:xfrm>
                  <a:off x="5053303" y="317955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500" name="Oval 71">
                  <a:extLst>
                    <a:ext uri="{FF2B5EF4-FFF2-40B4-BE49-F238E27FC236}">
                      <a16:creationId xmlns:a16="http://schemas.microsoft.com/office/drawing/2014/main" id="{5EBFFA8F-8566-D146-98D9-772185E7ED84}"/>
                    </a:ext>
                  </a:extLst>
                </p:cNvPr>
                <p:cNvSpPr>
                  <a:spLocks noChangeAspect="1"/>
                </p:cNvSpPr>
                <p:nvPr/>
              </p:nvSpPr>
              <p:spPr>
                <a:xfrm>
                  <a:off x="4918608" y="213722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501" name="Oval 71">
                  <a:extLst>
                    <a:ext uri="{FF2B5EF4-FFF2-40B4-BE49-F238E27FC236}">
                      <a16:creationId xmlns:a16="http://schemas.microsoft.com/office/drawing/2014/main" id="{FBDEDDA0-A14A-BA43-8693-C8C504930DED}"/>
                    </a:ext>
                  </a:extLst>
                </p:cNvPr>
                <p:cNvSpPr>
                  <a:spLocks noChangeAspect="1"/>
                </p:cNvSpPr>
                <p:nvPr/>
              </p:nvSpPr>
              <p:spPr>
                <a:xfrm>
                  <a:off x="5053302" y="2137227"/>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502" name="Oval 71">
                  <a:extLst>
                    <a:ext uri="{FF2B5EF4-FFF2-40B4-BE49-F238E27FC236}">
                      <a16:creationId xmlns:a16="http://schemas.microsoft.com/office/drawing/2014/main" id="{865CB2B1-2C5D-E64B-87A8-AD4161D25588}"/>
                    </a:ext>
                  </a:extLst>
                </p:cNvPr>
                <p:cNvSpPr>
                  <a:spLocks noChangeAspect="1"/>
                </p:cNvSpPr>
                <p:nvPr/>
              </p:nvSpPr>
              <p:spPr>
                <a:xfrm>
                  <a:off x="5053303" y="1784438"/>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503" name="Oval 71">
                  <a:extLst>
                    <a:ext uri="{FF2B5EF4-FFF2-40B4-BE49-F238E27FC236}">
                      <a16:creationId xmlns:a16="http://schemas.microsoft.com/office/drawing/2014/main" id="{C5A02843-6A9E-4B45-B85A-EFB14951653A}"/>
                    </a:ext>
                  </a:extLst>
                </p:cNvPr>
                <p:cNvSpPr>
                  <a:spLocks noChangeAspect="1"/>
                </p:cNvSpPr>
                <p:nvPr/>
              </p:nvSpPr>
              <p:spPr>
                <a:xfrm>
                  <a:off x="4774292" y="1787645"/>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sp>
              <p:nvSpPr>
                <p:cNvPr id="504" name="Oval 71">
                  <a:extLst>
                    <a:ext uri="{FF2B5EF4-FFF2-40B4-BE49-F238E27FC236}">
                      <a16:creationId xmlns:a16="http://schemas.microsoft.com/office/drawing/2014/main" id="{1782CDED-819C-9B44-AD86-CAC9BA3EAF5C}"/>
                    </a:ext>
                  </a:extLst>
                </p:cNvPr>
                <p:cNvSpPr>
                  <a:spLocks noChangeAspect="1"/>
                </p:cNvSpPr>
                <p:nvPr/>
              </p:nvSpPr>
              <p:spPr>
                <a:xfrm>
                  <a:off x="4918608" y="1438064"/>
                  <a:ext cx="91440" cy="91440"/>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207" fontAlgn="auto">
                    <a:spcBef>
                      <a:spcPts val="0"/>
                    </a:spcBef>
                    <a:spcAft>
                      <a:spcPts val="0"/>
                    </a:spcAft>
                  </a:pPr>
                  <a:endParaRPr lang="en-US">
                    <a:solidFill>
                      <a:srgbClr val="FFFFFF"/>
                    </a:solidFill>
                    <a:latin typeface="Arial"/>
                  </a:endParaRPr>
                </a:p>
              </p:txBody>
            </p:sp>
          </p:grpSp>
        </p:grpSp>
        <p:sp>
          <p:nvSpPr>
            <p:cNvPr id="477" name="TextBox 476">
              <a:extLst>
                <a:ext uri="{FF2B5EF4-FFF2-40B4-BE49-F238E27FC236}">
                  <a16:creationId xmlns:a16="http://schemas.microsoft.com/office/drawing/2014/main" id="{7C998286-9DE7-4C45-A32F-D680ADC78E15}"/>
                </a:ext>
              </a:extLst>
            </p:cNvPr>
            <p:cNvSpPr txBox="1"/>
            <p:nvPr/>
          </p:nvSpPr>
          <p:spPr>
            <a:xfrm>
              <a:off x="7357923" y="2540578"/>
              <a:ext cx="2197775" cy="1353872"/>
            </a:xfrm>
            <a:prstGeom prst="rect">
              <a:avLst/>
            </a:prstGeom>
            <a:noFill/>
          </p:spPr>
          <p:txBody>
            <a:bodyPr wrap="square" lIns="68580" tIns="34290" rIns="68580" bIns="34290" rtlCol="0">
              <a:spAutoFit/>
            </a:bodyPr>
            <a:lstStyle/>
            <a:p>
              <a:pPr algn="ctr" defTabSz="685783" fontAlgn="auto">
                <a:spcBef>
                  <a:spcPts val="0"/>
                </a:spcBef>
                <a:spcAft>
                  <a:spcPts val="0"/>
                </a:spcAft>
              </a:pPr>
              <a:endParaRPr lang="en-US" sz="800" dirty="0">
                <a:solidFill>
                  <a:srgbClr val="676767"/>
                </a:solidFill>
                <a:latin typeface="Arial"/>
                <a:cs typeface="+mn-cs"/>
              </a:endParaRPr>
            </a:p>
          </p:txBody>
        </p:sp>
      </p:grpSp>
      <p:grpSp>
        <p:nvGrpSpPr>
          <p:cNvPr id="264" name="Group 263">
            <a:extLst>
              <a:ext uri="{FF2B5EF4-FFF2-40B4-BE49-F238E27FC236}">
                <a16:creationId xmlns:a16="http://schemas.microsoft.com/office/drawing/2014/main" id="{6352A8DF-84E2-C949-B127-D101148CD2DC}"/>
              </a:ext>
            </a:extLst>
          </p:cNvPr>
          <p:cNvGrpSpPr/>
          <p:nvPr/>
        </p:nvGrpSpPr>
        <p:grpSpPr>
          <a:xfrm>
            <a:off x="1929321" y="3072789"/>
            <a:ext cx="5591685" cy="246221"/>
            <a:chOff x="2766021" y="3237282"/>
            <a:chExt cx="5257228" cy="279557"/>
          </a:xfrm>
          <a:solidFill>
            <a:schemeClr val="tx2">
              <a:lumMod val="75000"/>
            </a:schemeClr>
          </a:solidFill>
        </p:grpSpPr>
        <p:sp>
          <p:nvSpPr>
            <p:cNvPr id="265" name="Can 264">
              <a:extLst>
                <a:ext uri="{FF2B5EF4-FFF2-40B4-BE49-F238E27FC236}">
                  <a16:creationId xmlns:a16="http://schemas.microsoft.com/office/drawing/2014/main" id="{BFC39B40-9D28-F74C-8E1B-A4B2E2D4521F}"/>
                </a:ext>
              </a:extLst>
            </p:cNvPr>
            <p:cNvSpPr/>
            <p:nvPr/>
          </p:nvSpPr>
          <p:spPr>
            <a:xfrm rot="5400000">
              <a:off x="5279378" y="731778"/>
              <a:ext cx="230513" cy="5257228"/>
            </a:xfrm>
            <a:prstGeom prst="can">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FFFFFF"/>
                </a:solidFill>
                <a:latin typeface="CiscoSansTT ExtraLight"/>
              </a:endParaRPr>
            </a:p>
          </p:txBody>
        </p:sp>
        <p:sp>
          <p:nvSpPr>
            <p:cNvPr id="266" name="TextBox 265">
              <a:extLst>
                <a:ext uri="{FF2B5EF4-FFF2-40B4-BE49-F238E27FC236}">
                  <a16:creationId xmlns:a16="http://schemas.microsoft.com/office/drawing/2014/main" id="{69CBB57C-911D-A041-9D2D-95CF5EF596B6}"/>
                </a:ext>
              </a:extLst>
            </p:cNvPr>
            <p:cNvSpPr txBox="1"/>
            <p:nvPr/>
          </p:nvSpPr>
          <p:spPr>
            <a:xfrm>
              <a:off x="4858652" y="3237282"/>
              <a:ext cx="1071965" cy="279557"/>
            </a:xfrm>
            <a:prstGeom prst="rect">
              <a:avLst/>
            </a:prstGeom>
            <a:noFill/>
          </p:spPr>
          <p:txBody>
            <a:bodyPr wrap="none" rtlCol="0">
              <a:spAutoFit/>
            </a:bodyPr>
            <a:lstStyle/>
            <a:p>
              <a:pPr algn="ctr" defTabSz="457178">
                <a:defRPr/>
              </a:pPr>
              <a:r>
                <a:rPr lang="en-US" sz="1000" b="1" dirty="0">
                  <a:solidFill>
                    <a:srgbClr val="FFFFFF"/>
                  </a:solidFill>
                </a:rPr>
                <a:t>Segment Routing</a:t>
              </a:r>
            </a:p>
          </p:txBody>
        </p:sp>
      </p:grpSp>
    </p:spTree>
    <p:extLst>
      <p:ext uri="{BB962C8B-B14F-4D97-AF65-F5344CB8AC3E}">
        <p14:creationId xmlns:p14="http://schemas.microsoft.com/office/powerpoint/2010/main" val="124196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4"/>
                                        </p:tgtEl>
                                        <p:attrNameLst>
                                          <p:attrName>style.visibility</p:attrName>
                                        </p:attrNameLst>
                                      </p:cBhvr>
                                      <p:to>
                                        <p:strVal val="visible"/>
                                      </p:to>
                                    </p:set>
                                    <p:animEffect transition="in" filter="fade">
                                      <p:cBhvr>
                                        <p:cTn id="7" dur="500"/>
                                        <p:tgtEl>
                                          <p:spTgt spid="26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9"/>
                                        </p:tgtEl>
                                        <p:attrNameLst>
                                          <p:attrName>style.visibility</p:attrName>
                                        </p:attrNameLst>
                                      </p:cBhvr>
                                      <p:to>
                                        <p:strVal val="visible"/>
                                      </p:to>
                                    </p:set>
                                    <p:animEffect transition="in" filter="fade">
                                      <p:cBhvr>
                                        <p:cTn id="12" dur="500"/>
                                        <p:tgtEl>
                                          <p:spTgt spid="25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9"/>
                                        </p:tgtEl>
                                        <p:attrNameLst>
                                          <p:attrName>style.visibility</p:attrName>
                                        </p:attrNameLst>
                                      </p:cBhvr>
                                      <p:to>
                                        <p:strVal val="visible"/>
                                      </p:to>
                                    </p:set>
                                    <p:animEffect transition="in" filter="fade">
                                      <p:cBhvr>
                                        <p:cTn id="17" dur="500"/>
                                        <p:tgtEl>
                                          <p:spTgt spid="8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7"/>
                                        </p:tgtEl>
                                        <p:attrNameLst>
                                          <p:attrName>style.visibility</p:attrName>
                                        </p:attrNameLst>
                                      </p:cBhvr>
                                      <p:to>
                                        <p:strVal val="visible"/>
                                      </p:to>
                                    </p:set>
                                    <p:animEffect transition="in" filter="fade">
                                      <p:cBhvr>
                                        <p:cTn id="20" dur="500"/>
                                        <p:tgtEl>
                                          <p:spTgt spid="97"/>
                                        </p:tgtEl>
                                      </p:cBhvr>
                                    </p:animEffect>
                                  </p:childTnLst>
                                </p:cTn>
                              </p:par>
                              <p:par>
                                <p:cTn id="21" presetID="10"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251"/>
                                        </p:tgtEl>
                                        <p:attrNameLst>
                                          <p:attrName>style.visibility</p:attrName>
                                        </p:attrNameLst>
                                      </p:cBhvr>
                                      <p:to>
                                        <p:strVal val="visible"/>
                                      </p:to>
                                    </p:set>
                                    <p:animEffect transition="in" filter="fade">
                                      <p:cBhvr>
                                        <p:cTn id="26" dur="500"/>
                                        <p:tgtEl>
                                          <p:spTgt spid="25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0"/>
                                        </p:tgtEl>
                                        <p:attrNameLst>
                                          <p:attrName>style.visibility</p:attrName>
                                        </p:attrNameLst>
                                      </p:cBhvr>
                                      <p:to>
                                        <p:strVal val="visible"/>
                                      </p:to>
                                    </p:set>
                                    <p:animEffect transition="in" filter="fade">
                                      <p:cBhvr>
                                        <p:cTn id="29" dur="500"/>
                                        <p:tgtEl>
                                          <p:spTgt spid="250"/>
                                        </p:tgtEl>
                                      </p:cBhvr>
                                    </p:animEffect>
                                  </p:childTnLst>
                                </p:cTn>
                              </p:par>
                              <p:par>
                                <p:cTn id="30" presetID="10" presetClass="entr" presetSubtype="0" fill="hold" nodeType="withEffect">
                                  <p:stCondLst>
                                    <p:cond delay="0"/>
                                  </p:stCondLst>
                                  <p:childTnLst>
                                    <p:set>
                                      <p:cBhvr>
                                        <p:cTn id="31" dur="1" fill="hold">
                                          <p:stCondLst>
                                            <p:cond delay="0"/>
                                          </p:stCondLst>
                                        </p:cTn>
                                        <p:tgtEl>
                                          <p:spTgt spid="262"/>
                                        </p:tgtEl>
                                        <p:attrNameLst>
                                          <p:attrName>style.visibility</p:attrName>
                                        </p:attrNameLst>
                                      </p:cBhvr>
                                      <p:to>
                                        <p:strVal val="visible"/>
                                      </p:to>
                                    </p:set>
                                    <p:animEffect transition="in" filter="fade">
                                      <p:cBhvr>
                                        <p:cTn id="32" dur="500"/>
                                        <p:tgtEl>
                                          <p:spTgt spid="262"/>
                                        </p:tgtEl>
                                      </p:cBhvr>
                                    </p:animEffect>
                                  </p:childTnLst>
                                </p:cTn>
                              </p:par>
                              <p:par>
                                <p:cTn id="33" presetID="10" presetClass="entr" presetSubtype="0" fill="hold" nodeType="withEffect">
                                  <p:stCondLst>
                                    <p:cond delay="0"/>
                                  </p:stCondLst>
                                  <p:childTnLst>
                                    <p:set>
                                      <p:cBhvr>
                                        <p:cTn id="34" dur="1" fill="hold">
                                          <p:stCondLst>
                                            <p:cond delay="0"/>
                                          </p:stCondLst>
                                        </p:cTn>
                                        <p:tgtEl>
                                          <p:spTgt spid="263"/>
                                        </p:tgtEl>
                                        <p:attrNameLst>
                                          <p:attrName>style.visibility</p:attrName>
                                        </p:attrNameLst>
                                      </p:cBhvr>
                                      <p:to>
                                        <p:strVal val="visible"/>
                                      </p:to>
                                    </p:set>
                                    <p:animEffect transition="in" filter="fade">
                                      <p:cBhvr>
                                        <p:cTn id="35" dur="500"/>
                                        <p:tgtEl>
                                          <p:spTgt spid="26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57"/>
                                        </p:tgtEl>
                                        <p:attrNameLst>
                                          <p:attrName>style.visibility</p:attrName>
                                        </p:attrNameLst>
                                      </p:cBhvr>
                                      <p:to>
                                        <p:strVal val="visible"/>
                                      </p:to>
                                    </p:set>
                                    <p:animEffect transition="in" filter="fade">
                                      <p:cBhvr>
                                        <p:cTn id="38" dur="500"/>
                                        <p:tgtEl>
                                          <p:spTgt spid="25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01"/>
                                        </p:tgtEl>
                                        <p:attrNameLst>
                                          <p:attrName>style.visibility</p:attrName>
                                        </p:attrNameLst>
                                      </p:cBhvr>
                                      <p:to>
                                        <p:strVal val="visible"/>
                                      </p:to>
                                    </p:set>
                                    <p:animEffect transition="in" filter="fade">
                                      <p:cBhvr>
                                        <p:cTn id="43" dur="500"/>
                                        <p:tgtEl>
                                          <p:spTgt spid="10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02"/>
                                        </p:tgtEl>
                                        <p:attrNameLst>
                                          <p:attrName>style.visibility</p:attrName>
                                        </p:attrNameLst>
                                      </p:cBhvr>
                                      <p:to>
                                        <p:strVal val="visible"/>
                                      </p:to>
                                    </p:set>
                                    <p:animEffect transition="in" filter="fade">
                                      <p:cBhvr>
                                        <p:cTn id="46" dur="500"/>
                                        <p:tgtEl>
                                          <p:spTgt spid="10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03"/>
                                        </p:tgtEl>
                                        <p:attrNameLst>
                                          <p:attrName>style.visibility</p:attrName>
                                        </p:attrNameLst>
                                      </p:cBhvr>
                                      <p:to>
                                        <p:strVal val="visible"/>
                                      </p:to>
                                    </p:set>
                                    <p:animEffect transition="in" filter="fade">
                                      <p:cBhvr>
                                        <p:cTn id="49" dur="500"/>
                                        <p:tgtEl>
                                          <p:spTgt spid="103"/>
                                        </p:tgtEl>
                                      </p:cBhvr>
                                    </p:animEffect>
                                  </p:childTnLst>
                                </p:cTn>
                              </p:par>
                              <p:par>
                                <p:cTn id="50" presetID="10" presetClass="entr" presetSubtype="0" fill="hold" nodeType="withEffect">
                                  <p:stCondLst>
                                    <p:cond delay="0"/>
                                  </p:stCondLst>
                                  <p:childTnLst>
                                    <p:set>
                                      <p:cBhvr>
                                        <p:cTn id="51" dur="1" fill="hold">
                                          <p:stCondLst>
                                            <p:cond delay="0"/>
                                          </p:stCondLst>
                                        </p:cTn>
                                        <p:tgtEl>
                                          <p:spTgt spid="104"/>
                                        </p:tgtEl>
                                        <p:attrNameLst>
                                          <p:attrName>style.visibility</p:attrName>
                                        </p:attrNameLst>
                                      </p:cBhvr>
                                      <p:to>
                                        <p:strVal val="visible"/>
                                      </p:to>
                                    </p:set>
                                    <p:animEffect transition="in" filter="fade">
                                      <p:cBhvr>
                                        <p:cTn id="52" dur="500"/>
                                        <p:tgtEl>
                                          <p:spTgt spid="104"/>
                                        </p:tgtEl>
                                      </p:cBhvr>
                                    </p:animEffect>
                                  </p:childTnLst>
                                </p:cTn>
                              </p:par>
                              <p:par>
                                <p:cTn id="53" presetID="10" presetClass="entr" presetSubtype="0" fill="hold" nodeType="withEffect">
                                  <p:stCondLst>
                                    <p:cond delay="0"/>
                                  </p:stCondLst>
                                  <p:childTnLst>
                                    <p:set>
                                      <p:cBhvr>
                                        <p:cTn id="54" dur="1" fill="hold">
                                          <p:stCondLst>
                                            <p:cond delay="0"/>
                                          </p:stCondLst>
                                        </p:cTn>
                                        <p:tgtEl>
                                          <p:spTgt spid="105"/>
                                        </p:tgtEl>
                                        <p:attrNameLst>
                                          <p:attrName>style.visibility</p:attrName>
                                        </p:attrNameLst>
                                      </p:cBhvr>
                                      <p:to>
                                        <p:strVal val="visible"/>
                                      </p:to>
                                    </p:set>
                                    <p:animEffect transition="in" filter="fade">
                                      <p:cBhvr>
                                        <p:cTn id="55" dur="500"/>
                                        <p:tgtEl>
                                          <p:spTgt spid="105"/>
                                        </p:tgtEl>
                                      </p:cBhvr>
                                    </p:animEffect>
                                  </p:childTnLst>
                                </p:cTn>
                              </p:par>
                              <p:par>
                                <p:cTn id="56" presetID="10" presetClass="entr" presetSubtype="0" fill="hold" nodeType="withEffect">
                                  <p:stCondLst>
                                    <p:cond delay="0"/>
                                  </p:stCondLst>
                                  <p:childTnLst>
                                    <p:set>
                                      <p:cBhvr>
                                        <p:cTn id="57" dur="1" fill="hold">
                                          <p:stCondLst>
                                            <p:cond delay="0"/>
                                          </p:stCondLst>
                                        </p:cTn>
                                        <p:tgtEl>
                                          <p:spTgt spid="106"/>
                                        </p:tgtEl>
                                        <p:attrNameLst>
                                          <p:attrName>style.visibility</p:attrName>
                                        </p:attrNameLst>
                                      </p:cBhvr>
                                      <p:to>
                                        <p:strVal val="visible"/>
                                      </p:to>
                                    </p:set>
                                    <p:animEffect transition="in" filter="fade">
                                      <p:cBhvr>
                                        <p:cTn id="58" dur="500"/>
                                        <p:tgtEl>
                                          <p:spTgt spid="10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54"/>
                                        </p:tgtEl>
                                        <p:attrNameLst>
                                          <p:attrName>style.visibility</p:attrName>
                                        </p:attrNameLst>
                                      </p:cBhvr>
                                      <p:to>
                                        <p:strVal val="visible"/>
                                      </p:to>
                                    </p:set>
                                    <p:animEffect transition="in" filter="fade">
                                      <p:cBhvr>
                                        <p:cTn id="61" dur="500"/>
                                        <p:tgtEl>
                                          <p:spTgt spid="254"/>
                                        </p:tgtEl>
                                      </p:cBhvr>
                                    </p:animEffect>
                                  </p:childTnLst>
                                </p:cTn>
                              </p:par>
                              <p:par>
                                <p:cTn id="62" presetID="10" presetClass="entr" presetSubtype="0" fill="hold" nodeType="withEffect">
                                  <p:stCondLst>
                                    <p:cond delay="0"/>
                                  </p:stCondLst>
                                  <p:childTnLst>
                                    <p:set>
                                      <p:cBhvr>
                                        <p:cTn id="63" dur="1" fill="hold">
                                          <p:stCondLst>
                                            <p:cond delay="0"/>
                                          </p:stCondLst>
                                        </p:cTn>
                                        <p:tgtEl>
                                          <p:spTgt spid="255"/>
                                        </p:tgtEl>
                                        <p:attrNameLst>
                                          <p:attrName>style.visibility</p:attrName>
                                        </p:attrNameLst>
                                      </p:cBhvr>
                                      <p:to>
                                        <p:strVal val="visible"/>
                                      </p:to>
                                    </p:set>
                                    <p:animEffect transition="in" filter="fade">
                                      <p:cBhvr>
                                        <p:cTn id="64" dur="500"/>
                                        <p:tgtEl>
                                          <p:spTgt spid="25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52"/>
                                        </p:tgtEl>
                                        <p:attrNameLst>
                                          <p:attrName>style.visibility</p:attrName>
                                        </p:attrNameLst>
                                      </p:cBhvr>
                                      <p:to>
                                        <p:strVal val="visible"/>
                                      </p:to>
                                    </p:set>
                                    <p:animEffect transition="in" filter="fade">
                                      <p:cBhvr>
                                        <p:cTn id="70" dur="500"/>
                                        <p:tgtEl>
                                          <p:spTgt spid="25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53"/>
                                        </p:tgtEl>
                                        <p:attrNameLst>
                                          <p:attrName>style.visibility</p:attrName>
                                        </p:attrNameLst>
                                      </p:cBhvr>
                                      <p:to>
                                        <p:strVal val="visible"/>
                                      </p:to>
                                    </p:set>
                                    <p:animEffect transition="in" filter="fade">
                                      <p:cBhvr>
                                        <p:cTn id="73" dur="500"/>
                                        <p:tgtEl>
                                          <p:spTgt spid="25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56"/>
                                        </p:tgtEl>
                                        <p:attrNameLst>
                                          <p:attrName>style.visibility</p:attrName>
                                        </p:attrNameLst>
                                      </p:cBhvr>
                                      <p:to>
                                        <p:strVal val="visible"/>
                                      </p:to>
                                    </p:set>
                                    <p:animEffect transition="in" filter="fade">
                                      <p:cBhvr>
                                        <p:cTn id="76" dur="500"/>
                                        <p:tgtEl>
                                          <p:spTgt spid="2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7" grpId="0" animBg="1"/>
      <p:bldP spid="101" grpId="0" animBg="1"/>
      <p:bldP spid="102" grpId="0" animBg="1"/>
      <p:bldP spid="103" grpId="0" animBg="1"/>
      <p:bldP spid="254" grpId="0" animBg="1"/>
      <p:bldP spid="250" grpId="0" animBg="1"/>
      <p:bldP spid="5" grpId="0" animBg="1"/>
      <p:bldP spid="252" grpId="0" animBg="1"/>
      <p:bldP spid="253" grpId="0"/>
      <p:bldP spid="256" grpId="0"/>
      <p:bldP spid="257" grpId="0"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7774E285-C342-9B48-AC15-FC268B6377E7}"/>
              </a:ext>
            </a:extLst>
          </p:cNvPr>
          <p:cNvGrpSpPr/>
          <p:nvPr/>
        </p:nvGrpSpPr>
        <p:grpSpPr>
          <a:xfrm>
            <a:off x="4270324" y="1646938"/>
            <a:ext cx="570281" cy="565034"/>
            <a:chOff x="5928631" y="4152764"/>
            <a:chExt cx="787502" cy="780256"/>
          </a:xfrm>
        </p:grpSpPr>
        <p:sp>
          <p:nvSpPr>
            <p:cNvPr id="12" name="Oval 11">
              <a:extLst>
                <a:ext uri="{FF2B5EF4-FFF2-40B4-BE49-F238E27FC236}">
                  <a16:creationId xmlns:a16="http://schemas.microsoft.com/office/drawing/2014/main" id="{74EA1622-C093-C04A-AC42-DE2BD0554684}"/>
                </a:ext>
              </a:extLst>
            </p:cNvPr>
            <p:cNvSpPr/>
            <p:nvPr/>
          </p:nvSpPr>
          <p:spPr>
            <a:xfrm>
              <a:off x="5928631" y="4152764"/>
              <a:ext cx="787502" cy="780256"/>
            </a:xfrm>
            <a:prstGeom prst="ellipse">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grpSp>
          <p:nvGrpSpPr>
            <p:cNvPr id="13" name="Group 33">
              <a:extLst>
                <a:ext uri="{FF2B5EF4-FFF2-40B4-BE49-F238E27FC236}">
                  <a16:creationId xmlns:a16="http://schemas.microsoft.com/office/drawing/2014/main" id="{31EA8A43-903C-8D4D-98DD-42A09220B9DB}"/>
                </a:ext>
              </a:extLst>
            </p:cNvPr>
            <p:cNvGrpSpPr>
              <a:grpSpLocks noChangeAspect="1"/>
            </p:cNvGrpSpPr>
            <p:nvPr/>
          </p:nvGrpSpPr>
          <p:grpSpPr bwMode="auto">
            <a:xfrm>
              <a:off x="6029444" y="4340131"/>
              <a:ext cx="585876" cy="405523"/>
              <a:chOff x="5103" y="2887"/>
              <a:chExt cx="536" cy="371"/>
            </a:xfrm>
          </p:grpSpPr>
          <p:sp>
            <p:nvSpPr>
              <p:cNvPr id="14" name="Freeform 34">
                <a:extLst>
                  <a:ext uri="{FF2B5EF4-FFF2-40B4-BE49-F238E27FC236}">
                    <a16:creationId xmlns:a16="http://schemas.microsoft.com/office/drawing/2014/main" id="{CC905329-61A6-654B-9D51-86D41823D854}"/>
                  </a:ext>
                </a:extLst>
              </p:cNvPr>
              <p:cNvSpPr>
                <a:spLocks/>
              </p:cNvSpPr>
              <p:nvPr/>
            </p:nvSpPr>
            <p:spPr bwMode="auto">
              <a:xfrm>
                <a:off x="5103" y="2887"/>
                <a:ext cx="536" cy="371"/>
              </a:xfrm>
              <a:custGeom>
                <a:avLst/>
                <a:gdLst>
                  <a:gd name="T0" fmla="*/ 184 w 184"/>
                  <a:gd name="T1" fmla="*/ 63 h 127"/>
                  <a:gd name="T2" fmla="*/ 92 w 184"/>
                  <a:gd name="T3" fmla="*/ 127 h 127"/>
                  <a:gd name="T4" fmla="*/ 0 w 184"/>
                  <a:gd name="T5" fmla="*/ 63 h 127"/>
                  <a:gd name="T6" fmla="*/ 92 w 184"/>
                  <a:gd name="T7" fmla="*/ 0 h 127"/>
                  <a:gd name="T8" fmla="*/ 184 w 184"/>
                  <a:gd name="T9" fmla="*/ 63 h 127"/>
                </a:gdLst>
                <a:ahLst/>
                <a:cxnLst>
                  <a:cxn ang="0">
                    <a:pos x="T0" y="T1"/>
                  </a:cxn>
                  <a:cxn ang="0">
                    <a:pos x="T2" y="T3"/>
                  </a:cxn>
                  <a:cxn ang="0">
                    <a:pos x="T4" y="T5"/>
                  </a:cxn>
                  <a:cxn ang="0">
                    <a:pos x="T6" y="T7"/>
                  </a:cxn>
                  <a:cxn ang="0">
                    <a:pos x="T8" y="T9"/>
                  </a:cxn>
                </a:cxnLst>
                <a:rect l="0" t="0" r="r" b="b"/>
                <a:pathLst>
                  <a:path w="184" h="127">
                    <a:moveTo>
                      <a:pt x="184" y="63"/>
                    </a:moveTo>
                    <a:cubicBezTo>
                      <a:pt x="184" y="63"/>
                      <a:pt x="143" y="127"/>
                      <a:pt x="92" y="127"/>
                    </a:cubicBezTo>
                    <a:cubicBezTo>
                      <a:pt x="42" y="127"/>
                      <a:pt x="0" y="63"/>
                      <a:pt x="0" y="63"/>
                    </a:cubicBezTo>
                    <a:cubicBezTo>
                      <a:pt x="0" y="63"/>
                      <a:pt x="41" y="0"/>
                      <a:pt x="92" y="0"/>
                    </a:cubicBezTo>
                    <a:cubicBezTo>
                      <a:pt x="142" y="0"/>
                      <a:pt x="184" y="63"/>
                      <a:pt x="184" y="63"/>
                    </a:cubicBezTo>
                    <a:close/>
                  </a:path>
                </a:pathLst>
              </a:custGeom>
              <a:noFill/>
              <a:ln w="222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35">
                <a:extLst>
                  <a:ext uri="{FF2B5EF4-FFF2-40B4-BE49-F238E27FC236}">
                    <a16:creationId xmlns:a16="http://schemas.microsoft.com/office/drawing/2014/main" id="{34917CFD-19DC-664F-A43C-49A99D5A3275}"/>
                  </a:ext>
                </a:extLst>
              </p:cNvPr>
              <p:cNvSpPr>
                <a:spLocks/>
              </p:cNvSpPr>
              <p:nvPr/>
            </p:nvSpPr>
            <p:spPr bwMode="auto">
              <a:xfrm>
                <a:off x="5293" y="2995"/>
                <a:ext cx="160" cy="155"/>
              </a:xfrm>
              <a:custGeom>
                <a:avLst/>
                <a:gdLst>
                  <a:gd name="T0" fmla="*/ 28 w 55"/>
                  <a:gd name="T1" fmla="*/ 0 h 53"/>
                  <a:gd name="T2" fmla="*/ 16 w 55"/>
                  <a:gd name="T3" fmla="*/ 2 h 53"/>
                  <a:gd name="T4" fmla="*/ 19 w 55"/>
                  <a:gd name="T5" fmla="*/ 10 h 53"/>
                  <a:gd name="T6" fmla="*/ 6 w 55"/>
                  <a:gd name="T7" fmla="*/ 22 h 53"/>
                  <a:gd name="T8" fmla="*/ 1 w 55"/>
                  <a:gd name="T9" fmla="*/ 21 h 53"/>
                  <a:gd name="T10" fmla="*/ 0 w 55"/>
                  <a:gd name="T11" fmla="*/ 26 h 53"/>
                  <a:gd name="T12" fmla="*/ 28 w 55"/>
                  <a:gd name="T13" fmla="*/ 53 h 53"/>
                  <a:gd name="T14" fmla="*/ 55 w 55"/>
                  <a:gd name="T15" fmla="*/ 26 h 53"/>
                  <a:gd name="T16" fmla="*/ 28 w 55"/>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28" y="0"/>
                    </a:moveTo>
                    <a:cubicBezTo>
                      <a:pt x="23" y="0"/>
                      <a:pt x="19" y="1"/>
                      <a:pt x="16" y="2"/>
                    </a:cubicBezTo>
                    <a:cubicBezTo>
                      <a:pt x="18" y="4"/>
                      <a:pt x="19" y="7"/>
                      <a:pt x="19" y="10"/>
                    </a:cubicBezTo>
                    <a:cubicBezTo>
                      <a:pt x="19" y="16"/>
                      <a:pt x="13" y="22"/>
                      <a:pt x="6" y="22"/>
                    </a:cubicBezTo>
                    <a:cubicBezTo>
                      <a:pt x="4" y="22"/>
                      <a:pt x="2" y="22"/>
                      <a:pt x="1" y="21"/>
                    </a:cubicBezTo>
                    <a:cubicBezTo>
                      <a:pt x="0" y="23"/>
                      <a:pt x="0" y="25"/>
                      <a:pt x="0" y="26"/>
                    </a:cubicBezTo>
                    <a:cubicBezTo>
                      <a:pt x="0" y="41"/>
                      <a:pt x="12" y="53"/>
                      <a:pt x="28" y="53"/>
                    </a:cubicBezTo>
                    <a:cubicBezTo>
                      <a:pt x="43" y="53"/>
                      <a:pt x="55" y="41"/>
                      <a:pt x="55" y="26"/>
                    </a:cubicBezTo>
                    <a:cubicBezTo>
                      <a:pt x="55" y="12"/>
                      <a:pt x="43" y="0"/>
                      <a:pt x="28" y="0"/>
                    </a:cubicBezTo>
                    <a:close/>
                  </a:path>
                </a:pathLst>
              </a:custGeom>
              <a:noFill/>
              <a:ln w="222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36">
                <a:extLst>
                  <a:ext uri="{FF2B5EF4-FFF2-40B4-BE49-F238E27FC236}">
                    <a16:creationId xmlns:a16="http://schemas.microsoft.com/office/drawing/2014/main" id="{3884D1B6-7A4B-044A-A8BF-31648E8C9EE6}"/>
                  </a:ext>
                </a:extLst>
              </p:cNvPr>
              <p:cNvSpPr>
                <a:spLocks/>
              </p:cNvSpPr>
              <p:nvPr/>
            </p:nvSpPr>
            <p:spPr bwMode="auto">
              <a:xfrm>
                <a:off x="5453" y="2945"/>
                <a:ext cx="70" cy="258"/>
              </a:xfrm>
              <a:custGeom>
                <a:avLst/>
                <a:gdLst>
                  <a:gd name="T0" fmla="*/ 0 w 24"/>
                  <a:gd name="T1" fmla="*/ 88 h 88"/>
                  <a:gd name="T2" fmla="*/ 24 w 24"/>
                  <a:gd name="T3" fmla="*/ 44 h 88"/>
                  <a:gd name="T4" fmla="*/ 0 w 24"/>
                  <a:gd name="T5" fmla="*/ 0 h 88"/>
                </a:gdLst>
                <a:ahLst/>
                <a:cxnLst>
                  <a:cxn ang="0">
                    <a:pos x="T0" y="T1"/>
                  </a:cxn>
                  <a:cxn ang="0">
                    <a:pos x="T2" y="T3"/>
                  </a:cxn>
                  <a:cxn ang="0">
                    <a:pos x="T4" y="T5"/>
                  </a:cxn>
                </a:cxnLst>
                <a:rect l="0" t="0" r="r" b="b"/>
                <a:pathLst>
                  <a:path w="24" h="88">
                    <a:moveTo>
                      <a:pt x="0" y="88"/>
                    </a:moveTo>
                    <a:cubicBezTo>
                      <a:pt x="14" y="80"/>
                      <a:pt x="24" y="62"/>
                      <a:pt x="24" y="44"/>
                    </a:cubicBezTo>
                    <a:cubicBezTo>
                      <a:pt x="24" y="26"/>
                      <a:pt x="14" y="8"/>
                      <a:pt x="0" y="0"/>
                    </a:cubicBezTo>
                  </a:path>
                </a:pathLst>
              </a:custGeom>
              <a:noFill/>
              <a:ln w="222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37">
                <a:extLst>
                  <a:ext uri="{FF2B5EF4-FFF2-40B4-BE49-F238E27FC236}">
                    <a16:creationId xmlns:a16="http://schemas.microsoft.com/office/drawing/2014/main" id="{09737373-8DD7-3641-94BB-D0B683B4E643}"/>
                  </a:ext>
                </a:extLst>
              </p:cNvPr>
              <p:cNvSpPr>
                <a:spLocks/>
              </p:cNvSpPr>
              <p:nvPr/>
            </p:nvSpPr>
            <p:spPr bwMode="auto">
              <a:xfrm>
                <a:off x="5220" y="2945"/>
                <a:ext cx="70" cy="258"/>
              </a:xfrm>
              <a:custGeom>
                <a:avLst/>
                <a:gdLst>
                  <a:gd name="T0" fmla="*/ 24 w 24"/>
                  <a:gd name="T1" fmla="*/ 0 h 88"/>
                  <a:gd name="T2" fmla="*/ 0 w 24"/>
                  <a:gd name="T3" fmla="*/ 44 h 88"/>
                  <a:gd name="T4" fmla="*/ 24 w 24"/>
                  <a:gd name="T5" fmla="*/ 88 h 88"/>
                </a:gdLst>
                <a:ahLst/>
                <a:cxnLst>
                  <a:cxn ang="0">
                    <a:pos x="T0" y="T1"/>
                  </a:cxn>
                  <a:cxn ang="0">
                    <a:pos x="T2" y="T3"/>
                  </a:cxn>
                  <a:cxn ang="0">
                    <a:pos x="T4" y="T5"/>
                  </a:cxn>
                </a:cxnLst>
                <a:rect l="0" t="0" r="r" b="b"/>
                <a:pathLst>
                  <a:path w="24" h="88">
                    <a:moveTo>
                      <a:pt x="24" y="0"/>
                    </a:moveTo>
                    <a:cubicBezTo>
                      <a:pt x="10" y="8"/>
                      <a:pt x="0" y="26"/>
                      <a:pt x="0" y="44"/>
                    </a:cubicBezTo>
                    <a:cubicBezTo>
                      <a:pt x="0" y="62"/>
                      <a:pt x="10" y="80"/>
                      <a:pt x="24" y="88"/>
                    </a:cubicBezTo>
                  </a:path>
                </a:pathLst>
              </a:custGeom>
              <a:noFill/>
              <a:ln w="222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8" name="Rectangle 17">
            <a:extLst>
              <a:ext uri="{FF2B5EF4-FFF2-40B4-BE49-F238E27FC236}">
                <a16:creationId xmlns:a16="http://schemas.microsoft.com/office/drawing/2014/main" id="{9BB1B9E6-3254-0147-BEFF-9964DF74EC33}"/>
              </a:ext>
            </a:extLst>
          </p:cNvPr>
          <p:cNvSpPr/>
          <p:nvPr/>
        </p:nvSpPr>
        <p:spPr>
          <a:xfrm>
            <a:off x="2992494" y="1741389"/>
            <a:ext cx="1408444" cy="369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GB" sz="1200" b="1" dirty="0">
                <a:solidFill>
                  <a:schemeClr val="accent3"/>
                </a:solidFill>
              </a:rPr>
              <a:t>Visibility and Analytics</a:t>
            </a:r>
          </a:p>
        </p:txBody>
      </p:sp>
      <p:sp>
        <p:nvSpPr>
          <p:cNvPr id="30" name="Rectangle 29">
            <a:extLst>
              <a:ext uri="{FF2B5EF4-FFF2-40B4-BE49-F238E27FC236}">
                <a16:creationId xmlns:a16="http://schemas.microsoft.com/office/drawing/2014/main" id="{11B3806F-5168-FC4D-AEF0-E42AB3B06096}"/>
              </a:ext>
            </a:extLst>
          </p:cNvPr>
          <p:cNvSpPr/>
          <p:nvPr/>
        </p:nvSpPr>
        <p:spPr>
          <a:xfrm rot="18726828">
            <a:off x="2878341" y="2694344"/>
            <a:ext cx="1408444" cy="1846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GB" sz="1200" b="1" dirty="0">
                <a:solidFill>
                  <a:schemeClr val="accent3"/>
                </a:solidFill>
              </a:rPr>
              <a:t>Fast, Easy</a:t>
            </a:r>
          </a:p>
        </p:txBody>
      </p:sp>
      <p:sp>
        <p:nvSpPr>
          <p:cNvPr id="33" name="Rectangle 32">
            <a:extLst>
              <a:ext uri="{FF2B5EF4-FFF2-40B4-BE49-F238E27FC236}">
                <a16:creationId xmlns:a16="http://schemas.microsoft.com/office/drawing/2014/main" id="{24529F72-7E9C-8440-98BC-C6304FDE2A12}"/>
              </a:ext>
            </a:extLst>
          </p:cNvPr>
          <p:cNvSpPr/>
          <p:nvPr/>
        </p:nvSpPr>
        <p:spPr>
          <a:xfrm rot="2937554">
            <a:off x="4388670" y="2543689"/>
            <a:ext cx="2397251"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GB" sz="1100" b="1" dirty="0">
                <a:solidFill>
                  <a:schemeClr val="accent3"/>
                </a:solidFill>
              </a:rPr>
              <a:t>As much as possible</a:t>
            </a:r>
          </a:p>
          <a:p>
            <a:pPr algn="ctr"/>
            <a:r>
              <a:rPr lang="en-GB" sz="1100" b="1" dirty="0">
                <a:solidFill>
                  <a:schemeClr val="accent3"/>
                </a:solidFill>
              </a:rPr>
              <a:t>Deterministic</a:t>
            </a:r>
          </a:p>
        </p:txBody>
      </p:sp>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Model-driven Telemetry</a:t>
            </a:r>
          </a:p>
        </p:txBody>
      </p:sp>
      <p:grpSp>
        <p:nvGrpSpPr>
          <p:cNvPr id="238" name="Group 237">
            <a:extLst>
              <a:ext uri="{FF2B5EF4-FFF2-40B4-BE49-F238E27FC236}">
                <a16:creationId xmlns:a16="http://schemas.microsoft.com/office/drawing/2014/main" id="{89107831-B10C-F340-9BBC-7CB5F1AC63CE}"/>
              </a:ext>
            </a:extLst>
          </p:cNvPr>
          <p:cNvGrpSpPr/>
          <p:nvPr/>
        </p:nvGrpSpPr>
        <p:grpSpPr>
          <a:xfrm>
            <a:off x="683294" y="3296655"/>
            <a:ext cx="7368255" cy="1567451"/>
            <a:chOff x="740499" y="3689987"/>
            <a:chExt cx="8055199" cy="1713585"/>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40499" y="3689987"/>
              <a:ext cx="8055199" cy="1713585"/>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365783" y="4911881"/>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899830" y="4400129"/>
              <a:ext cx="429692" cy="97632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91284" y="3994225"/>
              <a:ext cx="956555" cy="234534"/>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554328" y="3984919"/>
              <a:ext cx="956555" cy="184273"/>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916614" y="3925952"/>
              <a:ext cx="723787" cy="184273"/>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775294" y="3773038"/>
              <a:ext cx="281904"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52300" y="3773038"/>
              <a:ext cx="281904"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413797" y="3773038"/>
              <a:ext cx="281904"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742114" y="4564467"/>
              <a:ext cx="789338" cy="387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365783" y="4377403"/>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2F9707CA-3AD5-6044-86ED-C23289FBB0DD}"/>
                </a:ext>
              </a:extLst>
            </p:cNvPr>
            <p:cNvSpPr txBox="1"/>
            <p:nvPr/>
          </p:nvSpPr>
          <p:spPr>
            <a:xfrm>
              <a:off x="933084" y="4995728"/>
              <a:ext cx="503663" cy="230832"/>
            </a:xfrm>
            <a:prstGeom prst="rect">
              <a:avLst/>
            </a:prstGeom>
            <a:noFill/>
          </p:spPr>
          <p:txBody>
            <a:bodyPr wrap="none" rtlCol="0">
              <a:spAutoFit/>
            </a:bodyPr>
            <a:lstStyle/>
            <a:p>
              <a:pPr algn="r"/>
              <a:r>
                <a:rPr lang="en-US" sz="450" dirty="0">
                  <a:latin typeface="+mj-lt"/>
                </a:rPr>
                <a:t>Business </a:t>
              </a:r>
            </a:p>
            <a:p>
              <a:pPr algn="r"/>
              <a:r>
                <a:rPr lang="en-US" sz="450" dirty="0">
                  <a:latin typeface="+mj-lt"/>
                </a:rPr>
                <a:t>Connectivity</a:t>
              </a:r>
            </a:p>
          </p:txBody>
        </p:sp>
        <p:sp>
          <p:nvSpPr>
            <p:cNvPr id="70" name="TextBox 69">
              <a:extLst>
                <a:ext uri="{FF2B5EF4-FFF2-40B4-BE49-F238E27FC236}">
                  <a16:creationId xmlns:a16="http://schemas.microsoft.com/office/drawing/2014/main" id="{20B85FE0-21B2-3B42-AC52-C4DDBB9B3323}"/>
                </a:ext>
              </a:extLst>
            </p:cNvPr>
            <p:cNvSpPr txBox="1"/>
            <p:nvPr/>
          </p:nvSpPr>
          <p:spPr>
            <a:xfrm>
              <a:off x="933084" y="4443411"/>
              <a:ext cx="503663" cy="230832"/>
            </a:xfrm>
            <a:prstGeom prst="rect">
              <a:avLst/>
            </a:prstGeom>
            <a:noFill/>
          </p:spPr>
          <p:txBody>
            <a:bodyPr wrap="none" rtlCol="0">
              <a:spAutoFit/>
            </a:bodyPr>
            <a:lstStyle/>
            <a:p>
              <a:pPr algn="r"/>
              <a:r>
                <a:rPr lang="en-US" sz="450" dirty="0">
                  <a:latin typeface="+mj-lt"/>
                </a:rPr>
                <a:t>Residential</a:t>
              </a:r>
            </a:p>
            <a:p>
              <a:pPr algn="r"/>
              <a:r>
                <a:rPr lang="en-US" sz="450" dirty="0">
                  <a:latin typeface="+mj-lt"/>
                </a:rPr>
                <a:t>Connectivity</a:t>
              </a:r>
            </a:p>
          </p:txBody>
        </p:sp>
        <p:sp>
          <p:nvSpPr>
            <p:cNvPr id="71" name="TextBox 70">
              <a:extLst>
                <a:ext uri="{FF2B5EF4-FFF2-40B4-BE49-F238E27FC236}">
                  <a16:creationId xmlns:a16="http://schemas.microsoft.com/office/drawing/2014/main" id="{159BF128-9202-AD40-ACC3-5600094AE7EE}"/>
                </a:ext>
              </a:extLst>
            </p:cNvPr>
            <p:cNvSpPr txBox="1"/>
            <p:nvPr/>
          </p:nvSpPr>
          <p:spPr>
            <a:xfrm>
              <a:off x="1300882" y="4757115"/>
              <a:ext cx="511679" cy="196208"/>
            </a:xfrm>
            <a:prstGeom prst="rect">
              <a:avLst/>
            </a:prstGeom>
            <a:noFill/>
          </p:spPr>
          <p:txBody>
            <a:bodyPr wrap="none" rtlCol="0">
              <a:spAutoFit/>
            </a:bodyPr>
            <a:lstStyle/>
            <a:p>
              <a:pPr algn="r"/>
              <a:r>
                <a:rPr lang="en-US" sz="675" dirty="0">
                  <a:latin typeface="+mj-lt"/>
                  <a:cs typeface="CiscoSansTT" panose="020B0503020201020303" pitchFamily="34" charset="0"/>
                </a:rPr>
                <a:t>Ethernet</a:t>
              </a:r>
            </a:p>
          </p:txBody>
        </p:sp>
        <p:sp>
          <p:nvSpPr>
            <p:cNvPr id="72" name="Rectangle 71">
              <a:extLst>
                <a:ext uri="{FF2B5EF4-FFF2-40B4-BE49-F238E27FC236}">
                  <a16:creationId xmlns:a16="http://schemas.microsoft.com/office/drawing/2014/main" id="{A073F317-1B2A-6540-BBB9-29F63BE4A38B}"/>
                </a:ext>
              </a:extLst>
            </p:cNvPr>
            <p:cNvSpPr/>
            <p:nvPr/>
          </p:nvSpPr>
          <p:spPr>
            <a:xfrm>
              <a:off x="1274432" y="4217084"/>
              <a:ext cx="564578" cy="196208"/>
            </a:xfrm>
            <a:prstGeom prst="rect">
              <a:avLst/>
            </a:prstGeom>
          </p:spPr>
          <p:txBody>
            <a:bodyPr wrap="none">
              <a:spAutoFit/>
            </a:bodyPr>
            <a:lstStyle/>
            <a:p>
              <a:pPr algn="ctr"/>
              <a:r>
                <a:rPr lang="en-US" sz="675" dirty="0">
                  <a:latin typeface="+mj-lt"/>
                  <a:cs typeface="CiscoSansTT" panose="020B0503020201020303" pitchFamily="34" charset="0"/>
                </a:rPr>
                <a:t>DSL/PON</a:t>
              </a:r>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6395170" y="3899086"/>
              <a:ext cx="1354565" cy="996478"/>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859946" y="3899087"/>
              <a:ext cx="1650330" cy="994067"/>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319606" y="3937998"/>
              <a:ext cx="1650332" cy="994066"/>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912998" y="4033955"/>
              <a:ext cx="1630470" cy="818938"/>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347511" y="4283691"/>
              <a:ext cx="567784" cy="230832"/>
            </a:xfrm>
            <a:prstGeom prst="rect">
              <a:avLst/>
            </a:prstGeom>
            <a:noFill/>
          </p:spPr>
          <p:txBody>
            <a:bodyPr wrap="none" rtlCol="0">
              <a:spAutoFit/>
            </a:bodyPr>
            <a:lstStyle/>
            <a:p>
              <a:pPr algn="ctr"/>
              <a:r>
                <a:rPr lang="en-US" sz="900"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725248" y="4283691"/>
              <a:ext cx="1043876" cy="230832"/>
            </a:xfrm>
            <a:prstGeom prst="rect">
              <a:avLst/>
            </a:prstGeom>
            <a:noFill/>
          </p:spPr>
          <p:txBody>
            <a:bodyPr wrap="none" rtlCol="0">
              <a:spAutoFit/>
            </a:bodyPr>
            <a:lstStyle/>
            <a:p>
              <a:pPr algn="ctr"/>
              <a:r>
                <a:rPr lang="en-US" sz="900"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6934444" y="4292027"/>
              <a:ext cx="439544" cy="230832"/>
            </a:xfrm>
            <a:prstGeom prst="rect">
              <a:avLst/>
            </a:prstGeom>
            <a:noFill/>
          </p:spPr>
          <p:txBody>
            <a:bodyPr wrap="none" rtlCol="0">
              <a:spAutoFit/>
            </a:bodyPr>
            <a:lstStyle/>
            <a:p>
              <a:pPr algn="ctr"/>
              <a:r>
                <a:rPr lang="en-US" sz="900" dirty="0">
                  <a:latin typeface="+mn-lt"/>
                </a:rPr>
                <a:t>Core</a:t>
              </a:r>
            </a:p>
          </p:txBody>
        </p:sp>
        <p:sp>
          <p:nvSpPr>
            <p:cNvPr id="116" name="TextBox 115">
              <a:extLst>
                <a:ext uri="{FF2B5EF4-FFF2-40B4-BE49-F238E27FC236}">
                  <a16:creationId xmlns:a16="http://schemas.microsoft.com/office/drawing/2014/main" id="{B5ADC648-7646-C845-A5F3-E9D1F6B36DB7}"/>
                </a:ext>
              </a:extLst>
            </p:cNvPr>
            <p:cNvSpPr txBox="1"/>
            <p:nvPr/>
          </p:nvSpPr>
          <p:spPr>
            <a:xfrm>
              <a:off x="5361801" y="4283691"/>
              <a:ext cx="819455" cy="230832"/>
            </a:xfrm>
            <a:prstGeom prst="rect">
              <a:avLst/>
            </a:prstGeom>
            <a:noFill/>
          </p:spPr>
          <p:txBody>
            <a:bodyPr wrap="none" rtlCol="0">
              <a:spAutoFit/>
            </a:bodyPr>
            <a:lstStyle/>
            <a:p>
              <a:pPr algn="ctr"/>
              <a:r>
                <a:rPr lang="en-US" sz="900" dirty="0">
                  <a:latin typeface="+mn-lt"/>
                </a:rPr>
                <a:t>Aggregation</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828644" y="3860175"/>
              <a:ext cx="175204" cy="107630"/>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463978" y="3859744"/>
              <a:ext cx="181542" cy="108492"/>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106304" y="3860176"/>
              <a:ext cx="173897" cy="107627"/>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294064" y="3837792"/>
              <a:ext cx="433812" cy="433812"/>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294064" y="4548046"/>
              <a:ext cx="433812" cy="433812"/>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770817" y="3837792"/>
              <a:ext cx="433812" cy="433812"/>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770817" y="4548046"/>
              <a:ext cx="433812" cy="433812"/>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8" name="Group 157">
              <a:extLst>
                <a:ext uri="{FF2B5EF4-FFF2-40B4-BE49-F238E27FC236}">
                  <a16:creationId xmlns:a16="http://schemas.microsoft.com/office/drawing/2014/main" id="{21BB08C0-1AE5-DE4F-8F76-996E48A26C02}"/>
                </a:ext>
              </a:extLst>
            </p:cNvPr>
            <p:cNvGrpSpPr/>
            <p:nvPr/>
          </p:nvGrpSpPr>
          <p:grpSpPr>
            <a:xfrm>
              <a:off x="6247570" y="3837792"/>
              <a:ext cx="433812" cy="433812"/>
              <a:chOff x="6073147" y="1416189"/>
              <a:chExt cx="507244" cy="507244"/>
            </a:xfrm>
          </p:grpSpPr>
          <p:sp>
            <p:nvSpPr>
              <p:cNvPr id="159" name="Oval 158">
                <a:extLst>
                  <a:ext uri="{FF2B5EF4-FFF2-40B4-BE49-F238E27FC236}">
                    <a16:creationId xmlns:a16="http://schemas.microsoft.com/office/drawing/2014/main" id="{20A542E4-2C07-8946-860B-8D8949F752E0}"/>
                  </a:ext>
                </a:extLst>
              </p:cNvPr>
              <p:cNvSpPr/>
              <p:nvPr/>
            </p:nvSpPr>
            <p:spPr>
              <a:xfrm>
                <a:off x="6073147"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0" name="Group 159">
                <a:extLst>
                  <a:ext uri="{FF2B5EF4-FFF2-40B4-BE49-F238E27FC236}">
                    <a16:creationId xmlns:a16="http://schemas.microsoft.com/office/drawing/2014/main" id="{7EF2977B-A9D9-4B44-9DB5-AEC1DB4DA29A}"/>
                  </a:ext>
                </a:extLst>
              </p:cNvPr>
              <p:cNvGrpSpPr/>
              <p:nvPr/>
            </p:nvGrpSpPr>
            <p:grpSpPr>
              <a:xfrm>
                <a:off x="6133089" y="1476131"/>
                <a:ext cx="387360" cy="387360"/>
                <a:chOff x="2652535" y="-3571486"/>
                <a:chExt cx="4882348" cy="4882348"/>
              </a:xfrm>
              <a:solidFill>
                <a:schemeClr val="bg2"/>
              </a:solidFill>
            </p:grpSpPr>
            <p:sp>
              <p:nvSpPr>
                <p:cNvPr id="161" name="Freeform: Shape 328">
                  <a:extLst>
                    <a:ext uri="{FF2B5EF4-FFF2-40B4-BE49-F238E27FC236}">
                      <a16:creationId xmlns:a16="http://schemas.microsoft.com/office/drawing/2014/main" id="{0956D2A8-86FC-9E4B-88C9-EE5BD0A098B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62" name="Freeform: Shape 329">
                  <a:extLst>
                    <a:ext uri="{FF2B5EF4-FFF2-40B4-BE49-F238E27FC236}">
                      <a16:creationId xmlns:a16="http://schemas.microsoft.com/office/drawing/2014/main" id="{56A3FD86-D233-5E4D-84ED-3001F708DD1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63" name="Group 162">
                  <a:extLst>
                    <a:ext uri="{FF2B5EF4-FFF2-40B4-BE49-F238E27FC236}">
                      <a16:creationId xmlns:a16="http://schemas.microsoft.com/office/drawing/2014/main" id="{5C58348C-AF34-3744-ACF9-2468A12E9583}"/>
                    </a:ext>
                  </a:extLst>
                </p:cNvPr>
                <p:cNvGrpSpPr/>
                <p:nvPr/>
              </p:nvGrpSpPr>
              <p:grpSpPr>
                <a:xfrm rot="5400000">
                  <a:off x="4197485" y="-3571486"/>
                  <a:ext cx="1792447" cy="4882348"/>
                  <a:chOff x="4197485" y="-3571486"/>
                  <a:chExt cx="1792447" cy="4882348"/>
                </a:xfrm>
                <a:grpFill/>
              </p:grpSpPr>
              <p:sp>
                <p:nvSpPr>
                  <p:cNvPr id="164" name="Freeform: Shape 331">
                    <a:extLst>
                      <a:ext uri="{FF2B5EF4-FFF2-40B4-BE49-F238E27FC236}">
                        <a16:creationId xmlns:a16="http://schemas.microsoft.com/office/drawing/2014/main" id="{8A5C82A1-4235-8B4E-A151-B783ADF0DCBF}"/>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65" name="Freeform: Shape 332">
                    <a:extLst>
                      <a:ext uri="{FF2B5EF4-FFF2-40B4-BE49-F238E27FC236}">
                        <a16:creationId xmlns:a16="http://schemas.microsoft.com/office/drawing/2014/main" id="{70BE1971-138A-EE4F-9A26-7498624F8D8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66" name="Group 165">
              <a:extLst>
                <a:ext uri="{FF2B5EF4-FFF2-40B4-BE49-F238E27FC236}">
                  <a16:creationId xmlns:a16="http://schemas.microsoft.com/office/drawing/2014/main" id="{31821EC0-141A-1B42-9C50-CB0F4014D959}"/>
                </a:ext>
              </a:extLst>
            </p:cNvPr>
            <p:cNvGrpSpPr/>
            <p:nvPr/>
          </p:nvGrpSpPr>
          <p:grpSpPr>
            <a:xfrm>
              <a:off x="6247570" y="4548046"/>
              <a:ext cx="433812" cy="433812"/>
              <a:chOff x="6073147" y="2126443"/>
              <a:chExt cx="507244" cy="507244"/>
            </a:xfrm>
          </p:grpSpPr>
          <p:sp>
            <p:nvSpPr>
              <p:cNvPr id="167" name="Oval 166">
                <a:extLst>
                  <a:ext uri="{FF2B5EF4-FFF2-40B4-BE49-F238E27FC236}">
                    <a16:creationId xmlns:a16="http://schemas.microsoft.com/office/drawing/2014/main" id="{3F5CED2A-4E04-D546-AD10-A25B1A78803F}"/>
                  </a:ext>
                </a:extLst>
              </p:cNvPr>
              <p:cNvSpPr/>
              <p:nvPr/>
            </p:nvSpPr>
            <p:spPr>
              <a:xfrm>
                <a:off x="6073147"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8" name="Group 167">
                <a:extLst>
                  <a:ext uri="{FF2B5EF4-FFF2-40B4-BE49-F238E27FC236}">
                    <a16:creationId xmlns:a16="http://schemas.microsoft.com/office/drawing/2014/main" id="{61D9D8A1-8B8E-944B-A888-BA7B4523F6F6}"/>
                  </a:ext>
                </a:extLst>
              </p:cNvPr>
              <p:cNvGrpSpPr/>
              <p:nvPr/>
            </p:nvGrpSpPr>
            <p:grpSpPr>
              <a:xfrm>
                <a:off x="6133089" y="2186385"/>
                <a:ext cx="387360" cy="387360"/>
                <a:chOff x="2652535" y="-3571486"/>
                <a:chExt cx="4882348" cy="4882348"/>
              </a:xfrm>
              <a:solidFill>
                <a:schemeClr val="bg2"/>
              </a:solidFill>
            </p:grpSpPr>
            <p:sp>
              <p:nvSpPr>
                <p:cNvPr id="169" name="Freeform: Shape 334">
                  <a:extLst>
                    <a:ext uri="{FF2B5EF4-FFF2-40B4-BE49-F238E27FC236}">
                      <a16:creationId xmlns:a16="http://schemas.microsoft.com/office/drawing/2014/main" id="{ADE969A0-678B-054E-825C-C035B198E487}"/>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70" name="Freeform: Shape 335">
                  <a:extLst>
                    <a:ext uri="{FF2B5EF4-FFF2-40B4-BE49-F238E27FC236}">
                      <a16:creationId xmlns:a16="http://schemas.microsoft.com/office/drawing/2014/main" id="{3EA35E4B-5677-9341-8E38-D3C17CE4D09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71" name="Group 170">
                  <a:extLst>
                    <a:ext uri="{FF2B5EF4-FFF2-40B4-BE49-F238E27FC236}">
                      <a16:creationId xmlns:a16="http://schemas.microsoft.com/office/drawing/2014/main" id="{C7FD3CC3-7036-E441-A372-1A938CE8E305}"/>
                    </a:ext>
                  </a:extLst>
                </p:cNvPr>
                <p:cNvGrpSpPr/>
                <p:nvPr/>
              </p:nvGrpSpPr>
              <p:grpSpPr>
                <a:xfrm rot="5400000">
                  <a:off x="4197485" y="-3571486"/>
                  <a:ext cx="1792447" cy="4882348"/>
                  <a:chOff x="4197485" y="-3571486"/>
                  <a:chExt cx="1792447" cy="4882348"/>
                </a:xfrm>
                <a:grpFill/>
              </p:grpSpPr>
              <p:sp>
                <p:nvSpPr>
                  <p:cNvPr id="172" name="Freeform: Shape 337">
                    <a:extLst>
                      <a:ext uri="{FF2B5EF4-FFF2-40B4-BE49-F238E27FC236}">
                        <a16:creationId xmlns:a16="http://schemas.microsoft.com/office/drawing/2014/main" id="{11956481-B8CB-D142-9E1C-A6E5F08C40BF}"/>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73" name="Freeform: Shape 338">
                    <a:extLst>
                      <a:ext uri="{FF2B5EF4-FFF2-40B4-BE49-F238E27FC236}">
                        <a16:creationId xmlns:a16="http://schemas.microsoft.com/office/drawing/2014/main" id="{A4F06BC7-2821-8444-99DD-F5321F1F6B67}"/>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7387313" y="3885157"/>
              <a:ext cx="895603" cy="565814"/>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7597209" y="4574437"/>
              <a:ext cx="249333" cy="249333"/>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5257589" y="4772991"/>
              <a:ext cx="941045" cy="330145"/>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863369" y="4649972"/>
              <a:ext cx="249333" cy="249333"/>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782010" y="4772991"/>
              <a:ext cx="941045" cy="330145"/>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4252620" y="4649550"/>
              <a:ext cx="249333" cy="249333"/>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770817" y="4292027"/>
              <a:ext cx="439749" cy="23505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1" name="Rectangle: Rounded Corners 704">
              <a:extLst>
                <a:ext uri="{FF2B5EF4-FFF2-40B4-BE49-F238E27FC236}">
                  <a16:creationId xmlns:a16="http://schemas.microsoft.com/office/drawing/2014/main" id="{F0C91FAD-32DA-B049-BC3A-A074A60F7663}"/>
                </a:ext>
              </a:extLst>
            </p:cNvPr>
            <p:cNvSpPr/>
            <p:nvPr/>
          </p:nvSpPr>
          <p:spPr>
            <a:xfrm>
              <a:off x="6247192" y="4292027"/>
              <a:ext cx="439749" cy="23505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288730" y="4292027"/>
              <a:ext cx="439749" cy="235053"/>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425129" y="4437443"/>
              <a:ext cx="272202" cy="206060"/>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465424" y="4976878"/>
              <a:ext cx="182594" cy="25188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7515659" y="4059571"/>
              <a:ext cx="805028" cy="369332"/>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7431571" y="4815414"/>
              <a:ext cx="580608" cy="230832"/>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5220912" y="5065018"/>
              <a:ext cx="1094785" cy="184666"/>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740100" y="5065018"/>
              <a:ext cx="1094785" cy="184666"/>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32075" y="4886056"/>
              <a:ext cx="172651" cy="172651"/>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8140" y="4894077"/>
              <a:ext cx="172651" cy="172651"/>
            </a:xfrm>
            <a:prstGeom prst="rect">
              <a:avLst/>
            </a:prstGeom>
          </p:spPr>
        </p:pic>
      </p:grpSp>
      <p:cxnSp>
        <p:nvCxnSpPr>
          <p:cNvPr id="10" name="Straight Connector 9">
            <a:extLst>
              <a:ext uri="{FF2B5EF4-FFF2-40B4-BE49-F238E27FC236}">
                <a16:creationId xmlns:a16="http://schemas.microsoft.com/office/drawing/2014/main" id="{7465998D-93A6-A64D-98FB-9344A03F227D}"/>
              </a:ext>
            </a:extLst>
          </p:cNvPr>
          <p:cNvCxnSpPr>
            <a:cxnSpLocks/>
            <a:stCxn id="159" idx="0"/>
            <a:endCxn id="12" idx="5"/>
          </p:cNvCxnSpPr>
          <p:nvPr/>
        </p:nvCxnSpPr>
        <p:spPr bwMode="auto">
          <a:xfrm flipH="1" flipV="1">
            <a:off x="4757089" y="2129225"/>
            <a:ext cx="1162044" cy="1302630"/>
          </a:xfrm>
          <a:prstGeom prst="line">
            <a:avLst/>
          </a:prstGeom>
          <a:ln w="19050" cmpd="sng">
            <a:solidFill>
              <a:srgbClr val="008000"/>
            </a:solidFill>
            <a:prstDash val="sysDash"/>
            <a:headEnd type="none" w="med" len="med"/>
            <a:tailEnd type="triangle" w="med" len="med"/>
          </a:ln>
          <a:effectLst>
            <a:glow rad="38100">
              <a:schemeClr val="tx2">
                <a:lumMod val="40000"/>
                <a:lumOff val="60000"/>
                <a:alpha val="75000"/>
              </a:schemeClr>
            </a:glow>
            <a:outerShdw blurRad="40000" dist="20000" dir="5400000" rotWithShape="0">
              <a:srgbClr val="000000">
                <a:alpha val="38000"/>
              </a:srgbClr>
            </a:outerShdw>
          </a:effectLst>
        </p:spPr>
        <p:style>
          <a:lnRef idx="2">
            <a:schemeClr val="accent4"/>
          </a:lnRef>
          <a:fillRef idx="0">
            <a:schemeClr val="accent4"/>
          </a:fillRef>
          <a:effectRef idx="1">
            <a:schemeClr val="accent4"/>
          </a:effectRef>
          <a:fontRef idx="minor">
            <a:schemeClr val="tx1"/>
          </a:fontRef>
        </p:style>
      </p:cxnSp>
      <p:cxnSp>
        <p:nvCxnSpPr>
          <p:cNvPr id="8" name="Straight Connector 7">
            <a:extLst>
              <a:ext uri="{FF2B5EF4-FFF2-40B4-BE49-F238E27FC236}">
                <a16:creationId xmlns:a16="http://schemas.microsoft.com/office/drawing/2014/main" id="{43EC0F75-275A-3B4A-AEBA-3A1207FBD7E2}"/>
              </a:ext>
            </a:extLst>
          </p:cNvPr>
          <p:cNvCxnSpPr>
            <a:cxnSpLocks/>
            <a:stCxn id="143" idx="0"/>
            <a:endCxn id="12" idx="4"/>
          </p:cNvCxnSpPr>
          <p:nvPr/>
        </p:nvCxnSpPr>
        <p:spPr bwMode="auto">
          <a:xfrm flipH="1" flipV="1">
            <a:off x="4555465" y="2211972"/>
            <a:ext cx="12852" cy="1219883"/>
          </a:xfrm>
          <a:prstGeom prst="line">
            <a:avLst/>
          </a:prstGeom>
          <a:ln w="19050" cmpd="sng">
            <a:solidFill>
              <a:srgbClr val="008000"/>
            </a:solidFill>
            <a:prstDash val="sysDash"/>
            <a:headEnd type="none" w="med" len="med"/>
            <a:tailEnd type="triangle" w="med" len="med"/>
          </a:ln>
          <a:effectLst>
            <a:glow rad="38100">
              <a:schemeClr val="tx2">
                <a:lumMod val="40000"/>
                <a:lumOff val="60000"/>
                <a:alpha val="75000"/>
              </a:schemeClr>
            </a:glow>
            <a:outerShdw blurRad="40000" dist="20000" dir="5400000" rotWithShape="0">
              <a:srgbClr val="000000">
                <a:alpha val="38000"/>
              </a:srgbClr>
            </a:outerShdw>
          </a:effectLst>
        </p:spPr>
        <p:style>
          <a:lnRef idx="2">
            <a:schemeClr val="accent4"/>
          </a:lnRef>
          <a:fillRef idx="0">
            <a:schemeClr val="accent4"/>
          </a:fillRef>
          <a:effectRef idx="1">
            <a:schemeClr val="accent4"/>
          </a:effectRef>
          <a:fontRef idx="minor">
            <a:schemeClr val="tx1"/>
          </a:fontRef>
        </p:style>
      </p:cxnSp>
      <p:cxnSp>
        <p:nvCxnSpPr>
          <p:cNvPr id="6" name="Straight Connector 5">
            <a:extLst>
              <a:ext uri="{FF2B5EF4-FFF2-40B4-BE49-F238E27FC236}">
                <a16:creationId xmlns:a16="http://schemas.microsoft.com/office/drawing/2014/main" id="{8C941A57-C0FB-024A-A3AE-78B7861432EB}"/>
              </a:ext>
            </a:extLst>
          </p:cNvPr>
          <p:cNvCxnSpPr>
            <a:cxnSpLocks/>
            <a:stCxn id="127" idx="0"/>
          </p:cNvCxnSpPr>
          <p:nvPr/>
        </p:nvCxnSpPr>
        <p:spPr bwMode="auto">
          <a:xfrm flipV="1">
            <a:off x="3217501" y="2165097"/>
            <a:ext cx="1155566" cy="1266758"/>
          </a:xfrm>
          <a:prstGeom prst="line">
            <a:avLst/>
          </a:prstGeom>
          <a:ln w="19050" cmpd="sng">
            <a:solidFill>
              <a:srgbClr val="008000"/>
            </a:solidFill>
            <a:prstDash val="sysDash"/>
            <a:headEnd type="none" w="med" len="med"/>
            <a:tailEnd type="triangle" w="med" len="med"/>
          </a:ln>
          <a:effectLst>
            <a:glow rad="38100">
              <a:schemeClr val="tx2">
                <a:lumMod val="40000"/>
                <a:lumOff val="60000"/>
                <a:alpha val="75000"/>
              </a:schemeClr>
            </a:glow>
            <a:outerShdw blurRad="40000" dist="20000" dir="5400000" rotWithShape="0">
              <a:srgbClr val="000000">
                <a:alpha val="38000"/>
              </a:srgbClr>
            </a:outerShdw>
          </a:effectLst>
        </p:spPr>
        <p:style>
          <a:lnRef idx="2">
            <a:schemeClr val="accent4"/>
          </a:lnRef>
          <a:fillRef idx="0">
            <a:schemeClr val="accent4"/>
          </a:fillRef>
          <a:effectRef idx="1">
            <a:schemeClr val="accent4"/>
          </a:effectRef>
          <a:fontRef idx="minor">
            <a:schemeClr val="tx1"/>
          </a:fontRef>
        </p:style>
      </p:cxnSp>
      <p:sp>
        <p:nvSpPr>
          <p:cNvPr id="32" name="Rectangle 31">
            <a:extLst>
              <a:ext uri="{FF2B5EF4-FFF2-40B4-BE49-F238E27FC236}">
                <a16:creationId xmlns:a16="http://schemas.microsoft.com/office/drawing/2014/main" id="{FB7E6B11-3EAE-FE41-95BD-68824BB4DABC}"/>
              </a:ext>
            </a:extLst>
          </p:cNvPr>
          <p:cNvSpPr/>
          <p:nvPr/>
        </p:nvSpPr>
        <p:spPr>
          <a:xfrm rot="16200000">
            <a:off x="3696716" y="2788816"/>
            <a:ext cx="1408444" cy="1692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GB" sz="1100" b="1" dirty="0">
                <a:solidFill>
                  <a:schemeClr val="accent3"/>
                </a:solidFill>
              </a:rPr>
              <a:t>Reliable, Useful</a:t>
            </a:r>
          </a:p>
        </p:txBody>
      </p:sp>
      <p:sp>
        <p:nvSpPr>
          <p:cNvPr id="247" name="Rounded Rectangle 246">
            <a:extLst>
              <a:ext uri="{FF2B5EF4-FFF2-40B4-BE49-F238E27FC236}">
                <a16:creationId xmlns:a16="http://schemas.microsoft.com/office/drawing/2014/main" id="{F0745B55-8D70-3543-A4F1-B86251CED085}"/>
              </a:ext>
            </a:extLst>
          </p:cNvPr>
          <p:cNvSpPr/>
          <p:nvPr/>
        </p:nvSpPr>
        <p:spPr>
          <a:xfrm>
            <a:off x="1007094" y="1096933"/>
            <a:ext cx="7033646" cy="447546"/>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3 Key Changes: Push, not pull. Based on Data Models. Ready for analytics</a:t>
            </a:r>
            <a:r>
              <a:rPr lang="en-US" sz="1400" b="1" dirty="0"/>
              <a:t> </a:t>
            </a:r>
          </a:p>
        </p:txBody>
      </p:sp>
    </p:spTree>
    <p:extLst>
      <p:ext uri="{BB962C8B-B14F-4D97-AF65-F5344CB8AC3E}">
        <p14:creationId xmlns:p14="http://schemas.microsoft.com/office/powerpoint/2010/main" val="415337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94FB2B-129A-4EA7-B958-45D2F4BD0D80}"/>
              </a:ext>
            </a:extLst>
          </p:cNvPr>
          <p:cNvSpPr>
            <a:spLocks noGrp="1"/>
          </p:cNvSpPr>
          <p:nvPr>
            <p:ph type="title"/>
          </p:nvPr>
        </p:nvSpPr>
        <p:spPr/>
        <p:txBody>
          <a:bodyPr/>
          <a:lstStyle/>
          <a:p>
            <a:r>
              <a:rPr lang="en-ZA" dirty="0"/>
              <a:t>Flow of presentation</a:t>
            </a:r>
          </a:p>
        </p:txBody>
      </p:sp>
      <p:pic>
        <p:nvPicPr>
          <p:cNvPr id="5" name="Picture 4">
            <a:extLst>
              <a:ext uri="{FF2B5EF4-FFF2-40B4-BE49-F238E27FC236}">
                <a16:creationId xmlns:a16="http://schemas.microsoft.com/office/drawing/2014/main" id="{9F03B1DE-ACFE-4A59-9895-06F63F53E24E}"/>
              </a:ext>
            </a:extLst>
          </p:cNvPr>
          <p:cNvPicPr>
            <a:picLocks noChangeAspect="1"/>
          </p:cNvPicPr>
          <p:nvPr/>
        </p:nvPicPr>
        <p:blipFill>
          <a:blip r:embed="rId2"/>
          <a:stretch>
            <a:fillRect/>
          </a:stretch>
        </p:blipFill>
        <p:spPr>
          <a:xfrm>
            <a:off x="952500" y="967734"/>
            <a:ext cx="7486650" cy="3940700"/>
          </a:xfrm>
          <a:prstGeom prst="rect">
            <a:avLst/>
          </a:prstGeom>
        </p:spPr>
      </p:pic>
    </p:spTree>
    <p:extLst>
      <p:ext uri="{BB962C8B-B14F-4D97-AF65-F5344CB8AC3E}">
        <p14:creationId xmlns:p14="http://schemas.microsoft.com/office/powerpoint/2010/main" val="280550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8492E5-4120-4816-A074-B4E903958B84}"/>
              </a:ext>
            </a:extLst>
          </p:cNvPr>
          <p:cNvPicPr>
            <a:picLocks noChangeAspect="1"/>
          </p:cNvPicPr>
          <p:nvPr/>
        </p:nvPicPr>
        <p:blipFill>
          <a:blip r:embed="rId3"/>
          <a:stretch>
            <a:fillRect/>
          </a:stretch>
        </p:blipFill>
        <p:spPr>
          <a:xfrm>
            <a:off x="2340636" y="8955"/>
            <a:ext cx="6775321" cy="5143500"/>
          </a:xfrm>
          <a:prstGeom prst="rect">
            <a:avLst/>
          </a:prstGeom>
        </p:spPr>
      </p:pic>
      <p:grpSp>
        <p:nvGrpSpPr>
          <p:cNvPr id="9" name="Group 8">
            <a:extLst>
              <a:ext uri="{FF2B5EF4-FFF2-40B4-BE49-F238E27FC236}">
                <a16:creationId xmlns:a16="http://schemas.microsoft.com/office/drawing/2014/main" id="{81447219-527F-485A-BE49-2A9E7D3A2F2D}"/>
              </a:ext>
            </a:extLst>
          </p:cNvPr>
          <p:cNvGrpSpPr/>
          <p:nvPr/>
        </p:nvGrpSpPr>
        <p:grpSpPr>
          <a:xfrm>
            <a:off x="4750194" y="2529602"/>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19851" y="2724721"/>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54858" y="3091577"/>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59643" y="919877"/>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172243" y="558615"/>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51958" y="2293207"/>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16919" y="1364377"/>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43486" y="3261271"/>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01237" y="1507857"/>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483959" y="1198574"/>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194528" y="1209059"/>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695761" y="1514887"/>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51408" y="2477278"/>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886338" y="2457668"/>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09113" y="3478922"/>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790561" y="832493"/>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12117" y="2917903"/>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71023" y="3398566"/>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67708" y="4342204"/>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4975186" y="4868279"/>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10785" y="2895766"/>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12" name="Group 211">
            <a:extLst>
              <a:ext uri="{FF2B5EF4-FFF2-40B4-BE49-F238E27FC236}">
                <a16:creationId xmlns:a16="http://schemas.microsoft.com/office/drawing/2014/main" id="{BB3FF222-C6A2-465B-A986-7C91D03EFA3C}"/>
              </a:ext>
            </a:extLst>
          </p:cNvPr>
          <p:cNvGrpSpPr/>
          <p:nvPr/>
        </p:nvGrpSpPr>
        <p:grpSpPr>
          <a:xfrm>
            <a:off x="4096603" y="1745623"/>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67708" y="1999945"/>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3989229" y="2690425"/>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02715" y="1978379"/>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01853" y="1950874"/>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12980" y="1624530"/>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477070" y="1397244"/>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19795" y="1180030"/>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682627" y="1397243"/>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36618" y="1663892"/>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66377" y="2198615"/>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3990873" y="1029545"/>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085006" y="2656338"/>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06938" y="3012144"/>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381609" y="2846234"/>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59644" y="3044903"/>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580277" y="2789755"/>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591093" y="3023795"/>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580277" y="3044904"/>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789760" y="2834391"/>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25491" y="3222465"/>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07782" y="3413665"/>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03920" y="3859700"/>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69834" y="3661030"/>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775723" y="3661029"/>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786210" y="3566060"/>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895879" y="2834391"/>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cxnSpLocks/>
            <a:stCxn id="58" idx="5"/>
            <a:endCxn id="189" idx="2"/>
          </p:cNvCxnSpPr>
          <p:nvPr/>
        </p:nvCxnSpPr>
        <p:spPr>
          <a:xfrm flipV="1">
            <a:off x="5003636" y="3514944"/>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172243" y="3029510"/>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280001" y="2675948"/>
            <a:ext cx="305492" cy="93409"/>
          </a:xfrm>
          <a:prstGeom prst="line">
            <a:avLst/>
          </a:prstGeom>
        </p:spPr>
        <p:style>
          <a:lnRef idx="1">
            <a:schemeClr val="accent6"/>
          </a:lnRef>
          <a:fillRef idx="0">
            <a:schemeClr val="accent6"/>
          </a:fillRef>
          <a:effectRef idx="0">
            <a:schemeClr val="accent6"/>
          </a:effectRef>
          <a:fontRef idx="minor">
            <a:schemeClr val="tx1"/>
          </a:fontRef>
        </p:style>
      </p:cxnSp>
      <p:sp>
        <p:nvSpPr>
          <p:cNvPr id="302" name="Rectangle 301">
            <a:extLst>
              <a:ext uri="{FF2B5EF4-FFF2-40B4-BE49-F238E27FC236}">
                <a16:creationId xmlns:a16="http://schemas.microsoft.com/office/drawing/2014/main" id="{85DE1B2E-3E4F-4503-9AE2-66249CE0E0DE}"/>
              </a:ext>
            </a:extLst>
          </p:cNvPr>
          <p:cNvSpPr/>
          <p:nvPr/>
        </p:nvSpPr>
        <p:spPr>
          <a:xfrm>
            <a:off x="4810048" y="4425362"/>
            <a:ext cx="464773" cy="8741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Yabelo</a:t>
            </a:r>
            <a:endParaRPr lang="en-GB" sz="700" dirty="0">
              <a:solidFill>
                <a:srgbClr val="0D274D"/>
              </a:solidFill>
              <a:latin typeface="CiscoSansTT ExtraLight"/>
            </a:endParaRPr>
          </a:p>
        </p:txBody>
      </p:sp>
      <p:sp>
        <p:nvSpPr>
          <p:cNvPr id="303" name="Rectangle 302">
            <a:extLst>
              <a:ext uri="{FF2B5EF4-FFF2-40B4-BE49-F238E27FC236}">
                <a16:creationId xmlns:a16="http://schemas.microsoft.com/office/drawing/2014/main" id="{19CD1CB2-D079-4E97-99A5-5DFE5F5B52C4}"/>
              </a:ext>
            </a:extLst>
          </p:cNvPr>
          <p:cNvSpPr/>
          <p:nvPr/>
        </p:nvSpPr>
        <p:spPr>
          <a:xfrm>
            <a:off x="4909662" y="3753854"/>
            <a:ext cx="464773" cy="8741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ila</a:t>
            </a:r>
            <a:endParaRPr lang="en-GB" sz="700" dirty="0">
              <a:solidFill>
                <a:srgbClr val="0D274D"/>
              </a:solidFill>
              <a:latin typeface="CiscoSansTT ExtraLight"/>
            </a:endParaRPr>
          </a:p>
        </p:txBody>
      </p:sp>
      <p:sp>
        <p:nvSpPr>
          <p:cNvPr id="304" name="Rectangle 303">
            <a:extLst>
              <a:ext uri="{FF2B5EF4-FFF2-40B4-BE49-F238E27FC236}">
                <a16:creationId xmlns:a16="http://schemas.microsoft.com/office/drawing/2014/main" id="{0BE76E90-DBAA-40E6-937E-6088E5156666}"/>
              </a:ext>
            </a:extLst>
          </p:cNvPr>
          <p:cNvSpPr/>
          <p:nvPr/>
        </p:nvSpPr>
        <p:spPr>
          <a:xfrm>
            <a:off x="5332824" y="3477719"/>
            <a:ext cx="464773" cy="8741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odola</a:t>
            </a:r>
            <a:endParaRPr lang="en-GB" sz="700" dirty="0">
              <a:solidFill>
                <a:srgbClr val="0D274D"/>
              </a:solidFill>
              <a:latin typeface="CiscoSansTT ExtraLight"/>
            </a:endParaRPr>
          </a:p>
        </p:txBody>
      </p:sp>
      <p:sp>
        <p:nvSpPr>
          <p:cNvPr id="305" name="Rectangle 304">
            <a:extLst>
              <a:ext uri="{FF2B5EF4-FFF2-40B4-BE49-F238E27FC236}">
                <a16:creationId xmlns:a16="http://schemas.microsoft.com/office/drawing/2014/main" id="{F0501B3C-C8BE-480C-A86E-024F562AA36B}"/>
              </a:ext>
            </a:extLst>
          </p:cNvPr>
          <p:cNvSpPr/>
          <p:nvPr/>
        </p:nvSpPr>
        <p:spPr>
          <a:xfrm>
            <a:off x="3940228" y="3661030"/>
            <a:ext cx="464773" cy="8741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odo</a:t>
            </a:r>
            <a:endParaRPr lang="en-GB" sz="700" dirty="0">
              <a:solidFill>
                <a:srgbClr val="0D274D"/>
              </a:solidFill>
              <a:latin typeface="CiscoSansTT ExtraLight"/>
            </a:endParaRPr>
          </a:p>
        </p:txBody>
      </p:sp>
      <p:sp>
        <p:nvSpPr>
          <p:cNvPr id="306" name="Rectangle 305">
            <a:extLst>
              <a:ext uri="{FF2B5EF4-FFF2-40B4-BE49-F238E27FC236}">
                <a16:creationId xmlns:a16="http://schemas.microsoft.com/office/drawing/2014/main" id="{22CE76D7-2FDF-4A99-B168-ABD540BE6D87}"/>
              </a:ext>
            </a:extLst>
          </p:cNvPr>
          <p:cNvSpPr/>
          <p:nvPr/>
        </p:nvSpPr>
        <p:spPr>
          <a:xfrm>
            <a:off x="4830824" y="3098999"/>
            <a:ext cx="509074"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sana</a:t>
            </a:r>
            <a:endParaRPr lang="en-GB" sz="700" dirty="0">
              <a:solidFill>
                <a:srgbClr val="0D274D"/>
              </a:solidFill>
              <a:latin typeface="CiscoSansTT ExtraLight"/>
            </a:endParaRPr>
          </a:p>
        </p:txBody>
      </p:sp>
      <p:sp>
        <p:nvSpPr>
          <p:cNvPr id="308" name="Rectangle 307">
            <a:extLst>
              <a:ext uri="{FF2B5EF4-FFF2-40B4-BE49-F238E27FC236}">
                <a16:creationId xmlns:a16="http://schemas.microsoft.com/office/drawing/2014/main" id="{D05A0776-2CD4-434E-A0EF-74DD8F05DBFA}"/>
              </a:ext>
            </a:extLst>
          </p:cNvPr>
          <p:cNvSpPr/>
          <p:nvPr/>
        </p:nvSpPr>
        <p:spPr>
          <a:xfrm>
            <a:off x="3237759" y="3156175"/>
            <a:ext cx="419600"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Gore</a:t>
            </a:r>
            <a:endParaRPr lang="en-GB" sz="700" dirty="0">
              <a:solidFill>
                <a:srgbClr val="0D274D"/>
              </a:solidFill>
              <a:latin typeface="CiscoSansTT ExtraLight"/>
            </a:endParaRPr>
          </a:p>
        </p:txBody>
      </p:sp>
      <p:sp>
        <p:nvSpPr>
          <p:cNvPr id="310" name="Rectangle 309">
            <a:extLst>
              <a:ext uri="{FF2B5EF4-FFF2-40B4-BE49-F238E27FC236}">
                <a16:creationId xmlns:a16="http://schemas.microsoft.com/office/drawing/2014/main" id="{CF0CCE2C-4524-4231-8A39-612A7710E00E}"/>
              </a:ext>
            </a:extLst>
          </p:cNvPr>
          <p:cNvSpPr/>
          <p:nvPr/>
        </p:nvSpPr>
        <p:spPr>
          <a:xfrm>
            <a:off x="4064526" y="2369700"/>
            <a:ext cx="597242"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Nekemete</a:t>
            </a:r>
            <a:endParaRPr lang="en-GB" sz="700" dirty="0">
              <a:solidFill>
                <a:srgbClr val="0D274D"/>
              </a:solidFill>
              <a:latin typeface="CiscoSansTT ExtraLight"/>
            </a:endParaRPr>
          </a:p>
        </p:txBody>
      </p:sp>
      <p:sp>
        <p:nvSpPr>
          <p:cNvPr id="311" name="Rectangle 310">
            <a:extLst>
              <a:ext uri="{FF2B5EF4-FFF2-40B4-BE49-F238E27FC236}">
                <a16:creationId xmlns:a16="http://schemas.microsoft.com/office/drawing/2014/main" id="{CAF5BE66-198F-446B-B898-8CEFB9EC9823}"/>
              </a:ext>
            </a:extLst>
          </p:cNvPr>
          <p:cNvSpPr/>
          <p:nvPr/>
        </p:nvSpPr>
        <p:spPr>
          <a:xfrm>
            <a:off x="3440940" y="2738636"/>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edele</a:t>
            </a:r>
            <a:endParaRPr lang="en-GB" sz="700" dirty="0">
              <a:solidFill>
                <a:srgbClr val="0D274D"/>
              </a:solidFill>
              <a:latin typeface="CiscoSansTT ExtraLight"/>
            </a:endParaRPr>
          </a:p>
        </p:txBody>
      </p:sp>
      <p:sp>
        <p:nvSpPr>
          <p:cNvPr id="312" name="Rectangle 311">
            <a:extLst>
              <a:ext uri="{FF2B5EF4-FFF2-40B4-BE49-F238E27FC236}">
                <a16:creationId xmlns:a16="http://schemas.microsoft.com/office/drawing/2014/main" id="{F873AC41-0250-4399-BA69-7FCD971CE5B8}"/>
              </a:ext>
            </a:extLst>
          </p:cNvPr>
          <p:cNvSpPr/>
          <p:nvPr/>
        </p:nvSpPr>
        <p:spPr>
          <a:xfrm>
            <a:off x="4155532" y="2734846"/>
            <a:ext cx="480951"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Welkite</a:t>
            </a:r>
            <a:endParaRPr lang="en-GB" sz="700" dirty="0">
              <a:solidFill>
                <a:srgbClr val="0D274D"/>
              </a:solidFill>
              <a:latin typeface="CiscoSansTT ExtraLight"/>
            </a:endParaRPr>
          </a:p>
        </p:txBody>
      </p:sp>
      <p:grpSp>
        <p:nvGrpSpPr>
          <p:cNvPr id="313" name="Group 312">
            <a:extLst>
              <a:ext uri="{FF2B5EF4-FFF2-40B4-BE49-F238E27FC236}">
                <a16:creationId xmlns:a16="http://schemas.microsoft.com/office/drawing/2014/main" id="{B2FC311F-F68A-4275-9082-15811FF75D8D}"/>
              </a:ext>
            </a:extLst>
          </p:cNvPr>
          <p:cNvGrpSpPr/>
          <p:nvPr/>
        </p:nvGrpSpPr>
        <p:grpSpPr>
          <a:xfrm>
            <a:off x="3543454" y="2420237"/>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19" name="Rectangle 318">
            <a:extLst>
              <a:ext uri="{FF2B5EF4-FFF2-40B4-BE49-F238E27FC236}">
                <a16:creationId xmlns:a16="http://schemas.microsoft.com/office/drawing/2014/main" id="{4F9D166F-6A79-43B9-9AA0-250095DFBCFA}"/>
              </a:ext>
            </a:extLst>
          </p:cNvPr>
          <p:cNvSpPr/>
          <p:nvPr/>
        </p:nvSpPr>
        <p:spPr>
          <a:xfrm>
            <a:off x="3120755" y="2318604"/>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mbi</a:t>
            </a:r>
            <a:endParaRPr lang="en-GB" sz="700" dirty="0">
              <a:solidFill>
                <a:srgbClr val="0D274D"/>
              </a:solidFill>
              <a:latin typeface="CiscoSansTT ExtraLight"/>
            </a:endParaRPr>
          </a:p>
        </p:txBody>
      </p: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42123" y="2618908"/>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684086" y="4574960"/>
            <a:ext cx="291101" cy="409697"/>
          </a:xfrm>
          <a:prstGeom prst="line">
            <a:avLst/>
          </a:prstGeom>
        </p:spPr>
        <p:style>
          <a:lnRef idx="1">
            <a:schemeClr val="accent6"/>
          </a:lnRef>
          <a:fillRef idx="0">
            <a:schemeClr val="accent6"/>
          </a:fillRef>
          <a:effectRef idx="0">
            <a:schemeClr val="accent6"/>
          </a:effectRef>
          <a:fontRef idx="minor">
            <a:schemeClr val="tx1"/>
          </a:fontRef>
        </p:style>
      </p:cxnSp>
      <p:sp>
        <p:nvSpPr>
          <p:cNvPr id="328" name="Rectangle 327">
            <a:extLst>
              <a:ext uri="{FF2B5EF4-FFF2-40B4-BE49-F238E27FC236}">
                <a16:creationId xmlns:a16="http://schemas.microsoft.com/office/drawing/2014/main" id="{172AF7C6-A7E9-4EDD-AABF-E33F1DCD20EF}"/>
              </a:ext>
            </a:extLst>
          </p:cNvPr>
          <p:cNvSpPr/>
          <p:nvPr/>
        </p:nvSpPr>
        <p:spPr>
          <a:xfrm>
            <a:off x="5222032" y="4843910"/>
            <a:ext cx="534625" cy="8741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yale</a:t>
            </a:r>
            <a:endParaRPr lang="en-GB" sz="700" dirty="0">
              <a:solidFill>
                <a:srgbClr val="0D274D"/>
              </a:solidFill>
              <a:latin typeface="CiscoSansTT ExtraLight"/>
            </a:endParaRPr>
          </a:p>
        </p:txBody>
      </p: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784162" y="2445602"/>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67785" y="1747643"/>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06022" y="1631265"/>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10905" y="1441815"/>
            <a:ext cx="42725" cy="66042"/>
          </a:xfrm>
          <a:prstGeom prst="line">
            <a:avLst/>
          </a:prstGeom>
        </p:spPr>
        <p:style>
          <a:lnRef idx="1">
            <a:schemeClr val="accent6"/>
          </a:lnRef>
          <a:fillRef idx="0">
            <a:schemeClr val="accent6"/>
          </a:fillRef>
          <a:effectRef idx="0">
            <a:schemeClr val="accent6"/>
          </a:effectRef>
          <a:fontRef idx="minor">
            <a:schemeClr val="tx1"/>
          </a:fontRef>
        </p:style>
      </p:cxnSp>
      <p:sp>
        <p:nvSpPr>
          <p:cNvPr id="339" name="Rectangle 338">
            <a:extLst>
              <a:ext uri="{FF2B5EF4-FFF2-40B4-BE49-F238E27FC236}">
                <a16:creationId xmlns:a16="http://schemas.microsoft.com/office/drawing/2014/main" id="{DEAAE82B-1A1E-401C-BED7-FD8E0DDA8F14}"/>
              </a:ext>
            </a:extLst>
          </p:cNvPr>
          <p:cNvSpPr/>
          <p:nvPr/>
        </p:nvSpPr>
        <p:spPr>
          <a:xfrm>
            <a:off x="5723265" y="2725888"/>
            <a:ext cx="509792"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washe</a:t>
            </a:r>
            <a:endParaRPr lang="en-GB" sz="700" dirty="0">
              <a:solidFill>
                <a:srgbClr val="0D274D"/>
              </a:solidFill>
              <a:latin typeface="CiscoSansTT ExtraLight"/>
            </a:endParaRPr>
          </a:p>
        </p:txBody>
      </p:sp>
      <p:sp>
        <p:nvSpPr>
          <p:cNvPr id="340" name="Rectangle 339">
            <a:extLst>
              <a:ext uri="{FF2B5EF4-FFF2-40B4-BE49-F238E27FC236}">
                <a16:creationId xmlns:a16="http://schemas.microsoft.com/office/drawing/2014/main" id="{E90E0143-9CA6-4BF6-84FA-DFEDAC1C8085}"/>
              </a:ext>
            </a:extLst>
          </p:cNvPr>
          <p:cNvSpPr/>
          <p:nvPr/>
        </p:nvSpPr>
        <p:spPr>
          <a:xfrm>
            <a:off x="5955004" y="1616764"/>
            <a:ext cx="509792"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ile</a:t>
            </a:r>
            <a:endParaRPr lang="en-GB" sz="700" dirty="0">
              <a:solidFill>
                <a:srgbClr val="0D274D"/>
              </a:solidFill>
              <a:latin typeface="CiscoSansTT ExtraLight"/>
            </a:endParaRPr>
          </a:p>
        </p:txBody>
      </p:sp>
      <p:sp>
        <p:nvSpPr>
          <p:cNvPr id="341" name="Rectangle 340">
            <a:extLst>
              <a:ext uri="{FF2B5EF4-FFF2-40B4-BE49-F238E27FC236}">
                <a16:creationId xmlns:a16="http://schemas.microsoft.com/office/drawing/2014/main" id="{51F74882-CC99-4C8C-85BF-85B4A1137F79}"/>
              </a:ext>
            </a:extLst>
          </p:cNvPr>
          <p:cNvSpPr/>
          <p:nvPr/>
        </p:nvSpPr>
        <p:spPr>
          <a:xfrm>
            <a:off x="5458267" y="1265547"/>
            <a:ext cx="509792"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Weldiya</a:t>
            </a:r>
            <a:endParaRPr lang="en-GB" sz="700" dirty="0">
              <a:solidFill>
                <a:srgbClr val="0D274D"/>
              </a:solidFill>
              <a:latin typeface="CiscoSansTT ExtraLight"/>
            </a:endParaRPr>
          </a:p>
        </p:txBody>
      </p: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10345" y="2217687"/>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53630" y="1812645"/>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10905" y="863403"/>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07293" y="277436"/>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64" name="Rectangle 363">
            <a:extLst>
              <a:ext uri="{FF2B5EF4-FFF2-40B4-BE49-F238E27FC236}">
                <a16:creationId xmlns:a16="http://schemas.microsoft.com/office/drawing/2014/main" id="{D2903FB7-AC88-4E4B-962C-B12310219D6D}"/>
              </a:ext>
            </a:extLst>
          </p:cNvPr>
          <p:cNvSpPr/>
          <p:nvPr/>
        </p:nvSpPr>
        <p:spPr>
          <a:xfrm>
            <a:off x="5150425" y="310062"/>
            <a:ext cx="509792"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dwa</a:t>
            </a:r>
            <a:endParaRPr lang="en-GB" sz="700" dirty="0">
              <a:solidFill>
                <a:srgbClr val="0D274D"/>
              </a:solidFill>
              <a:latin typeface="CiscoSansTT ExtraLight"/>
            </a:endParaRPr>
          </a:p>
        </p:txBody>
      </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05961" y="476107"/>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19794" y="393815"/>
            <a:ext cx="387498" cy="570698"/>
          </a:xfrm>
          <a:prstGeom prst="line">
            <a:avLst/>
          </a:prstGeom>
        </p:spPr>
        <p:style>
          <a:lnRef idx="1">
            <a:schemeClr val="accent6"/>
          </a:lnRef>
          <a:fillRef idx="0">
            <a:schemeClr val="accent6"/>
          </a:fillRef>
          <a:effectRef idx="0">
            <a:schemeClr val="accent6"/>
          </a:effectRef>
          <a:fontRef idx="minor">
            <a:schemeClr val="tx1"/>
          </a:fontRef>
        </p:style>
      </p:cxnSp>
      <p:sp>
        <p:nvSpPr>
          <p:cNvPr id="369" name="Rectangle 368">
            <a:extLst>
              <a:ext uri="{FF2B5EF4-FFF2-40B4-BE49-F238E27FC236}">
                <a16:creationId xmlns:a16="http://schemas.microsoft.com/office/drawing/2014/main" id="{FDD4BC22-9226-4261-8A6E-8739900D1EAD}"/>
              </a:ext>
            </a:extLst>
          </p:cNvPr>
          <p:cNvSpPr/>
          <p:nvPr/>
        </p:nvSpPr>
        <p:spPr>
          <a:xfrm>
            <a:off x="4629697" y="1075075"/>
            <a:ext cx="509792"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Woreta</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5D47FE4B-2F88-47D6-8627-8FC421B14E6A}"/>
              </a:ext>
            </a:extLst>
          </p:cNvPr>
          <p:cNvSpPr/>
          <p:nvPr/>
        </p:nvSpPr>
        <p:spPr>
          <a:xfrm>
            <a:off x="4694570" y="1816872"/>
            <a:ext cx="552669" cy="18095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Debrema-rikos</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947B7C63-5583-49FE-A04E-88B3FD10CECC}"/>
              </a:ext>
            </a:extLst>
          </p:cNvPr>
          <p:cNvSpPr/>
          <p:nvPr/>
        </p:nvSpPr>
        <p:spPr>
          <a:xfrm>
            <a:off x="3559438" y="1727126"/>
            <a:ext cx="509792"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ure</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34866FCB-F59A-4668-9AD5-C54F15C34A6F}"/>
              </a:ext>
            </a:extLst>
          </p:cNvPr>
          <p:cNvSpPr/>
          <p:nvPr/>
        </p:nvSpPr>
        <p:spPr>
          <a:xfrm>
            <a:off x="3953545" y="703915"/>
            <a:ext cx="523736" cy="10188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etema</a:t>
            </a:r>
            <a:endParaRPr lang="en-GB" sz="700" dirty="0">
              <a:solidFill>
                <a:srgbClr val="0D274D"/>
              </a:solidFill>
              <a:latin typeface="CiscoSansTT ExtraLight"/>
            </a:endParaRPr>
          </a:p>
        </p:txBody>
      </p:sp>
      <p:grpSp>
        <p:nvGrpSpPr>
          <p:cNvPr id="373" name="Group 372">
            <a:extLst>
              <a:ext uri="{FF2B5EF4-FFF2-40B4-BE49-F238E27FC236}">
                <a16:creationId xmlns:a16="http://schemas.microsoft.com/office/drawing/2014/main" id="{DB04E06A-F909-4B66-9118-74A718DA3807}"/>
              </a:ext>
            </a:extLst>
          </p:cNvPr>
          <p:cNvGrpSpPr/>
          <p:nvPr/>
        </p:nvGrpSpPr>
        <p:grpSpPr>
          <a:xfrm>
            <a:off x="5373964" y="2019017"/>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81" name="Rectangle 380">
            <a:extLst>
              <a:ext uri="{FF2B5EF4-FFF2-40B4-BE49-F238E27FC236}">
                <a16:creationId xmlns:a16="http://schemas.microsoft.com/office/drawing/2014/main" id="{8A4D78E5-7344-45FD-80AC-C60BD58EE1DD}"/>
              </a:ext>
            </a:extLst>
          </p:cNvPr>
          <p:cNvSpPr/>
          <p:nvPr/>
        </p:nvSpPr>
        <p:spPr>
          <a:xfrm>
            <a:off x="5618105" y="2026311"/>
            <a:ext cx="497836" cy="2254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a:solidFill>
                  <a:srgbClr val="0D274D"/>
                </a:solidFill>
                <a:latin typeface="CiscoSansTT ExtraLight"/>
              </a:rPr>
              <a:t>Shewa-</a:t>
            </a:r>
            <a:r>
              <a:rPr lang="en-GB" sz="700" dirty="0" err="1">
                <a:solidFill>
                  <a:srgbClr val="0D274D"/>
                </a:solidFill>
                <a:latin typeface="CiscoSansTT ExtraLight"/>
              </a:rPr>
              <a:t>Robit</a:t>
            </a:r>
            <a:endParaRPr lang="en-GB" sz="700" dirty="0">
              <a:solidFill>
                <a:srgbClr val="0D274D"/>
              </a:solidFill>
              <a:latin typeface="CiscoSansTT ExtraLight"/>
            </a:endParaRPr>
          </a:p>
        </p:txBody>
      </p:sp>
      <p:grpSp>
        <p:nvGrpSpPr>
          <p:cNvPr id="206" name="Group 205">
            <a:extLst>
              <a:ext uri="{FF2B5EF4-FFF2-40B4-BE49-F238E27FC236}">
                <a16:creationId xmlns:a16="http://schemas.microsoft.com/office/drawing/2014/main" id="{11584B8D-05B0-4D7E-8413-94BAE7CDFE03}"/>
              </a:ext>
            </a:extLst>
          </p:cNvPr>
          <p:cNvGrpSpPr/>
          <p:nvPr/>
        </p:nvGrpSpPr>
        <p:grpSpPr>
          <a:xfrm>
            <a:off x="3790561" y="2779388"/>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72" name="Group 271">
            <a:extLst>
              <a:ext uri="{FF2B5EF4-FFF2-40B4-BE49-F238E27FC236}">
                <a16:creationId xmlns:a16="http://schemas.microsoft.com/office/drawing/2014/main" id="{E9BC3174-1A75-4DCB-907C-D37F39F73F34}"/>
              </a:ext>
            </a:extLst>
          </p:cNvPr>
          <p:cNvGrpSpPr/>
          <p:nvPr/>
        </p:nvGrpSpPr>
        <p:grpSpPr>
          <a:xfrm>
            <a:off x="6162061" y="1270285"/>
            <a:ext cx="232754" cy="232756"/>
            <a:chOff x="4083769" y="2552776"/>
            <a:chExt cx="529089" cy="529089"/>
          </a:xfrm>
        </p:grpSpPr>
        <p:sp>
          <p:nvSpPr>
            <p:cNvPr id="273" name="Oval 272">
              <a:extLst>
                <a:ext uri="{FF2B5EF4-FFF2-40B4-BE49-F238E27FC236}">
                  <a16:creationId xmlns:a16="http://schemas.microsoft.com/office/drawing/2014/main" id="{86F32A9E-D450-468F-B982-FC2EFE81B64B}"/>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4" name="Freeform: Shape 298">
              <a:extLst>
                <a:ext uri="{FF2B5EF4-FFF2-40B4-BE49-F238E27FC236}">
                  <a16:creationId xmlns:a16="http://schemas.microsoft.com/office/drawing/2014/main" id="{5F076FC6-F1BA-4339-B45A-DA1855FBFAB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75" name="Freeform: Shape 299">
              <a:extLst>
                <a:ext uri="{FF2B5EF4-FFF2-40B4-BE49-F238E27FC236}">
                  <a16:creationId xmlns:a16="http://schemas.microsoft.com/office/drawing/2014/main" id="{DF2BD81A-21F2-48A1-9649-A524413066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76" name="Freeform: Shape 301">
              <a:extLst>
                <a:ext uri="{FF2B5EF4-FFF2-40B4-BE49-F238E27FC236}">
                  <a16:creationId xmlns:a16="http://schemas.microsoft.com/office/drawing/2014/main" id="{B6119B35-809A-430F-AB63-AFF277D72D4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3" name="Freeform: Shape 302">
              <a:extLst>
                <a:ext uri="{FF2B5EF4-FFF2-40B4-BE49-F238E27FC236}">
                  <a16:creationId xmlns:a16="http://schemas.microsoft.com/office/drawing/2014/main" id="{146B9B48-2EA4-4447-B300-842C0E8CFDD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 name="Straight Connector 4">
            <a:extLst>
              <a:ext uri="{FF2B5EF4-FFF2-40B4-BE49-F238E27FC236}">
                <a16:creationId xmlns:a16="http://schemas.microsoft.com/office/drawing/2014/main" id="{A8625418-61A6-41DD-BB75-9B5E334E6A19}"/>
              </a:ext>
            </a:extLst>
          </p:cNvPr>
          <p:cNvCxnSpPr>
            <a:stCxn id="127" idx="7"/>
            <a:endCxn id="273" idx="2"/>
          </p:cNvCxnSpPr>
          <p:nvPr/>
        </p:nvCxnSpPr>
        <p:spPr>
          <a:xfrm flipV="1">
            <a:off x="5894429" y="1386662"/>
            <a:ext cx="267633" cy="162310"/>
          </a:xfrm>
          <a:prstGeom prst="line">
            <a:avLst/>
          </a:prstGeom>
        </p:spPr>
        <p:style>
          <a:lnRef idx="1">
            <a:schemeClr val="accent6"/>
          </a:lnRef>
          <a:fillRef idx="0">
            <a:schemeClr val="accent6"/>
          </a:fillRef>
          <a:effectRef idx="0">
            <a:schemeClr val="accent6"/>
          </a:effectRef>
          <a:fontRef idx="minor">
            <a:schemeClr val="tx1"/>
          </a:fontRef>
        </p:style>
      </p:cxnSp>
      <p:sp>
        <p:nvSpPr>
          <p:cNvPr id="297" name="Rectangle 296">
            <a:extLst>
              <a:ext uri="{FF2B5EF4-FFF2-40B4-BE49-F238E27FC236}">
                <a16:creationId xmlns:a16="http://schemas.microsoft.com/office/drawing/2014/main" id="{5184DFC0-4DC5-4250-BE56-578B3D52D413}"/>
              </a:ext>
            </a:extLst>
          </p:cNvPr>
          <p:cNvSpPr/>
          <p:nvPr/>
        </p:nvSpPr>
        <p:spPr>
          <a:xfrm>
            <a:off x="6209901" y="1129518"/>
            <a:ext cx="523736" cy="10188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lafi</a:t>
            </a:r>
            <a:endParaRPr lang="en-GB" sz="700" dirty="0">
              <a:solidFill>
                <a:srgbClr val="0D274D"/>
              </a:solidFill>
              <a:latin typeface="CiscoSansTT ExtraLight"/>
            </a:endParaRPr>
          </a:p>
        </p:txBody>
      </p:sp>
    </p:spTree>
    <p:extLst>
      <p:ext uri="{BB962C8B-B14F-4D97-AF65-F5344CB8AC3E}">
        <p14:creationId xmlns:p14="http://schemas.microsoft.com/office/powerpoint/2010/main" val="316539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7774E285-C342-9B48-AC15-FC268B6377E7}"/>
              </a:ext>
            </a:extLst>
          </p:cNvPr>
          <p:cNvGrpSpPr/>
          <p:nvPr/>
        </p:nvGrpSpPr>
        <p:grpSpPr>
          <a:xfrm>
            <a:off x="4270324" y="1646938"/>
            <a:ext cx="570281" cy="565034"/>
            <a:chOff x="5928631" y="4152764"/>
            <a:chExt cx="787502" cy="780256"/>
          </a:xfrm>
        </p:grpSpPr>
        <p:sp>
          <p:nvSpPr>
            <p:cNvPr id="12" name="Oval 11">
              <a:extLst>
                <a:ext uri="{FF2B5EF4-FFF2-40B4-BE49-F238E27FC236}">
                  <a16:creationId xmlns:a16="http://schemas.microsoft.com/office/drawing/2014/main" id="{74EA1622-C093-C04A-AC42-DE2BD0554684}"/>
                </a:ext>
              </a:extLst>
            </p:cNvPr>
            <p:cNvSpPr/>
            <p:nvPr/>
          </p:nvSpPr>
          <p:spPr>
            <a:xfrm>
              <a:off x="5928631" y="4152764"/>
              <a:ext cx="787502" cy="780256"/>
            </a:xfrm>
            <a:prstGeom prst="ellipse">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grpSp>
          <p:nvGrpSpPr>
            <p:cNvPr id="13" name="Group 33">
              <a:extLst>
                <a:ext uri="{FF2B5EF4-FFF2-40B4-BE49-F238E27FC236}">
                  <a16:creationId xmlns:a16="http://schemas.microsoft.com/office/drawing/2014/main" id="{31EA8A43-903C-8D4D-98DD-42A09220B9DB}"/>
                </a:ext>
              </a:extLst>
            </p:cNvPr>
            <p:cNvGrpSpPr>
              <a:grpSpLocks noChangeAspect="1"/>
            </p:cNvGrpSpPr>
            <p:nvPr/>
          </p:nvGrpSpPr>
          <p:grpSpPr bwMode="auto">
            <a:xfrm>
              <a:off x="6029444" y="4340131"/>
              <a:ext cx="585876" cy="405523"/>
              <a:chOff x="5103" y="2887"/>
              <a:chExt cx="536" cy="371"/>
            </a:xfrm>
          </p:grpSpPr>
          <p:sp>
            <p:nvSpPr>
              <p:cNvPr id="14" name="Freeform 34">
                <a:extLst>
                  <a:ext uri="{FF2B5EF4-FFF2-40B4-BE49-F238E27FC236}">
                    <a16:creationId xmlns:a16="http://schemas.microsoft.com/office/drawing/2014/main" id="{CC905329-61A6-654B-9D51-86D41823D854}"/>
                  </a:ext>
                </a:extLst>
              </p:cNvPr>
              <p:cNvSpPr>
                <a:spLocks/>
              </p:cNvSpPr>
              <p:nvPr/>
            </p:nvSpPr>
            <p:spPr bwMode="auto">
              <a:xfrm>
                <a:off x="5103" y="2887"/>
                <a:ext cx="536" cy="371"/>
              </a:xfrm>
              <a:custGeom>
                <a:avLst/>
                <a:gdLst>
                  <a:gd name="T0" fmla="*/ 184 w 184"/>
                  <a:gd name="T1" fmla="*/ 63 h 127"/>
                  <a:gd name="T2" fmla="*/ 92 w 184"/>
                  <a:gd name="T3" fmla="*/ 127 h 127"/>
                  <a:gd name="T4" fmla="*/ 0 w 184"/>
                  <a:gd name="T5" fmla="*/ 63 h 127"/>
                  <a:gd name="T6" fmla="*/ 92 w 184"/>
                  <a:gd name="T7" fmla="*/ 0 h 127"/>
                  <a:gd name="T8" fmla="*/ 184 w 184"/>
                  <a:gd name="T9" fmla="*/ 63 h 127"/>
                </a:gdLst>
                <a:ahLst/>
                <a:cxnLst>
                  <a:cxn ang="0">
                    <a:pos x="T0" y="T1"/>
                  </a:cxn>
                  <a:cxn ang="0">
                    <a:pos x="T2" y="T3"/>
                  </a:cxn>
                  <a:cxn ang="0">
                    <a:pos x="T4" y="T5"/>
                  </a:cxn>
                  <a:cxn ang="0">
                    <a:pos x="T6" y="T7"/>
                  </a:cxn>
                  <a:cxn ang="0">
                    <a:pos x="T8" y="T9"/>
                  </a:cxn>
                </a:cxnLst>
                <a:rect l="0" t="0" r="r" b="b"/>
                <a:pathLst>
                  <a:path w="184" h="127">
                    <a:moveTo>
                      <a:pt x="184" y="63"/>
                    </a:moveTo>
                    <a:cubicBezTo>
                      <a:pt x="184" y="63"/>
                      <a:pt x="143" y="127"/>
                      <a:pt x="92" y="127"/>
                    </a:cubicBezTo>
                    <a:cubicBezTo>
                      <a:pt x="42" y="127"/>
                      <a:pt x="0" y="63"/>
                      <a:pt x="0" y="63"/>
                    </a:cubicBezTo>
                    <a:cubicBezTo>
                      <a:pt x="0" y="63"/>
                      <a:pt x="41" y="0"/>
                      <a:pt x="92" y="0"/>
                    </a:cubicBezTo>
                    <a:cubicBezTo>
                      <a:pt x="142" y="0"/>
                      <a:pt x="184" y="63"/>
                      <a:pt x="184" y="63"/>
                    </a:cubicBezTo>
                    <a:close/>
                  </a:path>
                </a:pathLst>
              </a:custGeom>
              <a:noFill/>
              <a:ln w="222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35">
                <a:extLst>
                  <a:ext uri="{FF2B5EF4-FFF2-40B4-BE49-F238E27FC236}">
                    <a16:creationId xmlns:a16="http://schemas.microsoft.com/office/drawing/2014/main" id="{34917CFD-19DC-664F-A43C-49A99D5A3275}"/>
                  </a:ext>
                </a:extLst>
              </p:cNvPr>
              <p:cNvSpPr>
                <a:spLocks/>
              </p:cNvSpPr>
              <p:nvPr/>
            </p:nvSpPr>
            <p:spPr bwMode="auto">
              <a:xfrm>
                <a:off x="5293" y="2995"/>
                <a:ext cx="160" cy="155"/>
              </a:xfrm>
              <a:custGeom>
                <a:avLst/>
                <a:gdLst>
                  <a:gd name="T0" fmla="*/ 28 w 55"/>
                  <a:gd name="T1" fmla="*/ 0 h 53"/>
                  <a:gd name="T2" fmla="*/ 16 w 55"/>
                  <a:gd name="T3" fmla="*/ 2 h 53"/>
                  <a:gd name="T4" fmla="*/ 19 w 55"/>
                  <a:gd name="T5" fmla="*/ 10 h 53"/>
                  <a:gd name="T6" fmla="*/ 6 w 55"/>
                  <a:gd name="T7" fmla="*/ 22 h 53"/>
                  <a:gd name="T8" fmla="*/ 1 w 55"/>
                  <a:gd name="T9" fmla="*/ 21 h 53"/>
                  <a:gd name="T10" fmla="*/ 0 w 55"/>
                  <a:gd name="T11" fmla="*/ 26 h 53"/>
                  <a:gd name="T12" fmla="*/ 28 w 55"/>
                  <a:gd name="T13" fmla="*/ 53 h 53"/>
                  <a:gd name="T14" fmla="*/ 55 w 55"/>
                  <a:gd name="T15" fmla="*/ 26 h 53"/>
                  <a:gd name="T16" fmla="*/ 28 w 55"/>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3">
                    <a:moveTo>
                      <a:pt x="28" y="0"/>
                    </a:moveTo>
                    <a:cubicBezTo>
                      <a:pt x="23" y="0"/>
                      <a:pt x="19" y="1"/>
                      <a:pt x="16" y="2"/>
                    </a:cubicBezTo>
                    <a:cubicBezTo>
                      <a:pt x="18" y="4"/>
                      <a:pt x="19" y="7"/>
                      <a:pt x="19" y="10"/>
                    </a:cubicBezTo>
                    <a:cubicBezTo>
                      <a:pt x="19" y="16"/>
                      <a:pt x="13" y="22"/>
                      <a:pt x="6" y="22"/>
                    </a:cubicBezTo>
                    <a:cubicBezTo>
                      <a:pt x="4" y="22"/>
                      <a:pt x="2" y="22"/>
                      <a:pt x="1" y="21"/>
                    </a:cubicBezTo>
                    <a:cubicBezTo>
                      <a:pt x="0" y="23"/>
                      <a:pt x="0" y="25"/>
                      <a:pt x="0" y="26"/>
                    </a:cubicBezTo>
                    <a:cubicBezTo>
                      <a:pt x="0" y="41"/>
                      <a:pt x="12" y="53"/>
                      <a:pt x="28" y="53"/>
                    </a:cubicBezTo>
                    <a:cubicBezTo>
                      <a:pt x="43" y="53"/>
                      <a:pt x="55" y="41"/>
                      <a:pt x="55" y="26"/>
                    </a:cubicBezTo>
                    <a:cubicBezTo>
                      <a:pt x="55" y="12"/>
                      <a:pt x="43" y="0"/>
                      <a:pt x="28" y="0"/>
                    </a:cubicBezTo>
                    <a:close/>
                  </a:path>
                </a:pathLst>
              </a:custGeom>
              <a:noFill/>
              <a:ln w="222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36">
                <a:extLst>
                  <a:ext uri="{FF2B5EF4-FFF2-40B4-BE49-F238E27FC236}">
                    <a16:creationId xmlns:a16="http://schemas.microsoft.com/office/drawing/2014/main" id="{3884D1B6-7A4B-044A-A8BF-31648E8C9EE6}"/>
                  </a:ext>
                </a:extLst>
              </p:cNvPr>
              <p:cNvSpPr>
                <a:spLocks/>
              </p:cNvSpPr>
              <p:nvPr/>
            </p:nvSpPr>
            <p:spPr bwMode="auto">
              <a:xfrm>
                <a:off x="5453" y="2945"/>
                <a:ext cx="70" cy="258"/>
              </a:xfrm>
              <a:custGeom>
                <a:avLst/>
                <a:gdLst>
                  <a:gd name="T0" fmla="*/ 0 w 24"/>
                  <a:gd name="T1" fmla="*/ 88 h 88"/>
                  <a:gd name="T2" fmla="*/ 24 w 24"/>
                  <a:gd name="T3" fmla="*/ 44 h 88"/>
                  <a:gd name="T4" fmla="*/ 0 w 24"/>
                  <a:gd name="T5" fmla="*/ 0 h 88"/>
                </a:gdLst>
                <a:ahLst/>
                <a:cxnLst>
                  <a:cxn ang="0">
                    <a:pos x="T0" y="T1"/>
                  </a:cxn>
                  <a:cxn ang="0">
                    <a:pos x="T2" y="T3"/>
                  </a:cxn>
                  <a:cxn ang="0">
                    <a:pos x="T4" y="T5"/>
                  </a:cxn>
                </a:cxnLst>
                <a:rect l="0" t="0" r="r" b="b"/>
                <a:pathLst>
                  <a:path w="24" h="88">
                    <a:moveTo>
                      <a:pt x="0" y="88"/>
                    </a:moveTo>
                    <a:cubicBezTo>
                      <a:pt x="14" y="80"/>
                      <a:pt x="24" y="62"/>
                      <a:pt x="24" y="44"/>
                    </a:cubicBezTo>
                    <a:cubicBezTo>
                      <a:pt x="24" y="26"/>
                      <a:pt x="14" y="8"/>
                      <a:pt x="0" y="0"/>
                    </a:cubicBezTo>
                  </a:path>
                </a:pathLst>
              </a:custGeom>
              <a:noFill/>
              <a:ln w="222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37">
                <a:extLst>
                  <a:ext uri="{FF2B5EF4-FFF2-40B4-BE49-F238E27FC236}">
                    <a16:creationId xmlns:a16="http://schemas.microsoft.com/office/drawing/2014/main" id="{09737373-8DD7-3641-94BB-D0B683B4E643}"/>
                  </a:ext>
                </a:extLst>
              </p:cNvPr>
              <p:cNvSpPr>
                <a:spLocks/>
              </p:cNvSpPr>
              <p:nvPr/>
            </p:nvSpPr>
            <p:spPr bwMode="auto">
              <a:xfrm>
                <a:off x="5220" y="2945"/>
                <a:ext cx="70" cy="258"/>
              </a:xfrm>
              <a:custGeom>
                <a:avLst/>
                <a:gdLst>
                  <a:gd name="T0" fmla="*/ 24 w 24"/>
                  <a:gd name="T1" fmla="*/ 0 h 88"/>
                  <a:gd name="T2" fmla="*/ 0 w 24"/>
                  <a:gd name="T3" fmla="*/ 44 h 88"/>
                  <a:gd name="T4" fmla="*/ 24 w 24"/>
                  <a:gd name="T5" fmla="*/ 88 h 88"/>
                </a:gdLst>
                <a:ahLst/>
                <a:cxnLst>
                  <a:cxn ang="0">
                    <a:pos x="T0" y="T1"/>
                  </a:cxn>
                  <a:cxn ang="0">
                    <a:pos x="T2" y="T3"/>
                  </a:cxn>
                  <a:cxn ang="0">
                    <a:pos x="T4" y="T5"/>
                  </a:cxn>
                </a:cxnLst>
                <a:rect l="0" t="0" r="r" b="b"/>
                <a:pathLst>
                  <a:path w="24" h="88">
                    <a:moveTo>
                      <a:pt x="24" y="0"/>
                    </a:moveTo>
                    <a:cubicBezTo>
                      <a:pt x="10" y="8"/>
                      <a:pt x="0" y="26"/>
                      <a:pt x="0" y="44"/>
                    </a:cubicBezTo>
                    <a:cubicBezTo>
                      <a:pt x="0" y="62"/>
                      <a:pt x="10" y="80"/>
                      <a:pt x="24" y="88"/>
                    </a:cubicBezTo>
                  </a:path>
                </a:pathLst>
              </a:custGeom>
              <a:noFill/>
              <a:ln w="222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8" name="Rectangle 17">
            <a:extLst>
              <a:ext uri="{FF2B5EF4-FFF2-40B4-BE49-F238E27FC236}">
                <a16:creationId xmlns:a16="http://schemas.microsoft.com/office/drawing/2014/main" id="{9BB1B9E6-3254-0147-BEFF-9964DF74EC33}"/>
              </a:ext>
            </a:extLst>
          </p:cNvPr>
          <p:cNvSpPr/>
          <p:nvPr/>
        </p:nvSpPr>
        <p:spPr>
          <a:xfrm>
            <a:off x="2992494" y="1741389"/>
            <a:ext cx="1408444" cy="369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GB" sz="1200" b="1" dirty="0">
                <a:solidFill>
                  <a:schemeClr val="accent3"/>
                </a:solidFill>
              </a:rPr>
              <a:t>Visibility and Analytics</a:t>
            </a:r>
          </a:p>
        </p:txBody>
      </p:sp>
      <p:sp>
        <p:nvSpPr>
          <p:cNvPr id="30" name="Rectangle 29">
            <a:extLst>
              <a:ext uri="{FF2B5EF4-FFF2-40B4-BE49-F238E27FC236}">
                <a16:creationId xmlns:a16="http://schemas.microsoft.com/office/drawing/2014/main" id="{11B3806F-5168-FC4D-AEF0-E42AB3B06096}"/>
              </a:ext>
            </a:extLst>
          </p:cNvPr>
          <p:cNvSpPr/>
          <p:nvPr/>
        </p:nvSpPr>
        <p:spPr>
          <a:xfrm rot="18726828">
            <a:off x="2878341" y="2694344"/>
            <a:ext cx="1408444" cy="1846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GB" sz="1200" b="1" dirty="0">
                <a:solidFill>
                  <a:schemeClr val="accent3"/>
                </a:solidFill>
              </a:rPr>
              <a:t>Fast, Easy</a:t>
            </a:r>
          </a:p>
        </p:txBody>
      </p:sp>
      <p:sp>
        <p:nvSpPr>
          <p:cNvPr id="33" name="Rectangle 32">
            <a:extLst>
              <a:ext uri="{FF2B5EF4-FFF2-40B4-BE49-F238E27FC236}">
                <a16:creationId xmlns:a16="http://schemas.microsoft.com/office/drawing/2014/main" id="{24529F72-7E9C-8440-98BC-C6304FDE2A12}"/>
              </a:ext>
            </a:extLst>
          </p:cNvPr>
          <p:cNvSpPr/>
          <p:nvPr/>
        </p:nvSpPr>
        <p:spPr>
          <a:xfrm rot="2937554">
            <a:off x="4388670" y="2543689"/>
            <a:ext cx="2397251"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GB" sz="1100" b="1" dirty="0">
                <a:solidFill>
                  <a:schemeClr val="accent3"/>
                </a:solidFill>
              </a:rPr>
              <a:t>As much as possible</a:t>
            </a:r>
          </a:p>
          <a:p>
            <a:pPr algn="ctr"/>
            <a:r>
              <a:rPr lang="en-GB" sz="1100" b="1" dirty="0">
                <a:solidFill>
                  <a:schemeClr val="accent3"/>
                </a:solidFill>
              </a:rPr>
              <a:t>Deterministic</a:t>
            </a:r>
          </a:p>
        </p:txBody>
      </p:sp>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Model-driven Telemetry</a:t>
            </a:r>
          </a:p>
        </p:txBody>
      </p:sp>
      <p:grpSp>
        <p:nvGrpSpPr>
          <p:cNvPr id="238" name="Group 237">
            <a:extLst>
              <a:ext uri="{FF2B5EF4-FFF2-40B4-BE49-F238E27FC236}">
                <a16:creationId xmlns:a16="http://schemas.microsoft.com/office/drawing/2014/main" id="{89107831-B10C-F340-9BBC-7CB5F1AC63CE}"/>
              </a:ext>
            </a:extLst>
          </p:cNvPr>
          <p:cNvGrpSpPr/>
          <p:nvPr/>
        </p:nvGrpSpPr>
        <p:grpSpPr>
          <a:xfrm>
            <a:off x="683294" y="3296655"/>
            <a:ext cx="7368255" cy="1567451"/>
            <a:chOff x="740499" y="3689987"/>
            <a:chExt cx="8055199" cy="1713585"/>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40499" y="3689987"/>
              <a:ext cx="8055199" cy="1713585"/>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365783" y="4911881"/>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899830" y="4400129"/>
              <a:ext cx="429692" cy="97632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91284" y="3994225"/>
              <a:ext cx="956555" cy="234534"/>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554328" y="3984919"/>
              <a:ext cx="956555" cy="184273"/>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916614" y="3925952"/>
              <a:ext cx="723787" cy="184273"/>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775294" y="3773038"/>
              <a:ext cx="281904"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52300" y="3773038"/>
              <a:ext cx="281904"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413797" y="3773038"/>
              <a:ext cx="281904"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742114" y="4564467"/>
              <a:ext cx="789338" cy="387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365783" y="4377403"/>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2F9707CA-3AD5-6044-86ED-C23289FBB0DD}"/>
                </a:ext>
              </a:extLst>
            </p:cNvPr>
            <p:cNvSpPr txBox="1"/>
            <p:nvPr/>
          </p:nvSpPr>
          <p:spPr>
            <a:xfrm>
              <a:off x="933084" y="4995728"/>
              <a:ext cx="503663" cy="230832"/>
            </a:xfrm>
            <a:prstGeom prst="rect">
              <a:avLst/>
            </a:prstGeom>
            <a:noFill/>
          </p:spPr>
          <p:txBody>
            <a:bodyPr wrap="none" rtlCol="0">
              <a:spAutoFit/>
            </a:bodyPr>
            <a:lstStyle/>
            <a:p>
              <a:pPr algn="r"/>
              <a:r>
                <a:rPr lang="en-US" sz="450" dirty="0">
                  <a:latin typeface="+mj-lt"/>
                </a:rPr>
                <a:t>Business </a:t>
              </a:r>
            </a:p>
            <a:p>
              <a:pPr algn="r"/>
              <a:r>
                <a:rPr lang="en-US" sz="450" dirty="0">
                  <a:latin typeface="+mj-lt"/>
                </a:rPr>
                <a:t>Connectivity</a:t>
              </a:r>
            </a:p>
          </p:txBody>
        </p:sp>
        <p:sp>
          <p:nvSpPr>
            <p:cNvPr id="70" name="TextBox 69">
              <a:extLst>
                <a:ext uri="{FF2B5EF4-FFF2-40B4-BE49-F238E27FC236}">
                  <a16:creationId xmlns:a16="http://schemas.microsoft.com/office/drawing/2014/main" id="{20B85FE0-21B2-3B42-AC52-C4DDBB9B3323}"/>
                </a:ext>
              </a:extLst>
            </p:cNvPr>
            <p:cNvSpPr txBox="1"/>
            <p:nvPr/>
          </p:nvSpPr>
          <p:spPr>
            <a:xfrm>
              <a:off x="933084" y="4443411"/>
              <a:ext cx="503663" cy="230832"/>
            </a:xfrm>
            <a:prstGeom prst="rect">
              <a:avLst/>
            </a:prstGeom>
            <a:noFill/>
          </p:spPr>
          <p:txBody>
            <a:bodyPr wrap="none" rtlCol="0">
              <a:spAutoFit/>
            </a:bodyPr>
            <a:lstStyle/>
            <a:p>
              <a:pPr algn="r"/>
              <a:r>
                <a:rPr lang="en-US" sz="450" dirty="0">
                  <a:latin typeface="+mj-lt"/>
                </a:rPr>
                <a:t>Residential</a:t>
              </a:r>
            </a:p>
            <a:p>
              <a:pPr algn="r"/>
              <a:r>
                <a:rPr lang="en-US" sz="450" dirty="0">
                  <a:latin typeface="+mj-lt"/>
                </a:rPr>
                <a:t>Connectivity</a:t>
              </a:r>
            </a:p>
          </p:txBody>
        </p:sp>
        <p:sp>
          <p:nvSpPr>
            <p:cNvPr id="71" name="TextBox 70">
              <a:extLst>
                <a:ext uri="{FF2B5EF4-FFF2-40B4-BE49-F238E27FC236}">
                  <a16:creationId xmlns:a16="http://schemas.microsoft.com/office/drawing/2014/main" id="{159BF128-9202-AD40-ACC3-5600094AE7EE}"/>
                </a:ext>
              </a:extLst>
            </p:cNvPr>
            <p:cNvSpPr txBox="1"/>
            <p:nvPr/>
          </p:nvSpPr>
          <p:spPr>
            <a:xfrm>
              <a:off x="1300882" y="4757115"/>
              <a:ext cx="511679" cy="196208"/>
            </a:xfrm>
            <a:prstGeom prst="rect">
              <a:avLst/>
            </a:prstGeom>
            <a:noFill/>
          </p:spPr>
          <p:txBody>
            <a:bodyPr wrap="none" rtlCol="0">
              <a:spAutoFit/>
            </a:bodyPr>
            <a:lstStyle/>
            <a:p>
              <a:pPr algn="r"/>
              <a:r>
                <a:rPr lang="en-US" sz="675" dirty="0">
                  <a:latin typeface="+mj-lt"/>
                  <a:cs typeface="CiscoSansTT" panose="020B0503020201020303" pitchFamily="34" charset="0"/>
                </a:rPr>
                <a:t>Ethernet</a:t>
              </a:r>
            </a:p>
          </p:txBody>
        </p:sp>
        <p:sp>
          <p:nvSpPr>
            <p:cNvPr id="72" name="Rectangle 71">
              <a:extLst>
                <a:ext uri="{FF2B5EF4-FFF2-40B4-BE49-F238E27FC236}">
                  <a16:creationId xmlns:a16="http://schemas.microsoft.com/office/drawing/2014/main" id="{A073F317-1B2A-6540-BBB9-29F63BE4A38B}"/>
                </a:ext>
              </a:extLst>
            </p:cNvPr>
            <p:cNvSpPr/>
            <p:nvPr/>
          </p:nvSpPr>
          <p:spPr>
            <a:xfrm>
              <a:off x="1274432" y="4217084"/>
              <a:ext cx="564578" cy="196208"/>
            </a:xfrm>
            <a:prstGeom prst="rect">
              <a:avLst/>
            </a:prstGeom>
          </p:spPr>
          <p:txBody>
            <a:bodyPr wrap="none">
              <a:spAutoFit/>
            </a:bodyPr>
            <a:lstStyle/>
            <a:p>
              <a:pPr algn="ctr"/>
              <a:r>
                <a:rPr lang="en-US" sz="675" dirty="0">
                  <a:latin typeface="+mj-lt"/>
                  <a:cs typeface="CiscoSansTT" panose="020B0503020201020303" pitchFamily="34" charset="0"/>
                </a:rPr>
                <a:t>DSL/PON</a:t>
              </a:r>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6395170" y="3899086"/>
              <a:ext cx="1354565" cy="996478"/>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859946" y="3899087"/>
              <a:ext cx="1650330" cy="994067"/>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319606" y="3937998"/>
              <a:ext cx="1650332" cy="994066"/>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912998" y="4033955"/>
              <a:ext cx="1630470" cy="818938"/>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347511" y="4283691"/>
              <a:ext cx="567784" cy="230832"/>
            </a:xfrm>
            <a:prstGeom prst="rect">
              <a:avLst/>
            </a:prstGeom>
            <a:noFill/>
          </p:spPr>
          <p:txBody>
            <a:bodyPr wrap="none" rtlCol="0">
              <a:spAutoFit/>
            </a:bodyPr>
            <a:lstStyle/>
            <a:p>
              <a:pPr algn="ctr"/>
              <a:r>
                <a:rPr lang="en-US" sz="900"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725248" y="4283691"/>
              <a:ext cx="1043876" cy="230832"/>
            </a:xfrm>
            <a:prstGeom prst="rect">
              <a:avLst/>
            </a:prstGeom>
            <a:noFill/>
          </p:spPr>
          <p:txBody>
            <a:bodyPr wrap="none" rtlCol="0">
              <a:spAutoFit/>
            </a:bodyPr>
            <a:lstStyle/>
            <a:p>
              <a:pPr algn="ctr"/>
              <a:r>
                <a:rPr lang="en-US" sz="900"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6934444" y="4292027"/>
              <a:ext cx="439544" cy="230832"/>
            </a:xfrm>
            <a:prstGeom prst="rect">
              <a:avLst/>
            </a:prstGeom>
            <a:noFill/>
          </p:spPr>
          <p:txBody>
            <a:bodyPr wrap="none" rtlCol="0">
              <a:spAutoFit/>
            </a:bodyPr>
            <a:lstStyle/>
            <a:p>
              <a:pPr algn="ctr"/>
              <a:r>
                <a:rPr lang="en-US" sz="900" dirty="0">
                  <a:latin typeface="+mn-lt"/>
                </a:rPr>
                <a:t>Core</a:t>
              </a:r>
            </a:p>
          </p:txBody>
        </p:sp>
        <p:sp>
          <p:nvSpPr>
            <p:cNvPr id="116" name="TextBox 115">
              <a:extLst>
                <a:ext uri="{FF2B5EF4-FFF2-40B4-BE49-F238E27FC236}">
                  <a16:creationId xmlns:a16="http://schemas.microsoft.com/office/drawing/2014/main" id="{B5ADC648-7646-C845-A5F3-E9D1F6B36DB7}"/>
                </a:ext>
              </a:extLst>
            </p:cNvPr>
            <p:cNvSpPr txBox="1"/>
            <p:nvPr/>
          </p:nvSpPr>
          <p:spPr>
            <a:xfrm>
              <a:off x="5361801" y="4283691"/>
              <a:ext cx="819455" cy="230832"/>
            </a:xfrm>
            <a:prstGeom prst="rect">
              <a:avLst/>
            </a:prstGeom>
            <a:noFill/>
          </p:spPr>
          <p:txBody>
            <a:bodyPr wrap="none" rtlCol="0">
              <a:spAutoFit/>
            </a:bodyPr>
            <a:lstStyle/>
            <a:p>
              <a:pPr algn="ctr"/>
              <a:r>
                <a:rPr lang="en-US" sz="900" dirty="0">
                  <a:latin typeface="+mn-lt"/>
                </a:rPr>
                <a:t>Aggregation</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828644" y="3860175"/>
              <a:ext cx="175204" cy="107630"/>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463978" y="3859744"/>
              <a:ext cx="181542" cy="108492"/>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106304" y="3860176"/>
              <a:ext cx="173897" cy="107627"/>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294064" y="3837792"/>
              <a:ext cx="433812" cy="433812"/>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294064" y="4548046"/>
              <a:ext cx="433812" cy="433812"/>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770817" y="3837792"/>
              <a:ext cx="433812" cy="433812"/>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770817" y="4548046"/>
              <a:ext cx="433812" cy="433812"/>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8" name="Group 157">
              <a:extLst>
                <a:ext uri="{FF2B5EF4-FFF2-40B4-BE49-F238E27FC236}">
                  <a16:creationId xmlns:a16="http://schemas.microsoft.com/office/drawing/2014/main" id="{21BB08C0-1AE5-DE4F-8F76-996E48A26C02}"/>
                </a:ext>
              </a:extLst>
            </p:cNvPr>
            <p:cNvGrpSpPr/>
            <p:nvPr/>
          </p:nvGrpSpPr>
          <p:grpSpPr>
            <a:xfrm>
              <a:off x="6247570" y="3837792"/>
              <a:ext cx="433812" cy="433812"/>
              <a:chOff x="6073147" y="1416189"/>
              <a:chExt cx="507244" cy="507244"/>
            </a:xfrm>
          </p:grpSpPr>
          <p:sp>
            <p:nvSpPr>
              <p:cNvPr id="159" name="Oval 158">
                <a:extLst>
                  <a:ext uri="{FF2B5EF4-FFF2-40B4-BE49-F238E27FC236}">
                    <a16:creationId xmlns:a16="http://schemas.microsoft.com/office/drawing/2014/main" id="{20A542E4-2C07-8946-860B-8D8949F752E0}"/>
                  </a:ext>
                </a:extLst>
              </p:cNvPr>
              <p:cNvSpPr/>
              <p:nvPr/>
            </p:nvSpPr>
            <p:spPr>
              <a:xfrm>
                <a:off x="6073147"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0" name="Group 159">
                <a:extLst>
                  <a:ext uri="{FF2B5EF4-FFF2-40B4-BE49-F238E27FC236}">
                    <a16:creationId xmlns:a16="http://schemas.microsoft.com/office/drawing/2014/main" id="{7EF2977B-A9D9-4B44-9DB5-AEC1DB4DA29A}"/>
                  </a:ext>
                </a:extLst>
              </p:cNvPr>
              <p:cNvGrpSpPr/>
              <p:nvPr/>
            </p:nvGrpSpPr>
            <p:grpSpPr>
              <a:xfrm>
                <a:off x="6133089" y="1476131"/>
                <a:ext cx="387360" cy="387360"/>
                <a:chOff x="2652535" y="-3571486"/>
                <a:chExt cx="4882348" cy="4882348"/>
              </a:xfrm>
              <a:solidFill>
                <a:schemeClr val="bg2"/>
              </a:solidFill>
            </p:grpSpPr>
            <p:sp>
              <p:nvSpPr>
                <p:cNvPr id="161" name="Freeform: Shape 328">
                  <a:extLst>
                    <a:ext uri="{FF2B5EF4-FFF2-40B4-BE49-F238E27FC236}">
                      <a16:creationId xmlns:a16="http://schemas.microsoft.com/office/drawing/2014/main" id="{0956D2A8-86FC-9E4B-88C9-EE5BD0A098B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62" name="Freeform: Shape 329">
                  <a:extLst>
                    <a:ext uri="{FF2B5EF4-FFF2-40B4-BE49-F238E27FC236}">
                      <a16:creationId xmlns:a16="http://schemas.microsoft.com/office/drawing/2014/main" id="{56A3FD86-D233-5E4D-84ED-3001F708DD1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63" name="Group 162">
                  <a:extLst>
                    <a:ext uri="{FF2B5EF4-FFF2-40B4-BE49-F238E27FC236}">
                      <a16:creationId xmlns:a16="http://schemas.microsoft.com/office/drawing/2014/main" id="{5C58348C-AF34-3744-ACF9-2468A12E9583}"/>
                    </a:ext>
                  </a:extLst>
                </p:cNvPr>
                <p:cNvGrpSpPr/>
                <p:nvPr/>
              </p:nvGrpSpPr>
              <p:grpSpPr>
                <a:xfrm rot="5400000">
                  <a:off x="4197485" y="-3571486"/>
                  <a:ext cx="1792447" cy="4882348"/>
                  <a:chOff x="4197485" y="-3571486"/>
                  <a:chExt cx="1792447" cy="4882348"/>
                </a:xfrm>
                <a:grpFill/>
              </p:grpSpPr>
              <p:sp>
                <p:nvSpPr>
                  <p:cNvPr id="164" name="Freeform: Shape 331">
                    <a:extLst>
                      <a:ext uri="{FF2B5EF4-FFF2-40B4-BE49-F238E27FC236}">
                        <a16:creationId xmlns:a16="http://schemas.microsoft.com/office/drawing/2014/main" id="{8A5C82A1-4235-8B4E-A151-B783ADF0DCBF}"/>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65" name="Freeform: Shape 332">
                    <a:extLst>
                      <a:ext uri="{FF2B5EF4-FFF2-40B4-BE49-F238E27FC236}">
                        <a16:creationId xmlns:a16="http://schemas.microsoft.com/office/drawing/2014/main" id="{70BE1971-138A-EE4F-9A26-7498624F8D8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66" name="Group 165">
              <a:extLst>
                <a:ext uri="{FF2B5EF4-FFF2-40B4-BE49-F238E27FC236}">
                  <a16:creationId xmlns:a16="http://schemas.microsoft.com/office/drawing/2014/main" id="{31821EC0-141A-1B42-9C50-CB0F4014D959}"/>
                </a:ext>
              </a:extLst>
            </p:cNvPr>
            <p:cNvGrpSpPr/>
            <p:nvPr/>
          </p:nvGrpSpPr>
          <p:grpSpPr>
            <a:xfrm>
              <a:off x="6247570" y="4548046"/>
              <a:ext cx="433812" cy="433812"/>
              <a:chOff x="6073147" y="2126443"/>
              <a:chExt cx="507244" cy="507244"/>
            </a:xfrm>
          </p:grpSpPr>
          <p:sp>
            <p:nvSpPr>
              <p:cNvPr id="167" name="Oval 166">
                <a:extLst>
                  <a:ext uri="{FF2B5EF4-FFF2-40B4-BE49-F238E27FC236}">
                    <a16:creationId xmlns:a16="http://schemas.microsoft.com/office/drawing/2014/main" id="{3F5CED2A-4E04-D546-AD10-A25B1A78803F}"/>
                  </a:ext>
                </a:extLst>
              </p:cNvPr>
              <p:cNvSpPr/>
              <p:nvPr/>
            </p:nvSpPr>
            <p:spPr>
              <a:xfrm>
                <a:off x="6073147"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8" name="Group 167">
                <a:extLst>
                  <a:ext uri="{FF2B5EF4-FFF2-40B4-BE49-F238E27FC236}">
                    <a16:creationId xmlns:a16="http://schemas.microsoft.com/office/drawing/2014/main" id="{61D9D8A1-8B8E-944B-A888-BA7B4523F6F6}"/>
                  </a:ext>
                </a:extLst>
              </p:cNvPr>
              <p:cNvGrpSpPr/>
              <p:nvPr/>
            </p:nvGrpSpPr>
            <p:grpSpPr>
              <a:xfrm>
                <a:off x="6133089" y="2186385"/>
                <a:ext cx="387360" cy="387360"/>
                <a:chOff x="2652535" y="-3571486"/>
                <a:chExt cx="4882348" cy="4882348"/>
              </a:xfrm>
              <a:solidFill>
                <a:schemeClr val="bg2"/>
              </a:solidFill>
            </p:grpSpPr>
            <p:sp>
              <p:nvSpPr>
                <p:cNvPr id="169" name="Freeform: Shape 334">
                  <a:extLst>
                    <a:ext uri="{FF2B5EF4-FFF2-40B4-BE49-F238E27FC236}">
                      <a16:creationId xmlns:a16="http://schemas.microsoft.com/office/drawing/2014/main" id="{ADE969A0-678B-054E-825C-C035B198E487}"/>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70" name="Freeform: Shape 335">
                  <a:extLst>
                    <a:ext uri="{FF2B5EF4-FFF2-40B4-BE49-F238E27FC236}">
                      <a16:creationId xmlns:a16="http://schemas.microsoft.com/office/drawing/2014/main" id="{3EA35E4B-5677-9341-8E38-D3C17CE4D09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71" name="Group 170">
                  <a:extLst>
                    <a:ext uri="{FF2B5EF4-FFF2-40B4-BE49-F238E27FC236}">
                      <a16:creationId xmlns:a16="http://schemas.microsoft.com/office/drawing/2014/main" id="{C7FD3CC3-7036-E441-A372-1A938CE8E305}"/>
                    </a:ext>
                  </a:extLst>
                </p:cNvPr>
                <p:cNvGrpSpPr/>
                <p:nvPr/>
              </p:nvGrpSpPr>
              <p:grpSpPr>
                <a:xfrm rot="5400000">
                  <a:off x="4197485" y="-3571486"/>
                  <a:ext cx="1792447" cy="4882348"/>
                  <a:chOff x="4197485" y="-3571486"/>
                  <a:chExt cx="1792447" cy="4882348"/>
                </a:xfrm>
                <a:grpFill/>
              </p:grpSpPr>
              <p:sp>
                <p:nvSpPr>
                  <p:cNvPr id="172" name="Freeform: Shape 337">
                    <a:extLst>
                      <a:ext uri="{FF2B5EF4-FFF2-40B4-BE49-F238E27FC236}">
                        <a16:creationId xmlns:a16="http://schemas.microsoft.com/office/drawing/2014/main" id="{11956481-B8CB-D142-9E1C-A6E5F08C40BF}"/>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73" name="Freeform: Shape 338">
                    <a:extLst>
                      <a:ext uri="{FF2B5EF4-FFF2-40B4-BE49-F238E27FC236}">
                        <a16:creationId xmlns:a16="http://schemas.microsoft.com/office/drawing/2014/main" id="{A4F06BC7-2821-8444-99DD-F5321F1F6B67}"/>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7387313" y="3885157"/>
              <a:ext cx="895603" cy="565814"/>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7597209" y="4574437"/>
              <a:ext cx="249333" cy="249333"/>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5257589" y="4772991"/>
              <a:ext cx="941045" cy="330145"/>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863369" y="4649972"/>
              <a:ext cx="249333" cy="249333"/>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782010" y="4772991"/>
              <a:ext cx="941045" cy="330145"/>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4252620" y="4649550"/>
              <a:ext cx="249333" cy="249333"/>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770817" y="4292027"/>
              <a:ext cx="439749" cy="23505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1" name="Rectangle: Rounded Corners 704">
              <a:extLst>
                <a:ext uri="{FF2B5EF4-FFF2-40B4-BE49-F238E27FC236}">
                  <a16:creationId xmlns:a16="http://schemas.microsoft.com/office/drawing/2014/main" id="{F0C91FAD-32DA-B049-BC3A-A074A60F7663}"/>
                </a:ext>
              </a:extLst>
            </p:cNvPr>
            <p:cNvSpPr/>
            <p:nvPr/>
          </p:nvSpPr>
          <p:spPr>
            <a:xfrm>
              <a:off x="6247192" y="4292027"/>
              <a:ext cx="439749" cy="23505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288730" y="4292027"/>
              <a:ext cx="439749" cy="235053"/>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425129" y="4437443"/>
              <a:ext cx="272202" cy="206060"/>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465424" y="4976878"/>
              <a:ext cx="182594" cy="25188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7515659" y="4059571"/>
              <a:ext cx="805028" cy="369332"/>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7431571" y="4815414"/>
              <a:ext cx="580608" cy="230832"/>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5220912" y="5065018"/>
              <a:ext cx="1094785" cy="184666"/>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740100" y="5065018"/>
              <a:ext cx="1094785" cy="184666"/>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32075" y="4886056"/>
              <a:ext cx="172651" cy="172651"/>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8140" y="4894077"/>
              <a:ext cx="172651" cy="172651"/>
            </a:xfrm>
            <a:prstGeom prst="rect">
              <a:avLst/>
            </a:prstGeom>
          </p:spPr>
        </p:pic>
      </p:grpSp>
      <p:cxnSp>
        <p:nvCxnSpPr>
          <p:cNvPr id="10" name="Straight Connector 9">
            <a:extLst>
              <a:ext uri="{FF2B5EF4-FFF2-40B4-BE49-F238E27FC236}">
                <a16:creationId xmlns:a16="http://schemas.microsoft.com/office/drawing/2014/main" id="{7465998D-93A6-A64D-98FB-9344A03F227D}"/>
              </a:ext>
            </a:extLst>
          </p:cNvPr>
          <p:cNvCxnSpPr>
            <a:cxnSpLocks/>
            <a:stCxn id="159" idx="0"/>
            <a:endCxn id="12" idx="5"/>
          </p:cNvCxnSpPr>
          <p:nvPr/>
        </p:nvCxnSpPr>
        <p:spPr bwMode="auto">
          <a:xfrm flipH="1" flipV="1">
            <a:off x="4757089" y="2129225"/>
            <a:ext cx="1162044" cy="1302630"/>
          </a:xfrm>
          <a:prstGeom prst="line">
            <a:avLst/>
          </a:prstGeom>
          <a:ln w="19050" cmpd="sng">
            <a:solidFill>
              <a:srgbClr val="008000"/>
            </a:solidFill>
            <a:prstDash val="sysDash"/>
            <a:headEnd type="none" w="med" len="med"/>
            <a:tailEnd type="triangle" w="med" len="med"/>
          </a:ln>
          <a:effectLst>
            <a:glow rad="38100">
              <a:schemeClr val="tx2">
                <a:lumMod val="40000"/>
                <a:lumOff val="60000"/>
                <a:alpha val="75000"/>
              </a:schemeClr>
            </a:glow>
            <a:outerShdw blurRad="40000" dist="20000" dir="5400000" rotWithShape="0">
              <a:srgbClr val="000000">
                <a:alpha val="38000"/>
              </a:srgbClr>
            </a:outerShdw>
          </a:effectLst>
        </p:spPr>
        <p:style>
          <a:lnRef idx="2">
            <a:schemeClr val="accent4"/>
          </a:lnRef>
          <a:fillRef idx="0">
            <a:schemeClr val="accent4"/>
          </a:fillRef>
          <a:effectRef idx="1">
            <a:schemeClr val="accent4"/>
          </a:effectRef>
          <a:fontRef idx="minor">
            <a:schemeClr val="tx1"/>
          </a:fontRef>
        </p:style>
      </p:cxnSp>
      <p:cxnSp>
        <p:nvCxnSpPr>
          <p:cNvPr id="8" name="Straight Connector 7">
            <a:extLst>
              <a:ext uri="{FF2B5EF4-FFF2-40B4-BE49-F238E27FC236}">
                <a16:creationId xmlns:a16="http://schemas.microsoft.com/office/drawing/2014/main" id="{43EC0F75-275A-3B4A-AEBA-3A1207FBD7E2}"/>
              </a:ext>
            </a:extLst>
          </p:cNvPr>
          <p:cNvCxnSpPr>
            <a:cxnSpLocks/>
            <a:stCxn id="143" idx="0"/>
            <a:endCxn id="12" idx="4"/>
          </p:cNvCxnSpPr>
          <p:nvPr/>
        </p:nvCxnSpPr>
        <p:spPr bwMode="auto">
          <a:xfrm flipH="1" flipV="1">
            <a:off x="4555465" y="2211972"/>
            <a:ext cx="12852" cy="1219883"/>
          </a:xfrm>
          <a:prstGeom prst="line">
            <a:avLst/>
          </a:prstGeom>
          <a:ln w="19050" cmpd="sng">
            <a:solidFill>
              <a:srgbClr val="008000"/>
            </a:solidFill>
            <a:prstDash val="sysDash"/>
            <a:headEnd type="none" w="med" len="med"/>
            <a:tailEnd type="triangle" w="med" len="med"/>
          </a:ln>
          <a:effectLst>
            <a:glow rad="38100">
              <a:schemeClr val="tx2">
                <a:lumMod val="40000"/>
                <a:lumOff val="60000"/>
                <a:alpha val="75000"/>
              </a:schemeClr>
            </a:glow>
            <a:outerShdw blurRad="40000" dist="20000" dir="5400000" rotWithShape="0">
              <a:srgbClr val="000000">
                <a:alpha val="38000"/>
              </a:srgbClr>
            </a:outerShdw>
          </a:effectLst>
        </p:spPr>
        <p:style>
          <a:lnRef idx="2">
            <a:schemeClr val="accent4"/>
          </a:lnRef>
          <a:fillRef idx="0">
            <a:schemeClr val="accent4"/>
          </a:fillRef>
          <a:effectRef idx="1">
            <a:schemeClr val="accent4"/>
          </a:effectRef>
          <a:fontRef idx="minor">
            <a:schemeClr val="tx1"/>
          </a:fontRef>
        </p:style>
      </p:cxnSp>
      <p:cxnSp>
        <p:nvCxnSpPr>
          <p:cNvPr id="6" name="Straight Connector 5">
            <a:extLst>
              <a:ext uri="{FF2B5EF4-FFF2-40B4-BE49-F238E27FC236}">
                <a16:creationId xmlns:a16="http://schemas.microsoft.com/office/drawing/2014/main" id="{8C941A57-C0FB-024A-A3AE-78B7861432EB}"/>
              </a:ext>
            </a:extLst>
          </p:cNvPr>
          <p:cNvCxnSpPr>
            <a:cxnSpLocks/>
            <a:stCxn id="127" idx="0"/>
          </p:cNvCxnSpPr>
          <p:nvPr/>
        </p:nvCxnSpPr>
        <p:spPr bwMode="auto">
          <a:xfrm flipV="1">
            <a:off x="3217501" y="2165097"/>
            <a:ext cx="1155566" cy="1266758"/>
          </a:xfrm>
          <a:prstGeom prst="line">
            <a:avLst/>
          </a:prstGeom>
          <a:ln w="19050" cmpd="sng">
            <a:solidFill>
              <a:srgbClr val="008000"/>
            </a:solidFill>
            <a:prstDash val="sysDash"/>
            <a:headEnd type="none" w="med" len="med"/>
            <a:tailEnd type="triangle" w="med" len="med"/>
          </a:ln>
          <a:effectLst>
            <a:glow rad="38100">
              <a:schemeClr val="tx2">
                <a:lumMod val="40000"/>
                <a:lumOff val="60000"/>
                <a:alpha val="75000"/>
              </a:schemeClr>
            </a:glow>
            <a:outerShdw blurRad="40000" dist="20000" dir="5400000" rotWithShape="0">
              <a:srgbClr val="000000">
                <a:alpha val="38000"/>
              </a:srgbClr>
            </a:outerShdw>
          </a:effectLst>
        </p:spPr>
        <p:style>
          <a:lnRef idx="2">
            <a:schemeClr val="accent4"/>
          </a:lnRef>
          <a:fillRef idx="0">
            <a:schemeClr val="accent4"/>
          </a:fillRef>
          <a:effectRef idx="1">
            <a:schemeClr val="accent4"/>
          </a:effectRef>
          <a:fontRef idx="minor">
            <a:schemeClr val="tx1"/>
          </a:fontRef>
        </p:style>
      </p:cxnSp>
      <p:sp>
        <p:nvSpPr>
          <p:cNvPr id="32" name="Rectangle 31">
            <a:extLst>
              <a:ext uri="{FF2B5EF4-FFF2-40B4-BE49-F238E27FC236}">
                <a16:creationId xmlns:a16="http://schemas.microsoft.com/office/drawing/2014/main" id="{FB7E6B11-3EAE-FE41-95BD-68824BB4DABC}"/>
              </a:ext>
            </a:extLst>
          </p:cNvPr>
          <p:cNvSpPr/>
          <p:nvPr/>
        </p:nvSpPr>
        <p:spPr>
          <a:xfrm rot="16200000">
            <a:off x="3696716" y="2788816"/>
            <a:ext cx="1408444" cy="1692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GB" sz="1100" b="1" dirty="0">
                <a:solidFill>
                  <a:schemeClr val="accent3"/>
                </a:solidFill>
              </a:rPr>
              <a:t>Reliable, Useful</a:t>
            </a:r>
          </a:p>
        </p:txBody>
      </p:sp>
      <p:sp>
        <p:nvSpPr>
          <p:cNvPr id="247" name="Rounded Rectangle 246">
            <a:extLst>
              <a:ext uri="{FF2B5EF4-FFF2-40B4-BE49-F238E27FC236}">
                <a16:creationId xmlns:a16="http://schemas.microsoft.com/office/drawing/2014/main" id="{F0745B55-8D70-3543-A4F1-B86251CED085}"/>
              </a:ext>
            </a:extLst>
          </p:cNvPr>
          <p:cNvSpPr/>
          <p:nvPr/>
        </p:nvSpPr>
        <p:spPr>
          <a:xfrm>
            <a:off x="1007094" y="1096933"/>
            <a:ext cx="7033646" cy="447546"/>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3 Key Changes: Push, not pull. Based on Data Models. Ready for analytics</a:t>
            </a:r>
            <a:r>
              <a:rPr lang="en-US" sz="1400" b="1" dirty="0"/>
              <a:t> </a:t>
            </a:r>
          </a:p>
        </p:txBody>
      </p:sp>
      <p:pic>
        <p:nvPicPr>
          <p:cNvPr id="2" name="Picture 1">
            <a:extLst>
              <a:ext uri="{FF2B5EF4-FFF2-40B4-BE49-F238E27FC236}">
                <a16:creationId xmlns:a16="http://schemas.microsoft.com/office/drawing/2014/main" id="{5E2B3640-C947-4EAD-AA20-D6410C9C9A21}"/>
              </a:ext>
            </a:extLst>
          </p:cNvPr>
          <p:cNvPicPr>
            <a:picLocks noChangeAspect="1"/>
          </p:cNvPicPr>
          <p:nvPr/>
        </p:nvPicPr>
        <p:blipFill>
          <a:blip r:embed="rId5"/>
          <a:stretch>
            <a:fillRect/>
          </a:stretch>
        </p:blipFill>
        <p:spPr>
          <a:xfrm>
            <a:off x="6062201" y="224565"/>
            <a:ext cx="2736245" cy="581650"/>
          </a:xfrm>
          <a:prstGeom prst="rect">
            <a:avLst/>
          </a:prstGeom>
        </p:spPr>
      </p:pic>
      <p:sp>
        <p:nvSpPr>
          <p:cNvPr id="3" name="Rectangle 2">
            <a:extLst>
              <a:ext uri="{FF2B5EF4-FFF2-40B4-BE49-F238E27FC236}">
                <a16:creationId xmlns:a16="http://schemas.microsoft.com/office/drawing/2014/main" id="{872328C6-8F69-4B41-9776-E28BB7718E67}"/>
              </a:ext>
            </a:extLst>
          </p:cNvPr>
          <p:cNvSpPr/>
          <p:nvPr/>
        </p:nvSpPr>
        <p:spPr>
          <a:xfrm>
            <a:off x="6921653" y="107950"/>
            <a:ext cx="1876793" cy="79207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9385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Rectangle: Rounded Corners 152">
            <a:extLst>
              <a:ext uri="{FF2B5EF4-FFF2-40B4-BE49-F238E27FC236}">
                <a16:creationId xmlns:a16="http://schemas.microsoft.com/office/drawing/2014/main" id="{61494665-DD6D-415E-BAD9-5B10C9E67DEB}"/>
              </a:ext>
            </a:extLst>
          </p:cNvPr>
          <p:cNvSpPr/>
          <p:nvPr/>
        </p:nvSpPr>
        <p:spPr>
          <a:xfrm>
            <a:off x="259841" y="1041807"/>
            <a:ext cx="8523413" cy="1860043"/>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87" name="Oval 186">
            <a:extLst>
              <a:ext uri="{FF2B5EF4-FFF2-40B4-BE49-F238E27FC236}">
                <a16:creationId xmlns:a16="http://schemas.microsoft.com/office/drawing/2014/main" id="{CB925FC9-70E0-45C6-8B9A-A53765315445}"/>
              </a:ext>
            </a:extLst>
          </p:cNvPr>
          <p:cNvSpPr/>
          <p:nvPr/>
        </p:nvSpPr>
        <p:spPr>
          <a:xfrm>
            <a:off x="1353337" y="2263700"/>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nvGrpSpPr>
          <p:cNvPr id="215" name="Group 214">
            <a:extLst>
              <a:ext uri="{FF2B5EF4-FFF2-40B4-BE49-F238E27FC236}">
                <a16:creationId xmlns:a16="http://schemas.microsoft.com/office/drawing/2014/main" id="{D1DCB209-B288-4AD9-9384-B96BC298AF37}"/>
              </a:ext>
            </a:extLst>
          </p:cNvPr>
          <p:cNvGrpSpPr/>
          <p:nvPr/>
        </p:nvGrpSpPr>
        <p:grpSpPr>
          <a:xfrm rot="16200000">
            <a:off x="1887385" y="1751948"/>
            <a:ext cx="429692" cy="976323"/>
            <a:chOff x="1053576" y="845943"/>
            <a:chExt cx="429692" cy="976323"/>
          </a:xfrm>
        </p:grpSpPr>
        <p:sp>
          <p:nvSpPr>
            <p:cNvPr id="223" name="Arc 222">
              <a:extLst>
                <a:ext uri="{FF2B5EF4-FFF2-40B4-BE49-F238E27FC236}">
                  <a16:creationId xmlns:a16="http://schemas.microsoft.com/office/drawing/2014/main" id="{CA739ADF-A5A4-42F9-91BE-923D203C8D41}"/>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457189"/>
              <a:endParaRPr lang="en-US">
                <a:solidFill>
                  <a:srgbClr val="282828"/>
                </a:solidFill>
                <a:latin typeface="CiscoSansTT ExtraLight"/>
              </a:endParaRPr>
            </a:p>
          </p:txBody>
        </p:sp>
        <p:cxnSp>
          <p:nvCxnSpPr>
            <p:cNvPr id="243" name="Straight Connector 242">
              <a:extLst>
                <a:ext uri="{FF2B5EF4-FFF2-40B4-BE49-F238E27FC236}">
                  <a16:creationId xmlns:a16="http://schemas.microsoft.com/office/drawing/2014/main" id="{22C9036C-CD40-4792-9D98-598966EAFB25}"/>
                </a:ext>
              </a:extLst>
            </p:cNvPr>
            <p:cNvCxnSpPr>
              <a:cxnSpLocks/>
              <a:endCxn id="223"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87CF0529-3DF1-4D35-87BF-EB5E873B3E9E}"/>
                </a:ext>
              </a:extLst>
            </p:cNvPr>
            <p:cNvCxnSpPr>
              <a:cxnSpLocks/>
              <a:stCxn id="223"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4C33C87-E934-4B24-9EEF-8A88C332C06E}"/>
              </a:ext>
            </a:extLst>
          </p:cNvPr>
          <p:cNvGrpSpPr/>
          <p:nvPr/>
        </p:nvGrpSpPr>
        <p:grpSpPr>
          <a:xfrm>
            <a:off x="1178839" y="1346044"/>
            <a:ext cx="956555" cy="234534"/>
            <a:chOff x="1053577" y="1587731"/>
            <a:chExt cx="956555" cy="234534"/>
          </a:xfrm>
        </p:grpSpPr>
        <p:sp>
          <p:nvSpPr>
            <p:cNvPr id="8" name="Arc 7">
              <a:extLst>
                <a:ext uri="{FF2B5EF4-FFF2-40B4-BE49-F238E27FC236}">
                  <a16:creationId xmlns:a16="http://schemas.microsoft.com/office/drawing/2014/main" id="{F2BBA645-1C01-4740-9BCD-6384D894018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457189"/>
              <a:endParaRPr lang="en-US">
                <a:solidFill>
                  <a:srgbClr val="282828"/>
                </a:solidFill>
                <a:latin typeface="CiscoSansTT ExtraLight"/>
              </a:endParaRPr>
            </a:p>
          </p:txBody>
        </p:sp>
        <p:cxnSp>
          <p:nvCxnSpPr>
            <p:cNvPr id="204" name="Straight Connector 203">
              <a:extLst>
                <a:ext uri="{FF2B5EF4-FFF2-40B4-BE49-F238E27FC236}">
                  <a16:creationId xmlns:a16="http://schemas.microsoft.com/office/drawing/2014/main" id="{38AC4832-3392-4F01-8055-7E9FA0A887B8}"/>
                </a:ext>
              </a:extLst>
            </p:cNvPr>
            <p:cNvCxnSpPr>
              <a:cxnSpLocks/>
              <a:endCxn id="8"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96FBB5E8-43AF-42AD-8B6C-00AAE0FFE16D}"/>
                </a:ext>
              </a:extLst>
            </p:cNvPr>
            <p:cNvCxnSpPr>
              <a:cxnSpLocks/>
              <a:stCxn id="8"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B0AD1619-B8CA-4887-A5F3-D8DDF8E61EFF}"/>
              </a:ext>
            </a:extLst>
          </p:cNvPr>
          <p:cNvGrpSpPr/>
          <p:nvPr/>
        </p:nvGrpSpPr>
        <p:grpSpPr>
          <a:xfrm>
            <a:off x="1541883" y="1336739"/>
            <a:ext cx="956555" cy="184273"/>
            <a:chOff x="1416621" y="1599856"/>
            <a:chExt cx="956555" cy="184273"/>
          </a:xfrm>
        </p:grpSpPr>
        <p:sp>
          <p:nvSpPr>
            <p:cNvPr id="206" name="Arc 205">
              <a:extLst>
                <a:ext uri="{FF2B5EF4-FFF2-40B4-BE49-F238E27FC236}">
                  <a16:creationId xmlns:a16="http://schemas.microsoft.com/office/drawing/2014/main" id="{F16B4621-A1A3-4B6F-88EC-50E9BC7BFF65}"/>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457189"/>
              <a:endParaRPr lang="en-US">
                <a:solidFill>
                  <a:srgbClr val="282828"/>
                </a:solidFill>
                <a:latin typeface="CiscoSansTT ExtraLight"/>
              </a:endParaRPr>
            </a:p>
          </p:txBody>
        </p:sp>
        <p:cxnSp>
          <p:nvCxnSpPr>
            <p:cNvPr id="207" name="Straight Connector 206">
              <a:extLst>
                <a:ext uri="{FF2B5EF4-FFF2-40B4-BE49-F238E27FC236}">
                  <a16:creationId xmlns:a16="http://schemas.microsoft.com/office/drawing/2014/main" id="{F13FF378-A7A3-4AFC-A07A-D052293B9648}"/>
                </a:ext>
              </a:extLst>
            </p:cNvPr>
            <p:cNvCxnSpPr>
              <a:cxnSpLocks/>
              <a:endCxn id="206"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106CBE25-228E-41B7-9550-DFE7350C861C}"/>
                </a:ext>
              </a:extLst>
            </p:cNvPr>
            <p:cNvCxnSpPr>
              <a:cxnSpLocks/>
              <a:stCxn id="206"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7EB98589-C654-4F18-BB68-DB1206F2C6EB}"/>
              </a:ext>
            </a:extLst>
          </p:cNvPr>
          <p:cNvGrpSpPr/>
          <p:nvPr/>
        </p:nvGrpSpPr>
        <p:grpSpPr>
          <a:xfrm>
            <a:off x="1904169" y="1277772"/>
            <a:ext cx="723787" cy="184273"/>
            <a:chOff x="1778907" y="1564701"/>
            <a:chExt cx="723787" cy="184273"/>
          </a:xfrm>
        </p:grpSpPr>
        <p:sp>
          <p:nvSpPr>
            <p:cNvPr id="209" name="Arc 208">
              <a:extLst>
                <a:ext uri="{FF2B5EF4-FFF2-40B4-BE49-F238E27FC236}">
                  <a16:creationId xmlns:a16="http://schemas.microsoft.com/office/drawing/2014/main" id="{458D9591-8D67-4C7E-9593-915DABFA8ECC}"/>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457189"/>
              <a:endParaRPr lang="en-US">
                <a:solidFill>
                  <a:srgbClr val="282828"/>
                </a:solidFill>
                <a:latin typeface="CiscoSansTT ExtraLight"/>
              </a:endParaRPr>
            </a:p>
          </p:txBody>
        </p:sp>
        <p:cxnSp>
          <p:nvCxnSpPr>
            <p:cNvPr id="210" name="Straight Connector 209">
              <a:extLst>
                <a:ext uri="{FF2B5EF4-FFF2-40B4-BE49-F238E27FC236}">
                  <a16:creationId xmlns:a16="http://schemas.microsoft.com/office/drawing/2014/main" id="{270F50A8-5D98-48CE-AD1C-BC621E56D39E}"/>
                </a:ext>
              </a:extLst>
            </p:cNvPr>
            <p:cNvCxnSpPr>
              <a:cxnSpLocks/>
              <a:endCxn id="209"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6A49A51-F783-4BEB-AADB-B2BE439FA66B}"/>
                </a:ext>
              </a:extLst>
            </p:cNvPr>
            <p:cNvCxnSpPr>
              <a:cxnSpLocks/>
              <a:stCxn id="209"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2" name="Oval 211">
            <a:extLst>
              <a:ext uri="{FF2B5EF4-FFF2-40B4-BE49-F238E27FC236}">
                <a16:creationId xmlns:a16="http://schemas.microsoft.com/office/drawing/2014/main" id="{69C1EF1D-58F9-4610-8221-E489665C48FE}"/>
              </a:ext>
            </a:extLst>
          </p:cNvPr>
          <p:cNvSpPr/>
          <p:nvPr/>
        </p:nvSpPr>
        <p:spPr>
          <a:xfrm>
            <a:off x="1762848" y="1124857"/>
            <a:ext cx="281904"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213" name="Oval 212">
            <a:extLst>
              <a:ext uri="{FF2B5EF4-FFF2-40B4-BE49-F238E27FC236}">
                <a16:creationId xmlns:a16="http://schemas.microsoft.com/office/drawing/2014/main" id="{65B23612-B7B4-46AB-B877-E1E74C7F9B2D}"/>
              </a:ext>
            </a:extLst>
          </p:cNvPr>
          <p:cNvSpPr/>
          <p:nvPr/>
        </p:nvSpPr>
        <p:spPr>
          <a:xfrm>
            <a:off x="1039854" y="1124857"/>
            <a:ext cx="281904"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214" name="Oval 213">
            <a:extLst>
              <a:ext uri="{FF2B5EF4-FFF2-40B4-BE49-F238E27FC236}">
                <a16:creationId xmlns:a16="http://schemas.microsoft.com/office/drawing/2014/main" id="{3964D935-C6E6-478F-8183-52E1D6818333}"/>
              </a:ext>
            </a:extLst>
          </p:cNvPr>
          <p:cNvSpPr/>
          <p:nvPr/>
        </p:nvSpPr>
        <p:spPr>
          <a:xfrm>
            <a:off x="1401351" y="1124857"/>
            <a:ext cx="281904"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cxnSp>
        <p:nvCxnSpPr>
          <p:cNvPr id="183" name="Straight Connector 182">
            <a:extLst>
              <a:ext uri="{FF2B5EF4-FFF2-40B4-BE49-F238E27FC236}">
                <a16:creationId xmlns:a16="http://schemas.microsoft.com/office/drawing/2014/main" id="{F96696E3-737A-4690-87F2-9C6D117AEB57}"/>
              </a:ext>
            </a:extLst>
          </p:cNvPr>
          <p:cNvCxnSpPr>
            <a:cxnSpLocks/>
          </p:cNvCxnSpPr>
          <p:nvPr/>
        </p:nvCxnSpPr>
        <p:spPr>
          <a:xfrm flipV="1">
            <a:off x="1729669" y="1916286"/>
            <a:ext cx="789338" cy="387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E320B0C0-D6A4-45DB-912F-45C1AF01F654}"/>
              </a:ext>
            </a:extLst>
          </p:cNvPr>
          <p:cNvSpPr/>
          <p:nvPr/>
        </p:nvSpPr>
        <p:spPr>
          <a:xfrm>
            <a:off x="1353337" y="1729222"/>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96" name="TextBox 195">
            <a:extLst>
              <a:ext uri="{FF2B5EF4-FFF2-40B4-BE49-F238E27FC236}">
                <a16:creationId xmlns:a16="http://schemas.microsoft.com/office/drawing/2014/main" id="{2F721B27-0BB0-49BC-83AF-4C071FC182A4}"/>
              </a:ext>
            </a:extLst>
          </p:cNvPr>
          <p:cNvSpPr txBox="1"/>
          <p:nvPr/>
        </p:nvSpPr>
        <p:spPr>
          <a:xfrm>
            <a:off x="920638" y="2347547"/>
            <a:ext cx="503664" cy="230832"/>
          </a:xfrm>
          <a:prstGeom prst="rect">
            <a:avLst/>
          </a:prstGeom>
          <a:noFill/>
        </p:spPr>
        <p:txBody>
          <a:bodyPr wrap="none" rtlCol="0">
            <a:spAutoFit/>
          </a:bodyPr>
          <a:lstStyle/>
          <a:p>
            <a:pPr algn="r" defTabSz="457189"/>
            <a:r>
              <a:rPr lang="en-US" sz="450" dirty="0">
                <a:solidFill>
                  <a:srgbClr val="282828"/>
                </a:solidFill>
                <a:latin typeface="CiscoSansTT ExtraLight"/>
              </a:rPr>
              <a:t>Business </a:t>
            </a:r>
          </a:p>
          <a:p>
            <a:pPr algn="r" defTabSz="457189"/>
            <a:r>
              <a:rPr lang="en-US" sz="450" dirty="0">
                <a:solidFill>
                  <a:srgbClr val="282828"/>
                </a:solidFill>
                <a:latin typeface="CiscoSansTT ExtraLight"/>
              </a:rPr>
              <a:t>Connectivity</a:t>
            </a:r>
          </a:p>
        </p:txBody>
      </p:sp>
      <p:sp>
        <p:nvSpPr>
          <p:cNvPr id="197" name="TextBox 196">
            <a:extLst>
              <a:ext uri="{FF2B5EF4-FFF2-40B4-BE49-F238E27FC236}">
                <a16:creationId xmlns:a16="http://schemas.microsoft.com/office/drawing/2014/main" id="{A8E68638-AA61-4B3C-9B5F-956FBEB6F598}"/>
              </a:ext>
            </a:extLst>
          </p:cNvPr>
          <p:cNvSpPr txBox="1"/>
          <p:nvPr/>
        </p:nvSpPr>
        <p:spPr>
          <a:xfrm>
            <a:off x="920638" y="1795231"/>
            <a:ext cx="503664" cy="230832"/>
          </a:xfrm>
          <a:prstGeom prst="rect">
            <a:avLst/>
          </a:prstGeom>
          <a:noFill/>
        </p:spPr>
        <p:txBody>
          <a:bodyPr wrap="none" rtlCol="0">
            <a:spAutoFit/>
          </a:bodyPr>
          <a:lstStyle/>
          <a:p>
            <a:pPr algn="r" defTabSz="457189"/>
            <a:r>
              <a:rPr lang="en-US" sz="450" dirty="0">
                <a:solidFill>
                  <a:srgbClr val="282828"/>
                </a:solidFill>
                <a:latin typeface="CiscoSansTT ExtraLight"/>
              </a:rPr>
              <a:t>Residential</a:t>
            </a:r>
          </a:p>
          <a:p>
            <a:pPr algn="r" defTabSz="457189"/>
            <a:r>
              <a:rPr lang="en-US" sz="450" dirty="0">
                <a:solidFill>
                  <a:srgbClr val="282828"/>
                </a:solidFill>
                <a:latin typeface="CiscoSansTT ExtraLight"/>
              </a:rPr>
              <a:t>Connectivity</a:t>
            </a:r>
          </a:p>
        </p:txBody>
      </p:sp>
      <p:sp>
        <p:nvSpPr>
          <p:cNvPr id="198" name="TextBox 197">
            <a:extLst>
              <a:ext uri="{FF2B5EF4-FFF2-40B4-BE49-F238E27FC236}">
                <a16:creationId xmlns:a16="http://schemas.microsoft.com/office/drawing/2014/main" id="{C4AFB003-4A24-43A5-8F53-BB2D2C8F13BD}"/>
              </a:ext>
            </a:extLst>
          </p:cNvPr>
          <p:cNvSpPr txBox="1"/>
          <p:nvPr/>
        </p:nvSpPr>
        <p:spPr>
          <a:xfrm>
            <a:off x="1290040" y="2108934"/>
            <a:ext cx="510076" cy="196208"/>
          </a:xfrm>
          <a:prstGeom prst="rect">
            <a:avLst/>
          </a:prstGeom>
          <a:noFill/>
        </p:spPr>
        <p:txBody>
          <a:bodyPr wrap="none" rtlCol="0">
            <a:spAutoFit/>
          </a:bodyPr>
          <a:lstStyle/>
          <a:p>
            <a:pPr algn="r" defTabSz="457189"/>
            <a:r>
              <a:rPr lang="en-US" sz="675" dirty="0">
                <a:solidFill>
                  <a:srgbClr val="282828"/>
                </a:solidFill>
                <a:latin typeface="CiscoSansTT ExtraLight"/>
                <a:cs typeface="CiscoSansTT" panose="020B0503020201020303" pitchFamily="34" charset="0"/>
              </a:rPr>
              <a:t>Ethernet</a:t>
            </a:r>
          </a:p>
        </p:txBody>
      </p:sp>
      <p:sp>
        <p:nvSpPr>
          <p:cNvPr id="200" name="Rectangle 199">
            <a:extLst>
              <a:ext uri="{FF2B5EF4-FFF2-40B4-BE49-F238E27FC236}">
                <a16:creationId xmlns:a16="http://schemas.microsoft.com/office/drawing/2014/main" id="{886D8E33-A0A4-4FBC-8BA9-91889C8DCCEF}"/>
              </a:ext>
            </a:extLst>
          </p:cNvPr>
          <p:cNvSpPr/>
          <p:nvPr/>
        </p:nvSpPr>
        <p:spPr>
          <a:xfrm>
            <a:off x="1264391" y="1568903"/>
            <a:ext cx="559769" cy="196208"/>
          </a:xfrm>
          <a:prstGeom prst="rect">
            <a:avLst/>
          </a:prstGeom>
        </p:spPr>
        <p:txBody>
          <a:bodyPr wrap="none">
            <a:spAutoFit/>
          </a:bodyPr>
          <a:lstStyle/>
          <a:p>
            <a:pPr algn="ctr" defTabSz="457189"/>
            <a:r>
              <a:rPr lang="en-US" sz="675" dirty="0">
                <a:solidFill>
                  <a:srgbClr val="282828"/>
                </a:solidFill>
                <a:latin typeface="CiscoSansTT ExtraLight"/>
                <a:cs typeface="CiscoSansTT" panose="020B0503020201020303" pitchFamily="34" charset="0"/>
              </a:rPr>
              <a:t>DSL/PON</a:t>
            </a:r>
          </a:p>
        </p:txBody>
      </p:sp>
      <p:grpSp>
        <p:nvGrpSpPr>
          <p:cNvPr id="19" name="Group 18">
            <a:extLst>
              <a:ext uri="{FF2B5EF4-FFF2-40B4-BE49-F238E27FC236}">
                <a16:creationId xmlns:a16="http://schemas.microsoft.com/office/drawing/2014/main" id="{83F47A6C-6D18-4F72-964F-46C56AB9DDC2}"/>
              </a:ext>
            </a:extLst>
          </p:cNvPr>
          <p:cNvGrpSpPr/>
          <p:nvPr/>
        </p:nvGrpSpPr>
        <p:grpSpPr>
          <a:xfrm>
            <a:off x="6382725" y="1250906"/>
            <a:ext cx="1354565" cy="996478"/>
            <a:chOff x="6257463" y="1617978"/>
            <a:chExt cx="1576956" cy="996478"/>
          </a:xfrm>
        </p:grpSpPr>
        <p:grpSp>
          <p:nvGrpSpPr>
            <p:cNvPr id="15" name="Group 14">
              <a:extLst>
                <a:ext uri="{FF2B5EF4-FFF2-40B4-BE49-F238E27FC236}">
                  <a16:creationId xmlns:a16="http://schemas.microsoft.com/office/drawing/2014/main" id="{56416391-365D-41BF-AB83-43768D47A82C}"/>
                </a:ext>
              </a:extLst>
            </p:cNvPr>
            <p:cNvGrpSpPr/>
            <p:nvPr/>
          </p:nvGrpSpPr>
          <p:grpSpPr>
            <a:xfrm>
              <a:off x="6296881" y="2015544"/>
              <a:ext cx="1537538" cy="598912"/>
              <a:chOff x="6652481" y="2039451"/>
              <a:chExt cx="1537538" cy="598912"/>
            </a:xfrm>
            <a:solidFill>
              <a:schemeClr val="bg2">
                <a:lumMod val="85000"/>
              </a:schemeClr>
            </a:solidFill>
          </p:grpSpPr>
          <p:sp>
            <p:nvSpPr>
              <p:cNvPr id="7" name="Rectangle: Rounded Corners 6">
                <a:extLst>
                  <a:ext uri="{FF2B5EF4-FFF2-40B4-BE49-F238E27FC236}">
                    <a16:creationId xmlns:a16="http://schemas.microsoft.com/office/drawing/2014/main" id="{9AE2F37C-0BC0-479F-90B8-2F87615F2CB2}"/>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41" name="Rectangle: Rounded Corners 140">
                <a:extLst>
                  <a:ext uri="{FF2B5EF4-FFF2-40B4-BE49-F238E27FC236}">
                    <a16:creationId xmlns:a16="http://schemas.microsoft.com/office/drawing/2014/main" id="{5A803036-3F32-4F53-A684-FF391E4D51FA}"/>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42" name="Rectangle: Rounded Corners 141">
                <a:extLst>
                  <a:ext uri="{FF2B5EF4-FFF2-40B4-BE49-F238E27FC236}">
                    <a16:creationId xmlns:a16="http://schemas.microsoft.com/office/drawing/2014/main" id="{269421D7-CCA5-44D7-B0D6-B9B571C8843A}"/>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43" name="Rectangle: Rounded Corners 142">
                <a:extLst>
                  <a:ext uri="{FF2B5EF4-FFF2-40B4-BE49-F238E27FC236}">
                    <a16:creationId xmlns:a16="http://schemas.microsoft.com/office/drawing/2014/main" id="{8A6F9302-8901-4665-BB5D-F7C279F78AE3}"/>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grpSp>
          <p:nvGrpSpPr>
            <p:cNvPr id="16" name="Group 15">
              <a:extLst>
                <a:ext uri="{FF2B5EF4-FFF2-40B4-BE49-F238E27FC236}">
                  <a16:creationId xmlns:a16="http://schemas.microsoft.com/office/drawing/2014/main" id="{97A0522B-AE4E-4C2E-B745-A69694EBC7CB}"/>
                </a:ext>
              </a:extLst>
            </p:cNvPr>
            <p:cNvGrpSpPr/>
            <p:nvPr/>
          </p:nvGrpSpPr>
          <p:grpSpPr>
            <a:xfrm>
              <a:off x="6257463" y="1617978"/>
              <a:ext cx="1553564" cy="594092"/>
              <a:chOff x="6606761" y="1479381"/>
              <a:chExt cx="1566167" cy="598912"/>
            </a:xfrm>
            <a:solidFill>
              <a:schemeClr val="bg2">
                <a:lumMod val="85000"/>
              </a:schemeClr>
            </a:solidFill>
          </p:grpSpPr>
          <p:sp>
            <p:nvSpPr>
              <p:cNvPr id="149" name="Rectangle: Rounded Corners 148">
                <a:extLst>
                  <a:ext uri="{FF2B5EF4-FFF2-40B4-BE49-F238E27FC236}">
                    <a16:creationId xmlns:a16="http://schemas.microsoft.com/office/drawing/2014/main" id="{D15A13E2-5451-462E-A2AF-1BB6E795E025}"/>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50" name="Rectangle: Rounded Corners 149">
                <a:extLst>
                  <a:ext uri="{FF2B5EF4-FFF2-40B4-BE49-F238E27FC236}">
                    <a16:creationId xmlns:a16="http://schemas.microsoft.com/office/drawing/2014/main" id="{8ED5288B-960A-4D96-A03B-A13F125059BD}"/>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51" name="Rectangle: Rounded Corners 150">
                <a:extLst>
                  <a:ext uri="{FF2B5EF4-FFF2-40B4-BE49-F238E27FC236}">
                    <a16:creationId xmlns:a16="http://schemas.microsoft.com/office/drawing/2014/main" id="{6B747D69-12F6-4B84-BF54-1FDA2FE51D5F}"/>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52" name="Rectangle: Rounded Corners 151">
                <a:extLst>
                  <a:ext uri="{FF2B5EF4-FFF2-40B4-BE49-F238E27FC236}">
                    <a16:creationId xmlns:a16="http://schemas.microsoft.com/office/drawing/2014/main" id="{56145EDA-14E7-4D6A-AC8A-6382BDCE42D8}"/>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grpSp>
      <p:grpSp>
        <p:nvGrpSpPr>
          <p:cNvPr id="18" name="Group 17">
            <a:extLst>
              <a:ext uri="{FF2B5EF4-FFF2-40B4-BE49-F238E27FC236}">
                <a16:creationId xmlns:a16="http://schemas.microsoft.com/office/drawing/2014/main" id="{34262C8B-C931-420A-889F-33A922EFA946}"/>
              </a:ext>
            </a:extLst>
          </p:cNvPr>
          <p:cNvGrpSpPr/>
          <p:nvPr/>
        </p:nvGrpSpPr>
        <p:grpSpPr>
          <a:xfrm>
            <a:off x="4847500" y="1250907"/>
            <a:ext cx="1650330" cy="994067"/>
            <a:chOff x="4722239" y="1617979"/>
            <a:chExt cx="1650330" cy="994067"/>
          </a:xfrm>
        </p:grpSpPr>
        <p:grpSp>
          <p:nvGrpSpPr>
            <p:cNvPr id="13" name="Group 12">
              <a:extLst>
                <a:ext uri="{FF2B5EF4-FFF2-40B4-BE49-F238E27FC236}">
                  <a16:creationId xmlns:a16="http://schemas.microsoft.com/office/drawing/2014/main" id="{BC610117-6725-487A-A0A5-1AEF99EC5110}"/>
                </a:ext>
              </a:extLst>
            </p:cNvPr>
            <p:cNvGrpSpPr/>
            <p:nvPr/>
          </p:nvGrpSpPr>
          <p:grpSpPr>
            <a:xfrm>
              <a:off x="4722239" y="1617979"/>
              <a:ext cx="1604404" cy="594092"/>
              <a:chOff x="5071331" y="1479382"/>
              <a:chExt cx="1617419" cy="598911"/>
            </a:xfrm>
            <a:solidFill>
              <a:schemeClr val="bg2">
                <a:lumMod val="85000"/>
              </a:schemeClr>
            </a:solidFill>
          </p:grpSpPr>
          <p:sp>
            <p:nvSpPr>
              <p:cNvPr id="162" name="Rectangle: Rounded Corners 161">
                <a:extLst>
                  <a:ext uri="{FF2B5EF4-FFF2-40B4-BE49-F238E27FC236}">
                    <a16:creationId xmlns:a16="http://schemas.microsoft.com/office/drawing/2014/main" id="{FCD1757E-1F28-4428-8CBE-4BA45B78184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63" name="Rectangle: Rounded Corners 162">
                <a:extLst>
                  <a:ext uri="{FF2B5EF4-FFF2-40B4-BE49-F238E27FC236}">
                    <a16:creationId xmlns:a16="http://schemas.microsoft.com/office/drawing/2014/main" id="{70B3D822-E43A-4775-952E-820510BBF8DA}"/>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64" name="Rectangle: Rounded Corners 163">
                <a:extLst>
                  <a:ext uri="{FF2B5EF4-FFF2-40B4-BE49-F238E27FC236}">
                    <a16:creationId xmlns:a16="http://schemas.microsoft.com/office/drawing/2014/main" id="{28C81F09-DFB9-433D-9A70-E11DBEE24469}"/>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65" name="Rectangle: Rounded Corners 164">
                <a:extLst>
                  <a:ext uri="{FF2B5EF4-FFF2-40B4-BE49-F238E27FC236}">
                    <a16:creationId xmlns:a16="http://schemas.microsoft.com/office/drawing/2014/main" id="{476D0DCB-1C69-4F05-BB13-2826076C257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grpSp>
          <p:nvGrpSpPr>
            <p:cNvPr id="14" name="Group 13">
              <a:extLst>
                <a:ext uri="{FF2B5EF4-FFF2-40B4-BE49-F238E27FC236}">
                  <a16:creationId xmlns:a16="http://schemas.microsoft.com/office/drawing/2014/main" id="{7A900DA8-8514-42E5-AC72-B7F858A623F0}"/>
                </a:ext>
              </a:extLst>
            </p:cNvPr>
            <p:cNvGrpSpPr/>
            <p:nvPr/>
          </p:nvGrpSpPr>
          <p:grpSpPr>
            <a:xfrm>
              <a:off x="4819003" y="2017956"/>
              <a:ext cx="1553566" cy="594090"/>
              <a:chOff x="5168302" y="2039452"/>
              <a:chExt cx="1566168" cy="598911"/>
            </a:xfrm>
            <a:solidFill>
              <a:schemeClr val="bg2">
                <a:lumMod val="85000"/>
              </a:schemeClr>
            </a:solidFill>
          </p:grpSpPr>
          <p:sp>
            <p:nvSpPr>
              <p:cNvPr id="166" name="Rectangle: Rounded Corners 165">
                <a:extLst>
                  <a:ext uri="{FF2B5EF4-FFF2-40B4-BE49-F238E27FC236}">
                    <a16:creationId xmlns:a16="http://schemas.microsoft.com/office/drawing/2014/main" id="{6DDDD873-86D1-4958-8756-8823B466B80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67" name="Rectangle: Rounded Corners 166">
                <a:extLst>
                  <a:ext uri="{FF2B5EF4-FFF2-40B4-BE49-F238E27FC236}">
                    <a16:creationId xmlns:a16="http://schemas.microsoft.com/office/drawing/2014/main" id="{B3D313CD-CAD8-4C70-90E3-56EF57290141}"/>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68" name="Rectangle: Rounded Corners 167">
                <a:extLst>
                  <a:ext uri="{FF2B5EF4-FFF2-40B4-BE49-F238E27FC236}">
                    <a16:creationId xmlns:a16="http://schemas.microsoft.com/office/drawing/2014/main" id="{5C66FAED-6087-4FCA-934C-407A05805DD6}"/>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69" name="Rectangle: Rounded Corners 168">
                <a:extLst>
                  <a:ext uri="{FF2B5EF4-FFF2-40B4-BE49-F238E27FC236}">
                    <a16:creationId xmlns:a16="http://schemas.microsoft.com/office/drawing/2014/main" id="{79768146-1CFC-42BC-900C-AA1AA4B75F3D}"/>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grpSp>
      <p:grpSp>
        <p:nvGrpSpPr>
          <p:cNvPr id="17" name="Group 16">
            <a:extLst>
              <a:ext uri="{FF2B5EF4-FFF2-40B4-BE49-F238E27FC236}">
                <a16:creationId xmlns:a16="http://schemas.microsoft.com/office/drawing/2014/main" id="{9A68A9BC-49CF-4D69-B1F2-53ACDD08F3FD}"/>
              </a:ext>
            </a:extLst>
          </p:cNvPr>
          <p:cNvGrpSpPr/>
          <p:nvPr/>
        </p:nvGrpSpPr>
        <p:grpSpPr>
          <a:xfrm>
            <a:off x="3307161" y="1289817"/>
            <a:ext cx="1650332" cy="994066"/>
            <a:chOff x="3181899" y="1656890"/>
            <a:chExt cx="1650332" cy="994066"/>
          </a:xfrm>
        </p:grpSpPr>
        <p:grpSp>
          <p:nvGrpSpPr>
            <p:cNvPr id="11" name="Group 10">
              <a:extLst>
                <a:ext uri="{FF2B5EF4-FFF2-40B4-BE49-F238E27FC236}">
                  <a16:creationId xmlns:a16="http://schemas.microsoft.com/office/drawing/2014/main" id="{C4311654-66A1-42F2-9D38-D44F0DF29C22}"/>
                </a:ext>
              </a:extLst>
            </p:cNvPr>
            <p:cNvGrpSpPr/>
            <p:nvPr/>
          </p:nvGrpSpPr>
          <p:grpSpPr>
            <a:xfrm>
              <a:off x="3227827" y="2056864"/>
              <a:ext cx="1604404" cy="594092"/>
              <a:chOff x="3576919" y="2078361"/>
              <a:chExt cx="1617419" cy="598911"/>
            </a:xfrm>
            <a:solidFill>
              <a:schemeClr val="bg2">
                <a:lumMod val="85000"/>
              </a:schemeClr>
            </a:solidFill>
          </p:grpSpPr>
          <p:sp>
            <p:nvSpPr>
              <p:cNvPr id="171" name="Rectangle: Rounded Corners 170">
                <a:extLst>
                  <a:ext uri="{FF2B5EF4-FFF2-40B4-BE49-F238E27FC236}">
                    <a16:creationId xmlns:a16="http://schemas.microsoft.com/office/drawing/2014/main" id="{A1500D27-D1AC-415E-B0E6-BDCDD7418F5E}"/>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73" name="Rectangle: Rounded Corners 172">
                <a:extLst>
                  <a:ext uri="{FF2B5EF4-FFF2-40B4-BE49-F238E27FC236}">
                    <a16:creationId xmlns:a16="http://schemas.microsoft.com/office/drawing/2014/main" id="{DC42303D-B42E-482D-B438-A6D2F1FD823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74" name="Rectangle: Rounded Corners 173">
                <a:extLst>
                  <a:ext uri="{FF2B5EF4-FFF2-40B4-BE49-F238E27FC236}">
                    <a16:creationId xmlns:a16="http://schemas.microsoft.com/office/drawing/2014/main" id="{79389838-0458-4507-A00C-6F45713B4FF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75" name="Rectangle: Rounded Corners 174">
                <a:extLst>
                  <a:ext uri="{FF2B5EF4-FFF2-40B4-BE49-F238E27FC236}">
                    <a16:creationId xmlns:a16="http://schemas.microsoft.com/office/drawing/2014/main" id="{D52CABE5-CEAF-48EA-A09D-49A89B41A01B}"/>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grpSp>
          <p:nvGrpSpPr>
            <p:cNvPr id="12" name="Group 11">
              <a:extLst>
                <a:ext uri="{FF2B5EF4-FFF2-40B4-BE49-F238E27FC236}">
                  <a16:creationId xmlns:a16="http://schemas.microsoft.com/office/drawing/2014/main" id="{4848F165-505E-4289-8140-A60F51066ED5}"/>
                </a:ext>
              </a:extLst>
            </p:cNvPr>
            <p:cNvGrpSpPr/>
            <p:nvPr/>
          </p:nvGrpSpPr>
          <p:grpSpPr>
            <a:xfrm>
              <a:off x="3181899" y="1656890"/>
              <a:ext cx="1443175" cy="594090"/>
              <a:chOff x="3531199" y="1518292"/>
              <a:chExt cx="1454882" cy="598911"/>
            </a:xfrm>
            <a:solidFill>
              <a:schemeClr val="bg2">
                <a:lumMod val="85000"/>
              </a:schemeClr>
            </a:solidFill>
          </p:grpSpPr>
          <p:sp>
            <p:nvSpPr>
              <p:cNvPr id="176" name="Rectangle: Rounded Corners 175">
                <a:extLst>
                  <a:ext uri="{FF2B5EF4-FFF2-40B4-BE49-F238E27FC236}">
                    <a16:creationId xmlns:a16="http://schemas.microsoft.com/office/drawing/2014/main" id="{EBFA6562-1C73-431C-8707-E2BB23FE1D26}"/>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77" name="Rectangle: Rounded Corners 176">
                <a:extLst>
                  <a:ext uri="{FF2B5EF4-FFF2-40B4-BE49-F238E27FC236}">
                    <a16:creationId xmlns:a16="http://schemas.microsoft.com/office/drawing/2014/main" id="{CD7EB29B-CD49-4D31-A7CA-29A8C9F8282B}"/>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78" name="Rectangle: Rounded Corners 177">
                <a:extLst>
                  <a:ext uri="{FF2B5EF4-FFF2-40B4-BE49-F238E27FC236}">
                    <a16:creationId xmlns:a16="http://schemas.microsoft.com/office/drawing/2014/main" id="{B4B16E87-1429-47E5-A58A-F051F8865715}"/>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79" name="Rectangle: Rounded Corners 178">
                <a:extLst>
                  <a:ext uri="{FF2B5EF4-FFF2-40B4-BE49-F238E27FC236}">
                    <a16:creationId xmlns:a16="http://schemas.microsoft.com/office/drawing/2014/main" id="{67FD8CC4-DE78-41F7-96AE-841F71846E5C}"/>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grpSp>
      <p:grpSp>
        <p:nvGrpSpPr>
          <p:cNvPr id="190" name="Group 189">
            <a:extLst>
              <a:ext uri="{FF2B5EF4-FFF2-40B4-BE49-F238E27FC236}">
                <a16:creationId xmlns:a16="http://schemas.microsoft.com/office/drawing/2014/main" id="{F5DF66C9-8144-4759-8E08-8D6DEB698747}"/>
              </a:ext>
            </a:extLst>
          </p:cNvPr>
          <p:cNvGrpSpPr/>
          <p:nvPr/>
        </p:nvGrpSpPr>
        <p:grpSpPr>
          <a:xfrm>
            <a:off x="1900552" y="1385775"/>
            <a:ext cx="1630470" cy="818938"/>
            <a:chOff x="6621828" y="1373655"/>
            <a:chExt cx="1630470" cy="818938"/>
          </a:xfrm>
          <a:solidFill>
            <a:schemeClr val="bg2">
              <a:lumMod val="85000"/>
            </a:schemeClr>
          </a:solidFill>
        </p:grpSpPr>
        <p:sp>
          <p:nvSpPr>
            <p:cNvPr id="191" name="Rectangle: Rounded Corners 190">
              <a:extLst>
                <a:ext uri="{FF2B5EF4-FFF2-40B4-BE49-F238E27FC236}">
                  <a16:creationId xmlns:a16="http://schemas.microsoft.com/office/drawing/2014/main" id="{3286691C-AC7C-42AF-BA70-F5C56AB81864}"/>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92" name="Rectangle: Rounded Corners 191">
              <a:extLst>
                <a:ext uri="{FF2B5EF4-FFF2-40B4-BE49-F238E27FC236}">
                  <a16:creationId xmlns:a16="http://schemas.microsoft.com/office/drawing/2014/main" id="{7C153279-C3DE-4C7B-9EDF-1944E57A7E31}"/>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93" name="Rectangle: Rounded Corners 192">
              <a:extLst>
                <a:ext uri="{FF2B5EF4-FFF2-40B4-BE49-F238E27FC236}">
                  <a16:creationId xmlns:a16="http://schemas.microsoft.com/office/drawing/2014/main" id="{86C5E889-2EB4-472C-8160-4B5A0297232D}"/>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195" name="Rectangle: Rounded Corners 194">
              <a:extLst>
                <a:ext uri="{FF2B5EF4-FFF2-40B4-BE49-F238E27FC236}">
                  <a16:creationId xmlns:a16="http://schemas.microsoft.com/office/drawing/2014/main" id="{1373E1EC-9849-4E58-98C0-E9252006E918}"/>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229" name="Rectangle: Rounded Corners 228">
              <a:extLst>
                <a:ext uri="{FF2B5EF4-FFF2-40B4-BE49-F238E27FC236}">
                  <a16:creationId xmlns:a16="http://schemas.microsoft.com/office/drawing/2014/main" id="{9B65FAF0-3D52-4DAB-A01E-A064D519BC7E}"/>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230" name="Rectangle: Rounded Corners 229">
              <a:extLst>
                <a:ext uri="{FF2B5EF4-FFF2-40B4-BE49-F238E27FC236}">
                  <a16:creationId xmlns:a16="http://schemas.microsoft.com/office/drawing/2014/main" id="{42042137-A4D0-4A9C-B667-243712C7A418}"/>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sp>
        <p:nvSpPr>
          <p:cNvPr id="2" name="Title 1"/>
          <p:cNvSpPr>
            <a:spLocks noGrp="1"/>
          </p:cNvSpPr>
          <p:nvPr>
            <p:ph type="title"/>
          </p:nvPr>
        </p:nvSpPr>
        <p:spPr>
          <a:xfrm>
            <a:off x="305520" y="190071"/>
            <a:ext cx="8345488" cy="731837"/>
          </a:xfrm>
        </p:spPr>
        <p:txBody>
          <a:bodyPr>
            <a:normAutofit/>
          </a:bodyPr>
          <a:lstStyle/>
          <a:p>
            <a:r>
              <a:rPr lang="en-US" dirty="0"/>
              <a:t>High Performance, 5G-ready Portfolio</a:t>
            </a:r>
          </a:p>
        </p:txBody>
      </p:sp>
      <p:sp>
        <p:nvSpPr>
          <p:cNvPr id="219" name="TextBox 218">
            <a:extLst>
              <a:ext uri="{FF2B5EF4-FFF2-40B4-BE49-F238E27FC236}">
                <a16:creationId xmlns:a16="http://schemas.microsoft.com/office/drawing/2014/main" id="{276B166A-BC0F-4828-B542-C8C5392D92CC}"/>
              </a:ext>
            </a:extLst>
          </p:cNvPr>
          <p:cNvSpPr txBox="1"/>
          <p:nvPr/>
        </p:nvSpPr>
        <p:spPr>
          <a:xfrm>
            <a:off x="2335067" y="1635511"/>
            <a:ext cx="567784" cy="230832"/>
          </a:xfrm>
          <a:prstGeom prst="rect">
            <a:avLst/>
          </a:prstGeom>
          <a:noFill/>
        </p:spPr>
        <p:txBody>
          <a:bodyPr wrap="none" rtlCol="0">
            <a:spAutoFit/>
          </a:bodyPr>
          <a:lstStyle/>
          <a:p>
            <a:pPr algn="ctr" defTabSz="457189"/>
            <a:r>
              <a:rPr lang="en-US" sz="900" dirty="0">
                <a:solidFill>
                  <a:srgbClr val="282828"/>
                </a:solidFill>
                <a:latin typeface="CiscoSansTT ExtraLight"/>
              </a:rPr>
              <a:t>Access</a:t>
            </a:r>
          </a:p>
        </p:txBody>
      </p:sp>
      <p:sp>
        <p:nvSpPr>
          <p:cNvPr id="221" name="TextBox 220">
            <a:extLst>
              <a:ext uri="{FF2B5EF4-FFF2-40B4-BE49-F238E27FC236}">
                <a16:creationId xmlns:a16="http://schemas.microsoft.com/office/drawing/2014/main" id="{7749401B-873F-4639-BC3C-068FB9511884}"/>
              </a:ext>
            </a:extLst>
          </p:cNvPr>
          <p:cNvSpPr txBox="1"/>
          <p:nvPr/>
        </p:nvSpPr>
        <p:spPr>
          <a:xfrm>
            <a:off x="3712802" y="1635511"/>
            <a:ext cx="1043877" cy="230832"/>
          </a:xfrm>
          <a:prstGeom prst="rect">
            <a:avLst/>
          </a:prstGeom>
          <a:noFill/>
        </p:spPr>
        <p:txBody>
          <a:bodyPr wrap="none" rtlCol="0">
            <a:spAutoFit/>
          </a:bodyPr>
          <a:lstStyle/>
          <a:p>
            <a:pPr algn="ctr" defTabSz="457189"/>
            <a:r>
              <a:rPr lang="en-US" sz="900" dirty="0">
                <a:solidFill>
                  <a:srgbClr val="282828"/>
                </a:solidFill>
                <a:latin typeface="CiscoSansTT ExtraLight"/>
              </a:rPr>
              <a:t>Pre-aggregation</a:t>
            </a:r>
          </a:p>
        </p:txBody>
      </p:sp>
      <p:sp>
        <p:nvSpPr>
          <p:cNvPr id="222" name="TextBox 221">
            <a:extLst>
              <a:ext uri="{FF2B5EF4-FFF2-40B4-BE49-F238E27FC236}">
                <a16:creationId xmlns:a16="http://schemas.microsoft.com/office/drawing/2014/main" id="{9D72C430-1B71-483E-967A-677BB149503E}"/>
              </a:ext>
            </a:extLst>
          </p:cNvPr>
          <p:cNvSpPr txBox="1"/>
          <p:nvPr/>
        </p:nvSpPr>
        <p:spPr>
          <a:xfrm>
            <a:off x="6921998" y="1643846"/>
            <a:ext cx="439544" cy="230832"/>
          </a:xfrm>
          <a:prstGeom prst="rect">
            <a:avLst/>
          </a:prstGeom>
          <a:noFill/>
        </p:spPr>
        <p:txBody>
          <a:bodyPr wrap="none" rtlCol="0">
            <a:spAutoFit/>
          </a:bodyPr>
          <a:lstStyle/>
          <a:p>
            <a:pPr algn="ctr" defTabSz="457189"/>
            <a:r>
              <a:rPr lang="en-US" sz="900" dirty="0">
                <a:solidFill>
                  <a:srgbClr val="282828"/>
                </a:solidFill>
                <a:latin typeface="CiscoSansTT ExtraLight"/>
              </a:rPr>
              <a:t>Core</a:t>
            </a:r>
          </a:p>
        </p:txBody>
      </p:sp>
      <p:sp>
        <p:nvSpPr>
          <p:cNvPr id="228" name="TextBox 227">
            <a:extLst>
              <a:ext uri="{FF2B5EF4-FFF2-40B4-BE49-F238E27FC236}">
                <a16:creationId xmlns:a16="http://schemas.microsoft.com/office/drawing/2014/main" id="{7B50B941-6BE1-4721-8F0C-BDF20025CCE1}"/>
              </a:ext>
            </a:extLst>
          </p:cNvPr>
          <p:cNvSpPr txBox="1"/>
          <p:nvPr/>
        </p:nvSpPr>
        <p:spPr>
          <a:xfrm>
            <a:off x="5349355" y="1635511"/>
            <a:ext cx="819455" cy="230832"/>
          </a:xfrm>
          <a:prstGeom prst="rect">
            <a:avLst/>
          </a:prstGeom>
          <a:noFill/>
        </p:spPr>
        <p:txBody>
          <a:bodyPr wrap="none" rtlCol="0">
            <a:spAutoFit/>
          </a:bodyPr>
          <a:lstStyle/>
          <a:p>
            <a:pPr algn="ctr" defTabSz="457189"/>
            <a:r>
              <a:rPr lang="en-US" sz="900" dirty="0">
                <a:solidFill>
                  <a:srgbClr val="282828"/>
                </a:solidFill>
                <a:latin typeface="CiscoSansTT ExtraLight"/>
              </a:rPr>
              <a:t>Aggregation</a:t>
            </a:r>
          </a:p>
        </p:txBody>
      </p:sp>
      <p:grpSp>
        <p:nvGrpSpPr>
          <p:cNvPr id="288" name="Group 287">
            <a:extLst>
              <a:ext uri="{FF2B5EF4-FFF2-40B4-BE49-F238E27FC236}">
                <a16:creationId xmlns:a16="http://schemas.microsoft.com/office/drawing/2014/main" id="{C6A1B02A-E50A-465C-A9FF-9D238123F81B}"/>
              </a:ext>
            </a:extLst>
          </p:cNvPr>
          <p:cNvGrpSpPr/>
          <p:nvPr/>
        </p:nvGrpSpPr>
        <p:grpSpPr>
          <a:xfrm>
            <a:off x="1816199" y="1211995"/>
            <a:ext cx="175204" cy="107630"/>
            <a:chOff x="3221673" y="3946130"/>
            <a:chExt cx="521162" cy="320153"/>
          </a:xfrm>
          <a:solidFill>
            <a:schemeClr val="accent2"/>
          </a:solidFill>
        </p:grpSpPr>
        <p:sp>
          <p:nvSpPr>
            <p:cNvPr id="289" name="Freeform 7">
              <a:extLst>
                <a:ext uri="{FF2B5EF4-FFF2-40B4-BE49-F238E27FC236}">
                  <a16:creationId xmlns:a16="http://schemas.microsoft.com/office/drawing/2014/main" id="{78E343A9-06D1-4E8A-AFAE-A0F10C40A364}"/>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pPr defTabSz="457189"/>
              <a:endParaRPr lang="en-US">
                <a:solidFill>
                  <a:srgbClr val="282828"/>
                </a:solidFill>
              </a:endParaRPr>
            </a:p>
          </p:txBody>
        </p:sp>
        <p:sp>
          <p:nvSpPr>
            <p:cNvPr id="290" name="Freeform 23">
              <a:extLst>
                <a:ext uri="{FF2B5EF4-FFF2-40B4-BE49-F238E27FC236}">
                  <a16:creationId xmlns:a16="http://schemas.microsoft.com/office/drawing/2014/main" id="{2997D6A4-EE20-4B45-BAE5-DA8A2AAF210D}"/>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pPr defTabSz="457189"/>
              <a:endParaRPr lang="en-US">
                <a:solidFill>
                  <a:srgbClr val="282828"/>
                </a:solidFill>
              </a:endParaRPr>
            </a:p>
          </p:txBody>
        </p:sp>
      </p:grpSp>
      <p:grpSp>
        <p:nvGrpSpPr>
          <p:cNvPr id="291" name="Group 290">
            <a:extLst>
              <a:ext uri="{FF2B5EF4-FFF2-40B4-BE49-F238E27FC236}">
                <a16:creationId xmlns:a16="http://schemas.microsoft.com/office/drawing/2014/main" id="{D311FC14-C2E6-4EB7-AA98-8FA6081BAC78}"/>
              </a:ext>
            </a:extLst>
          </p:cNvPr>
          <p:cNvGrpSpPr/>
          <p:nvPr/>
        </p:nvGrpSpPr>
        <p:grpSpPr>
          <a:xfrm>
            <a:off x="1451532" y="1211563"/>
            <a:ext cx="181542" cy="108492"/>
            <a:chOff x="3202819" y="3711222"/>
            <a:chExt cx="348044" cy="207998"/>
          </a:xfrm>
          <a:solidFill>
            <a:schemeClr val="accent1"/>
          </a:solidFill>
        </p:grpSpPr>
        <p:sp>
          <p:nvSpPr>
            <p:cNvPr id="292" name="Freeform 77">
              <a:extLst>
                <a:ext uri="{FF2B5EF4-FFF2-40B4-BE49-F238E27FC236}">
                  <a16:creationId xmlns:a16="http://schemas.microsoft.com/office/drawing/2014/main" id="{E0B0437F-0CCB-4261-8BDD-D7D4887026FA}"/>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pPr defTabSz="457189"/>
              <a:endParaRPr lang="en-US">
                <a:solidFill>
                  <a:srgbClr val="282828"/>
                </a:solidFill>
              </a:endParaRPr>
            </a:p>
          </p:txBody>
        </p:sp>
        <p:sp>
          <p:nvSpPr>
            <p:cNvPr id="293" name="Freeform 23">
              <a:extLst>
                <a:ext uri="{FF2B5EF4-FFF2-40B4-BE49-F238E27FC236}">
                  <a16:creationId xmlns:a16="http://schemas.microsoft.com/office/drawing/2014/main" id="{00B453A5-D21C-4649-81C4-9094E20BFB89}"/>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pPr defTabSz="457189"/>
              <a:endParaRPr lang="en-US">
                <a:solidFill>
                  <a:srgbClr val="282828"/>
                </a:solidFill>
              </a:endParaRPr>
            </a:p>
          </p:txBody>
        </p:sp>
      </p:grpSp>
      <p:grpSp>
        <p:nvGrpSpPr>
          <p:cNvPr id="64" name="Group 63">
            <a:extLst>
              <a:ext uri="{FF2B5EF4-FFF2-40B4-BE49-F238E27FC236}">
                <a16:creationId xmlns:a16="http://schemas.microsoft.com/office/drawing/2014/main" id="{0C3C3788-0243-4DE6-945A-CA42CF3FCCEC}"/>
              </a:ext>
            </a:extLst>
          </p:cNvPr>
          <p:cNvGrpSpPr/>
          <p:nvPr/>
        </p:nvGrpSpPr>
        <p:grpSpPr>
          <a:xfrm>
            <a:off x="1093859" y="1211996"/>
            <a:ext cx="173897" cy="107627"/>
            <a:chOff x="974446" y="1475289"/>
            <a:chExt cx="173897" cy="107627"/>
          </a:xfrm>
          <a:solidFill>
            <a:schemeClr val="accent5"/>
          </a:solidFill>
        </p:grpSpPr>
        <p:sp>
          <p:nvSpPr>
            <p:cNvPr id="287" name="Freeform 11">
              <a:extLst>
                <a:ext uri="{FF2B5EF4-FFF2-40B4-BE49-F238E27FC236}">
                  <a16:creationId xmlns:a16="http://schemas.microsoft.com/office/drawing/2014/main" id="{38A822DD-B6EB-459F-8FE0-DACEC8C3982D}"/>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457189"/>
              <a:endParaRPr lang="en-US">
                <a:solidFill>
                  <a:srgbClr val="282828"/>
                </a:solidFill>
              </a:endParaRPr>
            </a:p>
          </p:txBody>
        </p:sp>
        <p:sp>
          <p:nvSpPr>
            <p:cNvPr id="295" name="Freeform 23">
              <a:extLst>
                <a:ext uri="{FF2B5EF4-FFF2-40B4-BE49-F238E27FC236}">
                  <a16:creationId xmlns:a16="http://schemas.microsoft.com/office/drawing/2014/main" id="{B0AC208F-D501-4EB1-B446-8543E39F22B2}"/>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pPr defTabSz="457189"/>
              <a:endParaRPr lang="en-US">
                <a:solidFill>
                  <a:srgbClr val="282828"/>
                </a:solidFill>
              </a:endParaRPr>
            </a:p>
          </p:txBody>
        </p:sp>
      </p:grpSp>
      <p:grpSp>
        <p:nvGrpSpPr>
          <p:cNvPr id="85" name="Group 84">
            <a:extLst>
              <a:ext uri="{FF2B5EF4-FFF2-40B4-BE49-F238E27FC236}">
                <a16:creationId xmlns:a16="http://schemas.microsoft.com/office/drawing/2014/main" id="{CC65A828-0901-4CC0-A9A7-4981BBD9ABE4}"/>
              </a:ext>
            </a:extLst>
          </p:cNvPr>
          <p:cNvGrpSpPr/>
          <p:nvPr/>
        </p:nvGrpSpPr>
        <p:grpSpPr>
          <a:xfrm>
            <a:off x="3281618" y="1189611"/>
            <a:ext cx="433812" cy="433812"/>
            <a:chOff x="3119641" y="1416189"/>
            <a:chExt cx="507244" cy="507244"/>
          </a:xfrm>
        </p:grpSpPr>
        <p:sp>
          <p:nvSpPr>
            <p:cNvPr id="131" name="Oval 130">
              <a:extLst>
                <a:ext uri="{FF2B5EF4-FFF2-40B4-BE49-F238E27FC236}">
                  <a16:creationId xmlns:a16="http://schemas.microsoft.com/office/drawing/2014/main" id="{5422990F-655A-4400-A240-34FE8E8513A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nvGrpSpPr>
            <p:cNvPr id="67" name="Group 66">
              <a:extLst>
                <a:ext uri="{FF2B5EF4-FFF2-40B4-BE49-F238E27FC236}">
                  <a16:creationId xmlns:a16="http://schemas.microsoft.com/office/drawing/2014/main" id="{9308D5D1-FA82-40C8-8E59-78AF0E546798}"/>
                </a:ext>
              </a:extLst>
            </p:cNvPr>
            <p:cNvGrpSpPr/>
            <p:nvPr/>
          </p:nvGrpSpPr>
          <p:grpSpPr>
            <a:xfrm>
              <a:off x="3179583" y="1476131"/>
              <a:ext cx="387360" cy="387360"/>
              <a:chOff x="2652535" y="-3571486"/>
              <a:chExt cx="4882348" cy="4882348"/>
            </a:xfrm>
            <a:solidFill>
              <a:schemeClr val="bg2"/>
            </a:solidFill>
          </p:grpSpPr>
          <p:sp>
            <p:nvSpPr>
              <p:cNvPr id="299" name="Freeform: Shape 298">
                <a:extLst>
                  <a:ext uri="{FF2B5EF4-FFF2-40B4-BE49-F238E27FC236}">
                    <a16:creationId xmlns:a16="http://schemas.microsoft.com/office/drawing/2014/main" id="{43130683-0242-4486-9227-31AEBEC20EB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00" name="Freeform: Shape 299">
                <a:extLst>
                  <a:ext uri="{FF2B5EF4-FFF2-40B4-BE49-F238E27FC236}">
                    <a16:creationId xmlns:a16="http://schemas.microsoft.com/office/drawing/2014/main" id="{69849F13-2C67-4DC1-8396-862B0D307C1C}"/>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nvGrpSpPr>
              <p:cNvPr id="301" name="Group 300">
                <a:extLst>
                  <a:ext uri="{FF2B5EF4-FFF2-40B4-BE49-F238E27FC236}">
                    <a16:creationId xmlns:a16="http://schemas.microsoft.com/office/drawing/2014/main" id="{66C9D715-04B9-4A85-BAE7-40A5F10905A6}"/>
                  </a:ext>
                </a:extLst>
              </p:cNvPr>
              <p:cNvGrpSpPr/>
              <p:nvPr/>
            </p:nvGrpSpPr>
            <p:grpSpPr>
              <a:xfrm rot="5400000">
                <a:off x="4197485" y="-3571486"/>
                <a:ext cx="1792447" cy="4882348"/>
                <a:chOff x="4197485" y="-3571486"/>
                <a:chExt cx="1792447" cy="4882348"/>
              </a:xfrm>
              <a:grpFill/>
            </p:grpSpPr>
            <p:sp>
              <p:nvSpPr>
                <p:cNvPr id="302" name="Freeform: Shape 301">
                  <a:extLst>
                    <a:ext uri="{FF2B5EF4-FFF2-40B4-BE49-F238E27FC236}">
                      <a16:creationId xmlns:a16="http://schemas.microsoft.com/office/drawing/2014/main" id="{CD22F07A-772A-4F74-B17C-44FFE0D0E7F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03" name="Freeform: Shape 302">
                  <a:extLst>
                    <a:ext uri="{FF2B5EF4-FFF2-40B4-BE49-F238E27FC236}">
                      <a16:creationId xmlns:a16="http://schemas.microsoft.com/office/drawing/2014/main" id="{AA5C33EC-4745-4D93-86A5-B44030B64CA6}"/>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grpSp>
      </p:grpSp>
      <p:grpSp>
        <p:nvGrpSpPr>
          <p:cNvPr id="78" name="Group 77">
            <a:extLst>
              <a:ext uri="{FF2B5EF4-FFF2-40B4-BE49-F238E27FC236}">
                <a16:creationId xmlns:a16="http://schemas.microsoft.com/office/drawing/2014/main" id="{EFE6C96E-3EDD-4232-BB5A-1A22479E7D90}"/>
              </a:ext>
            </a:extLst>
          </p:cNvPr>
          <p:cNvGrpSpPr/>
          <p:nvPr/>
        </p:nvGrpSpPr>
        <p:grpSpPr>
          <a:xfrm>
            <a:off x="3281618" y="1899865"/>
            <a:ext cx="433812" cy="433812"/>
            <a:chOff x="3119641" y="2126443"/>
            <a:chExt cx="507244" cy="507244"/>
          </a:xfrm>
        </p:grpSpPr>
        <p:sp>
          <p:nvSpPr>
            <p:cNvPr id="132" name="Oval 131">
              <a:extLst>
                <a:ext uri="{FF2B5EF4-FFF2-40B4-BE49-F238E27FC236}">
                  <a16:creationId xmlns:a16="http://schemas.microsoft.com/office/drawing/2014/main" id="{638A3801-EAE3-400C-B6C3-84C1C6BED2C9}"/>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nvGrpSpPr>
            <p:cNvPr id="310" name="Group 309">
              <a:extLst>
                <a:ext uri="{FF2B5EF4-FFF2-40B4-BE49-F238E27FC236}">
                  <a16:creationId xmlns:a16="http://schemas.microsoft.com/office/drawing/2014/main" id="{5233BDA4-5E3A-4FC2-8989-9BD40F0D46B4}"/>
                </a:ext>
              </a:extLst>
            </p:cNvPr>
            <p:cNvGrpSpPr/>
            <p:nvPr/>
          </p:nvGrpSpPr>
          <p:grpSpPr>
            <a:xfrm>
              <a:off x="3179583" y="2186385"/>
              <a:ext cx="387360" cy="387360"/>
              <a:chOff x="2652535" y="-3571486"/>
              <a:chExt cx="4882348" cy="4882348"/>
            </a:xfrm>
            <a:solidFill>
              <a:schemeClr val="bg2"/>
            </a:solidFill>
          </p:grpSpPr>
          <p:sp>
            <p:nvSpPr>
              <p:cNvPr id="311" name="Freeform: Shape 310">
                <a:extLst>
                  <a:ext uri="{FF2B5EF4-FFF2-40B4-BE49-F238E27FC236}">
                    <a16:creationId xmlns:a16="http://schemas.microsoft.com/office/drawing/2014/main" id="{ACEE0769-48DE-4DB1-9B51-7A7218E64F77}"/>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12" name="Freeform: Shape 311">
                <a:extLst>
                  <a:ext uri="{FF2B5EF4-FFF2-40B4-BE49-F238E27FC236}">
                    <a16:creationId xmlns:a16="http://schemas.microsoft.com/office/drawing/2014/main" id="{B823A34A-A87D-453A-8CB6-F9215305237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nvGrpSpPr>
              <p:cNvPr id="313" name="Group 312">
                <a:extLst>
                  <a:ext uri="{FF2B5EF4-FFF2-40B4-BE49-F238E27FC236}">
                    <a16:creationId xmlns:a16="http://schemas.microsoft.com/office/drawing/2014/main" id="{AC8C7A1E-59AB-4010-81F1-A777CB6F330E}"/>
                  </a:ext>
                </a:extLst>
              </p:cNvPr>
              <p:cNvGrpSpPr/>
              <p:nvPr/>
            </p:nvGrpSpPr>
            <p:grpSpPr>
              <a:xfrm rot="5400000">
                <a:off x="4197485" y="-3571486"/>
                <a:ext cx="1792447" cy="4882348"/>
                <a:chOff x="4197485" y="-3571486"/>
                <a:chExt cx="1792447" cy="4882348"/>
              </a:xfrm>
              <a:grpFill/>
            </p:grpSpPr>
            <p:sp>
              <p:nvSpPr>
                <p:cNvPr id="314" name="Freeform: Shape 313">
                  <a:extLst>
                    <a:ext uri="{FF2B5EF4-FFF2-40B4-BE49-F238E27FC236}">
                      <a16:creationId xmlns:a16="http://schemas.microsoft.com/office/drawing/2014/main" id="{0CEC106C-79A2-42D8-B41B-A3F210E1A6E8}"/>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15" name="Freeform: Shape 314">
                  <a:extLst>
                    <a:ext uri="{FF2B5EF4-FFF2-40B4-BE49-F238E27FC236}">
                      <a16:creationId xmlns:a16="http://schemas.microsoft.com/office/drawing/2014/main" id="{BD45C410-464D-42D3-AFCB-1473F902FD3B}"/>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grpSp>
      </p:grpSp>
      <p:grpSp>
        <p:nvGrpSpPr>
          <p:cNvPr id="73" name="Group 72">
            <a:extLst>
              <a:ext uri="{FF2B5EF4-FFF2-40B4-BE49-F238E27FC236}">
                <a16:creationId xmlns:a16="http://schemas.microsoft.com/office/drawing/2014/main" id="{EB9650AB-E977-46DD-A82C-5EEF2A1589BA}"/>
              </a:ext>
            </a:extLst>
          </p:cNvPr>
          <p:cNvGrpSpPr/>
          <p:nvPr/>
        </p:nvGrpSpPr>
        <p:grpSpPr>
          <a:xfrm>
            <a:off x="4758371" y="1189611"/>
            <a:ext cx="433812" cy="433812"/>
            <a:chOff x="4596394" y="1416189"/>
            <a:chExt cx="507244" cy="507244"/>
          </a:xfrm>
        </p:grpSpPr>
        <p:sp>
          <p:nvSpPr>
            <p:cNvPr id="139" name="Oval 138">
              <a:extLst>
                <a:ext uri="{FF2B5EF4-FFF2-40B4-BE49-F238E27FC236}">
                  <a16:creationId xmlns:a16="http://schemas.microsoft.com/office/drawing/2014/main" id="{B0DB67AB-FE23-40FB-8DC2-D639FDE954D0}"/>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nvGrpSpPr>
            <p:cNvPr id="316" name="Group 315">
              <a:extLst>
                <a:ext uri="{FF2B5EF4-FFF2-40B4-BE49-F238E27FC236}">
                  <a16:creationId xmlns:a16="http://schemas.microsoft.com/office/drawing/2014/main" id="{7A395674-ABF1-4DF4-92C2-B05EC3F643EC}"/>
                </a:ext>
              </a:extLst>
            </p:cNvPr>
            <p:cNvGrpSpPr/>
            <p:nvPr/>
          </p:nvGrpSpPr>
          <p:grpSpPr>
            <a:xfrm>
              <a:off x="4656336" y="1476131"/>
              <a:ext cx="387360" cy="387360"/>
              <a:chOff x="2652535" y="-3571486"/>
              <a:chExt cx="4882348" cy="4882348"/>
            </a:xfrm>
            <a:solidFill>
              <a:schemeClr val="bg2"/>
            </a:solidFill>
          </p:grpSpPr>
          <p:sp>
            <p:nvSpPr>
              <p:cNvPr id="317" name="Freeform: Shape 316">
                <a:extLst>
                  <a:ext uri="{FF2B5EF4-FFF2-40B4-BE49-F238E27FC236}">
                    <a16:creationId xmlns:a16="http://schemas.microsoft.com/office/drawing/2014/main" id="{329CA738-A747-4895-8DAE-B403FA7B59CF}"/>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18" name="Freeform: Shape 317">
                <a:extLst>
                  <a:ext uri="{FF2B5EF4-FFF2-40B4-BE49-F238E27FC236}">
                    <a16:creationId xmlns:a16="http://schemas.microsoft.com/office/drawing/2014/main" id="{B08DC48B-AF2D-473F-82E9-07DE17F28FC0}"/>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nvGrpSpPr>
              <p:cNvPr id="319" name="Group 318">
                <a:extLst>
                  <a:ext uri="{FF2B5EF4-FFF2-40B4-BE49-F238E27FC236}">
                    <a16:creationId xmlns:a16="http://schemas.microsoft.com/office/drawing/2014/main" id="{0235BD80-4386-413E-9622-57169419E460}"/>
                  </a:ext>
                </a:extLst>
              </p:cNvPr>
              <p:cNvGrpSpPr/>
              <p:nvPr/>
            </p:nvGrpSpPr>
            <p:grpSpPr>
              <a:xfrm rot="5400000">
                <a:off x="4197485" y="-3571486"/>
                <a:ext cx="1792447" cy="4882348"/>
                <a:chOff x="4197485" y="-3571486"/>
                <a:chExt cx="1792447" cy="4882348"/>
              </a:xfrm>
              <a:grpFill/>
            </p:grpSpPr>
            <p:sp>
              <p:nvSpPr>
                <p:cNvPr id="320" name="Freeform: Shape 319">
                  <a:extLst>
                    <a:ext uri="{FF2B5EF4-FFF2-40B4-BE49-F238E27FC236}">
                      <a16:creationId xmlns:a16="http://schemas.microsoft.com/office/drawing/2014/main" id="{4337057A-BFEC-4614-B27F-6BE74B5F24F5}"/>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21" name="Freeform: Shape 320">
                  <a:extLst>
                    <a:ext uri="{FF2B5EF4-FFF2-40B4-BE49-F238E27FC236}">
                      <a16:creationId xmlns:a16="http://schemas.microsoft.com/office/drawing/2014/main" id="{4A796412-93EC-4EEF-8B29-019823BDBFA6}"/>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grpSp>
      </p:grpSp>
      <p:grpSp>
        <p:nvGrpSpPr>
          <p:cNvPr id="72" name="Group 71">
            <a:extLst>
              <a:ext uri="{FF2B5EF4-FFF2-40B4-BE49-F238E27FC236}">
                <a16:creationId xmlns:a16="http://schemas.microsoft.com/office/drawing/2014/main" id="{5CC03C25-B97C-4FE7-A13E-91AD825C2BA7}"/>
              </a:ext>
            </a:extLst>
          </p:cNvPr>
          <p:cNvGrpSpPr/>
          <p:nvPr/>
        </p:nvGrpSpPr>
        <p:grpSpPr>
          <a:xfrm>
            <a:off x="4758371" y="1899865"/>
            <a:ext cx="433812" cy="433812"/>
            <a:chOff x="4596394" y="2126443"/>
            <a:chExt cx="507244" cy="507244"/>
          </a:xfrm>
        </p:grpSpPr>
        <p:sp>
          <p:nvSpPr>
            <p:cNvPr id="140" name="Oval 139">
              <a:extLst>
                <a:ext uri="{FF2B5EF4-FFF2-40B4-BE49-F238E27FC236}">
                  <a16:creationId xmlns:a16="http://schemas.microsoft.com/office/drawing/2014/main" id="{0D7CCEB6-2B18-4EF0-8E0E-BAAECA4E4FD2}"/>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nvGrpSpPr>
            <p:cNvPr id="322" name="Group 321">
              <a:extLst>
                <a:ext uri="{FF2B5EF4-FFF2-40B4-BE49-F238E27FC236}">
                  <a16:creationId xmlns:a16="http://schemas.microsoft.com/office/drawing/2014/main" id="{E1DD3FEE-56A0-4039-83B9-B38508CABCAC}"/>
                </a:ext>
              </a:extLst>
            </p:cNvPr>
            <p:cNvGrpSpPr/>
            <p:nvPr/>
          </p:nvGrpSpPr>
          <p:grpSpPr>
            <a:xfrm>
              <a:off x="4656336" y="2186385"/>
              <a:ext cx="387360" cy="387360"/>
              <a:chOff x="2652535" y="-3571486"/>
              <a:chExt cx="4882348" cy="4882348"/>
            </a:xfrm>
            <a:solidFill>
              <a:schemeClr val="bg2"/>
            </a:solidFill>
          </p:grpSpPr>
          <p:sp>
            <p:nvSpPr>
              <p:cNvPr id="323" name="Freeform: Shape 322">
                <a:extLst>
                  <a:ext uri="{FF2B5EF4-FFF2-40B4-BE49-F238E27FC236}">
                    <a16:creationId xmlns:a16="http://schemas.microsoft.com/office/drawing/2014/main" id="{E8080F09-BDB4-4D29-BDBD-AB63902E9106}"/>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24" name="Freeform: Shape 323">
                <a:extLst>
                  <a:ext uri="{FF2B5EF4-FFF2-40B4-BE49-F238E27FC236}">
                    <a16:creationId xmlns:a16="http://schemas.microsoft.com/office/drawing/2014/main" id="{8851BC79-E2D8-4A7D-9F84-C74D8056F9B4}"/>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nvGrpSpPr>
              <p:cNvPr id="325" name="Group 324">
                <a:extLst>
                  <a:ext uri="{FF2B5EF4-FFF2-40B4-BE49-F238E27FC236}">
                    <a16:creationId xmlns:a16="http://schemas.microsoft.com/office/drawing/2014/main" id="{334AFB6F-BDCC-41B4-A320-86199CBCAA17}"/>
                  </a:ext>
                </a:extLst>
              </p:cNvPr>
              <p:cNvGrpSpPr/>
              <p:nvPr/>
            </p:nvGrpSpPr>
            <p:grpSpPr>
              <a:xfrm rot="5400000">
                <a:off x="4197485" y="-3571486"/>
                <a:ext cx="1792447" cy="4882348"/>
                <a:chOff x="4197485" y="-3571486"/>
                <a:chExt cx="1792447" cy="4882348"/>
              </a:xfrm>
              <a:grpFill/>
            </p:grpSpPr>
            <p:sp>
              <p:nvSpPr>
                <p:cNvPr id="326" name="Freeform: Shape 325">
                  <a:extLst>
                    <a:ext uri="{FF2B5EF4-FFF2-40B4-BE49-F238E27FC236}">
                      <a16:creationId xmlns:a16="http://schemas.microsoft.com/office/drawing/2014/main" id="{AE300CB0-B4AA-460F-863A-DC40E9CEEFEF}"/>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27" name="Freeform: Shape 326">
                  <a:extLst>
                    <a:ext uri="{FF2B5EF4-FFF2-40B4-BE49-F238E27FC236}">
                      <a16:creationId xmlns:a16="http://schemas.microsoft.com/office/drawing/2014/main" id="{EC7A8362-6B62-41CA-B2B0-61E516299615}"/>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grpSp>
      </p:grpSp>
      <p:grpSp>
        <p:nvGrpSpPr>
          <p:cNvPr id="69" name="Group 68">
            <a:extLst>
              <a:ext uri="{FF2B5EF4-FFF2-40B4-BE49-F238E27FC236}">
                <a16:creationId xmlns:a16="http://schemas.microsoft.com/office/drawing/2014/main" id="{AF0B0B71-7D6B-4221-B9B7-9EFE72EB1D6E}"/>
              </a:ext>
            </a:extLst>
          </p:cNvPr>
          <p:cNvGrpSpPr/>
          <p:nvPr/>
        </p:nvGrpSpPr>
        <p:grpSpPr>
          <a:xfrm>
            <a:off x="6235124" y="1189611"/>
            <a:ext cx="433812" cy="433812"/>
            <a:chOff x="6073147" y="1416189"/>
            <a:chExt cx="507244" cy="507244"/>
          </a:xfrm>
        </p:grpSpPr>
        <p:sp>
          <p:nvSpPr>
            <p:cNvPr id="127" name="Oval 126">
              <a:extLst>
                <a:ext uri="{FF2B5EF4-FFF2-40B4-BE49-F238E27FC236}">
                  <a16:creationId xmlns:a16="http://schemas.microsoft.com/office/drawing/2014/main" id="{B453DA27-91AD-437E-9711-3B7CD1501F27}"/>
                </a:ext>
              </a:extLst>
            </p:cNvPr>
            <p:cNvSpPr/>
            <p:nvPr/>
          </p:nvSpPr>
          <p:spPr>
            <a:xfrm>
              <a:off x="6073147"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nvGrpSpPr>
            <p:cNvPr id="328" name="Group 327">
              <a:extLst>
                <a:ext uri="{FF2B5EF4-FFF2-40B4-BE49-F238E27FC236}">
                  <a16:creationId xmlns:a16="http://schemas.microsoft.com/office/drawing/2014/main" id="{025B35E8-257F-40CB-8036-2BAE385FC7BA}"/>
                </a:ext>
              </a:extLst>
            </p:cNvPr>
            <p:cNvGrpSpPr/>
            <p:nvPr/>
          </p:nvGrpSpPr>
          <p:grpSpPr>
            <a:xfrm>
              <a:off x="6133089" y="1476131"/>
              <a:ext cx="387360" cy="387360"/>
              <a:chOff x="2652535" y="-3571486"/>
              <a:chExt cx="4882348" cy="4882348"/>
            </a:xfrm>
            <a:solidFill>
              <a:schemeClr val="bg2"/>
            </a:solidFill>
          </p:grpSpPr>
          <p:sp>
            <p:nvSpPr>
              <p:cNvPr id="329" name="Freeform: Shape 328">
                <a:extLst>
                  <a:ext uri="{FF2B5EF4-FFF2-40B4-BE49-F238E27FC236}">
                    <a16:creationId xmlns:a16="http://schemas.microsoft.com/office/drawing/2014/main" id="{95370E25-9E03-4474-B925-8729736E961C}"/>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30" name="Freeform: Shape 329">
                <a:extLst>
                  <a:ext uri="{FF2B5EF4-FFF2-40B4-BE49-F238E27FC236}">
                    <a16:creationId xmlns:a16="http://schemas.microsoft.com/office/drawing/2014/main" id="{7F5F5F38-C629-4214-B860-5FA72A421510}"/>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nvGrpSpPr>
              <p:cNvPr id="331" name="Group 330">
                <a:extLst>
                  <a:ext uri="{FF2B5EF4-FFF2-40B4-BE49-F238E27FC236}">
                    <a16:creationId xmlns:a16="http://schemas.microsoft.com/office/drawing/2014/main" id="{DCC8D8B6-7CFE-4C69-9CAD-66B4BD9941F2}"/>
                  </a:ext>
                </a:extLst>
              </p:cNvPr>
              <p:cNvGrpSpPr/>
              <p:nvPr/>
            </p:nvGrpSpPr>
            <p:grpSpPr>
              <a:xfrm rot="5400000">
                <a:off x="4197485" y="-3571486"/>
                <a:ext cx="1792447" cy="4882348"/>
                <a:chOff x="4197485" y="-3571486"/>
                <a:chExt cx="1792447" cy="4882348"/>
              </a:xfrm>
              <a:grpFill/>
            </p:grpSpPr>
            <p:sp>
              <p:nvSpPr>
                <p:cNvPr id="332" name="Freeform: Shape 331">
                  <a:extLst>
                    <a:ext uri="{FF2B5EF4-FFF2-40B4-BE49-F238E27FC236}">
                      <a16:creationId xmlns:a16="http://schemas.microsoft.com/office/drawing/2014/main" id="{7072BF85-26EF-4680-8157-7F3E09F6130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33" name="Freeform: Shape 332">
                  <a:extLst>
                    <a:ext uri="{FF2B5EF4-FFF2-40B4-BE49-F238E27FC236}">
                      <a16:creationId xmlns:a16="http://schemas.microsoft.com/office/drawing/2014/main" id="{02D6BC80-454C-4476-8F11-1879D7306586}"/>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grpSp>
      </p:grpSp>
      <p:grpSp>
        <p:nvGrpSpPr>
          <p:cNvPr id="68" name="Group 67">
            <a:extLst>
              <a:ext uri="{FF2B5EF4-FFF2-40B4-BE49-F238E27FC236}">
                <a16:creationId xmlns:a16="http://schemas.microsoft.com/office/drawing/2014/main" id="{25E595E6-C54F-435A-AEB2-38915B59F3B2}"/>
              </a:ext>
            </a:extLst>
          </p:cNvPr>
          <p:cNvGrpSpPr/>
          <p:nvPr/>
        </p:nvGrpSpPr>
        <p:grpSpPr>
          <a:xfrm>
            <a:off x="6235124" y="1899865"/>
            <a:ext cx="433812" cy="433812"/>
            <a:chOff x="6073147" y="2126443"/>
            <a:chExt cx="507244" cy="507244"/>
          </a:xfrm>
        </p:grpSpPr>
        <p:sp>
          <p:nvSpPr>
            <p:cNvPr id="129" name="Oval 128">
              <a:extLst>
                <a:ext uri="{FF2B5EF4-FFF2-40B4-BE49-F238E27FC236}">
                  <a16:creationId xmlns:a16="http://schemas.microsoft.com/office/drawing/2014/main" id="{D7750711-9489-4FB0-8F08-DCB36328467B}"/>
                </a:ext>
              </a:extLst>
            </p:cNvPr>
            <p:cNvSpPr/>
            <p:nvPr/>
          </p:nvSpPr>
          <p:spPr>
            <a:xfrm>
              <a:off x="6073147"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nvGrpSpPr>
            <p:cNvPr id="334" name="Group 333">
              <a:extLst>
                <a:ext uri="{FF2B5EF4-FFF2-40B4-BE49-F238E27FC236}">
                  <a16:creationId xmlns:a16="http://schemas.microsoft.com/office/drawing/2014/main" id="{7CED5335-3A4E-4654-BEDD-5F9DFDB3FF84}"/>
                </a:ext>
              </a:extLst>
            </p:cNvPr>
            <p:cNvGrpSpPr/>
            <p:nvPr/>
          </p:nvGrpSpPr>
          <p:grpSpPr>
            <a:xfrm>
              <a:off x="6133089" y="2186385"/>
              <a:ext cx="387360" cy="387360"/>
              <a:chOff x="2652535" y="-3571486"/>
              <a:chExt cx="4882348" cy="4882348"/>
            </a:xfrm>
            <a:solidFill>
              <a:schemeClr val="bg2"/>
            </a:solidFill>
          </p:grpSpPr>
          <p:sp>
            <p:nvSpPr>
              <p:cNvPr id="335" name="Freeform: Shape 334">
                <a:extLst>
                  <a:ext uri="{FF2B5EF4-FFF2-40B4-BE49-F238E27FC236}">
                    <a16:creationId xmlns:a16="http://schemas.microsoft.com/office/drawing/2014/main" id="{36411E2F-3D2A-4CBD-A901-46C87035A88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36" name="Freeform: Shape 335">
                <a:extLst>
                  <a:ext uri="{FF2B5EF4-FFF2-40B4-BE49-F238E27FC236}">
                    <a16:creationId xmlns:a16="http://schemas.microsoft.com/office/drawing/2014/main" id="{DDF1E868-C2AE-4718-9CDA-8960DE43FC1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nvGrpSpPr>
              <p:cNvPr id="337" name="Group 336">
                <a:extLst>
                  <a:ext uri="{FF2B5EF4-FFF2-40B4-BE49-F238E27FC236}">
                    <a16:creationId xmlns:a16="http://schemas.microsoft.com/office/drawing/2014/main" id="{1BDAE1EA-7C22-4412-9979-F2453A10E079}"/>
                  </a:ext>
                </a:extLst>
              </p:cNvPr>
              <p:cNvGrpSpPr/>
              <p:nvPr/>
            </p:nvGrpSpPr>
            <p:grpSpPr>
              <a:xfrm rot="5400000">
                <a:off x="4197485" y="-3571486"/>
                <a:ext cx="1792447" cy="4882348"/>
                <a:chOff x="4197485" y="-3571486"/>
                <a:chExt cx="1792447" cy="4882348"/>
              </a:xfrm>
              <a:grpFill/>
            </p:grpSpPr>
            <p:sp>
              <p:nvSpPr>
                <p:cNvPr id="338" name="Freeform: Shape 337">
                  <a:extLst>
                    <a:ext uri="{FF2B5EF4-FFF2-40B4-BE49-F238E27FC236}">
                      <a16:creationId xmlns:a16="http://schemas.microsoft.com/office/drawing/2014/main" id="{A1B73B8F-F168-4288-821A-E14B8577D9C8}"/>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sp>
              <p:nvSpPr>
                <p:cNvPr id="339" name="Freeform: Shape 338">
                  <a:extLst>
                    <a:ext uri="{FF2B5EF4-FFF2-40B4-BE49-F238E27FC236}">
                      <a16:creationId xmlns:a16="http://schemas.microsoft.com/office/drawing/2014/main" id="{BBDAD5BD-8D3F-4B59-BE0B-AE7C7697359D}"/>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100" dirty="0">
                    <a:solidFill>
                      <a:srgbClr val="FFFFFF"/>
                    </a:solidFill>
                    <a:latin typeface="CiscoSansTT ExtraLight"/>
                  </a:endParaRPr>
                </a:p>
              </p:txBody>
            </p:sp>
          </p:grpSp>
        </p:grpSp>
      </p:grpSp>
      <p:grpSp>
        <p:nvGrpSpPr>
          <p:cNvPr id="344" name="Group 343">
            <a:extLst>
              <a:ext uri="{FF2B5EF4-FFF2-40B4-BE49-F238E27FC236}">
                <a16:creationId xmlns:a16="http://schemas.microsoft.com/office/drawing/2014/main" id="{46AAC52B-542B-4607-9A38-D63AB6572621}"/>
              </a:ext>
            </a:extLst>
          </p:cNvPr>
          <p:cNvGrpSpPr/>
          <p:nvPr/>
        </p:nvGrpSpPr>
        <p:grpSpPr>
          <a:xfrm>
            <a:off x="7374868" y="1236976"/>
            <a:ext cx="895603" cy="565814"/>
            <a:chOff x="6444145" y="1701124"/>
            <a:chExt cx="1280626" cy="802839"/>
          </a:xfrm>
          <a:solidFill>
            <a:schemeClr val="tx2"/>
          </a:solidFill>
        </p:grpSpPr>
        <p:grpSp>
          <p:nvGrpSpPr>
            <p:cNvPr id="345" name="Group 344">
              <a:extLst>
                <a:ext uri="{FF2B5EF4-FFF2-40B4-BE49-F238E27FC236}">
                  <a16:creationId xmlns:a16="http://schemas.microsoft.com/office/drawing/2014/main" id="{FF3734FE-657E-4D1E-B365-DF24B830E2AB}"/>
                </a:ext>
              </a:extLst>
            </p:cNvPr>
            <p:cNvGrpSpPr/>
            <p:nvPr/>
          </p:nvGrpSpPr>
          <p:grpSpPr>
            <a:xfrm>
              <a:off x="6444145" y="2041258"/>
              <a:ext cx="1280626" cy="462705"/>
              <a:chOff x="6799745" y="2065165"/>
              <a:chExt cx="1280626" cy="462705"/>
            </a:xfrm>
            <a:grpFill/>
          </p:grpSpPr>
          <p:sp>
            <p:nvSpPr>
              <p:cNvPr id="352" name="Rectangle: Rounded Corners 351">
                <a:extLst>
                  <a:ext uri="{FF2B5EF4-FFF2-40B4-BE49-F238E27FC236}">
                    <a16:creationId xmlns:a16="http://schemas.microsoft.com/office/drawing/2014/main" id="{AA8992C3-2808-417F-B800-F24411360E1A}"/>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354" name="Rectangle: Rounded Corners 353">
                <a:extLst>
                  <a:ext uri="{FF2B5EF4-FFF2-40B4-BE49-F238E27FC236}">
                    <a16:creationId xmlns:a16="http://schemas.microsoft.com/office/drawing/2014/main" id="{4EA2B3F3-116B-4D7D-82C0-0DA9D3780BBA}"/>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grpSp>
          <p:nvGrpSpPr>
            <p:cNvPr id="346" name="Group 345">
              <a:extLst>
                <a:ext uri="{FF2B5EF4-FFF2-40B4-BE49-F238E27FC236}">
                  <a16:creationId xmlns:a16="http://schemas.microsoft.com/office/drawing/2014/main" id="{BADA8109-BB41-4555-B452-E241E53E1834}"/>
                </a:ext>
              </a:extLst>
            </p:cNvPr>
            <p:cNvGrpSpPr/>
            <p:nvPr/>
          </p:nvGrpSpPr>
          <p:grpSpPr>
            <a:xfrm>
              <a:off x="6691732" y="1701124"/>
              <a:ext cx="956368" cy="458033"/>
              <a:chOff x="7044558" y="1563201"/>
              <a:chExt cx="964127" cy="461749"/>
            </a:xfrm>
            <a:grpFill/>
          </p:grpSpPr>
          <p:sp>
            <p:nvSpPr>
              <p:cNvPr id="348" name="Rectangle: Rounded Corners 347">
                <a:extLst>
                  <a:ext uri="{FF2B5EF4-FFF2-40B4-BE49-F238E27FC236}">
                    <a16:creationId xmlns:a16="http://schemas.microsoft.com/office/drawing/2014/main" id="{107AF7E0-85DE-46F9-91ED-9F5701CA5F4E}"/>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349" name="Rectangle: Rounded Corners 348">
                <a:extLst>
                  <a:ext uri="{FF2B5EF4-FFF2-40B4-BE49-F238E27FC236}">
                    <a16:creationId xmlns:a16="http://schemas.microsoft.com/office/drawing/2014/main" id="{5B8C775A-2DA8-4F1B-9206-926E29E0539A}"/>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grpSp>
      <p:grpSp>
        <p:nvGrpSpPr>
          <p:cNvPr id="367" name="Group 366">
            <a:extLst>
              <a:ext uri="{FF2B5EF4-FFF2-40B4-BE49-F238E27FC236}">
                <a16:creationId xmlns:a16="http://schemas.microsoft.com/office/drawing/2014/main" id="{54D7F1C9-28D5-4993-AA44-2579B0C524F4}"/>
              </a:ext>
            </a:extLst>
          </p:cNvPr>
          <p:cNvGrpSpPr/>
          <p:nvPr/>
        </p:nvGrpSpPr>
        <p:grpSpPr>
          <a:xfrm>
            <a:off x="7584764" y="1926257"/>
            <a:ext cx="249333" cy="249333"/>
            <a:chOff x="7547191" y="1416189"/>
            <a:chExt cx="507244" cy="507244"/>
          </a:xfrm>
        </p:grpSpPr>
        <p:sp>
          <p:nvSpPr>
            <p:cNvPr id="368" name="Oval 367">
              <a:extLst>
                <a:ext uri="{FF2B5EF4-FFF2-40B4-BE49-F238E27FC236}">
                  <a16:creationId xmlns:a16="http://schemas.microsoft.com/office/drawing/2014/main" id="{B961A4B2-7060-4642-BCB6-A9412DF4CE2F}"/>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369" name="Freeform 594">
              <a:extLst>
                <a:ext uri="{FF2B5EF4-FFF2-40B4-BE49-F238E27FC236}">
                  <a16:creationId xmlns:a16="http://schemas.microsoft.com/office/drawing/2014/main" id="{107F9A1E-339A-4470-BF38-C37CC70B0B61}"/>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grpSp>
        <p:nvGrpSpPr>
          <p:cNvPr id="121" name="Group 120">
            <a:extLst>
              <a:ext uri="{FF2B5EF4-FFF2-40B4-BE49-F238E27FC236}">
                <a16:creationId xmlns:a16="http://schemas.microsoft.com/office/drawing/2014/main" id="{AFCEE923-CFC8-4848-AD0D-B0A27D351746}"/>
              </a:ext>
            </a:extLst>
          </p:cNvPr>
          <p:cNvGrpSpPr/>
          <p:nvPr/>
        </p:nvGrpSpPr>
        <p:grpSpPr>
          <a:xfrm>
            <a:off x="5245144" y="2124811"/>
            <a:ext cx="941045" cy="330145"/>
            <a:chOff x="5119882" y="2533650"/>
            <a:chExt cx="941045" cy="425467"/>
          </a:xfrm>
        </p:grpSpPr>
        <p:sp>
          <p:nvSpPr>
            <p:cNvPr id="575" name="Rounded Rectangle 133">
              <a:extLst>
                <a:ext uri="{FF2B5EF4-FFF2-40B4-BE49-F238E27FC236}">
                  <a16:creationId xmlns:a16="http://schemas.microsoft.com/office/drawing/2014/main" id="{531AC8A9-8C9E-477E-A308-052EE3F08155}"/>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570" name="Group 569">
              <a:extLst>
                <a:ext uri="{FF2B5EF4-FFF2-40B4-BE49-F238E27FC236}">
                  <a16:creationId xmlns:a16="http://schemas.microsoft.com/office/drawing/2014/main" id="{078D254F-8740-4C25-9CAA-5A961A48B0ED}"/>
                </a:ext>
              </a:extLst>
            </p:cNvPr>
            <p:cNvGrpSpPr/>
            <p:nvPr/>
          </p:nvGrpSpPr>
          <p:grpSpPr>
            <a:xfrm>
              <a:off x="5538458" y="2727217"/>
              <a:ext cx="433750" cy="208020"/>
              <a:chOff x="7583358" y="2759986"/>
              <a:chExt cx="552936" cy="265180"/>
            </a:xfrm>
          </p:grpSpPr>
          <p:pic>
            <p:nvPicPr>
              <p:cNvPr id="572" name="Picture 571">
                <a:extLst>
                  <a:ext uri="{FF2B5EF4-FFF2-40B4-BE49-F238E27FC236}">
                    <a16:creationId xmlns:a16="http://schemas.microsoft.com/office/drawing/2014/main" id="{4FD18502-B972-4EE6-BA69-432CEC1D6CC3}"/>
                  </a:ext>
                </a:extLst>
              </p:cNvPr>
              <p:cNvPicPr>
                <a:picLocks noChangeAspect="1"/>
              </p:cNvPicPr>
              <p:nvPr/>
            </p:nvPicPr>
            <p:blipFill rotWithShape="1">
              <a:blip r:embed="rId3"/>
              <a:srcRect l="1971" t="1971" r="1971" b="1971"/>
              <a:stretch/>
            </p:blipFill>
            <p:spPr>
              <a:xfrm>
                <a:off x="7583358" y="2759986"/>
                <a:ext cx="265179" cy="265176"/>
              </a:xfrm>
              <a:prstGeom prst="roundRect">
                <a:avLst>
                  <a:gd name="adj" fmla="val 22436"/>
                </a:avLst>
              </a:prstGeom>
            </p:spPr>
          </p:pic>
          <p:pic>
            <p:nvPicPr>
              <p:cNvPr id="573" name="Picture 572">
                <a:extLst>
                  <a:ext uri="{FF2B5EF4-FFF2-40B4-BE49-F238E27FC236}">
                    <a16:creationId xmlns:a16="http://schemas.microsoft.com/office/drawing/2014/main" id="{3DE00D10-B768-44F7-BF10-0DA0FFE817F2}"/>
                  </a:ext>
                </a:extLst>
              </p:cNvPr>
              <p:cNvPicPr>
                <a:picLocks noChangeAspect="1"/>
              </p:cNvPicPr>
              <p:nvPr/>
            </p:nvPicPr>
            <p:blipFill>
              <a:blip r:embed="rId4"/>
              <a:stretch>
                <a:fillRect/>
              </a:stretch>
            </p:blipFill>
            <p:spPr>
              <a:xfrm>
                <a:off x="7871115" y="2759990"/>
                <a:ext cx="265179" cy="265176"/>
              </a:xfrm>
              <a:prstGeom prst="roundRect">
                <a:avLst>
                  <a:gd name="adj" fmla="val 21600"/>
                </a:avLst>
              </a:prstGeom>
            </p:spPr>
          </p:pic>
        </p:grpSp>
      </p:grpSp>
      <p:grpSp>
        <p:nvGrpSpPr>
          <p:cNvPr id="604" name="Group 603">
            <a:extLst>
              <a:ext uri="{FF2B5EF4-FFF2-40B4-BE49-F238E27FC236}">
                <a16:creationId xmlns:a16="http://schemas.microsoft.com/office/drawing/2014/main" id="{0FFF6F30-35DC-4BA1-98F2-C8E387CE76B3}"/>
              </a:ext>
            </a:extLst>
          </p:cNvPr>
          <p:cNvGrpSpPr/>
          <p:nvPr/>
        </p:nvGrpSpPr>
        <p:grpSpPr>
          <a:xfrm>
            <a:off x="5850923" y="2001791"/>
            <a:ext cx="249333" cy="249333"/>
            <a:chOff x="7547191" y="1416189"/>
            <a:chExt cx="507244" cy="507244"/>
          </a:xfrm>
        </p:grpSpPr>
        <p:sp>
          <p:nvSpPr>
            <p:cNvPr id="605" name="Oval 604">
              <a:extLst>
                <a:ext uri="{FF2B5EF4-FFF2-40B4-BE49-F238E27FC236}">
                  <a16:creationId xmlns:a16="http://schemas.microsoft.com/office/drawing/2014/main" id="{0CDFFE75-9773-4CFD-A1BD-2DF3D7654FE2}"/>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606" name="Freeform 594">
              <a:extLst>
                <a:ext uri="{FF2B5EF4-FFF2-40B4-BE49-F238E27FC236}">
                  <a16:creationId xmlns:a16="http://schemas.microsoft.com/office/drawing/2014/main" id="{FD804411-5FD0-4E20-9643-6C184DC5F48F}"/>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grpSp>
        <p:nvGrpSpPr>
          <p:cNvPr id="122" name="Group 121">
            <a:extLst>
              <a:ext uri="{FF2B5EF4-FFF2-40B4-BE49-F238E27FC236}">
                <a16:creationId xmlns:a16="http://schemas.microsoft.com/office/drawing/2014/main" id="{375AD6F2-719D-4002-8D5E-F5122E615BE9}"/>
              </a:ext>
            </a:extLst>
          </p:cNvPr>
          <p:cNvGrpSpPr/>
          <p:nvPr/>
        </p:nvGrpSpPr>
        <p:grpSpPr>
          <a:xfrm>
            <a:off x="3769565" y="2124811"/>
            <a:ext cx="941045" cy="330145"/>
            <a:chOff x="3644303" y="2533650"/>
            <a:chExt cx="941045" cy="425467"/>
          </a:xfrm>
        </p:grpSpPr>
        <p:sp>
          <p:nvSpPr>
            <p:cNvPr id="614" name="Rounded Rectangle 133">
              <a:extLst>
                <a:ext uri="{FF2B5EF4-FFF2-40B4-BE49-F238E27FC236}">
                  <a16:creationId xmlns:a16="http://schemas.microsoft.com/office/drawing/2014/main" id="{7A99B96A-C7A4-49D7-B0DE-D29F2AD69214}"/>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609" name="Group 608">
              <a:extLst>
                <a:ext uri="{FF2B5EF4-FFF2-40B4-BE49-F238E27FC236}">
                  <a16:creationId xmlns:a16="http://schemas.microsoft.com/office/drawing/2014/main" id="{13DC8400-97A3-4ABF-B12C-97372BDCCEAF}"/>
                </a:ext>
              </a:extLst>
            </p:cNvPr>
            <p:cNvGrpSpPr/>
            <p:nvPr/>
          </p:nvGrpSpPr>
          <p:grpSpPr>
            <a:xfrm>
              <a:off x="4086942" y="2727217"/>
              <a:ext cx="433750" cy="208020"/>
              <a:chOff x="7614033" y="2759986"/>
              <a:chExt cx="552936" cy="265180"/>
            </a:xfrm>
          </p:grpSpPr>
          <p:pic>
            <p:nvPicPr>
              <p:cNvPr id="611" name="Picture 610">
                <a:extLst>
                  <a:ext uri="{FF2B5EF4-FFF2-40B4-BE49-F238E27FC236}">
                    <a16:creationId xmlns:a16="http://schemas.microsoft.com/office/drawing/2014/main" id="{8AE4B70E-B159-49E9-8844-432D7B0C8CF0}"/>
                  </a:ext>
                </a:extLst>
              </p:cNvPr>
              <p:cNvPicPr>
                <a:picLocks noChangeAspect="1"/>
              </p:cNvPicPr>
              <p:nvPr/>
            </p:nvPicPr>
            <p:blipFill rotWithShape="1">
              <a:blip r:embed="rId3"/>
              <a:srcRect l="1971" t="1971" r="1971" b="1971"/>
              <a:stretch/>
            </p:blipFill>
            <p:spPr>
              <a:xfrm>
                <a:off x="7614033" y="2759986"/>
                <a:ext cx="265179" cy="265176"/>
              </a:xfrm>
              <a:prstGeom prst="roundRect">
                <a:avLst>
                  <a:gd name="adj" fmla="val 22436"/>
                </a:avLst>
              </a:prstGeom>
            </p:spPr>
          </p:pic>
          <p:pic>
            <p:nvPicPr>
              <p:cNvPr id="612" name="Picture 611">
                <a:extLst>
                  <a:ext uri="{FF2B5EF4-FFF2-40B4-BE49-F238E27FC236}">
                    <a16:creationId xmlns:a16="http://schemas.microsoft.com/office/drawing/2014/main" id="{729B597A-DC4B-4522-9DF4-61EBBDA796E0}"/>
                  </a:ext>
                </a:extLst>
              </p:cNvPr>
              <p:cNvPicPr>
                <a:picLocks noChangeAspect="1"/>
              </p:cNvPicPr>
              <p:nvPr/>
            </p:nvPicPr>
            <p:blipFill>
              <a:blip r:embed="rId4"/>
              <a:stretch>
                <a:fillRect/>
              </a:stretch>
            </p:blipFill>
            <p:spPr>
              <a:xfrm>
                <a:off x="7901790" y="2759990"/>
                <a:ext cx="265179" cy="265176"/>
              </a:xfrm>
              <a:prstGeom prst="roundRect">
                <a:avLst>
                  <a:gd name="adj" fmla="val 21600"/>
                </a:avLst>
              </a:prstGeom>
            </p:spPr>
          </p:pic>
        </p:grpSp>
      </p:grpSp>
      <p:grpSp>
        <p:nvGrpSpPr>
          <p:cNvPr id="643" name="Group 642">
            <a:extLst>
              <a:ext uri="{FF2B5EF4-FFF2-40B4-BE49-F238E27FC236}">
                <a16:creationId xmlns:a16="http://schemas.microsoft.com/office/drawing/2014/main" id="{9F6A10DC-63AF-4707-B430-F383CB764607}"/>
              </a:ext>
            </a:extLst>
          </p:cNvPr>
          <p:cNvGrpSpPr/>
          <p:nvPr/>
        </p:nvGrpSpPr>
        <p:grpSpPr>
          <a:xfrm>
            <a:off x="4240175" y="2001370"/>
            <a:ext cx="249333" cy="249333"/>
            <a:chOff x="7547191" y="1416189"/>
            <a:chExt cx="507244" cy="507244"/>
          </a:xfrm>
        </p:grpSpPr>
        <p:sp>
          <p:nvSpPr>
            <p:cNvPr id="644" name="Oval 643">
              <a:extLst>
                <a:ext uri="{FF2B5EF4-FFF2-40B4-BE49-F238E27FC236}">
                  <a16:creationId xmlns:a16="http://schemas.microsoft.com/office/drawing/2014/main" id="{72717B6F-5EF3-440B-8073-576C3824E876}"/>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645" name="Freeform 594">
              <a:extLst>
                <a:ext uri="{FF2B5EF4-FFF2-40B4-BE49-F238E27FC236}">
                  <a16:creationId xmlns:a16="http://schemas.microsoft.com/office/drawing/2014/main" id="{90AA1076-F388-49F0-B05B-1842865AAD14}"/>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sp>
        <p:nvSpPr>
          <p:cNvPr id="693" name="Rectangle: Rounded Corners 692">
            <a:extLst>
              <a:ext uri="{FF2B5EF4-FFF2-40B4-BE49-F238E27FC236}">
                <a16:creationId xmlns:a16="http://schemas.microsoft.com/office/drawing/2014/main" id="{AD0D8141-1EC8-42A9-B8BB-18E9EDCB547B}"/>
              </a:ext>
            </a:extLst>
          </p:cNvPr>
          <p:cNvSpPr/>
          <p:nvPr/>
        </p:nvSpPr>
        <p:spPr>
          <a:xfrm>
            <a:off x="4758371" y="1643846"/>
            <a:ext cx="439749" cy="23505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457189"/>
            <a:r>
              <a:rPr lang="en-US" sz="600" dirty="0">
                <a:solidFill>
                  <a:srgbClr val="FFFFFF"/>
                </a:solidFill>
                <a:latin typeface="CiscoSansTT ExtraLight"/>
              </a:rPr>
              <a:t>Midhaul/</a:t>
            </a:r>
            <a:br>
              <a:rPr lang="en-US" sz="600" dirty="0">
                <a:solidFill>
                  <a:srgbClr val="FFFFFF"/>
                </a:solidFill>
                <a:latin typeface="CiscoSansTT ExtraLight"/>
              </a:rPr>
            </a:br>
            <a:r>
              <a:rPr lang="en-US" sz="600" dirty="0">
                <a:solidFill>
                  <a:srgbClr val="FFFFFF"/>
                </a:solidFill>
                <a:latin typeface="CiscoSansTT ExtraLight"/>
              </a:rPr>
              <a:t>Backhaul</a:t>
            </a:r>
          </a:p>
        </p:txBody>
      </p:sp>
      <p:sp>
        <p:nvSpPr>
          <p:cNvPr id="705" name="Rectangle: Rounded Corners 704">
            <a:extLst>
              <a:ext uri="{FF2B5EF4-FFF2-40B4-BE49-F238E27FC236}">
                <a16:creationId xmlns:a16="http://schemas.microsoft.com/office/drawing/2014/main" id="{E8783CA2-6EA1-45CB-B9F5-D0E9AFA4B792}"/>
              </a:ext>
            </a:extLst>
          </p:cNvPr>
          <p:cNvSpPr/>
          <p:nvPr/>
        </p:nvSpPr>
        <p:spPr>
          <a:xfrm>
            <a:off x="6234746" y="1643846"/>
            <a:ext cx="439749" cy="23505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457189"/>
            <a:r>
              <a:rPr lang="en-US" sz="600" dirty="0">
                <a:solidFill>
                  <a:srgbClr val="FFFFFF"/>
                </a:solidFill>
                <a:latin typeface="CiscoSansTT ExtraLight"/>
              </a:rPr>
              <a:t>Midhaul/</a:t>
            </a:r>
            <a:br>
              <a:rPr lang="en-US" sz="600" dirty="0">
                <a:solidFill>
                  <a:srgbClr val="FFFFFF"/>
                </a:solidFill>
                <a:latin typeface="CiscoSansTT ExtraLight"/>
              </a:rPr>
            </a:br>
            <a:r>
              <a:rPr lang="en-US" sz="600" dirty="0">
                <a:solidFill>
                  <a:srgbClr val="FFFFFF"/>
                </a:solidFill>
                <a:latin typeface="CiscoSansTT ExtraLight"/>
              </a:rPr>
              <a:t>Backhaul</a:t>
            </a:r>
          </a:p>
        </p:txBody>
      </p:sp>
      <p:sp>
        <p:nvSpPr>
          <p:cNvPr id="706" name="Rectangle: Rounded Corners 705">
            <a:extLst>
              <a:ext uri="{FF2B5EF4-FFF2-40B4-BE49-F238E27FC236}">
                <a16:creationId xmlns:a16="http://schemas.microsoft.com/office/drawing/2014/main" id="{43DDA52D-C82C-4F2C-AE0B-EFF4E90C0B54}"/>
              </a:ext>
            </a:extLst>
          </p:cNvPr>
          <p:cNvSpPr/>
          <p:nvPr/>
        </p:nvSpPr>
        <p:spPr>
          <a:xfrm>
            <a:off x="3276284" y="1643846"/>
            <a:ext cx="439749" cy="235053"/>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457189"/>
            <a:r>
              <a:rPr lang="en-US" sz="600" dirty="0">
                <a:solidFill>
                  <a:srgbClr val="FFFFFF"/>
                </a:solidFill>
                <a:latin typeface="CiscoSansTT ExtraLight"/>
              </a:rPr>
              <a:t>Fronhaul</a:t>
            </a:r>
          </a:p>
        </p:txBody>
      </p:sp>
      <p:grpSp>
        <p:nvGrpSpPr>
          <p:cNvPr id="790" name="Group 4">
            <a:extLst>
              <a:ext uri="{FF2B5EF4-FFF2-40B4-BE49-F238E27FC236}">
                <a16:creationId xmlns:a16="http://schemas.microsoft.com/office/drawing/2014/main" id="{A8A23D0D-1D9C-41F3-BFCA-98331BE5316E}"/>
              </a:ext>
            </a:extLst>
          </p:cNvPr>
          <p:cNvGrpSpPr>
            <a:grpSpLocks noChangeAspect="1"/>
          </p:cNvGrpSpPr>
          <p:nvPr/>
        </p:nvGrpSpPr>
        <p:grpSpPr bwMode="auto">
          <a:xfrm>
            <a:off x="1412683" y="1789263"/>
            <a:ext cx="272202" cy="206060"/>
            <a:chOff x="740" y="0"/>
            <a:chExt cx="4280" cy="3240"/>
          </a:xfrm>
        </p:grpSpPr>
        <p:sp>
          <p:nvSpPr>
            <p:cNvPr id="791" name="Freeform 5">
              <a:extLst>
                <a:ext uri="{FF2B5EF4-FFF2-40B4-BE49-F238E27FC236}">
                  <a16:creationId xmlns:a16="http://schemas.microsoft.com/office/drawing/2014/main" id="{ECD08FB1-6FF4-453A-AB39-875E1BB58475}"/>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792" name="Freeform 6">
              <a:extLst>
                <a:ext uri="{FF2B5EF4-FFF2-40B4-BE49-F238E27FC236}">
                  <a16:creationId xmlns:a16="http://schemas.microsoft.com/office/drawing/2014/main" id="{07B01FDB-E903-46A1-94E2-7BF6AFBF9930}"/>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793" name="Freeform 7">
              <a:extLst>
                <a:ext uri="{FF2B5EF4-FFF2-40B4-BE49-F238E27FC236}">
                  <a16:creationId xmlns:a16="http://schemas.microsoft.com/office/drawing/2014/main" id="{281CC1D4-0E48-43BB-9D6E-9788548F958D}"/>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794" name="Freeform 8">
              <a:extLst>
                <a:ext uri="{FF2B5EF4-FFF2-40B4-BE49-F238E27FC236}">
                  <a16:creationId xmlns:a16="http://schemas.microsoft.com/office/drawing/2014/main" id="{2A06BBF8-930D-4D67-A341-0AFFBC7A9322}"/>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grpSp>
        <p:nvGrpSpPr>
          <p:cNvPr id="795" name="Group 794">
            <a:extLst>
              <a:ext uri="{FF2B5EF4-FFF2-40B4-BE49-F238E27FC236}">
                <a16:creationId xmlns:a16="http://schemas.microsoft.com/office/drawing/2014/main" id="{A313153B-5E23-4A12-80B7-94A0D12B9D90}"/>
              </a:ext>
            </a:extLst>
          </p:cNvPr>
          <p:cNvGrpSpPr/>
          <p:nvPr/>
        </p:nvGrpSpPr>
        <p:grpSpPr>
          <a:xfrm>
            <a:off x="1452979" y="2328697"/>
            <a:ext cx="182594" cy="251882"/>
            <a:chOff x="858973" y="1403744"/>
            <a:chExt cx="643458" cy="887629"/>
          </a:xfrm>
        </p:grpSpPr>
        <p:grpSp>
          <p:nvGrpSpPr>
            <p:cNvPr id="796" name="Group 795">
              <a:extLst>
                <a:ext uri="{FF2B5EF4-FFF2-40B4-BE49-F238E27FC236}">
                  <a16:creationId xmlns:a16="http://schemas.microsoft.com/office/drawing/2014/main" id="{06DAB742-87E4-4D35-B1A8-C1CC16D1D36A}"/>
                </a:ext>
              </a:extLst>
            </p:cNvPr>
            <p:cNvGrpSpPr/>
            <p:nvPr/>
          </p:nvGrpSpPr>
          <p:grpSpPr>
            <a:xfrm>
              <a:off x="858973" y="1403744"/>
              <a:ext cx="643458" cy="887629"/>
              <a:chOff x="565417" y="1536835"/>
              <a:chExt cx="996124" cy="1374120"/>
            </a:xfrm>
          </p:grpSpPr>
          <p:sp>
            <p:nvSpPr>
              <p:cNvPr id="798" name="Rounded Rectangle 63">
                <a:extLst>
                  <a:ext uri="{FF2B5EF4-FFF2-40B4-BE49-F238E27FC236}">
                    <a16:creationId xmlns:a16="http://schemas.microsoft.com/office/drawing/2014/main" id="{48150BE8-43FD-4C6D-9B12-32CCB4DBA7E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nvGrpSpPr>
              <p:cNvPr id="799" name="Group 798">
                <a:extLst>
                  <a:ext uri="{FF2B5EF4-FFF2-40B4-BE49-F238E27FC236}">
                    <a16:creationId xmlns:a16="http://schemas.microsoft.com/office/drawing/2014/main" id="{FD02D945-3539-431E-935F-8E618DAF2CAD}"/>
                  </a:ext>
                </a:extLst>
              </p:cNvPr>
              <p:cNvGrpSpPr/>
              <p:nvPr/>
            </p:nvGrpSpPr>
            <p:grpSpPr>
              <a:xfrm>
                <a:off x="565417" y="1536835"/>
                <a:ext cx="996124" cy="1374120"/>
                <a:chOff x="352800" y="-7200"/>
                <a:chExt cx="1984680" cy="2737800"/>
              </a:xfrm>
            </p:grpSpPr>
            <p:sp>
              <p:nvSpPr>
                <p:cNvPr id="800" name="Freeform: Shape 1">
                  <a:extLst>
                    <a:ext uri="{FF2B5EF4-FFF2-40B4-BE49-F238E27FC236}">
                      <a16:creationId xmlns:a16="http://schemas.microsoft.com/office/drawing/2014/main" id="{959D0AA8-5567-4CE4-A61D-B2759501A1CB}"/>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defTabSz="457189" hangingPunct="0"/>
                  <a:endParaRPr lang="en-US">
                    <a:solidFill>
                      <a:srgbClr val="282828"/>
                    </a:solidFill>
                    <a:latin typeface="Arial" pitchFamily="18"/>
                    <a:ea typeface="Arial Unicode MS" pitchFamily="2"/>
                    <a:cs typeface="Arial Unicode MS" pitchFamily="2"/>
                  </a:endParaRPr>
                </a:p>
              </p:txBody>
            </p:sp>
            <p:sp>
              <p:nvSpPr>
                <p:cNvPr id="801" name="Freeform 57">
                  <a:extLst>
                    <a:ext uri="{FF2B5EF4-FFF2-40B4-BE49-F238E27FC236}">
                      <a16:creationId xmlns:a16="http://schemas.microsoft.com/office/drawing/2014/main" id="{1FF09710-3860-4A24-807B-B07E477E003E}"/>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defTabSz="457189" hangingPunct="0"/>
                  <a:endParaRPr lang="en-US">
                    <a:solidFill>
                      <a:srgbClr val="282828"/>
                    </a:solidFill>
                    <a:latin typeface="Arial" pitchFamily="18"/>
                    <a:ea typeface="Arial Unicode MS" pitchFamily="2"/>
                    <a:cs typeface="Arial Unicode MS" pitchFamily="2"/>
                  </a:endParaRPr>
                </a:p>
              </p:txBody>
            </p:sp>
          </p:grpSp>
        </p:grpSp>
        <p:sp>
          <p:nvSpPr>
            <p:cNvPr id="797" name="Freeform: Shape 796">
              <a:extLst>
                <a:ext uri="{FF2B5EF4-FFF2-40B4-BE49-F238E27FC236}">
                  <a16:creationId xmlns:a16="http://schemas.microsoft.com/office/drawing/2014/main" id="{FA0848C3-21E2-42E0-9848-E216CC20E9BF}"/>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defTabSz="457189" hangingPunct="0"/>
              <a:endParaRPr lang="en-US">
                <a:solidFill>
                  <a:srgbClr val="282828"/>
                </a:solidFill>
                <a:latin typeface="Arial" pitchFamily="18"/>
                <a:ea typeface="Arial Unicode MS" pitchFamily="2"/>
                <a:cs typeface="Arial Unicode MS" pitchFamily="2"/>
              </a:endParaRPr>
            </a:p>
          </p:txBody>
        </p:sp>
      </p:grpSp>
      <p:sp>
        <p:nvSpPr>
          <p:cNvPr id="364" name="TextBox 363">
            <a:extLst>
              <a:ext uri="{FF2B5EF4-FFF2-40B4-BE49-F238E27FC236}">
                <a16:creationId xmlns:a16="http://schemas.microsoft.com/office/drawing/2014/main" id="{F399CACB-EC23-904A-95B3-D16E2936EA6C}"/>
              </a:ext>
            </a:extLst>
          </p:cNvPr>
          <p:cNvSpPr txBox="1"/>
          <p:nvPr/>
        </p:nvSpPr>
        <p:spPr>
          <a:xfrm>
            <a:off x="7503213" y="1411391"/>
            <a:ext cx="805029" cy="369332"/>
          </a:xfrm>
          <a:prstGeom prst="rect">
            <a:avLst/>
          </a:prstGeom>
          <a:noFill/>
        </p:spPr>
        <p:txBody>
          <a:bodyPr wrap="none" rtlCol="0">
            <a:spAutoFit/>
          </a:bodyPr>
          <a:lstStyle/>
          <a:p>
            <a:pPr algn="ctr" defTabSz="457189"/>
            <a:r>
              <a:rPr lang="en-US" sz="900" dirty="0">
                <a:solidFill>
                  <a:srgbClr val="FFFFFF"/>
                </a:solidFill>
                <a:latin typeface="CiscoSansTT ExtraLight"/>
              </a:rPr>
              <a:t>Centralized </a:t>
            </a:r>
          </a:p>
          <a:p>
            <a:pPr algn="ctr" defTabSz="457189"/>
            <a:r>
              <a:rPr lang="en-US" sz="900" dirty="0">
                <a:solidFill>
                  <a:srgbClr val="FFFFFF"/>
                </a:solidFill>
                <a:latin typeface="CiscoSansTT ExtraLight"/>
              </a:rPr>
              <a:t>DC</a:t>
            </a:r>
          </a:p>
        </p:txBody>
      </p:sp>
      <p:sp>
        <p:nvSpPr>
          <p:cNvPr id="365" name="TextBox 364">
            <a:extLst>
              <a:ext uri="{FF2B5EF4-FFF2-40B4-BE49-F238E27FC236}">
                <a16:creationId xmlns:a16="http://schemas.microsoft.com/office/drawing/2014/main" id="{C45AF172-8382-3D42-AC9C-AF30B2DA89E2}"/>
              </a:ext>
            </a:extLst>
          </p:cNvPr>
          <p:cNvSpPr txBox="1"/>
          <p:nvPr/>
        </p:nvSpPr>
        <p:spPr>
          <a:xfrm>
            <a:off x="7419125" y="2167234"/>
            <a:ext cx="580608" cy="230832"/>
          </a:xfrm>
          <a:prstGeom prst="rect">
            <a:avLst/>
          </a:prstGeom>
          <a:noFill/>
        </p:spPr>
        <p:txBody>
          <a:bodyPr wrap="none" rtlCol="0">
            <a:spAutoFit/>
          </a:bodyPr>
          <a:lstStyle/>
          <a:p>
            <a:pPr algn="ctr" defTabSz="457189"/>
            <a:r>
              <a:rPr lang="en-US" sz="900" dirty="0">
                <a:solidFill>
                  <a:srgbClr val="282828"/>
                </a:solidFill>
                <a:latin typeface="CiscoSansTT ExtraLight"/>
              </a:rPr>
              <a:t>Internet</a:t>
            </a:r>
          </a:p>
        </p:txBody>
      </p:sp>
      <p:sp>
        <p:nvSpPr>
          <p:cNvPr id="366" name="TextBox 365">
            <a:extLst>
              <a:ext uri="{FF2B5EF4-FFF2-40B4-BE49-F238E27FC236}">
                <a16:creationId xmlns:a16="http://schemas.microsoft.com/office/drawing/2014/main" id="{45756A70-6C0E-9E48-9C80-5C32FCEB6766}"/>
              </a:ext>
            </a:extLst>
          </p:cNvPr>
          <p:cNvSpPr txBox="1"/>
          <p:nvPr/>
        </p:nvSpPr>
        <p:spPr>
          <a:xfrm>
            <a:off x="3491231" y="3211457"/>
            <a:ext cx="1933543" cy="246221"/>
          </a:xfrm>
          <a:prstGeom prst="rect">
            <a:avLst/>
          </a:prstGeom>
          <a:noFill/>
        </p:spPr>
        <p:txBody>
          <a:bodyPr wrap="none" rtlCol="0">
            <a:spAutoFit/>
          </a:bodyPr>
          <a:lstStyle/>
          <a:p>
            <a:pPr defTabSz="457189"/>
            <a:r>
              <a:rPr lang="en-US" sz="1000" dirty="0">
                <a:solidFill>
                  <a:srgbClr val="FFFFFF"/>
                </a:solidFill>
                <a:latin typeface="CiscoSansTT ExtraLight"/>
              </a:rPr>
              <a:t>Segment Routing MPLS / IPv6</a:t>
            </a:r>
          </a:p>
        </p:txBody>
      </p:sp>
      <p:sp>
        <p:nvSpPr>
          <p:cNvPr id="255" name="Rectangle: Rounded Corners 349">
            <a:extLst>
              <a:ext uri="{FF2B5EF4-FFF2-40B4-BE49-F238E27FC236}">
                <a16:creationId xmlns:a16="http://schemas.microsoft.com/office/drawing/2014/main" id="{4EB4EAA3-4CD0-9646-A900-620AB5B55913}"/>
              </a:ext>
            </a:extLst>
          </p:cNvPr>
          <p:cNvSpPr/>
          <p:nvPr/>
        </p:nvSpPr>
        <p:spPr>
          <a:xfrm>
            <a:off x="0" y="2922816"/>
            <a:ext cx="9144000" cy="2220686"/>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nvGrpSpPr>
          <p:cNvPr id="256" name="Group 255">
            <a:extLst>
              <a:ext uri="{FF2B5EF4-FFF2-40B4-BE49-F238E27FC236}">
                <a16:creationId xmlns:a16="http://schemas.microsoft.com/office/drawing/2014/main" id="{7FAE66A5-A1DB-9741-9853-0FE12E2A6196}"/>
              </a:ext>
            </a:extLst>
          </p:cNvPr>
          <p:cNvGrpSpPr/>
          <p:nvPr/>
        </p:nvGrpSpPr>
        <p:grpSpPr>
          <a:xfrm>
            <a:off x="1326271" y="4516275"/>
            <a:ext cx="7697054" cy="526428"/>
            <a:chOff x="2307161" y="4516275"/>
            <a:chExt cx="6716163" cy="526428"/>
          </a:xfrm>
        </p:grpSpPr>
        <p:sp>
          <p:nvSpPr>
            <p:cNvPr id="257" name="Rectangle: Rounded Corners 350">
              <a:extLst>
                <a:ext uri="{FF2B5EF4-FFF2-40B4-BE49-F238E27FC236}">
                  <a16:creationId xmlns:a16="http://schemas.microsoft.com/office/drawing/2014/main" id="{AD2D55DA-4CF3-1642-961D-5E622641FFD5}"/>
                </a:ext>
              </a:extLst>
            </p:cNvPr>
            <p:cNvSpPr/>
            <p:nvPr/>
          </p:nvSpPr>
          <p:spPr>
            <a:xfrm>
              <a:off x="7366002" y="4516275"/>
              <a:ext cx="1657322" cy="526428"/>
            </a:xfrm>
            <a:prstGeom prst="roundRect">
              <a:avLst>
                <a:gd name="adj" fmla="val 12087"/>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258" name="Rectangle: Rounded Corners 418">
              <a:extLst>
                <a:ext uri="{FF2B5EF4-FFF2-40B4-BE49-F238E27FC236}">
                  <a16:creationId xmlns:a16="http://schemas.microsoft.com/office/drawing/2014/main" id="{0A9B5966-E46F-2449-8376-CE618A5CB86E}"/>
                </a:ext>
              </a:extLst>
            </p:cNvPr>
            <p:cNvSpPr/>
            <p:nvPr/>
          </p:nvSpPr>
          <p:spPr>
            <a:xfrm>
              <a:off x="5679721" y="4516275"/>
              <a:ext cx="1657322" cy="526428"/>
            </a:xfrm>
            <a:prstGeom prst="roundRect">
              <a:avLst>
                <a:gd name="adj" fmla="val 12087"/>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259" name="Rectangle: Rounded Corners 419">
              <a:extLst>
                <a:ext uri="{FF2B5EF4-FFF2-40B4-BE49-F238E27FC236}">
                  <a16:creationId xmlns:a16="http://schemas.microsoft.com/office/drawing/2014/main" id="{4BEFFBB3-9853-2946-B071-D9B85D02DEE4}"/>
                </a:ext>
              </a:extLst>
            </p:cNvPr>
            <p:cNvSpPr/>
            <p:nvPr/>
          </p:nvSpPr>
          <p:spPr>
            <a:xfrm>
              <a:off x="3993441" y="4516275"/>
              <a:ext cx="1657322" cy="526428"/>
            </a:xfrm>
            <a:prstGeom prst="roundRect">
              <a:avLst>
                <a:gd name="adj" fmla="val 12087"/>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260" name="Rectangle: Rounded Corners 420">
              <a:extLst>
                <a:ext uri="{FF2B5EF4-FFF2-40B4-BE49-F238E27FC236}">
                  <a16:creationId xmlns:a16="http://schemas.microsoft.com/office/drawing/2014/main" id="{9ABCD4ED-70D1-BB4B-BE79-012B082A843C}"/>
                </a:ext>
              </a:extLst>
            </p:cNvPr>
            <p:cNvSpPr/>
            <p:nvPr/>
          </p:nvSpPr>
          <p:spPr>
            <a:xfrm>
              <a:off x="2307161" y="4516275"/>
              <a:ext cx="1657322" cy="526428"/>
            </a:xfrm>
            <a:prstGeom prst="roundRect">
              <a:avLst>
                <a:gd name="adj" fmla="val 12087"/>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sp>
        <p:nvSpPr>
          <p:cNvPr id="261" name="TextBox 260">
            <a:extLst>
              <a:ext uri="{FF2B5EF4-FFF2-40B4-BE49-F238E27FC236}">
                <a16:creationId xmlns:a16="http://schemas.microsoft.com/office/drawing/2014/main" id="{E4B56F59-BF18-F74A-AF59-9213317519ED}"/>
              </a:ext>
            </a:extLst>
          </p:cNvPr>
          <p:cNvSpPr txBox="1"/>
          <p:nvPr/>
        </p:nvSpPr>
        <p:spPr>
          <a:xfrm>
            <a:off x="1399241" y="4676720"/>
            <a:ext cx="694422" cy="307777"/>
          </a:xfrm>
          <a:prstGeom prst="rect">
            <a:avLst/>
          </a:prstGeom>
          <a:noFill/>
        </p:spPr>
        <p:txBody>
          <a:bodyPr wrap="none" rtlCol="0">
            <a:spAutoFit/>
          </a:bodyPr>
          <a:lstStyle/>
          <a:p>
            <a:pPr algn="ctr" defTabSz="457189"/>
            <a:r>
              <a:rPr lang="en-US" sz="700" dirty="0">
                <a:solidFill>
                  <a:srgbClr val="FFFFFF"/>
                </a:solidFill>
                <a:latin typeface="CiscoSansTT ExtraLight"/>
              </a:rPr>
              <a:t>64G/System</a:t>
            </a:r>
          </a:p>
          <a:p>
            <a:pPr algn="ctr" defTabSz="457189"/>
            <a:r>
              <a:rPr lang="en-US" sz="700" dirty="0">
                <a:solidFill>
                  <a:srgbClr val="FFFFFF"/>
                </a:solidFill>
                <a:latin typeface="CiscoSansTT ExtraLight"/>
              </a:rPr>
              <a:t>(ASR-920)</a:t>
            </a:r>
          </a:p>
        </p:txBody>
      </p:sp>
      <p:sp>
        <p:nvSpPr>
          <p:cNvPr id="262" name="TextBox 261">
            <a:extLst>
              <a:ext uri="{FF2B5EF4-FFF2-40B4-BE49-F238E27FC236}">
                <a16:creationId xmlns:a16="http://schemas.microsoft.com/office/drawing/2014/main" id="{51C485DC-305F-EC43-A7B6-5202374BA344}"/>
              </a:ext>
            </a:extLst>
          </p:cNvPr>
          <p:cNvSpPr txBox="1"/>
          <p:nvPr/>
        </p:nvSpPr>
        <p:spPr>
          <a:xfrm>
            <a:off x="2451583" y="4730581"/>
            <a:ext cx="748924" cy="200055"/>
          </a:xfrm>
          <a:prstGeom prst="rect">
            <a:avLst/>
          </a:prstGeom>
          <a:noFill/>
        </p:spPr>
        <p:txBody>
          <a:bodyPr wrap="none" rtlCol="0">
            <a:spAutoFit/>
          </a:bodyPr>
          <a:lstStyle/>
          <a:p>
            <a:pPr algn="ctr" defTabSz="457189"/>
            <a:r>
              <a:rPr lang="en-US" sz="700" dirty="0">
                <a:solidFill>
                  <a:srgbClr val="FFFFFF"/>
                </a:solidFill>
                <a:latin typeface="CiscoSansTT ExtraLight"/>
              </a:rPr>
              <a:t>300G/System</a:t>
            </a:r>
          </a:p>
        </p:txBody>
      </p:sp>
      <p:sp>
        <p:nvSpPr>
          <p:cNvPr id="263" name="TextBox 262">
            <a:extLst>
              <a:ext uri="{FF2B5EF4-FFF2-40B4-BE49-F238E27FC236}">
                <a16:creationId xmlns:a16="http://schemas.microsoft.com/office/drawing/2014/main" id="{EE1DEBD5-D5AE-F643-8434-A75B124752CC}"/>
              </a:ext>
            </a:extLst>
          </p:cNvPr>
          <p:cNvSpPr txBox="1"/>
          <p:nvPr/>
        </p:nvSpPr>
        <p:spPr>
          <a:xfrm>
            <a:off x="1980116" y="4703650"/>
            <a:ext cx="452368" cy="253916"/>
          </a:xfrm>
          <a:prstGeom prst="rect">
            <a:avLst/>
          </a:prstGeom>
          <a:noFill/>
        </p:spPr>
        <p:txBody>
          <a:bodyPr wrap="none" rtlCol="0">
            <a:spAutoFit/>
          </a:bodyPr>
          <a:lstStyle/>
          <a:p>
            <a:pPr algn="r" defTabSz="457189"/>
            <a:r>
              <a:rPr lang="en-US" sz="1050" dirty="0">
                <a:solidFill>
                  <a:srgbClr val="FBAB18"/>
                </a:solidFill>
                <a:latin typeface="CiscoSansTT ExtraLight"/>
              </a:rPr>
              <a:t>x4.5</a:t>
            </a:r>
          </a:p>
        </p:txBody>
      </p:sp>
      <p:sp>
        <p:nvSpPr>
          <p:cNvPr id="264" name="TextBox 263">
            <a:extLst>
              <a:ext uri="{FF2B5EF4-FFF2-40B4-BE49-F238E27FC236}">
                <a16:creationId xmlns:a16="http://schemas.microsoft.com/office/drawing/2014/main" id="{3DA0300F-3EF6-D741-906E-A52AB38ACECB}"/>
              </a:ext>
            </a:extLst>
          </p:cNvPr>
          <p:cNvSpPr txBox="1"/>
          <p:nvPr/>
        </p:nvSpPr>
        <p:spPr>
          <a:xfrm>
            <a:off x="55772" y="4489904"/>
            <a:ext cx="1228077" cy="523220"/>
          </a:xfrm>
          <a:prstGeom prst="rect">
            <a:avLst/>
          </a:prstGeom>
          <a:noFill/>
        </p:spPr>
        <p:txBody>
          <a:bodyPr wrap="square" rtlCol="0">
            <a:spAutoFit/>
          </a:bodyPr>
          <a:lstStyle/>
          <a:p>
            <a:pPr algn="r" defTabSz="457189"/>
            <a:r>
              <a:rPr lang="en-US" sz="1400" dirty="0">
                <a:solidFill>
                  <a:srgbClr val="FFC000"/>
                </a:solidFill>
                <a:latin typeface="CiscoSansTT ExtraLight"/>
              </a:rPr>
              <a:t>Performance</a:t>
            </a:r>
          </a:p>
          <a:p>
            <a:pPr algn="r" defTabSz="457189"/>
            <a:r>
              <a:rPr lang="en-US" sz="1400" dirty="0">
                <a:solidFill>
                  <a:srgbClr val="FFC000"/>
                </a:solidFill>
                <a:latin typeface="CiscoSansTT ExtraLight"/>
              </a:rPr>
              <a:t>Increase</a:t>
            </a:r>
          </a:p>
        </p:txBody>
      </p:sp>
      <p:sp>
        <p:nvSpPr>
          <p:cNvPr id="265" name="TextBox 264">
            <a:extLst>
              <a:ext uri="{FF2B5EF4-FFF2-40B4-BE49-F238E27FC236}">
                <a16:creationId xmlns:a16="http://schemas.microsoft.com/office/drawing/2014/main" id="{42BB165F-7545-DA46-92F0-1CFBE7DEA92B}"/>
              </a:ext>
            </a:extLst>
          </p:cNvPr>
          <p:cNvSpPr txBox="1"/>
          <p:nvPr/>
        </p:nvSpPr>
        <p:spPr>
          <a:xfrm>
            <a:off x="3330990" y="4676720"/>
            <a:ext cx="825868" cy="307777"/>
          </a:xfrm>
          <a:prstGeom prst="rect">
            <a:avLst/>
          </a:prstGeom>
          <a:noFill/>
        </p:spPr>
        <p:txBody>
          <a:bodyPr wrap="none" rtlCol="0">
            <a:spAutoFit/>
          </a:bodyPr>
          <a:lstStyle/>
          <a:p>
            <a:pPr algn="ctr" defTabSz="457189"/>
            <a:r>
              <a:rPr lang="en-US" sz="700" dirty="0">
                <a:solidFill>
                  <a:srgbClr val="FFFFFF"/>
                </a:solidFill>
                <a:latin typeface="CiscoSansTT ExtraLight"/>
              </a:rPr>
              <a:t>400G/System</a:t>
            </a:r>
          </a:p>
          <a:p>
            <a:pPr algn="ctr" defTabSz="457189"/>
            <a:r>
              <a:rPr lang="en-US" sz="700" dirty="0">
                <a:solidFill>
                  <a:srgbClr val="FFFFFF"/>
                </a:solidFill>
                <a:latin typeface="CiscoSansTT ExtraLight"/>
              </a:rPr>
              <a:t>(ASR-903/907)</a:t>
            </a:r>
          </a:p>
        </p:txBody>
      </p:sp>
      <p:sp>
        <p:nvSpPr>
          <p:cNvPr id="266" name="TextBox 265">
            <a:extLst>
              <a:ext uri="{FF2B5EF4-FFF2-40B4-BE49-F238E27FC236}">
                <a16:creationId xmlns:a16="http://schemas.microsoft.com/office/drawing/2014/main" id="{C72753C5-29A0-F949-B698-2BBA39B91116}"/>
              </a:ext>
            </a:extLst>
          </p:cNvPr>
          <p:cNvSpPr txBox="1"/>
          <p:nvPr/>
        </p:nvSpPr>
        <p:spPr>
          <a:xfrm>
            <a:off x="4334437" y="4730581"/>
            <a:ext cx="748924" cy="200055"/>
          </a:xfrm>
          <a:prstGeom prst="rect">
            <a:avLst/>
          </a:prstGeom>
          <a:noFill/>
        </p:spPr>
        <p:txBody>
          <a:bodyPr wrap="none" rtlCol="0">
            <a:spAutoFit/>
          </a:bodyPr>
          <a:lstStyle/>
          <a:p>
            <a:pPr algn="ctr" defTabSz="457189"/>
            <a:r>
              <a:rPr lang="en-US" sz="700" dirty="0">
                <a:solidFill>
                  <a:srgbClr val="FFFFFF"/>
                </a:solidFill>
                <a:latin typeface="CiscoSansTT ExtraLight"/>
              </a:rPr>
              <a:t>800G/System</a:t>
            </a:r>
          </a:p>
        </p:txBody>
      </p:sp>
      <p:sp>
        <p:nvSpPr>
          <p:cNvPr id="267" name="TextBox 266">
            <a:extLst>
              <a:ext uri="{FF2B5EF4-FFF2-40B4-BE49-F238E27FC236}">
                <a16:creationId xmlns:a16="http://schemas.microsoft.com/office/drawing/2014/main" id="{B07C9D6B-DB27-A240-A8AD-46736E84DCDB}"/>
              </a:ext>
            </a:extLst>
          </p:cNvPr>
          <p:cNvSpPr txBox="1"/>
          <p:nvPr/>
        </p:nvSpPr>
        <p:spPr>
          <a:xfrm>
            <a:off x="5343745" y="4676720"/>
            <a:ext cx="681597" cy="307777"/>
          </a:xfrm>
          <a:prstGeom prst="rect">
            <a:avLst/>
          </a:prstGeom>
          <a:noFill/>
        </p:spPr>
        <p:txBody>
          <a:bodyPr wrap="none" rtlCol="0">
            <a:spAutoFit/>
          </a:bodyPr>
          <a:lstStyle/>
          <a:p>
            <a:pPr algn="ctr" defTabSz="457189"/>
            <a:r>
              <a:rPr lang="en-US" sz="700" dirty="0">
                <a:solidFill>
                  <a:srgbClr val="FFFFFF"/>
                </a:solidFill>
                <a:latin typeface="CiscoSansTT ExtraLight"/>
              </a:rPr>
              <a:t>1.2T/slot</a:t>
            </a:r>
          </a:p>
          <a:p>
            <a:pPr algn="ctr" defTabSz="457189"/>
            <a:r>
              <a:rPr lang="en-US" sz="700" dirty="0">
                <a:solidFill>
                  <a:srgbClr val="FFFFFF"/>
                </a:solidFill>
                <a:latin typeface="CiscoSansTT ExtraLight"/>
              </a:rPr>
              <a:t>(12x100GE)</a:t>
            </a:r>
          </a:p>
        </p:txBody>
      </p:sp>
      <p:sp>
        <p:nvSpPr>
          <p:cNvPr id="268" name="TextBox 267">
            <a:extLst>
              <a:ext uri="{FF2B5EF4-FFF2-40B4-BE49-F238E27FC236}">
                <a16:creationId xmlns:a16="http://schemas.microsoft.com/office/drawing/2014/main" id="{F0D667B3-6BEA-434A-9B51-3D3FE4B827C0}"/>
              </a:ext>
            </a:extLst>
          </p:cNvPr>
          <p:cNvSpPr txBox="1"/>
          <p:nvPr/>
        </p:nvSpPr>
        <p:spPr>
          <a:xfrm>
            <a:off x="6423515" y="4730581"/>
            <a:ext cx="545342" cy="200055"/>
          </a:xfrm>
          <a:prstGeom prst="rect">
            <a:avLst/>
          </a:prstGeom>
          <a:noFill/>
        </p:spPr>
        <p:txBody>
          <a:bodyPr wrap="none" rtlCol="0">
            <a:spAutoFit/>
          </a:bodyPr>
          <a:lstStyle/>
          <a:p>
            <a:pPr defTabSz="457189"/>
            <a:r>
              <a:rPr lang="en-US" sz="700" dirty="0">
                <a:solidFill>
                  <a:srgbClr val="FFFFFF"/>
                </a:solidFill>
                <a:latin typeface="CiscoSansTT ExtraLight"/>
              </a:rPr>
              <a:t>3.2T/slot</a:t>
            </a:r>
          </a:p>
        </p:txBody>
      </p:sp>
      <p:pic>
        <p:nvPicPr>
          <p:cNvPr id="269" name="Picture 268">
            <a:extLst>
              <a:ext uri="{FF2B5EF4-FFF2-40B4-BE49-F238E27FC236}">
                <a16:creationId xmlns:a16="http://schemas.microsoft.com/office/drawing/2014/main" id="{CFF305A9-2F57-B24E-A204-CD0D1B769A11}"/>
              </a:ext>
            </a:extLst>
          </p:cNvPr>
          <p:cNvPicPr>
            <a:picLocks noChangeAspect="1"/>
          </p:cNvPicPr>
          <p:nvPr/>
        </p:nvPicPr>
        <p:blipFill>
          <a:blip r:embed="rId5"/>
          <a:stretch>
            <a:fillRect/>
          </a:stretch>
        </p:blipFill>
        <p:spPr>
          <a:xfrm>
            <a:off x="7747830" y="3297916"/>
            <a:ext cx="353040" cy="439586"/>
          </a:xfrm>
          <a:prstGeom prst="rect">
            <a:avLst/>
          </a:prstGeom>
        </p:spPr>
      </p:pic>
      <p:pic>
        <p:nvPicPr>
          <p:cNvPr id="270" name="Picture 269" descr="A picture containing indoor&#10;&#10;Description automatically generated">
            <a:extLst>
              <a:ext uri="{FF2B5EF4-FFF2-40B4-BE49-F238E27FC236}">
                <a16:creationId xmlns:a16="http://schemas.microsoft.com/office/drawing/2014/main" id="{B4823C25-2162-D644-8701-5404FFA5556F}"/>
              </a:ext>
            </a:extLst>
          </p:cNvPr>
          <p:cNvPicPr>
            <a:picLocks noChangeAspect="1"/>
          </p:cNvPicPr>
          <p:nvPr/>
        </p:nvPicPr>
        <p:blipFill>
          <a:blip r:embed="rId6"/>
          <a:stretch>
            <a:fillRect/>
          </a:stretch>
        </p:blipFill>
        <p:spPr>
          <a:xfrm>
            <a:off x="5476819" y="3177432"/>
            <a:ext cx="996168" cy="664112"/>
          </a:xfrm>
          <a:prstGeom prst="rect">
            <a:avLst/>
          </a:prstGeom>
        </p:spPr>
      </p:pic>
      <p:pic>
        <p:nvPicPr>
          <p:cNvPr id="271" name="Picture 270" descr="A close up of a device&#10;&#10;Description automatically generated">
            <a:extLst>
              <a:ext uri="{FF2B5EF4-FFF2-40B4-BE49-F238E27FC236}">
                <a16:creationId xmlns:a16="http://schemas.microsoft.com/office/drawing/2014/main" id="{BE885431-FB30-0541-8919-37295C829308}"/>
              </a:ext>
            </a:extLst>
          </p:cNvPr>
          <p:cNvPicPr>
            <a:picLocks noChangeAspect="1"/>
          </p:cNvPicPr>
          <p:nvPr/>
        </p:nvPicPr>
        <p:blipFill rotWithShape="1">
          <a:blip r:embed="rId7"/>
          <a:srcRect t="35572" b="35572"/>
          <a:stretch/>
        </p:blipFill>
        <p:spPr>
          <a:xfrm>
            <a:off x="1595601" y="3381547"/>
            <a:ext cx="1074720" cy="248094"/>
          </a:xfrm>
          <a:prstGeom prst="rect">
            <a:avLst/>
          </a:prstGeom>
        </p:spPr>
      </p:pic>
      <p:pic>
        <p:nvPicPr>
          <p:cNvPr id="272" name="Picture 271" descr="A close up of a device&#10;&#10;Description automatically generated">
            <a:extLst>
              <a:ext uri="{FF2B5EF4-FFF2-40B4-BE49-F238E27FC236}">
                <a16:creationId xmlns:a16="http://schemas.microsoft.com/office/drawing/2014/main" id="{DAA58B60-9614-5D49-B573-A87694E4CFE7}"/>
              </a:ext>
            </a:extLst>
          </p:cNvPr>
          <p:cNvPicPr>
            <a:picLocks noChangeAspect="1"/>
          </p:cNvPicPr>
          <p:nvPr/>
        </p:nvPicPr>
        <p:blipFill rotWithShape="1">
          <a:blip r:embed="rId8"/>
          <a:srcRect t="22984" b="22984"/>
          <a:stretch/>
        </p:blipFill>
        <p:spPr>
          <a:xfrm>
            <a:off x="3534316" y="3271765"/>
            <a:ext cx="1081916" cy="467661"/>
          </a:xfrm>
          <a:prstGeom prst="rect">
            <a:avLst/>
          </a:prstGeom>
        </p:spPr>
      </p:pic>
      <p:sp>
        <p:nvSpPr>
          <p:cNvPr id="273" name="Rectangle 272">
            <a:extLst>
              <a:ext uri="{FF2B5EF4-FFF2-40B4-BE49-F238E27FC236}">
                <a16:creationId xmlns:a16="http://schemas.microsoft.com/office/drawing/2014/main" id="{CED0B4E3-87A4-F94E-8971-D76B00E2F9E5}"/>
              </a:ext>
            </a:extLst>
          </p:cNvPr>
          <p:cNvSpPr/>
          <p:nvPr/>
        </p:nvSpPr>
        <p:spPr>
          <a:xfrm>
            <a:off x="2620283" y="3300455"/>
            <a:ext cx="503664" cy="415498"/>
          </a:xfrm>
          <a:prstGeom prst="rect">
            <a:avLst/>
          </a:prstGeom>
        </p:spPr>
        <p:txBody>
          <a:bodyPr wrap="none" anchor="b">
            <a:spAutoFit/>
          </a:bodyPr>
          <a:lstStyle/>
          <a:p>
            <a:pPr defTabSz="457189"/>
            <a:r>
              <a:rPr lang="en-US" sz="1050" dirty="0">
                <a:solidFill>
                  <a:srgbClr val="FFFFFF"/>
                </a:solidFill>
                <a:latin typeface="CiscoSansTT ExtraLight"/>
              </a:rPr>
              <a:t>NCS </a:t>
            </a:r>
            <a:br>
              <a:rPr lang="en-US" sz="1050" dirty="0">
                <a:solidFill>
                  <a:srgbClr val="FFFFFF"/>
                </a:solidFill>
                <a:latin typeface="CiscoSansTT ExtraLight"/>
              </a:rPr>
            </a:br>
            <a:r>
              <a:rPr lang="en-US" sz="1050" dirty="0">
                <a:solidFill>
                  <a:srgbClr val="FFFFFF"/>
                </a:solidFill>
                <a:latin typeface="CiscoSansTT ExtraLight"/>
              </a:rPr>
              <a:t>540</a:t>
            </a:r>
          </a:p>
        </p:txBody>
      </p:sp>
      <p:sp>
        <p:nvSpPr>
          <p:cNvPr id="274" name="Rectangle 273">
            <a:extLst>
              <a:ext uri="{FF2B5EF4-FFF2-40B4-BE49-F238E27FC236}">
                <a16:creationId xmlns:a16="http://schemas.microsoft.com/office/drawing/2014/main" id="{027327F3-4BD1-9A47-9377-0D5BAACEE48E}"/>
              </a:ext>
            </a:extLst>
          </p:cNvPr>
          <p:cNvSpPr/>
          <p:nvPr/>
        </p:nvSpPr>
        <p:spPr>
          <a:xfrm>
            <a:off x="4555731" y="3300455"/>
            <a:ext cx="503664" cy="415498"/>
          </a:xfrm>
          <a:prstGeom prst="rect">
            <a:avLst/>
          </a:prstGeom>
        </p:spPr>
        <p:txBody>
          <a:bodyPr wrap="none" anchor="b">
            <a:spAutoFit/>
          </a:bodyPr>
          <a:lstStyle/>
          <a:p>
            <a:pPr defTabSz="457189"/>
            <a:r>
              <a:rPr lang="en-US" sz="1050" dirty="0">
                <a:solidFill>
                  <a:srgbClr val="FFFFFF"/>
                </a:solidFill>
                <a:latin typeface="CiscoSansTT ExtraLight"/>
              </a:rPr>
              <a:t>NCS </a:t>
            </a:r>
            <a:br>
              <a:rPr lang="en-US" sz="1050" dirty="0">
                <a:solidFill>
                  <a:srgbClr val="FFFFFF"/>
                </a:solidFill>
                <a:latin typeface="CiscoSansTT ExtraLight"/>
              </a:rPr>
            </a:br>
            <a:r>
              <a:rPr lang="en-US" sz="1050" dirty="0">
                <a:solidFill>
                  <a:srgbClr val="FFFFFF"/>
                </a:solidFill>
                <a:latin typeface="CiscoSansTT ExtraLight"/>
              </a:rPr>
              <a:t>560</a:t>
            </a:r>
          </a:p>
        </p:txBody>
      </p:sp>
      <p:sp>
        <p:nvSpPr>
          <p:cNvPr id="275" name="Rectangle 274">
            <a:extLst>
              <a:ext uri="{FF2B5EF4-FFF2-40B4-BE49-F238E27FC236}">
                <a16:creationId xmlns:a16="http://schemas.microsoft.com/office/drawing/2014/main" id="{AAB25B45-1568-D14E-A8FA-7DAE8FDD9EB1}"/>
              </a:ext>
            </a:extLst>
          </p:cNvPr>
          <p:cNvSpPr/>
          <p:nvPr/>
        </p:nvSpPr>
        <p:spPr>
          <a:xfrm>
            <a:off x="6422910" y="3285067"/>
            <a:ext cx="505267" cy="415498"/>
          </a:xfrm>
          <a:prstGeom prst="rect">
            <a:avLst/>
          </a:prstGeom>
        </p:spPr>
        <p:txBody>
          <a:bodyPr wrap="none" anchor="b">
            <a:spAutoFit/>
          </a:bodyPr>
          <a:lstStyle/>
          <a:p>
            <a:pPr defTabSz="457189"/>
            <a:r>
              <a:rPr lang="en-US" sz="1050" dirty="0">
                <a:solidFill>
                  <a:srgbClr val="FFFFFF"/>
                </a:solidFill>
                <a:latin typeface="CiscoSansTT ExtraLight"/>
              </a:rPr>
              <a:t>ASR </a:t>
            </a:r>
            <a:br>
              <a:rPr lang="en-US" sz="1050" dirty="0">
                <a:solidFill>
                  <a:srgbClr val="FFFFFF"/>
                </a:solidFill>
                <a:latin typeface="CiscoSansTT ExtraLight"/>
              </a:rPr>
            </a:br>
            <a:r>
              <a:rPr lang="en-US" sz="1050" dirty="0">
                <a:solidFill>
                  <a:srgbClr val="FFFFFF"/>
                </a:solidFill>
                <a:latin typeface="CiscoSansTT ExtraLight"/>
              </a:rPr>
              <a:t>9000</a:t>
            </a:r>
          </a:p>
        </p:txBody>
      </p:sp>
      <p:sp>
        <p:nvSpPr>
          <p:cNvPr id="276" name="Rectangle 275">
            <a:extLst>
              <a:ext uri="{FF2B5EF4-FFF2-40B4-BE49-F238E27FC236}">
                <a16:creationId xmlns:a16="http://schemas.microsoft.com/office/drawing/2014/main" id="{C3F83924-089E-B446-B320-CC28E807E552}"/>
              </a:ext>
            </a:extLst>
          </p:cNvPr>
          <p:cNvSpPr/>
          <p:nvPr/>
        </p:nvSpPr>
        <p:spPr>
          <a:xfrm>
            <a:off x="8083237" y="3310466"/>
            <a:ext cx="731201" cy="415498"/>
          </a:xfrm>
          <a:prstGeom prst="rect">
            <a:avLst/>
          </a:prstGeom>
        </p:spPr>
        <p:txBody>
          <a:bodyPr wrap="square" anchor="b">
            <a:spAutoFit/>
          </a:bodyPr>
          <a:lstStyle/>
          <a:p>
            <a:pPr defTabSz="457189"/>
            <a:r>
              <a:rPr lang="en-US" sz="1050" dirty="0">
                <a:solidFill>
                  <a:srgbClr val="FFFFFF"/>
                </a:solidFill>
                <a:latin typeface="CiscoSansTT ExtraLight"/>
              </a:rPr>
              <a:t>NCS </a:t>
            </a:r>
            <a:br>
              <a:rPr lang="en-US" sz="1050" dirty="0">
                <a:solidFill>
                  <a:srgbClr val="FFFFFF"/>
                </a:solidFill>
                <a:latin typeface="CiscoSansTT ExtraLight"/>
              </a:rPr>
            </a:br>
            <a:r>
              <a:rPr lang="en-US" sz="1050" dirty="0">
                <a:solidFill>
                  <a:srgbClr val="FFFFFF"/>
                </a:solidFill>
                <a:latin typeface="CiscoSansTT ExtraLight"/>
              </a:rPr>
              <a:t>5500</a:t>
            </a:r>
          </a:p>
        </p:txBody>
      </p:sp>
      <p:sp>
        <p:nvSpPr>
          <p:cNvPr id="277" name="Freeform 5">
            <a:extLst>
              <a:ext uri="{FF2B5EF4-FFF2-40B4-BE49-F238E27FC236}">
                <a16:creationId xmlns:a16="http://schemas.microsoft.com/office/drawing/2014/main" id="{F9471F9A-0C4F-2F40-930C-0BDF6B7A4AC2}"/>
              </a:ext>
            </a:extLst>
          </p:cNvPr>
          <p:cNvSpPr>
            <a:spLocks/>
          </p:cNvSpPr>
          <p:nvPr/>
        </p:nvSpPr>
        <p:spPr bwMode="auto">
          <a:xfrm>
            <a:off x="2376993" y="4771776"/>
            <a:ext cx="75142" cy="117664"/>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400" dirty="0">
              <a:solidFill>
                <a:srgbClr val="282828"/>
              </a:solidFill>
            </a:endParaRPr>
          </a:p>
        </p:txBody>
      </p:sp>
      <p:sp>
        <p:nvSpPr>
          <p:cNvPr id="278" name="TextBox 277">
            <a:extLst>
              <a:ext uri="{FF2B5EF4-FFF2-40B4-BE49-F238E27FC236}">
                <a16:creationId xmlns:a16="http://schemas.microsoft.com/office/drawing/2014/main" id="{6EC886E5-06DB-7E47-B6B6-F05A9DC0AC74}"/>
              </a:ext>
            </a:extLst>
          </p:cNvPr>
          <p:cNvSpPr txBox="1"/>
          <p:nvPr/>
        </p:nvSpPr>
        <p:spPr>
          <a:xfrm>
            <a:off x="4015247" y="4703650"/>
            <a:ext cx="333746" cy="253916"/>
          </a:xfrm>
          <a:prstGeom prst="rect">
            <a:avLst/>
          </a:prstGeom>
          <a:noFill/>
        </p:spPr>
        <p:txBody>
          <a:bodyPr wrap="none" rtlCol="0">
            <a:spAutoFit/>
          </a:bodyPr>
          <a:lstStyle/>
          <a:p>
            <a:pPr algn="r" defTabSz="457189"/>
            <a:r>
              <a:rPr lang="en-US" sz="1050" dirty="0">
                <a:solidFill>
                  <a:srgbClr val="FBAB18"/>
                </a:solidFill>
                <a:latin typeface="CiscoSansTT ExtraLight"/>
              </a:rPr>
              <a:t>x2</a:t>
            </a:r>
          </a:p>
        </p:txBody>
      </p:sp>
      <p:sp>
        <p:nvSpPr>
          <p:cNvPr id="279" name="Freeform 5">
            <a:extLst>
              <a:ext uri="{FF2B5EF4-FFF2-40B4-BE49-F238E27FC236}">
                <a16:creationId xmlns:a16="http://schemas.microsoft.com/office/drawing/2014/main" id="{E64DA7F2-A64D-DA46-B1C3-B769DA22C8CA}"/>
              </a:ext>
            </a:extLst>
          </p:cNvPr>
          <p:cNvSpPr>
            <a:spLocks/>
          </p:cNvSpPr>
          <p:nvPr/>
        </p:nvSpPr>
        <p:spPr bwMode="auto">
          <a:xfrm>
            <a:off x="4293503" y="4771776"/>
            <a:ext cx="75142" cy="117664"/>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400" dirty="0">
              <a:solidFill>
                <a:srgbClr val="282828"/>
              </a:solidFill>
            </a:endParaRPr>
          </a:p>
        </p:txBody>
      </p:sp>
      <p:sp>
        <p:nvSpPr>
          <p:cNvPr id="280" name="TextBox 279">
            <a:extLst>
              <a:ext uri="{FF2B5EF4-FFF2-40B4-BE49-F238E27FC236}">
                <a16:creationId xmlns:a16="http://schemas.microsoft.com/office/drawing/2014/main" id="{2EB6AC49-DBC7-574B-B8FE-231A0483062E}"/>
              </a:ext>
            </a:extLst>
          </p:cNvPr>
          <p:cNvSpPr txBox="1"/>
          <p:nvPr/>
        </p:nvSpPr>
        <p:spPr>
          <a:xfrm>
            <a:off x="5936041" y="4703650"/>
            <a:ext cx="465192" cy="253916"/>
          </a:xfrm>
          <a:prstGeom prst="rect">
            <a:avLst/>
          </a:prstGeom>
          <a:noFill/>
        </p:spPr>
        <p:txBody>
          <a:bodyPr wrap="none" rtlCol="0">
            <a:spAutoFit/>
          </a:bodyPr>
          <a:lstStyle/>
          <a:p>
            <a:pPr algn="r" defTabSz="457189"/>
            <a:r>
              <a:rPr lang="en-US" sz="1050" dirty="0">
                <a:solidFill>
                  <a:srgbClr val="FBAB18"/>
                </a:solidFill>
                <a:latin typeface="CiscoSansTT ExtraLight"/>
              </a:rPr>
              <a:t>X2.7</a:t>
            </a:r>
          </a:p>
        </p:txBody>
      </p:sp>
      <p:sp>
        <p:nvSpPr>
          <p:cNvPr id="281" name="Freeform 5">
            <a:extLst>
              <a:ext uri="{FF2B5EF4-FFF2-40B4-BE49-F238E27FC236}">
                <a16:creationId xmlns:a16="http://schemas.microsoft.com/office/drawing/2014/main" id="{CF8021A2-F118-704A-91B4-EF9959CFD42E}"/>
              </a:ext>
            </a:extLst>
          </p:cNvPr>
          <p:cNvSpPr>
            <a:spLocks/>
          </p:cNvSpPr>
          <p:nvPr/>
        </p:nvSpPr>
        <p:spPr bwMode="auto">
          <a:xfrm>
            <a:off x="6345744" y="4771776"/>
            <a:ext cx="75142" cy="117664"/>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400" dirty="0">
              <a:solidFill>
                <a:srgbClr val="282828"/>
              </a:solidFill>
            </a:endParaRPr>
          </a:p>
        </p:txBody>
      </p:sp>
      <p:sp>
        <p:nvSpPr>
          <p:cNvPr id="282" name="TextBox 281">
            <a:extLst>
              <a:ext uri="{FF2B5EF4-FFF2-40B4-BE49-F238E27FC236}">
                <a16:creationId xmlns:a16="http://schemas.microsoft.com/office/drawing/2014/main" id="{556ABE5E-985F-434F-87EB-336238013A09}"/>
              </a:ext>
            </a:extLst>
          </p:cNvPr>
          <p:cNvSpPr txBox="1"/>
          <p:nvPr/>
        </p:nvSpPr>
        <p:spPr>
          <a:xfrm>
            <a:off x="7219534" y="4676720"/>
            <a:ext cx="681597" cy="307777"/>
          </a:xfrm>
          <a:prstGeom prst="rect">
            <a:avLst/>
          </a:prstGeom>
          <a:noFill/>
        </p:spPr>
        <p:txBody>
          <a:bodyPr wrap="none" rtlCol="0">
            <a:spAutoFit/>
          </a:bodyPr>
          <a:lstStyle/>
          <a:p>
            <a:pPr algn="ctr" defTabSz="457189"/>
            <a:r>
              <a:rPr lang="en-US" sz="700" dirty="0">
                <a:solidFill>
                  <a:srgbClr val="FFFFFF"/>
                </a:solidFill>
                <a:latin typeface="CiscoSansTT ExtraLight"/>
              </a:rPr>
              <a:t>3.6T/slot</a:t>
            </a:r>
          </a:p>
          <a:p>
            <a:pPr algn="ctr" defTabSz="457189"/>
            <a:r>
              <a:rPr lang="en-US" sz="700" dirty="0">
                <a:solidFill>
                  <a:srgbClr val="FFFFFF"/>
                </a:solidFill>
                <a:latin typeface="CiscoSansTT ExtraLight"/>
              </a:rPr>
              <a:t>(36x100GE)</a:t>
            </a:r>
          </a:p>
        </p:txBody>
      </p:sp>
      <p:sp>
        <p:nvSpPr>
          <p:cNvPr id="283" name="TextBox 282">
            <a:extLst>
              <a:ext uri="{FF2B5EF4-FFF2-40B4-BE49-F238E27FC236}">
                <a16:creationId xmlns:a16="http://schemas.microsoft.com/office/drawing/2014/main" id="{5D87D5FC-7281-4744-9344-9894E043010F}"/>
              </a:ext>
            </a:extLst>
          </p:cNvPr>
          <p:cNvSpPr txBox="1"/>
          <p:nvPr/>
        </p:nvSpPr>
        <p:spPr>
          <a:xfrm>
            <a:off x="8299306" y="4668699"/>
            <a:ext cx="681597" cy="307777"/>
          </a:xfrm>
          <a:prstGeom prst="rect">
            <a:avLst/>
          </a:prstGeom>
          <a:noFill/>
        </p:spPr>
        <p:txBody>
          <a:bodyPr wrap="none" rtlCol="0">
            <a:spAutoFit/>
          </a:bodyPr>
          <a:lstStyle/>
          <a:p>
            <a:pPr algn="ctr" defTabSz="457189"/>
            <a:r>
              <a:rPr lang="en-US" sz="700" dirty="0">
                <a:solidFill>
                  <a:srgbClr val="FFFFFF"/>
                </a:solidFill>
                <a:latin typeface="CiscoSansTT ExtraLight"/>
              </a:rPr>
              <a:t>9.6T/slot</a:t>
            </a:r>
          </a:p>
          <a:p>
            <a:pPr algn="ctr" defTabSz="457189"/>
            <a:r>
              <a:rPr lang="en-US" sz="700" dirty="0">
                <a:solidFill>
                  <a:srgbClr val="FFFFFF"/>
                </a:solidFill>
                <a:latin typeface="CiscoSansTT ExtraLight"/>
              </a:rPr>
              <a:t>(24x400GE)</a:t>
            </a:r>
          </a:p>
        </p:txBody>
      </p:sp>
      <p:sp>
        <p:nvSpPr>
          <p:cNvPr id="284" name="TextBox 283">
            <a:extLst>
              <a:ext uri="{FF2B5EF4-FFF2-40B4-BE49-F238E27FC236}">
                <a16:creationId xmlns:a16="http://schemas.microsoft.com/office/drawing/2014/main" id="{BBCCB22F-9857-0844-8D48-88A316322E2E}"/>
              </a:ext>
            </a:extLst>
          </p:cNvPr>
          <p:cNvSpPr txBox="1"/>
          <p:nvPr/>
        </p:nvSpPr>
        <p:spPr>
          <a:xfrm>
            <a:off x="7811832" y="4703650"/>
            <a:ext cx="465192" cy="253916"/>
          </a:xfrm>
          <a:prstGeom prst="rect">
            <a:avLst/>
          </a:prstGeom>
          <a:noFill/>
        </p:spPr>
        <p:txBody>
          <a:bodyPr wrap="none" rtlCol="0">
            <a:spAutoFit/>
          </a:bodyPr>
          <a:lstStyle/>
          <a:p>
            <a:pPr algn="r" defTabSz="457189"/>
            <a:r>
              <a:rPr lang="en-US" sz="1050" dirty="0">
                <a:solidFill>
                  <a:srgbClr val="FBAB18"/>
                </a:solidFill>
                <a:latin typeface="CiscoSansTT ExtraLight"/>
              </a:rPr>
              <a:t>X2.7</a:t>
            </a:r>
          </a:p>
        </p:txBody>
      </p:sp>
      <p:sp>
        <p:nvSpPr>
          <p:cNvPr id="285" name="Freeform 5">
            <a:extLst>
              <a:ext uri="{FF2B5EF4-FFF2-40B4-BE49-F238E27FC236}">
                <a16:creationId xmlns:a16="http://schemas.microsoft.com/office/drawing/2014/main" id="{AD3EB4CA-5C43-8341-BB52-1CB862090D98}"/>
              </a:ext>
            </a:extLst>
          </p:cNvPr>
          <p:cNvSpPr>
            <a:spLocks/>
          </p:cNvSpPr>
          <p:nvPr/>
        </p:nvSpPr>
        <p:spPr bwMode="auto">
          <a:xfrm>
            <a:off x="8208834" y="4771776"/>
            <a:ext cx="75142" cy="117664"/>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400" dirty="0">
              <a:solidFill>
                <a:srgbClr val="282828"/>
              </a:solidFill>
            </a:endParaRPr>
          </a:p>
        </p:txBody>
      </p:sp>
      <p:sp>
        <p:nvSpPr>
          <p:cNvPr id="305" name="Rectangle 304">
            <a:extLst>
              <a:ext uri="{FF2B5EF4-FFF2-40B4-BE49-F238E27FC236}">
                <a16:creationId xmlns:a16="http://schemas.microsoft.com/office/drawing/2014/main" id="{8AB1B52C-D747-BC46-9686-879C410D3608}"/>
              </a:ext>
            </a:extLst>
          </p:cNvPr>
          <p:cNvSpPr/>
          <p:nvPr/>
        </p:nvSpPr>
        <p:spPr>
          <a:xfrm>
            <a:off x="5208467" y="2416837"/>
            <a:ext cx="1094785" cy="184666"/>
          </a:xfrm>
          <a:prstGeom prst="rect">
            <a:avLst/>
          </a:prstGeom>
        </p:spPr>
        <p:txBody>
          <a:bodyPr wrap="square">
            <a:spAutoFit/>
          </a:bodyPr>
          <a:lstStyle/>
          <a:p>
            <a:pPr algn="ctr" defTabSz="457178">
              <a:defRPr/>
            </a:pPr>
            <a:r>
              <a:rPr lang="en-US" sz="600" dirty="0">
                <a:solidFill>
                  <a:srgbClr val="282828"/>
                </a:solidFill>
                <a:latin typeface="CiscoSansTT ExtraLight"/>
              </a:rPr>
              <a:t>Regional DC</a:t>
            </a:r>
          </a:p>
        </p:txBody>
      </p:sp>
      <p:sp>
        <p:nvSpPr>
          <p:cNvPr id="306" name="Rectangle 305">
            <a:extLst>
              <a:ext uri="{FF2B5EF4-FFF2-40B4-BE49-F238E27FC236}">
                <a16:creationId xmlns:a16="http://schemas.microsoft.com/office/drawing/2014/main" id="{4FD27A92-E246-E04B-8E02-6F60F645F8B2}"/>
              </a:ext>
            </a:extLst>
          </p:cNvPr>
          <p:cNvSpPr/>
          <p:nvPr/>
        </p:nvSpPr>
        <p:spPr>
          <a:xfrm>
            <a:off x="3727655" y="2416837"/>
            <a:ext cx="1094785" cy="184666"/>
          </a:xfrm>
          <a:prstGeom prst="rect">
            <a:avLst/>
          </a:prstGeom>
        </p:spPr>
        <p:txBody>
          <a:bodyPr wrap="square">
            <a:spAutoFit/>
          </a:bodyPr>
          <a:lstStyle/>
          <a:p>
            <a:pPr algn="ctr" defTabSz="457178">
              <a:defRPr/>
            </a:pPr>
            <a:r>
              <a:rPr lang="en-US" sz="600" dirty="0">
                <a:solidFill>
                  <a:srgbClr val="282828"/>
                </a:solidFill>
                <a:latin typeface="CiscoSansTT ExtraLight"/>
              </a:rPr>
              <a:t>MEC/CRAN Hub</a:t>
            </a:r>
          </a:p>
        </p:txBody>
      </p:sp>
      <p:pic>
        <p:nvPicPr>
          <p:cNvPr id="379" name="Picture 378">
            <a:extLst>
              <a:ext uri="{FF2B5EF4-FFF2-40B4-BE49-F238E27FC236}">
                <a16:creationId xmlns:a16="http://schemas.microsoft.com/office/drawing/2014/main" id="{6942D446-5030-2943-B6F7-0E7331254B8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3919630" y="2237876"/>
            <a:ext cx="172651" cy="172651"/>
          </a:xfrm>
          <a:prstGeom prst="rect">
            <a:avLst/>
          </a:prstGeom>
        </p:spPr>
      </p:pic>
      <p:pic>
        <p:nvPicPr>
          <p:cNvPr id="381" name="Picture 380">
            <a:extLst>
              <a:ext uri="{FF2B5EF4-FFF2-40B4-BE49-F238E27FC236}">
                <a16:creationId xmlns:a16="http://schemas.microsoft.com/office/drawing/2014/main" id="{58A079A3-5E86-914D-86C3-C281830E3F02}"/>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395695" y="2245897"/>
            <a:ext cx="172651" cy="172651"/>
          </a:xfrm>
          <a:prstGeom prst="rect">
            <a:avLst/>
          </a:prstGeom>
        </p:spPr>
      </p:pic>
      <p:sp>
        <p:nvSpPr>
          <p:cNvPr id="296" name="TextBox 295">
            <a:extLst>
              <a:ext uri="{FF2B5EF4-FFF2-40B4-BE49-F238E27FC236}">
                <a16:creationId xmlns:a16="http://schemas.microsoft.com/office/drawing/2014/main" id="{1F366971-D484-164E-B6F0-3CDE936A38F7}"/>
              </a:ext>
            </a:extLst>
          </p:cNvPr>
          <p:cNvSpPr txBox="1"/>
          <p:nvPr/>
        </p:nvSpPr>
        <p:spPr>
          <a:xfrm>
            <a:off x="45463" y="3859453"/>
            <a:ext cx="1228077" cy="307777"/>
          </a:xfrm>
          <a:prstGeom prst="rect">
            <a:avLst/>
          </a:prstGeom>
          <a:noFill/>
        </p:spPr>
        <p:txBody>
          <a:bodyPr wrap="square" rtlCol="0">
            <a:spAutoFit/>
          </a:bodyPr>
          <a:lstStyle/>
          <a:p>
            <a:pPr algn="r" defTabSz="457189"/>
            <a:r>
              <a:rPr lang="en-US" sz="1400" dirty="0">
                <a:solidFill>
                  <a:srgbClr val="FFC000"/>
                </a:solidFill>
                <a:latin typeface="CiscoSansTT ExtraLight"/>
              </a:rPr>
              <a:t>New</a:t>
            </a:r>
          </a:p>
        </p:txBody>
      </p:sp>
      <p:sp>
        <p:nvSpPr>
          <p:cNvPr id="307" name="TextBox 306">
            <a:extLst>
              <a:ext uri="{FF2B5EF4-FFF2-40B4-BE49-F238E27FC236}">
                <a16:creationId xmlns:a16="http://schemas.microsoft.com/office/drawing/2014/main" id="{94395053-3777-5A4A-B691-8F388FCB150C}"/>
              </a:ext>
            </a:extLst>
          </p:cNvPr>
          <p:cNvSpPr txBox="1"/>
          <p:nvPr/>
        </p:nvSpPr>
        <p:spPr>
          <a:xfrm>
            <a:off x="5395695" y="3811819"/>
            <a:ext cx="1431419" cy="430887"/>
          </a:xfrm>
          <a:prstGeom prst="rect">
            <a:avLst/>
          </a:prstGeom>
          <a:noFill/>
        </p:spPr>
        <p:txBody>
          <a:bodyPr wrap="square" rtlCol="0">
            <a:spAutoFit/>
          </a:bodyPr>
          <a:lstStyle/>
          <a:p>
            <a:pPr algn="ctr" defTabSz="457189"/>
            <a:r>
              <a:rPr lang="en-US" sz="1100" dirty="0">
                <a:solidFill>
                  <a:srgbClr val="FFFFFF"/>
                </a:solidFill>
                <a:latin typeface="CiscoSansTT ExtraLight"/>
              </a:rPr>
              <a:t>Higher-density </a:t>
            </a:r>
          </a:p>
          <a:p>
            <a:pPr algn="ctr" defTabSz="457189"/>
            <a:r>
              <a:rPr lang="en-US" sz="1100" dirty="0">
                <a:solidFill>
                  <a:srgbClr val="FFFFFF"/>
                </a:solidFill>
                <a:latin typeface="CiscoSansTT ExtraLight"/>
              </a:rPr>
              <a:t>Gen-4 line cards</a:t>
            </a:r>
          </a:p>
        </p:txBody>
      </p:sp>
      <p:sp>
        <p:nvSpPr>
          <p:cNvPr id="308" name="TextBox 307">
            <a:extLst>
              <a:ext uri="{FF2B5EF4-FFF2-40B4-BE49-F238E27FC236}">
                <a16:creationId xmlns:a16="http://schemas.microsoft.com/office/drawing/2014/main" id="{0D6EB6AE-7726-7940-B379-D2B9968A0CA9}"/>
              </a:ext>
            </a:extLst>
          </p:cNvPr>
          <p:cNvSpPr txBox="1"/>
          <p:nvPr/>
        </p:nvSpPr>
        <p:spPr>
          <a:xfrm>
            <a:off x="7163743" y="3782511"/>
            <a:ext cx="1761369" cy="461665"/>
          </a:xfrm>
          <a:prstGeom prst="rect">
            <a:avLst/>
          </a:prstGeom>
          <a:noFill/>
        </p:spPr>
        <p:txBody>
          <a:bodyPr wrap="square" rtlCol="0">
            <a:spAutoFit/>
          </a:bodyPr>
          <a:lstStyle/>
          <a:p>
            <a:pPr algn="ctr" defTabSz="457189"/>
            <a:endParaRPr lang="en-US" sz="200" b="1" dirty="0">
              <a:solidFill>
                <a:srgbClr val="FFFFFF"/>
              </a:solidFill>
              <a:latin typeface="CiscoSansTT ExtraLight"/>
            </a:endParaRPr>
          </a:p>
          <a:p>
            <a:pPr algn="ctr" defTabSz="457189"/>
            <a:r>
              <a:rPr lang="en-US" sz="1100" dirty="0">
                <a:solidFill>
                  <a:srgbClr val="FFFFFF"/>
                </a:solidFill>
                <a:latin typeface="CiscoSansTT ExtraLight"/>
              </a:rPr>
              <a:t>NEW High-density </a:t>
            </a:r>
          </a:p>
          <a:p>
            <a:pPr algn="ctr" defTabSz="457189"/>
            <a:r>
              <a:rPr lang="en-US" sz="1100" dirty="0">
                <a:solidFill>
                  <a:srgbClr val="FFFFFF"/>
                </a:solidFill>
                <a:latin typeface="CiscoSansTT ExtraLight"/>
              </a:rPr>
              <a:t>400GE line cards</a:t>
            </a:r>
          </a:p>
        </p:txBody>
      </p:sp>
      <p:sp>
        <p:nvSpPr>
          <p:cNvPr id="309" name="TextBox 308">
            <a:extLst>
              <a:ext uri="{FF2B5EF4-FFF2-40B4-BE49-F238E27FC236}">
                <a16:creationId xmlns:a16="http://schemas.microsoft.com/office/drawing/2014/main" id="{9742D81E-0089-6946-824F-E8F4686A4FA3}"/>
              </a:ext>
            </a:extLst>
          </p:cNvPr>
          <p:cNvSpPr txBox="1"/>
          <p:nvPr/>
        </p:nvSpPr>
        <p:spPr>
          <a:xfrm>
            <a:off x="1345267" y="3810487"/>
            <a:ext cx="1893858" cy="430887"/>
          </a:xfrm>
          <a:prstGeom prst="rect">
            <a:avLst/>
          </a:prstGeom>
          <a:noFill/>
        </p:spPr>
        <p:txBody>
          <a:bodyPr wrap="square" rtlCol="0">
            <a:spAutoFit/>
          </a:bodyPr>
          <a:lstStyle/>
          <a:p>
            <a:pPr algn="ctr" defTabSz="457189"/>
            <a:r>
              <a:rPr lang="en-US" sz="1100" dirty="0">
                <a:solidFill>
                  <a:srgbClr val="FFFFFF"/>
                </a:solidFill>
                <a:latin typeface="CiscoSansTT ExtraLight"/>
              </a:rPr>
              <a:t>4 new systems for </a:t>
            </a:r>
          </a:p>
          <a:p>
            <a:pPr algn="ctr" defTabSz="457189"/>
            <a:r>
              <a:rPr lang="en-US" sz="1100" dirty="0">
                <a:solidFill>
                  <a:srgbClr val="FFFFFF"/>
                </a:solidFill>
                <a:latin typeface="CiscoSansTT ExtraLight"/>
              </a:rPr>
              <a:t>Cell Site, Pre-Aggregation</a:t>
            </a:r>
          </a:p>
        </p:txBody>
      </p:sp>
      <p:sp>
        <p:nvSpPr>
          <p:cNvPr id="340" name="TextBox 339">
            <a:extLst>
              <a:ext uri="{FF2B5EF4-FFF2-40B4-BE49-F238E27FC236}">
                <a16:creationId xmlns:a16="http://schemas.microsoft.com/office/drawing/2014/main" id="{7D9B1C67-6A30-3E4B-86C3-796E698FE305}"/>
              </a:ext>
            </a:extLst>
          </p:cNvPr>
          <p:cNvSpPr txBox="1"/>
          <p:nvPr/>
        </p:nvSpPr>
        <p:spPr>
          <a:xfrm>
            <a:off x="3382581" y="3833206"/>
            <a:ext cx="1775623" cy="430887"/>
          </a:xfrm>
          <a:prstGeom prst="rect">
            <a:avLst/>
          </a:prstGeom>
          <a:noFill/>
        </p:spPr>
        <p:txBody>
          <a:bodyPr wrap="square" rtlCol="0">
            <a:spAutoFit/>
          </a:bodyPr>
          <a:lstStyle/>
          <a:p>
            <a:pPr algn="ctr" defTabSz="457189"/>
            <a:r>
              <a:rPr lang="en-US" sz="1100" dirty="0">
                <a:solidFill>
                  <a:srgbClr val="FFFFFF"/>
                </a:solidFill>
                <a:latin typeface="CiscoSansTT ExtraLight"/>
              </a:rPr>
              <a:t>Modular, redundant  system for Aggregation</a:t>
            </a:r>
          </a:p>
        </p:txBody>
      </p:sp>
      <p:sp>
        <p:nvSpPr>
          <p:cNvPr id="4" name="Rectangle: Rounded Corners 3">
            <a:extLst>
              <a:ext uri="{FF2B5EF4-FFF2-40B4-BE49-F238E27FC236}">
                <a16:creationId xmlns:a16="http://schemas.microsoft.com/office/drawing/2014/main" id="{B15DE594-6B69-448F-B594-6BB26DB89571}"/>
              </a:ext>
            </a:extLst>
          </p:cNvPr>
          <p:cNvSpPr/>
          <p:nvPr/>
        </p:nvSpPr>
        <p:spPr>
          <a:xfrm>
            <a:off x="0" y="2922816"/>
            <a:ext cx="9144000" cy="295115"/>
          </a:xfrm>
          <a:prstGeom prst="round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400" b="1" dirty="0">
                <a:solidFill>
                  <a:srgbClr val="FFFFFF"/>
                </a:solidFill>
                <a:latin typeface="CiscoSansTT ExtraLight"/>
              </a:rPr>
              <a:t>Converged Platforms for Wireline and Wireless</a:t>
            </a:r>
          </a:p>
        </p:txBody>
      </p:sp>
      <p:grpSp>
        <p:nvGrpSpPr>
          <p:cNvPr id="218" name="Group 217">
            <a:extLst>
              <a:ext uri="{FF2B5EF4-FFF2-40B4-BE49-F238E27FC236}">
                <a16:creationId xmlns:a16="http://schemas.microsoft.com/office/drawing/2014/main" id="{2526B19B-722A-FF4D-98DF-CA190B362E96}"/>
              </a:ext>
            </a:extLst>
          </p:cNvPr>
          <p:cNvGrpSpPr/>
          <p:nvPr/>
        </p:nvGrpSpPr>
        <p:grpSpPr>
          <a:xfrm>
            <a:off x="2004786" y="2747438"/>
            <a:ext cx="5579978" cy="131008"/>
            <a:chOff x="2797977" y="2758164"/>
            <a:chExt cx="6743917" cy="198345"/>
          </a:xfrm>
          <a:solidFill>
            <a:schemeClr val="accent2"/>
          </a:solidFill>
        </p:grpSpPr>
        <p:sp>
          <p:nvSpPr>
            <p:cNvPr id="220" name="Rectangle 219">
              <a:extLst>
                <a:ext uri="{FF2B5EF4-FFF2-40B4-BE49-F238E27FC236}">
                  <a16:creationId xmlns:a16="http://schemas.microsoft.com/office/drawing/2014/main" id="{7860561F-304D-9147-8AC5-CCC1B11FB79B}"/>
                </a:ext>
              </a:extLst>
            </p:cNvPr>
            <p:cNvSpPr/>
            <p:nvPr/>
          </p:nvSpPr>
          <p:spPr>
            <a:xfrm>
              <a:off x="2837748" y="2768601"/>
              <a:ext cx="6704146" cy="187908"/>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224" name="Oval 223">
              <a:extLst>
                <a:ext uri="{FF2B5EF4-FFF2-40B4-BE49-F238E27FC236}">
                  <a16:creationId xmlns:a16="http://schemas.microsoft.com/office/drawing/2014/main" id="{5BD0AA1D-EE1E-8D48-AB2C-0E657AA6925D}"/>
                </a:ext>
              </a:extLst>
            </p:cNvPr>
            <p:cNvSpPr/>
            <p:nvPr/>
          </p:nvSpPr>
          <p:spPr>
            <a:xfrm flipH="1">
              <a:off x="2797977" y="2758164"/>
              <a:ext cx="107414" cy="18576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grpSp>
        <p:nvGrpSpPr>
          <p:cNvPr id="225" name="Group 224">
            <a:extLst>
              <a:ext uri="{FF2B5EF4-FFF2-40B4-BE49-F238E27FC236}">
                <a16:creationId xmlns:a16="http://schemas.microsoft.com/office/drawing/2014/main" id="{E4D45487-3DEF-0F41-8BBB-EEA4B0605EB8}"/>
              </a:ext>
            </a:extLst>
          </p:cNvPr>
          <p:cNvGrpSpPr/>
          <p:nvPr/>
        </p:nvGrpSpPr>
        <p:grpSpPr>
          <a:xfrm>
            <a:off x="2004785" y="2580002"/>
            <a:ext cx="5579979" cy="143835"/>
            <a:chOff x="2797977" y="2781300"/>
            <a:chExt cx="4134695" cy="203309"/>
          </a:xfrm>
          <a:solidFill>
            <a:schemeClr val="accent1"/>
          </a:solidFill>
        </p:grpSpPr>
        <p:sp>
          <p:nvSpPr>
            <p:cNvPr id="226" name="Rectangle 225">
              <a:extLst>
                <a:ext uri="{FF2B5EF4-FFF2-40B4-BE49-F238E27FC236}">
                  <a16:creationId xmlns:a16="http://schemas.microsoft.com/office/drawing/2014/main" id="{0379AD63-2CB7-3B43-8318-2788430A6D31}"/>
                </a:ext>
              </a:extLst>
            </p:cNvPr>
            <p:cNvSpPr/>
            <p:nvPr/>
          </p:nvSpPr>
          <p:spPr>
            <a:xfrm>
              <a:off x="2851340" y="2781300"/>
              <a:ext cx="4081332" cy="20330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sp>
          <p:nvSpPr>
            <p:cNvPr id="227" name="Oval 226">
              <a:extLst>
                <a:ext uri="{FF2B5EF4-FFF2-40B4-BE49-F238E27FC236}">
                  <a16:creationId xmlns:a16="http://schemas.microsoft.com/office/drawing/2014/main" id="{94226167-44F8-0E4D-A48E-899304E04DCC}"/>
                </a:ext>
              </a:extLst>
            </p:cNvPr>
            <p:cNvSpPr/>
            <p:nvPr/>
          </p:nvSpPr>
          <p:spPr>
            <a:xfrm flipH="1">
              <a:off x="2797977" y="2782451"/>
              <a:ext cx="96778" cy="19778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latin typeface="CiscoSansTT ExtraLight"/>
              </a:endParaRPr>
            </a:p>
          </p:txBody>
        </p:sp>
      </p:grpSp>
      <p:sp>
        <p:nvSpPr>
          <p:cNvPr id="231" name="TextBox 230">
            <a:extLst>
              <a:ext uri="{FF2B5EF4-FFF2-40B4-BE49-F238E27FC236}">
                <a16:creationId xmlns:a16="http://schemas.microsoft.com/office/drawing/2014/main" id="{B9FB6CAF-F922-E440-81E8-89F7E4F3868C}"/>
              </a:ext>
            </a:extLst>
          </p:cNvPr>
          <p:cNvSpPr txBox="1"/>
          <p:nvPr/>
        </p:nvSpPr>
        <p:spPr>
          <a:xfrm>
            <a:off x="4004584" y="2714518"/>
            <a:ext cx="1409360" cy="200055"/>
          </a:xfrm>
          <a:prstGeom prst="rect">
            <a:avLst/>
          </a:prstGeom>
          <a:noFill/>
        </p:spPr>
        <p:txBody>
          <a:bodyPr wrap="none" rtlCol="0">
            <a:spAutoFit/>
          </a:bodyPr>
          <a:lstStyle/>
          <a:p>
            <a:pPr defTabSz="457189"/>
            <a:r>
              <a:rPr lang="en-US" sz="700" dirty="0">
                <a:solidFill>
                  <a:srgbClr val="FFFFFF"/>
                </a:solidFill>
                <a:latin typeface="CiscoSansTT ExtraLight"/>
              </a:rPr>
              <a:t>Segment Routing MPLS / IPv6</a:t>
            </a:r>
          </a:p>
        </p:txBody>
      </p:sp>
      <p:sp>
        <p:nvSpPr>
          <p:cNvPr id="232" name="TextBox 231">
            <a:extLst>
              <a:ext uri="{FF2B5EF4-FFF2-40B4-BE49-F238E27FC236}">
                <a16:creationId xmlns:a16="http://schemas.microsoft.com/office/drawing/2014/main" id="{B99D0C9C-7C75-2A49-AED3-829F6C803A15}"/>
              </a:ext>
            </a:extLst>
          </p:cNvPr>
          <p:cNvSpPr txBox="1"/>
          <p:nvPr/>
        </p:nvSpPr>
        <p:spPr>
          <a:xfrm>
            <a:off x="3638171" y="2550349"/>
            <a:ext cx="2480166" cy="200055"/>
          </a:xfrm>
          <a:prstGeom prst="rect">
            <a:avLst/>
          </a:prstGeom>
          <a:noFill/>
        </p:spPr>
        <p:txBody>
          <a:bodyPr wrap="none" rtlCol="0">
            <a:spAutoFit/>
          </a:bodyPr>
          <a:lstStyle/>
          <a:p>
            <a:pPr algn="ctr" defTabSz="457189"/>
            <a:r>
              <a:rPr lang="en-US" sz="700" dirty="0">
                <a:solidFill>
                  <a:srgbClr val="FFFFFF"/>
                </a:solidFill>
                <a:latin typeface="CiscoSansTT ExtraLight"/>
              </a:rPr>
              <a:t>Trusted Infrastructure, 5G Timing Support (SyncE &amp; PTP)</a:t>
            </a:r>
          </a:p>
        </p:txBody>
      </p:sp>
      <p:grpSp>
        <p:nvGrpSpPr>
          <p:cNvPr id="233" name="Group 232">
            <a:extLst>
              <a:ext uri="{FF2B5EF4-FFF2-40B4-BE49-F238E27FC236}">
                <a16:creationId xmlns:a16="http://schemas.microsoft.com/office/drawing/2014/main" id="{B71A86AD-AA1E-ED4B-A208-13E0510F39DA}"/>
              </a:ext>
            </a:extLst>
          </p:cNvPr>
          <p:cNvGrpSpPr/>
          <p:nvPr/>
        </p:nvGrpSpPr>
        <p:grpSpPr>
          <a:xfrm>
            <a:off x="2008625" y="880758"/>
            <a:ext cx="5576139" cy="230832"/>
            <a:chOff x="1814743" y="978235"/>
            <a:chExt cx="5505197" cy="230832"/>
          </a:xfrm>
        </p:grpSpPr>
        <p:sp>
          <p:nvSpPr>
            <p:cNvPr id="234" name="Rounded Rectangle 5">
              <a:extLst>
                <a:ext uri="{FF2B5EF4-FFF2-40B4-BE49-F238E27FC236}">
                  <a16:creationId xmlns:a16="http://schemas.microsoft.com/office/drawing/2014/main" id="{4A8E2837-FDC8-2542-A026-035FB2EA3CD6}"/>
                </a:ext>
              </a:extLst>
            </p:cNvPr>
            <p:cNvSpPr/>
            <p:nvPr/>
          </p:nvSpPr>
          <p:spPr>
            <a:xfrm>
              <a:off x="1814743" y="1018345"/>
              <a:ext cx="5505197" cy="15917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89"/>
              <a:endParaRPr lang="en-US" sz="1100" dirty="0">
                <a:solidFill>
                  <a:srgbClr val="FFFFFF"/>
                </a:solidFill>
                <a:latin typeface="CiscoSansTT ExtraLight"/>
              </a:endParaRPr>
            </a:p>
          </p:txBody>
        </p:sp>
        <p:sp>
          <p:nvSpPr>
            <p:cNvPr id="235" name="Rectangle 234">
              <a:extLst>
                <a:ext uri="{FF2B5EF4-FFF2-40B4-BE49-F238E27FC236}">
                  <a16:creationId xmlns:a16="http://schemas.microsoft.com/office/drawing/2014/main" id="{8B887F54-B405-7C4A-B2A6-5B6C33E6C2F3}"/>
                </a:ext>
              </a:extLst>
            </p:cNvPr>
            <p:cNvSpPr/>
            <p:nvPr/>
          </p:nvSpPr>
          <p:spPr>
            <a:xfrm>
              <a:off x="3576836" y="978235"/>
              <a:ext cx="1807656" cy="230832"/>
            </a:xfrm>
            <a:prstGeom prst="rect">
              <a:avLst/>
            </a:prstGeom>
          </p:spPr>
          <p:txBody>
            <a:bodyPr wrap="none">
              <a:spAutoFit/>
            </a:bodyPr>
            <a:lstStyle/>
            <a:p>
              <a:pPr algn="ctr" defTabSz="457189"/>
              <a:r>
                <a:rPr lang="en-US" sz="900" dirty="0">
                  <a:solidFill>
                    <a:srgbClr val="FFFFFF"/>
                  </a:solidFill>
                  <a:latin typeface="CiscoSansTT ExtraLight"/>
                </a:rPr>
                <a:t>Crosswork Network Automation</a:t>
              </a:r>
            </a:p>
          </p:txBody>
        </p:sp>
      </p:grpSp>
      <p:sp>
        <p:nvSpPr>
          <p:cNvPr id="254" name="TextBox 253">
            <a:extLst>
              <a:ext uri="{FF2B5EF4-FFF2-40B4-BE49-F238E27FC236}">
                <a16:creationId xmlns:a16="http://schemas.microsoft.com/office/drawing/2014/main" id="{4AE6D17C-40F6-5B41-B917-1B19D54B2616}"/>
              </a:ext>
            </a:extLst>
          </p:cNvPr>
          <p:cNvSpPr txBox="1"/>
          <p:nvPr/>
        </p:nvSpPr>
        <p:spPr>
          <a:xfrm>
            <a:off x="1932451" y="4382790"/>
            <a:ext cx="674006" cy="277445"/>
          </a:xfrm>
          <a:prstGeom prst="roundRect">
            <a:avLst>
              <a:gd name="adj" fmla="val 48467"/>
            </a:avLst>
          </a:prstGeom>
          <a:solidFill>
            <a:schemeClr val="accent1"/>
          </a:solidFill>
          <a:ln w="31750">
            <a:solidFill>
              <a:schemeClr val="accent1">
                <a:lumMod val="40000"/>
                <a:lumOff val="60000"/>
              </a:schemeClr>
            </a:solidFill>
          </a:ln>
        </p:spPr>
        <p:txBody>
          <a:bodyPr wrap="square" lIns="45720" rIns="45720" rtlCol="0" anchor="ctr">
            <a:spAutoFit/>
          </a:bodyPr>
          <a:lstStyle/>
          <a:p>
            <a:pPr algn="ctr" defTabSz="457189"/>
            <a:r>
              <a:rPr lang="en-US" sz="700" b="1" dirty="0">
                <a:solidFill>
                  <a:srgbClr val="FFFFFF"/>
                </a:solidFill>
                <a:latin typeface="CiscoSansTT" panose="020B0503020201020303" pitchFamily="34" charset="0"/>
                <a:cs typeface="CiscoSansTT" panose="020B0503020201020303" pitchFamily="34" charset="0"/>
              </a:rPr>
              <a:t>10/100 GE</a:t>
            </a:r>
          </a:p>
        </p:txBody>
      </p:sp>
      <p:sp>
        <p:nvSpPr>
          <p:cNvPr id="286" name="TextBox 285">
            <a:extLst>
              <a:ext uri="{FF2B5EF4-FFF2-40B4-BE49-F238E27FC236}">
                <a16:creationId xmlns:a16="http://schemas.microsoft.com/office/drawing/2014/main" id="{81E7C048-662F-D74C-8BBC-D5DE1320E02B}"/>
              </a:ext>
            </a:extLst>
          </p:cNvPr>
          <p:cNvSpPr txBox="1"/>
          <p:nvPr/>
        </p:nvSpPr>
        <p:spPr>
          <a:xfrm>
            <a:off x="3938390" y="4382790"/>
            <a:ext cx="677843" cy="277445"/>
          </a:xfrm>
          <a:prstGeom prst="roundRect">
            <a:avLst>
              <a:gd name="adj" fmla="val 48467"/>
            </a:avLst>
          </a:prstGeom>
          <a:solidFill>
            <a:schemeClr val="accent1"/>
          </a:solidFill>
          <a:ln w="31750">
            <a:solidFill>
              <a:schemeClr val="accent1">
                <a:lumMod val="40000"/>
                <a:lumOff val="60000"/>
              </a:schemeClr>
            </a:solidFill>
          </a:ln>
        </p:spPr>
        <p:txBody>
          <a:bodyPr wrap="square" lIns="45720" rIns="45720" rtlCol="0" anchor="ctr">
            <a:spAutoFit/>
          </a:bodyPr>
          <a:lstStyle/>
          <a:p>
            <a:pPr algn="ctr" defTabSz="457189"/>
            <a:r>
              <a:rPr lang="en-US" sz="700" b="1" dirty="0">
                <a:solidFill>
                  <a:srgbClr val="FFFFFF"/>
                </a:solidFill>
                <a:latin typeface="CiscoSansTT" panose="020B0503020201020303" pitchFamily="34" charset="0"/>
                <a:cs typeface="CiscoSansTT" panose="020B0503020201020303" pitchFamily="34" charset="0"/>
              </a:rPr>
              <a:t>10/100 GE</a:t>
            </a:r>
          </a:p>
        </p:txBody>
      </p:sp>
      <p:sp>
        <p:nvSpPr>
          <p:cNvPr id="294" name="TextBox 293">
            <a:extLst>
              <a:ext uri="{FF2B5EF4-FFF2-40B4-BE49-F238E27FC236}">
                <a16:creationId xmlns:a16="http://schemas.microsoft.com/office/drawing/2014/main" id="{DEA9D37F-E76A-DE4F-8FCD-C1EAAD923768}"/>
              </a:ext>
            </a:extLst>
          </p:cNvPr>
          <p:cNvSpPr txBox="1"/>
          <p:nvPr/>
        </p:nvSpPr>
        <p:spPr>
          <a:xfrm>
            <a:off x="5837762" y="4382790"/>
            <a:ext cx="603393" cy="277445"/>
          </a:xfrm>
          <a:prstGeom prst="roundRect">
            <a:avLst>
              <a:gd name="adj" fmla="val 48467"/>
            </a:avLst>
          </a:prstGeom>
          <a:solidFill>
            <a:schemeClr val="accent1"/>
          </a:solidFill>
          <a:ln w="31750">
            <a:solidFill>
              <a:schemeClr val="accent1">
                <a:lumMod val="40000"/>
                <a:lumOff val="60000"/>
              </a:schemeClr>
            </a:solidFill>
          </a:ln>
        </p:spPr>
        <p:txBody>
          <a:bodyPr wrap="square" lIns="45720" rIns="45720" rtlCol="0" anchor="ctr">
            <a:spAutoFit/>
          </a:bodyPr>
          <a:lstStyle/>
          <a:p>
            <a:pPr algn="ctr" defTabSz="457189"/>
            <a:r>
              <a:rPr lang="en-US" sz="700" b="1" dirty="0">
                <a:solidFill>
                  <a:srgbClr val="FFFFFF"/>
                </a:solidFill>
                <a:latin typeface="CiscoSansTT" panose="020B0503020201020303" pitchFamily="34" charset="0"/>
                <a:cs typeface="CiscoSansTT" panose="020B0503020201020303" pitchFamily="34" charset="0"/>
              </a:rPr>
              <a:t>100 GE</a:t>
            </a:r>
          </a:p>
        </p:txBody>
      </p:sp>
      <p:sp>
        <p:nvSpPr>
          <p:cNvPr id="297" name="TextBox 296">
            <a:extLst>
              <a:ext uri="{FF2B5EF4-FFF2-40B4-BE49-F238E27FC236}">
                <a16:creationId xmlns:a16="http://schemas.microsoft.com/office/drawing/2014/main" id="{6EE49647-2AD3-7742-A8A9-7B5423AF4EB2}"/>
              </a:ext>
            </a:extLst>
          </p:cNvPr>
          <p:cNvSpPr txBox="1"/>
          <p:nvPr/>
        </p:nvSpPr>
        <p:spPr>
          <a:xfrm>
            <a:off x="7770323" y="4367072"/>
            <a:ext cx="603393" cy="277445"/>
          </a:xfrm>
          <a:prstGeom prst="roundRect">
            <a:avLst>
              <a:gd name="adj" fmla="val 48467"/>
            </a:avLst>
          </a:prstGeom>
          <a:solidFill>
            <a:schemeClr val="accent1"/>
          </a:solidFill>
          <a:ln w="31750">
            <a:solidFill>
              <a:schemeClr val="accent1">
                <a:lumMod val="40000"/>
                <a:lumOff val="60000"/>
              </a:schemeClr>
            </a:solidFill>
          </a:ln>
        </p:spPr>
        <p:txBody>
          <a:bodyPr wrap="square" lIns="45720" rIns="45720" rtlCol="0" anchor="ctr">
            <a:spAutoFit/>
          </a:bodyPr>
          <a:lstStyle/>
          <a:p>
            <a:pPr algn="ctr" defTabSz="457189"/>
            <a:r>
              <a:rPr lang="en-US" sz="700" b="1" dirty="0">
                <a:solidFill>
                  <a:srgbClr val="FFFFFF"/>
                </a:solidFill>
                <a:latin typeface="CiscoSansTT" panose="020B0503020201020303" pitchFamily="34" charset="0"/>
                <a:cs typeface="CiscoSansTT" panose="020B0503020201020303" pitchFamily="34" charset="0"/>
              </a:rPr>
              <a:t>400 GE</a:t>
            </a:r>
          </a:p>
        </p:txBody>
      </p:sp>
    </p:spTree>
    <p:extLst>
      <p:ext uri="{BB962C8B-B14F-4D97-AF65-F5344CB8AC3E}">
        <p14:creationId xmlns:p14="http://schemas.microsoft.com/office/powerpoint/2010/main" val="65123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ged SDN Transport Design </a:t>
            </a:r>
            <a:r>
              <a:rPr lang="mr-IN" dirty="0"/>
              <a:t>–</a:t>
            </a:r>
            <a:r>
              <a:rPr lang="en-US" dirty="0"/>
              <a:t> End to End</a:t>
            </a:r>
          </a:p>
        </p:txBody>
      </p:sp>
      <p:sp>
        <p:nvSpPr>
          <p:cNvPr id="3" name="Cloud 2"/>
          <p:cNvSpPr/>
          <p:nvPr/>
        </p:nvSpPr>
        <p:spPr>
          <a:xfrm>
            <a:off x="3218545" y="2636726"/>
            <a:ext cx="2637716" cy="874371"/>
          </a:xfrm>
          <a:prstGeom prst="cloud">
            <a:avLst/>
          </a:prstGeom>
          <a:solidFill>
            <a:srgbClr val="6EBE4A">
              <a:lumMod val="40000"/>
              <a:lumOff val="60000"/>
            </a:srgbClr>
          </a:solidFill>
          <a:ln w="25400" cap="flat" cmpd="sng" algn="ctr">
            <a:noFill/>
            <a:prstDash val="solid"/>
          </a:ln>
          <a:effectLst/>
        </p:spPr>
        <p:txBody>
          <a:bodyPr rtlCol="0" anchor="ctr"/>
          <a:lstStyle/>
          <a:p>
            <a:pPr algn="ctr" defTabSz="457064">
              <a:defRPr/>
            </a:pPr>
            <a:endParaRPr lang="en-US" sz="2399" kern="0" dirty="0">
              <a:solidFill>
                <a:srgbClr val="005073"/>
              </a:solidFill>
              <a:latin typeface="CiscoSansTT ExtraLight"/>
              <a:ea typeface="Apple LiGothic Medium"/>
              <a:cs typeface="Apple LiGothic Medium"/>
            </a:endParaRPr>
          </a:p>
        </p:txBody>
      </p:sp>
      <p:sp>
        <p:nvSpPr>
          <p:cNvPr id="4" name="Cloud 3"/>
          <p:cNvSpPr/>
          <p:nvPr/>
        </p:nvSpPr>
        <p:spPr>
          <a:xfrm>
            <a:off x="6169137" y="2695956"/>
            <a:ext cx="1501000" cy="735044"/>
          </a:xfrm>
          <a:prstGeom prst="cloud">
            <a:avLst/>
          </a:prstGeom>
          <a:solidFill>
            <a:srgbClr val="36A4D7"/>
          </a:solidFill>
          <a:ln w="25400" cap="flat" cmpd="sng" algn="ctr">
            <a:noFill/>
            <a:prstDash val="solid"/>
          </a:ln>
          <a:effectLst/>
        </p:spPr>
        <p:txBody>
          <a:bodyPr rtlCol="0" anchor="ctr"/>
          <a:lstStyle/>
          <a:p>
            <a:pPr algn="ctr" defTabSz="457064">
              <a:defRPr/>
            </a:pPr>
            <a:endParaRPr lang="en-US" sz="2399" kern="0" dirty="0">
              <a:solidFill>
                <a:srgbClr val="005073"/>
              </a:solidFill>
              <a:latin typeface="CiscoSansTT ExtraLight"/>
              <a:ea typeface="Apple LiGothic Medium"/>
              <a:cs typeface="Apple LiGothic Medium"/>
            </a:endParaRPr>
          </a:p>
        </p:txBody>
      </p:sp>
      <p:sp>
        <p:nvSpPr>
          <p:cNvPr id="5" name="Cloud 4"/>
          <p:cNvSpPr/>
          <p:nvPr/>
        </p:nvSpPr>
        <p:spPr>
          <a:xfrm>
            <a:off x="1460846" y="2698780"/>
            <a:ext cx="1466201" cy="735044"/>
          </a:xfrm>
          <a:prstGeom prst="cloud">
            <a:avLst/>
          </a:prstGeom>
          <a:solidFill>
            <a:srgbClr val="36A4D7"/>
          </a:solidFill>
          <a:ln w="25400" cap="flat" cmpd="sng" algn="ctr">
            <a:noFill/>
            <a:prstDash val="solid"/>
          </a:ln>
          <a:effectLst/>
        </p:spPr>
        <p:txBody>
          <a:bodyPr rtlCol="0" anchor="ctr"/>
          <a:lstStyle/>
          <a:p>
            <a:pPr algn="ctr" defTabSz="457064">
              <a:defRPr/>
            </a:pPr>
            <a:endParaRPr lang="en-US" sz="2399" kern="0" dirty="0">
              <a:solidFill>
                <a:srgbClr val="005073"/>
              </a:solidFill>
              <a:latin typeface="CiscoSansTT ExtraLight"/>
              <a:ea typeface="Apple LiGothic Medium"/>
              <a:cs typeface="Apple LiGothic Medium"/>
            </a:endParaRPr>
          </a:p>
        </p:txBody>
      </p:sp>
      <p:sp>
        <p:nvSpPr>
          <p:cNvPr id="6" name="TextBox 5"/>
          <p:cNvSpPr txBox="1"/>
          <p:nvPr/>
        </p:nvSpPr>
        <p:spPr>
          <a:xfrm>
            <a:off x="1717135" y="2862117"/>
            <a:ext cx="827471" cy="415498"/>
          </a:xfrm>
          <a:prstGeom prst="rect">
            <a:avLst/>
          </a:prstGeom>
          <a:noFill/>
        </p:spPr>
        <p:txBody>
          <a:bodyPr wrap="none" rtlCol="0">
            <a:spAutoFit/>
          </a:bodyPr>
          <a:lstStyle/>
          <a:p>
            <a:pPr algn="ctr" defTabSz="457064"/>
            <a:r>
              <a:rPr lang="en-US" sz="1050" b="1" dirty="0">
                <a:solidFill>
                  <a:srgbClr val="282828">
                    <a:lumMod val="50000"/>
                  </a:srgbClr>
                </a:solidFill>
                <a:cs typeface="Apple LiGothic Medium"/>
              </a:rPr>
              <a:t>NG Metro </a:t>
            </a:r>
          </a:p>
          <a:p>
            <a:pPr algn="ctr" defTabSz="457064"/>
            <a:r>
              <a:rPr lang="en-US" sz="1050" b="1" dirty="0">
                <a:solidFill>
                  <a:srgbClr val="282828">
                    <a:lumMod val="50000"/>
                  </a:srgbClr>
                </a:solidFill>
                <a:cs typeface="Apple LiGothic Medium"/>
              </a:rPr>
              <a:t>Fabric</a:t>
            </a:r>
          </a:p>
        </p:txBody>
      </p:sp>
      <p:sp>
        <p:nvSpPr>
          <p:cNvPr id="11" name="TextBox 10"/>
          <p:cNvSpPr txBox="1"/>
          <p:nvPr/>
        </p:nvSpPr>
        <p:spPr>
          <a:xfrm>
            <a:off x="1562899" y="3416640"/>
            <a:ext cx="1077539" cy="253916"/>
          </a:xfrm>
          <a:prstGeom prst="rect">
            <a:avLst/>
          </a:prstGeom>
          <a:noFill/>
        </p:spPr>
        <p:txBody>
          <a:bodyPr wrap="none" rtlCol="0">
            <a:spAutoFit/>
          </a:bodyPr>
          <a:lstStyle/>
          <a:p>
            <a:pPr defTabSz="457064"/>
            <a:r>
              <a:rPr lang="en-US" sz="1050" b="1" dirty="0">
                <a:solidFill>
                  <a:srgbClr val="005073">
                    <a:lumMod val="60000"/>
                    <a:lumOff val="40000"/>
                  </a:srgbClr>
                </a:solidFill>
                <a:cs typeface="Apple LiGothic Medium"/>
              </a:rPr>
              <a:t>Metro Area 01</a:t>
            </a:r>
          </a:p>
        </p:txBody>
      </p:sp>
      <p:sp>
        <p:nvSpPr>
          <p:cNvPr id="12" name="TextBox 11"/>
          <p:cNvSpPr txBox="1"/>
          <p:nvPr/>
        </p:nvSpPr>
        <p:spPr>
          <a:xfrm>
            <a:off x="934955" y="3209343"/>
            <a:ext cx="588624" cy="369332"/>
          </a:xfrm>
          <a:prstGeom prst="rect">
            <a:avLst/>
          </a:prstGeom>
          <a:noFill/>
        </p:spPr>
        <p:txBody>
          <a:bodyPr wrap="none" rtlCol="0">
            <a:spAutoFit/>
          </a:bodyPr>
          <a:lstStyle/>
          <a:p>
            <a:pPr algn="ctr" defTabSz="457064"/>
            <a:r>
              <a:rPr lang="en-US" sz="900" b="1" dirty="0">
                <a:solidFill>
                  <a:srgbClr val="282828"/>
                </a:solidFill>
                <a:cs typeface="Apple LiGothic Medium"/>
              </a:rPr>
              <a:t>Access</a:t>
            </a:r>
          </a:p>
          <a:p>
            <a:pPr algn="ctr" defTabSz="457064"/>
            <a:r>
              <a:rPr lang="en-US" sz="900" b="1" dirty="0">
                <a:solidFill>
                  <a:srgbClr val="282828"/>
                </a:solidFill>
                <a:cs typeface="Apple LiGothic Medium"/>
              </a:rPr>
              <a:t>Node</a:t>
            </a:r>
          </a:p>
        </p:txBody>
      </p:sp>
      <p:sp>
        <p:nvSpPr>
          <p:cNvPr id="13" name="TextBox 12"/>
          <p:cNvSpPr txBox="1"/>
          <p:nvPr/>
        </p:nvSpPr>
        <p:spPr>
          <a:xfrm>
            <a:off x="2706688" y="3286941"/>
            <a:ext cx="620684" cy="369332"/>
          </a:xfrm>
          <a:prstGeom prst="rect">
            <a:avLst/>
          </a:prstGeom>
          <a:noFill/>
        </p:spPr>
        <p:txBody>
          <a:bodyPr wrap="none" rtlCol="0">
            <a:spAutoFit/>
          </a:bodyPr>
          <a:lstStyle/>
          <a:p>
            <a:pPr algn="ctr" defTabSz="457064"/>
            <a:r>
              <a:rPr lang="en-US" sz="900" b="1" dirty="0">
                <a:solidFill>
                  <a:srgbClr val="282828"/>
                </a:solidFill>
                <a:cs typeface="Apple LiGothic Medium"/>
              </a:rPr>
              <a:t>ABR/PE</a:t>
            </a:r>
          </a:p>
          <a:p>
            <a:pPr algn="ctr" defTabSz="457064"/>
            <a:r>
              <a:rPr lang="en-US" sz="900" b="1" dirty="0">
                <a:solidFill>
                  <a:srgbClr val="282828"/>
                </a:solidFill>
                <a:cs typeface="Apple LiGothic Medium"/>
              </a:rPr>
              <a:t>Node</a:t>
            </a:r>
          </a:p>
        </p:txBody>
      </p:sp>
      <p:sp>
        <p:nvSpPr>
          <p:cNvPr id="18" name="TextBox 17"/>
          <p:cNvSpPr txBox="1"/>
          <p:nvPr/>
        </p:nvSpPr>
        <p:spPr>
          <a:xfrm>
            <a:off x="6495056" y="2862117"/>
            <a:ext cx="827471" cy="415498"/>
          </a:xfrm>
          <a:prstGeom prst="rect">
            <a:avLst/>
          </a:prstGeom>
          <a:noFill/>
        </p:spPr>
        <p:txBody>
          <a:bodyPr wrap="none" rtlCol="0">
            <a:spAutoFit/>
          </a:bodyPr>
          <a:lstStyle/>
          <a:p>
            <a:pPr algn="ctr" defTabSz="457064"/>
            <a:r>
              <a:rPr lang="en-US" sz="1050" b="1" dirty="0">
                <a:solidFill>
                  <a:srgbClr val="282828">
                    <a:lumMod val="50000"/>
                  </a:srgbClr>
                </a:solidFill>
                <a:cs typeface="Apple LiGothic Medium"/>
              </a:rPr>
              <a:t>NG Metro </a:t>
            </a:r>
          </a:p>
          <a:p>
            <a:pPr algn="ctr" defTabSz="457064"/>
            <a:r>
              <a:rPr lang="en-US" sz="1050" b="1" dirty="0">
                <a:solidFill>
                  <a:srgbClr val="282828">
                    <a:lumMod val="50000"/>
                  </a:srgbClr>
                </a:solidFill>
                <a:cs typeface="Apple LiGothic Medium"/>
              </a:rPr>
              <a:t>Fabric</a:t>
            </a:r>
          </a:p>
        </p:txBody>
      </p:sp>
      <p:sp>
        <p:nvSpPr>
          <p:cNvPr id="19" name="TextBox 18"/>
          <p:cNvSpPr txBox="1"/>
          <p:nvPr/>
        </p:nvSpPr>
        <p:spPr>
          <a:xfrm>
            <a:off x="7566757" y="3209343"/>
            <a:ext cx="588624" cy="369332"/>
          </a:xfrm>
          <a:prstGeom prst="rect">
            <a:avLst/>
          </a:prstGeom>
          <a:noFill/>
        </p:spPr>
        <p:txBody>
          <a:bodyPr wrap="none" rtlCol="0">
            <a:spAutoFit/>
          </a:bodyPr>
          <a:lstStyle/>
          <a:p>
            <a:pPr algn="ctr" defTabSz="457064"/>
            <a:r>
              <a:rPr lang="en-US" sz="900" b="1" dirty="0">
                <a:solidFill>
                  <a:srgbClr val="282828"/>
                </a:solidFill>
                <a:cs typeface="Apple LiGothic Medium"/>
              </a:rPr>
              <a:t>Access</a:t>
            </a:r>
          </a:p>
          <a:p>
            <a:pPr algn="ctr" defTabSz="457064"/>
            <a:r>
              <a:rPr lang="en-US" sz="900" b="1" dirty="0">
                <a:solidFill>
                  <a:srgbClr val="282828"/>
                </a:solidFill>
                <a:cs typeface="Apple LiGothic Medium"/>
              </a:rPr>
              <a:t> Node</a:t>
            </a:r>
          </a:p>
        </p:txBody>
      </p:sp>
      <p:sp>
        <p:nvSpPr>
          <p:cNvPr id="21" name="TextBox 20"/>
          <p:cNvSpPr txBox="1"/>
          <p:nvPr/>
        </p:nvSpPr>
        <p:spPr>
          <a:xfrm>
            <a:off x="6455665" y="3384051"/>
            <a:ext cx="1077539" cy="253916"/>
          </a:xfrm>
          <a:prstGeom prst="rect">
            <a:avLst/>
          </a:prstGeom>
          <a:noFill/>
        </p:spPr>
        <p:txBody>
          <a:bodyPr wrap="none" rtlCol="0">
            <a:spAutoFit/>
          </a:bodyPr>
          <a:lstStyle/>
          <a:p>
            <a:pPr defTabSz="457064"/>
            <a:r>
              <a:rPr lang="en-US" sz="1050" b="1" dirty="0">
                <a:solidFill>
                  <a:srgbClr val="005073">
                    <a:lumMod val="60000"/>
                    <a:lumOff val="40000"/>
                  </a:srgbClr>
                </a:solidFill>
                <a:cs typeface="Apple LiGothic Medium"/>
              </a:rPr>
              <a:t>Metro Area 02</a:t>
            </a:r>
          </a:p>
        </p:txBody>
      </p:sp>
      <p:cxnSp>
        <p:nvCxnSpPr>
          <p:cNvPr id="24" name="Straight Connector 23"/>
          <p:cNvCxnSpPr/>
          <p:nvPr/>
        </p:nvCxnSpPr>
        <p:spPr>
          <a:xfrm>
            <a:off x="1106833" y="3711372"/>
            <a:ext cx="1963052" cy="0"/>
          </a:xfrm>
          <a:prstGeom prst="line">
            <a:avLst/>
          </a:prstGeom>
          <a:noFill/>
          <a:ln w="19050" cap="flat" cmpd="sng" algn="ctr">
            <a:solidFill>
              <a:srgbClr val="53565A">
                <a:lumMod val="75000"/>
              </a:srgbClr>
            </a:solidFill>
            <a:prstDash val="dash"/>
            <a:headEnd type="triangle" w="med" len="med"/>
            <a:tailEnd type="triangle" w="med" len="med"/>
          </a:ln>
          <a:effectLst/>
        </p:spPr>
      </p:cxnSp>
      <p:sp>
        <p:nvSpPr>
          <p:cNvPr id="25" name="TextBox 24"/>
          <p:cNvSpPr txBox="1"/>
          <p:nvPr/>
        </p:nvSpPr>
        <p:spPr>
          <a:xfrm>
            <a:off x="911154" y="3745496"/>
            <a:ext cx="1960793" cy="230832"/>
          </a:xfrm>
          <a:prstGeom prst="rect">
            <a:avLst/>
          </a:prstGeom>
          <a:noFill/>
        </p:spPr>
        <p:txBody>
          <a:bodyPr wrap="none" rtlCol="0">
            <a:spAutoFit/>
          </a:bodyPr>
          <a:lstStyle/>
          <a:p>
            <a:pPr algn="ctr" defTabSz="457064"/>
            <a:r>
              <a:rPr lang="en-US" sz="900" b="1" dirty="0">
                <a:solidFill>
                  <a:srgbClr val="676767">
                    <a:lumMod val="75000"/>
                  </a:srgbClr>
                </a:solidFill>
                <a:cs typeface="Apple LiGothic Medium"/>
              </a:rPr>
              <a:t>IGP with SR Extensions (TI-LFA)</a:t>
            </a:r>
          </a:p>
        </p:txBody>
      </p:sp>
      <p:cxnSp>
        <p:nvCxnSpPr>
          <p:cNvPr id="26" name="Straight Connector 25"/>
          <p:cNvCxnSpPr/>
          <p:nvPr/>
        </p:nvCxnSpPr>
        <p:spPr>
          <a:xfrm flipV="1">
            <a:off x="3118925" y="3693265"/>
            <a:ext cx="2682059" cy="18107"/>
          </a:xfrm>
          <a:prstGeom prst="line">
            <a:avLst/>
          </a:prstGeom>
          <a:noFill/>
          <a:ln w="19050" cap="flat" cmpd="sng" algn="ctr">
            <a:solidFill>
              <a:srgbClr val="53565A">
                <a:lumMod val="75000"/>
              </a:srgbClr>
            </a:solidFill>
            <a:prstDash val="dash"/>
            <a:headEnd type="triangle" w="med" len="med"/>
            <a:tailEnd type="triangle" w="med" len="med"/>
          </a:ln>
          <a:effectLst/>
        </p:spPr>
      </p:cxnSp>
      <p:sp>
        <p:nvSpPr>
          <p:cNvPr id="27" name="TextBox 26"/>
          <p:cNvSpPr txBox="1"/>
          <p:nvPr/>
        </p:nvSpPr>
        <p:spPr>
          <a:xfrm>
            <a:off x="3512584" y="3745496"/>
            <a:ext cx="1960793" cy="230832"/>
          </a:xfrm>
          <a:prstGeom prst="rect">
            <a:avLst/>
          </a:prstGeom>
          <a:noFill/>
        </p:spPr>
        <p:txBody>
          <a:bodyPr wrap="none" rtlCol="0">
            <a:spAutoFit/>
          </a:bodyPr>
          <a:lstStyle/>
          <a:p>
            <a:pPr algn="ctr" defTabSz="457064"/>
            <a:r>
              <a:rPr lang="en-US" sz="900" b="1" dirty="0">
                <a:solidFill>
                  <a:srgbClr val="676767">
                    <a:lumMod val="75000"/>
                  </a:srgbClr>
                </a:solidFill>
                <a:cs typeface="Apple LiGothic Medium"/>
              </a:rPr>
              <a:t>IGP with SR Extensions (TI-LFA)</a:t>
            </a:r>
          </a:p>
        </p:txBody>
      </p:sp>
      <p:cxnSp>
        <p:nvCxnSpPr>
          <p:cNvPr id="28" name="Straight Connector 27"/>
          <p:cNvCxnSpPr/>
          <p:nvPr/>
        </p:nvCxnSpPr>
        <p:spPr>
          <a:xfrm flipV="1">
            <a:off x="5808303" y="3689601"/>
            <a:ext cx="2161492" cy="0"/>
          </a:xfrm>
          <a:prstGeom prst="line">
            <a:avLst/>
          </a:prstGeom>
          <a:noFill/>
          <a:ln w="19050" cap="flat" cmpd="sng" algn="ctr">
            <a:solidFill>
              <a:srgbClr val="53565A">
                <a:lumMod val="75000"/>
              </a:srgbClr>
            </a:solidFill>
            <a:prstDash val="dash"/>
            <a:headEnd type="triangle" w="med" len="med"/>
            <a:tailEnd type="triangle" w="med" len="med"/>
          </a:ln>
          <a:effectLst/>
        </p:spPr>
      </p:cxnSp>
      <p:sp>
        <p:nvSpPr>
          <p:cNvPr id="29" name="TextBox 28"/>
          <p:cNvSpPr txBox="1"/>
          <p:nvPr/>
        </p:nvSpPr>
        <p:spPr>
          <a:xfrm>
            <a:off x="6181696" y="3745496"/>
            <a:ext cx="1960793" cy="230832"/>
          </a:xfrm>
          <a:prstGeom prst="rect">
            <a:avLst/>
          </a:prstGeom>
          <a:noFill/>
        </p:spPr>
        <p:txBody>
          <a:bodyPr wrap="none" rtlCol="0">
            <a:spAutoFit/>
          </a:bodyPr>
          <a:lstStyle/>
          <a:p>
            <a:pPr algn="ctr" defTabSz="457064"/>
            <a:r>
              <a:rPr lang="en-US" sz="900" b="1" dirty="0">
                <a:solidFill>
                  <a:srgbClr val="676767">
                    <a:lumMod val="75000"/>
                  </a:srgbClr>
                </a:solidFill>
                <a:cs typeface="Apple LiGothic Medium"/>
              </a:rPr>
              <a:t>IGP with SR Extensions (TI-LFA)</a:t>
            </a:r>
          </a:p>
        </p:txBody>
      </p:sp>
      <p:sp>
        <p:nvSpPr>
          <p:cNvPr id="32" name="TextBox 31"/>
          <p:cNvSpPr txBox="1"/>
          <p:nvPr/>
        </p:nvSpPr>
        <p:spPr>
          <a:xfrm>
            <a:off x="5742890" y="3268185"/>
            <a:ext cx="620684" cy="369332"/>
          </a:xfrm>
          <a:prstGeom prst="rect">
            <a:avLst/>
          </a:prstGeom>
          <a:noFill/>
        </p:spPr>
        <p:txBody>
          <a:bodyPr wrap="none" rtlCol="0">
            <a:spAutoFit/>
          </a:bodyPr>
          <a:lstStyle/>
          <a:p>
            <a:pPr algn="ctr" defTabSz="457064"/>
            <a:r>
              <a:rPr lang="en-US" sz="900" b="1" dirty="0">
                <a:solidFill>
                  <a:srgbClr val="282828"/>
                </a:solidFill>
                <a:cs typeface="Apple LiGothic Medium"/>
              </a:rPr>
              <a:t>ABR/PE</a:t>
            </a:r>
          </a:p>
          <a:p>
            <a:pPr algn="ctr" defTabSz="457064"/>
            <a:r>
              <a:rPr lang="en-US" sz="900" b="1" dirty="0">
                <a:solidFill>
                  <a:srgbClr val="282828"/>
                </a:solidFill>
                <a:cs typeface="Apple LiGothic Medium"/>
              </a:rPr>
              <a:t>Node</a:t>
            </a:r>
          </a:p>
        </p:txBody>
      </p:sp>
      <p:sp>
        <p:nvSpPr>
          <p:cNvPr id="33" name="TextBox 32"/>
          <p:cNvSpPr txBox="1"/>
          <p:nvPr/>
        </p:nvSpPr>
        <p:spPr>
          <a:xfrm>
            <a:off x="3987872" y="2903995"/>
            <a:ext cx="1010213" cy="253916"/>
          </a:xfrm>
          <a:prstGeom prst="rect">
            <a:avLst/>
          </a:prstGeom>
          <a:noFill/>
        </p:spPr>
        <p:txBody>
          <a:bodyPr wrap="none" rtlCol="0">
            <a:spAutoFit/>
          </a:bodyPr>
          <a:lstStyle/>
          <a:p>
            <a:pPr algn="ctr" defTabSz="457064"/>
            <a:r>
              <a:rPr lang="en-US" sz="1050" dirty="0">
                <a:solidFill>
                  <a:srgbClr val="282828">
                    <a:lumMod val="50000"/>
                  </a:srgbClr>
                </a:solidFill>
                <a:cs typeface="Apple LiGothic Medium"/>
              </a:rPr>
              <a:t>Core Network</a:t>
            </a:r>
          </a:p>
        </p:txBody>
      </p:sp>
      <p:cxnSp>
        <p:nvCxnSpPr>
          <p:cNvPr id="35" name="Straight Connector 34"/>
          <p:cNvCxnSpPr/>
          <p:nvPr/>
        </p:nvCxnSpPr>
        <p:spPr>
          <a:xfrm flipV="1">
            <a:off x="1029490" y="4561414"/>
            <a:ext cx="6940304" cy="11834"/>
          </a:xfrm>
          <a:prstGeom prst="line">
            <a:avLst/>
          </a:prstGeom>
          <a:noFill/>
          <a:ln w="19050" cap="flat" cmpd="sng" algn="ctr">
            <a:solidFill>
              <a:srgbClr val="6EBE4A"/>
            </a:solidFill>
            <a:prstDash val="solid"/>
            <a:headEnd type="triangle"/>
            <a:tailEnd type="triangle"/>
          </a:ln>
          <a:effectLst/>
        </p:spPr>
      </p:cxnSp>
      <p:sp>
        <p:nvSpPr>
          <p:cNvPr id="36" name="TextBox 35"/>
          <p:cNvSpPr txBox="1"/>
          <p:nvPr/>
        </p:nvSpPr>
        <p:spPr>
          <a:xfrm>
            <a:off x="1114303" y="4336312"/>
            <a:ext cx="7286953" cy="276999"/>
          </a:xfrm>
          <a:prstGeom prst="rect">
            <a:avLst/>
          </a:prstGeom>
          <a:noFill/>
        </p:spPr>
        <p:txBody>
          <a:bodyPr wrap="square" rtlCol="0">
            <a:spAutoFit/>
          </a:bodyPr>
          <a:lstStyle/>
          <a:p>
            <a:pPr algn="ctr" defTabSz="457064"/>
            <a:r>
              <a:rPr lang="en-US" sz="1200" b="1" dirty="0">
                <a:solidFill>
                  <a:srgbClr val="39393B"/>
                </a:solidFill>
                <a:ea typeface="ＭＳ Ｐゴシック" pitchFamily="34" charset="-128"/>
                <a:cs typeface="Apple LiGothic Medium"/>
              </a:rPr>
              <a:t>Transport: Segment-Routing with TI-LFA</a:t>
            </a:r>
          </a:p>
        </p:txBody>
      </p:sp>
      <p:cxnSp>
        <p:nvCxnSpPr>
          <p:cNvPr id="37" name="Straight Connector 36"/>
          <p:cNvCxnSpPr/>
          <p:nvPr/>
        </p:nvCxnSpPr>
        <p:spPr>
          <a:xfrm flipV="1">
            <a:off x="1029490" y="4281885"/>
            <a:ext cx="6940304" cy="3436"/>
          </a:xfrm>
          <a:prstGeom prst="line">
            <a:avLst/>
          </a:prstGeom>
          <a:noFill/>
          <a:ln w="19050" cap="flat" cmpd="sng" algn="ctr">
            <a:solidFill>
              <a:srgbClr val="7030A0"/>
            </a:solidFill>
            <a:prstDash val="solid"/>
            <a:headEnd type="triangle"/>
            <a:tailEnd type="triangle"/>
          </a:ln>
          <a:effectLst/>
        </p:spPr>
      </p:cxnSp>
      <p:sp>
        <p:nvSpPr>
          <p:cNvPr id="38" name="TextBox 37"/>
          <p:cNvSpPr txBox="1"/>
          <p:nvPr/>
        </p:nvSpPr>
        <p:spPr>
          <a:xfrm>
            <a:off x="983904" y="4051921"/>
            <a:ext cx="7644702" cy="276999"/>
          </a:xfrm>
          <a:prstGeom prst="rect">
            <a:avLst/>
          </a:prstGeom>
          <a:noFill/>
        </p:spPr>
        <p:txBody>
          <a:bodyPr wrap="square" rtlCol="0">
            <a:spAutoFit/>
          </a:bodyPr>
          <a:lstStyle/>
          <a:p>
            <a:pPr algn="ctr" defTabSz="457064"/>
            <a:r>
              <a:rPr lang="en-US" sz="1200" b="1" dirty="0">
                <a:solidFill>
                  <a:srgbClr val="39393B"/>
                </a:solidFill>
                <a:ea typeface="ＭＳ Ｐゴシック" pitchFamily="34" charset="-128"/>
                <a:cs typeface="Apple LiGothic Medium"/>
              </a:rPr>
              <a:t>Services: BGP - L3VPN/L2VPN(EVPN)</a:t>
            </a:r>
          </a:p>
        </p:txBody>
      </p:sp>
      <p:cxnSp>
        <p:nvCxnSpPr>
          <p:cNvPr id="39" name="Straight Connector 38"/>
          <p:cNvCxnSpPr/>
          <p:nvPr/>
        </p:nvCxnSpPr>
        <p:spPr>
          <a:xfrm flipV="1">
            <a:off x="1378893" y="1586408"/>
            <a:ext cx="2011870" cy="1268195"/>
          </a:xfrm>
          <a:prstGeom prst="line">
            <a:avLst/>
          </a:prstGeom>
          <a:noFill/>
          <a:ln w="19050" cap="flat" cmpd="sng" algn="ctr">
            <a:solidFill>
              <a:srgbClr val="7030A0"/>
            </a:solidFill>
            <a:prstDash val="dash"/>
            <a:headEnd type="triangle" w="med" len="med"/>
            <a:tailEnd type="triangle" w="med" len="med"/>
          </a:ln>
          <a:effectLst/>
        </p:spPr>
      </p:cxnSp>
      <p:sp>
        <p:nvSpPr>
          <p:cNvPr id="40" name="TextBox 39"/>
          <p:cNvSpPr txBox="1"/>
          <p:nvPr/>
        </p:nvSpPr>
        <p:spPr>
          <a:xfrm>
            <a:off x="1754660" y="2108321"/>
            <a:ext cx="780781" cy="230832"/>
          </a:xfrm>
          <a:prstGeom prst="rect">
            <a:avLst/>
          </a:prstGeom>
          <a:noFill/>
        </p:spPr>
        <p:txBody>
          <a:bodyPr wrap="square" rtlCol="0">
            <a:spAutoFit/>
          </a:bodyPr>
          <a:lstStyle/>
          <a:p>
            <a:pPr algn="ctr" defTabSz="457064"/>
            <a:r>
              <a:rPr lang="en-US" sz="900" b="1" dirty="0">
                <a:solidFill>
                  <a:srgbClr val="7030A0"/>
                </a:solidFill>
                <a:cs typeface="Apple LiGothic Medium"/>
              </a:rPr>
              <a:t>PCEP</a:t>
            </a:r>
          </a:p>
        </p:txBody>
      </p:sp>
      <p:sp>
        <p:nvSpPr>
          <p:cNvPr id="41" name="TextBox 40"/>
          <p:cNvSpPr txBox="1"/>
          <p:nvPr/>
        </p:nvSpPr>
        <p:spPr>
          <a:xfrm>
            <a:off x="6994909" y="2127148"/>
            <a:ext cx="780781" cy="230832"/>
          </a:xfrm>
          <a:prstGeom prst="rect">
            <a:avLst/>
          </a:prstGeom>
          <a:noFill/>
        </p:spPr>
        <p:txBody>
          <a:bodyPr wrap="square" rtlCol="0">
            <a:spAutoFit/>
          </a:bodyPr>
          <a:lstStyle/>
          <a:p>
            <a:pPr defTabSz="457064"/>
            <a:r>
              <a:rPr lang="en-US" sz="900" b="1" dirty="0">
                <a:solidFill>
                  <a:srgbClr val="7030A0"/>
                </a:solidFill>
                <a:cs typeface="Apple LiGothic Medium"/>
              </a:rPr>
              <a:t>PCEP</a:t>
            </a:r>
          </a:p>
        </p:txBody>
      </p:sp>
      <p:cxnSp>
        <p:nvCxnSpPr>
          <p:cNvPr id="42" name="Straight Connector 41"/>
          <p:cNvCxnSpPr>
            <a:cxnSpLocks/>
          </p:cNvCxnSpPr>
          <p:nvPr/>
        </p:nvCxnSpPr>
        <p:spPr>
          <a:xfrm>
            <a:off x="5784408" y="1586407"/>
            <a:ext cx="1931875" cy="1164215"/>
          </a:xfrm>
          <a:prstGeom prst="line">
            <a:avLst/>
          </a:prstGeom>
          <a:noFill/>
          <a:ln w="19050" cap="flat" cmpd="sng" algn="ctr">
            <a:solidFill>
              <a:srgbClr val="7030A0"/>
            </a:solidFill>
            <a:prstDash val="dash"/>
            <a:headEnd type="triangle" w="med" len="med"/>
            <a:tailEnd type="triangle" w="med" len="med"/>
          </a:ln>
          <a:effectLst/>
        </p:spPr>
      </p:cxnSp>
      <p:cxnSp>
        <p:nvCxnSpPr>
          <p:cNvPr id="43" name="Straight Connector 42"/>
          <p:cNvCxnSpPr/>
          <p:nvPr/>
        </p:nvCxnSpPr>
        <p:spPr>
          <a:xfrm flipV="1">
            <a:off x="1209643" y="1220319"/>
            <a:ext cx="567987" cy="1536406"/>
          </a:xfrm>
          <a:prstGeom prst="line">
            <a:avLst/>
          </a:prstGeom>
          <a:noFill/>
          <a:ln w="19050" cap="flat" cmpd="sng" algn="ctr">
            <a:solidFill>
              <a:srgbClr val="6EBE4A">
                <a:lumMod val="75000"/>
              </a:srgbClr>
            </a:solidFill>
            <a:prstDash val="dash"/>
            <a:headEnd type="stealth" w="med" len="med"/>
            <a:tailEnd type="none" w="med" len="med"/>
          </a:ln>
          <a:effectLst/>
        </p:spPr>
      </p:cxnSp>
      <p:cxnSp>
        <p:nvCxnSpPr>
          <p:cNvPr id="44" name="Straight Connector 43"/>
          <p:cNvCxnSpPr>
            <a:cxnSpLocks/>
          </p:cNvCxnSpPr>
          <p:nvPr/>
        </p:nvCxnSpPr>
        <p:spPr>
          <a:xfrm flipH="1" flipV="1">
            <a:off x="5163201" y="1586408"/>
            <a:ext cx="882045" cy="1268195"/>
          </a:xfrm>
          <a:prstGeom prst="line">
            <a:avLst/>
          </a:prstGeom>
          <a:noFill/>
          <a:ln w="19050" cap="flat" cmpd="sng" algn="ctr">
            <a:solidFill>
              <a:srgbClr val="005073">
                <a:lumMod val="60000"/>
                <a:lumOff val="40000"/>
              </a:srgbClr>
            </a:solidFill>
            <a:prstDash val="dash"/>
            <a:headEnd type="none" w="med" len="med"/>
            <a:tailEnd type="stealth" w="med" len="med"/>
          </a:ln>
          <a:effectLst/>
        </p:spPr>
      </p:cxnSp>
      <p:sp>
        <p:nvSpPr>
          <p:cNvPr id="45" name="TextBox 44"/>
          <p:cNvSpPr txBox="1"/>
          <p:nvPr/>
        </p:nvSpPr>
        <p:spPr>
          <a:xfrm>
            <a:off x="3392812" y="2127148"/>
            <a:ext cx="620684" cy="230832"/>
          </a:xfrm>
          <a:prstGeom prst="rect">
            <a:avLst/>
          </a:prstGeom>
          <a:noFill/>
        </p:spPr>
        <p:txBody>
          <a:bodyPr wrap="none" rtlCol="0">
            <a:spAutoFit/>
          </a:bodyPr>
          <a:lstStyle/>
          <a:p>
            <a:pPr algn="ctr" defTabSz="457064"/>
            <a:r>
              <a:rPr lang="en-US" sz="900" b="1" dirty="0">
                <a:solidFill>
                  <a:srgbClr val="005073">
                    <a:lumMod val="60000"/>
                    <a:lumOff val="40000"/>
                  </a:srgbClr>
                </a:solidFill>
                <a:cs typeface="Apple LiGothic Medium"/>
              </a:rPr>
              <a:t>BGP-LS</a:t>
            </a:r>
          </a:p>
        </p:txBody>
      </p:sp>
      <p:sp>
        <p:nvSpPr>
          <p:cNvPr id="46" name="TextBox 45"/>
          <p:cNvSpPr txBox="1"/>
          <p:nvPr/>
        </p:nvSpPr>
        <p:spPr>
          <a:xfrm>
            <a:off x="5000587" y="2127148"/>
            <a:ext cx="620684" cy="230832"/>
          </a:xfrm>
          <a:prstGeom prst="rect">
            <a:avLst/>
          </a:prstGeom>
          <a:noFill/>
        </p:spPr>
        <p:txBody>
          <a:bodyPr wrap="none" rtlCol="0">
            <a:spAutoFit/>
          </a:bodyPr>
          <a:lstStyle/>
          <a:p>
            <a:pPr algn="ctr" defTabSz="457064"/>
            <a:r>
              <a:rPr lang="en-US" sz="900" b="1" dirty="0">
                <a:solidFill>
                  <a:srgbClr val="005073">
                    <a:lumMod val="60000"/>
                    <a:lumOff val="40000"/>
                  </a:srgbClr>
                </a:solidFill>
                <a:cs typeface="Apple LiGothic Medium"/>
              </a:rPr>
              <a:t>BGP-LS</a:t>
            </a:r>
          </a:p>
        </p:txBody>
      </p:sp>
      <p:sp>
        <p:nvSpPr>
          <p:cNvPr id="47" name="TextBox 46"/>
          <p:cNvSpPr txBox="1"/>
          <p:nvPr/>
        </p:nvSpPr>
        <p:spPr>
          <a:xfrm>
            <a:off x="454776" y="2127148"/>
            <a:ext cx="928459" cy="369332"/>
          </a:xfrm>
          <a:prstGeom prst="rect">
            <a:avLst/>
          </a:prstGeom>
          <a:noFill/>
        </p:spPr>
        <p:txBody>
          <a:bodyPr wrap="none" rtlCol="0">
            <a:spAutoFit/>
          </a:bodyPr>
          <a:lstStyle/>
          <a:p>
            <a:pPr algn="ctr" defTabSz="457064"/>
            <a:r>
              <a:rPr lang="en-US" sz="900" b="1" dirty="0" err="1">
                <a:solidFill>
                  <a:srgbClr val="6EBE4A">
                    <a:lumMod val="75000"/>
                  </a:srgbClr>
                </a:solidFill>
                <a:cs typeface="Apple LiGothic Medium"/>
              </a:rPr>
              <a:t>Netconf</a:t>
            </a:r>
            <a:r>
              <a:rPr lang="en-US" sz="900" b="1" dirty="0">
                <a:solidFill>
                  <a:srgbClr val="6EBE4A">
                    <a:lumMod val="75000"/>
                  </a:srgbClr>
                </a:solidFill>
                <a:cs typeface="Apple LiGothic Medium"/>
              </a:rPr>
              <a:t>/Yang</a:t>
            </a:r>
          </a:p>
          <a:p>
            <a:pPr algn="ctr" defTabSz="457064"/>
            <a:r>
              <a:rPr lang="en-US" sz="900" b="1" dirty="0">
                <a:solidFill>
                  <a:srgbClr val="6EBE4A">
                    <a:lumMod val="75000"/>
                  </a:srgbClr>
                </a:solidFill>
                <a:cs typeface="Apple LiGothic Medium"/>
              </a:rPr>
              <a:t>Telemetry</a:t>
            </a:r>
          </a:p>
        </p:txBody>
      </p:sp>
      <p:cxnSp>
        <p:nvCxnSpPr>
          <p:cNvPr id="48" name="Straight Connector 47"/>
          <p:cNvCxnSpPr/>
          <p:nvPr/>
        </p:nvCxnSpPr>
        <p:spPr>
          <a:xfrm flipH="1" flipV="1">
            <a:off x="7560869" y="1247361"/>
            <a:ext cx="298253" cy="1488900"/>
          </a:xfrm>
          <a:prstGeom prst="line">
            <a:avLst/>
          </a:prstGeom>
          <a:noFill/>
          <a:ln w="19050" cap="flat" cmpd="sng" algn="ctr">
            <a:solidFill>
              <a:srgbClr val="6EBE4A">
                <a:lumMod val="75000"/>
              </a:srgbClr>
            </a:solidFill>
            <a:prstDash val="dash"/>
            <a:headEnd type="stealth" w="med" len="med"/>
            <a:tailEnd type="none" w="med" len="med"/>
          </a:ln>
          <a:effectLst/>
        </p:spPr>
      </p:cxnSp>
      <p:sp>
        <p:nvSpPr>
          <p:cNvPr id="49" name="TextBox 48"/>
          <p:cNvSpPr txBox="1"/>
          <p:nvPr/>
        </p:nvSpPr>
        <p:spPr>
          <a:xfrm>
            <a:off x="7732107" y="2127148"/>
            <a:ext cx="928459" cy="369332"/>
          </a:xfrm>
          <a:prstGeom prst="rect">
            <a:avLst/>
          </a:prstGeom>
          <a:noFill/>
        </p:spPr>
        <p:txBody>
          <a:bodyPr wrap="none" rtlCol="0">
            <a:spAutoFit/>
          </a:bodyPr>
          <a:lstStyle/>
          <a:p>
            <a:pPr algn="ctr" defTabSz="457064"/>
            <a:r>
              <a:rPr lang="en-US" sz="900" b="1" dirty="0" err="1">
                <a:solidFill>
                  <a:srgbClr val="6EBE4A">
                    <a:lumMod val="75000"/>
                  </a:srgbClr>
                </a:solidFill>
                <a:cs typeface="Apple LiGothic Medium"/>
              </a:rPr>
              <a:t>Netconf</a:t>
            </a:r>
            <a:r>
              <a:rPr lang="en-US" sz="900" b="1" dirty="0">
                <a:solidFill>
                  <a:srgbClr val="6EBE4A">
                    <a:lumMod val="75000"/>
                  </a:srgbClr>
                </a:solidFill>
                <a:cs typeface="Apple LiGothic Medium"/>
              </a:rPr>
              <a:t>/Yang</a:t>
            </a:r>
          </a:p>
          <a:p>
            <a:pPr algn="ctr" defTabSz="457064"/>
            <a:r>
              <a:rPr lang="en-US" sz="900" b="1" dirty="0">
                <a:solidFill>
                  <a:srgbClr val="6EBE4A">
                    <a:lumMod val="75000"/>
                  </a:srgbClr>
                </a:solidFill>
                <a:cs typeface="Apple LiGothic Medium"/>
              </a:rPr>
              <a:t>Telemetry</a:t>
            </a:r>
          </a:p>
        </p:txBody>
      </p:sp>
      <p:cxnSp>
        <p:nvCxnSpPr>
          <p:cNvPr id="50" name="Straight Connector 49"/>
          <p:cNvCxnSpPr>
            <a:cxnSpLocks/>
          </p:cNvCxnSpPr>
          <p:nvPr/>
        </p:nvCxnSpPr>
        <p:spPr>
          <a:xfrm flipV="1">
            <a:off x="3137812" y="1586408"/>
            <a:ext cx="604865" cy="1293032"/>
          </a:xfrm>
          <a:prstGeom prst="line">
            <a:avLst/>
          </a:prstGeom>
          <a:noFill/>
          <a:ln w="19050" cap="flat" cmpd="sng" algn="ctr">
            <a:solidFill>
              <a:srgbClr val="005073">
                <a:lumMod val="60000"/>
                <a:lumOff val="40000"/>
              </a:srgbClr>
            </a:solidFill>
            <a:prstDash val="dash"/>
            <a:headEnd type="none" w="med" len="med"/>
            <a:tailEnd type="stealth" w="med" len="med"/>
          </a:ln>
          <a:effectLst/>
        </p:spPr>
      </p:cxnSp>
      <p:sp>
        <p:nvSpPr>
          <p:cNvPr id="51" name="TextBox 50"/>
          <p:cNvSpPr txBox="1"/>
          <p:nvPr/>
        </p:nvSpPr>
        <p:spPr>
          <a:xfrm>
            <a:off x="3952576" y="3478149"/>
            <a:ext cx="1010213" cy="253916"/>
          </a:xfrm>
          <a:prstGeom prst="rect">
            <a:avLst/>
          </a:prstGeom>
          <a:noFill/>
        </p:spPr>
        <p:txBody>
          <a:bodyPr wrap="none" rtlCol="0">
            <a:spAutoFit/>
          </a:bodyPr>
          <a:lstStyle/>
          <a:p>
            <a:pPr defTabSz="457064"/>
            <a:r>
              <a:rPr lang="en-US" sz="1050" dirty="0">
                <a:solidFill>
                  <a:srgbClr val="005073">
                    <a:lumMod val="60000"/>
                    <a:lumOff val="40000"/>
                  </a:srgbClr>
                </a:solidFill>
                <a:cs typeface="Apple LiGothic Medium"/>
              </a:rPr>
              <a:t>Core Network</a:t>
            </a:r>
          </a:p>
        </p:txBody>
      </p:sp>
      <p:sp>
        <p:nvSpPr>
          <p:cNvPr id="53" name="Freeform 10">
            <a:extLst>
              <a:ext uri="{FF2B5EF4-FFF2-40B4-BE49-F238E27FC236}">
                <a16:creationId xmlns:a16="http://schemas.microsoft.com/office/drawing/2014/main" id="{69ECCB57-4DF1-DB47-87B5-7BF51FE5250E}"/>
              </a:ext>
            </a:extLst>
          </p:cNvPr>
          <p:cNvSpPr>
            <a:spLocks/>
          </p:cNvSpPr>
          <p:nvPr/>
        </p:nvSpPr>
        <p:spPr bwMode="auto">
          <a:xfrm>
            <a:off x="1534198" y="968620"/>
            <a:ext cx="6435596" cy="225439"/>
          </a:xfrm>
          <a:prstGeom prst="roundRect">
            <a:avLst>
              <a:gd name="adj" fmla="val 50000"/>
            </a:avLst>
          </a:prstGeom>
          <a:solidFill>
            <a:schemeClr val="tx1"/>
          </a:solidFill>
          <a:ln>
            <a:noFill/>
          </a:ln>
        </p:spPr>
        <p:txBody>
          <a:bodyPr vert="horz" wrap="square" lIns="91440" tIns="45720" rIns="91440" bIns="45720" numCol="1" anchor="ctr" anchorCtr="0" compatLnSpc="1">
            <a:prstTxWarp prst="textNoShape">
              <a:avLst/>
            </a:prstTxWarp>
          </a:bodyPr>
          <a:lstStyle/>
          <a:p>
            <a:pPr algn="ctr" defTabSz="914378">
              <a:defRPr/>
            </a:pPr>
            <a:r>
              <a:rPr lang="en-US" sz="1000" b="1" kern="0" dirty="0">
                <a:solidFill>
                  <a:srgbClr val="FFFFFF"/>
                </a:solidFill>
                <a:latin typeface="CiscoSansTT" panose="020B0503020201020303" pitchFamily="34" charset="0"/>
                <a:ea typeface="Calibri" charset="0"/>
                <a:cs typeface="CiscoSansTT" panose="020B0503020201020303" pitchFamily="34" charset="0"/>
              </a:rPr>
              <a:t>Cisco NSO – End-to-End Service Provisioning</a:t>
            </a:r>
          </a:p>
        </p:txBody>
      </p:sp>
      <p:sp>
        <p:nvSpPr>
          <p:cNvPr id="54" name="Freeform 10">
            <a:extLst>
              <a:ext uri="{FF2B5EF4-FFF2-40B4-BE49-F238E27FC236}">
                <a16:creationId xmlns:a16="http://schemas.microsoft.com/office/drawing/2014/main" id="{7F6E23E7-FB39-4F4C-9EA3-DAB670B03F54}"/>
              </a:ext>
            </a:extLst>
          </p:cNvPr>
          <p:cNvSpPr>
            <a:spLocks/>
          </p:cNvSpPr>
          <p:nvPr/>
        </p:nvSpPr>
        <p:spPr bwMode="auto">
          <a:xfrm>
            <a:off x="2384827" y="1279282"/>
            <a:ext cx="4689895" cy="230358"/>
          </a:xfrm>
          <a:prstGeom prst="roundRect">
            <a:avLst>
              <a:gd name="adj" fmla="val 50000"/>
            </a:avLst>
          </a:pr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378">
              <a:lnSpc>
                <a:spcPct val="95000"/>
              </a:lnSpc>
            </a:pPr>
            <a:r>
              <a:rPr lang="en-US" sz="1000" b="1" kern="0" dirty="0">
                <a:solidFill>
                  <a:srgbClr val="FFFFFF"/>
                </a:solidFill>
                <a:latin typeface="CiscoSansTT" panose="020B0503020201020303" pitchFamily="34" charset="0"/>
                <a:ea typeface="Calibri" charset="0"/>
                <a:cs typeface="CiscoSansTT" panose="020B0503020201020303" pitchFamily="34" charset="0"/>
              </a:rPr>
              <a:t>SR-PCE – End-to-End Path Programming and Optimization</a:t>
            </a:r>
          </a:p>
        </p:txBody>
      </p:sp>
      <p:pic>
        <p:nvPicPr>
          <p:cNvPr id="55" name="Picture 6" descr="C:\Users\ecoffey\AppData\Local\Temp\Rar$DRa0.583\Cisco Icons November\30067_Device_router_3057\Png_256\30067_Device_router_3057_unknown_256.png">
            <a:extLst>
              <a:ext uri="{FF2B5EF4-FFF2-40B4-BE49-F238E27FC236}">
                <a16:creationId xmlns:a16="http://schemas.microsoft.com/office/drawing/2014/main" id="{A59A7F66-0EAF-824F-AAC7-2587DE7162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7693717" y="2787895"/>
            <a:ext cx="371545" cy="22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6" descr="C:\Users\ecoffey\AppData\Local\Temp\Rar$DRa0.583\Cisco Icons November\30067_Device_router_3057\Png_256\30067_Device_router_3057_unknown_256.png">
            <a:extLst>
              <a:ext uri="{FF2B5EF4-FFF2-40B4-BE49-F238E27FC236}">
                <a16:creationId xmlns:a16="http://schemas.microsoft.com/office/drawing/2014/main" id="{939556A8-974E-AC4A-BF22-F0EBE6AC7E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7713536" y="3046872"/>
            <a:ext cx="371545" cy="22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6" descr="C:\Users\ecoffey\AppData\Local\Temp\Rar$DRa0.583\Cisco Icons November\30067_Device_router_3057\Png_256\30067_Device_router_3057_unknown_256.png">
            <a:extLst>
              <a:ext uri="{FF2B5EF4-FFF2-40B4-BE49-F238E27FC236}">
                <a16:creationId xmlns:a16="http://schemas.microsoft.com/office/drawing/2014/main" id="{B7C6FD12-213B-C145-BEEA-AFA14D0D54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981503" y="2811198"/>
            <a:ext cx="371545" cy="22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6" descr="C:\Users\ecoffey\AppData\Local\Temp\Rar$DRa0.583\Cisco Icons November\30067_Device_router_3057\Png_256\30067_Device_router_3057_unknown_256.png">
            <a:extLst>
              <a:ext uri="{FF2B5EF4-FFF2-40B4-BE49-F238E27FC236}">
                <a16:creationId xmlns:a16="http://schemas.microsoft.com/office/drawing/2014/main" id="{9436632E-8D42-9B40-BE8B-712F1C0BA0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981502" y="3053807"/>
            <a:ext cx="371545" cy="22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6" descr="C:\Users\ecoffey\AppData\Local\Temp\Rar$DRa0.583\Cisco Icons November\30067_Device_router_3057\Png_256\30067_Device_router_3057_unknown_256.png">
            <a:extLst>
              <a:ext uri="{FF2B5EF4-FFF2-40B4-BE49-F238E27FC236}">
                <a16:creationId xmlns:a16="http://schemas.microsoft.com/office/drawing/2014/main" id="{332254E9-6DA3-794B-AF0D-9F5A7B0CE4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870690" y="2815706"/>
            <a:ext cx="371545" cy="22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6" descr="C:\Users\ecoffey\AppData\Local\Temp\Rar$DRa0.583\Cisco Icons November\30067_Device_router_3057\Png_256\30067_Device_router_3057_unknown_256.png">
            <a:extLst>
              <a:ext uri="{FF2B5EF4-FFF2-40B4-BE49-F238E27FC236}">
                <a16:creationId xmlns:a16="http://schemas.microsoft.com/office/drawing/2014/main" id="{77F21A38-A4F1-ED4C-BCF5-4A53B9E428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872756" y="3069971"/>
            <a:ext cx="371545" cy="22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6" descr="C:\Users\ecoffey\AppData\Local\Temp\Rar$DRa0.583\Cisco Icons November\30067_Device_router_3057\Png_256\30067_Device_router_3057_unknown_256.png">
            <a:extLst>
              <a:ext uri="{FF2B5EF4-FFF2-40B4-BE49-F238E27FC236}">
                <a16:creationId xmlns:a16="http://schemas.microsoft.com/office/drawing/2014/main" id="{3EC6C3AD-077C-354C-9CDA-17F76D80D5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5827957" y="2824188"/>
            <a:ext cx="371545" cy="22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6" descr="C:\Users\ecoffey\AppData\Local\Temp\Rar$DRa0.583\Cisco Icons November\30067_Device_router_3057\Png_256\30067_Device_router_3057_unknown_256.png">
            <a:extLst>
              <a:ext uri="{FF2B5EF4-FFF2-40B4-BE49-F238E27FC236}">
                <a16:creationId xmlns:a16="http://schemas.microsoft.com/office/drawing/2014/main" id="{481D4748-C044-2044-89CD-80AFAFD82F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5827956" y="3066797"/>
            <a:ext cx="371545" cy="22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10" descr="C:\Users\ecoffey\AppData\Local\Temp\Rar$DRa0.386\30067_Device_router_default_256.png">
            <a:extLst>
              <a:ext uri="{FF2B5EF4-FFF2-40B4-BE49-F238E27FC236}">
                <a16:creationId xmlns:a16="http://schemas.microsoft.com/office/drawing/2014/main" id="{EDCF739F-5B38-834D-ACD3-5256832A1F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8171" t="28931" r="8368" b="21666"/>
          <a:stretch>
            <a:fillRect/>
          </a:stretch>
        </p:blipFill>
        <p:spPr bwMode="auto">
          <a:xfrm>
            <a:off x="3535442" y="2955032"/>
            <a:ext cx="414790" cy="244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10" descr="C:\Users\ecoffey\AppData\Local\Temp\Rar$DRa0.386\30067_Device_router_default_256.png">
            <a:extLst>
              <a:ext uri="{FF2B5EF4-FFF2-40B4-BE49-F238E27FC236}">
                <a16:creationId xmlns:a16="http://schemas.microsoft.com/office/drawing/2014/main" id="{EEDEE4B4-704A-0E43-B847-0FF34D46D2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8171" t="28931" r="8368" b="21666"/>
          <a:stretch>
            <a:fillRect/>
          </a:stretch>
        </p:blipFill>
        <p:spPr bwMode="auto">
          <a:xfrm>
            <a:off x="4344428" y="3137600"/>
            <a:ext cx="414790" cy="244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10" descr="C:\Users\ecoffey\AppData\Local\Temp\Rar$DRa0.386\30067_Device_router_default_256.png">
            <a:extLst>
              <a:ext uri="{FF2B5EF4-FFF2-40B4-BE49-F238E27FC236}">
                <a16:creationId xmlns:a16="http://schemas.microsoft.com/office/drawing/2014/main" id="{B02218D0-105D-AA4F-82C6-91D93D3252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8171" t="28931" r="8368" b="21666"/>
          <a:stretch>
            <a:fillRect/>
          </a:stretch>
        </p:blipFill>
        <p:spPr bwMode="auto">
          <a:xfrm>
            <a:off x="5032965" y="2817022"/>
            <a:ext cx="414790" cy="244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65">
            <a:extLst>
              <a:ext uri="{FF2B5EF4-FFF2-40B4-BE49-F238E27FC236}">
                <a16:creationId xmlns:a16="http://schemas.microsoft.com/office/drawing/2014/main" id="{9344FD3B-1250-814A-A52B-F2C485A99D0F}"/>
              </a:ext>
            </a:extLst>
          </p:cNvPr>
          <p:cNvPicPr>
            <a:picLocks noChangeAspect="1"/>
          </p:cNvPicPr>
          <p:nvPr/>
        </p:nvPicPr>
        <p:blipFill>
          <a:blip r:embed="rId5"/>
          <a:stretch>
            <a:fillRect/>
          </a:stretch>
        </p:blipFill>
        <p:spPr>
          <a:xfrm>
            <a:off x="492058" y="1097614"/>
            <a:ext cx="593694" cy="593694"/>
          </a:xfrm>
          <a:prstGeom prst="rect">
            <a:avLst/>
          </a:prstGeom>
        </p:spPr>
      </p:pic>
    </p:spTree>
    <p:extLst>
      <p:ext uri="{BB962C8B-B14F-4D97-AF65-F5344CB8AC3E}">
        <p14:creationId xmlns:p14="http://schemas.microsoft.com/office/powerpoint/2010/main" val="3391515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ged SDN Transport</a:t>
            </a:r>
            <a:br>
              <a:rPr lang="en-US" dirty="0"/>
            </a:br>
            <a:r>
              <a:rPr lang="en-US" sz="2400" dirty="0"/>
              <a:t>High-Level Domain View</a:t>
            </a:r>
          </a:p>
        </p:txBody>
      </p:sp>
      <p:sp>
        <p:nvSpPr>
          <p:cNvPr id="293" name="TextBox 292"/>
          <p:cNvSpPr txBox="1"/>
          <p:nvPr/>
        </p:nvSpPr>
        <p:spPr>
          <a:xfrm flipH="1">
            <a:off x="16163462" y="1478964"/>
            <a:ext cx="679994" cy="276999"/>
          </a:xfrm>
          <a:prstGeom prst="rect">
            <a:avLst/>
          </a:prstGeom>
          <a:noFill/>
        </p:spPr>
        <p:txBody>
          <a:bodyPr wrap="square" rtlCol="0">
            <a:spAutoFit/>
          </a:bodyPr>
          <a:lstStyle/>
          <a:p>
            <a:r>
              <a:rPr lang="en-US" sz="1200">
                <a:solidFill>
                  <a:srgbClr val="39393B"/>
                </a:solidFill>
                <a:ea typeface="ＭＳ Ｐゴシック" pitchFamily="34" charset="-128"/>
                <a:cs typeface=""/>
              </a:rPr>
              <a:t>Access</a:t>
            </a:r>
            <a:endParaRPr lang="en-US" sz="1200" dirty="0">
              <a:solidFill>
                <a:srgbClr val="39393B"/>
              </a:solidFill>
              <a:ea typeface="ＭＳ Ｐゴシック" pitchFamily="34" charset="-128"/>
              <a:cs typeface=""/>
            </a:endParaRPr>
          </a:p>
        </p:txBody>
      </p:sp>
      <p:sp>
        <p:nvSpPr>
          <p:cNvPr id="442" name="Oval 441"/>
          <p:cNvSpPr/>
          <p:nvPr/>
        </p:nvSpPr>
        <p:spPr>
          <a:xfrm>
            <a:off x="3649980" y="1843548"/>
            <a:ext cx="1905000" cy="108798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re</a:t>
            </a:r>
          </a:p>
        </p:txBody>
      </p:sp>
      <p:sp>
        <p:nvSpPr>
          <p:cNvPr id="443" name="Oval 442"/>
          <p:cNvSpPr/>
          <p:nvPr/>
        </p:nvSpPr>
        <p:spPr>
          <a:xfrm>
            <a:off x="1866900" y="1843548"/>
            <a:ext cx="1783080" cy="108798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Aggregation</a:t>
            </a:r>
          </a:p>
        </p:txBody>
      </p:sp>
      <p:sp>
        <p:nvSpPr>
          <p:cNvPr id="447" name="Oval 446"/>
          <p:cNvSpPr/>
          <p:nvPr/>
        </p:nvSpPr>
        <p:spPr>
          <a:xfrm>
            <a:off x="426720" y="1944738"/>
            <a:ext cx="1440180" cy="885600"/>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cess</a:t>
            </a:r>
          </a:p>
        </p:txBody>
      </p:sp>
      <p:sp>
        <p:nvSpPr>
          <p:cNvPr id="448" name="Oval 447"/>
          <p:cNvSpPr/>
          <p:nvPr/>
        </p:nvSpPr>
        <p:spPr>
          <a:xfrm>
            <a:off x="5554980" y="1843548"/>
            <a:ext cx="1783080" cy="108798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Aggregation</a:t>
            </a:r>
          </a:p>
        </p:txBody>
      </p:sp>
      <p:sp>
        <p:nvSpPr>
          <p:cNvPr id="449" name="Oval 448"/>
          <p:cNvSpPr/>
          <p:nvPr/>
        </p:nvSpPr>
        <p:spPr>
          <a:xfrm>
            <a:off x="7338060" y="1900923"/>
            <a:ext cx="1440180" cy="885600"/>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cess</a:t>
            </a:r>
          </a:p>
        </p:txBody>
      </p:sp>
      <p:sp>
        <p:nvSpPr>
          <p:cNvPr id="450" name="Oval 449"/>
          <p:cNvSpPr/>
          <p:nvPr/>
        </p:nvSpPr>
        <p:spPr>
          <a:xfrm>
            <a:off x="2419350" y="2786523"/>
            <a:ext cx="678180" cy="533400"/>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CO</a:t>
            </a:r>
          </a:p>
        </p:txBody>
      </p:sp>
      <p:sp>
        <p:nvSpPr>
          <p:cNvPr id="451" name="Oval 450"/>
          <p:cNvSpPr/>
          <p:nvPr/>
        </p:nvSpPr>
        <p:spPr>
          <a:xfrm>
            <a:off x="4263390" y="2784393"/>
            <a:ext cx="678180" cy="533400"/>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CO</a:t>
            </a:r>
          </a:p>
        </p:txBody>
      </p:sp>
      <p:sp>
        <p:nvSpPr>
          <p:cNvPr id="452" name="Oval 451"/>
          <p:cNvSpPr/>
          <p:nvPr/>
        </p:nvSpPr>
        <p:spPr>
          <a:xfrm>
            <a:off x="6103620" y="2774418"/>
            <a:ext cx="678180" cy="533400"/>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CO</a:t>
            </a:r>
          </a:p>
        </p:txBody>
      </p:sp>
      <p:sp>
        <p:nvSpPr>
          <p:cNvPr id="462" name="TextBox 461"/>
          <p:cNvSpPr txBox="1"/>
          <p:nvPr/>
        </p:nvSpPr>
        <p:spPr>
          <a:xfrm>
            <a:off x="426720" y="3354446"/>
            <a:ext cx="2658548" cy="276999"/>
          </a:xfrm>
          <a:prstGeom prst="rect">
            <a:avLst/>
          </a:prstGeom>
          <a:noFill/>
        </p:spPr>
        <p:txBody>
          <a:bodyPr wrap="none" rtlCol="0">
            <a:spAutoFit/>
          </a:bodyPr>
          <a:lstStyle/>
          <a:p>
            <a:r>
              <a:rPr lang="en-US" sz="1200" dirty="0">
                <a:solidFill>
                  <a:srgbClr val="39393B"/>
                </a:solidFill>
                <a:ea typeface="ＭＳ Ｐゴシック" pitchFamily="34" charset="-128"/>
                <a:cs typeface=""/>
              </a:rPr>
              <a:t>Option 1: Central Office - Distributed</a:t>
            </a:r>
          </a:p>
        </p:txBody>
      </p:sp>
    </p:spTree>
    <p:extLst>
      <p:ext uri="{BB962C8B-B14F-4D97-AF65-F5344CB8AC3E}">
        <p14:creationId xmlns:p14="http://schemas.microsoft.com/office/powerpoint/2010/main" val="3659756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341313"/>
            <a:ext cx="8706234" cy="731837"/>
          </a:xfrm>
        </p:spPr>
        <p:txBody>
          <a:bodyPr/>
          <a:lstStyle/>
          <a:p>
            <a:r>
              <a:rPr lang="en-US" dirty="0"/>
              <a:t>Converged SDN Transport</a:t>
            </a:r>
            <a:br>
              <a:rPr lang="en-US" dirty="0"/>
            </a:br>
            <a:r>
              <a:rPr lang="en-US" sz="2400" dirty="0"/>
              <a:t>High-Level Domain View</a:t>
            </a:r>
          </a:p>
        </p:txBody>
      </p:sp>
      <p:sp>
        <p:nvSpPr>
          <p:cNvPr id="293" name="TextBox 292"/>
          <p:cNvSpPr txBox="1"/>
          <p:nvPr/>
        </p:nvSpPr>
        <p:spPr>
          <a:xfrm flipH="1">
            <a:off x="16163462" y="1478964"/>
            <a:ext cx="679994" cy="276999"/>
          </a:xfrm>
          <a:prstGeom prst="rect">
            <a:avLst/>
          </a:prstGeom>
          <a:noFill/>
        </p:spPr>
        <p:txBody>
          <a:bodyPr wrap="square" rtlCol="0">
            <a:spAutoFit/>
          </a:bodyPr>
          <a:lstStyle/>
          <a:p>
            <a:r>
              <a:rPr lang="en-US" sz="1200">
                <a:solidFill>
                  <a:srgbClr val="39393B"/>
                </a:solidFill>
                <a:ea typeface="ＭＳ Ｐゴシック" pitchFamily="34" charset="-128"/>
                <a:cs typeface=""/>
              </a:rPr>
              <a:t>Access</a:t>
            </a:r>
            <a:endParaRPr lang="en-US" sz="1200" dirty="0">
              <a:solidFill>
                <a:srgbClr val="39393B"/>
              </a:solidFill>
              <a:ea typeface="ＭＳ Ｐゴシック" pitchFamily="34" charset="-128"/>
              <a:cs typeface=""/>
            </a:endParaRPr>
          </a:p>
        </p:txBody>
      </p:sp>
      <p:sp>
        <p:nvSpPr>
          <p:cNvPr id="463" name="Oval 462"/>
          <p:cNvSpPr/>
          <p:nvPr/>
        </p:nvSpPr>
        <p:spPr>
          <a:xfrm>
            <a:off x="3580393" y="997776"/>
            <a:ext cx="1905000" cy="108798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re</a:t>
            </a:r>
          </a:p>
        </p:txBody>
      </p:sp>
      <p:sp>
        <p:nvSpPr>
          <p:cNvPr id="465" name="Oval 464"/>
          <p:cNvSpPr/>
          <p:nvPr/>
        </p:nvSpPr>
        <p:spPr>
          <a:xfrm>
            <a:off x="357133" y="1098966"/>
            <a:ext cx="3223260" cy="885600"/>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cess</a:t>
            </a:r>
          </a:p>
        </p:txBody>
      </p:sp>
      <p:sp>
        <p:nvSpPr>
          <p:cNvPr id="467" name="Oval 466"/>
          <p:cNvSpPr/>
          <p:nvPr/>
        </p:nvSpPr>
        <p:spPr>
          <a:xfrm>
            <a:off x="5485393" y="1081152"/>
            <a:ext cx="3223260" cy="885600"/>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cess</a:t>
            </a:r>
          </a:p>
        </p:txBody>
      </p:sp>
      <p:sp>
        <p:nvSpPr>
          <p:cNvPr id="469" name="Oval 468"/>
          <p:cNvSpPr/>
          <p:nvPr/>
        </p:nvSpPr>
        <p:spPr>
          <a:xfrm>
            <a:off x="4193803" y="1938621"/>
            <a:ext cx="678180" cy="533400"/>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CO</a:t>
            </a:r>
          </a:p>
        </p:txBody>
      </p:sp>
      <p:sp>
        <p:nvSpPr>
          <p:cNvPr id="471" name="TextBox 470"/>
          <p:cNvSpPr txBox="1"/>
          <p:nvPr/>
        </p:nvSpPr>
        <p:spPr>
          <a:xfrm>
            <a:off x="357133" y="2568166"/>
            <a:ext cx="4730782" cy="276999"/>
          </a:xfrm>
          <a:prstGeom prst="rect">
            <a:avLst/>
          </a:prstGeom>
          <a:noFill/>
        </p:spPr>
        <p:txBody>
          <a:bodyPr wrap="none" rtlCol="0">
            <a:spAutoFit/>
          </a:bodyPr>
          <a:lstStyle/>
          <a:p>
            <a:r>
              <a:rPr lang="en-US" sz="1200" dirty="0">
                <a:solidFill>
                  <a:srgbClr val="39393B"/>
                </a:solidFill>
                <a:ea typeface="ＭＳ Ｐゴシック" pitchFamily="34" charset="-128"/>
                <a:cs typeface=""/>
              </a:rPr>
              <a:t>Option 2: Central Office - Distributed with Access Domain extension</a:t>
            </a:r>
          </a:p>
        </p:txBody>
      </p:sp>
      <p:sp>
        <p:nvSpPr>
          <p:cNvPr id="18" name="Oval 17"/>
          <p:cNvSpPr/>
          <p:nvPr/>
        </p:nvSpPr>
        <p:spPr>
          <a:xfrm>
            <a:off x="1866900" y="3034677"/>
            <a:ext cx="5471160" cy="108798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re</a:t>
            </a:r>
          </a:p>
        </p:txBody>
      </p:sp>
      <p:sp>
        <p:nvSpPr>
          <p:cNvPr id="20" name="Oval 19"/>
          <p:cNvSpPr/>
          <p:nvPr/>
        </p:nvSpPr>
        <p:spPr>
          <a:xfrm>
            <a:off x="426720" y="3135867"/>
            <a:ext cx="1440180" cy="885600"/>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cess</a:t>
            </a:r>
          </a:p>
        </p:txBody>
      </p:sp>
      <p:sp>
        <p:nvSpPr>
          <p:cNvPr id="22" name="Oval 21"/>
          <p:cNvSpPr/>
          <p:nvPr/>
        </p:nvSpPr>
        <p:spPr>
          <a:xfrm>
            <a:off x="7338060" y="3092052"/>
            <a:ext cx="1440180" cy="885600"/>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cess</a:t>
            </a:r>
          </a:p>
        </p:txBody>
      </p:sp>
      <p:sp>
        <p:nvSpPr>
          <p:cNvPr id="23" name="Oval 22"/>
          <p:cNvSpPr/>
          <p:nvPr/>
        </p:nvSpPr>
        <p:spPr>
          <a:xfrm>
            <a:off x="2419350" y="3977652"/>
            <a:ext cx="678180" cy="533400"/>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CO</a:t>
            </a:r>
          </a:p>
        </p:txBody>
      </p:sp>
      <p:sp>
        <p:nvSpPr>
          <p:cNvPr id="24" name="Oval 23"/>
          <p:cNvSpPr/>
          <p:nvPr/>
        </p:nvSpPr>
        <p:spPr>
          <a:xfrm>
            <a:off x="4263390" y="3975522"/>
            <a:ext cx="678180" cy="533400"/>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CO</a:t>
            </a:r>
          </a:p>
        </p:txBody>
      </p:sp>
      <p:sp>
        <p:nvSpPr>
          <p:cNvPr id="25" name="Oval 24"/>
          <p:cNvSpPr/>
          <p:nvPr/>
        </p:nvSpPr>
        <p:spPr>
          <a:xfrm>
            <a:off x="6103620" y="3965547"/>
            <a:ext cx="678180" cy="533400"/>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CO</a:t>
            </a:r>
          </a:p>
        </p:txBody>
      </p:sp>
      <p:sp>
        <p:nvSpPr>
          <p:cNvPr id="26" name="TextBox 25"/>
          <p:cNvSpPr txBox="1"/>
          <p:nvPr/>
        </p:nvSpPr>
        <p:spPr>
          <a:xfrm>
            <a:off x="426720" y="4508922"/>
            <a:ext cx="4575740" cy="276999"/>
          </a:xfrm>
          <a:prstGeom prst="rect">
            <a:avLst/>
          </a:prstGeom>
          <a:noFill/>
        </p:spPr>
        <p:txBody>
          <a:bodyPr wrap="none" rtlCol="0">
            <a:spAutoFit/>
          </a:bodyPr>
          <a:lstStyle/>
          <a:p>
            <a:r>
              <a:rPr lang="en-US" sz="1200" dirty="0">
                <a:solidFill>
                  <a:srgbClr val="39393B"/>
                </a:solidFill>
                <a:ea typeface="ＭＳ Ｐゴシック" pitchFamily="34" charset="-128"/>
                <a:cs typeface=""/>
              </a:rPr>
              <a:t>Option 3: Central Office - Distributed with Core Domain extension</a:t>
            </a:r>
          </a:p>
        </p:txBody>
      </p:sp>
      <p:sp>
        <p:nvSpPr>
          <p:cNvPr id="27" name="Oval 26"/>
          <p:cNvSpPr/>
          <p:nvPr/>
        </p:nvSpPr>
        <p:spPr>
          <a:xfrm>
            <a:off x="2419350" y="1938621"/>
            <a:ext cx="678180" cy="533400"/>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CO</a:t>
            </a:r>
          </a:p>
        </p:txBody>
      </p:sp>
      <p:sp>
        <p:nvSpPr>
          <p:cNvPr id="28" name="Oval 27"/>
          <p:cNvSpPr/>
          <p:nvPr/>
        </p:nvSpPr>
        <p:spPr>
          <a:xfrm>
            <a:off x="6103620" y="1926516"/>
            <a:ext cx="678180" cy="533400"/>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a:t>CO</a:t>
            </a:r>
          </a:p>
        </p:txBody>
      </p:sp>
    </p:spTree>
    <p:extLst>
      <p:ext uri="{BB962C8B-B14F-4D97-AF65-F5344CB8AC3E}">
        <p14:creationId xmlns:p14="http://schemas.microsoft.com/office/powerpoint/2010/main" val="214309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a:grpSpLocks noChangeAspect="1"/>
          </p:cNvGrpSpPr>
          <p:nvPr/>
        </p:nvGrpSpPr>
        <p:grpSpPr>
          <a:xfrm>
            <a:off x="7339459" y="2620798"/>
            <a:ext cx="1668794" cy="954164"/>
            <a:chOff x="836085" y="1496592"/>
            <a:chExt cx="538984" cy="266991"/>
          </a:xfrm>
          <a:solidFill>
            <a:schemeClr val="tx1">
              <a:lumMod val="10000"/>
              <a:lumOff val="90000"/>
            </a:schemeClr>
          </a:solidFill>
        </p:grpSpPr>
        <p:sp>
          <p:nvSpPr>
            <p:cNvPr id="89" name="Freeform 751"/>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pPr defTabSz="457178" fontAlgn="auto">
                <a:spcBef>
                  <a:spcPts val="0"/>
                </a:spcBef>
                <a:spcAft>
                  <a:spcPts val="0"/>
                </a:spcAft>
                <a:defRPr/>
              </a:pPr>
              <a:endParaRPr lang="en-US">
                <a:solidFill>
                  <a:srgbClr val="282828"/>
                </a:solidFill>
                <a:latin typeface="CiscoSansTT ExtraLight"/>
                <a:ea typeface="+mn-ea"/>
                <a:cs typeface="+mn-cs"/>
              </a:endParaRPr>
            </a:p>
          </p:txBody>
        </p:sp>
        <p:sp>
          <p:nvSpPr>
            <p:cNvPr id="90" name="Freeform 752"/>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pPr defTabSz="457178" fontAlgn="auto">
                <a:spcBef>
                  <a:spcPts val="0"/>
                </a:spcBef>
                <a:spcAft>
                  <a:spcPts val="0"/>
                </a:spcAft>
                <a:defRPr/>
              </a:pPr>
              <a:endParaRPr lang="en-US">
                <a:solidFill>
                  <a:srgbClr val="282828"/>
                </a:solidFill>
                <a:latin typeface="CiscoSansTT ExtraLight"/>
                <a:ea typeface="+mn-ea"/>
                <a:cs typeface="+mn-cs"/>
              </a:endParaRPr>
            </a:p>
          </p:txBody>
        </p:sp>
        <p:sp>
          <p:nvSpPr>
            <p:cNvPr id="91" name="Freeform 753"/>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pPr defTabSz="457178" fontAlgn="auto">
                <a:spcBef>
                  <a:spcPts val="0"/>
                </a:spcBef>
                <a:spcAft>
                  <a:spcPts val="0"/>
                </a:spcAft>
                <a:defRPr/>
              </a:pPr>
              <a:endParaRPr lang="en-US">
                <a:solidFill>
                  <a:srgbClr val="282828"/>
                </a:solidFill>
                <a:latin typeface="CiscoSansTT ExtraLight"/>
                <a:ea typeface="+mn-ea"/>
                <a:cs typeface="+mn-cs"/>
              </a:endParaRPr>
            </a:p>
          </p:txBody>
        </p:sp>
      </p:grpSp>
      <p:sp>
        <p:nvSpPr>
          <p:cNvPr id="5" name="Magnetic Disk 4"/>
          <p:cNvSpPr/>
          <p:nvPr/>
        </p:nvSpPr>
        <p:spPr>
          <a:xfrm>
            <a:off x="1236598" y="2485336"/>
            <a:ext cx="480902" cy="332509"/>
          </a:xfrm>
          <a:prstGeom prst="flowChartMagneticDisk">
            <a:avLst/>
          </a:prstGeom>
          <a:solidFill>
            <a:schemeClr val="accent1"/>
          </a:solidFill>
          <a:ln w="0" cmpd="sng">
            <a:solidFill>
              <a:schemeClr val="tx2"/>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0" name="Magnetic Disk 9"/>
          <p:cNvSpPr/>
          <p:nvPr/>
        </p:nvSpPr>
        <p:spPr>
          <a:xfrm>
            <a:off x="3290868" y="2392197"/>
            <a:ext cx="822960" cy="578796"/>
          </a:xfrm>
          <a:prstGeom prst="flowChartMagneticDisk">
            <a:avLst/>
          </a:prstGeom>
          <a:solidFill>
            <a:schemeClr val="accent2"/>
          </a:solidFill>
          <a:ln w="0" cmpd="sng">
            <a:solidFill>
              <a:schemeClr val="accent3"/>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1" name="Magnetic Disk 10"/>
          <p:cNvSpPr/>
          <p:nvPr/>
        </p:nvSpPr>
        <p:spPr>
          <a:xfrm>
            <a:off x="4438889" y="2268344"/>
            <a:ext cx="1519822" cy="779137"/>
          </a:xfrm>
          <a:prstGeom prst="flowChartMagneticDisk">
            <a:avLst/>
          </a:prstGeom>
          <a:solidFill>
            <a:schemeClr val="accent3"/>
          </a:solidFill>
          <a:ln w="0" cmpd="sng">
            <a:solidFill>
              <a:schemeClr val="bg2"/>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2" name="Magnetic Disk 11"/>
          <p:cNvSpPr/>
          <p:nvPr/>
        </p:nvSpPr>
        <p:spPr>
          <a:xfrm>
            <a:off x="6195110" y="1896801"/>
            <a:ext cx="810912" cy="395926"/>
          </a:xfrm>
          <a:prstGeom prst="flowChartMagneticDisk">
            <a:avLst/>
          </a:prstGeom>
          <a:solidFill>
            <a:schemeClr val="accent5"/>
          </a:solidFill>
          <a:ln w="0" cmpd="sng">
            <a:solidFill>
              <a:schemeClr val="accent3"/>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3" name="Magnetic Disk 12"/>
          <p:cNvSpPr/>
          <p:nvPr/>
        </p:nvSpPr>
        <p:spPr>
          <a:xfrm>
            <a:off x="6194602" y="3183795"/>
            <a:ext cx="810912" cy="395926"/>
          </a:xfrm>
          <a:prstGeom prst="flowChartMagneticDisk">
            <a:avLst/>
          </a:prstGeom>
          <a:solidFill>
            <a:schemeClr val="accent6">
              <a:alpha val="80000"/>
            </a:schemeClr>
          </a:solidFill>
          <a:ln w="0" cmpd="sng">
            <a:solidFill>
              <a:schemeClr val="accent3"/>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4" name="Magnetic Disk 13"/>
          <p:cNvSpPr/>
          <p:nvPr/>
        </p:nvSpPr>
        <p:spPr>
          <a:xfrm>
            <a:off x="8361931" y="3007539"/>
            <a:ext cx="523664" cy="257016"/>
          </a:xfrm>
          <a:prstGeom prst="flowChartMagneticDisk">
            <a:avLst/>
          </a:prstGeom>
          <a:solidFill>
            <a:schemeClr val="accent6">
              <a:alpha val="65000"/>
            </a:schemeClr>
          </a:solidFill>
          <a:ln w="0" cmpd="sng">
            <a:solidFill>
              <a:schemeClr val="accent3"/>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pic>
        <p:nvPicPr>
          <p:cNvPr id="18" name="Picture 17" descr="ASR9006-sm.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84971" y="1841130"/>
            <a:ext cx="852275" cy="728308"/>
          </a:xfrm>
          <a:prstGeom prst="rect">
            <a:avLst/>
          </a:prstGeom>
        </p:spPr>
      </p:pic>
      <p:sp>
        <p:nvSpPr>
          <p:cNvPr id="23" name="Oval 151"/>
          <p:cNvSpPr>
            <a:spLocks noChangeArrowheads="1"/>
          </p:cNvSpPr>
          <p:nvPr/>
        </p:nvSpPr>
        <p:spPr bwMode="auto">
          <a:xfrm>
            <a:off x="1033928" y="2318350"/>
            <a:ext cx="977557" cy="250844"/>
          </a:xfrm>
          <a:prstGeom prst="ellipse">
            <a:avLst/>
          </a:prstGeom>
          <a:gradFill rotWithShape="1">
            <a:gsLst>
              <a:gs pos="22000">
                <a:srgbClr val="000000">
                  <a:alpha val="25000"/>
                </a:srgbClr>
              </a:gs>
              <a:gs pos="81000">
                <a:schemeClr val="bg1">
                  <a:lumMod val="95000"/>
                  <a:alpha val="0"/>
                </a:schemeClr>
              </a:gs>
              <a:gs pos="0">
                <a:srgbClr val="000000">
                  <a:alpha val="38000"/>
                </a:srgbClr>
              </a:gs>
              <a:gs pos="51000">
                <a:srgbClr val="000000">
                  <a:alpha val="9000"/>
                </a:srgbClr>
              </a:gs>
            </a:gsLst>
            <a:path path="shape">
              <a:fillToRect l="50000" t="50000" r="50000" b="50000"/>
            </a:path>
          </a:gradFill>
          <a:ln w="9525" algn="ctr">
            <a:noFill/>
            <a:round/>
            <a:headEnd/>
            <a:tailEnd/>
          </a:ln>
          <a:effectLst/>
        </p:spPr>
        <p:txBody>
          <a:bodyPr wrap="none" anchor="ctr"/>
          <a:lstStyle/>
          <a:p>
            <a:pPr defTabSz="457178" fontAlgn="auto">
              <a:spcBef>
                <a:spcPts val="0"/>
              </a:spcBef>
              <a:spcAft>
                <a:spcPts val="0"/>
              </a:spcAft>
              <a:defRPr/>
            </a:pPr>
            <a:endParaRPr lang="en-US" sz="800" dirty="0">
              <a:solidFill>
                <a:srgbClr val="FFFFFF"/>
              </a:solidFill>
              <a:latin typeface="CiscoSansTT ExtraLight"/>
              <a:ea typeface="+mn-ea"/>
              <a:cs typeface="+mn-cs"/>
            </a:endParaRPr>
          </a:p>
        </p:txBody>
      </p:sp>
      <p:sp>
        <p:nvSpPr>
          <p:cNvPr id="24" name="Oval 151"/>
          <p:cNvSpPr>
            <a:spLocks noChangeArrowheads="1"/>
          </p:cNvSpPr>
          <p:nvPr/>
        </p:nvSpPr>
        <p:spPr bwMode="auto">
          <a:xfrm>
            <a:off x="3078837" y="2345428"/>
            <a:ext cx="1301128" cy="250844"/>
          </a:xfrm>
          <a:prstGeom prst="ellipse">
            <a:avLst/>
          </a:prstGeom>
          <a:gradFill rotWithShape="1">
            <a:gsLst>
              <a:gs pos="22000">
                <a:srgbClr val="000000">
                  <a:alpha val="25000"/>
                </a:srgbClr>
              </a:gs>
              <a:gs pos="81000">
                <a:schemeClr val="bg1">
                  <a:lumMod val="95000"/>
                  <a:alpha val="0"/>
                </a:schemeClr>
              </a:gs>
              <a:gs pos="0">
                <a:srgbClr val="000000">
                  <a:alpha val="38000"/>
                </a:srgbClr>
              </a:gs>
              <a:gs pos="51000">
                <a:srgbClr val="000000">
                  <a:alpha val="9000"/>
                </a:srgbClr>
              </a:gs>
            </a:gsLst>
            <a:path path="shape">
              <a:fillToRect l="50000" t="50000" r="50000" b="50000"/>
            </a:path>
          </a:gradFill>
          <a:ln w="9525" algn="ctr">
            <a:noFill/>
            <a:round/>
            <a:headEnd/>
            <a:tailEnd/>
          </a:ln>
          <a:effectLst/>
        </p:spPr>
        <p:txBody>
          <a:bodyPr wrap="none" anchor="ctr"/>
          <a:lstStyle/>
          <a:p>
            <a:pPr defTabSz="457178" fontAlgn="auto">
              <a:spcBef>
                <a:spcPts val="0"/>
              </a:spcBef>
              <a:spcAft>
                <a:spcPts val="0"/>
              </a:spcAft>
              <a:defRPr/>
            </a:pPr>
            <a:endParaRPr lang="en-US" sz="800" dirty="0">
              <a:solidFill>
                <a:srgbClr val="FFFFFF"/>
              </a:solidFill>
              <a:latin typeface="CiscoSansTT ExtraLight"/>
              <a:ea typeface="+mn-ea"/>
              <a:cs typeface="+mn-cs"/>
            </a:endParaRPr>
          </a:p>
        </p:txBody>
      </p:sp>
      <p:sp>
        <p:nvSpPr>
          <p:cNvPr id="25" name="Oval 151"/>
          <p:cNvSpPr>
            <a:spLocks noChangeArrowheads="1"/>
          </p:cNvSpPr>
          <p:nvPr/>
        </p:nvSpPr>
        <p:spPr bwMode="auto">
          <a:xfrm>
            <a:off x="4564962" y="2303947"/>
            <a:ext cx="1301128" cy="250844"/>
          </a:xfrm>
          <a:prstGeom prst="ellipse">
            <a:avLst/>
          </a:prstGeom>
          <a:gradFill rotWithShape="1">
            <a:gsLst>
              <a:gs pos="22000">
                <a:srgbClr val="000000">
                  <a:alpha val="25000"/>
                </a:srgbClr>
              </a:gs>
              <a:gs pos="81000">
                <a:schemeClr val="bg1">
                  <a:lumMod val="95000"/>
                  <a:alpha val="0"/>
                </a:schemeClr>
              </a:gs>
              <a:gs pos="0">
                <a:srgbClr val="000000">
                  <a:alpha val="38000"/>
                </a:srgbClr>
              </a:gs>
              <a:gs pos="51000">
                <a:srgbClr val="000000">
                  <a:alpha val="9000"/>
                </a:srgbClr>
              </a:gs>
            </a:gsLst>
            <a:path path="shape">
              <a:fillToRect l="50000" t="50000" r="50000" b="50000"/>
            </a:path>
          </a:gradFill>
          <a:ln w="9525" algn="ctr">
            <a:noFill/>
            <a:round/>
            <a:headEnd/>
            <a:tailEnd/>
          </a:ln>
          <a:effectLst/>
        </p:spPr>
        <p:txBody>
          <a:bodyPr wrap="none" anchor="ctr"/>
          <a:lstStyle/>
          <a:p>
            <a:pPr defTabSz="457178" fontAlgn="auto">
              <a:spcBef>
                <a:spcPts val="0"/>
              </a:spcBef>
              <a:spcAft>
                <a:spcPts val="0"/>
              </a:spcAft>
              <a:defRPr/>
            </a:pPr>
            <a:endParaRPr lang="en-US" sz="800" dirty="0">
              <a:solidFill>
                <a:srgbClr val="FFFFFF"/>
              </a:solidFill>
              <a:latin typeface="CiscoSansTT ExtraLight"/>
              <a:ea typeface="+mn-ea"/>
              <a:cs typeface="+mn-cs"/>
            </a:endParaRPr>
          </a:p>
        </p:txBody>
      </p:sp>
      <p:sp>
        <p:nvSpPr>
          <p:cNvPr id="27" name="Oval 151"/>
          <p:cNvSpPr>
            <a:spLocks noChangeArrowheads="1"/>
          </p:cNvSpPr>
          <p:nvPr/>
        </p:nvSpPr>
        <p:spPr bwMode="auto">
          <a:xfrm>
            <a:off x="6138549" y="1854970"/>
            <a:ext cx="891802" cy="250844"/>
          </a:xfrm>
          <a:prstGeom prst="ellipse">
            <a:avLst/>
          </a:prstGeom>
          <a:gradFill rotWithShape="1">
            <a:gsLst>
              <a:gs pos="22000">
                <a:srgbClr val="000000">
                  <a:alpha val="25000"/>
                </a:srgbClr>
              </a:gs>
              <a:gs pos="81000">
                <a:schemeClr val="bg1">
                  <a:lumMod val="95000"/>
                  <a:alpha val="0"/>
                </a:schemeClr>
              </a:gs>
              <a:gs pos="0">
                <a:srgbClr val="000000">
                  <a:alpha val="38000"/>
                </a:srgbClr>
              </a:gs>
              <a:gs pos="51000">
                <a:srgbClr val="000000">
                  <a:alpha val="9000"/>
                </a:srgbClr>
              </a:gs>
            </a:gsLst>
            <a:path path="shape">
              <a:fillToRect l="50000" t="50000" r="50000" b="50000"/>
            </a:path>
          </a:gradFill>
          <a:ln w="9525" algn="ctr">
            <a:noFill/>
            <a:round/>
            <a:headEnd/>
            <a:tailEnd/>
          </a:ln>
          <a:effectLst/>
        </p:spPr>
        <p:txBody>
          <a:bodyPr wrap="none" anchor="ctr"/>
          <a:lstStyle/>
          <a:p>
            <a:pPr defTabSz="457178" fontAlgn="auto">
              <a:spcBef>
                <a:spcPts val="0"/>
              </a:spcBef>
              <a:spcAft>
                <a:spcPts val="0"/>
              </a:spcAft>
              <a:defRPr/>
            </a:pPr>
            <a:endParaRPr lang="en-US" sz="800" dirty="0">
              <a:solidFill>
                <a:srgbClr val="FFFFFF"/>
              </a:solidFill>
              <a:latin typeface="CiscoSansTT ExtraLight"/>
              <a:ea typeface="+mn-ea"/>
              <a:cs typeface="+mn-cs"/>
            </a:endParaRPr>
          </a:p>
        </p:txBody>
      </p:sp>
      <p:pic>
        <p:nvPicPr>
          <p:cNvPr id="2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39325" y="2474030"/>
            <a:ext cx="703949" cy="879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Oval 151"/>
          <p:cNvSpPr>
            <a:spLocks noChangeArrowheads="1"/>
          </p:cNvSpPr>
          <p:nvPr/>
        </p:nvSpPr>
        <p:spPr bwMode="auto">
          <a:xfrm>
            <a:off x="6133074" y="3164098"/>
            <a:ext cx="891802" cy="250844"/>
          </a:xfrm>
          <a:prstGeom prst="ellipse">
            <a:avLst/>
          </a:prstGeom>
          <a:gradFill rotWithShape="1">
            <a:gsLst>
              <a:gs pos="22000">
                <a:srgbClr val="000000">
                  <a:alpha val="25000"/>
                </a:srgbClr>
              </a:gs>
              <a:gs pos="81000">
                <a:schemeClr val="bg1">
                  <a:lumMod val="95000"/>
                  <a:alpha val="0"/>
                </a:schemeClr>
              </a:gs>
              <a:gs pos="0">
                <a:srgbClr val="000000">
                  <a:alpha val="38000"/>
                </a:srgbClr>
              </a:gs>
              <a:gs pos="51000">
                <a:srgbClr val="000000">
                  <a:alpha val="9000"/>
                </a:srgbClr>
              </a:gs>
            </a:gsLst>
            <a:path path="shape">
              <a:fillToRect l="50000" t="50000" r="50000" b="50000"/>
            </a:path>
          </a:gradFill>
          <a:ln w="9525" algn="ctr">
            <a:noFill/>
            <a:round/>
            <a:headEnd/>
            <a:tailEnd/>
          </a:ln>
          <a:effectLst/>
        </p:spPr>
        <p:txBody>
          <a:bodyPr wrap="none" anchor="ctr"/>
          <a:lstStyle/>
          <a:p>
            <a:pPr defTabSz="457178" fontAlgn="auto">
              <a:spcBef>
                <a:spcPts val="0"/>
              </a:spcBef>
              <a:spcAft>
                <a:spcPts val="0"/>
              </a:spcAft>
              <a:defRPr/>
            </a:pPr>
            <a:endParaRPr lang="en-US" sz="800" dirty="0">
              <a:solidFill>
                <a:srgbClr val="FFFFFF"/>
              </a:solidFill>
              <a:latin typeface="CiscoSansTT ExtraLight"/>
              <a:ea typeface="+mn-ea"/>
              <a:cs typeface="+mn-cs"/>
            </a:endParaRPr>
          </a:p>
        </p:txBody>
      </p:sp>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15049" y="2436135"/>
            <a:ext cx="981476" cy="955578"/>
          </a:xfrm>
          <a:prstGeom prst="rect">
            <a:avLst/>
          </a:prstGeom>
        </p:spPr>
      </p:pic>
      <p:sp>
        <p:nvSpPr>
          <p:cNvPr id="31" name="Oval 151"/>
          <p:cNvSpPr>
            <a:spLocks noChangeArrowheads="1"/>
          </p:cNvSpPr>
          <p:nvPr/>
        </p:nvSpPr>
        <p:spPr bwMode="auto">
          <a:xfrm>
            <a:off x="8075238" y="3158124"/>
            <a:ext cx="876847" cy="250844"/>
          </a:xfrm>
          <a:prstGeom prst="ellipse">
            <a:avLst/>
          </a:prstGeom>
          <a:gradFill rotWithShape="1">
            <a:gsLst>
              <a:gs pos="22000">
                <a:srgbClr val="000000">
                  <a:alpha val="25000"/>
                </a:srgbClr>
              </a:gs>
              <a:gs pos="81000">
                <a:schemeClr val="bg1">
                  <a:lumMod val="95000"/>
                  <a:alpha val="0"/>
                </a:schemeClr>
              </a:gs>
              <a:gs pos="0">
                <a:srgbClr val="000000">
                  <a:alpha val="38000"/>
                </a:srgbClr>
              </a:gs>
              <a:gs pos="51000">
                <a:srgbClr val="000000">
                  <a:alpha val="9000"/>
                </a:srgbClr>
              </a:gs>
            </a:gsLst>
            <a:path path="shape">
              <a:fillToRect l="50000" t="50000" r="50000" b="50000"/>
            </a:path>
          </a:gradFill>
          <a:ln w="9525" algn="ctr">
            <a:noFill/>
            <a:round/>
            <a:headEnd/>
            <a:tailEnd/>
          </a:ln>
          <a:effectLst/>
        </p:spPr>
        <p:txBody>
          <a:bodyPr wrap="none" anchor="ctr"/>
          <a:lstStyle/>
          <a:p>
            <a:pPr defTabSz="457178" fontAlgn="auto">
              <a:spcBef>
                <a:spcPts val="0"/>
              </a:spcBef>
              <a:spcAft>
                <a:spcPts val="0"/>
              </a:spcAft>
              <a:defRPr/>
            </a:pPr>
            <a:endParaRPr lang="en-US" sz="800" dirty="0">
              <a:solidFill>
                <a:srgbClr val="FFFFFF"/>
              </a:solidFill>
              <a:latin typeface="CiscoSansTT ExtraLight"/>
              <a:ea typeface="+mn-ea"/>
              <a:cs typeface="+mn-cs"/>
            </a:endParaRPr>
          </a:p>
        </p:txBody>
      </p:sp>
      <p:grpSp>
        <p:nvGrpSpPr>
          <p:cNvPr id="32" name="Group 31"/>
          <p:cNvGrpSpPr/>
          <p:nvPr/>
        </p:nvGrpSpPr>
        <p:grpSpPr>
          <a:xfrm>
            <a:off x="585035" y="2381894"/>
            <a:ext cx="305436" cy="440811"/>
            <a:chOff x="4741863" y="1752600"/>
            <a:chExt cx="938212" cy="1055688"/>
          </a:xfrm>
          <a:solidFill>
            <a:schemeClr val="accent4"/>
          </a:solidFill>
          <a:effectLst/>
        </p:grpSpPr>
        <p:sp>
          <p:nvSpPr>
            <p:cNvPr id="33" name="Freeform 114"/>
            <p:cNvSpPr>
              <a:spLocks noEditPoints="1"/>
            </p:cNvSpPr>
            <p:nvPr/>
          </p:nvSpPr>
          <p:spPr bwMode="auto">
            <a:xfrm>
              <a:off x="4741863" y="1752600"/>
              <a:ext cx="938212" cy="1055688"/>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lIns="68577" tIns="34289" rIns="68577" bIns="34289"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34" name="Freeform 115"/>
            <p:cNvSpPr>
              <a:spLocks/>
            </p:cNvSpPr>
            <p:nvPr/>
          </p:nvSpPr>
          <p:spPr bwMode="auto">
            <a:xfrm>
              <a:off x="5505450" y="1776413"/>
              <a:ext cx="1587" cy="1031875"/>
            </a:xfrm>
            <a:custGeom>
              <a:avLst/>
              <a:gdLst/>
              <a:ahLst/>
              <a:cxnLst>
                <a:cxn ang="0">
                  <a:pos x="0" y="0"/>
                </a:cxn>
                <a:cxn ang="0">
                  <a:pos x="0" y="650"/>
                </a:cxn>
                <a:cxn ang="0">
                  <a:pos x="0" y="0"/>
                </a:cxn>
              </a:cxnLst>
              <a:rect l="0" t="0" r="r" b="b"/>
              <a:pathLst>
                <a:path h="650">
                  <a:moveTo>
                    <a:pt x="0" y="0"/>
                  </a:moveTo>
                  <a:lnTo>
                    <a:pt x="0" y="650"/>
                  </a:lnTo>
                  <a:lnTo>
                    <a:pt x="0" y="0"/>
                  </a:ln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lIns="68577" tIns="34289" rIns="68577" bIns="34289"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35" name="Line 116"/>
            <p:cNvSpPr>
              <a:spLocks noChangeShapeType="1"/>
            </p:cNvSpPr>
            <p:nvPr/>
          </p:nvSpPr>
          <p:spPr bwMode="auto">
            <a:xfrm>
              <a:off x="5505450" y="1776413"/>
              <a:ext cx="1587" cy="1031875"/>
            </a:xfrm>
            <a:prstGeom prst="line">
              <a:avLst/>
            </a:prstGeom>
            <a:grpFill/>
            <a:ln>
              <a:noFill/>
            </a:ln>
            <a:effectLst/>
          </p:spPr>
          <p:style>
            <a:lnRef idx="1">
              <a:schemeClr val="accent5"/>
            </a:lnRef>
            <a:fillRef idx="3">
              <a:schemeClr val="accent5"/>
            </a:fillRef>
            <a:effectRef idx="2">
              <a:schemeClr val="accent5"/>
            </a:effectRef>
            <a:fontRef idx="minor">
              <a:schemeClr val="lt1"/>
            </a:fontRef>
          </p:style>
          <p:txBody>
            <a:bodyPr lIns="68577" tIns="34289" rIns="68577" bIns="34289" rtlCol="0" anchor="ctr"/>
            <a:lstStyle/>
            <a:p>
              <a:pPr algn="ctr" defTabSz="457178" fontAlgn="auto">
                <a:spcBef>
                  <a:spcPts val="0"/>
                </a:spcBef>
                <a:spcAft>
                  <a:spcPts val="0"/>
                </a:spcAft>
                <a:defRPr/>
              </a:pPr>
              <a:endParaRPr lang="en-US" dirty="0">
                <a:solidFill>
                  <a:srgbClr val="005073"/>
                </a:solidFill>
                <a:latin typeface="CiscoSansTT ExtraLight"/>
              </a:endParaRPr>
            </a:p>
          </p:txBody>
        </p:sp>
      </p:grpSp>
      <p:cxnSp>
        <p:nvCxnSpPr>
          <p:cNvPr id="45" name="Straight Connector 44"/>
          <p:cNvCxnSpPr/>
          <p:nvPr/>
        </p:nvCxnSpPr>
        <p:spPr>
          <a:xfrm flipV="1">
            <a:off x="1090503" y="2860728"/>
            <a:ext cx="228928" cy="15718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968517" y="2630368"/>
            <a:ext cx="250546" cy="226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157312" y="2421894"/>
            <a:ext cx="475616" cy="384048"/>
          </a:xfrm>
          <a:prstGeom prst="ellipse">
            <a:avLst/>
          </a:prstGeom>
          <a:solidFill>
            <a:schemeClr val="bg2"/>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78" fontAlgn="auto">
              <a:spcBef>
                <a:spcPts val="0"/>
              </a:spcBef>
              <a:spcAft>
                <a:spcPts val="0"/>
              </a:spcAft>
              <a:defRPr/>
            </a:pPr>
            <a:endParaRPr lang="en-US" sz="600" dirty="0">
              <a:solidFill>
                <a:srgbClr val="282828">
                  <a:lumMod val="75000"/>
                </a:srgbClr>
              </a:solidFill>
              <a:latin typeface="CiscoSansTT ExtraLight"/>
            </a:endParaRPr>
          </a:p>
        </p:txBody>
      </p:sp>
      <p:sp>
        <p:nvSpPr>
          <p:cNvPr id="71" name="TextBox 70"/>
          <p:cNvSpPr txBox="1"/>
          <p:nvPr/>
        </p:nvSpPr>
        <p:spPr>
          <a:xfrm>
            <a:off x="215512" y="2508628"/>
            <a:ext cx="429926"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CPE</a:t>
            </a:r>
          </a:p>
        </p:txBody>
      </p:sp>
      <p:cxnSp>
        <p:nvCxnSpPr>
          <p:cNvPr id="74" name="Straight Connector 73"/>
          <p:cNvCxnSpPr/>
          <p:nvPr/>
        </p:nvCxnSpPr>
        <p:spPr>
          <a:xfrm flipV="1">
            <a:off x="2925210" y="2650791"/>
            <a:ext cx="303161" cy="226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4146812" y="2620173"/>
            <a:ext cx="275601" cy="206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5876546" y="2310655"/>
            <a:ext cx="262005" cy="17838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876545" y="2836436"/>
            <a:ext cx="314060" cy="18943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7032800" y="3394970"/>
            <a:ext cx="275601" cy="226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7" name="Freeform 27"/>
          <p:cNvSpPr>
            <a:spLocks/>
          </p:cNvSpPr>
          <p:nvPr/>
        </p:nvSpPr>
        <p:spPr bwMode="auto">
          <a:xfrm>
            <a:off x="7678317" y="1360977"/>
            <a:ext cx="1440952" cy="91182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tx1">
              <a:lumMod val="10000"/>
              <a:lumOff val="90000"/>
            </a:schemeClr>
          </a:solidFill>
          <a:ln>
            <a:noFill/>
          </a:ln>
          <a:effectLst/>
        </p:spPr>
        <p:style>
          <a:lnRef idx="1">
            <a:schemeClr val="accent4"/>
          </a:lnRef>
          <a:fillRef idx="1003">
            <a:schemeClr val="lt2"/>
          </a:fillRef>
          <a:effectRef idx="1">
            <a:schemeClr val="accent4"/>
          </a:effectRef>
          <a:fontRef idx="minor">
            <a:schemeClr val="dk1"/>
          </a:fontRef>
        </p:style>
        <p:txBody>
          <a:bodyPr lIns="21238" tIns="10632" rIns="21238" bIns="10632" anchor="ctr"/>
          <a:lstStyle/>
          <a:p>
            <a:pPr algn="ctr" defTabSz="457121" fontAlgn="auto">
              <a:spcBef>
                <a:spcPts val="0"/>
              </a:spcBef>
              <a:spcAft>
                <a:spcPts val="0"/>
              </a:spcAft>
              <a:defRPr/>
            </a:pPr>
            <a:r>
              <a:rPr lang="en-US" sz="1000" dirty="0">
                <a:solidFill>
                  <a:srgbClr val="282828"/>
                </a:solidFill>
                <a:latin typeface="CiscoSansTT ExtraLight"/>
                <a:ea typeface="MS PGothic" pitchFamily="34" charset="-128"/>
              </a:rPr>
              <a:t>Internet</a:t>
            </a:r>
          </a:p>
        </p:txBody>
      </p:sp>
      <p:cxnSp>
        <p:nvCxnSpPr>
          <p:cNvPr id="97" name="Straight Connector 96"/>
          <p:cNvCxnSpPr/>
          <p:nvPr/>
        </p:nvCxnSpPr>
        <p:spPr>
          <a:xfrm flipV="1">
            <a:off x="7088412" y="2115108"/>
            <a:ext cx="488245" cy="226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248698" y="2584754"/>
            <a:ext cx="567784" cy="230832"/>
          </a:xfrm>
          <a:prstGeom prst="rect">
            <a:avLst/>
          </a:prstGeom>
          <a:noFill/>
        </p:spPr>
        <p:txBody>
          <a:bodyPr wrap="none" rtlCol="0">
            <a:spAutoFit/>
          </a:bodyPr>
          <a:lstStyle/>
          <a:p>
            <a:pPr defTabSz="457178" fontAlgn="auto">
              <a:spcBef>
                <a:spcPts val="0"/>
              </a:spcBef>
              <a:spcAft>
                <a:spcPts val="0"/>
              </a:spcAft>
              <a:defRPr/>
            </a:pPr>
            <a:r>
              <a:rPr lang="en-US" sz="900" b="1" dirty="0">
                <a:solidFill>
                  <a:srgbClr val="005073"/>
                </a:solidFill>
                <a:latin typeface="CiscoSansTT ExtraLight"/>
                <a:ea typeface="+mn-ea"/>
                <a:cs typeface="+mn-cs"/>
              </a:rPr>
              <a:t>Access</a:t>
            </a:r>
          </a:p>
        </p:txBody>
      </p:sp>
      <p:sp>
        <p:nvSpPr>
          <p:cNvPr id="101" name="TextBox 100"/>
          <p:cNvSpPr txBox="1"/>
          <p:nvPr/>
        </p:nvSpPr>
        <p:spPr>
          <a:xfrm>
            <a:off x="3307847" y="2558013"/>
            <a:ext cx="776175" cy="473206"/>
          </a:xfrm>
          <a:prstGeom prst="rect">
            <a:avLst/>
          </a:prstGeom>
          <a:noFill/>
        </p:spPr>
        <p:txBody>
          <a:bodyPr wrap="none" rtlCol="0">
            <a:spAutoFit/>
          </a:bodyPr>
          <a:lstStyle/>
          <a:p>
            <a:pPr algn="ctr" defTabSz="457178" fontAlgn="auto">
              <a:spcBef>
                <a:spcPts val="0"/>
              </a:spcBef>
              <a:spcAft>
                <a:spcPts val="0"/>
              </a:spcAft>
              <a:defRPr/>
            </a:pPr>
            <a:r>
              <a:rPr lang="en-US" sz="825" b="1" dirty="0">
                <a:solidFill>
                  <a:srgbClr val="005073"/>
                </a:solidFill>
                <a:latin typeface="CiscoSansTT ExtraLight"/>
                <a:ea typeface="+mn-ea"/>
                <a:cs typeface="+mn-cs"/>
              </a:rPr>
              <a:t>Bus Eth</a:t>
            </a:r>
          </a:p>
          <a:p>
            <a:pPr algn="ctr" defTabSz="457178" fontAlgn="auto">
              <a:spcBef>
                <a:spcPts val="0"/>
              </a:spcBef>
              <a:spcAft>
                <a:spcPts val="0"/>
              </a:spcAft>
              <a:defRPr/>
            </a:pPr>
            <a:r>
              <a:rPr lang="en-US" sz="825" b="1" dirty="0">
                <a:solidFill>
                  <a:srgbClr val="005073"/>
                </a:solidFill>
                <a:latin typeface="CiscoSansTT ExtraLight"/>
                <a:ea typeface="+mn-ea"/>
                <a:cs typeface="+mn-cs"/>
              </a:rPr>
              <a:t>BNG</a:t>
            </a:r>
          </a:p>
          <a:p>
            <a:pPr algn="ctr" defTabSz="457178" fontAlgn="auto">
              <a:spcBef>
                <a:spcPts val="0"/>
              </a:spcBef>
              <a:spcAft>
                <a:spcPts val="0"/>
              </a:spcAft>
              <a:defRPr/>
            </a:pPr>
            <a:r>
              <a:rPr lang="en-US" sz="825" b="1" dirty="0">
                <a:solidFill>
                  <a:srgbClr val="005073"/>
                </a:solidFill>
                <a:latin typeface="CiscoSansTT ExtraLight"/>
                <a:ea typeface="+mn-ea"/>
                <a:cs typeface="+mn-cs"/>
              </a:rPr>
              <a:t>Mobile Edge</a:t>
            </a:r>
          </a:p>
        </p:txBody>
      </p:sp>
      <p:sp>
        <p:nvSpPr>
          <p:cNvPr id="102" name="TextBox 101"/>
          <p:cNvSpPr txBox="1"/>
          <p:nvPr/>
        </p:nvSpPr>
        <p:spPr>
          <a:xfrm>
            <a:off x="4970132" y="2607624"/>
            <a:ext cx="609462" cy="323165"/>
          </a:xfrm>
          <a:prstGeom prst="rect">
            <a:avLst/>
          </a:prstGeom>
          <a:noFill/>
        </p:spPr>
        <p:txBody>
          <a:bodyPr wrap="none" rtlCol="0">
            <a:spAutoFit/>
          </a:bodyPr>
          <a:lstStyle/>
          <a:p>
            <a:pPr defTabSz="457178" fontAlgn="auto">
              <a:spcBef>
                <a:spcPts val="0"/>
              </a:spcBef>
              <a:spcAft>
                <a:spcPts val="0"/>
              </a:spcAft>
              <a:defRPr/>
            </a:pPr>
            <a:r>
              <a:rPr lang="en-US" sz="1500" b="1" dirty="0">
                <a:solidFill>
                  <a:srgbClr val="FFFFFF"/>
                </a:solidFill>
                <a:latin typeface="CiscoSansTT ExtraLight"/>
                <a:ea typeface="+mn-ea"/>
                <a:cs typeface="+mn-cs"/>
              </a:rPr>
              <a:t>Core</a:t>
            </a:r>
          </a:p>
        </p:txBody>
      </p:sp>
      <p:sp>
        <p:nvSpPr>
          <p:cNvPr id="104" name="TextBox 103"/>
          <p:cNvSpPr txBox="1"/>
          <p:nvPr/>
        </p:nvSpPr>
        <p:spPr>
          <a:xfrm>
            <a:off x="6319693" y="2035067"/>
            <a:ext cx="652743" cy="253916"/>
          </a:xfrm>
          <a:prstGeom prst="rect">
            <a:avLst/>
          </a:prstGeom>
          <a:noFill/>
        </p:spPr>
        <p:txBody>
          <a:bodyPr wrap="none" rtlCol="0">
            <a:spAutoFit/>
          </a:bodyPr>
          <a:lstStyle/>
          <a:p>
            <a:pPr defTabSz="457178" fontAlgn="auto">
              <a:spcBef>
                <a:spcPts val="0"/>
              </a:spcBef>
              <a:spcAft>
                <a:spcPts val="0"/>
              </a:spcAft>
              <a:defRPr/>
            </a:pPr>
            <a:r>
              <a:rPr lang="en-US" sz="1050" b="1" dirty="0">
                <a:solidFill>
                  <a:srgbClr val="005073"/>
                </a:solidFill>
                <a:latin typeface="CiscoSansTT ExtraLight"/>
                <a:ea typeface="+mn-ea"/>
                <a:cs typeface="+mn-cs"/>
              </a:rPr>
              <a:t>Peering</a:t>
            </a:r>
          </a:p>
        </p:txBody>
      </p:sp>
      <p:sp>
        <p:nvSpPr>
          <p:cNvPr id="105" name="TextBox 104"/>
          <p:cNvSpPr txBox="1"/>
          <p:nvPr/>
        </p:nvSpPr>
        <p:spPr>
          <a:xfrm>
            <a:off x="6427300" y="3320625"/>
            <a:ext cx="434734" cy="276999"/>
          </a:xfrm>
          <a:prstGeom prst="rect">
            <a:avLst/>
          </a:prstGeom>
          <a:noFill/>
        </p:spPr>
        <p:txBody>
          <a:bodyPr wrap="none" rtlCol="0">
            <a:spAutoFit/>
          </a:bodyPr>
          <a:lstStyle/>
          <a:p>
            <a:pPr defTabSz="457178" fontAlgn="auto">
              <a:spcBef>
                <a:spcPts val="0"/>
              </a:spcBef>
              <a:spcAft>
                <a:spcPts val="0"/>
              </a:spcAft>
              <a:defRPr/>
            </a:pPr>
            <a:r>
              <a:rPr lang="en-US" sz="1200" b="1" dirty="0">
                <a:solidFill>
                  <a:srgbClr val="005073"/>
                </a:solidFill>
                <a:latin typeface="CiscoSansTT ExtraLight"/>
                <a:ea typeface="+mn-ea"/>
                <a:cs typeface="+mn-cs"/>
              </a:rPr>
              <a:t>DCI</a:t>
            </a:r>
          </a:p>
        </p:txBody>
      </p:sp>
      <p:sp>
        <p:nvSpPr>
          <p:cNvPr id="106" name="TextBox 105"/>
          <p:cNvSpPr txBox="1"/>
          <p:nvPr/>
        </p:nvSpPr>
        <p:spPr>
          <a:xfrm rot="10800000" flipV="1">
            <a:off x="8502663" y="3073624"/>
            <a:ext cx="449422" cy="215444"/>
          </a:xfrm>
          <a:prstGeom prst="rect">
            <a:avLst/>
          </a:prstGeom>
          <a:noFill/>
        </p:spPr>
        <p:txBody>
          <a:bodyPr wrap="square" rtlCol="0">
            <a:spAutoFit/>
          </a:bodyPr>
          <a:lstStyle/>
          <a:p>
            <a:pPr defTabSz="457178" fontAlgn="auto">
              <a:spcBef>
                <a:spcPts val="0"/>
              </a:spcBef>
              <a:spcAft>
                <a:spcPts val="0"/>
              </a:spcAft>
              <a:defRPr/>
            </a:pPr>
            <a:r>
              <a:rPr lang="en-US" sz="800" dirty="0">
                <a:solidFill>
                  <a:srgbClr val="005073"/>
                </a:solidFill>
                <a:latin typeface="CiscoSansTT ExtraLight"/>
                <a:ea typeface="+mn-ea"/>
                <a:cs typeface="+mn-cs"/>
              </a:rPr>
              <a:t>DC</a:t>
            </a:r>
          </a:p>
        </p:txBody>
      </p:sp>
      <p:sp>
        <p:nvSpPr>
          <p:cNvPr id="108" name="TextBox 107"/>
          <p:cNvSpPr txBox="1"/>
          <p:nvPr/>
        </p:nvSpPr>
        <p:spPr>
          <a:xfrm>
            <a:off x="4866307" y="982426"/>
            <a:ext cx="779381"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ASR 9000</a:t>
            </a:r>
          </a:p>
        </p:txBody>
      </p:sp>
      <p:sp>
        <p:nvSpPr>
          <p:cNvPr id="109" name="TextBox 108"/>
          <p:cNvSpPr txBox="1"/>
          <p:nvPr/>
        </p:nvSpPr>
        <p:spPr>
          <a:xfrm>
            <a:off x="3309919" y="1656672"/>
            <a:ext cx="779381"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ASR 9000</a:t>
            </a:r>
          </a:p>
        </p:txBody>
      </p:sp>
      <p:sp>
        <p:nvSpPr>
          <p:cNvPr id="110" name="TextBox 109"/>
          <p:cNvSpPr txBox="1"/>
          <p:nvPr/>
        </p:nvSpPr>
        <p:spPr>
          <a:xfrm>
            <a:off x="6145388" y="1067091"/>
            <a:ext cx="779381"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ASR 9000</a:t>
            </a:r>
          </a:p>
        </p:txBody>
      </p:sp>
      <p:sp>
        <p:nvSpPr>
          <p:cNvPr id="111" name="TextBox 110"/>
          <p:cNvSpPr txBox="1"/>
          <p:nvPr/>
        </p:nvSpPr>
        <p:spPr>
          <a:xfrm>
            <a:off x="6276189" y="2347335"/>
            <a:ext cx="779381"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ASR 9000</a:t>
            </a:r>
          </a:p>
        </p:txBody>
      </p:sp>
      <p:sp>
        <p:nvSpPr>
          <p:cNvPr id="112" name="TextBox 111"/>
          <p:cNvSpPr txBox="1"/>
          <p:nvPr/>
        </p:nvSpPr>
        <p:spPr>
          <a:xfrm>
            <a:off x="8268927" y="2655611"/>
            <a:ext cx="896399"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Nexus 9000</a:t>
            </a:r>
          </a:p>
        </p:txBody>
      </p:sp>
      <p:sp>
        <p:nvSpPr>
          <p:cNvPr id="113" name="Left-Right Arrow 112"/>
          <p:cNvSpPr/>
          <p:nvPr/>
        </p:nvSpPr>
        <p:spPr>
          <a:xfrm>
            <a:off x="1043153" y="1198837"/>
            <a:ext cx="6351543" cy="246888"/>
          </a:xfrm>
          <a:prstGeom prst="leftRightArrow">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sz="1000" dirty="0">
              <a:solidFill>
                <a:srgbClr val="FFFFFF"/>
              </a:solidFill>
              <a:latin typeface="CiscoSansTT ExtraLight"/>
            </a:endParaRPr>
          </a:p>
        </p:txBody>
      </p:sp>
      <p:sp>
        <p:nvSpPr>
          <p:cNvPr id="114" name="Left-Right Arrow 113"/>
          <p:cNvSpPr/>
          <p:nvPr/>
        </p:nvSpPr>
        <p:spPr>
          <a:xfrm>
            <a:off x="1173323" y="1394283"/>
            <a:ext cx="6351543" cy="249382"/>
          </a:xfrm>
          <a:prstGeom prst="leftRightArrow">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sz="1000" dirty="0">
              <a:solidFill>
                <a:srgbClr val="FFFFFF"/>
              </a:solidFill>
              <a:latin typeface="CiscoSansTT ExtraLight"/>
            </a:endParaRPr>
          </a:p>
        </p:txBody>
      </p:sp>
      <p:sp>
        <p:nvSpPr>
          <p:cNvPr id="115" name="TextBox 114"/>
          <p:cNvSpPr txBox="1"/>
          <p:nvPr/>
        </p:nvSpPr>
        <p:spPr>
          <a:xfrm>
            <a:off x="2714814" y="1208244"/>
            <a:ext cx="1067921"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VMS, SD-WAN</a:t>
            </a:r>
          </a:p>
        </p:txBody>
      </p:sp>
      <p:sp>
        <p:nvSpPr>
          <p:cNvPr id="116" name="TextBox 115"/>
          <p:cNvSpPr txBox="1"/>
          <p:nvPr/>
        </p:nvSpPr>
        <p:spPr>
          <a:xfrm>
            <a:off x="2878798" y="1405278"/>
            <a:ext cx="1233030"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EPNM, WAE, NSO</a:t>
            </a:r>
          </a:p>
        </p:txBody>
      </p:sp>
      <p:sp>
        <p:nvSpPr>
          <p:cNvPr id="118" name="Title 1"/>
          <p:cNvSpPr>
            <a:spLocks noGrp="1"/>
          </p:cNvSpPr>
          <p:nvPr>
            <p:ph type="title"/>
          </p:nvPr>
        </p:nvSpPr>
        <p:spPr>
          <a:xfrm>
            <a:off x="111869" y="168481"/>
            <a:ext cx="8345488" cy="731837"/>
          </a:xfrm>
        </p:spPr>
        <p:txBody>
          <a:bodyPr/>
          <a:lstStyle/>
          <a:p>
            <a:r>
              <a:rPr lang="en-US" sz="2700" dirty="0">
                <a:latin typeface="+mn-lt"/>
              </a:rPr>
              <a:t>Service Provider Platforms per Place in Network</a:t>
            </a:r>
            <a:br>
              <a:rPr lang="en-US" sz="2700" dirty="0">
                <a:latin typeface="+mn-lt"/>
              </a:rPr>
            </a:br>
            <a:endParaRPr lang="en-US" sz="2700" dirty="0">
              <a:solidFill>
                <a:schemeClr val="bg1">
                  <a:lumMod val="75000"/>
                </a:schemeClr>
              </a:solidFill>
              <a:latin typeface="+mn-lt"/>
            </a:endParaRPr>
          </a:p>
        </p:txBody>
      </p:sp>
      <p:pic>
        <p:nvPicPr>
          <p:cNvPr id="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93638" y="1171333"/>
            <a:ext cx="703949" cy="879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8" name="Freeform 93"/>
          <p:cNvSpPr>
            <a:spLocks noEditPoints="1"/>
          </p:cNvSpPr>
          <p:nvPr/>
        </p:nvSpPr>
        <p:spPr bwMode="auto">
          <a:xfrm>
            <a:off x="7768976" y="722738"/>
            <a:ext cx="246888" cy="246888"/>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2"/>
          </a:solidFill>
          <a:ln>
            <a:noFill/>
          </a:ln>
          <a:effectLst/>
        </p:spPr>
        <p:txBody>
          <a:bodyPr vert="horz" wrap="square" lIns="91438" tIns="45719" rIns="91438" bIns="45719" numCol="1" anchor="t" anchorCtr="0" compatLnSpc="1">
            <a:prstTxWarp prst="textNoShape">
              <a:avLst/>
            </a:prstTxWarp>
          </a:bodyPr>
          <a:lstStyle/>
          <a:p>
            <a:pPr defTabSz="457076" fontAlgn="auto">
              <a:spcBef>
                <a:spcPts val="0"/>
              </a:spcBef>
              <a:spcAft>
                <a:spcPts val="0"/>
              </a:spcAft>
              <a:defRPr/>
            </a:pPr>
            <a:endParaRPr lang="en-US" dirty="0">
              <a:solidFill>
                <a:srgbClr val="676767"/>
              </a:solidFill>
              <a:latin typeface="CiscoSansTT ExtraLight"/>
              <a:ea typeface="+mn-ea"/>
              <a:cs typeface="+mn-cs"/>
            </a:endParaRPr>
          </a:p>
        </p:txBody>
      </p:sp>
      <p:sp>
        <p:nvSpPr>
          <p:cNvPr id="176" name="Rounded Rectangle 175"/>
          <p:cNvSpPr>
            <a:spLocks/>
          </p:cNvSpPr>
          <p:nvPr/>
        </p:nvSpPr>
        <p:spPr bwMode="auto">
          <a:xfrm rot="5400000">
            <a:off x="4420410" y="318384"/>
            <a:ext cx="321797" cy="8869680"/>
          </a:xfrm>
          <a:prstGeom prst="roundRect">
            <a:avLst>
              <a:gd name="adj" fmla="val 50000"/>
            </a:avLst>
          </a:prstGeom>
          <a:solidFill>
            <a:schemeClr val="tx1">
              <a:lumMod val="10000"/>
              <a:lumOff val="90000"/>
            </a:schemeClr>
          </a:solidFill>
          <a:ln>
            <a:noFill/>
          </a:ln>
        </p:spPr>
        <p:txBody>
          <a:bodyPr vert="horz" wrap="square" lIns="91428" tIns="45714" rIns="91428" bIns="45714" numCol="1" anchor="t" anchorCtr="0" compatLnSpc="1">
            <a:prstTxWarp prst="textNoShape">
              <a:avLst/>
            </a:prstTxWarp>
          </a:bodyPr>
          <a:lstStyle/>
          <a:p>
            <a:pPr defTabSz="342830" fontAlgn="auto">
              <a:spcBef>
                <a:spcPts val="0"/>
              </a:spcBef>
              <a:spcAft>
                <a:spcPts val="0"/>
              </a:spcAft>
              <a:defRPr/>
            </a:pPr>
            <a:endParaRPr lang="en-US" kern="0">
              <a:solidFill>
                <a:srgbClr val="282828"/>
              </a:solidFill>
              <a:latin typeface="CiscoSansTT ExtraLight"/>
              <a:ea typeface="+mn-ea"/>
              <a:cs typeface="+mn-cs"/>
            </a:endParaRPr>
          </a:p>
        </p:txBody>
      </p:sp>
      <p:sp>
        <p:nvSpPr>
          <p:cNvPr id="197" name="TextBox 196"/>
          <p:cNvSpPr txBox="1"/>
          <p:nvPr/>
        </p:nvSpPr>
        <p:spPr>
          <a:xfrm>
            <a:off x="360953" y="4598328"/>
            <a:ext cx="1229877" cy="338554"/>
          </a:xfrm>
          <a:prstGeom prst="rect">
            <a:avLst/>
          </a:prstGeom>
          <a:noFill/>
        </p:spPr>
        <p:txBody>
          <a:bodyPr wrap="square" rtlCol="0">
            <a:spAutoFit/>
          </a:bodyPr>
          <a:lstStyle/>
          <a:p>
            <a:pPr defTabSz="457178" fontAlgn="auto">
              <a:spcBef>
                <a:spcPts val="0"/>
              </a:spcBef>
              <a:spcAft>
                <a:spcPts val="0"/>
              </a:spcAft>
              <a:defRPr/>
            </a:pPr>
            <a:r>
              <a:rPr lang="en-US" sz="800" dirty="0">
                <a:solidFill>
                  <a:srgbClr val="282828"/>
                </a:solidFill>
                <a:latin typeface="CiscoSansTT ExtraLight"/>
                <a:ea typeface="+mn-ea"/>
                <a:cs typeface="+mn-cs"/>
              </a:rPr>
              <a:t>Density, Low Cost/Bit, </a:t>
            </a:r>
            <a:r>
              <a:rPr lang="en-US" sz="800" dirty="0" err="1">
                <a:solidFill>
                  <a:srgbClr val="282828"/>
                </a:solidFill>
                <a:latin typeface="CiscoSansTT ExtraLight"/>
                <a:ea typeface="+mn-ea"/>
                <a:cs typeface="+mn-cs"/>
              </a:rPr>
              <a:t>PayG</a:t>
            </a:r>
            <a:r>
              <a:rPr lang="en-US" sz="800" dirty="0">
                <a:solidFill>
                  <a:srgbClr val="282828"/>
                </a:solidFill>
                <a:latin typeface="CiscoSansTT ExtraLight"/>
                <a:ea typeface="+mn-ea"/>
                <a:cs typeface="+mn-cs"/>
              </a:rPr>
              <a:t>, </a:t>
            </a:r>
            <a:r>
              <a:rPr lang="en-US" sz="800" dirty="0" err="1">
                <a:solidFill>
                  <a:srgbClr val="282828"/>
                </a:solidFill>
                <a:latin typeface="CiscoSansTT ExtraLight"/>
                <a:ea typeface="+mn-ea"/>
                <a:cs typeface="+mn-cs"/>
              </a:rPr>
              <a:t>OpenPay</a:t>
            </a:r>
            <a:endParaRPr lang="en-US" sz="800" dirty="0">
              <a:solidFill>
                <a:srgbClr val="282828"/>
              </a:solidFill>
              <a:latin typeface="CiscoSansTT ExtraLight"/>
              <a:ea typeface="+mn-ea"/>
              <a:cs typeface="+mn-cs"/>
            </a:endParaRPr>
          </a:p>
        </p:txBody>
      </p:sp>
      <p:sp>
        <p:nvSpPr>
          <p:cNvPr id="198" name="Oval 197"/>
          <p:cNvSpPr/>
          <p:nvPr/>
        </p:nvSpPr>
        <p:spPr>
          <a:xfrm>
            <a:off x="712767" y="3838857"/>
            <a:ext cx="457200" cy="457200"/>
          </a:xfrm>
          <a:prstGeom prst="ellipse">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200" name="Rectangle 199"/>
          <p:cNvSpPr/>
          <p:nvPr/>
        </p:nvSpPr>
        <p:spPr>
          <a:xfrm>
            <a:off x="918204" y="4298840"/>
            <a:ext cx="27432" cy="24981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201" name="Oval 200"/>
          <p:cNvSpPr>
            <a:spLocks noChangeAspect="1"/>
          </p:cNvSpPr>
          <p:nvPr/>
        </p:nvSpPr>
        <p:spPr>
          <a:xfrm>
            <a:off x="864555" y="4517586"/>
            <a:ext cx="137160" cy="1371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204" name="Freeform 561"/>
          <p:cNvSpPr>
            <a:spLocks noChangeAspect="1" noEditPoints="1"/>
          </p:cNvSpPr>
          <p:nvPr/>
        </p:nvSpPr>
        <p:spPr bwMode="auto">
          <a:xfrm>
            <a:off x="855070" y="3919936"/>
            <a:ext cx="173330" cy="285360"/>
          </a:xfrm>
          <a:custGeom>
            <a:avLst/>
            <a:gdLst>
              <a:gd name="T0" fmla="*/ 134 w 136"/>
              <a:gd name="T1" fmla="*/ 156 h 239"/>
              <a:gd name="T2" fmla="*/ 81 w 136"/>
              <a:gd name="T3" fmla="*/ 105 h 239"/>
              <a:gd name="T4" fmla="*/ 81 w 136"/>
              <a:gd name="T5" fmla="*/ 59 h 239"/>
              <a:gd name="T6" fmla="*/ 103 w 136"/>
              <a:gd name="T7" fmla="*/ 76 h 239"/>
              <a:gd name="T8" fmla="*/ 117 w 136"/>
              <a:gd name="T9" fmla="*/ 89 h 239"/>
              <a:gd name="T10" fmla="*/ 130 w 136"/>
              <a:gd name="T11" fmla="*/ 74 h 239"/>
              <a:gd name="T12" fmla="*/ 81 w 136"/>
              <a:gd name="T13" fmla="*/ 31 h 239"/>
              <a:gd name="T14" fmla="*/ 81 w 136"/>
              <a:gd name="T15" fmla="*/ 14 h 239"/>
              <a:gd name="T16" fmla="*/ 68 w 136"/>
              <a:gd name="T17" fmla="*/ 0 h 239"/>
              <a:gd name="T18" fmla="*/ 54 w 136"/>
              <a:gd name="T19" fmla="*/ 14 h 239"/>
              <a:gd name="T20" fmla="*/ 54 w 136"/>
              <a:gd name="T21" fmla="*/ 32 h 239"/>
              <a:gd name="T22" fmla="*/ 20 w 136"/>
              <a:gd name="T23" fmla="*/ 44 h 239"/>
              <a:gd name="T24" fmla="*/ 2 w 136"/>
              <a:gd name="T25" fmla="*/ 81 h 239"/>
              <a:gd name="T26" fmla="*/ 54 w 136"/>
              <a:gd name="T27" fmla="*/ 128 h 239"/>
              <a:gd name="T28" fmla="*/ 54 w 136"/>
              <a:gd name="T29" fmla="*/ 182 h 239"/>
              <a:gd name="T30" fmla="*/ 28 w 136"/>
              <a:gd name="T31" fmla="*/ 162 h 239"/>
              <a:gd name="T32" fmla="*/ 13 w 136"/>
              <a:gd name="T33" fmla="*/ 149 h 239"/>
              <a:gd name="T34" fmla="*/ 0 w 136"/>
              <a:gd name="T35" fmla="*/ 164 h 239"/>
              <a:gd name="T36" fmla="*/ 54 w 136"/>
              <a:gd name="T37" fmla="*/ 210 h 239"/>
              <a:gd name="T38" fmla="*/ 54 w 136"/>
              <a:gd name="T39" fmla="*/ 225 h 239"/>
              <a:gd name="T40" fmla="*/ 68 w 136"/>
              <a:gd name="T41" fmla="*/ 239 h 239"/>
              <a:gd name="T42" fmla="*/ 81 w 136"/>
              <a:gd name="T43" fmla="*/ 225 h 239"/>
              <a:gd name="T44" fmla="*/ 81 w 136"/>
              <a:gd name="T45" fmla="*/ 210 h 239"/>
              <a:gd name="T46" fmla="*/ 106 w 136"/>
              <a:gd name="T47" fmla="*/ 203 h 239"/>
              <a:gd name="T48" fmla="*/ 134 w 136"/>
              <a:gd name="T49" fmla="*/ 156 h 239"/>
              <a:gd name="T50" fmla="*/ 30 w 136"/>
              <a:gd name="T51" fmla="*/ 80 h 239"/>
              <a:gd name="T52" fmla="*/ 36 w 136"/>
              <a:gd name="T53" fmla="*/ 66 h 239"/>
              <a:gd name="T54" fmla="*/ 54 w 136"/>
              <a:gd name="T55" fmla="*/ 60 h 239"/>
              <a:gd name="T56" fmla="*/ 54 w 136"/>
              <a:gd name="T57" fmla="*/ 100 h 239"/>
              <a:gd name="T58" fmla="*/ 30 w 136"/>
              <a:gd name="T59" fmla="*/ 80 h 239"/>
              <a:gd name="T60" fmla="*/ 94 w 136"/>
              <a:gd name="T61" fmla="*/ 178 h 239"/>
              <a:gd name="T62" fmla="*/ 81 w 136"/>
              <a:gd name="T63" fmla="*/ 182 h 239"/>
              <a:gd name="T64" fmla="*/ 81 w 136"/>
              <a:gd name="T65" fmla="*/ 134 h 239"/>
              <a:gd name="T66" fmla="*/ 107 w 136"/>
              <a:gd name="T67" fmla="*/ 157 h 239"/>
              <a:gd name="T68" fmla="*/ 94 w 136"/>
              <a:gd name="T69" fmla="*/ 17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239">
                <a:moveTo>
                  <a:pt x="134" y="156"/>
                </a:moveTo>
                <a:cubicBezTo>
                  <a:pt x="133" y="120"/>
                  <a:pt x="106" y="110"/>
                  <a:pt x="81" y="105"/>
                </a:cubicBezTo>
                <a:cubicBezTo>
                  <a:pt x="81" y="59"/>
                  <a:pt x="81" y="59"/>
                  <a:pt x="81" y="59"/>
                </a:cubicBezTo>
                <a:cubicBezTo>
                  <a:pt x="96" y="63"/>
                  <a:pt x="102" y="72"/>
                  <a:pt x="103" y="76"/>
                </a:cubicBezTo>
                <a:cubicBezTo>
                  <a:pt x="103" y="83"/>
                  <a:pt x="110" y="89"/>
                  <a:pt x="117" y="89"/>
                </a:cubicBezTo>
                <a:cubicBezTo>
                  <a:pt x="125" y="88"/>
                  <a:pt x="131" y="82"/>
                  <a:pt x="130" y="74"/>
                </a:cubicBezTo>
                <a:cubicBezTo>
                  <a:pt x="129" y="57"/>
                  <a:pt x="112" y="36"/>
                  <a:pt x="81" y="31"/>
                </a:cubicBezTo>
                <a:cubicBezTo>
                  <a:pt x="81" y="14"/>
                  <a:pt x="81" y="14"/>
                  <a:pt x="81" y="14"/>
                </a:cubicBezTo>
                <a:cubicBezTo>
                  <a:pt x="81" y="6"/>
                  <a:pt x="75" y="0"/>
                  <a:pt x="68" y="0"/>
                </a:cubicBezTo>
                <a:cubicBezTo>
                  <a:pt x="60" y="0"/>
                  <a:pt x="54" y="6"/>
                  <a:pt x="54" y="14"/>
                </a:cubicBezTo>
                <a:cubicBezTo>
                  <a:pt x="54" y="32"/>
                  <a:pt x="54" y="32"/>
                  <a:pt x="54" y="32"/>
                </a:cubicBezTo>
                <a:cubicBezTo>
                  <a:pt x="40" y="33"/>
                  <a:pt x="29" y="38"/>
                  <a:pt x="20" y="44"/>
                </a:cubicBezTo>
                <a:cubicBezTo>
                  <a:pt x="8" y="53"/>
                  <a:pt x="1" y="66"/>
                  <a:pt x="2" y="81"/>
                </a:cubicBezTo>
                <a:cubicBezTo>
                  <a:pt x="4" y="114"/>
                  <a:pt x="30" y="123"/>
                  <a:pt x="54" y="128"/>
                </a:cubicBezTo>
                <a:cubicBezTo>
                  <a:pt x="54" y="182"/>
                  <a:pt x="54" y="182"/>
                  <a:pt x="54" y="182"/>
                </a:cubicBezTo>
                <a:cubicBezTo>
                  <a:pt x="35" y="178"/>
                  <a:pt x="28" y="166"/>
                  <a:pt x="28" y="162"/>
                </a:cubicBezTo>
                <a:cubicBezTo>
                  <a:pt x="27" y="155"/>
                  <a:pt x="21" y="149"/>
                  <a:pt x="13" y="149"/>
                </a:cubicBezTo>
                <a:cubicBezTo>
                  <a:pt x="6" y="150"/>
                  <a:pt x="0" y="156"/>
                  <a:pt x="0" y="164"/>
                </a:cubicBezTo>
                <a:cubicBezTo>
                  <a:pt x="1" y="181"/>
                  <a:pt x="19" y="205"/>
                  <a:pt x="54" y="210"/>
                </a:cubicBezTo>
                <a:cubicBezTo>
                  <a:pt x="54" y="225"/>
                  <a:pt x="54" y="225"/>
                  <a:pt x="54" y="225"/>
                </a:cubicBezTo>
                <a:cubicBezTo>
                  <a:pt x="54" y="233"/>
                  <a:pt x="60" y="239"/>
                  <a:pt x="68" y="239"/>
                </a:cubicBezTo>
                <a:cubicBezTo>
                  <a:pt x="75" y="239"/>
                  <a:pt x="81" y="233"/>
                  <a:pt x="81" y="225"/>
                </a:cubicBezTo>
                <a:cubicBezTo>
                  <a:pt x="81" y="210"/>
                  <a:pt x="81" y="210"/>
                  <a:pt x="81" y="210"/>
                </a:cubicBezTo>
                <a:cubicBezTo>
                  <a:pt x="88" y="209"/>
                  <a:pt x="97" y="207"/>
                  <a:pt x="106" y="203"/>
                </a:cubicBezTo>
                <a:cubicBezTo>
                  <a:pt x="125" y="193"/>
                  <a:pt x="136" y="177"/>
                  <a:pt x="134" y="156"/>
                </a:cubicBezTo>
                <a:close/>
                <a:moveTo>
                  <a:pt x="30" y="80"/>
                </a:moveTo>
                <a:cubicBezTo>
                  <a:pt x="29" y="74"/>
                  <a:pt x="31" y="70"/>
                  <a:pt x="36" y="66"/>
                </a:cubicBezTo>
                <a:cubicBezTo>
                  <a:pt x="40" y="63"/>
                  <a:pt x="46" y="61"/>
                  <a:pt x="54" y="60"/>
                </a:cubicBezTo>
                <a:cubicBezTo>
                  <a:pt x="54" y="100"/>
                  <a:pt x="54" y="100"/>
                  <a:pt x="54" y="100"/>
                </a:cubicBezTo>
                <a:cubicBezTo>
                  <a:pt x="36" y="96"/>
                  <a:pt x="30" y="91"/>
                  <a:pt x="30" y="80"/>
                </a:cubicBezTo>
                <a:close/>
                <a:moveTo>
                  <a:pt x="94" y="178"/>
                </a:moveTo>
                <a:cubicBezTo>
                  <a:pt x="90" y="180"/>
                  <a:pt x="85" y="181"/>
                  <a:pt x="81" y="182"/>
                </a:cubicBezTo>
                <a:cubicBezTo>
                  <a:pt x="81" y="134"/>
                  <a:pt x="81" y="134"/>
                  <a:pt x="81" y="134"/>
                </a:cubicBezTo>
                <a:cubicBezTo>
                  <a:pt x="99" y="138"/>
                  <a:pt x="106" y="143"/>
                  <a:pt x="107" y="157"/>
                </a:cubicBezTo>
                <a:cubicBezTo>
                  <a:pt x="107" y="164"/>
                  <a:pt x="106" y="172"/>
                  <a:pt x="94" y="17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78" fontAlgn="auto">
              <a:spcBef>
                <a:spcPts val="0"/>
              </a:spcBef>
              <a:spcAft>
                <a:spcPts val="0"/>
              </a:spcAft>
              <a:defRPr/>
            </a:pPr>
            <a:endParaRPr lang="en-US">
              <a:solidFill>
                <a:srgbClr val="282828"/>
              </a:solidFill>
              <a:latin typeface="CiscoSansTT ExtraLight"/>
              <a:ea typeface="+mn-ea"/>
              <a:cs typeface="+mn-cs"/>
            </a:endParaRPr>
          </a:p>
        </p:txBody>
      </p:sp>
      <p:sp>
        <p:nvSpPr>
          <p:cNvPr id="103" name="Rounded Rectangle 102"/>
          <p:cNvSpPr>
            <a:spLocks/>
          </p:cNvSpPr>
          <p:nvPr/>
        </p:nvSpPr>
        <p:spPr bwMode="auto">
          <a:xfrm rot="5400000">
            <a:off x="6635151" y="2538068"/>
            <a:ext cx="320040" cy="4434840"/>
          </a:xfrm>
          <a:prstGeom prst="roundRect">
            <a:avLst>
              <a:gd name="adj" fmla="val 49999"/>
            </a:avLst>
          </a:prstGeom>
          <a:solidFill>
            <a:schemeClr val="accent4">
              <a:lumMod val="75000"/>
            </a:schemeClr>
          </a:solidFill>
          <a:ln>
            <a:noFill/>
          </a:ln>
        </p:spPr>
        <p:txBody>
          <a:bodyPr vert="horz" wrap="square" lIns="91428" tIns="45714" rIns="91428" bIns="45714" numCol="1" anchor="t" anchorCtr="0" compatLnSpc="1">
            <a:prstTxWarp prst="textNoShape">
              <a:avLst/>
            </a:prstTxWarp>
          </a:bodyPr>
          <a:lstStyle/>
          <a:p>
            <a:pPr defTabSz="342830" fontAlgn="auto">
              <a:spcBef>
                <a:spcPts val="0"/>
              </a:spcBef>
              <a:spcAft>
                <a:spcPts val="0"/>
              </a:spcAft>
              <a:defRPr/>
            </a:pPr>
            <a:endParaRPr lang="en-US" kern="0">
              <a:solidFill>
                <a:srgbClr val="005073"/>
              </a:solidFill>
              <a:latin typeface="CiscoSansTT ExtraLight"/>
              <a:ea typeface="+mn-ea"/>
              <a:cs typeface="+mn-cs"/>
            </a:endParaRPr>
          </a:p>
        </p:txBody>
      </p:sp>
      <p:sp>
        <p:nvSpPr>
          <p:cNvPr id="121" name="TextBox 120"/>
          <p:cNvSpPr txBox="1"/>
          <p:nvPr/>
        </p:nvSpPr>
        <p:spPr>
          <a:xfrm>
            <a:off x="1657217" y="4600838"/>
            <a:ext cx="1451038" cy="338554"/>
          </a:xfrm>
          <a:prstGeom prst="rect">
            <a:avLst/>
          </a:prstGeom>
          <a:noFill/>
        </p:spPr>
        <p:txBody>
          <a:bodyPr wrap="none" rtlCol="0">
            <a:spAutoFit/>
          </a:bodyPr>
          <a:lstStyle/>
          <a:p>
            <a:pPr defTabSz="457178" fontAlgn="auto">
              <a:spcBef>
                <a:spcPts val="0"/>
              </a:spcBef>
              <a:spcAft>
                <a:spcPts val="0"/>
              </a:spcAft>
              <a:defRPr/>
            </a:pPr>
            <a:r>
              <a:rPr lang="en-US" sz="800" dirty="0">
                <a:solidFill>
                  <a:srgbClr val="282828"/>
                </a:solidFill>
                <a:latin typeface="CiscoSansTT ExtraLight"/>
                <a:ea typeface="+mn-ea"/>
                <a:cs typeface="+mn-cs"/>
              </a:rPr>
              <a:t>Low Watt/Bit, Automation,</a:t>
            </a:r>
          </a:p>
          <a:p>
            <a:pPr defTabSz="457178" fontAlgn="auto">
              <a:spcBef>
                <a:spcPts val="0"/>
              </a:spcBef>
              <a:spcAft>
                <a:spcPts val="0"/>
              </a:spcAft>
              <a:defRPr/>
            </a:pPr>
            <a:r>
              <a:rPr lang="en-US" sz="800" dirty="0">
                <a:solidFill>
                  <a:srgbClr val="282828"/>
                </a:solidFill>
                <a:latin typeface="CiscoSansTT ExtraLight"/>
                <a:ea typeface="+mn-ea"/>
                <a:cs typeface="+mn-cs"/>
              </a:rPr>
              <a:t>ASR 9K </a:t>
            </a:r>
            <a:r>
              <a:rPr lang="mr-IN" sz="800" dirty="0">
                <a:solidFill>
                  <a:srgbClr val="282828"/>
                </a:solidFill>
                <a:latin typeface="CiscoSansTT ExtraLight"/>
                <a:ea typeface="+mn-ea"/>
                <a:cs typeface="+mn-cs"/>
              </a:rPr>
              <a:t>–</a:t>
            </a:r>
            <a:r>
              <a:rPr lang="en-US" sz="800" dirty="0">
                <a:solidFill>
                  <a:srgbClr val="282828"/>
                </a:solidFill>
                <a:latin typeface="CiscoSansTT ExtraLight"/>
                <a:ea typeface="+mn-ea"/>
                <a:cs typeface="+mn-cs"/>
              </a:rPr>
              <a:t> Swiss Army Knife</a:t>
            </a:r>
          </a:p>
        </p:txBody>
      </p:sp>
      <p:sp>
        <p:nvSpPr>
          <p:cNvPr id="122" name="TextBox 121"/>
          <p:cNvSpPr txBox="1"/>
          <p:nvPr/>
        </p:nvSpPr>
        <p:spPr>
          <a:xfrm>
            <a:off x="3160978" y="4604750"/>
            <a:ext cx="1435008" cy="338554"/>
          </a:xfrm>
          <a:prstGeom prst="rect">
            <a:avLst/>
          </a:prstGeom>
          <a:noFill/>
        </p:spPr>
        <p:txBody>
          <a:bodyPr wrap="none" rtlCol="0">
            <a:spAutoFit/>
          </a:bodyPr>
          <a:lstStyle/>
          <a:p>
            <a:pPr defTabSz="457178" fontAlgn="auto">
              <a:spcBef>
                <a:spcPts val="0"/>
              </a:spcBef>
              <a:spcAft>
                <a:spcPts val="0"/>
              </a:spcAft>
              <a:defRPr/>
            </a:pPr>
            <a:r>
              <a:rPr lang="en-US" sz="800" dirty="0">
                <a:solidFill>
                  <a:srgbClr val="282828"/>
                </a:solidFill>
                <a:latin typeface="CiscoSansTT ExtraLight"/>
                <a:ea typeface="+mn-ea"/>
                <a:cs typeface="+mn-cs"/>
              </a:rPr>
              <a:t>Trustworthy systems in XR,</a:t>
            </a:r>
          </a:p>
          <a:p>
            <a:pPr defTabSz="457178" fontAlgn="auto">
              <a:spcBef>
                <a:spcPts val="0"/>
              </a:spcBef>
              <a:spcAft>
                <a:spcPts val="0"/>
              </a:spcAft>
              <a:defRPr/>
            </a:pPr>
            <a:r>
              <a:rPr lang="en-US" sz="800" dirty="0" err="1">
                <a:solidFill>
                  <a:srgbClr val="282828"/>
                </a:solidFill>
                <a:latin typeface="CiscoSansTT ExtraLight"/>
                <a:ea typeface="+mn-ea"/>
                <a:cs typeface="+mn-cs"/>
              </a:rPr>
              <a:t>MacSec</a:t>
            </a:r>
            <a:r>
              <a:rPr lang="en-US" sz="800" dirty="0">
                <a:solidFill>
                  <a:srgbClr val="282828"/>
                </a:solidFill>
                <a:latin typeface="CiscoSansTT ExtraLight"/>
                <a:ea typeface="+mn-ea"/>
                <a:cs typeface="+mn-cs"/>
              </a:rPr>
              <a:t>, Anti-DDoS</a:t>
            </a:r>
          </a:p>
        </p:txBody>
      </p:sp>
      <p:sp>
        <p:nvSpPr>
          <p:cNvPr id="123" name="TextBox 122"/>
          <p:cNvSpPr txBox="1"/>
          <p:nvPr/>
        </p:nvSpPr>
        <p:spPr>
          <a:xfrm>
            <a:off x="4753758" y="4604340"/>
            <a:ext cx="1254647" cy="338554"/>
          </a:xfrm>
          <a:prstGeom prst="rect">
            <a:avLst/>
          </a:prstGeom>
          <a:noFill/>
        </p:spPr>
        <p:txBody>
          <a:bodyPr wrap="square" rtlCol="0">
            <a:spAutoFit/>
          </a:bodyPr>
          <a:lstStyle/>
          <a:p>
            <a:pPr defTabSz="457178" fontAlgn="auto">
              <a:spcBef>
                <a:spcPts val="0"/>
              </a:spcBef>
              <a:spcAft>
                <a:spcPts val="0"/>
              </a:spcAft>
              <a:defRPr/>
            </a:pPr>
            <a:r>
              <a:rPr lang="en-US" sz="800" dirty="0">
                <a:solidFill>
                  <a:srgbClr val="FFFFFF"/>
                </a:solidFill>
                <a:latin typeface="CiscoSansTT ExtraLight"/>
                <a:ea typeface="+mn-ea"/>
                <a:cs typeface="+mn-cs"/>
              </a:rPr>
              <a:t>All in one - Multiple services at scale</a:t>
            </a:r>
          </a:p>
        </p:txBody>
      </p:sp>
      <p:sp>
        <p:nvSpPr>
          <p:cNvPr id="124" name="TextBox 123"/>
          <p:cNvSpPr txBox="1"/>
          <p:nvPr/>
        </p:nvSpPr>
        <p:spPr>
          <a:xfrm>
            <a:off x="6060200" y="4606387"/>
            <a:ext cx="1561646" cy="338554"/>
          </a:xfrm>
          <a:prstGeom prst="rect">
            <a:avLst/>
          </a:prstGeom>
          <a:noFill/>
        </p:spPr>
        <p:txBody>
          <a:bodyPr wrap="none" rtlCol="0">
            <a:spAutoFit/>
          </a:bodyPr>
          <a:lstStyle/>
          <a:p>
            <a:pPr defTabSz="457178" fontAlgn="auto">
              <a:spcBef>
                <a:spcPts val="0"/>
              </a:spcBef>
              <a:spcAft>
                <a:spcPts val="0"/>
              </a:spcAft>
              <a:defRPr/>
            </a:pPr>
            <a:r>
              <a:rPr lang="en-US" sz="800" dirty="0">
                <a:solidFill>
                  <a:srgbClr val="FFFFFF"/>
                </a:solidFill>
                <a:latin typeface="CiscoSansTT ExtraLight"/>
                <a:ea typeface="+mn-ea"/>
                <a:cs typeface="+mn-cs"/>
              </a:rPr>
              <a:t>Simplified Control &amp; Transport</a:t>
            </a:r>
          </a:p>
          <a:p>
            <a:pPr defTabSz="457178" fontAlgn="auto">
              <a:spcBef>
                <a:spcPts val="0"/>
              </a:spcBef>
              <a:spcAft>
                <a:spcPts val="0"/>
              </a:spcAft>
              <a:defRPr/>
            </a:pPr>
            <a:r>
              <a:rPr lang="en-US" sz="800" dirty="0">
                <a:solidFill>
                  <a:srgbClr val="FFFFFF"/>
                </a:solidFill>
                <a:latin typeface="CiscoSansTT ExtraLight"/>
                <a:ea typeface="+mn-ea"/>
                <a:cs typeface="+mn-cs"/>
              </a:rPr>
              <a:t>Plane with SR/EVPN</a:t>
            </a:r>
          </a:p>
        </p:txBody>
      </p:sp>
      <p:sp>
        <p:nvSpPr>
          <p:cNvPr id="125" name="TextBox 124"/>
          <p:cNvSpPr txBox="1"/>
          <p:nvPr/>
        </p:nvSpPr>
        <p:spPr>
          <a:xfrm>
            <a:off x="7612938" y="4598395"/>
            <a:ext cx="1507372" cy="338554"/>
          </a:xfrm>
          <a:prstGeom prst="rect">
            <a:avLst/>
          </a:prstGeom>
          <a:noFill/>
        </p:spPr>
        <p:txBody>
          <a:bodyPr wrap="square" rtlCol="0">
            <a:spAutoFit/>
          </a:bodyPr>
          <a:lstStyle/>
          <a:p>
            <a:pPr defTabSz="457178" fontAlgn="auto">
              <a:spcBef>
                <a:spcPts val="0"/>
              </a:spcBef>
              <a:spcAft>
                <a:spcPts val="0"/>
              </a:spcAft>
              <a:defRPr/>
            </a:pPr>
            <a:r>
              <a:rPr lang="en-US" sz="800" dirty="0">
                <a:solidFill>
                  <a:srgbClr val="FFFFFF"/>
                </a:solidFill>
                <a:latin typeface="CiscoSansTT ExtraLight"/>
                <a:ea typeface="+mn-ea"/>
                <a:cs typeface="+mn-cs"/>
              </a:rPr>
              <a:t>On demand network SLA with SR-TE and Open API’s</a:t>
            </a:r>
          </a:p>
        </p:txBody>
      </p:sp>
      <p:sp>
        <p:nvSpPr>
          <p:cNvPr id="126" name="Merge 125"/>
          <p:cNvSpPr/>
          <p:nvPr/>
        </p:nvSpPr>
        <p:spPr>
          <a:xfrm>
            <a:off x="831088" y="4216871"/>
            <a:ext cx="203312" cy="182880"/>
          </a:xfrm>
          <a:prstGeom prst="flowChartMerg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2" name="TextBox 1"/>
          <p:cNvSpPr txBox="1"/>
          <p:nvPr/>
        </p:nvSpPr>
        <p:spPr>
          <a:xfrm>
            <a:off x="662286" y="3574696"/>
            <a:ext cx="633507" cy="276999"/>
          </a:xfrm>
          <a:prstGeom prst="rect">
            <a:avLst/>
          </a:prstGeom>
          <a:noFill/>
        </p:spPr>
        <p:txBody>
          <a:bodyPr wrap="none" rtlCol="0">
            <a:spAutoFit/>
          </a:bodyPr>
          <a:lstStyle/>
          <a:p>
            <a:pPr defTabSz="457178" fontAlgn="auto">
              <a:spcBef>
                <a:spcPts val="0"/>
              </a:spcBef>
              <a:spcAft>
                <a:spcPts val="0"/>
              </a:spcAft>
              <a:defRPr/>
            </a:pPr>
            <a:r>
              <a:rPr lang="en-US" sz="1200" dirty="0">
                <a:solidFill>
                  <a:srgbClr val="282828"/>
                </a:solidFill>
                <a:latin typeface="CiscoSansTT ExtraLight"/>
                <a:ea typeface="+mn-ea"/>
                <a:cs typeface="+mn-cs"/>
              </a:rPr>
              <a:t>Capex</a:t>
            </a:r>
          </a:p>
        </p:txBody>
      </p:sp>
      <p:sp>
        <p:nvSpPr>
          <p:cNvPr id="157" name="TextBox 156"/>
          <p:cNvSpPr txBox="1"/>
          <p:nvPr/>
        </p:nvSpPr>
        <p:spPr>
          <a:xfrm>
            <a:off x="2070787" y="3579841"/>
            <a:ext cx="556563" cy="276999"/>
          </a:xfrm>
          <a:prstGeom prst="rect">
            <a:avLst/>
          </a:prstGeom>
          <a:noFill/>
        </p:spPr>
        <p:txBody>
          <a:bodyPr wrap="none" rtlCol="0">
            <a:spAutoFit/>
          </a:bodyPr>
          <a:lstStyle/>
          <a:p>
            <a:pPr defTabSz="457178" fontAlgn="auto">
              <a:spcBef>
                <a:spcPts val="0"/>
              </a:spcBef>
              <a:spcAft>
                <a:spcPts val="0"/>
              </a:spcAft>
              <a:defRPr/>
            </a:pPr>
            <a:r>
              <a:rPr lang="en-US" sz="1200" dirty="0" err="1">
                <a:solidFill>
                  <a:srgbClr val="282828"/>
                </a:solidFill>
                <a:latin typeface="CiscoSansTT ExtraLight"/>
                <a:ea typeface="+mn-ea"/>
                <a:cs typeface="+mn-cs"/>
              </a:rPr>
              <a:t>Opex</a:t>
            </a:r>
            <a:endParaRPr lang="en-US" sz="1200" dirty="0">
              <a:solidFill>
                <a:srgbClr val="282828"/>
              </a:solidFill>
              <a:latin typeface="CiscoSansTT ExtraLight"/>
              <a:ea typeface="+mn-ea"/>
              <a:cs typeface="+mn-cs"/>
            </a:endParaRPr>
          </a:p>
        </p:txBody>
      </p:sp>
      <p:sp>
        <p:nvSpPr>
          <p:cNvPr id="158" name="TextBox 157"/>
          <p:cNvSpPr txBox="1"/>
          <p:nvPr/>
        </p:nvSpPr>
        <p:spPr>
          <a:xfrm>
            <a:off x="3427534" y="3574696"/>
            <a:ext cx="748923" cy="276999"/>
          </a:xfrm>
          <a:prstGeom prst="rect">
            <a:avLst/>
          </a:prstGeom>
          <a:noFill/>
        </p:spPr>
        <p:txBody>
          <a:bodyPr wrap="none" rtlCol="0">
            <a:spAutoFit/>
          </a:bodyPr>
          <a:lstStyle/>
          <a:p>
            <a:pPr defTabSz="457178" fontAlgn="auto">
              <a:spcBef>
                <a:spcPts val="0"/>
              </a:spcBef>
              <a:spcAft>
                <a:spcPts val="0"/>
              </a:spcAft>
              <a:defRPr/>
            </a:pPr>
            <a:r>
              <a:rPr lang="en-US" sz="1200">
                <a:solidFill>
                  <a:srgbClr val="282828"/>
                </a:solidFill>
                <a:latin typeface="CiscoSansTT ExtraLight"/>
                <a:ea typeface="+mn-ea"/>
                <a:cs typeface="+mn-cs"/>
              </a:rPr>
              <a:t>Security</a:t>
            </a:r>
            <a:endParaRPr lang="en-US" sz="1200" dirty="0">
              <a:solidFill>
                <a:srgbClr val="282828"/>
              </a:solidFill>
              <a:latin typeface="CiscoSansTT ExtraLight"/>
              <a:ea typeface="+mn-ea"/>
              <a:cs typeface="+mn-cs"/>
            </a:endParaRPr>
          </a:p>
        </p:txBody>
      </p:sp>
      <p:sp>
        <p:nvSpPr>
          <p:cNvPr id="159" name="TextBox 158"/>
          <p:cNvSpPr txBox="1"/>
          <p:nvPr/>
        </p:nvSpPr>
        <p:spPr>
          <a:xfrm>
            <a:off x="4863562" y="3579841"/>
            <a:ext cx="954107" cy="276999"/>
          </a:xfrm>
          <a:prstGeom prst="rect">
            <a:avLst/>
          </a:prstGeom>
          <a:noFill/>
        </p:spPr>
        <p:txBody>
          <a:bodyPr wrap="none" rtlCol="0">
            <a:spAutoFit/>
          </a:bodyPr>
          <a:lstStyle/>
          <a:p>
            <a:pPr defTabSz="457178" fontAlgn="auto">
              <a:spcBef>
                <a:spcPts val="0"/>
              </a:spcBef>
              <a:spcAft>
                <a:spcPts val="0"/>
              </a:spcAft>
              <a:defRPr/>
            </a:pPr>
            <a:r>
              <a:rPr lang="en-US" sz="1200" dirty="0">
                <a:solidFill>
                  <a:srgbClr val="282828"/>
                </a:solidFill>
                <a:latin typeface="CiscoSansTT ExtraLight"/>
                <a:ea typeface="+mn-ea"/>
                <a:cs typeface="+mn-cs"/>
              </a:rPr>
              <a:t>Converged</a:t>
            </a:r>
          </a:p>
        </p:txBody>
      </p:sp>
      <p:sp>
        <p:nvSpPr>
          <p:cNvPr id="160" name="TextBox 159"/>
          <p:cNvSpPr txBox="1"/>
          <p:nvPr/>
        </p:nvSpPr>
        <p:spPr>
          <a:xfrm>
            <a:off x="6190605" y="3584893"/>
            <a:ext cx="1228221" cy="276999"/>
          </a:xfrm>
          <a:prstGeom prst="rect">
            <a:avLst/>
          </a:prstGeom>
          <a:noFill/>
        </p:spPr>
        <p:txBody>
          <a:bodyPr wrap="none" rtlCol="0">
            <a:spAutoFit/>
          </a:bodyPr>
          <a:lstStyle/>
          <a:p>
            <a:pPr defTabSz="457178" fontAlgn="auto">
              <a:spcBef>
                <a:spcPts val="0"/>
              </a:spcBef>
              <a:spcAft>
                <a:spcPts val="0"/>
              </a:spcAft>
              <a:defRPr/>
            </a:pPr>
            <a:r>
              <a:rPr lang="en-US" sz="1200" dirty="0">
                <a:solidFill>
                  <a:srgbClr val="282828"/>
                </a:solidFill>
                <a:latin typeface="CiscoSansTT ExtraLight"/>
                <a:ea typeface="+mn-ea"/>
                <a:cs typeface="+mn-cs"/>
              </a:rPr>
              <a:t>Time </a:t>
            </a:r>
            <a:r>
              <a:rPr lang="en-US" sz="1200">
                <a:solidFill>
                  <a:srgbClr val="282828"/>
                </a:solidFill>
                <a:latin typeface="CiscoSansTT ExtraLight"/>
                <a:ea typeface="+mn-ea"/>
                <a:cs typeface="+mn-cs"/>
              </a:rPr>
              <a:t>to market</a:t>
            </a:r>
            <a:endParaRPr lang="en-US" sz="1200" dirty="0">
              <a:solidFill>
                <a:srgbClr val="282828"/>
              </a:solidFill>
              <a:latin typeface="CiscoSansTT ExtraLight"/>
              <a:ea typeface="+mn-ea"/>
              <a:cs typeface="+mn-cs"/>
            </a:endParaRPr>
          </a:p>
        </p:txBody>
      </p:sp>
      <p:sp>
        <p:nvSpPr>
          <p:cNvPr id="161" name="TextBox 160"/>
          <p:cNvSpPr txBox="1"/>
          <p:nvPr/>
        </p:nvSpPr>
        <p:spPr>
          <a:xfrm>
            <a:off x="7576656" y="3578419"/>
            <a:ext cx="1200970" cy="276999"/>
          </a:xfrm>
          <a:prstGeom prst="rect">
            <a:avLst/>
          </a:prstGeom>
          <a:noFill/>
        </p:spPr>
        <p:txBody>
          <a:bodyPr wrap="none" rtlCol="0">
            <a:spAutoFit/>
          </a:bodyPr>
          <a:lstStyle/>
          <a:p>
            <a:pPr defTabSz="457178" fontAlgn="auto">
              <a:spcBef>
                <a:spcPts val="0"/>
              </a:spcBef>
              <a:spcAft>
                <a:spcPts val="0"/>
              </a:spcAft>
              <a:defRPr/>
            </a:pPr>
            <a:r>
              <a:rPr lang="en-US" sz="1200" dirty="0">
                <a:solidFill>
                  <a:srgbClr val="282828"/>
                </a:solidFill>
                <a:latin typeface="CiscoSansTT ExtraLight"/>
                <a:ea typeface="+mn-ea"/>
                <a:cs typeface="+mn-cs"/>
              </a:rPr>
              <a:t>Programmable</a:t>
            </a:r>
          </a:p>
        </p:txBody>
      </p:sp>
      <p:sp>
        <p:nvSpPr>
          <p:cNvPr id="165" name="Oval 164"/>
          <p:cNvSpPr/>
          <p:nvPr/>
        </p:nvSpPr>
        <p:spPr>
          <a:xfrm>
            <a:off x="2087119" y="3845109"/>
            <a:ext cx="457200" cy="457200"/>
          </a:xfrm>
          <a:prstGeom prst="ellipse">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66" name="Rectangle 165"/>
          <p:cNvSpPr/>
          <p:nvPr/>
        </p:nvSpPr>
        <p:spPr>
          <a:xfrm>
            <a:off x="2292556" y="4305092"/>
            <a:ext cx="27432" cy="24981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67" name="Oval 166"/>
          <p:cNvSpPr>
            <a:spLocks noChangeAspect="1"/>
          </p:cNvSpPr>
          <p:nvPr/>
        </p:nvSpPr>
        <p:spPr>
          <a:xfrm>
            <a:off x="2238907" y="4523838"/>
            <a:ext cx="137160" cy="1371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69" name="Merge 168"/>
          <p:cNvSpPr/>
          <p:nvPr/>
        </p:nvSpPr>
        <p:spPr>
          <a:xfrm>
            <a:off x="2205439" y="4223123"/>
            <a:ext cx="203312" cy="182880"/>
          </a:xfrm>
          <a:prstGeom prst="flowChartMerg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70" name="Oval 169"/>
          <p:cNvSpPr/>
          <p:nvPr/>
        </p:nvSpPr>
        <p:spPr>
          <a:xfrm>
            <a:off x="3527071" y="3831185"/>
            <a:ext cx="457200" cy="457200"/>
          </a:xfrm>
          <a:prstGeom prst="ellipse">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71" name="Rectangle 170"/>
          <p:cNvSpPr/>
          <p:nvPr/>
        </p:nvSpPr>
        <p:spPr>
          <a:xfrm>
            <a:off x="3732508" y="4291166"/>
            <a:ext cx="27432" cy="24981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72" name="Oval 171"/>
          <p:cNvSpPr>
            <a:spLocks noChangeAspect="1"/>
          </p:cNvSpPr>
          <p:nvPr/>
        </p:nvSpPr>
        <p:spPr>
          <a:xfrm>
            <a:off x="3678859" y="4509914"/>
            <a:ext cx="137160" cy="1371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74" name="Merge 173"/>
          <p:cNvSpPr/>
          <p:nvPr/>
        </p:nvSpPr>
        <p:spPr>
          <a:xfrm>
            <a:off x="3645391" y="4209199"/>
            <a:ext cx="203312" cy="182880"/>
          </a:xfrm>
          <a:prstGeom prst="flowChartMerg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75" name="Oval 174"/>
          <p:cNvSpPr/>
          <p:nvPr/>
        </p:nvSpPr>
        <p:spPr>
          <a:xfrm>
            <a:off x="5123174" y="3841344"/>
            <a:ext cx="457200" cy="457200"/>
          </a:xfrm>
          <a:prstGeom prst="ellipse">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77" name="Rectangle 176"/>
          <p:cNvSpPr/>
          <p:nvPr/>
        </p:nvSpPr>
        <p:spPr>
          <a:xfrm>
            <a:off x="5328611" y="4301327"/>
            <a:ext cx="27432" cy="249819"/>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78" name="Oval 177"/>
          <p:cNvSpPr>
            <a:spLocks noChangeAspect="1"/>
          </p:cNvSpPr>
          <p:nvPr/>
        </p:nvSpPr>
        <p:spPr>
          <a:xfrm>
            <a:off x="5274962" y="4520073"/>
            <a:ext cx="137160" cy="13716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80" name="Merge 179"/>
          <p:cNvSpPr/>
          <p:nvPr/>
        </p:nvSpPr>
        <p:spPr>
          <a:xfrm>
            <a:off x="5241496" y="4219358"/>
            <a:ext cx="203312" cy="182880"/>
          </a:xfrm>
          <a:prstGeom prst="flowChartMerg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81" name="Oval 180"/>
          <p:cNvSpPr/>
          <p:nvPr/>
        </p:nvSpPr>
        <p:spPr>
          <a:xfrm>
            <a:off x="6526359" y="3833966"/>
            <a:ext cx="457200" cy="457200"/>
          </a:xfrm>
          <a:prstGeom prst="ellipse">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82" name="Rectangle 181"/>
          <p:cNvSpPr/>
          <p:nvPr/>
        </p:nvSpPr>
        <p:spPr>
          <a:xfrm>
            <a:off x="6731796" y="4293947"/>
            <a:ext cx="27432" cy="249819"/>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83" name="Oval 182"/>
          <p:cNvSpPr>
            <a:spLocks noChangeAspect="1"/>
          </p:cNvSpPr>
          <p:nvPr/>
        </p:nvSpPr>
        <p:spPr>
          <a:xfrm>
            <a:off x="6678147" y="4512695"/>
            <a:ext cx="137160" cy="13716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85" name="Merge 184"/>
          <p:cNvSpPr/>
          <p:nvPr/>
        </p:nvSpPr>
        <p:spPr>
          <a:xfrm>
            <a:off x="6644680" y="4211980"/>
            <a:ext cx="203312" cy="182880"/>
          </a:xfrm>
          <a:prstGeom prst="flowChartMerg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86" name="Oval 185"/>
          <p:cNvSpPr/>
          <p:nvPr/>
        </p:nvSpPr>
        <p:spPr>
          <a:xfrm>
            <a:off x="7838592" y="3844323"/>
            <a:ext cx="457200" cy="457200"/>
          </a:xfrm>
          <a:prstGeom prst="ellipse">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87" name="Rectangle 186"/>
          <p:cNvSpPr/>
          <p:nvPr/>
        </p:nvSpPr>
        <p:spPr>
          <a:xfrm>
            <a:off x="8044029" y="4304306"/>
            <a:ext cx="27432" cy="249819"/>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88" name="Oval 187"/>
          <p:cNvSpPr>
            <a:spLocks noChangeAspect="1"/>
          </p:cNvSpPr>
          <p:nvPr/>
        </p:nvSpPr>
        <p:spPr>
          <a:xfrm>
            <a:off x="7990380" y="4523052"/>
            <a:ext cx="137160" cy="13716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90" name="Merge 189"/>
          <p:cNvSpPr/>
          <p:nvPr/>
        </p:nvSpPr>
        <p:spPr>
          <a:xfrm>
            <a:off x="7956913" y="4222337"/>
            <a:ext cx="203312" cy="182880"/>
          </a:xfrm>
          <a:prstGeom prst="flowChartMerg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91" name="Freeform 93"/>
          <p:cNvSpPr>
            <a:spLocks noEditPoints="1"/>
          </p:cNvSpPr>
          <p:nvPr/>
        </p:nvSpPr>
        <p:spPr bwMode="auto">
          <a:xfrm>
            <a:off x="3635419" y="3935644"/>
            <a:ext cx="246888" cy="246888"/>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2"/>
          </a:solidFill>
          <a:ln>
            <a:noFill/>
          </a:ln>
          <a:effectLst/>
        </p:spPr>
        <p:txBody>
          <a:bodyPr vert="horz" wrap="square" lIns="91438" tIns="45719" rIns="91438" bIns="45719" numCol="1" anchor="t" anchorCtr="0" compatLnSpc="1">
            <a:prstTxWarp prst="textNoShape">
              <a:avLst/>
            </a:prstTxWarp>
          </a:bodyPr>
          <a:lstStyle/>
          <a:p>
            <a:pPr defTabSz="457076" fontAlgn="auto">
              <a:spcBef>
                <a:spcPts val="0"/>
              </a:spcBef>
              <a:spcAft>
                <a:spcPts val="0"/>
              </a:spcAft>
              <a:defRPr/>
            </a:pPr>
            <a:endParaRPr lang="en-US" dirty="0">
              <a:solidFill>
                <a:srgbClr val="676767"/>
              </a:solidFill>
              <a:latin typeface="CiscoSansTT ExtraLight"/>
              <a:ea typeface="+mn-ea"/>
              <a:cs typeface="+mn-cs"/>
            </a:endParaRPr>
          </a:p>
        </p:txBody>
      </p:sp>
      <p:sp>
        <p:nvSpPr>
          <p:cNvPr id="131" name="Freeform 561"/>
          <p:cNvSpPr>
            <a:spLocks noChangeAspect="1" noEditPoints="1"/>
          </p:cNvSpPr>
          <p:nvPr/>
        </p:nvSpPr>
        <p:spPr bwMode="auto">
          <a:xfrm>
            <a:off x="2227657" y="3933606"/>
            <a:ext cx="173330" cy="285360"/>
          </a:xfrm>
          <a:custGeom>
            <a:avLst/>
            <a:gdLst>
              <a:gd name="T0" fmla="*/ 134 w 136"/>
              <a:gd name="T1" fmla="*/ 156 h 239"/>
              <a:gd name="T2" fmla="*/ 81 w 136"/>
              <a:gd name="T3" fmla="*/ 105 h 239"/>
              <a:gd name="T4" fmla="*/ 81 w 136"/>
              <a:gd name="T5" fmla="*/ 59 h 239"/>
              <a:gd name="T6" fmla="*/ 103 w 136"/>
              <a:gd name="T7" fmla="*/ 76 h 239"/>
              <a:gd name="T8" fmla="*/ 117 w 136"/>
              <a:gd name="T9" fmla="*/ 89 h 239"/>
              <a:gd name="T10" fmla="*/ 130 w 136"/>
              <a:gd name="T11" fmla="*/ 74 h 239"/>
              <a:gd name="T12" fmla="*/ 81 w 136"/>
              <a:gd name="T13" fmla="*/ 31 h 239"/>
              <a:gd name="T14" fmla="*/ 81 w 136"/>
              <a:gd name="T15" fmla="*/ 14 h 239"/>
              <a:gd name="T16" fmla="*/ 68 w 136"/>
              <a:gd name="T17" fmla="*/ 0 h 239"/>
              <a:gd name="T18" fmla="*/ 54 w 136"/>
              <a:gd name="T19" fmla="*/ 14 h 239"/>
              <a:gd name="T20" fmla="*/ 54 w 136"/>
              <a:gd name="T21" fmla="*/ 32 h 239"/>
              <a:gd name="T22" fmla="*/ 20 w 136"/>
              <a:gd name="T23" fmla="*/ 44 h 239"/>
              <a:gd name="T24" fmla="*/ 2 w 136"/>
              <a:gd name="T25" fmla="*/ 81 h 239"/>
              <a:gd name="T26" fmla="*/ 54 w 136"/>
              <a:gd name="T27" fmla="*/ 128 h 239"/>
              <a:gd name="T28" fmla="*/ 54 w 136"/>
              <a:gd name="T29" fmla="*/ 182 h 239"/>
              <a:gd name="T30" fmla="*/ 28 w 136"/>
              <a:gd name="T31" fmla="*/ 162 h 239"/>
              <a:gd name="T32" fmla="*/ 13 w 136"/>
              <a:gd name="T33" fmla="*/ 149 h 239"/>
              <a:gd name="T34" fmla="*/ 0 w 136"/>
              <a:gd name="T35" fmla="*/ 164 h 239"/>
              <a:gd name="T36" fmla="*/ 54 w 136"/>
              <a:gd name="T37" fmla="*/ 210 h 239"/>
              <a:gd name="T38" fmla="*/ 54 w 136"/>
              <a:gd name="T39" fmla="*/ 225 h 239"/>
              <a:gd name="T40" fmla="*/ 68 w 136"/>
              <a:gd name="T41" fmla="*/ 239 h 239"/>
              <a:gd name="T42" fmla="*/ 81 w 136"/>
              <a:gd name="T43" fmla="*/ 225 h 239"/>
              <a:gd name="T44" fmla="*/ 81 w 136"/>
              <a:gd name="T45" fmla="*/ 210 h 239"/>
              <a:gd name="T46" fmla="*/ 106 w 136"/>
              <a:gd name="T47" fmla="*/ 203 h 239"/>
              <a:gd name="T48" fmla="*/ 134 w 136"/>
              <a:gd name="T49" fmla="*/ 156 h 239"/>
              <a:gd name="T50" fmla="*/ 30 w 136"/>
              <a:gd name="T51" fmla="*/ 80 h 239"/>
              <a:gd name="T52" fmla="*/ 36 w 136"/>
              <a:gd name="T53" fmla="*/ 66 h 239"/>
              <a:gd name="T54" fmla="*/ 54 w 136"/>
              <a:gd name="T55" fmla="*/ 60 h 239"/>
              <a:gd name="T56" fmla="*/ 54 w 136"/>
              <a:gd name="T57" fmla="*/ 100 h 239"/>
              <a:gd name="T58" fmla="*/ 30 w 136"/>
              <a:gd name="T59" fmla="*/ 80 h 239"/>
              <a:gd name="T60" fmla="*/ 94 w 136"/>
              <a:gd name="T61" fmla="*/ 178 h 239"/>
              <a:gd name="T62" fmla="*/ 81 w 136"/>
              <a:gd name="T63" fmla="*/ 182 h 239"/>
              <a:gd name="T64" fmla="*/ 81 w 136"/>
              <a:gd name="T65" fmla="*/ 134 h 239"/>
              <a:gd name="T66" fmla="*/ 107 w 136"/>
              <a:gd name="T67" fmla="*/ 157 h 239"/>
              <a:gd name="T68" fmla="*/ 94 w 136"/>
              <a:gd name="T69" fmla="*/ 17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239">
                <a:moveTo>
                  <a:pt x="134" y="156"/>
                </a:moveTo>
                <a:cubicBezTo>
                  <a:pt x="133" y="120"/>
                  <a:pt x="106" y="110"/>
                  <a:pt x="81" y="105"/>
                </a:cubicBezTo>
                <a:cubicBezTo>
                  <a:pt x="81" y="59"/>
                  <a:pt x="81" y="59"/>
                  <a:pt x="81" y="59"/>
                </a:cubicBezTo>
                <a:cubicBezTo>
                  <a:pt x="96" y="63"/>
                  <a:pt x="102" y="72"/>
                  <a:pt x="103" y="76"/>
                </a:cubicBezTo>
                <a:cubicBezTo>
                  <a:pt x="103" y="83"/>
                  <a:pt x="110" y="89"/>
                  <a:pt x="117" y="89"/>
                </a:cubicBezTo>
                <a:cubicBezTo>
                  <a:pt x="125" y="88"/>
                  <a:pt x="131" y="82"/>
                  <a:pt x="130" y="74"/>
                </a:cubicBezTo>
                <a:cubicBezTo>
                  <a:pt x="129" y="57"/>
                  <a:pt x="112" y="36"/>
                  <a:pt x="81" y="31"/>
                </a:cubicBezTo>
                <a:cubicBezTo>
                  <a:pt x="81" y="14"/>
                  <a:pt x="81" y="14"/>
                  <a:pt x="81" y="14"/>
                </a:cubicBezTo>
                <a:cubicBezTo>
                  <a:pt x="81" y="6"/>
                  <a:pt x="75" y="0"/>
                  <a:pt x="68" y="0"/>
                </a:cubicBezTo>
                <a:cubicBezTo>
                  <a:pt x="60" y="0"/>
                  <a:pt x="54" y="6"/>
                  <a:pt x="54" y="14"/>
                </a:cubicBezTo>
                <a:cubicBezTo>
                  <a:pt x="54" y="32"/>
                  <a:pt x="54" y="32"/>
                  <a:pt x="54" y="32"/>
                </a:cubicBezTo>
                <a:cubicBezTo>
                  <a:pt x="40" y="33"/>
                  <a:pt x="29" y="38"/>
                  <a:pt x="20" y="44"/>
                </a:cubicBezTo>
                <a:cubicBezTo>
                  <a:pt x="8" y="53"/>
                  <a:pt x="1" y="66"/>
                  <a:pt x="2" y="81"/>
                </a:cubicBezTo>
                <a:cubicBezTo>
                  <a:pt x="4" y="114"/>
                  <a:pt x="30" y="123"/>
                  <a:pt x="54" y="128"/>
                </a:cubicBezTo>
                <a:cubicBezTo>
                  <a:pt x="54" y="182"/>
                  <a:pt x="54" y="182"/>
                  <a:pt x="54" y="182"/>
                </a:cubicBezTo>
                <a:cubicBezTo>
                  <a:pt x="35" y="178"/>
                  <a:pt x="28" y="166"/>
                  <a:pt x="28" y="162"/>
                </a:cubicBezTo>
                <a:cubicBezTo>
                  <a:pt x="27" y="155"/>
                  <a:pt x="21" y="149"/>
                  <a:pt x="13" y="149"/>
                </a:cubicBezTo>
                <a:cubicBezTo>
                  <a:pt x="6" y="150"/>
                  <a:pt x="0" y="156"/>
                  <a:pt x="0" y="164"/>
                </a:cubicBezTo>
                <a:cubicBezTo>
                  <a:pt x="1" y="181"/>
                  <a:pt x="19" y="205"/>
                  <a:pt x="54" y="210"/>
                </a:cubicBezTo>
                <a:cubicBezTo>
                  <a:pt x="54" y="225"/>
                  <a:pt x="54" y="225"/>
                  <a:pt x="54" y="225"/>
                </a:cubicBezTo>
                <a:cubicBezTo>
                  <a:pt x="54" y="233"/>
                  <a:pt x="60" y="239"/>
                  <a:pt x="68" y="239"/>
                </a:cubicBezTo>
                <a:cubicBezTo>
                  <a:pt x="75" y="239"/>
                  <a:pt x="81" y="233"/>
                  <a:pt x="81" y="225"/>
                </a:cubicBezTo>
                <a:cubicBezTo>
                  <a:pt x="81" y="210"/>
                  <a:pt x="81" y="210"/>
                  <a:pt x="81" y="210"/>
                </a:cubicBezTo>
                <a:cubicBezTo>
                  <a:pt x="88" y="209"/>
                  <a:pt x="97" y="207"/>
                  <a:pt x="106" y="203"/>
                </a:cubicBezTo>
                <a:cubicBezTo>
                  <a:pt x="125" y="193"/>
                  <a:pt x="136" y="177"/>
                  <a:pt x="134" y="156"/>
                </a:cubicBezTo>
                <a:close/>
                <a:moveTo>
                  <a:pt x="30" y="80"/>
                </a:moveTo>
                <a:cubicBezTo>
                  <a:pt x="29" y="74"/>
                  <a:pt x="31" y="70"/>
                  <a:pt x="36" y="66"/>
                </a:cubicBezTo>
                <a:cubicBezTo>
                  <a:pt x="40" y="63"/>
                  <a:pt x="46" y="61"/>
                  <a:pt x="54" y="60"/>
                </a:cubicBezTo>
                <a:cubicBezTo>
                  <a:pt x="54" y="100"/>
                  <a:pt x="54" y="100"/>
                  <a:pt x="54" y="100"/>
                </a:cubicBezTo>
                <a:cubicBezTo>
                  <a:pt x="36" y="96"/>
                  <a:pt x="30" y="91"/>
                  <a:pt x="30" y="80"/>
                </a:cubicBezTo>
                <a:close/>
                <a:moveTo>
                  <a:pt x="94" y="178"/>
                </a:moveTo>
                <a:cubicBezTo>
                  <a:pt x="90" y="180"/>
                  <a:pt x="85" y="181"/>
                  <a:pt x="81" y="182"/>
                </a:cubicBezTo>
                <a:cubicBezTo>
                  <a:pt x="81" y="134"/>
                  <a:pt x="81" y="134"/>
                  <a:pt x="81" y="134"/>
                </a:cubicBezTo>
                <a:cubicBezTo>
                  <a:pt x="99" y="138"/>
                  <a:pt x="106" y="143"/>
                  <a:pt x="107" y="157"/>
                </a:cubicBezTo>
                <a:cubicBezTo>
                  <a:pt x="107" y="164"/>
                  <a:pt x="106" y="172"/>
                  <a:pt x="94" y="17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457178" fontAlgn="auto">
              <a:spcBef>
                <a:spcPts val="0"/>
              </a:spcBef>
              <a:spcAft>
                <a:spcPts val="0"/>
              </a:spcAft>
              <a:defRPr/>
            </a:pPr>
            <a:endParaRPr lang="en-US">
              <a:solidFill>
                <a:srgbClr val="282828"/>
              </a:solidFill>
              <a:latin typeface="CiscoSansTT ExtraLight"/>
              <a:ea typeface="+mn-ea"/>
              <a:cs typeface="+mn-cs"/>
            </a:endParaRPr>
          </a:p>
        </p:txBody>
      </p:sp>
      <p:pic>
        <p:nvPicPr>
          <p:cNvPr id="162" name="Picture 161"/>
          <p:cNvPicPr>
            <a:picLocks noChangeAspect="1"/>
          </p:cNvPicPr>
          <p:nvPr/>
        </p:nvPicPr>
        <p:blipFill>
          <a:blip r:embed="rId5" cstate="email">
            <a:duotone>
              <a:schemeClr val="bg2">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6572424" y="3872204"/>
            <a:ext cx="365760" cy="365760"/>
          </a:xfrm>
          <a:prstGeom prst="rect">
            <a:avLst/>
          </a:prstGeom>
        </p:spPr>
      </p:pic>
      <p:pic>
        <p:nvPicPr>
          <p:cNvPr id="164" name="Picture 163"/>
          <p:cNvPicPr>
            <a:picLocks noChangeAspect="1"/>
          </p:cNvPicPr>
          <p:nvPr/>
        </p:nvPicPr>
        <p:blipFill>
          <a:blip r:embed="rId7" cstate="email">
            <a:duotone>
              <a:schemeClr val="bg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7914067" y="3919660"/>
            <a:ext cx="320040" cy="320040"/>
          </a:xfrm>
          <a:prstGeom prst="rect">
            <a:avLst/>
          </a:prstGeom>
          <a:solidFill>
            <a:schemeClr val="accent2"/>
          </a:solidFill>
          <a:ln>
            <a:noFill/>
          </a:ln>
        </p:spPr>
      </p:pic>
      <p:sp>
        <p:nvSpPr>
          <p:cNvPr id="3" name="Rounded Rectangle 2"/>
          <p:cNvSpPr/>
          <p:nvPr/>
        </p:nvSpPr>
        <p:spPr>
          <a:xfrm>
            <a:off x="5231195" y="3935713"/>
            <a:ext cx="68205" cy="290059"/>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92" name="Rounded Rectangle 191"/>
          <p:cNvSpPr/>
          <p:nvPr/>
        </p:nvSpPr>
        <p:spPr>
          <a:xfrm>
            <a:off x="5258858" y="3951199"/>
            <a:ext cx="13494" cy="198114"/>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8" name="Oval 7"/>
          <p:cNvSpPr>
            <a:spLocks noChangeAspect="1"/>
          </p:cNvSpPr>
          <p:nvPr/>
        </p:nvSpPr>
        <p:spPr>
          <a:xfrm>
            <a:off x="5253376" y="4177571"/>
            <a:ext cx="27432" cy="21633"/>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93" name="Rounded Rectangle 192"/>
          <p:cNvSpPr/>
          <p:nvPr/>
        </p:nvSpPr>
        <p:spPr>
          <a:xfrm>
            <a:off x="5314880" y="3937558"/>
            <a:ext cx="68205" cy="290059"/>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94" name="Rounded Rectangle 193"/>
          <p:cNvSpPr/>
          <p:nvPr/>
        </p:nvSpPr>
        <p:spPr>
          <a:xfrm>
            <a:off x="5342543" y="3953044"/>
            <a:ext cx="13494" cy="198114"/>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95" name="Oval 194"/>
          <p:cNvSpPr>
            <a:spLocks noChangeAspect="1"/>
          </p:cNvSpPr>
          <p:nvPr/>
        </p:nvSpPr>
        <p:spPr>
          <a:xfrm>
            <a:off x="5337061" y="4179416"/>
            <a:ext cx="27432" cy="21633"/>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99" name="Rounded Rectangle 198"/>
          <p:cNvSpPr/>
          <p:nvPr/>
        </p:nvSpPr>
        <p:spPr>
          <a:xfrm>
            <a:off x="5401967" y="3935999"/>
            <a:ext cx="68205" cy="290059"/>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202" name="Rounded Rectangle 201"/>
          <p:cNvSpPr/>
          <p:nvPr/>
        </p:nvSpPr>
        <p:spPr>
          <a:xfrm>
            <a:off x="5429632" y="3951485"/>
            <a:ext cx="13494" cy="198114"/>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205" name="Oval 204"/>
          <p:cNvSpPr>
            <a:spLocks noChangeAspect="1"/>
          </p:cNvSpPr>
          <p:nvPr/>
        </p:nvSpPr>
        <p:spPr>
          <a:xfrm>
            <a:off x="5424150" y="4177856"/>
            <a:ext cx="27432" cy="21633"/>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39" name="Rectangle 138"/>
          <p:cNvSpPr/>
          <p:nvPr/>
        </p:nvSpPr>
        <p:spPr>
          <a:xfrm>
            <a:off x="599046" y="1783823"/>
            <a:ext cx="118872" cy="390849"/>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40" name="Oval 139"/>
          <p:cNvSpPr/>
          <p:nvPr/>
        </p:nvSpPr>
        <p:spPr>
          <a:xfrm>
            <a:off x="179704" y="1782438"/>
            <a:ext cx="475616" cy="384048"/>
          </a:xfrm>
          <a:prstGeom prst="ellipse">
            <a:avLst/>
          </a:prstGeom>
          <a:solidFill>
            <a:schemeClr val="bg2"/>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78" fontAlgn="auto">
              <a:spcBef>
                <a:spcPts val="0"/>
              </a:spcBef>
              <a:spcAft>
                <a:spcPts val="0"/>
              </a:spcAft>
              <a:defRPr/>
            </a:pPr>
            <a:endParaRPr lang="en-US" sz="600" dirty="0">
              <a:solidFill>
                <a:srgbClr val="282828">
                  <a:lumMod val="75000"/>
                </a:srgbClr>
              </a:solidFill>
              <a:latin typeface="CiscoSansTT ExtraLight"/>
            </a:endParaRPr>
          </a:p>
        </p:txBody>
      </p:sp>
      <p:sp>
        <p:nvSpPr>
          <p:cNvPr id="141" name="Triangle 140"/>
          <p:cNvSpPr/>
          <p:nvPr/>
        </p:nvSpPr>
        <p:spPr>
          <a:xfrm rot="5400000">
            <a:off x="782750" y="1718775"/>
            <a:ext cx="390849" cy="523267"/>
          </a:xfrm>
          <a:prstGeom prst="triangle">
            <a:avLst>
              <a:gd name="adj" fmla="val 5697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42" name="Rectangle 141"/>
          <p:cNvSpPr/>
          <p:nvPr/>
        </p:nvSpPr>
        <p:spPr>
          <a:xfrm flipH="1">
            <a:off x="944194" y="1679338"/>
            <a:ext cx="374492" cy="608777"/>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sp>
        <p:nvSpPr>
          <p:cNvPr id="143" name="Rectangle 142"/>
          <p:cNvSpPr/>
          <p:nvPr/>
        </p:nvSpPr>
        <p:spPr>
          <a:xfrm>
            <a:off x="942853" y="1882938"/>
            <a:ext cx="80480" cy="220624"/>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cxnSp>
        <p:nvCxnSpPr>
          <p:cNvPr id="144" name="Straight Arrow Connector 143"/>
          <p:cNvCxnSpPr/>
          <p:nvPr/>
        </p:nvCxnSpPr>
        <p:spPr>
          <a:xfrm>
            <a:off x="674373" y="1979247"/>
            <a:ext cx="274320" cy="0"/>
          </a:xfrm>
          <a:prstGeom prst="straightConnector1">
            <a:avLst/>
          </a:prstGeom>
          <a:ln>
            <a:solidFill>
              <a:schemeClr val="bg2"/>
            </a:solidFill>
            <a:headEnd w="sm" len="sm"/>
            <a:tailEnd type="triangle" w="sm" len="med"/>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flipV="1">
            <a:off x="687081" y="2036796"/>
            <a:ext cx="264480" cy="107086"/>
          </a:xfrm>
          <a:prstGeom prst="straightConnector1">
            <a:avLst/>
          </a:prstGeom>
          <a:ln>
            <a:solidFill>
              <a:schemeClr val="bg2"/>
            </a:solidFill>
            <a:headEnd w="sm" len="sm"/>
            <a:tailEnd type="triangle" w="sm" len="med"/>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p:nvPr/>
        </p:nvCxnSpPr>
        <p:spPr>
          <a:xfrm>
            <a:off x="675902" y="1818658"/>
            <a:ext cx="285855" cy="112694"/>
          </a:xfrm>
          <a:prstGeom prst="straightConnector1">
            <a:avLst/>
          </a:prstGeom>
          <a:ln>
            <a:solidFill>
              <a:schemeClr val="bg2"/>
            </a:solidFill>
            <a:headEnd w="sm" len="sm"/>
            <a:tailEnd type="triangle" w="sm" len="med"/>
          </a:ln>
        </p:spPr>
        <p:style>
          <a:lnRef idx="1">
            <a:schemeClr val="accent1"/>
          </a:lnRef>
          <a:fillRef idx="0">
            <a:schemeClr val="accent1"/>
          </a:fillRef>
          <a:effectRef idx="0">
            <a:schemeClr val="accent1"/>
          </a:effectRef>
          <a:fontRef idx="minor">
            <a:schemeClr val="tx1"/>
          </a:fontRef>
        </p:style>
      </p:cxnSp>
      <p:sp>
        <p:nvSpPr>
          <p:cNvPr id="147" name="TextBox 146"/>
          <p:cNvSpPr txBox="1"/>
          <p:nvPr/>
        </p:nvSpPr>
        <p:spPr>
          <a:xfrm>
            <a:off x="164163" y="1855475"/>
            <a:ext cx="530915" cy="215444"/>
          </a:xfrm>
          <a:prstGeom prst="rect">
            <a:avLst/>
          </a:prstGeom>
          <a:noFill/>
        </p:spPr>
        <p:txBody>
          <a:bodyPr wrap="none" rtlCol="0">
            <a:spAutoFit/>
          </a:bodyPr>
          <a:lstStyle/>
          <a:p>
            <a:pPr defTabSz="457178" fontAlgn="auto">
              <a:spcBef>
                <a:spcPts val="0"/>
              </a:spcBef>
              <a:spcAft>
                <a:spcPts val="0"/>
              </a:spcAft>
              <a:defRPr/>
            </a:pPr>
            <a:r>
              <a:rPr lang="en-US" sz="800" dirty="0">
                <a:solidFill>
                  <a:srgbClr val="282828"/>
                </a:solidFill>
                <a:latin typeface="CiscoSansTT ExtraLight"/>
                <a:ea typeface="+mn-ea"/>
                <a:cs typeface="+mn-cs"/>
              </a:rPr>
              <a:t>DSLAM</a:t>
            </a:r>
          </a:p>
        </p:txBody>
      </p:sp>
      <p:cxnSp>
        <p:nvCxnSpPr>
          <p:cNvPr id="44" name="Straight Connector 43"/>
          <p:cNvCxnSpPr/>
          <p:nvPr/>
        </p:nvCxnSpPr>
        <p:spPr>
          <a:xfrm>
            <a:off x="1023332" y="2265191"/>
            <a:ext cx="255606" cy="17344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49" name="Group 32"/>
          <p:cNvGrpSpPr>
            <a:grpSpLocks noChangeAspect="1"/>
          </p:cNvGrpSpPr>
          <p:nvPr/>
        </p:nvGrpSpPr>
        <p:grpSpPr bwMode="auto">
          <a:xfrm>
            <a:off x="606285" y="2970994"/>
            <a:ext cx="415828" cy="418058"/>
            <a:chOff x="5103" y="1265"/>
            <a:chExt cx="391" cy="393"/>
          </a:xfrm>
          <a:solidFill>
            <a:schemeClr val="accent4"/>
          </a:solidFill>
        </p:grpSpPr>
        <p:sp>
          <p:nvSpPr>
            <p:cNvPr id="150" name="Freeform 33"/>
            <p:cNvSpPr>
              <a:spLocks noEditPoints="1"/>
            </p:cNvSpPr>
            <p:nvPr/>
          </p:nvSpPr>
          <p:spPr bwMode="auto">
            <a:xfrm>
              <a:off x="5166" y="1446"/>
              <a:ext cx="265" cy="212"/>
            </a:xfrm>
            <a:custGeom>
              <a:avLst/>
              <a:gdLst>
                <a:gd name="T0" fmla="*/ 104 w 434"/>
                <a:gd name="T1" fmla="*/ 253 h 347"/>
                <a:gd name="T2" fmla="*/ 104 w 434"/>
                <a:gd name="T3" fmla="*/ 253 h 347"/>
                <a:gd name="T4" fmla="*/ 130 w 434"/>
                <a:gd name="T5" fmla="*/ 213 h 347"/>
                <a:gd name="T6" fmla="*/ 304 w 434"/>
                <a:gd name="T7" fmla="*/ 213 h 347"/>
                <a:gd name="T8" fmla="*/ 330 w 434"/>
                <a:gd name="T9" fmla="*/ 253 h 347"/>
                <a:gd name="T10" fmla="*/ 104 w 434"/>
                <a:gd name="T11" fmla="*/ 253 h 347"/>
                <a:gd name="T12" fmla="*/ 104 w 434"/>
                <a:gd name="T13" fmla="*/ 253 h 347"/>
                <a:gd name="T14" fmla="*/ 217 w 434"/>
                <a:gd name="T15" fmla="*/ 76 h 347"/>
                <a:gd name="T16" fmla="*/ 217 w 434"/>
                <a:gd name="T17" fmla="*/ 76 h 347"/>
                <a:gd name="T18" fmla="*/ 270 w 434"/>
                <a:gd name="T19" fmla="*/ 160 h 347"/>
                <a:gd name="T20" fmla="*/ 164 w 434"/>
                <a:gd name="T21" fmla="*/ 160 h 347"/>
                <a:gd name="T22" fmla="*/ 217 w 434"/>
                <a:gd name="T23" fmla="*/ 76 h 347"/>
                <a:gd name="T24" fmla="*/ 217 w 434"/>
                <a:gd name="T25" fmla="*/ 76 h 347"/>
                <a:gd name="T26" fmla="*/ 239 w 434"/>
                <a:gd name="T27" fmla="*/ 12 h 347"/>
                <a:gd name="T28" fmla="*/ 239 w 434"/>
                <a:gd name="T29" fmla="*/ 12 h 347"/>
                <a:gd name="T30" fmla="*/ 239 w 434"/>
                <a:gd name="T31" fmla="*/ 12 h 347"/>
                <a:gd name="T32" fmla="*/ 237 w 434"/>
                <a:gd name="T33" fmla="*/ 9 h 347"/>
                <a:gd name="T34" fmla="*/ 236 w 434"/>
                <a:gd name="T35" fmla="*/ 8 h 347"/>
                <a:gd name="T36" fmla="*/ 234 w 434"/>
                <a:gd name="T37" fmla="*/ 6 h 347"/>
                <a:gd name="T38" fmla="*/ 232 w 434"/>
                <a:gd name="T39" fmla="*/ 4 h 347"/>
                <a:gd name="T40" fmla="*/ 231 w 434"/>
                <a:gd name="T41" fmla="*/ 4 h 347"/>
                <a:gd name="T42" fmla="*/ 230 w 434"/>
                <a:gd name="T43" fmla="*/ 3 h 347"/>
                <a:gd name="T44" fmla="*/ 227 w 434"/>
                <a:gd name="T45" fmla="*/ 2 h 347"/>
                <a:gd name="T46" fmla="*/ 225 w 434"/>
                <a:gd name="T47" fmla="*/ 1 h 347"/>
                <a:gd name="T48" fmla="*/ 222 w 434"/>
                <a:gd name="T49" fmla="*/ 0 h 347"/>
                <a:gd name="T50" fmla="*/ 219 w 434"/>
                <a:gd name="T51" fmla="*/ 0 h 347"/>
                <a:gd name="T52" fmla="*/ 217 w 434"/>
                <a:gd name="T53" fmla="*/ 0 h 347"/>
                <a:gd name="T54" fmla="*/ 214 w 434"/>
                <a:gd name="T55" fmla="*/ 0 h 347"/>
                <a:gd name="T56" fmla="*/ 212 w 434"/>
                <a:gd name="T57" fmla="*/ 0 h 347"/>
                <a:gd name="T58" fmla="*/ 209 w 434"/>
                <a:gd name="T59" fmla="*/ 1 h 347"/>
                <a:gd name="T60" fmla="*/ 207 w 434"/>
                <a:gd name="T61" fmla="*/ 2 h 347"/>
                <a:gd name="T62" fmla="*/ 204 w 434"/>
                <a:gd name="T63" fmla="*/ 3 h 347"/>
                <a:gd name="T64" fmla="*/ 203 w 434"/>
                <a:gd name="T65" fmla="*/ 4 h 347"/>
                <a:gd name="T66" fmla="*/ 202 w 434"/>
                <a:gd name="T67" fmla="*/ 4 h 347"/>
                <a:gd name="T68" fmla="*/ 200 w 434"/>
                <a:gd name="T69" fmla="*/ 6 h 347"/>
                <a:gd name="T70" fmla="*/ 198 w 434"/>
                <a:gd name="T71" fmla="*/ 8 h 347"/>
                <a:gd name="T72" fmla="*/ 197 w 434"/>
                <a:gd name="T73" fmla="*/ 9 h 347"/>
                <a:gd name="T74" fmla="*/ 195 w 434"/>
                <a:gd name="T75" fmla="*/ 12 h 347"/>
                <a:gd name="T76" fmla="*/ 194 w 434"/>
                <a:gd name="T77" fmla="*/ 12 h 347"/>
                <a:gd name="T78" fmla="*/ 8 w 434"/>
                <a:gd name="T79" fmla="*/ 306 h 347"/>
                <a:gd name="T80" fmla="*/ 16 w 434"/>
                <a:gd name="T81" fmla="*/ 342 h 347"/>
                <a:gd name="T82" fmla="*/ 30 w 434"/>
                <a:gd name="T83" fmla="*/ 347 h 347"/>
                <a:gd name="T84" fmla="*/ 53 w 434"/>
                <a:gd name="T85" fmla="*/ 334 h 347"/>
                <a:gd name="T86" fmla="*/ 70 w 434"/>
                <a:gd name="T87" fmla="*/ 307 h 347"/>
                <a:gd name="T88" fmla="*/ 364 w 434"/>
                <a:gd name="T89" fmla="*/ 307 h 347"/>
                <a:gd name="T90" fmla="*/ 381 w 434"/>
                <a:gd name="T91" fmla="*/ 334 h 347"/>
                <a:gd name="T92" fmla="*/ 404 w 434"/>
                <a:gd name="T93" fmla="*/ 347 h 347"/>
                <a:gd name="T94" fmla="*/ 418 w 434"/>
                <a:gd name="T95" fmla="*/ 342 h 347"/>
                <a:gd name="T96" fmla="*/ 426 w 434"/>
                <a:gd name="T97" fmla="*/ 306 h 347"/>
                <a:gd name="T98" fmla="*/ 239 w 434"/>
                <a:gd name="T99" fmla="*/ 1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4" h="347">
                  <a:moveTo>
                    <a:pt x="104" y="253"/>
                  </a:moveTo>
                  <a:lnTo>
                    <a:pt x="104" y="253"/>
                  </a:lnTo>
                  <a:lnTo>
                    <a:pt x="130" y="213"/>
                  </a:lnTo>
                  <a:lnTo>
                    <a:pt x="304" y="213"/>
                  </a:lnTo>
                  <a:lnTo>
                    <a:pt x="330" y="253"/>
                  </a:lnTo>
                  <a:lnTo>
                    <a:pt x="104" y="253"/>
                  </a:lnTo>
                  <a:lnTo>
                    <a:pt x="104" y="253"/>
                  </a:lnTo>
                  <a:close/>
                  <a:moveTo>
                    <a:pt x="217" y="76"/>
                  </a:moveTo>
                  <a:lnTo>
                    <a:pt x="217" y="76"/>
                  </a:lnTo>
                  <a:lnTo>
                    <a:pt x="270" y="160"/>
                  </a:lnTo>
                  <a:lnTo>
                    <a:pt x="164" y="160"/>
                  </a:lnTo>
                  <a:lnTo>
                    <a:pt x="217" y="76"/>
                  </a:lnTo>
                  <a:lnTo>
                    <a:pt x="217" y="76"/>
                  </a:lnTo>
                  <a:close/>
                  <a:moveTo>
                    <a:pt x="239" y="12"/>
                  </a:moveTo>
                  <a:lnTo>
                    <a:pt x="239" y="12"/>
                  </a:lnTo>
                  <a:cubicBezTo>
                    <a:pt x="239" y="12"/>
                    <a:pt x="239" y="12"/>
                    <a:pt x="239" y="12"/>
                  </a:cubicBezTo>
                  <a:cubicBezTo>
                    <a:pt x="239" y="11"/>
                    <a:pt x="238" y="10"/>
                    <a:pt x="237" y="9"/>
                  </a:cubicBezTo>
                  <a:cubicBezTo>
                    <a:pt x="237" y="9"/>
                    <a:pt x="236" y="8"/>
                    <a:pt x="236" y="8"/>
                  </a:cubicBezTo>
                  <a:cubicBezTo>
                    <a:pt x="235" y="7"/>
                    <a:pt x="235" y="7"/>
                    <a:pt x="234" y="6"/>
                  </a:cubicBezTo>
                  <a:cubicBezTo>
                    <a:pt x="233" y="5"/>
                    <a:pt x="232" y="5"/>
                    <a:pt x="232" y="4"/>
                  </a:cubicBezTo>
                  <a:cubicBezTo>
                    <a:pt x="231" y="4"/>
                    <a:pt x="231" y="4"/>
                    <a:pt x="231" y="4"/>
                  </a:cubicBezTo>
                  <a:cubicBezTo>
                    <a:pt x="231" y="4"/>
                    <a:pt x="230" y="3"/>
                    <a:pt x="230" y="3"/>
                  </a:cubicBezTo>
                  <a:cubicBezTo>
                    <a:pt x="229" y="3"/>
                    <a:pt x="228" y="2"/>
                    <a:pt x="227" y="2"/>
                  </a:cubicBezTo>
                  <a:cubicBezTo>
                    <a:pt x="226" y="2"/>
                    <a:pt x="225" y="1"/>
                    <a:pt x="225" y="1"/>
                  </a:cubicBezTo>
                  <a:cubicBezTo>
                    <a:pt x="224" y="1"/>
                    <a:pt x="223" y="1"/>
                    <a:pt x="222" y="0"/>
                  </a:cubicBezTo>
                  <a:cubicBezTo>
                    <a:pt x="221" y="0"/>
                    <a:pt x="220" y="0"/>
                    <a:pt x="219" y="0"/>
                  </a:cubicBezTo>
                  <a:cubicBezTo>
                    <a:pt x="219" y="0"/>
                    <a:pt x="218" y="0"/>
                    <a:pt x="217" y="0"/>
                  </a:cubicBezTo>
                  <a:cubicBezTo>
                    <a:pt x="216" y="0"/>
                    <a:pt x="215" y="0"/>
                    <a:pt x="214" y="0"/>
                  </a:cubicBezTo>
                  <a:cubicBezTo>
                    <a:pt x="214" y="0"/>
                    <a:pt x="213" y="0"/>
                    <a:pt x="212" y="0"/>
                  </a:cubicBezTo>
                  <a:cubicBezTo>
                    <a:pt x="211" y="1"/>
                    <a:pt x="210" y="1"/>
                    <a:pt x="209" y="1"/>
                  </a:cubicBezTo>
                  <a:cubicBezTo>
                    <a:pt x="208" y="1"/>
                    <a:pt x="208" y="2"/>
                    <a:pt x="207" y="2"/>
                  </a:cubicBezTo>
                  <a:cubicBezTo>
                    <a:pt x="206" y="2"/>
                    <a:pt x="205" y="3"/>
                    <a:pt x="204" y="3"/>
                  </a:cubicBezTo>
                  <a:cubicBezTo>
                    <a:pt x="204" y="3"/>
                    <a:pt x="203" y="4"/>
                    <a:pt x="203" y="4"/>
                  </a:cubicBezTo>
                  <a:cubicBezTo>
                    <a:pt x="202" y="4"/>
                    <a:pt x="202" y="4"/>
                    <a:pt x="202" y="4"/>
                  </a:cubicBezTo>
                  <a:cubicBezTo>
                    <a:pt x="201" y="5"/>
                    <a:pt x="201" y="6"/>
                    <a:pt x="200" y="6"/>
                  </a:cubicBezTo>
                  <a:cubicBezTo>
                    <a:pt x="199" y="7"/>
                    <a:pt x="199" y="7"/>
                    <a:pt x="198" y="8"/>
                  </a:cubicBezTo>
                  <a:cubicBezTo>
                    <a:pt x="198" y="8"/>
                    <a:pt x="197" y="9"/>
                    <a:pt x="197" y="9"/>
                  </a:cubicBezTo>
                  <a:cubicBezTo>
                    <a:pt x="196" y="10"/>
                    <a:pt x="195" y="11"/>
                    <a:pt x="195" y="12"/>
                  </a:cubicBezTo>
                  <a:cubicBezTo>
                    <a:pt x="195" y="12"/>
                    <a:pt x="195" y="12"/>
                    <a:pt x="194" y="12"/>
                  </a:cubicBezTo>
                  <a:lnTo>
                    <a:pt x="8" y="306"/>
                  </a:lnTo>
                  <a:cubicBezTo>
                    <a:pt x="0" y="318"/>
                    <a:pt x="4" y="334"/>
                    <a:pt x="16" y="342"/>
                  </a:cubicBezTo>
                  <a:cubicBezTo>
                    <a:pt x="20" y="345"/>
                    <a:pt x="25" y="347"/>
                    <a:pt x="30" y="347"/>
                  </a:cubicBezTo>
                  <a:cubicBezTo>
                    <a:pt x="39" y="347"/>
                    <a:pt x="48" y="342"/>
                    <a:pt x="53" y="334"/>
                  </a:cubicBezTo>
                  <a:lnTo>
                    <a:pt x="70" y="307"/>
                  </a:lnTo>
                  <a:lnTo>
                    <a:pt x="364" y="307"/>
                  </a:lnTo>
                  <a:lnTo>
                    <a:pt x="381" y="334"/>
                  </a:lnTo>
                  <a:cubicBezTo>
                    <a:pt x="386" y="342"/>
                    <a:pt x="395" y="347"/>
                    <a:pt x="404" y="347"/>
                  </a:cubicBezTo>
                  <a:cubicBezTo>
                    <a:pt x="409" y="347"/>
                    <a:pt x="413" y="345"/>
                    <a:pt x="418" y="342"/>
                  </a:cubicBezTo>
                  <a:cubicBezTo>
                    <a:pt x="430" y="334"/>
                    <a:pt x="434" y="318"/>
                    <a:pt x="426" y="306"/>
                  </a:cubicBezTo>
                  <a:lnTo>
                    <a:pt x="239" y="12"/>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p>
              <a:pPr defTabSz="456749" fontAlgn="auto">
                <a:spcBef>
                  <a:spcPts val="0"/>
                </a:spcBef>
                <a:spcAft>
                  <a:spcPts val="0"/>
                </a:spcAft>
                <a:defRPr/>
              </a:pPr>
              <a:endParaRPr lang="en-US" sz="1013" dirty="0">
                <a:solidFill>
                  <a:srgbClr val="58595B"/>
                </a:solidFill>
                <a:latin typeface="CiscoSansTT ExtraLight"/>
                <a:ea typeface="+mn-ea"/>
                <a:cs typeface="+mn-cs"/>
              </a:endParaRPr>
            </a:p>
          </p:txBody>
        </p:sp>
        <p:sp>
          <p:nvSpPr>
            <p:cNvPr id="151" name="Freeform 34"/>
            <p:cNvSpPr>
              <a:spLocks/>
            </p:cNvSpPr>
            <p:nvPr/>
          </p:nvSpPr>
          <p:spPr bwMode="auto">
            <a:xfrm>
              <a:off x="5407" y="1265"/>
              <a:ext cx="87" cy="288"/>
            </a:xfrm>
            <a:custGeom>
              <a:avLst/>
              <a:gdLst>
                <a:gd name="T0" fmla="*/ 48 w 142"/>
                <a:gd name="T1" fmla="*/ 10 h 471"/>
                <a:gd name="T2" fmla="*/ 48 w 142"/>
                <a:gd name="T3" fmla="*/ 10 h 471"/>
                <a:gd name="T4" fmla="*/ 10 w 142"/>
                <a:gd name="T5" fmla="*/ 10 h 471"/>
                <a:gd name="T6" fmla="*/ 10 w 142"/>
                <a:gd name="T7" fmla="*/ 48 h 471"/>
                <a:gd name="T8" fmla="*/ 89 w 142"/>
                <a:gd name="T9" fmla="*/ 237 h 471"/>
                <a:gd name="T10" fmla="*/ 10 w 142"/>
                <a:gd name="T11" fmla="*/ 425 h 471"/>
                <a:gd name="T12" fmla="*/ 10 w 142"/>
                <a:gd name="T13" fmla="*/ 463 h 471"/>
                <a:gd name="T14" fmla="*/ 29 w 142"/>
                <a:gd name="T15" fmla="*/ 471 h 471"/>
                <a:gd name="T16" fmla="*/ 48 w 142"/>
                <a:gd name="T17" fmla="*/ 463 h 471"/>
                <a:gd name="T18" fmla="*/ 142 w 142"/>
                <a:gd name="T19" fmla="*/ 237 h 471"/>
                <a:gd name="T20" fmla="*/ 48 w 142"/>
                <a:gd name="T21" fmla="*/ 1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471">
                  <a:moveTo>
                    <a:pt x="48" y="10"/>
                  </a:moveTo>
                  <a:lnTo>
                    <a:pt x="48" y="10"/>
                  </a:lnTo>
                  <a:cubicBezTo>
                    <a:pt x="38" y="0"/>
                    <a:pt x="21" y="0"/>
                    <a:pt x="10" y="10"/>
                  </a:cubicBezTo>
                  <a:cubicBezTo>
                    <a:pt x="0" y="21"/>
                    <a:pt x="0" y="38"/>
                    <a:pt x="10" y="48"/>
                  </a:cubicBezTo>
                  <a:cubicBezTo>
                    <a:pt x="61" y="98"/>
                    <a:pt x="89" y="165"/>
                    <a:pt x="89" y="237"/>
                  </a:cubicBezTo>
                  <a:cubicBezTo>
                    <a:pt x="89" y="308"/>
                    <a:pt x="61" y="375"/>
                    <a:pt x="10" y="425"/>
                  </a:cubicBezTo>
                  <a:cubicBezTo>
                    <a:pt x="0" y="436"/>
                    <a:pt x="0" y="452"/>
                    <a:pt x="10" y="463"/>
                  </a:cubicBezTo>
                  <a:cubicBezTo>
                    <a:pt x="16" y="468"/>
                    <a:pt x="23" y="471"/>
                    <a:pt x="29" y="471"/>
                  </a:cubicBezTo>
                  <a:cubicBezTo>
                    <a:pt x="36" y="471"/>
                    <a:pt x="43" y="468"/>
                    <a:pt x="48" y="463"/>
                  </a:cubicBezTo>
                  <a:cubicBezTo>
                    <a:pt x="109" y="402"/>
                    <a:pt x="142" y="322"/>
                    <a:pt x="142" y="237"/>
                  </a:cubicBezTo>
                  <a:cubicBezTo>
                    <a:pt x="142" y="151"/>
                    <a:pt x="109" y="71"/>
                    <a:pt x="48" y="10"/>
                  </a:cubicBez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p>
              <a:pPr defTabSz="456749" fontAlgn="auto">
                <a:spcBef>
                  <a:spcPts val="0"/>
                </a:spcBef>
                <a:spcAft>
                  <a:spcPts val="0"/>
                </a:spcAft>
                <a:defRPr/>
              </a:pPr>
              <a:endParaRPr lang="en-US" sz="1013" dirty="0">
                <a:solidFill>
                  <a:srgbClr val="58595B"/>
                </a:solidFill>
                <a:latin typeface="CiscoSansTT ExtraLight"/>
                <a:ea typeface="+mn-ea"/>
                <a:cs typeface="+mn-cs"/>
              </a:endParaRPr>
            </a:p>
          </p:txBody>
        </p:sp>
        <p:sp>
          <p:nvSpPr>
            <p:cNvPr id="152" name="Freeform 35"/>
            <p:cNvSpPr>
              <a:spLocks/>
            </p:cNvSpPr>
            <p:nvPr/>
          </p:nvSpPr>
          <p:spPr bwMode="auto">
            <a:xfrm>
              <a:off x="5344" y="1329"/>
              <a:ext cx="60" cy="161"/>
            </a:xfrm>
            <a:custGeom>
              <a:avLst/>
              <a:gdLst>
                <a:gd name="T0" fmla="*/ 46 w 99"/>
                <a:gd name="T1" fmla="*/ 133 h 263"/>
                <a:gd name="T2" fmla="*/ 46 w 99"/>
                <a:gd name="T3" fmla="*/ 133 h 263"/>
                <a:gd name="T4" fmla="*/ 11 w 99"/>
                <a:gd name="T5" fmla="*/ 217 h 263"/>
                <a:gd name="T6" fmla="*/ 11 w 99"/>
                <a:gd name="T7" fmla="*/ 255 h 263"/>
                <a:gd name="T8" fmla="*/ 30 w 99"/>
                <a:gd name="T9" fmla="*/ 263 h 263"/>
                <a:gd name="T10" fmla="*/ 48 w 99"/>
                <a:gd name="T11" fmla="*/ 255 h 263"/>
                <a:gd name="T12" fmla="*/ 99 w 99"/>
                <a:gd name="T13" fmla="*/ 133 h 263"/>
                <a:gd name="T14" fmla="*/ 49 w 99"/>
                <a:gd name="T15" fmla="*/ 10 h 263"/>
                <a:gd name="T16" fmla="*/ 11 w 99"/>
                <a:gd name="T17" fmla="*/ 10 h 263"/>
                <a:gd name="T18" fmla="*/ 11 w 99"/>
                <a:gd name="T19" fmla="*/ 48 h 263"/>
                <a:gd name="T20" fmla="*/ 46 w 99"/>
                <a:gd name="T21" fmla="*/ 13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263">
                  <a:moveTo>
                    <a:pt x="46" y="133"/>
                  </a:moveTo>
                  <a:lnTo>
                    <a:pt x="46" y="133"/>
                  </a:lnTo>
                  <a:cubicBezTo>
                    <a:pt x="46" y="165"/>
                    <a:pt x="33" y="195"/>
                    <a:pt x="11" y="217"/>
                  </a:cubicBezTo>
                  <a:cubicBezTo>
                    <a:pt x="0" y="228"/>
                    <a:pt x="0" y="245"/>
                    <a:pt x="11" y="255"/>
                  </a:cubicBezTo>
                  <a:cubicBezTo>
                    <a:pt x="16" y="260"/>
                    <a:pt x="23" y="263"/>
                    <a:pt x="30" y="263"/>
                  </a:cubicBezTo>
                  <a:cubicBezTo>
                    <a:pt x="36" y="263"/>
                    <a:pt x="43" y="260"/>
                    <a:pt x="48" y="255"/>
                  </a:cubicBezTo>
                  <a:cubicBezTo>
                    <a:pt x="81" y="222"/>
                    <a:pt x="99" y="179"/>
                    <a:pt x="99" y="133"/>
                  </a:cubicBezTo>
                  <a:cubicBezTo>
                    <a:pt x="99" y="86"/>
                    <a:pt x="81" y="43"/>
                    <a:pt x="49" y="10"/>
                  </a:cubicBezTo>
                  <a:cubicBezTo>
                    <a:pt x="38" y="0"/>
                    <a:pt x="21" y="0"/>
                    <a:pt x="11" y="10"/>
                  </a:cubicBezTo>
                  <a:cubicBezTo>
                    <a:pt x="0" y="20"/>
                    <a:pt x="0" y="37"/>
                    <a:pt x="11" y="48"/>
                  </a:cubicBezTo>
                  <a:cubicBezTo>
                    <a:pt x="33" y="70"/>
                    <a:pt x="46" y="101"/>
                    <a:pt x="46" y="133"/>
                  </a:cubicBez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p>
              <a:pPr defTabSz="456749" fontAlgn="auto">
                <a:spcBef>
                  <a:spcPts val="0"/>
                </a:spcBef>
                <a:spcAft>
                  <a:spcPts val="0"/>
                </a:spcAft>
                <a:defRPr/>
              </a:pPr>
              <a:endParaRPr lang="en-US" sz="1013" dirty="0">
                <a:solidFill>
                  <a:srgbClr val="58595B"/>
                </a:solidFill>
                <a:latin typeface="CiscoSansTT ExtraLight"/>
                <a:ea typeface="+mn-ea"/>
                <a:cs typeface="+mn-cs"/>
              </a:endParaRPr>
            </a:p>
          </p:txBody>
        </p:sp>
        <p:sp>
          <p:nvSpPr>
            <p:cNvPr id="153" name="Freeform 36"/>
            <p:cNvSpPr>
              <a:spLocks/>
            </p:cNvSpPr>
            <p:nvPr/>
          </p:nvSpPr>
          <p:spPr bwMode="auto">
            <a:xfrm>
              <a:off x="5103" y="1265"/>
              <a:ext cx="87" cy="288"/>
            </a:xfrm>
            <a:custGeom>
              <a:avLst/>
              <a:gdLst>
                <a:gd name="T0" fmla="*/ 131 w 142"/>
                <a:gd name="T1" fmla="*/ 463 h 471"/>
                <a:gd name="T2" fmla="*/ 131 w 142"/>
                <a:gd name="T3" fmla="*/ 463 h 471"/>
                <a:gd name="T4" fmla="*/ 131 w 142"/>
                <a:gd name="T5" fmla="*/ 425 h 471"/>
                <a:gd name="T6" fmla="*/ 53 w 142"/>
                <a:gd name="T7" fmla="*/ 237 h 471"/>
                <a:gd name="T8" fmla="*/ 131 w 142"/>
                <a:gd name="T9" fmla="*/ 48 h 471"/>
                <a:gd name="T10" fmla="*/ 131 w 142"/>
                <a:gd name="T11" fmla="*/ 10 h 471"/>
                <a:gd name="T12" fmla="*/ 94 w 142"/>
                <a:gd name="T13" fmla="*/ 10 h 471"/>
                <a:gd name="T14" fmla="*/ 0 w 142"/>
                <a:gd name="T15" fmla="*/ 237 h 471"/>
                <a:gd name="T16" fmla="*/ 94 w 142"/>
                <a:gd name="T17" fmla="*/ 463 h 471"/>
                <a:gd name="T18" fmla="*/ 113 w 142"/>
                <a:gd name="T19" fmla="*/ 471 h 471"/>
                <a:gd name="T20" fmla="*/ 131 w 142"/>
                <a:gd name="T21" fmla="*/ 463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471">
                  <a:moveTo>
                    <a:pt x="131" y="463"/>
                  </a:moveTo>
                  <a:lnTo>
                    <a:pt x="131" y="463"/>
                  </a:lnTo>
                  <a:cubicBezTo>
                    <a:pt x="142" y="452"/>
                    <a:pt x="142" y="436"/>
                    <a:pt x="131" y="425"/>
                  </a:cubicBezTo>
                  <a:cubicBezTo>
                    <a:pt x="81" y="375"/>
                    <a:pt x="53" y="308"/>
                    <a:pt x="53" y="237"/>
                  </a:cubicBezTo>
                  <a:cubicBezTo>
                    <a:pt x="53" y="165"/>
                    <a:pt x="81" y="98"/>
                    <a:pt x="131" y="48"/>
                  </a:cubicBezTo>
                  <a:cubicBezTo>
                    <a:pt x="142" y="38"/>
                    <a:pt x="142" y="21"/>
                    <a:pt x="131" y="10"/>
                  </a:cubicBezTo>
                  <a:cubicBezTo>
                    <a:pt x="121" y="0"/>
                    <a:pt x="104" y="0"/>
                    <a:pt x="94" y="10"/>
                  </a:cubicBezTo>
                  <a:cubicBezTo>
                    <a:pt x="33" y="71"/>
                    <a:pt x="0" y="151"/>
                    <a:pt x="0" y="237"/>
                  </a:cubicBezTo>
                  <a:cubicBezTo>
                    <a:pt x="0" y="322"/>
                    <a:pt x="33" y="402"/>
                    <a:pt x="94" y="463"/>
                  </a:cubicBezTo>
                  <a:cubicBezTo>
                    <a:pt x="99" y="468"/>
                    <a:pt x="106" y="471"/>
                    <a:pt x="113" y="471"/>
                  </a:cubicBezTo>
                  <a:cubicBezTo>
                    <a:pt x="119" y="471"/>
                    <a:pt x="126" y="468"/>
                    <a:pt x="131" y="463"/>
                  </a:cubicBez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p>
              <a:pPr defTabSz="456749" fontAlgn="auto">
                <a:spcBef>
                  <a:spcPts val="0"/>
                </a:spcBef>
                <a:spcAft>
                  <a:spcPts val="0"/>
                </a:spcAft>
                <a:defRPr/>
              </a:pPr>
              <a:endParaRPr lang="en-US" sz="1013" dirty="0">
                <a:solidFill>
                  <a:srgbClr val="58595B"/>
                </a:solidFill>
                <a:latin typeface="CiscoSansTT ExtraLight"/>
                <a:ea typeface="+mn-ea"/>
                <a:cs typeface="+mn-cs"/>
              </a:endParaRPr>
            </a:p>
          </p:txBody>
        </p:sp>
        <p:sp>
          <p:nvSpPr>
            <p:cNvPr id="154" name="Freeform 37"/>
            <p:cNvSpPr>
              <a:spLocks/>
            </p:cNvSpPr>
            <p:nvPr/>
          </p:nvSpPr>
          <p:spPr bwMode="auto">
            <a:xfrm>
              <a:off x="5193" y="1329"/>
              <a:ext cx="60" cy="161"/>
            </a:xfrm>
            <a:custGeom>
              <a:avLst/>
              <a:gdLst>
                <a:gd name="T0" fmla="*/ 69 w 98"/>
                <a:gd name="T1" fmla="*/ 263 h 263"/>
                <a:gd name="T2" fmla="*/ 69 w 98"/>
                <a:gd name="T3" fmla="*/ 263 h 263"/>
                <a:gd name="T4" fmla="*/ 88 w 98"/>
                <a:gd name="T5" fmla="*/ 255 h 263"/>
                <a:gd name="T6" fmla="*/ 88 w 98"/>
                <a:gd name="T7" fmla="*/ 217 h 263"/>
                <a:gd name="T8" fmla="*/ 53 w 98"/>
                <a:gd name="T9" fmla="*/ 133 h 263"/>
                <a:gd name="T10" fmla="*/ 88 w 98"/>
                <a:gd name="T11" fmla="*/ 48 h 263"/>
                <a:gd name="T12" fmla="*/ 88 w 98"/>
                <a:gd name="T13" fmla="*/ 10 h 263"/>
                <a:gd name="T14" fmla="*/ 50 w 98"/>
                <a:gd name="T15" fmla="*/ 10 h 263"/>
                <a:gd name="T16" fmla="*/ 0 w 98"/>
                <a:gd name="T17" fmla="*/ 133 h 263"/>
                <a:gd name="T18" fmla="*/ 50 w 98"/>
                <a:gd name="T19" fmla="*/ 255 h 263"/>
                <a:gd name="T20" fmla="*/ 69 w 98"/>
                <a:gd name="T21"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263">
                  <a:moveTo>
                    <a:pt x="69" y="263"/>
                  </a:moveTo>
                  <a:lnTo>
                    <a:pt x="69" y="263"/>
                  </a:lnTo>
                  <a:cubicBezTo>
                    <a:pt x="76" y="263"/>
                    <a:pt x="83" y="260"/>
                    <a:pt x="88" y="255"/>
                  </a:cubicBezTo>
                  <a:cubicBezTo>
                    <a:pt x="98" y="245"/>
                    <a:pt x="98" y="228"/>
                    <a:pt x="88" y="217"/>
                  </a:cubicBezTo>
                  <a:cubicBezTo>
                    <a:pt x="65" y="195"/>
                    <a:pt x="53" y="165"/>
                    <a:pt x="53" y="133"/>
                  </a:cubicBezTo>
                  <a:cubicBezTo>
                    <a:pt x="53" y="101"/>
                    <a:pt x="65" y="70"/>
                    <a:pt x="88" y="48"/>
                  </a:cubicBezTo>
                  <a:cubicBezTo>
                    <a:pt x="98" y="37"/>
                    <a:pt x="98" y="20"/>
                    <a:pt x="88" y="10"/>
                  </a:cubicBezTo>
                  <a:cubicBezTo>
                    <a:pt x="78" y="0"/>
                    <a:pt x="61" y="0"/>
                    <a:pt x="50" y="10"/>
                  </a:cubicBezTo>
                  <a:cubicBezTo>
                    <a:pt x="18" y="43"/>
                    <a:pt x="0" y="86"/>
                    <a:pt x="0" y="133"/>
                  </a:cubicBezTo>
                  <a:cubicBezTo>
                    <a:pt x="0" y="179"/>
                    <a:pt x="18" y="222"/>
                    <a:pt x="50" y="255"/>
                  </a:cubicBezTo>
                  <a:cubicBezTo>
                    <a:pt x="56" y="260"/>
                    <a:pt x="62" y="263"/>
                    <a:pt x="69" y="263"/>
                  </a:cubicBez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p>
              <a:pPr defTabSz="456749" fontAlgn="auto">
                <a:spcBef>
                  <a:spcPts val="0"/>
                </a:spcBef>
                <a:spcAft>
                  <a:spcPts val="0"/>
                </a:spcAft>
                <a:defRPr/>
              </a:pPr>
              <a:endParaRPr lang="en-US" sz="1013" dirty="0">
                <a:solidFill>
                  <a:srgbClr val="58595B"/>
                </a:solidFill>
                <a:latin typeface="CiscoSansTT ExtraLight"/>
                <a:ea typeface="+mn-ea"/>
                <a:cs typeface="+mn-cs"/>
              </a:endParaRPr>
            </a:p>
          </p:txBody>
        </p:sp>
        <p:sp>
          <p:nvSpPr>
            <p:cNvPr id="155" name="Freeform 38"/>
            <p:cNvSpPr>
              <a:spLocks/>
            </p:cNvSpPr>
            <p:nvPr/>
          </p:nvSpPr>
          <p:spPr bwMode="auto">
            <a:xfrm>
              <a:off x="5266" y="1377"/>
              <a:ext cx="65" cy="66"/>
            </a:xfrm>
            <a:custGeom>
              <a:avLst/>
              <a:gdLst>
                <a:gd name="T0" fmla="*/ 53 w 106"/>
                <a:gd name="T1" fmla="*/ 107 h 107"/>
                <a:gd name="T2" fmla="*/ 53 w 106"/>
                <a:gd name="T3" fmla="*/ 107 h 107"/>
                <a:gd name="T4" fmla="*/ 106 w 106"/>
                <a:gd name="T5" fmla="*/ 54 h 107"/>
                <a:gd name="T6" fmla="*/ 53 w 106"/>
                <a:gd name="T7" fmla="*/ 0 h 107"/>
                <a:gd name="T8" fmla="*/ 0 w 106"/>
                <a:gd name="T9" fmla="*/ 54 h 107"/>
                <a:gd name="T10" fmla="*/ 53 w 106"/>
                <a:gd name="T11" fmla="*/ 107 h 107"/>
              </a:gdLst>
              <a:ahLst/>
              <a:cxnLst>
                <a:cxn ang="0">
                  <a:pos x="T0" y="T1"/>
                </a:cxn>
                <a:cxn ang="0">
                  <a:pos x="T2" y="T3"/>
                </a:cxn>
                <a:cxn ang="0">
                  <a:pos x="T4" y="T5"/>
                </a:cxn>
                <a:cxn ang="0">
                  <a:pos x="T6" y="T7"/>
                </a:cxn>
                <a:cxn ang="0">
                  <a:pos x="T8" y="T9"/>
                </a:cxn>
                <a:cxn ang="0">
                  <a:pos x="T10" y="T11"/>
                </a:cxn>
              </a:cxnLst>
              <a:rect l="0" t="0" r="r" b="b"/>
              <a:pathLst>
                <a:path w="106" h="107">
                  <a:moveTo>
                    <a:pt x="53" y="107"/>
                  </a:moveTo>
                  <a:lnTo>
                    <a:pt x="53" y="107"/>
                  </a:lnTo>
                  <a:cubicBezTo>
                    <a:pt x="82" y="107"/>
                    <a:pt x="106" y="83"/>
                    <a:pt x="106" y="54"/>
                  </a:cubicBezTo>
                  <a:cubicBezTo>
                    <a:pt x="106" y="24"/>
                    <a:pt x="82" y="0"/>
                    <a:pt x="53" y="0"/>
                  </a:cubicBezTo>
                  <a:cubicBezTo>
                    <a:pt x="23" y="0"/>
                    <a:pt x="0" y="24"/>
                    <a:pt x="0" y="54"/>
                  </a:cubicBezTo>
                  <a:cubicBezTo>
                    <a:pt x="0" y="83"/>
                    <a:pt x="23" y="107"/>
                    <a:pt x="53" y="107"/>
                  </a:cubicBez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p>
              <a:pPr defTabSz="456749" fontAlgn="auto">
                <a:spcBef>
                  <a:spcPts val="0"/>
                </a:spcBef>
                <a:spcAft>
                  <a:spcPts val="0"/>
                </a:spcAft>
                <a:defRPr/>
              </a:pPr>
              <a:endParaRPr lang="en-US" sz="1013" dirty="0">
                <a:solidFill>
                  <a:srgbClr val="58595B"/>
                </a:solidFill>
                <a:latin typeface="CiscoSansTT ExtraLight"/>
                <a:ea typeface="+mn-ea"/>
                <a:cs typeface="+mn-cs"/>
              </a:endParaRPr>
            </a:p>
          </p:txBody>
        </p:sp>
      </p:grpSp>
      <p:sp>
        <p:nvSpPr>
          <p:cNvPr id="163" name="Oval 162"/>
          <p:cNvSpPr/>
          <p:nvPr/>
        </p:nvSpPr>
        <p:spPr>
          <a:xfrm>
            <a:off x="212176" y="3026436"/>
            <a:ext cx="475616" cy="388504"/>
          </a:xfrm>
          <a:prstGeom prst="ellipse">
            <a:avLst/>
          </a:prstGeom>
          <a:solidFill>
            <a:schemeClr val="bg2"/>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78" fontAlgn="auto">
              <a:spcBef>
                <a:spcPts val="0"/>
              </a:spcBef>
              <a:spcAft>
                <a:spcPts val="0"/>
              </a:spcAft>
              <a:defRPr/>
            </a:pPr>
            <a:endParaRPr lang="en-US" sz="600" dirty="0">
              <a:solidFill>
                <a:srgbClr val="282828">
                  <a:lumMod val="75000"/>
                </a:srgbClr>
              </a:solidFill>
              <a:latin typeface="CiscoSansTT ExtraLight"/>
            </a:endParaRPr>
          </a:p>
        </p:txBody>
      </p:sp>
      <p:sp>
        <p:nvSpPr>
          <p:cNvPr id="168" name="TextBox 167"/>
          <p:cNvSpPr txBox="1"/>
          <p:nvPr/>
        </p:nvSpPr>
        <p:spPr>
          <a:xfrm>
            <a:off x="231969" y="3029467"/>
            <a:ext cx="472924" cy="553998"/>
          </a:xfrm>
          <a:prstGeom prst="rect">
            <a:avLst/>
          </a:prstGeom>
          <a:noFill/>
        </p:spPr>
        <p:txBody>
          <a:bodyPr wrap="square" rtlCol="0">
            <a:spAutoFit/>
          </a:bodyPr>
          <a:lstStyle/>
          <a:p>
            <a:pPr algn="ctr" defTabSz="457178" fontAlgn="auto">
              <a:spcBef>
                <a:spcPts val="0"/>
              </a:spcBef>
              <a:spcAft>
                <a:spcPts val="0"/>
              </a:spcAft>
              <a:defRPr/>
            </a:pPr>
            <a:r>
              <a:rPr lang="en-US" sz="1000" dirty="0">
                <a:solidFill>
                  <a:srgbClr val="282828"/>
                </a:solidFill>
                <a:latin typeface="CiscoSansTT ExtraLight"/>
                <a:ea typeface="+mn-ea"/>
                <a:cs typeface="+mn-cs"/>
              </a:rPr>
              <a:t>Cell </a:t>
            </a:r>
          </a:p>
          <a:p>
            <a:pPr algn="ctr" defTabSz="457178" fontAlgn="auto">
              <a:spcBef>
                <a:spcPts val="0"/>
              </a:spcBef>
              <a:spcAft>
                <a:spcPts val="0"/>
              </a:spcAft>
              <a:defRPr/>
            </a:pPr>
            <a:r>
              <a:rPr lang="en-US" sz="1000" dirty="0">
                <a:solidFill>
                  <a:srgbClr val="282828"/>
                </a:solidFill>
                <a:latin typeface="CiscoSansTT ExtraLight"/>
                <a:ea typeface="+mn-ea"/>
                <a:cs typeface="+mn-cs"/>
              </a:rPr>
              <a:t>Tower</a:t>
            </a:r>
          </a:p>
        </p:txBody>
      </p:sp>
      <p:sp>
        <p:nvSpPr>
          <p:cNvPr id="173" name="TextBox 172"/>
          <p:cNvSpPr txBox="1"/>
          <p:nvPr/>
        </p:nvSpPr>
        <p:spPr>
          <a:xfrm>
            <a:off x="1049972" y="1922319"/>
            <a:ext cx="979755" cy="400110"/>
          </a:xfrm>
          <a:prstGeom prst="rect">
            <a:avLst/>
          </a:prstGeom>
          <a:noFill/>
        </p:spPr>
        <p:txBody>
          <a:bodyPr wrap="none" rtlCol="0">
            <a:spAutoFit/>
          </a:bodyPr>
          <a:lstStyle/>
          <a:p>
            <a:pPr algn="ctr" defTabSz="457178" fontAlgn="auto">
              <a:spcBef>
                <a:spcPts val="0"/>
              </a:spcBef>
              <a:spcAft>
                <a:spcPts val="0"/>
              </a:spcAft>
              <a:defRPr/>
            </a:pPr>
            <a:r>
              <a:rPr lang="en-US" sz="1000" dirty="0">
                <a:solidFill>
                  <a:srgbClr val="282828"/>
                </a:solidFill>
                <a:latin typeface="CiscoSansTT ExtraLight"/>
                <a:ea typeface="+mn-ea"/>
                <a:cs typeface="+mn-cs"/>
              </a:rPr>
              <a:t>ASR 920/900</a:t>
            </a:r>
          </a:p>
          <a:p>
            <a:pPr algn="ctr" defTabSz="457178" fontAlgn="auto">
              <a:spcBef>
                <a:spcPts val="0"/>
              </a:spcBef>
              <a:spcAft>
                <a:spcPts val="0"/>
              </a:spcAft>
              <a:defRPr/>
            </a:pPr>
            <a:r>
              <a:rPr lang="en-US" sz="1000" dirty="0">
                <a:solidFill>
                  <a:srgbClr val="282828"/>
                </a:solidFill>
                <a:latin typeface="CiscoSansTT ExtraLight"/>
                <a:ea typeface="+mn-ea"/>
                <a:cs typeface="+mn-cs"/>
              </a:rPr>
              <a:t>NCS 540</a:t>
            </a:r>
          </a:p>
        </p:txBody>
      </p:sp>
      <p:grpSp>
        <p:nvGrpSpPr>
          <p:cNvPr id="179" name="Group 178"/>
          <p:cNvGrpSpPr/>
          <p:nvPr/>
        </p:nvGrpSpPr>
        <p:grpSpPr>
          <a:xfrm>
            <a:off x="1153843" y="2096147"/>
            <a:ext cx="1513524" cy="560328"/>
            <a:chOff x="5291823" y="1722736"/>
            <a:chExt cx="7224821" cy="2107997"/>
          </a:xfrm>
        </p:grpSpPr>
        <p:pic>
          <p:nvPicPr>
            <p:cNvPr id="184" name="Picture 18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881643" y="1722736"/>
              <a:ext cx="2635001" cy="2107997"/>
            </a:xfrm>
            <a:prstGeom prst="rect">
              <a:avLst/>
            </a:prstGeom>
          </p:spPr>
        </p:pic>
        <p:pic>
          <p:nvPicPr>
            <p:cNvPr id="189" name="Picture 188" descr="KL61071.png"/>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040619" y="2394617"/>
              <a:ext cx="2319233" cy="614140"/>
            </a:xfrm>
            <a:prstGeom prst="rect">
              <a:avLst/>
            </a:prstGeom>
            <a:effectLst>
              <a:outerShdw blurRad="76200" dir="18900000" sy="23000" kx="-1200000" algn="bl" rotWithShape="0">
                <a:prstClr val="black">
                  <a:alpha val="20000"/>
                </a:prstClr>
              </a:outerShdw>
            </a:effectLst>
          </p:spPr>
        </p:pic>
        <p:pic>
          <p:nvPicPr>
            <p:cNvPr id="196" name="Picture 195" descr="KO02018.png"/>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291823" y="2604684"/>
              <a:ext cx="2450533" cy="713805"/>
            </a:xfrm>
            <a:prstGeom prst="rect">
              <a:avLst/>
            </a:prstGeom>
            <a:effectLst>
              <a:outerShdw blurRad="76200" dir="18900000" sy="23000" kx="-1200000" algn="bl" rotWithShape="0">
                <a:prstClr val="black">
                  <a:alpha val="20000"/>
                </a:prstClr>
              </a:outerShdw>
            </a:effectLst>
          </p:spPr>
        </p:pic>
      </p:grpSp>
      <p:sp>
        <p:nvSpPr>
          <p:cNvPr id="203" name="Magnetic Disk 202"/>
          <p:cNvSpPr/>
          <p:nvPr/>
        </p:nvSpPr>
        <p:spPr>
          <a:xfrm>
            <a:off x="2179612" y="2474804"/>
            <a:ext cx="704088" cy="365760"/>
          </a:xfrm>
          <a:prstGeom prst="flowChartMagneticDisk">
            <a:avLst/>
          </a:prstGeom>
          <a:solidFill>
            <a:schemeClr val="accent4"/>
          </a:solidFill>
          <a:ln w="0" cmpd="sng">
            <a:solidFill>
              <a:schemeClr val="bg2"/>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endParaRPr lang="en-US" dirty="0">
              <a:solidFill>
                <a:srgbClr val="005073"/>
              </a:solidFill>
              <a:latin typeface="CiscoSansTT ExtraLight"/>
            </a:endParaRPr>
          </a:p>
        </p:txBody>
      </p:sp>
      <p:cxnSp>
        <p:nvCxnSpPr>
          <p:cNvPr id="206" name="Straight Connector 205"/>
          <p:cNvCxnSpPr/>
          <p:nvPr/>
        </p:nvCxnSpPr>
        <p:spPr>
          <a:xfrm flipV="1">
            <a:off x="1793490" y="2660737"/>
            <a:ext cx="303161" cy="249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07" name="TextBox 206"/>
          <p:cNvSpPr txBox="1"/>
          <p:nvPr/>
        </p:nvSpPr>
        <p:spPr>
          <a:xfrm>
            <a:off x="2318373" y="2589336"/>
            <a:ext cx="417102" cy="246221"/>
          </a:xfrm>
          <a:prstGeom prst="rect">
            <a:avLst/>
          </a:prstGeom>
          <a:noFill/>
        </p:spPr>
        <p:txBody>
          <a:bodyPr wrap="none" rtlCol="0">
            <a:spAutoFit/>
          </a:bodyPr>
          <a:lstStyle/>
          <a:p>
            <a:pPr defTabSz="457178" fontAlgn="auto">
              <a:spcBef>
                <a:spcPts val="0"/>
              </a:spcBef>
              <a:spcAft>
                <a:spcPts val="0"/>
              </a:spcAft>
              <a:defRPr/>
            </a:pPr>
            <a:r>
              <a:rPr lang="en-US" sz="1000" b="1" dirty="0" err="1">
                <a:solidFill>
                  <a:srgbClr val="FFFFFF"/>
                </a:solidFill>
                <a:latin typeface="CiscoSansTT ExtraLight"/>
                <a:ea typeface="+mn-ea"/>
                <a:cs typeface="+mn-cs"/>
              </a:rPr>
              <a:t>Agg</a:t>
            </a:r>
            <a:endParaRPr lang="en-US" sz="1000" b="1" dirty="0">
              <a:solidFill>
                <a:srgbClr val="FFFFFF"/>
              </a:solidFill>
              <a:latin typeface="CiscoSansTT ExtraLight"/>
              <a:ea typeface="+mn-ea"/>
              <a:cs typeface="+mn-cs"/>
            </a:endParaRPr>
          </a:p>
        </p:txBody>
      </p:sp>
      <p:sp>
        <p:nvSpPr>
          <p:cNvPr id="21" name="TextBox 20"/>
          <p:cNvSpPr txBox="1"/>
          <p:nvPr/>
        </p:nvSpPr>
        <p:spPr>
          <a:xfrm>
            <a:off x="1980427" y="1865207"/>
            <a:ext cx="702436"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ASR 900</a:t>
            </a:r>
          </a:p>
        </p:txBody>
      </p:sp>
      <p:pic>
        <p:nvPicPr>
          <p:cNvPr id="208" name="Picture 207" descr="kn78999.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528676" y="1871621"/>
            <a:ext cx="551128" cy="688533"/>
          </a:xfrm>
          <a:prstGeom prst="rect">
            <a:avLst/>
          </a:prstGeom>
          <a:noFill/>
          <a:extLst>
            <a:ext uri="{909E8E84-426E-40dd-AFC4-6F175D3DCCD1}">
              <a14:hiddenFill xmlns:a14="http://schemas.microsoft.com/office/drawing/2010/main" xmlns="">
                <a:solidFill>
                  <a:srgbClr val="FFFFFF"/>
                </a:solidFill>
              </a14:hiddenFill>
            </a:ext>
          </a:extLst>
        </p:spPr>
      </p:pic>
      <p:sp>
        <p:nvSpPr>
          <p:cNvPr id="209" name="TextBox 208"/>
          <p:cNvSpPr txBox="1"/>
          <p:nvPr/>
        </p:nvSpPr>
        <p:spPr>
          <a:xfrm>
            <a:off x="2505796" y="1752700"/>
            <a:ext cx="692818" cy="219291"/>
          </a:xfrm>
          <a:prstGeom prst="rect">
            <a:avLst/>
          </a:prstGeom>
          <a:noFill/>
        </p:spPr>
        <p:txBody>
          <a:bodyPr wrap="none" rtlCol="0">
            <a:spAutoFit/>
          </a:bodyPr>
          <a:lstStyle/>
          <a:p>
            <a:pPr defTabSz="457178" fontAlgn="auto">
              <a:spcBef>
                <a:spcPts val="0"/>
              </a:spcBef>
              <a:spcAft>
                <a:spcPts val="0"/>
              </a:spcAft>
              <a:defRPr/>
            </a:pPr>
            <a:r>
              <a:rPr lang="en-US" sz="825" dirty="0">
                <a:solidFill>
                  <a:srgbClr val="282828"/>
                </a:solidFill>
                <a:latin typeface="CiscoSansTT ExtraLight"/>
                <a:ea typeface="+mn-ea"/>
                <a:cs typeface="+mn-cs"/>
              </a:rPr>
              <a:t>NCS 5500</a:t>
            </a:r>
          </a:p>
        </p:txBody>
      </p:sp>
      <p:pic>
        <p:nvPicPr>
          <p:cNvPr id="214" name="Picture 213"/>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795149" y="1423348"/>
            <a:ext cx="644748" cy="631471"/>
          </a:xfrm>
          <a:prstGeom prst="rect">
            <a:avLst/>
          </a:prstGeom>
        </p:spPr>
      </p:pic>
      <p:sp>
        <p:nvSpPr>
          <p:cNvPr id="215" name="TextBox 214"/>
          <p:cNvSpPr txBox="1"/>
          <p:nvPr/>
        </p:nvSpPr>
        <p:spPr>
          <a:xfrm>
            <a:off x="6754961" y="1298865"/>
            <a:ext cx="813043" cy="207749"/>
          </a:xfrm>
          <a:prstGeom prst="rect">
            <a:avLst/>
          </a:prstGeom>
          <a:noFill/>
        </p:spPr>
        <p:txBody>
          <a:bodyPr wrap="none" rtlCol="0">
            <a:spAutoFit/>
          </a:bodyPr>
          <a:lstStyle/>
          <a:p>
            <a:pPr defTabSz="457178" fontAlgn="auto">
              <a:spcBef>
                <a:spcPts val="0"/>
              </a:spcBef>
              <a:spcAft>
                <a:spcPts val="0"/>
              </a:spcAft>
              <a:defRPr/>
            </a:pPr>
            <a:r>
              <a:rPr lang="en-US" sz="750" dirty="0">
                <a:solidFill>
                  <a:srgbClr val="282828"/>
                </a:solidFill>
                <a:latin typeface="CiscoSansTT ExtraLight"/>
                <a:ea typeface="+mn-ea"/>
                <a:cs typeface="+mn-cs"/>
              </a:rPr>
              <a:t>NCS 5500-SE</a:t>
            </a:r>
          </a:p>
        </p:txBody>
      </p:sp>
      <p:sp>
        <p:nvSpPr>
          <p:cNvPr id="217" name="Oval 151"/>
          <p:cNvSpPr>
            <a:spLocks noChangeArrowheads="1"/>
          </p:cNvSpPr>
          <p:nvPr/>
        </p:nvSpPr>
        <p:spPr bwMode="auto">
          <a:xfrm>
            <a:off x="1938885" y="2400292"/>
            <a:ext cx="1301128" cy="250844"/>
          </a:xfrm>
          <a:prstGeom prst="ellipse">
            <a:avLst/>
          </a:prstGeom>
          <a:gradFill rotWithShape="1">
            <a:gsLst>
              <a:gs pos="22000">
                <a:srgbClr val="000000">
                  <a:alpha val="25000"/>
                </a:srgbClr>
              </a:gs>
              <a:gs pos="81000">
                <a:schemeClr val="bg1">
                  <a:lumMod val="95000"/>
                  <a:alpha val="0"/>
                </a:schemeClr>
              </a:gs>
              <a:gs pos="0">
                <a:srgbClr val="000000">
                  <a:alpha val="38000"/>
                </a:srgbClr>
              </a:gs>
              <a:gs pos="51000">
                <a:srgbClr val="000000">
                  <a:alpha val="9000"/>
                </a:srgbClr>
              </a:gs>
            </a:gsLst>
            <a:path path="shape">
              <a:fillToRect l="50000" t="50000" r="50000" b="50000"/>
            </a:path>
          </a:gradFill>
          <a:ln w="9525" algn="ctr">
            <a:noFill/>
            <a:round/>
            <a:headEnd/>
            <a:tailEnd/>
          </a:ln>
          <a:effectLst/>
        </p:spPr>
        <p:txBody>
          <a:bodyPr wrap="none" anchor="ctr"/>
          <a:lstStyle/>
          <a:p>
            <a:pPr defTabSz="457178" fontAlgn="auto">
              <a:spcBef>
                <a:spcPts val="0"/>
              </a:spcBef>
              <a:spcAft>
                <a:spcPts val="0"/>
              </a:spcAft>
              <a:defRPr/>
            </a:pPr>
            <a:endParaRPr lang="en-US" sz="800" dirty="0">
              <a:solidFill>
                <a:srgbClr val="FFFFFF"/>
              </a:solidFill>
              <a:latin typeface="CiscoSansTT ExtraLight"/>
              <a:ea typeface="+mn-ea"/>
              <a:cs typeface="+mn-cs"/>
            </a:endParaRPr>
          </a:p>
        </p:txBody>
      </p:sp>
      <p:pic>
        <p:nvPicPr>
          <p:cNvPr id="218" name="Picture 2" descr="C:\Users\rteligic\Desktop\jgrepo.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330949" y="1246727"/>
            <a:ext cx="546702" cy="109563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810998" y="1178266"/>
            <a:ext cx="861110" cy="1146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6" name="TextBox 155"/>
          <p:cNvSpPr txBox="1"/>
          <p:nvPr/>
        </p:nvSpPr>
        <p:spPr>
          <a:xfrm>
            <a:off x="4258060" y="1083510"/>
            <a:ext cx="798617" cy="246221"/>
          </a:xfrm>
          <a:prstGeom prst="rect">
            <a:avLst/>
          </a:prstGeom>
          <a:noFill/>
        </p:spPr>
        <p:txBody>
          <a:bodyPr wrap="none" rtlCol="0">
            <a:spAutoFit/>
          </a:bodyPr>
          <a:lstStyle/>
          <a:p>
            <a:pPr defTabSz="457178" fontAlgn="auto">
              <a:spcBef>
                <a:spcPts val="0"/>
              </a:spcBef>
              <a:spcAft>
                <a:spcPts val="0"/>
              </a:spcAft>
              <a:defRPr/>
            </a:pPr>
            <a:r>
              <a:rPr lang="en-US" sz="1000" dirty="0">
                <a:solidFill>
                  <a:srgbClr val="282828"/>
                </a:solidFill>
                <a:latin typeface="CiscoSansTT ExtraLight"/>
                <a:ea typeface="+mn-ea"/>
                <a:cs typeface="+mn-cs"/>
              </a:rPr>
              <a:t>NCS 6000</a:t>
            </a:r>
          </a:p>
        </p:txBody>
      </p:sp>
      <p:sp>
        <p:nvSpPr>
          <p:cNvPr id="213" name="TextBox 212"/>
          <p:cNvSpPr txBox="1"/>
          <p:nvPr/>
        </p:nvSpPr>
        <p:spPr>
          <a:xfrm>
            <a:off x="5508589" y="1084649"/>
            <a:ext cx="692818" cy="219291"/>
          </a:xfrm>
          <a:prstGeom prst="rect">
            <a:avLst/>
          </a:prstGeom>
          <a:noFill/>
        </p:spPr>
        <p:txBody>
          <a:bodyPr wrap="none" rtlCol="0">
            <a:spAutoFit/>
          </a:bodyPr>
          <a:lstStyle/>
          <a:p>
            <a:pPr defTabSz="457178" fontAlgn="auto">
              <a:spcBef>
                <a:spcPts val="0"/>
              </a:spcBef>
              <a:spcAft>
                <a:spcPts val="0"/>
              </a:spcAft>
              <a:defRPr/>
            </a:pPr>
            <a:r>
              <a:rPr lang="en-US" sz="825" dirty="0">
                <a:solidFill>
                  <a:srgbClr val="282828"/>
                </a:solidFill>
                <a:latin typeface="CiscoSansTT ExtraLight"/>
                <a:ea typeface="+mn-ea"/>
                <a:cs typeface="+mn-cs"/>
              </a:rPr>
              <a:t>NCS 5500</a:t>
            </a:r>
          </a:p>
        </p:txBody>
      </p:sp>
      <p:sp>
        <p:nvSpPr>
          <p:cNvPr id="216" name="Magnetic Disk 215">
            <a:extLst>
              <a:ext uri="{FF2B5EF4-FFF2-40B4-BE49-F238E27FC236}">
                <a16:creationId xmlns:a16="http://schemas.microsoft.com/office/drawing/2014/main" id="{D155E5A5-0478-C746-BB0E-B6CB2C582E8B}"/>
              </a:ext>
            </a:extLst>
          </p:cNvPr>
          <p:cNvSpPr/>
          <p:nvPr/>
        </p:nvSpPr>
        <p:spPr>
          <a:xfrm>
            <a:off x="7481958" y="3294760"/>
            <a:ext cx="576706" cy="287646"/>
          </a:xfrm>
          <a:prstGeom prst="flowChartMagneticDisk">
            <a:avLst/>
          </a:prstGeom>
          <a:gradFill flip="none" rotWithShape="1">
            <a:gsLst>
              <a:gs pos="0">
                <a:srgbClr val="7030A0">
                  <a:tint val="66000"/>
                  <a:satMod val="160000"/>
                </a:srgbClr>
              </a:gs>
              <a:gs pos="50000">
                <a:srgbClr val="7030A0">
                  <a:tint val="44500"/>
                  <a:satMod val="160000"/>
                </a:srgbClr>
              </a:gs>
              <a:gs pos="100000">
                <a:srgbClr val="7030A0">
                  <a:tint val="23500"/>
                  <a:satMod val="160000"/>
                </a:srgbClr>
              </a:gs>
            </a:gsLst>
            <a:path path="circle">
              <a:fillToRect l="50000" t="50000" r="50000" b="50000"/>
            </a:path>
            <a:tileRect/>
          </a:gradFill>
          <a:ln w="0" cmpd="sng">
            <a:solidFill>
              <a:schemeClr val="accent3"/>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fontAlgn="auto">
              <a:spcBef>
                <a:spcPts val="0"/>
              </a:spcBef>
              <a:spcAft>
                <a:spcPts val="0"/>
              </a:spcAft>
              <a:defRPr/>
            </a:pPr>
            <a:r>
              <a:rPr lang="en-US" sz="900" b="1" dirty="0">
                <a:solidFill>
                  <a:srgbClr val="005073"/>
                </a:solidFill>
                <a:latin typeface="CiscoSansTT ExtraLight"/>
              </a:rPr>
              <a:t>SP DC</a:t>
            </a:r>
          </a:p>
        </p:txBody>
      </p:sp>
      <p:sp>
        <p:nvSpPr>
          <p:cNvPr id="219" name="TextBox 218">
            <a:extLst>
              <a:ext uri="{FF2B5EF4-FFF2-40B4-BE49-F238E27FC236}">
                <a16:creationId xmlns:a16="http://schemas.microsoft.com/office/drawing/2014/main" id="{7DA0A6BB-1390-DB4F-91D8-E0377C32A2B8}"/>
              </a:ext>
            </a:extLst>
          </p:cNvPr>
          <p:cNvSpPr txBox="1"/>
          <p:nvPr/>
        </p:nvSpPr>
        <p:spPr>
          <a:xfrm>
            <a:off x="7457708" y="2459912"/>
            <a:ext cx="692818" cy="219291"/>
          </a:xfrm>
          <a:prstGeom prst="rect">
            <a:avLst/>
          </a:prstGeom>
          <a:noFill/>
        </p:spPr>
        <p:txBody>
          <a:bodyPr wrap="none" rtlCol="0">
            <a:spAutoFit/>
          </a:bodyPr>
          <a:lstStyle/>
          <a:p>
            <a:pPr defTabSz="457178" fontAlgn="auto">
              <a:spcBef>
                <a:spcPts val="0"/>
              </a:spcBef>
              <a:spcAft>
                <a:spcPts val="0"/>
              </a:spcAft>
              <a:defRPr/>
            </a:pPr>
            <a:r>
              <a:rPr lang="en-US" sz="825" dirty="0">
                <a:solidFill>
                  <a:srgbClr val="282828"/>
                </a:solidFill>
                <a:latin typeface="CiscoSansTT ExtraLight"/>
                <a:ea typeface="+mn-ea"/>
                <a:cs typeface="+mn-cs"/>
              </a:rPr>
              <a:t>NCS 5500</a:t>
            </a:r>
          </a:p>
        </p:txBody>
      </p:sp>
      <p:pic>
        <p:nvPicPr>
          <p:cNvPr id="220" name="Picture 219" descr="kn78999.png">
            <a:extLst>
              <a:ext uri="{FF2B5EF4-FFF2-40B4-BE49-F238E27FC236}">
                <a16:creationId xmlns:a16="http://schemas.microsoft.com/office/drawing/2014/main" id="{1D49FBF1-3119-9949-B823-00B54C10A6A9}"/>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508775" y="2594024"/>
            <a:ext cx="551128" cy="767711"/>
          </a:xfrm>
          <a:prstGeom prst="rect">
            <a:avLst/>
          </a:prstGeom>
          <a:noFill/>
          <a:extLst>
            <a:ext uri="{909E8E84-426E-40dd-AFC4-6F175D3DCCD1}">
              <a14:hiddenFill xmlns:a14="http://schemas.microsoft.com/office/drawing/2010/main" xmlns="">
                <a:solidFill>
                  <a:srgbClr val="FFFFFF"/>
                </a:solidFill>
              </a14:hiddenFill>
            </a:ext>
          </a:extLst>
        </p:spPr>
      </p:pic>
      <p:pic>
        <p:nvPicPr>
          <p:cNvPr id="221" name="Picture 220">
            <a:extLst>
              <a:ext uri="{FF2B5EF4-FFF2-40B4-BE49-F238E27FC236}">
                <a16:creationId xmlns:a16="http://schemas.microsoft.com/office/drawing/2014/main" id="{CF06CF44-411D-564B-94A3-74F23E3DBD37}"/>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424217" y="1236672"/>
            <a:ext cx="840593" cy="1050740"/>
          </a:xfrm>
          <a:prstGeom prst="rect">
            <a:avLst/>
          </a:prstGeom>
        </p:spPr>
      </p:pic>
      <p:sp>
        <p:nvSpPr>
          <p:cNvPr id="222" name="Rounded Rectangle 221">
            <a:extLst>
              <a:ext uri="{FF2B5EF4-FFF2-40B4-BE49-F238E27FC236}">
                <a16:creationId xmlns:a16="http://schemas.microsoft.com/office/drawing/2014/main" id="{1EA7A243-83ED-4F44-8AD3-29E3293642B4}"/>
              </a:ext>
            </a:extLst>
          </p:cNvPr>
          <p:cNvSpPr/>
          <p:nvPr/>
        </p:nvSpPr>
        <p:spPr>
          <a:xfrm>
            <a:off x="7467324" y="2454049"/>
            <a:ext cx="604138" cy="893463"/>
          </a:xfrm>
          <a:prstGeom prst="roundRect">
            <a:avLst/>
          </a:pr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dirty="0">
              <a:solidFill>
                <a:srgbClr val="282828">
                  <a:lumMod val="50000"/>
                </a:srgbClr>
              </a:solidFill>
              <a:latin typeface="CiscoSansTT ExtraLight"/>
            </a:endParaRPr>
          </a:p>
        </p:txBody>
      </p:sp>
      <p:sp>
        <p:nvSpPr>
          <p:cNvPr id="223" name="Rounded Rectangle 222">
            <a:extLst>
              <a:ext uri="{FF2B5EF4-FFF2-40B4-BE49-F238E27FC236}">
                <a16:creationId xmlns:a16="http://schemas.microsoft.com/office/drawing/2014/main" id="{4E1394D0-D886-B94C-9305-168B8498CFF9}"/>
              </a:ext>
            </a:extLst>
          </p:cNvPr>
          <p:cNvSpPr/>
          <p:nvPr/>
        </p:nvSpPr>
        <p:spPr>
          <a:xfrm>
            <a:off x="6768133" y="1246726"/>
            <a:ext cx="739732" cy="793193"/>
          </a:xfrm>
          <a:prstGeom prst="roundRect">
            <a:avLst/>
          </a:pr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dirty="0">
              <a:solidFill>
                <a:srgbClr val="282828">
                  <a:lumMod val="50000"/>
                </a:srgbClr>
              </a:solidFill>
              <a:latin typeface="CiscoSansTT ExtraLight"/>
            </a:endParaRPr>
          </a:p>
        </p:txBody>
      </p:sp>
      <p:sp>
        <p:nvSpPr>
          <p:cNvPr id="224" name="Rounded Rectangle 223">
            <a:extLst>
              <a:ext uri="{FF2B5EF4-FFF2-40B4-BE49-F238E27FC236}">
                <a16:creationId xmlns:a16="http://schemas.microsoft.com/office/drawing/2014/main" id="{6B08287E-ED78-8D47-9119-65F47F484E4F}"/>
              </a:ext>
            </a:extLst>
          </p:cNvPr>
          <p:cNvSpPr/>
          <p:nvPr/>
        </p:nvSpPr>
        <p:spPr>
          <a:xfrm>
            <a:off x="5543461" y="1013177"/>
            <a:ext cx="576706" cy="1289384"/>
          </a:xfrm>
          <a:prstGeom prst="roundRect">
            <a:avLst/>
          </a:pr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dirty="0">
              <a:solidFill>
                <a:srgbClr val="282828">
                  <a:lumMod val="50000"/>
                </a:srgbClr>
              </a:solidFill>
              <a:latin typeface="CiscoSansTT ExtraLight"/>
            </a:endParaRPr>
          </a:p>
        </p:txBody>
      </p:sp>
      <p:sp>
        <p:nvSpPr>
          <p:cNvPr id="225" name="Rounded Rectangle 224">
            <a:extLst>
              <a:ext uri="{FF2B5EF4-FFF2-40B4-BE49-F238E27FC236}">
                <a16:creationId xmlns:a16="http://schemas.microsoft.com/office/drawing/2014/main" id="{CC87E54E-E650-894D-9978-1219E834882D}"/>
              </a:ext>
            </a:extLst>
          </p:cNvPr>
          <p:cNvSpPr/>
          <p:nvPr/>
        </p:nvSpPr>
        <p:spPr>
          <a:xfrm>
            <a:off x="2524302" y="1718177"/>
            <a:ext cx="576706" cy="893463"/>
          </a:xfrm>
          <a:prstGeom prst="roundRect">
            <a:avLst/>
          </a:pr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dirty="0">
              <a:solidFill>
                <a:srgbClr val="282828">
                  <a:lumMod val="50000"/>
                </a:srgbClr>
              </a:solidFill>
              <a:latin typeface="CiscoSansTT ExtraLight"/>
            </a:endParaRPr>
          </a:p>
        </p:txBody>
      </p:sp>
      <p:pic>
        <p:nvPicPr>
          <p:cNvPr id="226" name="Picture 225">
            <a:extLst>
              <a:ext uri="{FF2B5EF4-FFF2-40B4-BE49-F238E27FC236}">
                <a16:creationId xmlns:a16="http://schemas.microsoft.com/office/drawing/2014/main" id="{5DD85F95-94B2-C741-BE11-071BD18FA217}"/>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254142" y="2116243"/>
            <a:ext cx="505547" cy="505547"/>
          </a:xfrm>
          <a:prstGeom prst="rect">
            <a:avLst/>
          </a:prstGeom>
        </p:spPr>
      </p:pic>
      <p:pic>
        <p:nvPicPr>
          <p:cNvPr id="227" name="Picture 226">
            <a:extLst>
              <a:ext uri="{FF2B5EF4-FFF2-40B4-BE49-F238E27FC236}">
                <a16:creationId xmlns:a16="http://schemas.microsoft.com/office/drawing/2014/main" id="{A1C279C8-3893-B640-B58E-7A39C0B001B5}"/>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8569033" y="3299972"/>
            <a:ext cx="469091" cy="469091"/>
          </a:xfrm>
          <a:prstGeom prst="rect">
            <a:avLst/>
          </a:prstGeom>
        </p:spPr>
      </p:pic>
      <p:sp>
        <p:nvSpPr>
          <p:cNvPr id="4" name="TextBox 3">
            <a:extLst>
              <a:ext uri="{FF2B5EF4-FFF2-40B4-BE49-F238E27FC236}">
                <a16:creationId xmlns:a16="http://schemas.microsoft.com/office/drawing/2014/main" id="{AE6E44C2-3701-5A4F-8533-F111FDE3EC43}"/>
              </a:ext>
            </a:extLst>
          </p:cNvPr>
          <p:cNvSpPr txBox="1"/>
          <p:nvPr/>
        </p:nvSpPr>
        <p:spPr>
          <a:xfrm>
            <a:off x="178244" y="535360"/>
            <a:ext cx="2866490" cy="415498"/>
          </a:xfrm>
          <a:prstGeom prst="rect">
            <a:avLst/>
          </a:prstGeom>
          <a:solidFill>
            <a:schemeClr val="tx1">
              <a:lumMod val="10000"/>
              <a:lumOff val="90000"/>
            </a:schemeClr>
          </a:solidFill>
          <a:ln>
            <a:noFill/>
          </a:ln>
          <a:effectLst>
            <a:outerShdw blurRad="50800" dist="38100" dir="2700000" algn="tl" rotWithShape="0">
              <a:prstClr val="black">
                <a:alpha val="40000"/>
              </a:prstClr>
            </a:outerShdw>
          </a:effectLst>
        </p:spPr>
        <p:txBody>
          <a:bodyPr wrap="none" rtlCol="0">
            <a:spAutoFit/>
          </a:bodyPr>
          <a:lstStyle/>
          <a:p>
            <a:pPr defTabSz="685800" fontAlgn="auto">
              <a:spcBef>
                <a:spcPts val="0"/>
              </a:spcBef>
              <a:spcAft>
                <a:spcPts val="0"/>
              </a:spcAft>
              <a:defRPr/>
            </a:pPr>
            <a:r>
              <a:rPr lang="en-US" sz="2100" dirty="0">
                <a:solidFill>
                  <a:srgbClr val="282828"/>
                </a:solidFill>
                <a:latin typeface="CiscoSansTT ExtraLight"/>
                <a:ea typeface="+mn-ea"/>
                <a:cs typeface="+mn-cs"/>
              </a:rPr>
              <a:t>NCS 5500 Positioning</a:t>
            </a:r>
          </a:p>
        </p:txBody>
      </p:sp>
    </p:spTree>
    <p:extLst>
      <p:ext uri="{BB962C8B-B14F-4D97-AF65-F5344CB8AC3E}">
        <p14:creationId xmlns:p14="http://schemas.microsoft.com/office/powerpoint/2010/main" val="362632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2" grpId="0" animBg="1"/>
      <p:bldP spid="223" grpId="0" animBg="1"/>
      <p:bldP spid="224" grpId="0" animBg="1"/>
      <p:bldP spid="225" grpId="0" animBg="1"/>
      <p:bldP spid="4" grpId="0" animBg="1"/>
    </p:bld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F09E0-5A7B-4C41-81F0-636B97B09770}"/>
              </a:ext>
            </a:extLst>
          </p:cNvPr>
          <p:cNvSpPr>
            <a:spLocks noGrp="1"/>
          </p:cNvSpPr>
          <p:nvPr>
            <p:ph type="title"/>
          </p:nvPr>
        </p:nvSpPr>
        <p:spPr/>
        <p:txBody>
          <a:bodyPr/>
          <a:lstStyle/>
          <a:p>
            <a:r>
              <a:rPr lang="en-US" sz="2400" b="1" dirty="0"/>
              <a:t>High Level Overview of Transport Network</a:t>
            </a:r>
            <a:endParaRPr lang="en-US" dirty="0"/>
          </a:p>
        </p:txBody>
      </p:sp>
      <p:grpSp>
        <p:nvGrpSpPr>
          <p:cNvPr id="153" name="Group 152">
            <a:extLst>
              <a:ext uri="{FF2B5EF4-FFF2-40B4-BE49-F238E27FC236}">
                <a16:creationId xmlns:a16="http://schemas.microsoft.com/office/drawing/2014/main" id="{55264AB6-7C1B-584F-ADD8-345C5617161E}"/>
              </a:ext>
            </a:extLst>
          </p:cNvPr>
          <p:cNvGrpSpPr/>
          <p:nvPr/>
        </p:nvGrpSpPr>
        <p:grpSpPr>
          <a:xfrm flipH="1">
            <a:off x="1359772" y="1134839"/>
            <a:ext cx="321466" cy="234621"/>
            <a:chOff x="8630881" y="1313247"/>
            <a:chExt cx="353784" cy="272109"/>
          </a:xfrm>
        </p:grpSpPr>
        <p:sp>
          <p:nvSpPr>
            <p:cNvPr id="154" name="Rounded Rectangle 153">
              <a:extLst>
                <a:ext uri="{FF2B5EF4-FFF2-40B4-BE49-F238E27FC236}">
                  <a16:creationId xmlns:a16="http://schemas.microsoft.com/office/drawing/2014/main" id="{0691EA7B-47B4-4346-8B08-C0D5D50B62A4}"/>
                </a:ext>
              </a:extLst>
            </p:cNvPr>
            <p:cNvSpPr/>
            <p:nvPr/>
          </p:nvSpPr>
          <p:spPr>
            <a:xfrm>
              <a:off x="8630881" y="1313247"/>
              <a:ext cx="353784" cy="27210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5" name="Freeform 41">
              <a:extLst>
                <a:ext uri="{FF2B5EF4-FFF2-40B4-BE49-F238E27FC236}">
                  <a16:creationId xmlns:a16="http://schemas.microsoft.com/office/drawing/2014/main" id="{06B8A76A-EB9B-2B4D-A073-B1F59230B90B}"/>
                </a:ext>
              </a:extLst>
            </p:cNvPr>
            <p:cNvSpPr>
              <a:spLocks noEditPoints="1"/>
            </p:cNvSpPr>
            <p:nvPr/>
          </p:nvSpPr>
          <p:spPr bwMode="auto">
            <a:xfrm>
              <a:off x="8721389" y="1346707"/>
              <a:ext cx="199927" cy="20372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45692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39393B"/>
                </a:solidFill>
                <a:effectLst/>
                <a:uLnTx/>
                <a:uFillTx/>
                <a:latin typeface="Arial"/>
                <a:ea typeface=""/>
                <a:cs typeface=""/>
              </a:endParaRPr>
            </a:p>
          </p:txBody>
        </p:sp>
      </p:grpSp>
      <p:sp>
        <p:nvSpPr>
          <p:cNvPr id="156" name="TextBox 155">
            <a:extLst>
              <a:ext uri="{FF2B5EF4-FFF2-40B4-BE49-F238E27FC236}">
                <a16:creationId xmlns:a16="http://schemas.microsoft.com/office/drawing/2014/main" id="{DD4A76BC-92DC-9C4E-8C45-E38376BEC01D}"/>
              </a:ext>
            </a:extLst>
          </p:cNvPr>
          <p:cNvSpPr txBox="1"/>
          <p:nvPr/>
        </p:nvSpPr>
        <p:spPr>
          <a:xfrm flipH="1">
            <a:off x="1274589" y="896386"/>
            <a:ext cx="477819" cy="21543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282828"/>
                </a:solidFill>
                <a:effectLst/>
                <a:uLnTx/>
                <a:uFillTx/>
                <a:latin typeface="CiscoSansTT ExtraLight"/>
                <a:ea typeface="ＭＳ Ｐゴシック" charset="0"/>
              </a:rPr>
              <a:t>Site A</a:t>
            </a:r>
          </a:p>
        </p:txBody>
      </p:sp>
      <p:sp>
        <p:nvSpPr>
          <p:cNvPr id="157" name="Rounded Rectangle 156">
            <a:extLst>
              <a:ext uri="{FF2B5EF4-FFF2-40B4-BE49-F238E27FC236}">
                <a16:creationId xmlns:a16="http://schemas.microsoft.com/office/drawing/2014/main" id="{44187AF1-CA64-914B-918D-46E610EDFFD1}"/>
              </a:ext>
            </a:extLst>
          </p:cNvPr>
          <p:cNvSpPr/>
          <p:nvPr/>
        </p:nvSpPr>
        <p:spPr>
          <a:xfrm flipH="1">
            <a:off x="1317096" y="1623620"/>
            <a:ext cx="413958" cy="216476"/>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US" sz="800" b="1" dirty="0">
                <a:solidFill>
                  <a:srgbClr val="005073"/>
                </a:solidFill>
                <a:latin typeface="CiscoSansTT" panose="020B0503020201020303" pitchFamily="34" charset="0"/>
                <a:cs typeface="CiscoSansTT" panose="020B0503020201020303" pitchFamily="34" charset="0"/>
              </a:rPr>
              <a:t>BBU</a:t>
            </a:r>
            <a:endParaRPr kumimoji="0" lang="en-US" sz="800" b="1"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endParaRPr>
          </a:p>
        </p:txBody>
      </p:sp>
      <p:cxnSp>
        <p:nvCxnSpPr>
          <p:cNvPr id="158" name="Straight Connector 157">
            <a:extLst>
              <a:ext uri="{FF2B5EF4-FFF2-40B4-BE49-F238E27FC236}">
                <a16:creationId xmlns:a16="http://schemas.microsoft.com/office/drawing/2014/main" id="{8CEFC6AC-D11E-B540-8953-F1806C08B335}"/>
              </a:ext>
            </a:extLst>
          </p:cNvPr>
          <p:cNvCxnSpPr>
            <a:cxnSpLocks/>
            <a:stCxn id="157" idx="0"/>
            <a:endCxn id="154" idx="2"/>
          </p:cNvCxnSpPr>
          <p:nvPr/>
        </p:nvCxnSpPr>
        <p:spPr>
          <a:xfrm flipH="1" flipV="1">
            <a:off x="1520503" y="1369460"/>
            <a:ext cx="3572" cy="254161"/>
          </a:xfrm>
          <a:prstGeom prst="line">
            <a:avLst/>
          </a:prstGeom>
        </p:spPr>
        <p:style>
          <a:lnRef idx="1">
            <a:schemeClr val="accent1"/>
          </a:lnRef>
          <a:fillRef idx="0">
            <a:schemeClr val="accent1"/>
          </a:fillRef>
          <a:effectRef idx="0">
            <a:schemeClr val="accent1"/>
          </a:effectRef>
          <a:fontRef idx="minor">
            <a:schemeClr val="tx1"/>
          </a:fontRef>
        </p:style>
      </p:cxnSp>
      <p:sp>
        <p:nvSpPr>
          <p:cNvPr id="159" name="Rounded Rectangle 158">
            <a:extLst>
              <a:ext uri="{FF2B5EF4-FFF2-40B4-BE49-F238E27FC236}">
                <a16:creationId xmlns:a16="http://schemas.microsoft.com/office/drawing/2014/main" id="{619DE133-9335-354C-807A-41F0047E848D}"/>
              </a:ext>
            </a:extLst>
          </p:cNvPr>
          <p:cNvSpPr/>
          <p:nvPr/>
        </p:nvSpPr>
        <p:spPr>
          <a:xfrm flipH="1">
            <a:off x="1263591" y="2120917"/>
            <a:ext cx="539896" cy="683521"/>
          </a:xfrm>
          <a:prstGeom prst="roundRect">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0" name="Rounded Rectangle 159">
            <a:extLst>
              <a:ext uri="{FF2B5EF4-FFF2-40B4-BE49-F238E27FC236}">
                <a16:creationId xmlns:a16="http://schemas.microsoft.com/office/drawing/2014/main" id="{30212C84-8F28-544C-8E7E-D72C232B3E87}"/>
              </a:ext>
            </a:extLst>
          </p:cNvPr>
          <p:cNvSpPr/>
          <p:nvPr/>
        </p:nvSpPr>
        <p:spPr>
          <a:xfrm flipH="1">
            <a:off x="1358697" y="2180731"/>
            <a:ext cx="321466" cy="55161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1" name="Freeform 41">
            <a:extLst>
              <a:ext uri="{FF2B5EF4-FFF2-40B4-BE49-F238E27FC236}">
                <a16:creationId xmlns:a16="http://schemas.microsoft.com/office/drawing/2014/main" id="{C03EEA36-0B80-334D-9461-E8160EE18E10}"/>
              </a:ext>
            </a:extLst>
          </p:cNvPr>
          <p:cNvSpPr>
            <a:spLocks noEditPoints="1"/>
          </p:cNvSpPr>
          <p:nvPr/>
        </p:nvSpPr>
        <p:spPr bwMode="auto">
          <a:xfrm flipH="1">
            <a:off x="1419172" y="2247288"/>
            <a:ext cx="181664" cy="175655"/>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456929"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39393B"/>
              </a:solidFill>
              <a:effectLst/>
              <a:uLnTx/>
              <a:uFillTx/>
              <a:latin typeface="Arial"/>
              <a:ea typeface=""/>
              <a:cs typeface=""/>
            </a:endParaRPr>
          </a:p>
        </p:txBody>
      </p:sp>
      <p:sp>
        <p:nvSpPr>
          <p:cNvPr id="162" name="TextBox 161">
            <a:extLst>
              <a:ext uri="{FF2B5EF4-FFF2-40B4-BE49-F238E27FC236}">
                <a16:creationId xmlns:a16="http://schemas.microsoft.com/office/drawing/2014/main" id="{51601E07-E4EE-0B4B-9E49-4A2290E141FF}"/>
              </a:ext>
            </a:extLst>
          </p:cNvPr>
          <p:cNvSpPr txBox="1"/>
          <p:nvPr/>
        </p:nvSpPr>
        <p:spPr>
          <a:xfrm flipH="1">
            <a:off x="1298535" y="1935429"/>
            <a:ext cx="474738" cy="21543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282828"/>
                </a:solidFill>
                <a:effectLst/>
                <a:uLnTx/>
                <a:uFillTx/>
                <a:latin typeface="CiscoSansTT ExtraLight"/>
                <a:ea typeface="ＭＳ Ｐゴシック" charset="0"/>
              </a:rPr>
              <a:t>Site B</a:t>
            </a:r>
          </a:p>
        </p:txBody>
      </p:sp>
      <p:sp>
        <p:nvSpPr>
          <p:cNvPr id="163" name="Rounded Rectangle 162">
            <a:extLst>
              <a:ext uri="{FF2B5EF4-FFF2-40B4-BE49-F238E27FC236}">
                <a16:creationId xmlns:a16="http://schemas.microsoft.com/office/drawing/2014/main" id="{E0A4DFDD-566D-5749-A773-10DE168C4089}"/>
              </a:ext>
            </a:extLst>
          </p:cNvPr>
          <p:cNvSpPr/>
          <p:nvPr/>
        </p:nvSpPr>
        <p:spPr>
          <a:xfrm flipH="1">
            <a:off x="1289074" y="2504175"/>
            <a:ext cx="440280" cy="28215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DU</a:t>
            </a:r>
          </a:p>
        </p:txBody>
      </p:sp>
      <p:sp>
        <p:nvSpPr>
          <p:cNvPr id="164" name="Rounded Rectangle 163">
            <a:extLst>
              <a:ext uri="{FF2B5EF4-FFF2-40B4-BE49-F238E27FC236}">
                <a16:creationId xmlns:a16="http://schemas.microsoft.com/office/drawing/2014/main" id="{CC2BDBE2-9F69-694B-8FFA-FB5F7B39156E}"/>
              </a:ext>
            </a:extLst>
          </p:cNvPr>
          <p:cNvSpPr/>
          <p:nvPr/>
        </p:nvSpPr>
        <p:spPr>
          <a:xfrm flipH="1">
            <a:off x="1263592" y="1095446"/>
            <a:ext cx="521793" cy="764163"/>
          </a:xfrm>
          <a:prstGeom prst="roundRect">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3" name="Can 172">
            <a:extLst>
              <a:ext uri="{FF2B5EF4-FFF2-40B4-BE49-F238E27FC236}">
                <a16:creationId xmlns:a16="http://schemas.microsoft.com/office/drawing/2014/main" id="{72D64E59-886F-994F-97AC-F5065E2F1336}"/>
              </a:ext>
            </a:extLst>
          </p:cNvPr>
          <p:cNvSpPr/>
          <p:nvPr/>
        </p:nvSpPr>
        <p:spPr>
          <a:xfrm flipH="1">
            <a:off x="2383678" y="2047316"/>
            <a:ext cx="1008248" cy="306134"/>
          </a:xfrm>
          <a:prstGeom prst="can">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174" name="Elbow Connector 173">
            <a:extLst>
              <a:ext uri="{FF2B5EF4-FFF2-40B4-BE49-F238E27FC236}">
                <a16:creationId xmlns:a16="http://schemas.microsoft.com/office/drawing/2014/main" id="{62EF18D8-DD2C-864A-B0C8-B8E5E9F38582}"/>
              </a:ext>
            </a:extLst>
          </p:cNvPr>
          <p:cNvCxnSpPr>
            <a:cxnSpLocks/>
            <a:stCxn id="157" idx="1"/>
            <a:endCxn id="173" idx="4"/>
          </p:cNvCxnSpPr>
          <p:nvPr/>
        </p:nvCxnSpPr>
        <p:spPr>
          <a:xfrm>
            <a:off x="1731054" y="1731858"/>
            <a:ext cx="652624" cy="468525"/>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77" name="Can 176">
            <a:extLst>
              <a:ext uri="{FF2B5EF4-FFF2-40B4-BE49-F238E27FC236}">
                <a16:creationId xmlns:a16="http://schemas.microsoft.com/office/drawing/2014/main" id="{307BEF5D-639F-5D4A-BB7E-211459139223}"/>
              </a:ext>
            </a:extLst>
          </p:cNvPr>
          <p:cNvSpPr/>
          <p:nvPr/>
        </p:nvSpPr>
        <p:spPr>
          <a:xfrm flipH="1">
            <a:off x="3808422" y="2055427"/>
            <a:ext cx="1008248" cy="306134"/>
          </a:xfrm>
          <a:prstGeom prst="can">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178" name="Straight Arrow Connector 177">
            <a:extLst>
              <a:ext uri="{FF2B5EF4-FFF2-40B4-BE49-F238E27FC236}">
                <a16:creationId xmlns:a16="http://schemas.microsoft.com/office/drawing/2014/main" id="{D5929F21-FBAE-4842-AF90-2A316F13170B}"/>
              </a:ext>
            </a:extLst>
          </p:cNvPr>
          <p:cNvCxnSpPr>
            <a:stCxn id="177" idx="4"/>
            <a:endCxn id="173" idx="2"/>
          </p:cNvCxnSpPr>
          <p:nvPr/>
        </p:nvCxnSpPr>
        <p:spPr>
          <a:xfrm flipH="1" flipV="1">
            <a:off x="3391926" y="2200383"/>
            <a:ext cx="416496" cy="811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8DDA686A-6DB9-1646-9B4D-DD78F003C53F}"/>
              </a:ext>
            </a:extLst>
          </p:cNvPr>
          <p:cNvCxnSpPr>
            <a:cxnSpLocks/>
            <a:endCxn id="177" idx="2"/>
          </p:cNvCxnSpPr>
          <p:nvPr/>
        </p:nvCxnSpPr>
        <p:spPr>
          <a:xfrm flipH="1">
            <a:off x="4816670" y="2208493"/>
            <a:ext cx="435436"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1" name="Can 180">
            <a:extLst>
              <a:ext uri="{FF2B5EF4-FFF2-40B4-BE49-F238E27FC236}">
                <a16:creationId xmlns:a16="http://schemas.microsoft.com/office/drawing/2014/main" id="{7646F95F-0131-4043-B163-D9A69B58B36B}"/>
              </a:ext>
            </a:extLst>
          </p:cNvPr>
          <p:cNvSpPr/>
          <p:nvPr/>
        </p:nvSpPr>
        <p:spPr>
          <a:xfrm flipH="1">
            <a:off x="5255426" y="2047315"/>
            <a:ext cx="2395930" cy="306134"/>
          </a:xfrm>
          <a:prstGeom prst="can">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3" name="TextBox 182">
            <a:extLst>
              <a:ext uri="{FF2B5EF4-FFF2-40B4-BE49-F238E27FC236}">
                <a16:creationId xmlns:a16="http://schemas.microsoft.com/office/drawing/2014/main" id="{AB0B1623-7810-5140-B98B-47103768B944}"/>
              </a:ext>
            </a:extLst>
          </p:cNvPr>
          <p:cNvSpPr txBox="1"/>
          <p:nvPr/>
        </p:nvSpPr>
        <p:spPr>
          <a:xfrm flipH="1">
            <a:off x="2384532" y="2107070"/>
            <a:ext cx="1014889" cy="230832"/>
          </a:xfrm>
          <a:prstGeom prst="rect">
            <a:avLst/>
          </a:prstGeom>
          <a:solidFill>
            <a:schemeClr val="accent2"/>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2"/>
                </a:solidFill>
                <a:effectLst/>
                <a:uLnTx/>
                <a:uFillTx/>
                <a:latin typeface="CiscoSansTT" panose="020B0503020201020303" pitchFamily="34" charset="0"/>
                <a:ea typeface="ＭＳ Ｐゴシック" charset="0"/>
                <a:cs typeface="CiscoSansTT" panose="020B0503020201020303" pitchFamily="34" charset="0"/>
              </a:rPr>
              <a:t>ACCESS </a:t>
            </a:r>
          </a:p>
        </p:txBody>
      </p:sp>
      <p:sp>
        <p:nvSpPr>
          <p:cNvPr id="184" name="TextBox 183">
            <a:extLst>
              <a:ext uri="{FF2B5EF4-FFF2-40B4-BE49-F238E27FC236}">
                <a16:creationId xmlns:a16="http://schemas.microsoft.com/office/drawing/2014/main" id="{D68A2EB6-796C-B34A-96B4-90712136C3E7}"/>
              </a:ext>
            </a:extLst>
          </p:cNvPr>
          <p:cNvSpPr txBox="1"/>
          <p:nvPr/>
        </p:nvSpPr>
        <p:spPr>
          <a:xfrm flipH="1">
            <a:off x="3805101" y="2108152"/>
            <a:ext cx="1014889" cy="230832"/>
          </a:xfrm>
          <a:prstGeom prst="rect">
            <a:avLst/>
          </a:prstGeom>
          <a:solidFill>
            <a:schemeClr val="accent2"/>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2"/>
                </a:solidFill>
                <a:effectLst/>
                <a:uLnTx/>
                <a:uFillTx/>
                <a:latin typeface="CiscoSansTT" panose="020B0503020201020303" pitchFamily="34" charset="0"/>
                <a:ea typeface="ＭＳ Ｐゴシック" charset="0"/>
                <a:cs typeface="CiscoSansTT" panose="020B0503020201020303" pitchFamily="34" charset="0"/>
              </a:rPr>
              <a:t>PRE-AGG</a:t>
            </a:r>
          </a:p>
        </p:txBody>
      </p:sp>
      <p:sp>
        <p:nvSpPr>
          <p:cNvPr id="186" name="TextBox 185">
            <a:extLst>
              <a:ext uri="{FF2B5EF4-FFF2-40B4-BE49-F238E27FC236}">
                <a16:creationId xmlns:a16="http://schemas.microsoft.com/office/drawing/2014/main" id="{35DDD3AA-BE3A-C046-A2D9-376F4009476D}"/>
              </a:ext>
            </a:extLst>
          </p:cNvPr>
          <p:cNvSpPr txBox="1"/>
          <p:nvPr/>
        </p:nvSpPr>
        <p:spPr>
          <a:xfrm flipH="1">
            <a:off x="5252106" y="2116638"/>
            <a:ext cx="2436756" cy="2308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2"/>
                </a:solidFill>
                <a:effectLst/>
                <a:uLnTx/>
                <a:uFillTx/>
                <a:latin typeface="CiscoSansTT" panose="020B0503020201020303" pitchFamily="34" charset="0"/>
                <a:ea typeface="ＭＳ Ｐゴシック" charset="0"/>
                <a:cs typeface="CiscoSansTT" panose="020B0503020201020303" pitchFamily="34" charset="0"/>
              </a:rPr>
              <a:t>IP CORE</a:t>
            </a:r>
          </a:p>
        </p:txBody>
      </p:sp>
      <p:sp>
        <p:nvSpPr>
          <p:cNvPr id="187" name="TextBox 186">
            <a:extLst>
              <a:ext uri="{FF2B5EF4-FFF2-40B4-BE49-F238E27FC236}">
                <a16:creationId xmlns:a16="http://schemas.microsoft.com/office/drawing/2014/main" id="{312298D2-B0A2-2D42-B7C1-0AAAE31197D2}"/>
              </a:ext>
            </a:extLst>
          </p:cNvPr>
          <p:cNvSpPr txBox="1"/>
          <p:nvPr/>
        </p:nvSpPr>
        <p:spPr>
          <a:xfrm flipH="1">
            <a:off x="508647" y="1381124"/>
            <a:ext cx="728084" cy="2308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82828"/>
                </a:solidFill>
                <a:effectLst/>
                <a:uLnTx/>
                <a:uFillTx/>
                <a:latin typeface="CiscoSansTT" panose="020B0503020201020303" pitchFamily="34" charset="0"/>
                <a:ea typeface="ＭＳ Ｐゴシック" charset="0"/>
                <a:cs typeface="CiscoSansTT" panose="020B0503020201020303" pitchFamily="34" charset="0"/>
              </a:rPr>
              <a:t>2G/3G/4G</a:t>
            </a:r>
          </a:p>
        </p:txBody>
      </p:sp>
      <p:sp>
        <p:nvSpPr>
          <p:cNvPr id="188" name="TextBox 187">
            <a:extLst>
              <a:ext uri="{FF2B5EF4-FFF2-40B4-BE49-F238E27FC236}">
                <a16:creationId xmlns:a16="http://schemas.microsoft.com/office/drawing/2014/main" id="{3427D4E1-DBC0-1F42-A107-F03C24C06477}"/>
              </a:ext>
            </a:extLst>
          </p:cNvPr>
          <p:cNvSpPr txBox="1"/>
          <p:nvPr/>
        </p:nvSpPr>
        <p:spPr>
          <a:xfrm flipH="1">
            <a:off x="446674" y="2370651"/>
            <a:ext cx="821059" cy="2308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82828"/>
                </a:solidFill>
                <a:effectLst/>
                <a:uLnTx/>
                <a:uFillTx/>
                <a:latin typeface="CiscoSansTT" panose="020B0503020201020303" pitchFamily="34" charset="0"/>
                <a:ea typeface="ＭＳ Ｐゴシック" charset="0"/>
                <a:cs typeface="CiscoSansTT" panose="020B0503020201020303" pitchFamily="34" charset="0"/>
              </a:rPr>
              <a:t>5G – Future</a:t>
            </a:r>
          </a:p>
        </p:txBody>
      </p:sp>
      <p:sp>
        <p:nvSpPr>
          <p:cNvPr id="190" name="Rounded Rectangle 189">
            <a:extLst>
              <a:ext uri="{FF2B5EF4-FFF2-40B4-BE49-F238E27FC236}">
                <a16:creationId xmlns:a16="http://schemas.microsoft.com/office/drawing/2014/main" id="{6A676934-678A-5A44-96A6-6AE60D3450FB}"/>
              </a:ext>
            </a:extLst>
          </p:cNvPr>
          <p:cNvSpPr/>
          <p:nvPr/>
        </p:nvSpPr>
        <p:spPr>
          <a:xfrm flipH="1">
            <a:off x="3938369" y="2635402"/>
            <a:ext cx="739229" cy="220508"/>
          </a:xfrm>
          <a:prstGeom prst="roundRect">
            <a:avLst/>
          </a:prstGeom>
          <a:solidFill>
            <a:schemeClr val="accent5"/>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CRAN / CU</a:t>
            </a:r>
          </a:p>
        </p:txBody>
      </p:sp>
      <p:cxnSp>
        <p:nvCxnSpPr>
          <p:cNvPr id="191" name="Straight Connector 190">
            <a:extLst>
              <a:ext uri="{FF2B5EF4-FFF2-40B4-BE49-F238E27FC236}">
                <a16:creationId xmlns:a16="http://schemas.microsoft.com/office/drawing/2014/main" id="{85E276F1-F1D2-E74F-B6E4-BC5E6C62C204}"/>
              </a:ext>
            </a:extLst>
          </p:cNvPr>
          <p:cNvCxnSpPr>
            <a:cxnSpLocks/>
            <a:stCxn id="177" idx="3"/>
            <a:endCxn id="190" idx="0"/>
          </p:cNvCxnSpPr>
          <p:nvPr/>
        </p:nvCxnSpPr>
        <p:spPr>
          <a:xfrm flipH="1">
            <a:off x="4307984" y="2361560"/>
            <a:ext cx="4561" cy="273842"/>
          </a:xfrm>
          <a:prstGeom prst="line">
            <a:avLst/>
          </a:prstGeom>
        </p:spPr>
        <p:style>
          <a:lnRef idx="1">
            <a:schemeClr val="accent1"/>
          </a:lnRef>
          <a:fillRef idx="0">
            <a:schemeClr val="accent1"/>
          </a:fillRef>
          <a:effectRef idx="0">
            <a:schemeClr val="accent1"/>
          </a:effectRef>
          <a:fontRef idx="minor">
            <a:schemeClr val="tx1"/>
          </a:fontRef>
        </p:style>
      </p:cxnSp>
      <p:sp>
        <p:nvSpPr>
          <p:cNvPr id="192" name="TextBox 191">
            <a:extLst>
              <a:ext uri="{FF2B5EF4-FFF2-40B4-BE49-F238E27FC236}">
                <a16:creationId xmlns:a16="http://schemas.microsoft.com/office/drawing/2014/main" id="{2F4542FC-27BE-B24B-A18B-7A20B84FDEC7}"/>
              </a:ext>
            </a:extLst>
          </p:cNvPr>
          <p:cNvSpPr txBox="1"/>
          <p:nvPr/>
        </p:nvSpPr>
        <p:spPr>
          <a:xfrm flipH="1">
            <a:off x="1850011" y="1508447"/>
            <a:ext cx="670363" cy="21543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BCEB">
                    <a:lumMod val="75000"/>
                  </a:srgbClr>
                </a:solidFill>
                <a:effectLst/>
                <a:uLnTx/>
                <a:uFillTx/>
                <a:latin typeface="CiscoSansTT" panose="020B0503020201020303" pitchFamily="34" charset="0"/>
                <a:ea typeface="ＭＳ Ｐゴシック" charset="0"/>
                <a:cs typeface="CiscoSansTT" panose="020B0503020201020303" pitchFamily="34" charset="0"/>
              </a:rPr>
              <a:t>Backhaul</a:t>
            </a:r>
          </a:p>
        </p:txBody>
      </p:sp>
      <p:sp>
        <p:nvSpPr>
          <p:cNvPr id="193" name="TextBox 192">
            <a:extLst>
              <a:ext uri="{FF2B5EF4-FFF2-40B4-BE49-F238E27FC236}">
                <a16:creationId xmlns:a16="http://schemas.microsoft.com/office/drawing/2014/main" id="{BDC1C1DC-C389-B84A-9973-97A80C67915D}"/>
              </a:ext>
            </a:extLst>
          </p:cNvPr>
          <p:cNvSpPr txBox="1"/>
          <p:nvPr/>
        </p:nvSpPr>
        <p:spPr>
          <a:xfrm flipH="1">
            <a:off x="4665177" y="1877016"/>
            <a:ext cx="670363" cy="21543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BCEB">
                    <a:lumMod val="75000"/>
                  </a:srgbClr>
                </a:solidFill>
                <a:effectLst/>
                <a:uLnTx/>
                <a:uFillTx/>
                <a:latin typeface="CiscoSansTT" panose="020B0503020201020303" pitchFamily="34" charset="0"/>
                <a:ea typeface="ＭＳ Ｐゴシック" charset="0"/>
                <a:cs typeface="CiscoSansTT" panose="020B0503020201020303" pitchFamily="34" charset="0"/>
              </a:rPr>
              <a:t>Backhaul</a:t>
            </a:r>
          </a:p>
        </p:txBody>
      </p:sp>
      <p:pic>
        <p:nvPicPr>
          <p:cNvPr id="230" name="Picture 229">
            <a:extLst>
              <a:ext uri="{FF2B5EF4-FFF2-40B4-BE49-F238E27FC236}">
                <a16:creationId xmlns:a16="http://schemas.microsoft.com/office/drawing/2014/main" id="{2CA73F54-E02F-5F4C-8AC0-3A3BEDADA9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755772" y="1579788"/>
            <a:ext cx="478578" cy="454394"/>
          </a:xfrm>
          <a:prstGeom prst="rect">
            <a:avLst/>
          </a:prstGeom>
        </p:spPr>
      </p:pic>
      <p:sp>
        <p:nvSpPr>
          <p:cNvPr id="231" name="Freeform 11">
            <a:extLst>
              <a:ext uri="{FF2B5EF4-FFF2-40B4-BE49-F238E27FC236}">
                <a16:creationId xmlns:a16="http://schemas.microsoft.com/office/drawing/2014/main" id="{2F159F29-6D43-A645-8FCC-D9AA58A3C083}"/>
              </a:ext>
            </a:extLst>
          </p:cNvPr>
          <p:cNvSpPr>
            <a:spLocks noEditPoints="1"/>
          </p:cNvSpPr>
          <p:nvPr/>
        </p:nvSpPr>
        <p:spPr bwMode="auto">
          <a:xfrm flipH="1">
            <a:off x="7764315" y="2379442"/>
            <a:ext cx="470036" cy="461145"/>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tx2"/>
          </a:solidFill>
          <a:ln w="25400" cap="flat" cmpd="sng" algn="ctr">
            <a:noFill/>
            <a:prstDash val="solid"/>
          </a:ln>
          <a:effectLst/>
        </p:spPr>
        <p:txBody>
          <a:bodyPr anchor="b"/>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96D6"/>
              </a:solidFill>
              <a:effectLst/>
              <a:uLnTx/>
              <a:uFillTx/>
              <a:latin typeface="Arial"/>
              <a:ea typeface="ＭＳ Ｐゴシック" charset="0"/>
              <a:cs typeface=""/>
            </a:endParaRPr>
          </a:p>
        </p:txBody>
      </p:sp>
      <p:cxnSp>
        <p:nvCxnSpPr>
          <p:cNvPr id="232" name="Straight Arrow Connector 231">
            <a:extLst>
              <a:ext uri="{FF2B5EF4-FFF2-40B4-BE49-F238E27FC236}">
                <a16:creationId xmlns:a16="http://schemas.microsoft.com/office/drawing/2014/main" id="{FBB4FEE1-CBE6-7E40-A4C0-403B51D4A8F2}"/>
              </a:ext>
            </a:extLst>
          </p:cNvPr>
          <p:cNvCxnSpPr>
            <a:cxnSpLocks/>
            <a:stCxn id="230" idx="2"/>
            <a:endCxn id="186" idx="1"/>
          </p:cNvCxnSpPr>
          <p:nvPr/>
        </p:nvCxnSpPr>
        <p:spPr>
          <a:xfrm flipH="1">
            <a:off x="7688862" y="2034182"/>
            <a:ext cx="306199" cy="19787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3" name="Straight Arrow Connector 232">
            <a:extLst>
              <a:ext uri="{FF2B5EF4-FFF2-40B4-BE49-F238E27FC236}">
                <a16:creationId xmlns:a16="http://schemas.microsoft.com/office/drawing/2014/main" id="{A86A7843-E76F-C34A-A43C-4403B5F81A84}"/>
              </a:ext>
            </a:extLst>
          </p:cNvPr>
          <p:cNvCxnSpPr>
            <a:cxnSpLocks/>
            <a:endCxn id="186" idx="1"/>
          </p:cNvCxnSpPr>
          <p:nvPr/>
        </p:nvCxnSpPr>
        <p:spPr>
          <a:xfrm flipH="1" flipV="1">
            <a:off x="7688862" y="2232054"/>
            <a:ext cx="310476" cy="14739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B68AB6C4-FF60-4A4F-8E52-3E35DF1B2C8B}"/>
              </a:ext>
            </a:extLst>
          </p:cNvPr>
          <p:cNvSpPr txBox="1"/>
          <p:nvPr/>
        </p:nvSpPr>
        <p:spPr>
          <a:xfrm flipH="1">
            <a:off x="3263672" y="1850728"/>
            <a:ext cx="670363" cy="21543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BCEB">
                    <a:lumMod val="75000"/>
                  </a:srgbClr>
                </a:solidFill>
                <a:effectLst/>
                <a:uLnTx/>
                <a:uFillTx/>
                <a:latin typeface="CiscoSansTT" panose="020B0503020201020303" pitchFamily="34" charset="0"/>
                <a:ea typeface="ＭＳ Ｐゴシック" charset="0"/>
                <a:cs typeface="CiscoSansTT" panose="020B0503020201020303" pitchFamily="34" charset="0"/>
              </a:rPr>
              <a:t>Backhaul</a:t>
            </a:r>
          </a:p>
        </p:txBody>
      </p:sp>
      <p:sp>
        <p:nvSpPr>
          <p:cNvPr id="235" name="TextBox 234">
            <a:extLst>
              <a:ext uri="{FF2B5EF4-FFF2-40B4-BE49-F238E27FC236}">
                <a16:creationId xmlns:a16="http://schemas.microsoft.com/office/drawing/2014/main" id="{8818DFA5-8450-E040-BE1B-15E78B20B9C3}"/>
              </a:ext>
            </a:extLst>
          </p:cNvPr>
          <p:cNvSpPr txBox="1"/>
          <p:nvPr/>
        </p:nvSpPr>
        <p:spPr>
          <a:xfrm flipH="1">
            <a:off x="3280983" y="2320651"/>
            <a:ext cx="602587" cy="21543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err="1">
                <a:ln>
                  <a:noFill/>
                </a:ln>
                <a:solidFill>
                  <a:srgbClr val="6EBE4A">
                    <a:lumMod val="50000"/>
                  </a:srgbClr>
                </a:solidFill>
                <a:effectLst/>
                <a:uLnTx/>
                <a:uFillTx/>
                <a:latin typeface="CiscoSansTT" panose="020B0503020201020303" pitchFamily="34" charset="0"/>
                <a:ea typeface="ＭＳ Ｐゴシック" charset="0"/>
                <a:cs typeface="CiscoSansTT" panose="020B0503020201020303" pitchFamily="34" charset="0"/>
              </a:rPr>
              <a:t>Midhaul</a:t>
            </a:r>
            <a:endParaRPr kumimoji="0" lang="en-US" sz="900" b="1" i="0" u="none" strike="noStrike" kern="1200" cap="none" spc="0" normalizeH="0" baseline="0" noProof="0" dirty="0">
              <a:ln>
                <a:noFill/>
              </a:ln>
              <a:solidFill>
                <a:srgbClr val="6EBE4A">
                  <a:lumMod val="50000"/>
                </a:srgbClr>
              </a:solidFill>
              <a:effectLst/>
              <a:uLnTx/>
              <a:uFillTx/>
              <a:latin typeface="CiscoSansTT" panose="020B0503020201020303" pitchFamily="34" charset="0"/>
              <a:ea typeface="ＭＳ Ｐゴシック" charset="0"/>
              <a:cs typeface="CiscoSansTT" panose="020B0503020201020303" pitchFamily="34" charset="0"/>
            </a:endParaRPr>
          </a:p>
        </p:txBody>
      </p:sp>
      <p:sp>
        <p:nvSpPr>
          <p:cNvPr id="236" name="TextBox 235">
            <a:extLst>
              <a:ext uri="{FF2B5EF4-FFF2-40B4-BE49-F238E27FC236}">
                <a16:creationId xmlns:a16="http://schemas.microsoft.com/office/drawing/2014/main" id="{E3361F6E-682D-FB4E-A0C5-5E7CDA6F0082}"/>
              </a:ext>
            </a:extLst>
          </p:cNvPr>
          <p:cNvSpPr txBox="1"/>
          <p:nvPr/>
        </p:nvSpPr>
        <p:spPr>
          <a:xfrm flipH="1">
            <a:off x="7820399" y="1352432"/>
            <a:ext cx="372218" cy="24622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282828"/>
                </a:solidFill>
                <a:effectLst/>
                <a:uLnTx/>
                <a:uFillTx/>
                <a:latin typeface="CiscoSansTT" panose="020B0503020201020303" pitchFamily="34" charset="0"/>
                <a:ea typeface="ＭＳ Ｐゴシック" charset="0"/>
                <a:cs typeface="CiscoSansTT" panose="020B0503020201020303" pitchFamily="34" charset="0"/>
              </a:rPr>
              <a:t>DC</a:t>
            </a:r>
          </a:p>
        </p:txBody>
      </p:sp>
      <p:sp>
        <p:nvSpPr>
          <p:cNvPr id="237" name="TextBox 236">
            <a:extLst>
              <a:ext uri="{FF2B5EF4-FFF2-40B4-BE49-F238E27FC236}">
                <a16:creationId xmlns:a16="http://schemas.microsoft.com/office/drawing/2014/main" id="{EA311233-6296-434D-8A25-C3BB169CC699}"/>
              </a:ext>
            </a:extLst>
          </p:cNvPr>
          <p:cNvSpPr txBox="1"/>
          <p:nvPr/>
        </p:nvSpPr>
        <p:spPr>
          <a:xfrm flipH="1">
            <a:off x="7699668" y="2840587"/>
            <a:ext cx="673582" cy="24622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282828"/>
                </a:solidFill>
                <a:effectLst/>
                <a:uLnTx/>
                <a:uFillTx/>
                <a:latin typeface="CiscoSansTT" panose="020B0503020201020303" pitchFamily="34" charset="0"/>
                <a:ea typeface="ＭＳ Ｐゴシック" charset="0"/>
                <a:cs typeface="CiscoSansTT" panose="020B0503020201020303" pitchFamily="34" charset="0"/>
              </a:rPr>
              <a:t>Internet</a:t>
            </a:r>
          </a:p>
        </p:txBody>
      </p:sp>
      <p:sp>
        <p:nvSpPr>
          <p:cNvPr id="238" name="TextBox 237">
            <a:extLst>
              <a:ext uri="{FF2B5EF4-FFF2-40B4-BE49-F238E27FC236}">
                <a16:creationId xmlns:a16="http://schemas.microsoft.com/office/drawing/2014/main" id="{5FE581D9-4AFC-C043-918A-69BC2BBD930C}"/>
              </a:ext>
            </a:extLst>
          </p:cNvPr>
          <p:cNvSpPr txBox="1"/>
          <p:nvPr/>
        </p:nvSpPr>
        <p:spPr>
          <a:xfrm flipH="1">
            <a:off x="4480582" y="2961960"/>
            <a:ext cx="422366" cy="21543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82828"/>
                </a:solidFill>
                <a:effectLst/>
                <a:uLnTx/>
                <a:uFillTx/>
                <a:latin typeface="CiscoSansTT" panose="020B0503020201020303" pitchFamily="34" charset="0"/>
                <a:ea typeface="ＭＳ Ｐゴシック" charset="0"/>
                <a:cs typeface="CiscoSansTT" panose="020B0503020201020303" pitchFamily="34" charset="0"/>
              </a:rPr>
              <a:t>MEC</a:t>
            </a:r>
          </a:p>
        </p:txBody>
      </p:sp>
      <p:cxnSp>
        <p:nvCxnSpPr>
          <p:cNvPr id="243" name="Elbow Connector 242">
            <a:extLst>
              <a:ext uri="{FF2B5EF4-FFF2-40B4-BE49-F238E27FC236}">
                <a16:creationId xmlns:a16="http://schemas.microsoft.com/office/drawing/2014/main" id="{30752779-3976-EC4B-A230-4D59FEDADDB5}"/>
              </a:ext>
            </a:extLst>
          </p:cNvPr>
          <p:cNvCxnSpPr>
            <a:cxnSpLocks/>
            <a:stCxn id="163" idx="1"/>
            <a:endCxn id="173" idx="4"/>
          </p:cNvCxnSpPr>
          <p:nvPr/>
        </p:nvCxnSpPr>
        <p:spPr>
          <a:xfrm flipV="1">
            <a:off x="1729354" y="2200383"/>
            <a:ext cx="654324" cy="444870"/>
          </a:xfrm>
          <a:prstGeom prst="bentConnector3">
            <a:avLst>
              <a:gd name="adj1" fmla="val 50000"/>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9" name="TextBox 248">
            <a:extLst>
              <a:ext uri="{FF2B5EF4-FFF2-40B4-BE49-F238E27FC236}">
                <a16:creationId xmlns:a16="http://schemas.microsoft.com/office/drawing/2014/main" id="{40A7CF36-9A5C-C840-BBA3-52D78FE643FC}"/>
              </a:ext>
            </a:extLst>
          </p:cNvPr>
          <p:cNvSpPr txBox="1"/>
          <p:nvPr/>
        </p:nvSpPr>
        <p:spPr>
          <a:xfrm flipH="1">
            <a:off x="1821243" y="2658227"/>
            <a:ext cx="602587" cy="21543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err="1">
                <a:ln>
                  <a:noFill/>
                </a:ln>
                <a:solidFill>
                  <a:srgbClr val="6EBE4A">
                    <a:lumMod val="50000"/>
                  </a:srgbClr>
                </a:solidFill>
                <a:effectLst/>
                <a:uLnTx/>
                <a:uFillTx/>
                <a:latin typeface="CiscoSansTT" panose="020B0503020201020303" pitchFamily="34" charset="0"/>
                <a:ea typeface="ＭＳ Ｐゴシック" charset="0"/>
                <a:cs typeface="CiscoSansTT" panose="020B0503020201020303" pitchFamily="34" charset="0"/>
              </a:rPr>
              <a:t>Midhaul</a:t>
            </a:r>
            <a:endParaRPr kumimoji="0" lang="en-US" sz="900" b="1" i="0" u="none" strike="noStrike" kern="1200" cap="none" spc="0" normalizeH="0" baseline="0" noProof="0" dirty="0">
              <a:ln>
                <a:noFill/>
              </a:ln>
              <a:solidFill>
                <a:srgbClr val="6EBE4A">
                  <a:lumMod val="50000"/>
                </a:srgbClr>
              </a:solidFill>
              <a:effectLst/>
              <a:uLnTx/>
              <a:uFillTx/>
              <a:latin typeface="CiscoSansTT" panose="020B0503020201020303" pitchFamily="34" charset="0"/>
              <a:ea typeface="ＭＳ Ｐゴシック" charset="0"/>
              <a:cs typeface="CiscoSansTT" panose="020B0503020201020303" pitchFamily="34" charset="0"/>
            </a:endParaRPr>
          </a:p>
        </p:txBody>
      </p:sp>
      <p:sp>
        <p:nvSpPr>
          <p:cNvPr id="250" name="Can 249">
            <a:extLst>
              <a:ext uri="{FF2B5EF4-FFF2-40B4-BE49-F238E27FC236}">
                <a16:creationId xmlns:a16="http://schemas.microsoft.com/office/drawing/2014/main" id="{7036D294-36F9-4E49-A09D-DFD445752DCF}"/>
              </a:ext>
            </a:extLst>
          </p:cNvPr>
          <p:cNvSpPr/>
          <p:nvPr/>
        </p:nvSpPr>
        <p:spPr>
          <a:xfrm>
            <a:off x="4120172" y="2529878"/>
            <a:ext cx="381060" cy="128349"/>
          </a:xfrm>
          <a:prstGeom prst="ca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TOR</a:t>
            </a:r>
          </a:p>
        </p:txBody>
      </p:sp>
      <p:sp>
        <p:nvSpPr>
          <p:cNvPr id="255" name="Rectangle 254">
            <a:extLst>
              <a:ext uri="{FF2B5EF4-FFF2-40B4-BE49-F238E27FC236}">
                <a16:creationId xmlns:a16="http://schemas.microsoft.com/office/drawing/2014/main" id="{8A691B35-F494-6645-B10E-D8D97EB2DB1C}"/>
              </a:ext>
            </a:extLst>
          </p:cNvPr>
          <p:cNvSpPr/>
          <p:nvPr/>
        </p:nvSpPr>
        <p:spPr>
          <a:xfrm>
            <a:off x="2620883" y="330981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ACCESS</a:t>
            </a:r>
          </a:p>
        </p:txBody>
      </p:sp>
      <p:sp>
        <p:nvSpPr>
          <p:cNvPr id="256" name="Rectangle 255">
            <a:extLst>
              <a:ext uri="{FF2B5EF4-FFF2-40B4-BE49-F238E27FC236}">
                <a16:creationId xmlns:a16="http://schemas.microsoft.com/office/drawing/2014/main" id="{883412B4-F344-BD4A-BF69-2C6348A9B29D}"/>
              </a:ext>
            </a:extLst>
          </p:cNvPr>
          <p:cNvSpPr/>
          <p:nvPr/>
        </p:nvSpPr>
        <p:spPr>
          <a:xfrm>
            <a:off x="2599582" y="369414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p:txBody>
      </p:sp>
      <p:sp>
        <p:nvSpPr>
          <p:cNvPr id="258" name="Rectangle 257">
            <a:extLst>
              <a:ext uri="{FF2B5EF4-FFF2-40B4-BE49-F238E27FC236}">
                <a16:creationId xmlns:a16="http://schemas.microsoft.com/office/drawing/2014/main" id="{ECBC41B7-BFEC-5442-B20B-A55C09CEB4F5}"/>
              </a:ext>
            </a:extLst>
          </p:cNvPr>
          <p:cNvSpPr/>
          <p:nvPr/>
        </p:nvSpPr>
        <p:spPr>
          <a:xfrm>
            <a:off x="4216116" y="330981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PRE-AGG</a:t>
            </a:r>
          </a:p>
        </p:txBody>
      </p:sp>
      <p:sp>
        <p:nvSpPr>
          <p:cNvPr id="259" name="Rectangle 258">
            <a:extLst>
              <a:ext uri="{FF2B5EF4-FFF2-40B4-BE49-F238E27FC236}">
                <a16:creationId xmlns:a16="http://schemas.microsoft.com/office/drawing/2014/main" id="{28301E23-A034-6C43-A9EB-CB9CCA434A95}"/>
              </a:ext>
            </a:extLst>
          </p:cNvPr>
          <p:cNvSpPr/>
          <p:nvPr/>
        </p:nvSpPr>
        <p:spPr>
          <a:xfrm>
            <a:off x="4192896" y="369414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5xx</a:t>
            </a:r>
          </a:p>
        </p:txBody>
      </p:sp>
      <p:sp>
        <p:nvSpPr>
          <p:cNvPr id="262" name="Rectangle 261">
            <a:extLst>
              <a:ext uri="{FF2B5EF4-FFF2-40B4-BE49-F238E27FC236}">
                <a16:creationId xmlns:a16="http://schemas.microsoft.com/office/drawing/2014/main" id="{867AAD51-1157-F84E-8243-04D7BA6D05E4}"/>
              </a:ext>
            </a:extLst>
          </p:cNvPr>
          <p:cNvSpPr/>
          <p:nvPr/>
        </p:nvSpPr>
        <p:spPr>
          <a:xfrm>
            <a:off x="5811349" y="330981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IP Core</a:t>
            </a:r>
          </a:p>
        </p:txBody>
      </p:sp>
      <p:sp>
        <p:nvSpPr>
          <p:cNvPr id="263" name="Rectangle 262">
            <a:extLst>
              <a:ext uri="{FF2B5EF4-FFF2-40B4-BE49-F238E27FC236}">
                <a16:creationId xmlns:a16="http://schemas.microsoft.com/office/drawing/2014/main" id="{7193E734-3564-2F4D-87EC-CCB7C697F8F2}"/>
              </a:ext>
            </a:extLst>
          </p:cNvPr>
          <p:cNvSpPr/>
          <p:nvPr/>
        </p:nvSpPr>
        <p:spPr>
          <a:xfrm>
            <a:off x="5786210" y="369414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ASR99xx</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5xx</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00" dirty="0">
                <a:solidFill>
                  <a:srgbClr val="005073"/>
                </a:solidFill>
                <a:latin typeface="CiscoSansTT" panose="020B0503020201020303" pitchFamily="34" charset="0"/>
                <a:cs typeface="CiscoSansTT" panose="020B0503020201020303" pitchFamily="34" charset="0"/>
              </a:rPr>
              <a:t>Spitfire*</a:t>
            </a:r>
            <a:endPar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endParaRPr>
          </a:p>
        </p:txBody>
      </p:sp>
      <p:grpSp>
        <p:nvGrpSpPr>
          <p:cNvPr id="88" name="Group 87">
            <a:extLst>
              <a:ext uri="{FF2B5EF4-FFF2-40B4-BE49-F238E27FC236}">
                <a16:creationId xmlns:a16="http://schemas.microsoft.com/office/drawing/2014/main" id="{3AEFC120-3A51-1B4D-A4E3-9A11F36AA18C}"/>
              </a:ext>
            </a:extLst>
          </p:cNvPr>
          <p:cNvGrpSpPr/>
          <p:nvPr/>
        </p:nvGrpSpPr>
        <p:grpSpPr>
          <a:xfrm>
            <a:off x="1608498" y="2408935"/>
            <a:ext cx="156305" cy="174171"/>
            <a:chOff x="1360893" y="3926040"/>
            <a:chExt cx="197772" cy="311352"/>
          </a:xfrm>
        </p:grpSpPr>
        <p:sp>
          <p:nvSpPr>
            <p:cNvPr id="89" name="Freeform 207">
              <a:extLst>
                <a:ext uri="{FF2B5EF4-FFF2-40B4-BE49-F238E27FC236}">
                  <a16:creationId xmlns:a16="http://schemas.microsoft.com/office/drawing/2014/main" id="{370EFC4B-5455-5A4F-BA3D-2D5FA6992C0B}"/>
                </a:ext>
              </a:extLst>
            </p:cNvPr>
            <p:cNvSpPr>
              <a:spLocks/>
            </p:cNvSpPr>
            <p:nvPr/>
          </p:nvSpPr>
          <p:spPr bwMode="auto">
            <a:xfrm>
              <a:off x="1360893" y="3926040"/>
              <a:ext cx="197772" cy="31135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0" name="Line 208">
              <a:extLst>
                <a:ext uri="{FF2B5EF4-FFF2-40B4-BE49-F238E27FC236}">
                  <a16:creationId xmlns:a16="http://schemas.microsoft.com/office/drawing/2014/main" id="{2A5B8208-043F-4A4E-AE30-A19AC8CFBCA5}"/>
                </a:ext>
              </a:extLst>
            </p:cNvPr>
            <p:cNvSpPr>
              <a:spLocks noChangeShapeType="1"/>
            </p:cNvSpPr>
            <p:nvPr/>
          </p:nvSpPr>
          <p:spPr bwMode="auto">
            <a:xfrm>
              <a:off x="1396030" y="3995890"/>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1" name="Line 209">
              <a:extLst>
                <a:ext uri="{FF2B5EF4-FFF2-40B4-BE49-F238E27FC236}">
                  <a16:creationId xmlns:a16="http://schemas.microsoft.com/office/drawing/2014/main" id="{DC5F9DB4-8581-674B-9448-3A7B7EB8F258}"/>
                </a:ext>
              </a:extLst>
            </p:cNvPr>
            <p:cNvSpPr>
              <a:spLocks noChangeShapeType="1"/>
            </p:cNvSpPr>
            <p:nvPr/>
          </p:nvSpPr>
          <p:spPr bwMode="auto">
            <a:xfrm>
              <a:off x="1396030" y="4064152"/>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2" name="Line 210">
              <a:extLst>
                <a:ext uri="{FF2B5EF4-FFF2-40B4-BE49-F238E27FC236}">
                  <a16:creationId xmlns:a16="http://schemas.microsoft.com/office/drawing/2014/main" id="{60C4DCD4-8AAE-E841-A4B2-B7907650EF79}"/>
                </a:ext>
              </a:extLst>
            </p:cNvPr>
            <p:cNvSpPr>
              <a:spLocks noChangeShapeType="1"/>
            </p:cNvSpPr>
            <p:nvPr/>
          </p:nvSpPr>
          <p:spPr bwMode="auto">
            <a:xfrm>
              <a:off x="1396030" y="4135590"/>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93" name="Group 92">
            <a:extLst>
              <a:ext uri="{FF2B5EF4-FFF2-40B4-BE49-F238E27FC236}">
                <a16:creationId xmlns:a16="http://schemas.microsoft.com/office/drawing/2014/main" id="{15160E09-A91C-0A4D-B4D4-5B6620F8BA1B}"/>
              </a:ext>
            </a:extLst>
          </p:cNvPr>
          <p:cNvGrpSpPr>
            <a:grpSpLocks noChangeAspect="1"/>
          </p:cNvGrpSpPr>
          <p:nvPr/>
        </p:nvGrpSpPr>
        <p:grpSpPr>
          <a:xfrm flipH="1">
            <a:off x="4155645" y="2830675"/>
            <a:ext cx="360450" cy="300755"/>
            <a:chOff x="6146801" y="2133602"/>
            <a:chExt cx="644525" cy="566738"/>
          </a:xfrm>
        </p:grpSpPr>
        <p:sp>
          <p:nvSpPr>
            <p:cNvPr id="94" name="Freeform 278">
              <a:extLst>
                <a:ext uri="{FF2B5EF4-FFF2-40B4-BE49-F238E27FC236}">
                  <a16:creationId xmlns:a16="http://schemas.microsoft.com/office/drawing/2014/main" id="{847CF631-D2AB-4743-B2CE-BC4A2F21EE7A}"/>
                </a:ext>
              </a:extLst>
            </p:cNvPr>
            <p:cNvSpPr>
              <a:spLocks/>
            </p:cNvSpPr>
            <p:nvPr/>
          </p:nvSpPr>
          <p:spPr bwMode="auto">
            <a:xfrm>
              <a:off x="6146801" y="2482852"/>
              <a:ext cx="644525" cy="103188"/>
            </a:xfrm>
            <a:custGeom>
              <a:avLst/>
              <a:gdLst>
                <a:gd name="T0" fmla="*/ 387 w 387"/>
                <a:gd name="T1" fmla="*/ 10 h 62"/>
                <a:gd name="T2" fmla="*/ 387 w 387"/>
                <a:gd name="T3" fmla="*/ 52 h 62"/>
                <a:gd name="T4" fmla="*/ 376 w 387"/>
                <a:gd name="T5" fmla="*/ 62 h 62"/>
                <a:gd name="T6" fmla="*/ 11 w 387"/>
                <a:gd name="T7" fmla="*/ 62 h 62"/>
                <a:gd name="T8" fmla="*/ 0 w 387"/>
                <a:gd name="T9" fmla="*/ 52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2"/>
                    <a:pt x="387" y="52"/>
                    <a:pt x="387" y="52"/>
                  </a:cubicBezTo>
                  <a:cubicBezTo>
                    <a:pt x="387" y="57"/>
                    <a:pt x="382" y="62"/>
                    <a:pt x="376" y="62"/>
                  </a:cubicBezTo>
                  <a:cubicBezTo>
                    <a:pt x="11" y="62"/>
                    <a:pt x="11" y="62"/>
                    <a:pt x="11" y="62"/>
                  </a:cubicBezTo>
                  <a:cubicBezTo>
                    <a:pt x="5" y="62"/>
                    <a:pt x="0" y="57"/>
                    <a:pt x="0" y="52"/>
                  </a:cubicBezTo>
                  <a:cubicBezTo>
                    <a:pt x="0" y="10"/>
                    <a:pt x="0" y="10"/>
                    <a:pt x="0" y="10"/>
                  </a:cubicBezTo>
                  <a:cubicBezTo>
                    <a:pt x="0" y="5"/>
                    <a:pt x="5" y="0"/>
                    <a:pt x="11" y="0"/>
                  </a:cubicBezTo>
                  <a:cubicBezTo>
                    <a:pt x="376" y="0"/>
                    <a:pt x="376" y="0"/>
                    <a:pt x="376" y="0"/>
                  </a:cubicBezTo>
                  <a:cubicBezTo>
                    <a:pt x="382" y="0"/>
                    <a:pt x="387" y="5"/>
                    <a:pt x="387" y="1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5" name="Line 279">
              <a:extLst>
                <a:ext uri="{FF2B5EF4-FFF2-40B4-BE49-F238E27FC236}">
                  <a16:creationId xmlns:a16="http://schemas.microsoft.com/office/drawing/2014/main" id="{39695D2C-375D-FE40-B9E3-BA99AEAF89DA}"/>
                </a:ext>
              </a:extLst>
            </p:cNvPr>
            <p:cNvSpPr>
              <a:spLocks noChangeShapeType="1"/>
            </p:cNvSpPr>
            <p:nvPr/>
          </p:nvSpPr>
          <p:spPr bwMode="auto">
            <a:xfrm flipV="1">
              <a:off x="6176964"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6" name="Line 280">
              <a:extLst>
                <a:ext uri="{FF2B5EF4-FFF2-40B4-BE49-F238E27FC236}">
                  <a16:creationId xmlns:a16="http://schemas.microsoft.com/office/drawing/2014/main" id="{765750C7-3423-1249-92E9-34B1ECF90984}"/>
                </a:ext>
              </a:extLst>
            </p:cNvPr>
            <p:cNvSpPr>
              <a:spLocks noChangeShapeType="1"/>
            </p:cNvSpPr>
            <p:nvPr/>
          </p:nvSpPr>
          <p:spPr bwMode="auto">
            <a:xfrm flipV="1">
              <a:off x="6207126"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7" name="Line 281">
              <a:extLst>
                <a:ext uri="{FF2B5EF4-FFF2-40B4-BE49-F238E27FC236}">
                  <a16:creationId xmlns:a16="http://schemas.microsoft.com/office/drawing/2014/main" id="{461B4815-DCD5-134D-8891-2A90A5695C8A}"/>
                </a:ext>
              </a:extLst>
            </p:cNvPr>
            <p:cNvSpPr>
              <a:spLocks noChangeShapeType="1"/>
            </p:cNvSpPr>
            <p:nvPr/>
          </p:nvSpPr>
          <p:spPr bwMode="auto">
            <a:xfrm flipV="1">
              <a:off x="6238876"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8" name="Line 282">
              <a:extLst>
                <a:ext uri="{FF2B5EF4-FFF2-40B4-BE49-F238E27FC236}">
                  <a16:creationId xmlns:a16="http://schemas.microsoft.com/office/drawing/2014/main" id="{8CFEE1EC-6213-CF4E-875E-B67998648B4B}"/>
                </a:ext>
              </a:extLst>
            </p:cNvPr>
            <p:cNvSpPr>
              <a:spLocks noChangeShapeType="1"/>
            </p:cNvSpPr>
            <p:nvPr/>
          </p:nvSpPr>
          <p:spPr bwMode="auto">
            <a:xfrm flipV="1">
              <a:off x="6267451"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9" name="Line 283">
              <a:extLst>
                <a:ext uri="{FF2B5EF4-FFF2-40B4-BE49-F238E27FC236}">
                  <a16:creationId xmlns:a16="http://schemas.microsoft.com/office/drawing/2014/main" id="{DD56693F-0C8B-BF4E-89C1-719455400ABD}"/>
                </a:ext>
              </a:extLst>
            </p:cNvPr>
            <p:cNvSpPr>
              <a:spLocks noChangeShapeType="1"/>
            </p:cNvSpPr>
            <p:nvPr/>
          </p:nvSpPr>
          <p:spPr bwMode="auto">
            <a:xfrm flipV="1">
              <a:off x="6297614"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0" name="Freeform 284">
              <a:extLst>
                <a:ext uri="{FF2B5EF4-FFF2-40B4-BE49-F238E27FC236}">
                  <a16:creationId xmlns:a16="http://schemas.microsoft.com/office/drawing/2014/main" id="{9373896B-730A-7D4D-8F40-45DE07A720EB}"/>
                </a:ext>
              </a:extLst>
            </p:cNvPr>
            <p:cNvSpPr>
              <a:spLocks/>
            </p:cNvSpPr>
            <p:nvPr/>
          </p:nvSpPr>
          <p:spPr bwMode="auto">
            <a:xfrm>
              <a:off x="6146801" y="2598740"/>
              <a:ext cx="644525" cy="101600"/>
            </a:xfrm>
            <a:custGeom>
              <a:avLst/>
              <a:gdLst>
                <a:gd name="T0" fmla="*/ 387 w 387"/>
                <a:gd name="T1" fmla="*/ 10 h 61"/>
                <a:gd name="T2" fmla="*/ 387 w 387"/>
                <a:gd name="T3" fmla="*/ 51 h 61"/>
                <a:gd name="T4" fmla="*/ 376 w 387"/>
                <a:gd name="T5" fmla="*/ 61 h 61"/>
                <a:gd name="T6" fmla="*/ 11 w 387"/>
                <a:gd name="T7" fmla="*/ 61 h 61"/>
                <a:gd name="T8" fmla="*/ 0 w 387"/>
                <a:gd name="T9" fmla="*/ 51 h 61"/>
                <a:gd name="T10" fmla="*/ 0 w 387"/>
                <a:gd name="T11" fmla="*/ 10 h 61"/>
                <a:gd name="T12" fmla="*/ 11 w 387"/>
                <a:gd name="T13" fmla="*/ 0 h 61"/>
                <a:gd name="T14" fmla="*/ 376 w 387"/>
                <a:gd name="T15" fmla="*/ 0 h 61"/>
                <a:gd name="T16" fmla="*/ 387 w 387"/>
                <a:gd name="T17"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1">
                  <a:moveTo>
                    <a:pt x="387" y="10"/>
                  </a:moveTo>
                  <a:cubicBezTo>
                    <a:pt x="387" y="51"/>
                    <a:pt x="387" y="51"/>
                    <a:pt x="387" y="51"/>
                  </a:cubicBezTo>
                  <a:cubicBezTo>
                    <a:pt x="387" y="57"/>
                    <a:pt x="382" y="61"/>
                    <a:pt x="376" y="61"/>
                  </a:cubicBezTo>
                  <a:cubicBezTo>
                    <a:pt x="11" y="61"/>
                    <a:pt x="11" y="61"/>
                    <a:pt x="11" y="61"/>
                  </a:cubicBezTo>
                  <a:cubicBezTo>
                    <a:pt x="5" y="61"/>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1" name="Line 285">
              <a:extLst>
                <a:ext uri="{FF2B5EF4-FFF2-40B4-BE49-F238E27FC236}">
                  <a16:creationId xmlns:a16="http://schemas.microsoft.com/office/drawing/2014/main" id="{5945405A-DC8F-AE41-A5A8-6D074FAB8631}"/>
                </a:ext>
              </a:extLst>
            </p:cNvPr>
            <p:cNvSpPr>
              <a:spLocks noChangeShapeType="1"/>
            </p:cNvSpPr>
            <p:nvPr/>
          </p:nvSpPr>
          <p:spPr bwMode="auto">
            <a:xfrm flipV="1">
              <a:off x="6176964"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2" name="Line 286">
              <a:extLst>
                <a:ext uri="{FF2B5EF4-FFF2-40B4-BE49-F238E27FC236}">
                  <a16:creationId xmlns:a16="http://schemas.microsoft.com/office/drawing/2014/main" id="{0A22C37E-1EA2-F54B-804D-A1F78BA3396F}"/>
                </a:ext>
              </a:extLst>
            </p:cNvPr>
            <p:cNvSpPr>
              <a:spLocks noChangeShapeType="1"/>
            </p:cNvSpPr>
            <p:nvPr/>
          </p:nvSpPr>
          <p:spPr bwMode="auto">
            <a:xfrm flipV="1">
              <a:off x="6207126"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3" name="Line 287">
              <a:extLst>
                <a:ext uri="{FF2B5EF4-FFF2-40B4-BE49-F238E27FC236}">
                  <a16:creationId xmlns:a16="http://schemas.microsoft.com/office/drawing/2014/main" id="{246BA512-4776-CF4B-B4F4-196465410B94}"/>
                </a:ext>
              </a:extLst>
            </p:cNvPr>
            <p:cNvSpPr>
              <a:spLocks noChangeShapeType="1"/>
            </p:cNvSpPr>
            <p:nvPr/>
          </p:nvSpPr>
          <p:spPr bwMode="auto">
            <a:xfrm flipV="1">
              <a:off x="6238876"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4" name="Line 288">
              <a:extLst>
                <a:ext uri="{FF2B5EF4-FFF2-40B4-BE49-F238E27FC236}">
                  <a16:creationId xmlns:a16="http://schemas.microsoft.com/office/drawing/2014/main" id="{58AE57EB-D98D-944D-B638-B425FE2FF3C6}"/>
                </a:ext>
              </a:extLst>
            </p:cNvPr>
            <p:cNvSpPr>
              <a:spLocks noChangeShapeType="1"/>
            </p:cNvSpPr>
            <p:nvPr/>
          </p:nvSpPr>
          <p:spPr bwMode="auto">
            <a:xfrm flipV="1">
              <a:off x="6267451"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5" name="Line 289">
              <a:extLst>
                <a:ext uri="{FF2B5EF4-FFF2-40B4-BE49-F238E27FC236}">
                  <a16:creationId xmlns:a16="http://schemas.microsoft.com/office/drawing/2014/main" id="{6B4C6BA2-ACCB-5F4B-B8BE-50D3E50D7856}"/>
                </a:ext>
              </a:extLst>
            </p:cNvPr>
            <p:cNvSpPr>
              <a:spLocks noChangeShapeType="1"/>
            </p:cNvSpPr>
            <p:nvPr/>
          </p:nvSpPr>
          <p:spPr bwMode="auto">
            <a:xfrm flipV="1">
              <a:off x="6297614"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6" name="Freeform 290">
              <a:extLst>
                <a:ext uri="{FF2B5EF4-FFF2-40B4-BE49-F238E27FC236}">
                  <a16:creationId xmlns:a16="http://schemas.microsoft.com/office/drawing/2014/main" id="{7E4133AF-BF9C-0240-8B58-23B594D31740}"/>
                </a:ext>
              </a:extLst>
            </p:cNvPr>
            <p:cNvSpPr>
              <a:spLocks/>
            </p:cNvSpPr>
            <p:nvPr/>
          </p:nvSpPr>
          <p:spPr bwMode="auto">
            <a:xfrm>
              <a:off x="6146801" y="2133602"/>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7"/>
                    <a:pt x="382" y="62"/>
                    <a:pt x="376" y="62"/>
                  </a:cubicBezTo>
                  <a:cubicBezTo>
                    <a:pt x="11" y="62"/>
                    <a:pt x="11" y="62"/>
                    <a:pt x="11" y="62"/>
                  </a:cubicBezTo>
                  <a:cubicBezTo>
                    <a:pt x="5" y="62"/>
                    <a:pt x="0" y="57"/>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7" name="Line 291">
              <a:extLst>
                <a:ext uri="{FF2B5EF4-FFF2-40B4-BE49-F238E27FC236}">
                  <a16:creationId xmlns:a16="http://schemas.microsoft.com/office/drawing/2014/main" id="{7AB20772-A514-C840-9EEA-C5B120EB2693}"/>
                </a:ext>
              </a:extLst>
            </p:cNvPr>
            <p:cNvSpPr>
              <a:spLocks noChangeShapeType="1"/>
            </p:cNvSpPr>
            <p:nvPr/>
          </p:nvSpPr>
          <p:spPr bwMode="auto">
            <a:xfrm flipV="1">
              <a:off x="6176964"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8" name="Line 292">
              <a:extLst>
                <a:ext uri="{FF2B5EF4-FFF2-40B4-BE49-F238E27FC236}">
                  <a16:creationId xmlns:a16="http://schemas.microsoft.com/office/drawing/2014/main" id="{821793A3-BB56-3442-8CBD-A0B09C8A59F4}"/>
                </a:ext>
              </a:extLst>
            </p:cNvPr>
            <p:cNvSpPr>
              <a:spLocks noChangeShapeType="1"/>
            </p:cNvSpPr>
            <p:nvPr/>
          </p:nvSpPr>
          <p:spPr bwMode="auto">
            <a:xfrm flipV="1">
              <a:off x="6207126"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9" name="Line 293">
              <a:extLst>
                <a:ext uri="{FF2B5EF4-FFF2-40B4-BE49-F238E27FC236}">
                  <a16:creationId xmlns:a16="http://schemas.microsoft.com/office/drawing/2014/main" id="{5913C7B6-4868-9F4E-B046-AF22C3FD3EC4}"/>
                </a:ext>
              </a:extLst>
            </p:cNvPr>
            <p:cNvSpPr>
              <a:spLocks noChangeShapeType="1"/>
            </p:cNvSpPr>
            <p:nvPr/>
          </p:nvSpPr>
          <p:spPr bwMode="auto">
            <a:xfrm flipV="1">
              <a:off x="6238876"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0" name="Line 294">
              <a:extLst>
                <a:ext uri="{FF2B5EF4-FFF2-40B4-BE49-F238E27FC236}">
                  <a16:creationId xmlns:a16="http://schemas.microsoft.com/office/drawing/2014/main" id="{E2FAA2DE-9FA7-E145-AA3D-0F7A9229FE44}"/>
                </a:ext>
              </a:extLst>
            </p:cNvPr>
            <p:cNvSpPr>
              <a:spLocks noChangeShapeType="1"/>
            </p:cNvSpPr>
            <p:nvPr/>
          </p:nvSpPr>
          <p:spPr bwMode="auto">
            <a:xfrm flipV="1">
              <a:off x="6267451"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 name="Line 295">
              <a:extLst>
                <a:ext uri="{FF2B5EF4-FFF2-40B4-BE49-F238E27FC236}">
                  <a16:creationId xmlns:a16="http://schemas.microsoft.com/office/drawing/2014/main" id="{62FEBC15-6E65-4545-9FA9-DEC9F027B1EC}"/>
                </a:ext>
              </a:extLst>
            </p:cNvPr>
            <p:cNvSpPr>
              <a:spLocks noChangeShapeType="1"/>
            </p:cNvSpPr>
            <p:nvPr/>
          </p:nvSpPr>
          <p:spPr bwMode="auto">
            <a:xfrm flipV="1">
              <a:off x="6297614"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2" name="Freeform 296">
              <a:extLst>
                <a:ext uri="{FF2B5EF4-FFF2-40B4-BE49-F238E27FC236}">
                  <a16:creationId xmlns:a16="http://schemas.microsoft.com/office/drawing/2014/main" id="{745F2934-F521-944A-A011-EAE2F42477B9}"/>
                </a:ext>
              </a:extLst>
            </p:cNvPr>
            <p:cNvSpPr>
              <a:spLocks/>
            </p:cNvSpPr>
            <p:nvPr/>
          </p:nvSpPr>
          <p:spPr bwMode="auto">
            <a:xfrm>
              <a:off x="6146801" y="2365377"/>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8"/>
                    <a:pt x="382" y="62"/>
                    <a:pt x="376" y="62"/>
                  </a:cubicBezTo>
                  <a:cubicBezTo>
                    <a:pt x="11" y="62"/>
                    <a:pt x="11" y="62"/>
                    <a:pt x="11" y="62"/>
                  </a:cubicBezTo>
                  <a:cubicBezTo>
                    <a:pt x="5" y="62"/>
                    <a:pt x="0" y="58"/>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3" name="Line 297">
              <a:extLst>
                <a:ext uri="{FF2B5EF4-FFF2-40B4-BE49-F238E27FC236}">
                  <a16:creationId xmlns:a16="http://schemas.microsoft.com/office/drawing/2014/main" id="{77761D55-9D74-B741-B8E7-95F975FF2D18}"/>
                </a:ext>
              </a:extLst>
            </p:cNvPr>
            <p:cNvSpPr>
              <a:spLocks noChangeShapeType="1"/>
            </p:cNvSpPr>
            <p:nvPr/>
          </p:nvSpPr>
          <p:spPr bwMode="auto">
            <a:xfrm flipV="1">
              <a:off x="6176964"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4" name="Line 298">
              <a:extLst>
                <a:ext uri="{FF2B5EF4-FFF2-40B4-BE49-F238E27FC236}">
                  <a16:creationId xmlns:a16="http://schemas.microsoft.com/office/drawing/2014/main" id="{7D4343E0-4B3B-F649-9476-E60665B3D9C7}"/>
                </a:ext>
              </a:extLst>
            </p:cNvPr>
            <p:cNvSpPr>
              <a:spLocks noChangeShapeType="1"/>
            </p:cNvSpPr>
            <p:nvPr/>
          </p:nvSpPr>
          <p:spPr bwMode="auto">
            <a:xfrm flipV="1">
              <a:off x="6207126"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5" name="Line 299">
              <a:extLst>
                <a:ext uri="{FF2B5EF4-FFF2-40B4-BE49-F238E27FC236}">
                  <a16:creationId xmlns:a16="http://schemas.microsoft.com/office/drawing/2014/main" id="{6C800FF1-7A10-FB4C-A2DE-DA85EB884C41}"/>
                </a:ext>
              </a:extLst>
            </p:cNvPr>
            <p:cNvSpPr>
              <a:spLocks noChangeShapeType="1"/>
            </p:cNvSpPr>
            <p:nvPr/>
          </p:nvSpPr>
          <p:spPr bwMode="auto">
            <a:xfrm flipV="1">
              <a:off x="6238876"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6" name="Line 300">
              <a:extLst>
                <a:ext uri="{FF2B5EF4-FFF2-40B4-BE49-F238E27FC236}">
                  <a16:creationId xmlns:a16="http://schemas.microsoft.com/office/drawing/2014/main" id="{5CE80958-09B1-1D40-A8E3-9C96C6CDEBDB}"/>
                </a:ext>
              </a:extLst>
            </p:cNvPr>
            <p:cNvSpPr>
              <a:spLocks noChangeShapeType="1"/>
            </p:cNvSpPr>
            <p:nvPr/>
          </p:nvSpPr>
          <p:spPr bwMode="auto">
            <a:xfrm flipV="1">
              <a:off x="6267451"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7" name="Line 301">
              <a:extLst>
                <a:ext uri="{FF2B5EF4-FFF2-40B4-BE49-F238E27FC236}">
                  <a16:creationId xmlns:a16="http://schemas.microsoft.com/office/drawing/2014/main" id="{A43B3D5A-C5C0-4844-B61C-5DF1E555AD07}"/>
                </a:ext>
              </a:extLst>
            </p:cNvPr>
            <p:cNvSpPr>
              <a:spLocks noChangeShapeType="1"/>
            </p:cNvSpPr>
            <p:nvPr/>
          </p:nvSpPr>
          <p:spPr bwMode="auto">
            <a:xfrm flipV="1">
              <a:off x="6297614"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8" name="Freeform 302">
              <a:extLst>
                <a:ext uri="{FF2B5EF4-FFF2-40B4-BE49-F238E27FC236}">
                  <a16:creationId xmlns:a16="http://schemas.microsoft.com/office/drawing/2014/main" id="{D2744BB5-E1EC-BE41-B5F5-A696421042D5}"/>
                </a:ext>
              </a:extLst>
            </p:cNvPr>
            <p:cNvSpPr>
              <a:spLocks/>
            </p:cNvSpPr>
            <p:nvPr/>
          </p:nvSpPr>
          <p:spPr bwMode="auto">
            <a:xfrm>
              <a:off x="6146801" y="2251077"/>
              <a:ext cx="644525" cy="103188"/>
            </a:xfrm>
            <a:custGeom>
              <a:avLst/>
              <a:gdLst>
                <a:gd name="T0" fmla="*/ 387 w 387"/>
                <a:gd name="T1" fmla="*/ 10 h 62"/>
                <a:gd name="T2" fmla="*/ 387 w 387"/>
                <a:gd name="T3" fmla="*/ 51 h 62"/>
                <a:gd name="T4" fmla="*/ 376 w 387"/>
                <a:gd name="T5" fmla="*/ 62 h 62"/>
                <a:gd name="T6" fmla="*/ 11 w 387"/>
                <a:gd name="T7" fmla="*/ 62 h 62"/>
                <a:gd name="T8" fmla="*/ 0 w 387"/>
                <a:gd name="T9" fmla="*/ 51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1"/>
                    <a:pt x="387" y="51"/>
                    <a:pt x="387" y="51"/>
                  </a:cubicBezTo>
                  <a:cubicBezTo>
                    <a:pt x="387" y="57"/>
                    <a:pt x="382" y="62"/>
                    <a:pt x="376" y="62"/>
                  </a:cubicBezTo>
                  <a:cubicBezTo>
                    <a:pt x="11" y="62"/>
                    <a:pt x="11" y="62"/>
                    <a:pt x="11" y="62"/>
                  </a:cubicBezTo>
                  <a:cubicBezTo>
                    <a:pt x="5" y="62"/>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9" name="Line 303">
              <a:extLst>
                <a:ext uri="{FF2B5EF4-FFF2-40B4-BE49-F238E27FC236}">
                  <a16:creationId xmlns:a16="http://schemas.microsoft.com/office/drawing/2014/main" id="{DB0377FB-8142-BE42-944A-D61F9F151E4F}"/>
                </a:ext>
              </a:extLst>
            </p:cNvPr>
            <p:cNvSpPr>
              <a:spLocks noChangeShapeType="1"/>
            </p:cNvSpPr>
            <p:nvPr/>
          </p:nvSpPr>
          <p:spPr bwMode="auto">
            <a:xfrm flipV="1">
              <a:off x="6176964"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0" name="Line 304">
              <a:extLst>
                <a:ext uri="{FF2B5EF4-FFF2-40B4-BE49-F238E27FC236}">
                  <a16:creationId xmlns:a16="http://schemas.microsoft.com/office/drawing/2014/main" id="{06E1788F-ED46-E645-B6AE-2FCEA5AA59DD}"/>
                </a:ext>
              </a:extLst>
            </p:cNvPr>
            <p:cNvSpPr>
              <a:spLocks noChangeShapeType="1"/>
            </p:cNvSpPr>
            <p:nvPr/>
          </p:nvSpPr>
          <p:spPr bwMode="auto">
            <a:xfrm flipV="1">
              <a:off x="6207126"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1" name="Line 305">
              <a:extLst>
                <a:ext uri="{FF2B5EF4-FFF2-40B4-BE49-F238E27FC236}">
                  <a16:creationId xmlns:a16="http://schemas.microsoft.com/office/drawing/2014/main" id="{6537DC61-0FE8-DD40-BF03-8EAFE725EF8C}"/>
                </a:ext>
              </a:extLst>
            </p:cNvPr>
            <p:cNvSpPr>
              <a:spLocks noChangeShapeType="1"/>
            </p:cNvSpPr>
            <p:nvPr/>
          </p:nvSpPr>
          <p:spPr bwMode="auto">
            <a:xfrm flipV="1">
              <a:off x="6238876"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2" name="Line 306">
              <a:extLst>
                <a:ext uri="{FF2B5EF4-FFF2-40B4-BE49-F238E27FC236}">
                  <a16:creationId xmlns:a16="http://schemas.microsoft.com/office/drawing/2014/main" id="{EB4A24A9-65B1-A949-971C-08AC4CDBC3D1}"/>
                </a:ext>
              </a:extLst>
            </p:cNvPr>
            <p:cNvSpPr>
              <a:spLocks noChangeShapeType="1"/>
            </p:cNvSpPr>
            <p:nvPr/>
          </p:nvSpPr>
          <p:spPr bwMode="auto">
            <a:xfrm flipV="1">
              <a:off x="6267451"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3" name="Line 307">
              <a:extLst>
                <a:ext uri="{FF2B5EF4-FFF2-40B4-BE49-F238E27FC236}">
                  <a16:creationId xmlns:a16="http://schemas.microsoft.com/office/drawing/2014/main" id="{2C84CECF-03A9-6B46-BE2C-C75D3646D45F}"/>
                </a:ext>
              </a:extLst>
            </p:cNvPr>
            <p:cNvSpPr>
              <a:spLocks noChangeShapeType="1"/>
            </p:cNvSpPr>
            <p:nvPr/>
          </p:nvSpPr>
          <p:spPr bwMode="auto">
            <a:xfrm flipV="1">
              <a:off x="6297614"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125" name="Rectangle 124">
            <a:extLst>
              <a:ext uri="{FF2B5EF4-FFF2-40B4-BE49-F238E27FC236}">
                <a16:creationId xmlns:a16="http://schemas.microsoft.com/office/drawing/2014/main" id="{74C5C89A-481C-2943-8B97-AD48F4874876}"/>
              </a:ext>
            </a:extLst>
          </p:cNvPr>
          <p:cNvSpPr/>
          <p:nvPr/>
        </p:nvSpPr>
        <p:spPr>
          <a:xfrm>
            <a:off x="1006268" y="369414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VRAN</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p:txBody>
      </p:sp>
      <p:sp>
        <p:nvSpPr>
          <p:cNvPr id="126" name="Rectangle 125">
            <a:extLst>
              <a:ext uri="{FF2B5EF4-FFF2-40B4-BE49-F238E27FC236}">
                <a16:creationId xmlns:a16="http://schemas.microsoft.com/office/drawing/2014/main" id="{8292CB9D-E150-3E43-9A50-832C8429D6FD}"/>
              </a:ext>
            </a:extLst>
          </p:cNvPr>
          <p:cNvSpPr/>
          <p:nvPr/>
        </p:nvSpPr>
        <p:spPr>
          <a:xfrm>
            <a:off x="1025650" y="330981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C-RAN Fabric</a:t>
            </a:r>
          </a:p>
          <a:p>
            <a:pPr>
              <a:defRPr/>
            </a:pPr>
            <a:r>
              <a:rPr lang="en-US" sz="1000" b="1" dirty="0">
                <a:solidFill>
                  <a:schemeClr val="bg2"/>
                </a:solidFill>
                <a:latin typeface="CiscoSansTT" panose="020B0503020201020303" pitchFamily="34" charset="0"/>
                <a:cs typeface="CiscoSansTT" panose="020B0503020201020303" pitchFamily="34" charset="0"/>
              </a:rPr>
              <a:t>CU – DU  / MEC TOR</a:t>
            </a:r>
          </a:p>
        </p:txBody>
      </p:sp>
      <p:sp>
        <p:nvSpPr>
          <p:cNvPr id="3" name="TextBox 2"/>
          <p:cNvSpPr txBox="1"/>
          <p:nvPr/>
        </p:nvSpPr>
        <p:spPr>
          <a:xfrm>
            <a:off x="7974663" y="4937005"/>
            <a:ext cx="942053" cy="246221"/>
          </a:xfrm>
          <a:prstGeom prst="rect">
            <a:avLst/>
          </a:prstGeom>
          <a:noFill/>
        </p:spPr>
        <p:txBody>
          <a:bodyPr wrap="square" rtlCol="0">
            <a:spAutoFit/>
          </a:bodyPr>
          <a:lstStyle/>
          <a:p>
            <a:r>
              <a:rPr lang="en-US" sz="1000" dirty="0">
                <a:latin typeface="+mn-lt"/>
              </a:rPr>
              <a:t>* = Roadmap</a:t>
            </a:r>
          </a:p>
        </p:txBody>
      </p:sp>
      <p:sp>
        <p:nvSpPr>
          <p:cNvPr id="124" name="Rectangle 123">
            <a:extLst>
              <a:ext uri="{FF2B5EF4-FFF2-40B4-BE49-F238E27FC236}">
                <a16:creationId xmlns:a16="http://schemas.microsoft.com/office/drawing/2014/main" id="{BAD945F8-7ED0-49A3-8044-8A1CB7F9C9C2}"/>
              </a:ext>
            </a:extLst>
          </p:cNvPr>
          <p:cNvSpPr/>
          <p:nvPr/>
        </p:nvSpPr>
        <p:spPr>
          <a:xfrm>
            <a:off x="7406584" y="330981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DC</a:t>
            </a:r>
          </a:p>
        </p:txBody>
      </p:sp>
      <p:sp>
        <p:nvSpPr>
          <p:cNvPr id="127" name="Rectangle 126">
            <a:extLst>
              <a:ext uri="{FF2B5EF4-FFF2-40B4-BE49-F238E27FC236}">
                <a16:creationId xmlns:a16="http://schemas.microsoft.com/office/drawing/2014/main" id="{87CF46F1-D18A-459E-AA86-56A658CB049C}"/>
              </a:ext>
            </a:extLst>
          </p:cNvPr>
          <p:cNvSpPr/>
          <p:nvPr/>
        </p:nvSpPr>
        <p:spPr>
          <a:xfrm>
            <a:off x="7379522" y="369414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ACI</a:t>
            </a:r>
          </a:p>
        </p:txBody>
      </p:sp>
    </p:spTree>
    <p:extLst>
      <p:ext uri="{BB962C8B-B14F-4D97-AF65-F5344CB8AC3E}">
        <p14:creationId xmlns:p14="http://schemas.microsoft.com/office/powerpoint/2010/main" val="339546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implify Your Transport with Segment Routing</a:t>
            </a:r>
            <a:endParaRPr lang="en-US" dirty="0"/>
          </a:p>
        </p:txBody>
      </p:sp>
      <p:grpSp>
        <p:nvGrpSpPr>
          <p:cNvPr id="4" name="Group 3"/>
          <p:cNvGrpSpPr/>
          <p:nvPr/>
        </p:nvGrpSpPr>
        <p:grpSpPr>
          <a:xfrm>
            <a:off x="519228" y="521941"/>
            <a:ext cx="8075983" cy="3987805"/>
            <a:chOff x="337802" y="518161"/>
            <a:chExt cx="8075983" cy="4318670"/>
          </a:xfrm>
        </p:grpSpPr>
        <p:grpSp>
          <p:nvGrpSpPr>
            <p:cNvPr id="12" name="Group 11"/>
            <p:cNvGrpSpPr/>
            <p:nvPr/>
          </p:nvGrpSpPr>
          <p:grpSpPr>
            <a:xfrm>
              <a:off x="1339566" y="518161"/>
              <a:ext cx="6243547" cy="4318670"/>
              <a:chOff x="908575" y="276938"/>
              <a:chExt cx="7286079" cy="5039792"/>
            </a:xfrm>
            <a:effectLst>
              <a:reflection blurRad="6350" stA="25000" endPos="12000" dist="38100" dir="5400000" sy="-100000" algn="bl" rotWithShape="0"/>
            </a:effectLst>
          </p:grpSpPr>
          <p:cxnSp>
            <p:nvCxnSpPr>
              <p:cNvPr id="36" name="Straight Connector 35"/>
              <p:cNvCxnSpPr/>
              <p:nvPr/>
            </p:nvCxnSpPr>
            <p:spPr>
              <a:xfrm flipV="1">
                <a:off x="908575" y="4219607"/>
                <a:ext cx="7286078" cy="125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908576" y="1350281"/>
                <a:ext cx="7286078" cy="125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206920" y="276938"/>
                <a:ext cx="4693346" cy="2359108"/>
                <a:chOff x="2206921" y="276938"/>
                <a:chExt cx="4693346" cy="2359108"/>
              </a:xfrm>
            </p:grpSpPr>
            <p:grpSp>
              <p:nvGrpSpPr>
                <p:cNvPr id="8" name="Group 7"/>
                <p:cNvGrpSpPr/>
                <p:nvPr/>
              </p:nvGrpSpPr>
              <p:grpSpPr>
                <a:xfrm>
                  <a:off x="2206921" y="278470"/>
                  <a:ext cx="2151985" cy="2357318"/>
                  <a:chOff x="2206921" y="278471"/>
                  <a:chExt cx="2151985" cy="2357318"/>
                </a:xfrm>
              </p:grpSpPr>
              <p:sp>
                <p:nvSpPr>
                  <p:cNvPr id="6" name="Isosceles Triangle 5"/>
                  <p:cNvSpPr/>
                  <p:nvPr/>
                </p:nvSpPr>
                <p:spPr>
                  <a:xfrm>
                    <a:off x="2206921" y="961355"/>
                    <a:ext cx="793303" cy="398155"/>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7" name="Down Arrow 6"/>
                  <p:cNvSpPr/>
                  <p:nvPr/>
                </p:nvSpPr>
                <p:spPr>
                  <a:xfrm rot="18914994">
                    <a:off x="3025232" y="278471"/>
                    <a:ext cx="1333674" cy="2357318"/>
                  </a:xfrm>
                  <a:custGeom>
                    <a:avLst/>
                    <a:gdLst>
                      <a:gd name="connsiteX0" fmla="*/ 0 w 1333672"/>
                      <a:gd name="connsiteY0" fmla="*/ 1589498 h 2258815"/>
                      <a:gd name="connsiteX1" fmla="*/ 227638 w 1333672"/>
                      <a:gd name="connsiteY1" fmla="*/ 1589498 h 2258815"/>
                      <a:gd name="connsiteX2" fmla="*/ 227638 w 1333672"/>
                      <a:gd name="connsiteY2" fmla="*/ 0 h 2258815"/>
                      <a:gd name="connsiteX3" fmla="*/ 1106034 w 1333672"/>
                      <a:gd name="connsiteY3" fmla="*/ 0 h 2258815"/>
                      <a:gd name="connsiteX4" fmla="*/ 1106034 w 1333672"/>
                      <a:gd name="connsiteY4" fmla="*/ 1589498 h 2258815"/>
                      <a:gd name="connsiteX5" fmla="*/ 1333672 w 1333672"/>
                      <a:gd name="connsiteY5" fmla="*/ 1589498 h 2258815"/>
                      <a:gd name="connsiteX6" fmla="*/ 666836 w 1333672"/>
                      <a:gd name="connsiteY6" fmla="*/ 2258815 h 2258815"/>
                      <a:gd name="connsiteX7" fmla="*/ 0 w 1333672"/>
                      <a:gd name="connsiteY7" fmla="*/ 1589498 h 2258815"/>
                      <a:gd name="connsiteX0" fmla="*/ 0 w 1333672"/>
                      <a:gd name="connsiteY0" fmla="*/ 1589498 h 2258815"/>
                      <a:gd name="connsiteX1" fmla="*/ 227638 w 1333672"/>
                      <a:gd name="connsiteY1" fmla="*/ 1589498 h 2258815"/>
                      <a:gd name="connsiteX2" fmla="*/ 227638 w 1333672"/>
                      <a:gd name="connsiteY2" fmla="*/ 0 h 2258815"/>
                      <a:gd name="connsiteX3" fmla="*/ 1113834 w 1333672"/>
                      <a:gd name="connsiteY3" fmla="*/ 844232 h 2258815"/>
                      <a:gd name="connsiteX4" fmla="*/ 1106034 w 1333672"/>
                      <a:gd name="connsiteY4" fmla="*/ 1589498 h 2258815"/>
                      <a:gd name="connsiteX5" fmla="*/ 1333672 w 1333672"/>
                      <a:gd name="connsiteY5" fmla="*/ 1589498 h 2258815"/>
                      <a:gd name="connsiteX6" fmla="*/ 666836 w 1333672"/>
                      <a:gd name="connsiteY6" fmla="*/ 2258815 h 2258815"/>
                      <a:gd name="connsiteX7" fmla="*/ 0 w 1333672"/>
                      <a:gd name="connsiteY7" fmla="*/ 1589498 h 2258815"/>
                      <a:gd name="connsiteX0" fmla="*/ 0 w 1333672"/>
                      <a:gd name="connsiteY0" fmla="*/ 1601907 h 2271224"/>
                      <a:gd name="connsiteX1" fmla="*/ 227638 w 1333672"/>
                      <a:gd name="connsiteY1" fmla="*/ 1601907 h 2271224"/>
                      <a:gd name="connsiteX2" fmla="*/ 239939 w 1333672"/>
                      <a:gd name="connsiteY2" fmla="*/ 0 h 2271224"/>
                      <a:gd name="connsiteX3" fmla="*/ 1113834 w 1333672"/>
                      <a:gd name="connsiteY3" fmla="*/ 856641 h 2271224"/>
                      <a:gd name="connsiteX4" fmla="*/ 1106034 w 1333672"/>
                      <a:gd name="connsiteY4" fmla="*/ 1601907 h 2271224"/>
                      <a:gd name="connsiteX5" fmla="*/ 1333672 w 1333672"/>
                      <a:gd name="connsiteY5" fmla="*/ 1601907 h 2271224"/>
                      <a:gd name="connsiteX6" fmla="*/ 666836 w 1333672"/>
                      <a:gd name="connsiteY6" fmla="*/ 2271224 h 2271224"/>
                      <a:gd name="connsiteX7" fmla="*/ 0 w 1333672"/>
                      <a:gd name="connsiteY7" fmla="*/ 1601907 h 2271224"/>
                      <a:gd name="connsiteX0" fmla="*/ 0 w 1333672"/>
                      <a:gd name="connsiteY0" fmla="*/ 1610107 h 2279424"/>
                      <a:gd name="connsiteX1" fmla="*/ 227638 w 1333672"/>
                      <a:gd name="connsiteY1" fmla="*/ 1610107 h 2279424"/>
                      <a:gd name="connsiteX2" fmla="*/ 231667 w 1333672"/>
                      <a:gd name="connsiteY2" fmla="*/ 0 h 2279424"/>
                      <a:gd name="connsiteX3" fmla="*/ 1113834 w 1333672"/>
                      <a:gd name="connsiteY3" fmla="*/ 864841 h 2279424"/>
                      <a:gd name="connsiteX4" fmla="*/ 1106034 w 1333672"/>
                      <a:gd name="connsiteY4" fmla="*/ 1610107 h 2279424"/>
                      <a:gd name="connsiteX5" fmla="*/ 1333672 w 1333672"/>
                      <a:gd name="connsiteY5" fmla="*/ 1610107 h 2279424"/>
                      <a:gd name="connsiteX6" fmla="*/ 666836 w 1333672"/>
                      <a:gd name="connsiteY6" fmla="*/ 2279424 h 2279424"/>
                      <a:gd name="connsiteX7" fmla="*/ 0 w 1333672"/>
                      <a:gd name="connsiteY7" fmla="*/ 1610107 h 2279424"/>
                      <a:gd name="connsiteX0" fmla="*/ 0 w 1333672"/>
                      <a:gd name="connsiteY0" fmla="*/ 1622516 h 2291833"/>
                      <a:gd name="connsiteX1" fmla="*/ 227638 w 1333672"/>
                      <a:gd name="connsiteY1" fmla="*/ 1622516 h 2291833"/>
                      <a:gd name="connsiteX2" fmla="*/ 243968 w 1333672"/>
                      <a:gd name="connsiteY2" fmla="*/ 0 h 2291833"/>
                      <a:gd name="connsiteX3" fmla="*/ 1113834 w 1333672"/>
                      <a:gd name="connsiteY3" fmla="*/ 877250 h 2291833"/>
                      <a:gd name="connsiteX4" fmla="*/ 1106034 w 1333672"/>
                      <a:gd name="connsiteY4" fmla="*/ 1622516 h 2291833"/>
                      <a:gd name="connsiteX5" fmla="*/ 1333672 w 1333672"/>
                      <a:gd name="connsiteY5" fmla="*/ 1622516 h 2291833"/>
                      <a:gd name="connsiteX6" fmla="*/ 666836 w 1333672"/>
                      <a:gd name="connsiteY6" fmla="*/ 2291833 h 2291833"/>
                      <a:gd name="connsiteX7" fmla="*/ 0 w 1333672"/>
                      <a:gd name="connsiteY7" fmla="*/ 1622516 h 2291833"/>
                      <a:gd name="connsiteX0" fmla="*/ 0 w 1333672"/>
                      <a:gd name="connsiteY0" fmla="*/ 1667884 h 2337201"/>
                      <a:gd name="connsiteX1" fmla="*/ 227638 w 1333672"/>
                      <a:gd name="connsiteY1" fmla="*/ 1667884 h 2337201"/>
                      <a:gd name="connsiteX2" fmla="*/ 237796 w 1333672"/>
                      <a:gd name="connsiteY2" fmla="*/ 0 h 2337201"/>
                      <a:gd name="connsiteX3" fmla="*/ 1113834 w 1333672"/>
                      <a:gd name="connsiteY3" fmla="*/ 922618 h 2337201"/>
                      <a:gd name="connsiteX4" fmla="*/ 1106034 w 1333672"/>
                      <a:gd name="connsiteY4" fmla="*/ 1667884 h 2337201"/>
                      <a:gd name="connsiteX5" fmla="*/ 1333672 w 1333672"/>
                      <a:gd name="connsiteY5" fmla="*/ 1667884 h 2337201"/>
                      <a:gd name="connsiteX6" fmla="*/ 666836 w 1333672"/>
                      <a:gd name="connsiteY6" fmla="*/ 2337201 h 2337201"/>
                      <a:gd name="connsiteX7" fmla="*/ 0 w 1333672"/>
                      <a:gd name="connsiteY7" fmla="*/ 1667884 h 2337201"/>
                      <a:gd name="connsiteX0" fmla="*/ 0 w 1333672"/>
                      <a:gd name="connsiteY0" fmla="*/ 1689736 h 2359053"/>
                      <a:gd name="connsiteX1" fmla="*/ 227638 w 1333672"/>
                      <a:gd name="connsiteY1" fmla="*/ 1689736 h 2359053"/>
                      <a:gd name="connsiteX2" fmla="*/ 226817 w 1333672"/>
                      <a:gd name="connsiteY2" fmla="*/ -1 h 2359053"/>
                      <a:gd name="connsiteX3" fmla="*/ 1113834 w 1333672"/>
                      <a:gd name="connsiteY3" fmla="*/ 944470 h 2359053"/>
                      <a:gd name="connsiteX4" fmla="*/ 1106034 w 1333672"/>
                      <a:gd name="connsiteY4" fmla="*/ 1689736 h 2359053"/>
                      <a:gd name="connsiteX5" fmla="*/ 1333672 w 1333672"/>
                      <a:gd name="connsiteY5" fmla="*/ 1689736 h 2359053"/>
                      <a:gd name="connsiteX6" fmla="*/ 666836 w 1333672"/>
                      <a:gd name="connsiteY6" fmla="*/ 2359053 h 2359053"/>
                      <a:gd name="connsiteX7" fmla="*/ 0 w 1333672"/>
                      <a:gd name="connsiteY7" fmla="*/ 1689736 h 2359053"/>
                      <a:gd name="connsiteX0" fmla="*/ 0 w 1333672"/>
                      <a:gd name="connsiteY0" fmla="*/ 1679583 h 2348900"/>
                      <a:gd name="connsiteX1" fmla="*/ 227638 w 1333672"/>
                      <a:gd name="connsiteY1" fmla="*/ 1679583 h 2348900"/>
                      <a:gd name="connsiteX2" fmla="*/ 217523 w 1333672"/>
                      <a:gd name="connsiteY2" fmla="*/ 0 h 2348900"/>
                      <a:gd name="connsiteX3" fmla="*/ 1113834 w 1333672"/>
                      <a:gd name="connsiteY3" fmla="*/ 934317 h 2348900"/>
                      <a:gd name="connsiteX4" fmla="*/ 1106034 w 1333672"/>
                      <a:gd name="connsiteY4" fmla="*/ 1679583 h 2348900"/>
                      <a:gd name="connsiteX5" fmla="*/ 1333672 w 1333672"/>
                      <a:gd name="connsiteY5" fmla="*/ 1679583 h 2348900"/>
                      <a:gd name="connsiteX6" fmla="*/ 666836 w 1333672"/>
                      <a:gd name="connsiteY6" fmla="*/ 2348900 h 2348900"/>
                      <a:gd name="connsiteX7" fmla="*/ 0 w 1333672"/>
                      <a:gd name="connsiteY7" fmla="*/ 1679583 h 2348900"/>
                      <a:gd name="connsiteX0" fmla="*/ 0 w 1333672"/>
                      <a:gd name="connsiteY0" fmla="*/ 1679583 h 2348900"/>
                      <a:gd name="connsiteX1" fmla="*/ 227638 w 1333672"/>
                      <a:gd name="connsiteY1" fmla="*/ 1679583 h 2348900"/>
                      <a:gd name="connsiteX2" fmla="*/ 217523 w 1333672"/>
                      <a:gd name="connsiteY2" fmla="*/ 0 h 2348900"/>
                      <a:gd name="connsiteX3" fmla="*/ 1120138 w 1333672"/>
                      <a:gd name="connsiteY3" fmla="*/ 954505 h 2348900"/>
                      <a:gd name="connsiteX4" fmla="*/ 1106034 w 1333672"/>
                      <a:gd name="connsiteY4" fmla="*/ 1679583 h 2348900"/>
                      <a:gd name="connsiteX5" fmla="*/ 1333672 w 1333672"/>
                      <a:gd name="connsiteY5" fmla="*/ 1679583 h 2348900"/>
                      <a:gd name="connsiteX6" fmla="*/ 666836 w 1333672"/>
                      <a:gd name="connsiteY6" fmla="*/ 2348900 h 2348900"/>
                      <a:gd name="connsiteX7" fmla="*/ 0 w 1333672"/>
                      <a:gd name="connsiteY7" fmla="*/ 1679583 h 2348900"/>
                      <a:gd name="connsiteX0" fmla="*/ 0 w 1333672"/>
                      <a:gd name="connsiteY0" fmla="*/ 1679583 h 2348900"/>
                      <a:gd name="connsiteX1" fmla="*/ 227638 w 1333672"/>
                      <a:gd name="connsiteY1" fmla="*/ 1679583 h 2348900"/>
                      <a:gd name="connsiteX2" fmla="*/ 217523 w 1333672"/>
                      <a:gd name="connsiteY2" fmla="*/ 0 h 2348900"/>
                      <a:gd name="connsiteX3" fmla="*/ 1132679 w 1333672"/>
                      <a:gd name="connsiteY3" fmla="*/ 978034 h 2348900"/>
                      <a:gd name="connsiteX4" fmla="*/ 1106034 w 1333672"/>
                      <a:gd name="connsiteY4" fmla="*/ 1679583 h 2348900"/>
                      <a:gd name="connsiteX5" fmla="*/ 1333672 w 1333672"/>
                      <a:gd name="connsiteY5" fmla="*/ 1679583 h 2348900"/>
                      <a:gd name="connsiteX6" fmla="*/ 666836 w 1333672"/>
                      <a:gd name="connsiteY6" fmla="*/ 2348900 h 2348900"/>
                      <a:gd name="connsiteX7" fmla="*/ 0 w 1333672"/>
                      <a:gd name="connsiteY7" fmla="*/ 1679583 h 2348900"/>
                      <a:gd name="connsiteX0" fmla="*/ 0 w 1333672"/>
                      <a:gd name="connsiteY0" fmla="*/ 1682967 h 2352284"/>
                      <a:gd name="connsiteX1" fmla="*/ 227638 w 1333672"/>
                      <a:gd name="connsiteY1" fmla="*/ 1682967 h 2352284"/>
                      <a:gd name="connsiteX2" fmla="*/ 220621 w 1333672"/>
                      <a:gd name="connsiteY2" fmla="*/ -1 h 2352284"/>
                      <a:gd name="connsiteX3" fmla="*/ 1132679 w 1333672"/>
                      <a:gd name="connsiteY3" fmla="*/ 981418 h 2352284"/>
                      <a:gd name="connsiteX4" fmla="*/ 1106034 w 1333672"/>
                      <a:gd name="connsiteY4" fmla="*/ 1682967 h 2352284"/>
                      <a:gd name="connsiteX5" fmla="*/ 1333672 w 1333672"/>
                      <a:gd name="connsiteY5" fmla="*/ 1682967 h 2352284"/>
                      <a:gd name="connsiteX6" fmla="*/ 666836 w 1333672"/>
                      <a:gd name="connsiteY6" fmla="*/ 2352284 h 2352284"/>
                      <a:gd name="connsiteX7" fmla="*/ 0 w 1333672"/>
                      <a:gd name="connsiteY7" fmla="*/ 1682967 h 2352284"/>
                      <a:gd name="connsiteX0" fmla="*/ 0 w 1333672"/>
                      <a:gd name="connsiteY0" fmla="*/ 1688001 h 2357318"/>
                      <a:gd name="connsiteX1" fmla="*/ 227638 w 1333672"/>
                      <a:gd name="connsiteY1" fmla="*/ 1688001 h 2357318"/>
                      <a:gd name="connsiteX2" fmla="*/ 215933 w 1333672"/>
                      <a:gd name="connsiteY2" fmla="*/ 0 h 2357318"/>
                      <a:gd name="connsiteX3" fmla="*/ 1132679 w 1333672"/>
                      <a:gd name="connsiteY3" fmla="*/ 986452 h 2357318"/>
                      <a:gd name="connsiteX4" fmla="*/ 1106034 w 1333672"/>
                      <a:gd name="connsiteY4" fmla="*/ 1688001 h 2357318"/>
                      <a:gd name="connsiteX5" fmla="*/ 1333672 w 1333672"/>
                      <a:gd name="connsiteY5" fmla="*/ 1688001 h 2357318"/>
                      <a:gd name="connsiteX6" fmla="*/ 666836 w 1333672"/>
                      <a:gd name="connsiteY6" fmla="*/ 2357318 h 2357318"/>
                      <a:gd name="connsiteX7" fmla="*/ 0 w 1333672"/>
                      <a:gd name="connsiteY7" fmla="*/ 1688001 h 235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672" h="2357318">
                        <a:moveTo>
                          <a:pt x="0" y="1688001"/>
                        </a:moveTo>
                        <a:lnTo>
                          <a:pt x="227638" y="1688001"/>
                        </a:lnTo>
                        <a:cubicBezTo>
                          <a:pt x="231738" y="1154032"/>
                          <a:pt x="211833" y="533969"/>
                          <a:pt x="215933" y="0"/>
                        </a:cubicBezTo>
                        <a:lnTo>
                          <a:pt x="1132679" y="986452"/>
                        </a:lnTo>
                        <a:lnTo>
                          <a:pt x="1106034" y="1688001"/>
                        </a:lnTo>
                        <a:lnTo>
                          <a:pt x="1333672" y="1688001"/>
                        </a:lnTo>
                        <a:lnTo>
                          <a:pt x="666836" y="2357318"/>
                        </a:lnTo>
                        <a:lnTo>
                          <a:pt x="0" y="168800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grpSp>
              <p:nvGrpSpPr>
                <p:cNvPr id="22" name="Group 21"/>
                <p:cNvGrpSpPr/>
                <p:nvPr/>
              </p:nvGrpSpPr>
              <p:grpSpPr>
                <a:xfrm flipH="1">
                  <a:off x="4748863" y="276938"/>
                  <a:ext cx="2151404" cy="2359108"/>
                  <a:chOff x="2206921" y="276939"/>
                  <a:chExt cx="2151404" cy="2359108"/>
                </a:xfrm>
              </p:grpSpPr>
              <p:sp>
                <p:nvSpPr>
                  <p:cNvPr id="23" name="Isosceles Triangle 22"/>
                  <p:cNvSpPr/>
                  <p:nvPr/>
                </p:nvSpPr>
                <p:spPr>
                  <a:xfrm>
                    <a:off x="2206921" y="961355"/>
                    <a:ext cx="793303" cy="398155"/>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5" name="Down Arrow 6"/>
                  <p:cNvSpPr/>
                  <p:nvPr/>
                </p:nvSpPr>
                <p:spPr>
                  <a:xfrm rot="18914994">
                    <a:off x="3024651" y="276939"/>
                    <a:ext cx="1333674" cy="2359108"/>
                  </a:xfrm>
                  <a:custGeom>
                    <a:avLst/>
                    <a:gdLst>
                      <a:gd name="connsiteX0" fmla="*/ 0 w 1333672"/>
                      <a:gd name="connsiteY0" fmla="*/ 1589498 h 2258815"/>
                      <a:gd name="connsiteX1" fmla="*/ 227638 w 1333672"/>
                      <a:gd name="connsiteY1" fmla="*/ 1589498 h 2258815"/>
                      <a:gd name="connsiteX2" fmla="*/ 227638 w 1333672"/>
                      <a:gd name="connsiteY2" fmla="*/ 0 h 2258815"/>
                      <a:gd name="connsiteX3" fmla="*/ 1106034 w 1333672"/>
                      <a:gd name="connsiteY3" fmla="*/ 0 h 2258815"/>
                      <a:gd name="connsiteX4" fmla="*/ 1106034 w 1333672"/>
                      <a:gd name="connsiteY4" fmla="*/ 1589498 h 2258815"/>
                      <a:gd name="connsiteX5" fmla="*/ 1333672 w 1333672"/>
                      <a:gd name="connsiteY5" fmla="*/ 1589498 h 2258815"/>
                      <a:gd name="connsiteX6" fmla="*/ 666836 w 1333672"/>
                      <a:gd name="connsiteY6" fmla="*/ 2258815 h 2258815"/>
                      <a:gd name="connsiteX7" fmla="*/ 0 w 1333672"/>
                      <a:gd name="connsiteY7" fmla="*/ 1589498 h 2258815"/>
                      <a:gd name="connsiteX0" fmla="*/ 0 w 1333672"/>
                      <a:gd name="connsiteY0" fmla="*/ 1589498 h 2258815"/>
                      <a:gd name="connsiteX1" fmla="*/ 227638 w 1333672"/>
                      <a:gd name="connsiteY1" fmla="*/ 1589498 h 2258815"/>
                      <a:gd name="connsiteX2" fmla="*/ 227638 w 1333672"/>
                      <a:gd name="connsiteY2" fmla="*/ 0 h 2258815"/>
                      <a:gd name="connsiteX3" fmla="*/ 1113834 w 1333672"/>
                      <a:gd name="connsiteY3" fmla="*/ 844232 h 2258815"/>
                      <a:gd name="connsiteX4" fmla="*/ 1106034 w 1333672"/>
                      <a:gd name="connsiteY4" fmla="*/ 1589498 h 2258815"/>
                      <a:gd name="connsiteX5" fmla="*/ 1333672 w 1333672"/>
                      <a:gd name="connsiteY5" fmla="*/ 1589498 h 2258815"/>
                      <a:gd name="connsiteX6" fmla="*/ 666836 w 1333672"/>
                      <a:gd name="connsiteY6" fmla="*/ 2258815 h 2258815"/>
                      <a:gd name="connsiteX7" fmla="*/ 0 w 1333672"/>
                      <a:gd name="connsiteY7" fmla="*/ 1589498 h 2258815"/>
                      <a:gd name="connsiteX0" fmla="*/ 0 w 1333672"/>
                      <a:gd name="connsiteY0" fmla="*/ 1601907 h 2271224"/>
                      <a:gd name="connsiteX1" fmla="*/ 227638 w 1333672"/>
                      <a:gd name="connsiteY1" fmla="*/ 1601907 h 2271224"/>
                      <a:gd name="connsiteX2" fmla="*/ 239939 w 1333672"/>
                      <a:gd name="connsiteY2" fmla="*/ 0 h 2271224"/>
                      <a:gd name="connsiteX3" fmla="*/ 1113834 w 1333672"/>
                      <a:gd name="connsiteY3" fmla="*/ 856641 h 2271224"/>
                      <a:gd name="connsiteX4" fmla="*/ 1106034 w 1333672"/>
                      <a:gd name="connsiteY4" fmla="*/ 1601907 h 2271224"/>
                      <a:gd name="connsiteX5" fmla="*/ 1333672 w 1333672"/>
                      <a:gd name="connsiteY5" fmla="*/ 1601907 h 2271224"/>
                      <a:gd name="connsiteX6" fmla="*/ 666836 w 1333672"/>
                      <a:gd name="connsiteY6" fmla="*/ 2271224 h 2271224"/>
                      <a:gd name="connsiteX7" fmla="*/ 0 w 1333672"/>
                      <a:gd name="connsiteY7" fmla="*/ 1601907 h 2271224"/>
                      <a:gd name="connsiteX0" fmla="*/ 0 w 1333672"/>
                      <a:gd name="connsiteY0" fmla="*/ 1610107 h 2279424"/>
                      <a:gd name="connsiteX1" fmla="*/ 227638 w 1333672"/>
                      <a:gd name="connsiteY1" fmla="*/ 1610107 h 2279424"/>
                      <a:gd name="connsiteX2" fmla="*/ 231667 w 1333672"/>
                      <a:gd name="connsiteY2" fmla="*/ 0 h 2279424"/>
                      <a:gd name="connsiteX3" fmla="*/ 1113834 w 1333672"/>
                      <a:gd name="connsiteY3" fmla="*/ 864841 h 2279424"/>
                      <a:gd name="connsiteX4" fmla="*/ 1106034 w 1333672"/>
                      <a:gd name="connsiteY4" fmla="*/ 1610107 h 2279424"/>
                      <a:gd name="connsiteX5" fmla="*/ 1333672 w 1333672"/>
                      <a:gd name="connsiteY5" fmla="*/ 1610107 h 2279424"/>
                      <a:gd name="connsiteX6" fmla="*/ 666836 w 1333672"/>
                      <a:gd name="connsiteY6" fmla="*/ 2279424 h 2279424"/>
                      <a:gd name="connsiteX7" fmla="*/ 0 w 1333672"/>
                      <a:gd name="connsiteY7" fmla="*/ 1610107 h 2279424"/>
                      <a:gd name="connsiteX0" fmla="*/ 0 w 1333672"/>
                      <a:gd name="connsiteY0" fmla="*/ 1622516 h 2291833"/>
                      <a:gd name="connsiteX1" fmla="*/ 227638 w 1333672"/>
                      <a:gd name="connsiteY1" fmla="*/ 1622516 h 2291833"/>
                      <a:gd name="connsiteX2" fmla="*/ 243968 w 1333672"/>
                      <a:gd name="connsiteY2" fmla="*/ 0 h 2291833"/>
                      <a:gd name="connsiteX3" fmla="*/ 1113834 w 1333672"/>
                      <a:gd name="connsiteY3" fmla="*/ 877250 h 2291833"/>
                      <a:gd name="connsiteX4" fmla="*/ 1106034 w 1333672"/>
                      <a:gd name="connsiteY4" fmla="*/ 1622516 h 2291833"/>
                      <a:gd name="connsiteX5" fmla="*/ 1333672 w 1333672"/>
                      <a:gd name="connsiteY5" fmla="*/ 1622516 h 2291833"/>
                      <a:gd name="connsiteX6" fmla="*/ 666836 w 1333672"/>
                      <a:gd name="connsiteY6" fmla="*/ 2291833 h 2291833"/>
                      <a:gd name="connsiteX7" fmla="*/ 0 w 1333672"/>
                      <a:gd name="connsiteY7" fmla="*/ 1622516 h 2291833"/>
                      <a:gd name="connsiteX0" fmla="*/ 0 w 1333672"/>
                      <a:gd name="connsiteY0" fmla="*/ 1689791 h 2359108"/>
                      <a:gd name="connsiteX1" fmla="*/ 227638 w 1333672"/>
                      <a:gd name="connsiteY1" fmla="*/ 1689791 h 2359108"/>
                      <a:gd name="connsiteX2" fmla="*/ 218804 w 1333672"/>
                      <a:gd name="connsiteY2" fmla="*/ 0 h 2359108"/>
                      <a:gd name="connsiteX3" fmla="*/ 1113834 w 1333672"/>
                      <a:gd name="connsiteY3" fmla="*/ 944525 h 2359108"/>
                      <a:gd name="connsiteX4" fmla="*/ 1106034 w 1333672"/>
                      <a:gd name="connsiteY4" fmla="*/ 1689791 h 2359108"/>
                      <a:gd name="connsiteX5" fmla="*/ 1333672 w 1333672"/>
                      <a:gd name="connsiteY5" fmla="*/ 1689791 h 2359108"/>
                      <a:gd name="connsiteX6" fmla="*/ 666836 w 1333672"/>
                      <a:gd name="connsiteY6" fmla="*/ 2359108 h 2359108"/>
                      <a:gd name="connsiteX7" fmla="*/ 0 w 1333672"/>
                      <a:gd name="connsiteY7" fmla="*/ 1689791 h 2359108"/>
                      <a:gd name="connsiteX0" fmla="*/ 0 w 1333672"/>
                      <a:gd name="connsiteY0" fmla="*/ 1689791 h 2359108"/>
                      <a:gd name="connsiteX1" fmla="*/ 227638 w 1333672"/>
                      <a:gd name="connsiteY1" fmla="*/ 1689791 h 2359108"/>
                      <a:gd name="connsiteX2" fmla="*/ 218804 w 1333672"/>
                      <a:gd name="connsiteY2" fmla="*/ 0 h 2359108"/>
                      <a:gd name="connsiteX3" fmla="*/ 1112325 w 1333672"/>
                      <a:gd name="connsiteY3" fmla="*/ 956327 h 2359108"/>
                      <a:gd name="connsiteX4" fmla="*/ 1106034 w 1333672"/>
                      <a:gd name="connsiteY4" fmla="*/ 1689791 h 2359108"/>
                      <a:gd name="connsiteX5" fmla="*/ 1333672 w 1333672"/>
                      <a:gd name="connsiteY5" fmla="*/ 1689791 h 2359108"/>
                      <a:gd name="connsiteX6" fmla="*/ 666836 w 1333672"/>
                      <a:gd name="connsiteY6" fmla="*/ 2359108 h 2359108"/>
                      <a:gd name="connsiteX7" fmla="*/ 0 w 1333672"/>
                      <a:gd name="connsiteY7" fmla="*/ 1689791 h 235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672" h="2359108">
                        <a:moveTo>
                          <a:pt x="0" y="1689791"/>
                        </a:moveTo>
                        <a:lnTo>
                          <a:pt x="227638" y="1689791"/>
                        </a:lnTo>
                        <a:cubicBezTo>
                          <a:pt x="231738" y="1155822"/>
                          <a:pt x="214704" y="533969"/>
                          <a:pt x="218804" y="0"/>
                        </a:cubicBezTo>
                        <a:lnTo>
                          <a:pt x="1112325" y="956327"/>
                        </a:lnTo>
                        <a:lnTo>
                          <a:pt x="1106034" y="1689791"/>
                        </a:lnTo>
                        <a:lnTo>
                          <a:pt x="1333672" y="1689791"/>
                        </a:lnTo>
                        <a:lnTo>
                          <a:pt x="666836" y="2359108"/>
                        </a:lnTo>
                        <a:lnTo>
                          <a:pt x="0" y="168979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grpSp>
          <p:grpSp>
            <p:nvGrpSpPr>
              <p:cNvPr id="27" name="Group 26"/>
              <p:cNvGrpSpPr/>
              <p:nvPr/>
            </p:nvGrpSpPr>
            <p:grpSpPr>
              <a:xfrm flipV="1">
                <a:off x="2202069" y="2945838"/>
                <a:ext cx="4693346" cy="2370892"/>
                <a:chOff x="2206921" y="260068"/>
                <a:chExt cx="4693346" cy="2370892"/>
              </a:xfrm>
            </p:grpSpPr>
            <p:grpSp>
              <p:nvGrpSpPr>
                <p:cNvPr id="28" name="Group 27"/>
                <p:cNvGrpSpPr/>
                <p:nvPr/>
              </p:nvGrpSpPr>
              <p:grpSpPr>
                <a:xfrm>
                  <a:off x="2206921" y="260068"/>
                  <a:ext cx="2147574" cy="2370892"/>
                  <a:chOff x="2206921" y="260069"/>
                  <a:chExt cx="2147574" cy="2370892"/>
                </a:xfrm>
              </p:grpSpPr>
              <p:sp>
                <p:nvSpPr>
                  <p:cNvPr id="33" name="Isosceles Triangle 32"/>
                  <p:cNvSpPr/>
                  <p:nvPr/>
                </p:nvSpPr>
                <p:spPr>
                  <a:xfrm>
                    <a:off x="2206921" y="954559"/>
                    <a:ext cx="793303" cy="398155"/>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4" name="Down Arrow 6"/>
                  <p:cNvSpPr/>
                  <p:nvPr/>
                </p:nvSpPr>
                <p:spPr>
                  <a:xfrm rot="18914994">
                    <a:off x="3020822" y="260069"/>
                    <a:ext cx="1333673" cy="2370892"/>
                  </a:xfrm>
                  <a:custGeom>
                    <a:avLst/>
                    <a:gdLst>
                      <a:gd name="connsiteX0" fmla="*/ 0 w 1333672"/>
                      <a:gd name="connsiteY0" fmla="*/ 1589498 h 2258815"/>
                      <a:gd name="connsiteX1" fmla="*/ 227638 w 1333672"/>
                      <a:gd name="connsiteY1" fmla="*/ 1589498 h 2258815"/>
                      <a:gd name="connsiteX2" fmla="*/ 227638 w 1333672"/>
                      <a:gd name="connsiteY2" fmla="*/ 0 h 2258815"/>
                      <a:gd name="connsiteX3" fmla="*/ 1106034 w 1333672"/>
                      <a:gd name="connsiteY3" fmla="*/ 0 h 2258815"/>
                      <a:gd name="connsiteX4" fmla="*/ 1106034 w 1333672"/>
                      <a:gd name="connsiteY4" fmla="*/ 1589498 h 2258815"/>
                      <a:gd name="connsiteX5" fmla="*/ 1333672 w 1333672"/>
                      <a:gd name="connsiteY5" fmla="*/ 1589498 h 2258815"/>
                      <a:gd name="connsiteX6" fmla="*/ 666836 w 1333672"/>
                      <a:gd name="connsiteY6" fmla="*/ 2258815 h 2258815"/>
                      <a:gd name="connsiteX7" fmla="*/ 0 w 1333672"/>
                      <a:gd name="connsiteY7" fmla="*/ 1589498 h 2258815"/>
                      <a:gd name="connsiteX0" fmla="*/ 0 w 1333672"/>
                      <a:gd name="connsiteY0" fmla="*/ 1589498 h 2258815"/>
                      <a:gd name="connsiteX1" fmla="*/ 227638 w 1333672"/>
                      <a:gd name="connsiteY1" fmla="*/ 1589498 h 2258815"/>
                      <a:gd name="connsiteX2" fmla="*/ 227638 w 1333672"/>
                      <a:gd name="connsiteY2" fmla="*/ 0 h 2258815"/>
                      <a:gd name="connsiteX3" fmla="*/ 1113834 w 1333672"/>
                      <a:gd name="connsiteY3" fmla="*/ 844232 h 2258815"/>
                      <a:gd name="connsiteX4" fmla="*/ 1106034 w 1333672"/>
                      <a:gd name="connsiteY4" fmla="*/ 1589498 h 2258815"/>
                      <a:gd name="connsiteX5" fmla="*/ 1333672 w 1333672"/>
                      <a:gd name="connsiteY5" fmla="*/ 1589498 h 2258815"/>
                      <a:gd name="connsiteX6" fmla="*/ 666836 w 1333672"/>
                      <a:gd name="connsiteY6" fmla="*/ 2258815 h 2258815"/>
                      <a:gd name="connsiteX7" fmla="*/ 0 w 1333672"/>
                      <a:gd name="connsiteY7" fmla="*/ 1589498 h 2258815"/>
                      <a:gd name="connsiteX0" fmla="*/ 0 w 1333672"/>
                      <a:gd name="connsiteY0" fmla="*/ 1601907 h 2271224"/>
                      <a:gd name="connsiteX1" fmla="*/ 227638 w 1333672"/>
                      <a:gd name="connsiteY1" fmla="*/ 1601907 h 2271224"/>
                      <a:gd name="connsiteX2" fmla="*/ 239939 w 1333672"/>
                      <a:gd name="connsiteY2" fmla="*/ 0 h 2271224"/>
                      <a:gd name="connsiteX3" fmla="*/ 1113834 w 1333672"/>
                      <a:gd name="connsiteY3" fmla="*/ 856641 h 2271224"/>
                      <a:gd name="connsiteX4" fmla="*/ 1106034 w 1333672"/>
                      <a:gd name="connsiteY4" fmla="*/ 1601907 h 2271224"/>
                      <a:gd name="connsiteX5" fmla="*/ 1333672 w 1333672"/>
                      <a:gd name="connsiteY5" fmla="*/ 1601907 h 2271224"/>
                      <a:gd name="connsiteX6" fmla="*/ 666836 w 1333672"/>
                      <a:gd name="connsiteY6" fmla="*/ 2271224 h 2271224"/>
                      <a:gd name="connsiteX7" fmla="*/ 0 w 1333672"/>
                      <a:gd name="connsiteY7" fmla="*/ 1601907 h 2271224"/>
                      <a:gd name="connsiteX0" fmla="*/ 0 w 1333672"/>
                      <a:gd name="connsiteY0" fmla="*/ 1610107 h 2279424"/>
                      <a:gd name="connsiteX1" fmla="*/ 227638 w 1333672"/>
                      <a:gd name="connsiteY1" fmla="*/ 1610107 h 2279424"/>
                      <a:gd name="connsiteX2" fmla="*/ 231667 w 1333672"/>
                      <a:gd name="connsiteY2" fmla="*/ 0 h 2279424"/>
                      <a:gd name="connsiteX3" fmla="*/ 1113834 w 1333672"/>
                      <a:gd name="connsiteY3" fmla="*/ 864841 h 2279424"/>
                      <a:gd name="connsiteX4" fmla="*/ 1106034 w 1333672"/>
                      <a:gd name="connsiteY4" fmla="*/ 1610107 h 2279424"/>
                      <a:gd name="connsiteX5" fmla="*/ 1333672 w 1333672"/>
                      <a:gd name="connsiteY5" fmla="*/ 1610107 h 2279424"/>
                      <a:gd name="connsiteX6" fmla="*/ 666836 w 1333672"/>
                      <a:gd name="connsiteY6" fmla="*/ 2279424 h 2279424"/>
                      <a:gd name="connsiteX7" fmla="*/ 0 w 1333672"/>
                      <a:gd name="connsiteY7" fmla="*/ 1610107 h 2279424"/>
                      <a:gd name="connsiteX0" fmla="*/ 0 w 1333672"/>
                      <a:gd name="connsiteY0" fmla="*/ 1622516 h 2291833"/>
                      <a:gd name="connsiteX1" fmla="*/ 227638 w 1333672"/>
                      <a:gd name="connsiteY1" fmla="*/ 1622516 h 2291833"/>
                      <a:gd name="connsiteX2" fmla="*/ 243968 w 1333672"/>
                      <a:gd name="connsiteY2" fmla="*/ 0 h 2291833"/>
                      <a:gd name="connsiteX3" fmla="*/ 1113834 w 1333672"/>
                      <a:gd name="connsiteY3" fmla="*/ 877250 h 2291833"/>
                      <a:gd name="connsiteX4" fmla="*/ 1106034 w 1333672"/>
                      <a:gd name="connsiteY4" fmla="*/ 1622516 h 2291833"/>
                      <a:gd name="connsiteX5" fmla="*/ 1333672 w 1333672"/>
                      <a:gd name="connsiteY5" fmla="*/ 1622516 h 2291833"/>
                      <a:gd name="connsiteX6" fmla="*/ 666836 w 1333672"/>
                      <a:gd name="connsiteY6" fmla="*/ 2291833 h 2291833"/>
                      <a:gd name="connsiteX7" fmla="*/ 0 w 1333672"/>
                      <a:gd name="connsiteY7" fmla="*/ 1622516 h 2291833"/>
                      <a:gd name="connsiteX0" fmla="*/ 0 w 1333672"/>
                      <a:gd name="connsiteY0" fmla="*/ 1683036 h 2352353"/>
                      <a:gd name="connsiteX1" fmla="*/ 227638 w 1333672"/>
                      <a:gd name="connsiteY1" fmla="*/ 1683036 h 2352353"/>
                      <a:gd name="connsiteX2" fmla="*/ 215721 w 1333672"/>
                      <a:gd name="connsiteY2" fmla="*/ 0 h 2352353"/>
                      <a:gd name="connsiteX3" fmla="*/ 1113834 w 1333672"/>
                      <a:gd name="connsiteY3" fmla="*/ 937770 h 2352353"/>
                      <a:gd name="connsiteX4" fmla="*/ 1106034 w 1333672"/>
                      <a:gd name="connsiteY4" fmla="*/ 1683036 h 2352353"/>
                      <a:gd name="connsiteX5" fmla="*/ 1333672 w 1333672"/>
                      <a:gd name="connsiteY5" fmla="*/ 1683036 h 2352353"/>
                      <a:gd name="connsiteX6" fmla="*/ 666836 w 1333672"/>
                      <a:gd name="connsiteY6" fmla="*/ 2352353 h 2352353"/>
                      <a:gd name="connsiteX7" fmla="*/ 0 w 1333672"/>
                      <a:gd name="connsiteY7" fmla="*/ 1683036 h 2352353"/>
                      <a:gd name="connsiteX0" fmla="*/ 0 w 1333672"/>
                      <a:gd name="connsiteY0" fmla="*/ 1688127 h 2357444"/>
                      <a:gd name="connsiteX1" fmla="*/ 227638 w 1333672"/>
                      <a:gd name="connsiteY1" fmla="*/ 1688127 h 2357444"/>
                      <a:gd name="connsiteX2" fmla="*/ 223480 w 1333672"/>
                      <a:gd name="connsiteY2" fmla="*/ 0 h 2357444"/>
                      <a:gd name="connsiteX3" fmla="*/ 1113834 w 1333672"/>
                      <a:gd name="connsiteY3" fmla="*/ 942861 h 2357444"/>
                      <a:gd name="connsiteX4" fmla="*/ 1106034 w 1333672"/>
                      <a:gd name="connsiteY4" fmla="*/ 1688127 h 2357444"/>
                      <a:gd name="connsiteX5" fmla="*/ 1333672 w 1333672"/>
                      <a:gd name="connsiteY5" fmla="*/ 1688127 h 2357444"/>
                      <a:gd name="connsiteX6" fmla="*/ 666836 w 1333672"/>
                      <a:gd name="connsiteY6" fmla="*/ 2357444 h 2357444"/>
                      <a:gd name="connsiteX7" fmla="*/ 0 w 1333672"/>
                      <a:gd name="connsiteY7" fmla="*/ 1688127 h 2357444"/>
                      <a:gd name="connsiteX0" fmla="*/ 0 w 1333672"/>
                      <a:gd name="connsiteY0" fmla="*/ 1704930 h 2374247"/>
                      <a:gd name="connsiteX1" fmla="*/ 227638 w 1333672"/>
                      <a:gd name="connsiteY1" fmla="*/ 1704930 h 2374247"/>
                      <a:gd name="connsiteX2" fmla="*/ 214076 w 1333672"/>
                      <a:gd name="connsiteY2" fmla="*/ 0 h 2374247"/>
                      <a:gd name="connsiteX3" fmla="*/ 1113834 w 1333672"/>
                      <a:gd name="connsiteY3" fmla="*/ 959664 h 2374247"/>
                      <a:gd name="connsiteX4" fmla="*/ 1106034 w 1333672"/>
                      <a:gd name="connsiteY4" fmla="*/ 1704930 h 2374247"/>
                      <a:gd name="connsiteX5" fmla="*/ 1333672 w 1333672"/>
                      <a:gd name="connsiteY5" fmla="*/ 1704930 h 2374247"/>
                      <a:gd name="connsiteX6" fmla="*/ 666836 w 1333672"/>
                      <a:gd name="connsiteY6" fmla="*/ 2374247 h 2374247"/>
                      <a:gd name="connsiteX7" fmla="*/ 0 w 1333672"/>
                      <a:gd name="connsiteY7" fmla="*/ 1704930 h 2374247"/>
                      <a:gd name="connsiteX0" fmla="*/ 0 w 1333672"/>
                      <a:gd name="connsiteY0" fmla="*/ 1701575 h 2370892"/>
                      <a:gd name="connsiteX1" fmla="*/ 227638 w 1333672"/>
                      <a:gd name="connsiteY1" fmla="*/ 1701575 h 2370892"/>
                      <a:gd name="connsiteX2" fmla="*/ 217201 w 1333672"/>
                      <a:gd name="connsiteY2" fmla="*/ 1 h 2370892"/>
                      <a:gd name="connsiteX3" fmla="*/ 1113834 w 1333672"/>
                      <a:gd name="connsiteY3" fmla="*/ 956309 h 2370892"/>
                      <a:gd name="connsiteX4" fmla="*/ 1106034 w 1333672"/>
                      <a:gd name="connsiteY4" fmla="*/ 1701575 h 2370892"/>
                      <a:gd name="connsiteX5" fmla="*/ 1333672 w 1333672"/>
                      <a:gd name="connsiteY5" fmla="*/ 1701575 h 2370892"/>
                      <a:gd name="connsiteX6" fmla="*/ 666836 w 1333672"/>
                      <a:gd name="connsiteY6" fmla="*/ 2370892 h 2370892"/>
                      <a:gd name="connsiteX7" fmla="*/ 0 w 1333672"/>
                      <a:gd name="connsiteY7" fmla="*/ 1701575 h 237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672" h="2370892">
                        <a:moveTo>
                          <a:pt x="0" y="1701575"/>
                        </a:moveTo>
                        <a:lnTo>
                          <a:pt x="227638" y="1701575"/>
                        </a:lnTo>
                        <a:cubicBezTo>
                          <a:pt x="231738" y="1167606"/>
                          <a:pt x="213101" y="533970"/>
                          <a:pt x="217201" y="1"/>
                        </a:cubicBezTo>
                        <a:lnTo>
                          <a:pt x="1113834" y="956309"/>
                        </a:lnTo>
                        <a:lnTo>
                          <a:pt x="1106034" y="1701575"/>
                        </a:lnTo>
                        <a:lnTo>
                          <a:pt x="1333672" y="1701575"/>
                        </a:lnTo>
                        <a:lnTo>
                          <a:pt x="666836" y="2370892"/>
                        </a:lnTo>
                        <a:lnTo>
                          <a:pt x="0" y="1701575"/>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grpSp>
              <p:nvGrpSpPr>
                <p:cNvPr id="29" name="Group 28"/>
                <p:cNvGrpSpPr/>
                <p:nvPr/>
              </p:nvGrpSpPr>
              <p:grpSpPr>
                <a:xfrm flipH="1">
                  <a:off x="4750504" y="265827"/>
                  <a:ext cx="2149763" cy="2364155"/>
                  <a:chOff x="2206921" y="265828"/>
                  <a:chExt cx="2149763" cy="2364155"/>
                </a:xfrm>
              </p:grpSpPr>
              <p:sp>
                <p:nvSpPr>
                  <p:cNvPr id="30" name="Isosceles Triangle 29"/>
                  <p:cNvSpPr/>
                  <p:nvPr/>
                </p:nvSpPr>
                <p:spPr>
                  <a:xfrm>
                    <a:off x="2206921" y="954559"/>
                    <a:ext cx="793303" cy="398155"/>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1" name="Down Arrow 6"/>
                  <p:cNvSpPr/>
                  <p:nvPr/>
                </p:nvSpPr>
                <p:spPr>
                  <a:xfrm rot="18914994">
                    <a:off x="3023011" y="265828"/>
                    <a:ext cx="1333673" cy="2364155"/>
                  </a:xfrm>
                  <a:custGeom>
                    <a:avLst/>
                    <a:gdLst>
                      <a:gd name="connsiteX0" fmla="*/ 0 w 1333672"/>
                      <a:gd name="connsiteY0" fmla="*/ 1589498 h 2258815"/>
                      <a:gd name="connsiteX1" fmla="*/ 227638 w 1333672"/>
                      <a:gd name="connsiteY1" fmla="*/ 1589498 h 2258815"/>
                      <a:gd name="connsiteX2" fmla="*/ 227638 w 1333672"/>
                      <a:gd name="connsiteY2" fmla="*/ 0 h 2258815"/>
                      <a:gd name="connsiteX3" fmla="*/ 1106034 w 1333672"/>
                      <a:gd name="connsiteY3" fmla="*/ 0 h 2258815"/>
                      <a:gd name="connsiteX4" fmla="*/ 1106034 w 1333672"/>
                      <a:gd name="connsiteY4" fmla="*/ 1589498 h 2258815"/>
                      <a:gd name="connsiteX5" fmla="*/ 1333672 w 1333672"/>
                      <a:gd name="connsiteY5" fmla="*/ 1589498 h 2258815"/>
                      <a:gd name="connsiteX6" fmla="*/ 666836 w 1333672"/>
                      <a:gd name="connsiteY6" fmla="*/ 2258815 h 2258815"/>
                      <a:gd name="connsiteX7" fmla="*/ 0 w 1333672"/>
                      <a:gd name="connsiteY7" fmla="*/ 1589498 h 2258815"/>
                      <a:gd name="connsiteX0" fmla="*/ 0 w 1333672"/>
                      <a:gd name="connsiteY0" fmla="*/ 1589498 h 2258815"/>
                      <a:gd name="connsiteX1" fmla="*/ 227638 w 1333672"/>
                      <a:gd name="connsiteY1" fmla="*/ 1589498 h 2258815"/>
                      <a:gd name="connsiteX2" fmla="*/ 227638 w 1333672"/>
                      <a:gd name="connsiteY2" fmla="*/ 0 h 2258815"/>
                      <a:gd name="connsiteX3" fmla="*/ 1113834 w 1333672"/>
                      <a:gd name="connsiteY3" fmla="*/ 844232 h 2258815"/>
                      <a:gd name="connsiteX4" fmla="*/ 1106034 w 1333672"/>
                      <a:gd name="connsiteY4" fmla="*/ 1589498 h 2258815"/>
                      <a:gd name="connsiteX5" fmla="*/ 1333672 w 1333672"/>
                      <a:gd name="connsiteY5" fmla="*/ 1589498 h 2258815"/>
                      <a:gd name="connsiteX6" fmla="*/ 666836 w 1333672"/>
                      <a:gd name="connsiteY6" fmla="*/ 2258815 h 2258815"/>
                      <a:gd name="connsiteX7" fmla="*/ 0 w 1333672"/>
                      <a:gd name="connsiteY7" fmla="*/ 1589498 h 2258815"/>
                      <a:gd name="connsiteX0" fmla="*/ 0 w 1333672"/>
                      <a:gd name="connsiteY0" fmla="*/ 1601907 h 2271224"/>
                      <a:gd name="connsiteX1" fmla="*/ 227638 w 1333672"/>
                      <a:gd name="connsiteY1" fmla="*/ 1601907 h 2271224"/>
                      <a:gd name="connsiteX2" fmla="*/ 239939 w 1333672"/>
                      <a:gd name="connsiteY2" fmla="*/ 0 h 2271224"/>
                      <a:gd name="connsiteX3" fmla="*/ 1113834 w 1333672"/>
                      <a:gd name="connsiteY3" fmla="*/ 856641 h 2271224"/>
                      <a:gd name="connsiteX4" fmla="*/ 1106034 w 1333672"/>
                      <a:gd name="connsiteY4" fmla="*/ 1601907 h 2271224"/>
                      <a:gd name="connsiteX5" fmla="*/ 1333672 w 1333672"/>
                      <a:gd name="connsiteY5" fmla="*/ 1601907 h 2271224"/>
                      <a:gd name="connsiteX6" fmla="*/ 666836 w 1333672"/>
                      <a:gd name="connsiteY6" fmla="*/ 2271224 h 2271224"/>
                      <a:gd name="connsiteX7" fmla="*/ 0 w 1333672"/>
                      <a:gd name="connsiteY7" fmla="*/ 1601907 h 2271224"/>
                      <a:gd name="connsiteX0" fmla="*/ 0 w 1333672"/>
                      <a:gd name="connsiteY0" fmla="*/ 1610107 h 2279424"/>
                      <a:gd name="connsiteX1" fmla="*/ 227638 w 1333672"/>
                      <a:gd name="connsiteY1" fmla="*/ 1610107 h 2279424"/>
                      <a:gd name="connsiteX2" fmla="*/ 231667 w 1333672"/>
                      <a:gd name="connsiteY2" fmla="*/ 0 h 2279424"/>
                      <a:gd name="connsiteX3" fmla="*/ 1113834 w 1333672"/>
                      <a:gd name="connsiteY3" fmla="*/ 864841 h 2279424"/>
                      <a:gd name="connsiteX4" fmla="*/ 1106034 w 1333672"/>
                      <a:gd name="connsiteY4" fmla="*/ 1610107 h 2279424"/>
                      <a:gd name="connsiteX5" fmla="*/ 1333672 w 1333672"/>
                      <a:gd name="connsiteY5" fmla="*/ 1610107 h 2279424"/>
                      <a:gd name="connsiteX6" fmla="*/ 666836 w 1333672"/>
                      <a:gd name="connsiteY6" fmla="*/ 2279424 h 2279424"/>
                      <a:gd name="connsiteX7" fmla="*/ 0 w 1333672"/>
                      <a:gd name="connsiteY7" fmla="*/ 1610107 h 2279424"/>
                      <a:gd name="connsiteX0" fmla="*/ 0 w 1333672"/>
                      <a:gd name="connsiteY0" fmla="*/ 1622516 h 2291833"/>
                      <a:gd name="connsiteX1" fmla="*/ 227638 w 1333672"/>
                      <a:gd name="connsiteY1" fmla="*/ 1622516 h 2291833"/>
                      <a:gd name="connsiteX2" fmla="*/ 243968 w 1333672"/>
                      <a:gd name="connsiteY2" fmla="*/ 0 h 2291833"/>
                      <a:gd name="connsiteX3" fmla="*/ 1113834 w 1333672"/>
                      <a:gd name="connsiteY3" fmla="*/ 877250 h 2291833"/>
                      <a:gd name="connsiteX4" fmla="*/ 1106034 w 1333672"/>
                      <a:gd name="connsiteY4" fmla="*/ 1622516 h 2291833"/>
                      <a:gd name="connsiteX5" fmla="*/ 1333672 w 1333672"/>
                      <a:gd name="connsiteY5" fmla="*/ 1622516 h 2291833"/>
                      <a:gd name="connsiteX6" fmla="*/ 666836 w 1333672"/>
                      <a:gd name="connsiteY6" fmla="*/ 2291833 h 2291833"/>
                      <a:gd name="connsiteX7" fmla="*/ 0 w 1333672"/>
                      <a:gd name="connsiteY7" fmla="*/ 1622516 h 2291833"/>
                      <a:gd name="connsiteX0" fmla="*/ 0 w 1333672"/>
                      <a:gd name="connsiteY0" fmla="*/ 1684730 h 2354047"/>
                      <a:gd name="connsiteX1" fmla="*/ 227638 w 1333672"/>
                      <a:gd name="connsiteY1" fmla="*/ 1684730 h 2354047"/>
                      <a:gd name="connsiteX2" fmla="*/ 217269 w 1333672"/>
                      <a:gd name="connsiteY2" fmla="*/ 0 h 2354047"/>
                      <a:gd name="connsiteX3" fmla="*/ 1113834 w 1333672"/>
                      <a:gd name="connsiteY3" fmla="*/ 939464 h 2354047"/>
                      <a:gd name="connsiteX4" fmla="*/ 1106034 w 1333672"/>
                      <a:gd name="connsiteY4" fmla="*/ 1684730 h 2354047"/>
                      <a:gd name="connsiteX5" fmla="*/ 1333672 w 1333672"/>
                      <a:gd name="connsiteY5" fmla="*/ 1684730 h 2354047"/>
                      <a:gd name="connsiteX6" fmla="*/ 666836 w 1333672"/>
                      <a:gd name="connsiteY6" fmla="*/ 2354047 h 2354047"/>
                      <a:gd name="connsiteX7" fmla="*/ 0 w 1333672"/>
                      <a:gd name="connsiteY7" fmla="*/ 1684730 h 2354047"/>
                      <a:gd name="connsiteX0" fmla="*/ 0 w 1333672"/>
                      <a:gd name="connsiteY0" fmla="*/ 1684730 h 2354047"/>
                      <a:gd name="connsiteX1" fmla="*/ 227638 w 1333672"/>
                      <a:gd name="connsiteY1" fmla="*/ 1684730 h 2354047"/>
                      <a:gd name="connsiteX2" fmla="*/ 217269 w 1333672"/>
                      <a:gd name="connsiteY2" fmla="*/ 0 h 2354047"/>
                      <a:gd name="connsiteX3" fmla="*/ 1107666 w 1333672"/>
                      <a:gd name="connsiteY3" fmla="*/ 952972 h 2354047"/>
                      <a:gd name="connsiteX4" fmla="*/ 1106034 w 1333672"/>
                      <a:gd name="connsiteY4" fmla="*/ 1684730 h 2354047"/>
                      <a:gd name="connsiteX5" fmla="*/ 1333672 w 1333672"/>
                      <a:gd name="connsiteY5" fmla="*/ 1684730 h 2354047"/>
                      <a:gd name="connsiteX6" fmla="*/ 666836 w 1333672"/>
                      <a:gd name="connsiteY6" fmla="*/ 2354047 h 2354047"/>
                      <a:gd name="connsiteX7" fmla="*/ 0 w 1333672"/>
                      <a:gd name="connsiteY7" fmla="*/ 1684730 h 2354047"/>
                      <a:gd name="connsiteX0" fmla="*/ 0 w 1333672"/>
                      <a:gd name="connsiteY0" fmla="*/ 1703241 h 2372558"/>
                      <a:gd name="connsiteX1" fmla="*/ 227638 w 1333672"/>
                      <a:gd name="connsiteY1" fmla="*/ 1703241 h 2372558"/>
                      <a:gd name="connsiteX2" fmla="*/ 212527 w 1333672"/>
                      <a:gd name="connsiteY2" fmla="*/ 0 h 2372558"/>
                      <a:gd name="connsiteX3" fmla="*/ 1107666 w 1333672"/>
                      <a:gd name="connsiteY3" fmla="*/ 971483 h 2372558"/>
                      <a:gd name="connsiteX4" fmla="*/ 1106034 w 1333672"/>
                      <a:gd name="connsiteY4" fmla="*/ 1703241 h 2372558"/>
                      <a:gd name="connsiteX5" fmla="*/ 1333672 w 1333672"/>
                      <a:gd name="connsiteY5" fmla="*/ 1703241 h 2372558"/>
                      <a:gd name="connsiteX6" fmla="*/ 666836 w 1333672"/>
                      <a:gd name="connsiteY6" fmla="*/ 2372558 h 2372558"/>
                      <a:gd name="connsiteX7" fmla="*/ 0 w 1333672"/>
                      <a:gd name="connsiteY7" fmla="*/ 1703241 h 2372558"/>
                      <a:gd name="connsiteX0" fmla="*/ 0 w 1333672"/>
                      <a:gd name="connsiteY0" fmla="*/ 1694838 h 2364155"/>
                      <a:gd name="connsiteX1" fmla="*/ 227638 w 1333672"/>
                      <a:gd name="connsiteY1" fmla="*/ 1694838 h 2364155"/>
                      <a:gd name="connsiteX2" fmla="*/ 217230 w 1333672"/>
                      <a:gd name="connsiteY2" fmla="*/ 0 h 2364155"/>
                      <a:gd name="connsiteX3" fmla="*/ 1107666 w 1333672"/>
                      <a:gd name="connsiteY3" fmla="*/ 963080 h 2364155"/>
                      <a:gd name="connsiteX4" fmla="*/ 1106034 w 1333672"/>
                      <a:gd name="connsiteY4" fmla="*/ 1694838 h 2364155"/>
                      <a:gd name="connsiteX5" fmla="*/ 1333672 w 1333672"/>
                      <a:gd name="connsiteY5" fmla="*/ 1694838 h 2364155"/>
                      <a:gd name="connsiteX6" fmla="*/ 666836 w 1333672"/>
                      <a:gd name="connsiteY6" fmla="*/ 2364155 h 2364155"/>
                      <a:gd name="connsiteX7" fmla="*/ 0 w 1333672"/>
                      <a:gd name="connsiteY7" fmla="*/ 1694838 h 236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672" h="2364155">
                        <a:moveTo>
                          <a:pt x="0" y="1694838"/>
                        </a:moveTo>
                        <a:lnTo>
                          <a:pt x="227638" y="1694838"/>
                        </a:lnTo>
                        <a:cubicBezTo>
                          <a:pt x="231738" y="1160869"/>
                          <a:pt x="213130" y="533969"/>
                          <a:pt x="217230" y="0"/>
                        </a:cubicBezTo>
                        <a:lnTo>
                          <a:pt x="1107666" y="963080"/>
                        </a:lnTo>
                        <a:lnTo>
                          <a:pt x="1106034" y="1694838"/>
                        </a:lnTo>
                        <a:lnTo>
                          <a:pt x="1333672" y="1694838"/>
                        </a:lnTo>
                        <a:lnTo>
                          <a:pt x="666836" y="2364155"/>
                        </a:lnTo>
                        <a:lnTo>
                          <a:pt x="0" y="169483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grpSp>
        </p:grpSp>
        <p:sp>
          <p:nvSpPr>
            <p:cNvPr id="39" name="Rectangle 38"/>
            <p:cNvSpPr/>
            <p:nvPr/>
          </p:nvSpPr>
          <p:spPr>
            <a:xfrm>
              <a:off x="337802" y="1461219"/>
              <a:ext cx="2965525" cy="81938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031">
                <a:defRPr/>
              </a:pPr>
              <a:r>
                <a:rPr lang="en-US" sz="1600" dirty="0">
                  <a:solidFill>
                    <a:srgbClr val="00BCEB"/>
                  </a:solidFill>
                  <a:latin typeface="CiscoSansTT ExtraLight"/>
                </a:rPr>
                <a:t>Create New </a:t>
              </a:r>
              <a:r>
                <a:rPr lang="en-US" sz="1600">
                  <a:solidFill>
                    <a:srgbClr val="00BCEB"/>
                  </a:solidFill>
                  <a:latin typeface="CiscoSansTT ExtraLight"/>
                </a:rPr>
                <a:t>Revenue Streams</a:t>
              </a:r>
              <a:endParaRPr lang="en-US" sz="1600" dirty="0">
                <a:solidFill>
                  <a:srgbClr val="00BCEB"/>
                </a:solidFill>
                <a:latin typeface="CiscoSansTT ExtraLight"/>
              </a:endParaRPr>
            </a:p>
            <a:p>
              <a:pPr marL="115885" indent="-115885" defTabSz="457031">
                <a:buFont typeface="Arial" panose="020B0604020202020204" pitchFamily="34" charset="0"/>
                <a:buChar char="•"/>
                <a:defRPr/>
              </a:pPr>
              <a:r>
                <a:rPr lang="en-US" sz="1200" dirty="0">
                  <a:solidFill>
                    <a:srgbClr val="676767"/>
                  </a:solidFill>
                  <a:latin typeface="CiscoSansTT ExtraLight"/>
                </a:rPr>
                <a:t>Differentiate Services with SR Policies</a:t>
              </a:r>
            </a:p>
            <a:p>
              <a:pPr marL="115885" indent="-115885" defTabSz="457031">
                <a:buFont typeface="Arial" panose="020B0604020202020204" pitchFamily="34" charset="0"/>
                <a:buChar char="•"/>
                <a:defRPr/>
              </a:pPr>
              <a:r>
                <a:rPr lang="en-US" sz="1200" dirty="0" err="1">
                  <a:solidFill>
                    <a:srgbClr val="676767"/>
                  </a:solidFill>
                  <a:latin typeface="CiscoSansTT ExtraLight"/>
                </a:rPr>
                <a:t>Statelessly</a:t>
              </a:r>
              <a:r>
                <a:rPr lang="en-US" sz="1200" dirty="0">
                  <a:solidFill>
                    <a:srgbClr val="676767"/>
                  </a:solidFill>
                  <a:latin typeface="CiscoSansTT ExtraLight"/>
                </a:rPr>
                <a:t> Chain Value-Add Services (no added protocols)</a:t>
              </a:r>
            </a:p>
          </p:txBody>
        </p:sp>
        <p:sp>
          <p:nvSpPr>
            <p:cNvPr id="40" name="Rectangle 39"/>
            <p:cNvSpPr/>
            <p:nvPr/>
          </p:nvSpPr>
          <p:spPr>
            <a:xfrm>
              <a:off x="437767" y="3041633"/>
              <a:ext cx="2794186" cy="81938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457031">
                <a:defRPr/>
              </a:pPr>
              <a:r>
                <a:rPr lang="en-US" sz="1600" dirty="0">
                  <a:solidFill>
                    <a:srgbClr val="FBAB18"/>
                  </a:solidFill>
                  <a:latin typeface="CiscoSansTT ExtraLight"/>
                </a:rPr>
                <a:t>Monitor Health</a:t>
              </a:r>
            </a:p>
            <a:p>
              <a:pPr marL="115885" indent="-115885" defTabSz="457031">
                <a:buFont typeface="Arial" panose="020B0604020202020204" pitchFamily="34" charset="0"/>
                <a:buChar char="•"/>
                <a:defRPr/>
              </a:pPr>
              <a:r>
                <a:rPr lang="en-US" sz="1200" dirty="0">
                  <a:solidFill>
                    <a:srgbClr val="676767"/>
                  </a:solidFill>
                  <a:latin typeface="CiscoSansTT ExtraLight"/>
                </a:rPr>
                <a:t>Data Path Validation Including ECMP</a:t>
              </a:r>
            </a:p>
            <a:p>
              <a:pPr marL="115885" indent="-115885" defTabSz="457031">
                <a:buFont typeface="Arial" panose="020B0604020202020204" pitchFamily="34" charset="0"/>
                <a:buChar char="•"/>
                <a:defRPr/>
              </a:pPr>
              <a:r>
                <a:rPr lang="en-US" sz="1200" dirty="0">
                  <a:solidFill>
                    <a:srgbClr val="676767"/>
                  </a:solidFill>
                  <a:latin typeface="CiscoSansTT ExtraLight"/>
                </a:rPr>
                <a:t>Real Time Per-Link Performance Monitoring with Telemetry</a:t>
              </a:r>
            </a:p>
          </p:txBody>
        </p:sp>
        <p:sp>
          <p:nvSpPr>
            <p:cNvPr id="41" name="Rectangle 40"/>
            <p:cNvSpPr/>
            <p:nvPr/>
          </p:nvSpPr>
          <p:spPr>
            <a:xfrm>
              <a:off x="5735132" y="1445831"/>
              <a:ext cx="2678653" cy="10010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031">
                <a:defRPr/>
              </a:pPr>
              <a:r>
                <a:rPr lang="en-US" sz="1600" dirty="0">
                  <a:solidFill>
                    <a:srgbClr val="6EBE4A"/>
                  </a:solidFill>
                  <a:latin typeface="CiscoSansTT ExtraLight"/>
                </a:rPr>
                <a:t>Deploy with Ease</a:t>
              </a:r>
            </a:p>
            <a:p>
              <a:pPr marL="115885" indent="-115885" defTabSz="457031">
                <a:buFont typeface="Arial" panose="020B0604020202020204" pitchFamily="34" charset="0"/>
                <a:buChar char="•"/>
                <a:defRPr/>
              </a:pPr>
              <a:r>
                <a:rPr lang="en-US" sz="1200" dirty="0">
                  <a:solidFill>
                    <a:srgbClr val="676767"/>
                  </a:solidFill>
                  <a:latin typeface="CiscoSansTT ExtraLight"/>
                </a:rPr>
                <a:t>Seamless Brownfield Integration</a:t>
              </a:r>
            </a:p>
            <a:p>
              <a:pPr marL="115885" indent="-115885" defTabSz="457031">
                <a:buFont typeface="Arial" panose="020B0604020202020204" pitchFamily="34" charset="0"/>
                <a:buChar char="•"/>
                <a:defRPr/>
              </a:pPr>
              <a:r>
                <a:rPr lang="en-US" sz="1200" dirty="0">
                  <a:solidFill>
                    <a:srgbClr val="676767"/>
                  </a:solidFill>
                  <a:latin typeface="CiscoSansTT ExtraLight"/>
                </a:rPr>
                <a:t>Single Control for Inter Domain Implementations</a:t>
              </a:r>
            </a:p>
          </p:txBody>
        </p:sp>
        <p:sp>
          <p:nvSpPr>
            <p:cNvPr id="42" name="Rectangle 41"/>
            <p:cNvSpPr/>
            <p:nvPr/>
          </p:nvSpPr>
          <p:spPr>
            <a:xfrm>
              <a:off x="5735131" y="3032069"/>
              <a:ext cx="2678653" cy="81938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457031">
                <a:defRPr/>
              </a:pPr>
              <a:r>
                <a:rPr lang="en-US" sz="1600" dirty="0">
                  <a:solidFill>
                    <a:srgbClr val="005073"/>
                  </a:solidFill>
                  <a:latin typeface="CiscoSansTT ExtraLight"/>
                </a:rPr>
                <a:t>Increase Availability</a:t>
              </a:r>
            </a:p>
            <a:p>
              <a:pPr marL="115885" indent="-115885" defTabSz="457031">
                <a:buFont typeface="Arial" panose="020B0604020202020204" pitchFamily="34" charset="0"/>
                <a:buChar char="•"/>
                <a:defRPr/>
              </a:pPr>
              <a:r>
                <a:rPr lang="en-US" sz="1200" dirty="0">
                  <a:solidFill>
                    <a:srgbClr val="676767"/>
                  </a:solidFill>
                  <a:latin typeface="CiscoSansTT ExtraLight"/>
                </a:rPr>
                <a:t>Automated 50ms Protection</a:t>
              </a:r>
            </a:p>
            <a:p>
              <a:pPr marL="115885" indent="-115885" defTabSz="457031">
                <a:buFont typeface="Arial" panose="020B0604020202020204" pitchFamily="34" charset="0"/>
                <a:buChar char="•"/>
                <a:defRPr/>
              </a:pPr>
              <a:r>
                <a:rPr lang="en-US" sz="1200" dirty="0">
                  <a:solidFill>
                    <a:srgbClr val="676767"/>
                  </a:solidFill>
                  <a:latin typeface="CiscoSansTT ExtraLight"/>
                </a:rPr>
                <a:t>Assured </a:t>
              </a:r>
              <a:r>
                <a:rPr lang="en-US" sz="1200" dirty="0" err="1">
                  <a:solidFill>
                    <a:srgbClr val="676767"/>
                  </a:solidFill>
                  <a:latin typeface="CiscoSansTT ExtraLight"/>
                </a:rPr>
                <a:t>Loopfree</a:t>
              </a:r>
              <a:r>
                <a:rPr lang="en-US" sz="1200" dirty="0">
                  <a:solidFill>
                    <a:srgbClr val="676767"/>
                  </a:solidFill>
                  <a:latin typeface="CiscoSansTT ExtraLight"/>
                </a:rPr>
                <a:t> Convergence upon Recovery</a:t>
              </a:r>
            </a:p>
          </p:txBody>
        </p:sp>
        <p:sp>
          <p:nvSpPr>
            <p:cNvPr id="3" name="Oval 2"/>
            <p:cNvSpPr/>
            <p:nvPr/>
          </p:nvSpPr>
          <p:spPr>
            <a:xfrm>
              <a:off x="3658456" y="1843722"/>
              <a:ext cx="1617413" cy="1617413"/>
            </a:xfrm>
            <a:prstGeom prst="ellipse">
              <a:avLst/>
            </a:prstGeom>
            <a:solidFill>
              <a:srgbClr val="FFFFFF">
                <a:alpha val="67059"/>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pic>
          <p:nvPicPr>
            <p:cNvPr id="26" name="Picture 25">
              <a:extLst>
                <a:ext uri="{FF2B5EF4-FFF2-40B4-BE49-F238E27FC236}">
                  <a16:creationId xmlns:a16="http://schemas.microsoft.com/office/drawing/2014/main" id="{EFF5327F-D5FD-0447-9FF1-5FDB2862934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39049" y="1920577"/>
              <a:ext cx="1454977" cy="1454977"/>
            </a:xfrm>
            <a:prstGeom prst="rect">
              <a:avLst/>
            </a:prstGeom>
            <a:noFill/>
            <a:ln>
              <a:noFill/>
            </a:ln>
          </p:spPr>
        </p:pic>
      </p:grpSp>
      <p:sp>
        <p:nvSpPr>
          <p:cNvPr id="32" name="Rectangle 31"/>
          <p:cNvSpPr/>
          <p:nvPr/>
        </p:nvSpPr>
        <p:spPr>
          <a:xfrm>
            <a:off x="448950" y="4144401"/>
            <a:ext cx="8225266" cy="392876"/>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dirty="0">
                <a:solidFill>
                  <a:srgbClr val="FFFFFF"/>
                </a:solidFill>
                <a:latin typeface="CiscoSansTT ExtraLight"/>
              </a:rPr>
              <a:t>60% of Service Providers plan to have SR deployed by the end of CY19*</a:t>
            </a:r>
          </a:p>
        </p:txBody>
      </p:sp>
      <p:sp>
        <p:nvSpPr>
          <p:cNvPr id="35" name="TextBox 34"/>
          <p:cNvSpPr txBox="1"/>
          <p:nvPr/>
        </p:nvSpPr>
        <p:spPr>
          <a:xfrm>
            <a:off x="7043677" y="4826766"/>
            <a:ext cx="1739579" cy="246221"/>
          </a:xfrm>
          <a:prstGeom prst="rect">
            <a:avLst/>
          </a:prstGeom>
          <a:noFill/>
        </p:spPr>
        <p:txBody>
          <a:bodyPr wrap="none" rtlCol="0">
            <a:spAutoFit/>
          </a:bodyPr>
          <a:lstStyle/>
          <a:p>
            <a:pPr defTabSz="457189">
              <a:defRPr/>
            </a:pPr>
            <a:r>
              <a:rPr lang="en-US" sz="1000" dirty="0">
                <a:solidFill>
                  <a:srgbClr val="282828"/>
                </a:solidFill>
                <a:latin typeface="CiscoSansTT ExtraLight"/>
              </a:rPr>
              <a:t>* IHS </a:t>
            </a:r>
            <a:r>
              <a:rPr lang="en-US" sz="1000" dirty="0" err="1">
                <a:solidFill>
                  <a:srgbClr val="282828"/>
                </a:solidFill>
                <a:latin typeface="CiscoSansTT ExtraLight"/>
              </a:rPr>
              <a:t>Markit</a:t>
            </a:r>
            <a:r>
              <a:rPr lang="en-US" sz="1000" dirty="0">
                <a:solidFill>
                  <a:srgbClr val="282828"/>
                </a:solidFill>
                <a:latin typeface="CiscoSansTT ExtraLight"/>
              </a:rPr>
              <a:t> Survey (2018)</a:t>
            </a:r>
          </a:p>
        </p:txBody>
      </p:sp>
    </p:spTree>
    <p:extLst>
      <p:ext uri="{BB962C8B-B14F-4D97-AF65-F5344CB8AC3E}">
        <p14:creationId xmlns:p14="http://schemas.microsoft.com/office/powerpoint/2010/main" val="41858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OS XR: Simplifying Operations</a:t>
            </a:r>
            <a:endParaRPr lang="en-US" dirty="0"/>
          </a:p>
        </p:txBody>
      </p:sp>
      <p:sp>
        <p:nvSpPr>
          <p:cNvPr id="3" name="Rectangle 2"/>
          <p:cNvSpPr/>
          <p:nvPr/>
        </p:nvSpPr>
        <p:spPr>
          <a:xfrm>
            <a:off x="594068" y="1102944"/>
            <a:ext cx="2529423" cy="63256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dirty="0">
                <a:solidFill>
                  <a:srgbClr val="005073"/>
                </a:solidFill>
                <a:latin typeface="CiscoSansTT ExtraLight" charset="0"/>
                <a:ea typeface="CiscoSansTT ExtraLight" charset="0"/>
                <a:cs typeface="CiscoSansTT ExtraLight" charset="0"/>
              </a:rPr>
              <a:t>Flexible Packaging</a:t>
            </a:r>
          </a:p>
        </p:txBody>
      </p:sp>
      <p:sp>
        <p:nvSpPr>
          <p:cNvPr id="4" name="Rectangle 3"/>
          <p:cNvSpPr/>
          <p:nvPr/>
        </p:nvSpPr>
        <p:spPr>
          <a:xfrm>
            <a:off x="3325040" y="1102944"/>
            <a:ext cx="2529423" cy="63256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dirty="0">
                <a:solidFill>
                  <a:srgbClr val="005073"/>
                </a:solidFill>
                <a:latin typeface="CiscoSansTT ExtraLight" charset="0"/>
                <a:ea typeface="CiscoSansTT ExtraLight" charset="0"/>
                <a:cs typeface="CiscoSansTT ExtraLight" charset="0"/>
              </a:rPr>
              <a:t>Optimized Install</a:t>
            </a:r>
          </a:p>
        </p:txBody>
      </p:sp>
      <p:sp>
        <p:nvSpPr>
          <p:cNvPr id="5" name="Rectangle 4"/>
          <p:cNvSpPr/>
          <p:nvPr/>
        </p:nvSpPr>
        <p:spPr>
          <a:xfrm>
            <a:off x="6055805" y="1102944"/>
            <a:ext cx="2529423" cy="63256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dirty="0">
                <a:solidFill>
                  <a:srgbClr val="005073"/>
                </a:solidFill>
                <a:latin typeface="CiscoSansTT ExtraLight" charset="0"/>
                <a:ea typeface="CiscoSansTT ExtraLight" charset="0"/>
                <a:cs typeface="CiscoSansTT ExtraLight" charset="0"/>
              </a:rPr>
              <a:t>Programmability Tools</a:t>
            </a:r>
          </a:p>
        </p:txBody>
      </p:sp>
      <p:sp>
        <p:nvSpPr>
          <p:cNvPr id="6" name="Rectangle 5"/>
          <p:cNvSpPr/>
          <p:nvPr/>
        </p:nvSpPr>
        <p:spPr>
          <a:xfrm>
            <a:off x="594069" y="1747157"/>
            <a:ext cx="2529422" cy="2720007"/>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defTabSz="607396">
              <a:defRPr/>
            </a:pPr>
            <a:endParaRPr lang="en-US" sz="2400" dirty="0">
              <a:solidFill>
                <a:srgbClr val="FFFFFF"/>
              </a:solidFill>
              <a:latin typeface="CiscoSansTT ExtraLight"/>
              <a:cs typeface="Arial" panose="020B0604020202020204" pitchFamily="34" charset="0"/>
            </a:endParaRPr>
          </a:p>
        </p:txBody>
      </p:sp>
      <p:sp>
        <p:nvSpPr>
          <p:cNvPr id="7" name="Rectangle 6"/>
          <p:cNvSpPr/>
          <p:nvPr/>
        </p:nvSpPr>
        <p:spPr>
          <a:xfrm>
            <a:off x="3325041" y="1747157"/>
            <a:ext cx="2529422" cy="2720007"/>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defTabSz="607396">
              <a:defRPr/>
            </a:pPr>
            <a:endParaRPr lang="en-US" sz="2400" dirty="0">
              <a:solidFill>
                <a:srgbClr val="FFFFFF"/>
              </a:solidFill>
              <a:latin typeface="CiscoSansTT ExtraLight"/>
              <a:cs typeface="Arial" panose="020B0604020202020204" pitchFamily="34" charset="0"/>
            </a:endParaRPr>
          </a:p>
        </p:txBody>
      </p:sp>
      <p:sp>
        <p:nvSpPr>
          <p:cNvPr id="8" name="Rectangle 7"/>
          <p:cNvSpPr/>
          <p:nvPr/>
        </p:nvSpPr>
        <p:spPr>
          <a:xfrm>
            <a:off x="6055807" y="1747156"/>
            <a:ext cx="2529422" cy="2720007"/>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defTabSz="607396">
              <a:defRPr/>
            </a:pPr>
            <a:endParaRPr lang="en-US" sz="2400" dirty="0">
              <a:solidFill>
                <a:srgbClr val="FFFFFF"/>
              </a:solidFill>
              <a:latin typeface="CiscoSansTT ExtraLight"/>
              <a:cs typeface="Arial" panose="020B0604020202020204" pitchFamily="34" charset="0"/>
            </a:endParaRPr>
          </a:p>
        </p:txBody>
      </p:sp>
      <p:sp>
        <p:nvSpPr>
          <p:cNvPr id="9" name="TextBox 8"/>
          <p:cNvSpPr txBox="1"/>
          <p:nvPr/>
        </p:nvSpPr>
        <p:spPr>
          <a:xfrm>
            <a:off x="594069" y="4199246"/>
            <a:ext cx="2529422" cy="246221"/>
          </a:xfrm>
          <a:prstGeom prst="rect">
            <a:avLst/>
          </a:prstGeom>
          <a:noFill/>
        </p:spPr>
        <p:txBody>
          <a:bodyPr wrap="square" lIns="45720" rIns="45720" rtlCol="0" anchor="b">
            <a:spAutoFit/>
          </a:bodyPr>
          <a:lstStyle/>
          <a:p>
            <a:pPr algn="ctr" defTabSz="457189">
              <a:defRPr/>
            </a:pPr>
            <a:r>
              <a:rPr lang="en-US" sz="1000" dirty="0">
                <a:solidFill>
                  <a:srgbClr val="282828"/>
                </a:solidFill>
                <a:latin typeface="CiscoSansTT ExtraLight" charset="0"/>
                <a:ea typeface="CiscoSansTT ExtraLight" charset="0"/>
                <a:cs typeface="CiscoSansTT ExtraLight" charset="0"/>
                <a:sym typeface="Wingdings"/>
              </a:rPr>
              <a:t>Pick Your Own Packages</a:t>
            </a:r>
          </a:p>
        </p:txBody>
      </p:sp>
      <p:sp>
        <p:nvSpPr>
          <p:cNvPr id="120" name="TextBox 119"/>
          <p:cNvSpPr txBox="1"/>
          <p:nvPr/>
        </p:nvSpPr>
        <p:spPr>
          <a:xfrm>
            <a:off x="7064222" y="1972207"/>
            <a:ext cx="1351581" cy="553998"/>
          </a:xfrm>
          <a:prstGeom prst="rect">
            <a:avLst/>
          </a:prstGeom>
          <a:noFill/>
        </p:spPr>
        <p:txBody>
          <a:bodyPr wrap="square" rtlCol="0">
            <a:spAutoFit/>
          </a:bodyPr>
          <a:lstStyle/>
          <a:p>
            <a:pPr algn="ctr" defTabSz="457189">
              <a:defRPr/>
            </a:pPr>
            <a:r>
              <a:rPr lang="en-US" sz="1000" dirty="0">
                <a:solidFill>
                  <a:srgbClr val="282828"/>
                </a:solidFill>
                <a:latin typeface="CiscoSansTT ExtraLight" charset="0"/>
                <a:ea typeface="CiscoSansTT ExtraLight" charset="0"/>
                <a:cs typeface="CiscoSansTT ExtraLight" charset="0"/>
                <a:sym typeface="Wingdings"/>
              </a:rPr>
              <a:t>Simplify Service Lifecycle with Cisco NSO</a:t>
            </a:r>
            <a:endParaRPr lang="en-US" sz="1000" dirty="0">
              <a:solidFill>
                <a:srgbClr val="282828"/>
              </a:solidFill>
              <a:latin typeface="CiscoSansTT ExtraLight" charset="0"/>
              <a:ea typeface="CiscoSansTT ExtraLight" charset="0"/>
              <a:cs typeface="CiscoSansTT ExtraLight" charset="0"/>
            </a:endParaRPr>
          </a:p>
        </p:txBody>
      </p:sp>
      <p:grpSp>
        <p:nvGrpSpPr>
          <p:cNvPr id="13" name="Group 12"/>
          <p:cNvGrpSpPr/>
          <p:nvPr/>
        </p:nvGrpSpPr>
        <p:grpSpPr>
          <a:xfrm>
            <a:off x="6213416" y="3715008"/>
            <a:ext cx="2251155" cy="707886"/>
            <a:chOff x="6224695" y="2811795"/>
            <a:chExt cx="2251154" cy="707886"/>
          </a:xfrm>
        </p:grpSpPr>
        <p:sp>
          <p:nvSpPr>
            <p:cNvPr id="124" name="TextBox 123"/>
            <p:cNvSpPr txBox="1"/>
            <p:nvPr/>
          </p:nvSpPr>
          <p:spPr>
            <a:xfrm>
              <a:off x="7004176" y="2811795"/>
              <a:ext cx="1471673" cy="707886"/>
            </a:xfrm>
            <a:prstGeom prst="rect">
              <a:avLst/>
            </a:prstGeom>
            <a:noFill/>
          </p:spPr>
          <p:txBody>
            <a:bodyPr wrap="square" rtlCol="0">
              <a:spAutoFit/>
            </a:bodyPr>
            <a:lstStyle/>
            <a:p>
              <a:pPr algn="ctr" defTabSz="457189">
                <a:defRPr/>
              </a:pPr>
              <a:r>
                <a:rPr lang="en-US" sz="1000" dirty="0">
                  <a:solidFill>
                    <a:srgbClr val="282828"/>
                  </a:solidFill>
                  <a:latin typeface="CiscoSansTT ExtraLight" charset="0"/>
                  <a:ea typeface="CiscoSansTT ExtraLight" charset="0"/>
                  <a:cs typeface="CiscoSansTT ExtraLight" charset="0"/>
                  <a:sym typeface="Wingdings"/>
                </a:rPr>
                <a:t>Accelerate Modern Programmability Tool Adoption with YDK and Yang Suite</a:t>
              </a:r>
              <a:endParaRPr lang="en-US" sz="1000" dirty="0">
                <a:solidFill>
                  <a:srgbClr val="282828"/>
                </a:solidFill>
                <a:latin typeface="CiscoSansTT ExtraLight" charset="0"/>
                <a:ea typeface="CiscoSansTT ExtraLight" charset="0"/>
                <a:cs typeface="CiscoSansTT ExtraLight" charset="0"/>
              </a:endParaRPr>
            </a:p>
          </p:txBody>
        </p:sp>
        <p:sp>
          <p:nvSpPr>
            <p:cNvPr id="125" name="TextBox 124"/>
            <p:cNvSpPr txBox="1"/>
            <p:nvPr/>
          </p:nvSpPr>
          <p:spPr>
            <a:xfrm>
              <a:off x="6224695" y="2850913"/>
              <a:ext cx="768159" cy="584775"/>
            </a:xfrm>
            <a:prstGeom prst="rect">
              <a:avLst/>
            </a:prstGeom>
            <a:noFill/>
          </p:spPr>
          <p:txBody>
            <a:bodyPr wrap="none" rtlCol="0">
              <a:spAutoFit/>
            </a:bodyPr>
            <a:lstStyle/>
            <a:p>
              <a:pPr algn="ctr" defTabSz="457189">
                <a:defRPr/>
              </a:pPr>
              <a:r>
                <a:rPr lang="en-US" sz="1600" b="1" dirty="0">
                  <a:solidFill>
                    <a:srgbClr val="282828"/>
                  </a:solidFill>
                  <a:latin typeface="CiscoSansTT" charset="0"/>
                  <a:ea typeface="CiscoSansTT" charset="0"/>
                  <a:cs typeface="CiscoSansTT" charset="0"/>
                </a:rPr>
                <a:t>YANG</a:t>
              </a:r>
            </a:p>
            <a:p>
              <a:pPr algn="ctr" defTabSz="457189">
                <a:defRPr/>
              </a:pPr>
              <a:r>
                <a:rPr lang="en-US" sz="1600" i="1" dirty="0">
                  <a:solidFill>
                    <a:srgbClr val="282828"/>
                  </a:solidFill>
                  <a:latin typeface="CiscoSansTT Oblique" charset="0"/>
                  <a:ea typeface="CiscoSansTT Oblique" charset="0"/>
                  <a:cs typeface="CiscoSansTT Oblique" charset="0"/>
                </a:rPr>
                <a:t>Suite</a:t>
              </a:r>
            </a:p>
          </p:txBody>
        </p:sp>
      </p:grpSp>
      <p:grpSp>
        <p:nvGrpSpPr>
          <p:cNvPr id="133" name="Group 132"/>
          <p:cNvGrpSpPr/>
          <p:nvPr/>
        </p:nvGrpSpPr>
        <p:grpSpPr>
          <a:xfrm>
            <a:off x="723998" y="1851892"/>
            <a:ext cx="2126079" cy="553891"/>
            <a:chOff x="558265" y="2009142"/>
            <a:chExt cx="2126079" cy="553891"/>
          </a:xfrm>
        </p:grpSpPr>
        <p:sp>
          <p:nvSpPr>
            <p:cNvPr id="134" name="Rectangle 133"/>
            <p:cNvSpPr/>
            <p:nvPr/>
          </p:nvSpPr>
          <p:spPr>
            <a:xfrm>
              <a:off x="558265" y="2009142"/>
              <a:ext cx="823630"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dirty="0">
                  <a:solidFill>
                    <a:srgbClr val="005073"/>
                  </a:solidFill>
                  <a:latin typeface="CiscoSansTT ExtraLight"/>
                </a:rPr>
                <a:t>BASE</a:t>
              </a:r>
            </a:p>
          </p:txBody>
        </p:sp>
        <p:sp>
          <p:nvSpPr>
            <p:cNvPr id="135" name="Rectangle 134"/>
            <p:cNvSpPr/>
            <p:nvPr/>
          </p:nvSpPr>
          <p:spPr>
            <a:xfrm>
              <a:off x="1419727" y="2009142"/>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a:solidFill>
                    <a:srgbClr val="005073"/>
                  </a:solidFill>
                  <a:latin typeface="CiscoSansTT ExtraLight"/>
                </a:rPr>
                <a:t>RPM</a:t>
              </a:r>
              <a:endParaRPr lang="en-US" sz="1100" dirty="0">
                <a:solidFill>
                  <a:srgbClr val="005073"/>
                </a:solidFill>
                <a:latin typeface="CiscoSansTT ExtraLight"/>
              </a:endParaRPr>
            </a:p>
          </p:txBody>
        </p:sp>
        <p:sp>
          <p:nvSpPr>
            <p:cNvPr id="136" name="Rectangle 135"/>
            <p:cNvSpPr/>
            <p:nvPr/>
          </p:nvSpPr>
          <p:spPr>
            <a:xfrm>
              <a:off x="1636802" y="2009142"/>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dirty="0">
                  <a:solidFill>
                    <a:srgbClr val="005073"/>
                  </a:solidFill>
                  <a:latin typeface="CiscoSansTT ExtraLight"/>
                </a:rPr>
                <a:t>RPM</a:t>
              </a:r>
            </a:p>
          </p:txBody>
        </p:sp>
        <p:sp>
          <p:nvSpPr>
            <p:cNvPr id="137" name="Rectangle 136"/>
            <p:cNvSpPr/>
            <p:nvPr/>
          </p:nvSpPr>
          <p:spPr>
            <a:xfrm>
              <a:off x="2288027" y="2009142"/>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a:solidFill>
                    <a:srgbClr val="005073"/>
                  </a:solidFill>
                  <a:latin typeface="CiscoSansTT ExtraLight"/>
                </a:rPr>
                <a:t>RPM</a:t>
              </a:r>
              <a:endParaRPr lang="en-US" sz="1100" dirty="0">
                <a:solidFill>
                  <a:srgbClr val="005073"/>
                </a:solidFill>
                <a:latin typeface="CiscoSansTT ExtraLight"/>
              </a:endParaRPr>
            </a:p>
          </p:txBody>
        </p:sp>
        <p:sp>
          <p:nvSpPr>
            <p:cNvPr id="138" name="Rectangle 137"/>
            <p:cNvSpPr/>
            <p:nvPr/>
          </p:nvSpPr>
          <p:spPr>
            <a:xfrm>
              <a:off x="2505101" y="2009142"/>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a:solidFill>
                    <a:srgbClr val="005073"/>
                  </a:solidFill>
                  <a:latin typeface="CiscoSansTT ExtraLight"/>
                </a:rPr>
                <a:t>RPM</a:t>
              </a:r>
              <a:endParaRPr lang="en-US" sz="1100" dirty="0">
                <a:solidFill>
                  <a:srgbClr val="005073"/>
                </a:solidFill>
                <a:latin typeface="CiscoSansTT ExtraLight"/>
              </a:endParaRPr>
            </a:p>
          </p:txBody>
        </p:sp>
        <p:sp>
          <p:nvSpPr>
            <p:cNvPr id="139" name="Rectangle 138"/>
            <p:cNvSpPr/>
            <p:nvPr/>
          </p:nvSpPr>
          <p:spPr>
            <a:xfrm>
              <a:off x="1853877" y="2009142"/>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a:solidFill>
                    <a:srgbClr val="005073"/>
                  </a:solidFill>
                  <a:latin typeface="CiscoSansTT ExtraLight"/>
                </a:rPr>
                <a:t>RPM</a:t>
              </a:r>
              <a:endParaRPr lang="en-US" sz="1100" dirty="0">
                <a:solidFill>
                  <a:srgbClr val="005073"/>
                </a:solidFill>
                <a:latin typeface="CiscoSansTT ExtraLight"/>
              </a:endParaRPr>
            </a:p>
          </p:txBody>
        </p:sp>
        <p:sp>
          <p:nvSpPr>
            <p:cNvPr id="140" name="Rectangle 139"/>
            <p:cNvSpPr/>
            <p:nvPr/>
          </p:nvSpPr>
          <p:spPr>
            <a:xfrm>
              <a:off x="2070952" y="2009142"/>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a:solidFill>
                    <a:srgbClr val="005073"/>
                  </a:solidFill>
                  <a:latin typeface="CiscoSansTT ExtraLight"/>
                </a:rPr>
                <a:t>RPM</a:t>
              </a:r>
              <a:endParaRPr lang="en-US" sz="1100" dirty="0">
                <a:solidFill>
                  <a:srgbClr val="005073"/>
                </a:solidFill>
                <a:latin typeface="CiscoSansTT ExtraLight"/>
              </a:endParaRPr>
            </a:p>
          </p:txBody>
        </p:sp>
        <p:sp>
          <p:nvSpPr>
            <p:cNvPr id="141" name="Rectangle 140"/>
            <p:cNvSpPr/>
            <p:nvPr/>
          </p:nvSpPr>
          <p:spPr>
            <a:xfrm>
              <a:off x="558265" y="2408983"/>
              <a:ext cx="2126079" cy="154050"/>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dirty="0">
                  <a:solidFill>
                    <a:srgbClr val="FFFFFF"/>
                  </a:solidFill>
                  <a:latin typeface="CiscoSansTT ExtraLight"/>
                </a:rPr>
                <a:t>One ISO</a:t>
              </a:r>
            </a:p>
          </p:txBody>
        </p:sp>
      </p:grpSp>
      <p:grpSp>
        <p:nvGrpSpPr>
          <p:cNvPr id="142" name="Group 141"/>
          <p:cNvGrpSpPr/>
          <p:nvPr/>
        </p:nvGrpSpPr>
        <p:grpSpPr>
          <a:xfrm>
            <a:off x="725608" y="2734542"/>
            <a:ext cx="1705999" cy="593434"/>
            <a:chOff x="558265" y="2965419"/>
            <a:chExt cx="1705999" cy="593434"/>
          </a:xfrm>
        </p:grpSpPr>
        <p:sp>
          <p:nvSpPr>
            <p:cNvPr id="143" name="Rectangle 142"/>
            <p:cNvSpPr/>
            <p:nvPr/>
          </p:nvSpPr>
          <p:spPr>
            <a:xfrm>
              <a:off x="558265" y="2965419"/>
              <a:ext cx="617198" cy="44786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dirty="0">
                  <a:solidFill>
                    <a:srgbClr val="005073"/>
                  </a:solidFill>
                  <a:latin typeface="CiscoSansTT ExtraLight"/>
                </a:rPr>
                <a:t>Thin Base</a:t>
              </a:r>
            </a:p>
          </p:txBody>
        </p:sp>
        <p:sp>
          <p:nvSpPr>
            <p:cNvPr id="144" name="Rectangle 143"/>
            <p:cNvSpPr/>
            <p:nvPr/>
          </p:nvSpPr>
          <p:spPr>
            <a:xfrm>
              <a:off x="1208711" y="2965419"/>
              <a:ext cx="145049"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89">
                <a:defRPr/>
              </a:pPr>
              <a:r>
                <a:rPr lang="en-US" sz="1000" dirty="0">
                  <a:solidFill>
                    <a:srgbClr val="005073"/>
                  </a:solidFill>
                  <a:latin typeface="CiscoSansTT ExtraLight"/>
                </a:rPr>
                <a:t>RPM</a:t>
              </a:r>
            </a:p>
          </p:txBody>
        </p:sp>
        <p:sp>
          <p:nvSpPr>
            <p:cNvPr id="145" name="Rectangle 144"/>
            <p:cNvSpPr/>
            <p:nvPr/>
          </p:nvSpPr>
          <p:spPr>
            <a:xfrm>
              <a:off x="1390812" y="2965419"/>
              <a:ext cx="145049"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89">
                <a:defRPr/>
              </a:pPr>
              <a:r>
                <a:rPr lang="en-US" sz="1000" dirty="0">
                  <a:solidFill>
                    <a:srgbClr val="005073"/>
                  </a:solidFill>
                  <a:latin typeface="CiscoSansTT ExtraLight"/>
                </a:rPr>
                <a:t>RPM</a:t>
              </a:r>
            </a:p>
          </p:txBody>
        </p:sp>
        <p:sp>
          <p:nvSpPr>
            <p:cNvPr id="146" name="Rectangle 145"/>
            <p:cNvSpPr/>
            <p:nvPr/>
          </p:nvSpPr>
          <p:spPr>
            <a:xfrm>
              <a:off x="2119215" y="2965419"/>
              <a:ext cx="145049"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89">
                <a:defRPr/>
              </a:pPr>
              <a:r>
                <a:rPr lang="en-US" sz="1000">
                  <a:solidFill>
                    <a:srgbClr val="005073"/>
                  </a:solidFill>
                  <a:latin typeface="CiscoSansTT ExtraLight"/>
                </a:rPr>
                <a:t>RPM</a:t>
              </a:r>
              <a:endParaRPr lang="en-US" sz="1000" dirty="0">
                <a:solidFill>
                  <a:srgbClr val="005073"/>
                </a:solidFill>
                <a:latin typeface="CiscoSansTT ExtraLight"/>
              </a:endParaRPr>
            </a:p>
          </p:txBody>
        </p:sp>
        <p:sp>
          <p:nvSpPr>
            <p:cNvPr id="147" name="Rectangle 146"/>
            <p:cNvSpPr/>
            <p:nvPr/>
          </p:nvSpPr>
          <p:spPr>
            <a:xfrm>
              <a:off x="1937115" y="2965419"/>
              <a:ext cx="145049"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89">
                <a:defRPr/>
              </a:pPr>
              <a:r>
                <a:rPr lang="en-US" sz="1000">
                  <a:solidFill>
                    <a:srgbClr val="005073"/>
                  </a:solidFill>
                  <a:latin typeface="CiscoSansTT ExtraLight"/>
                </a:rPr>
                <a:t>RPM</a:t>
              </a:r>
              <a:endParaRPr lang="en-US" sz="1000" dirty="0">
                <a:solidFill>
                  <a:srgbClr val="005073"/>
                </a:solidFill>
                <a:latin typeface="CiscoSansTT ExtraLight"/>
              </a:endParaRPr>
            </a:p>
          </p:txBody>
        </p:sp>
        <p:sp>
          <p:nvSpPr>
            <p:cNvPr id="148" name="Rectangle 147"/>
            <p:cNvSpPr/>
            <p:nvPr/>
          </p:nvSpPr>
          <p:spPr>
            <a:xfrm>
              <a:off x="1572913" y="2965419"/>
              <a:ext cx="145049"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89">
                <a:defRPr/>
              </a:pPr>
              <a:r>
                <a:rPr lang="en-US" sz="1000">
                  <a:solidFill>
                    <a:srgbClr val="005073"/>
                  </a:solidFill>
                  <a:latin typeface="CiscoSansTT ExtraLight"/>
                </a:rPr>
                <a:t>RPM</a:t>
              </a:r>
              <a:endParaRPr lang="en-US" sz="1000" dirty="0">
                <a:solidFill>
                  <a:srgbClr val="005073"/>
                </a:solidFill>
                <a:latin typeface="CiscoSansTT ExtraLight"/>
              </a:endParaRPr>
            </a:p>
          </p:txBody>
        </p:sp>
        <p:sp>
          <p:nvSpPr>
            <p:cNvPr id="149" name="Rectangle 148"/>
            <p:cNvSpPr/>
            <p:nvPr/>
          </p:nvSpPr>
          <p:spPr>
            <a:xfrm>
              <a:off x="1755014" y="2965419"/>
              <a:ext cx="145049"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89">
                <a:defRPr/>
              </a:pPr>
              <a:r>
                <a:rPr lang="en-US" sz="1000">
                  <a:solidFill>
                    <a:srgbClr val="005073"/>
                  </a:solidFill>
                  <a:latin typeface="CiscoSansTT ExtraLight"/>
                </a:rPr>
                <a:t>RPM</a:t>
              </a:r>
              <a:endParaRPr lang="en-US" sz="1000" dirty="0">
                <a:solidFill>
                  <a:srgbClr val="005073"/>
                </a:solidFill>
                <a:latin typeface="CiscoSansTT ExtraLight"/>
              </a:endParaRPr>
            </a:p>
          </p:txBody>
        </p:sp>
        <p:sp>
          <p:nvSpPr>
            <p:cNvPr id="150" name="Rectangle 149"/>
            <p:cNvSpPr/>
            <p:nvPr/>
          </p:nvSpPr>
          <p:spPr>
            <a:xfrm>
              <a:off x="558265" y="3404803"/>
              <a:ext cx="1705999" cy="154050"/>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dirty="0">
                  <a:solidFill>
                    <a:srgbClr val="FFFFFF"/>
                  </a:solidFill>
                  <a:latin typeface="CiscoSansTT ExtraLight"/>
                </a:rPr>
                <a:t>Thin ISO</a:t>
              </a:r>
            </a:p>
          </p:txBody>
        </p:sp>
      </p:grpSp>
      <p:sp>
        <p:nvSpPr>
          <p:cNvPr id="152" name="Rectangle 151"/>
          <p:cNvSpPr/>
          <p:nvPr/>
        </p:nvSpPr>
        <p:spPr>
          <a:xfrm>
            <a:off x="723998" y="3656735"/>
            <a:ext cx="823630"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dirty="0">
                <a:solidFill>
                  <a:srgbClr val="005073"/>
                </a:solidFill>
                <a:latin typeface="CiscoSansTT ExtraLight"/>
              </a:rPr>
              <a:t>BASE</a:t>
            </a:r>
            <a:endParaRPr lang="en-US" sz="1600" dirty="0">
              <a:solidFill>
                <a:srgbClr val="005073"/>
              </a:solidFill>
              <a:latin typeface="CiscoSansTT ExtraLight"/>
            </a:endParaRPr>
          </a:p>
        </p:txBody>
      </p:sp>
      <p:sp>
        <p:nvSpPr>
          <p:cNvPr id="153" name="Rectangle 152"/>
          <p:cNvSpPr/>
          <p:nvPr/>
        </p:nvSpPr>
        <p:spPr>
          <a:xfrm>
            <a:off x="1585460" y="3656735"/>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a:solidFill>
                  <a:srgbClr val="005073"/>
                </a:solidFill>
                <a:latin typeface="CiscoSansTT ExtraLight"/>
              </a:rPr>
              <a:t>RPM</a:t>
            </a:r>
            <a:endParaRPr lang="en-US" sz="1100" dirty="0">
              <a:solidFill>
                <a:srgbClr val="005073"/>
              </a:solidFill>
              <a:latin typeface="CiscoSansTT ExtraLight"/>
            </a:endParaRPr>
          </a:p>
        </p:txBody>
      </p:sp>
      <p:sp>
        <p:nvSpPr>
          <p:cNvPr id="154" name="Rectangle 153"/>
          <p:cNvSpPr/>
          <p:nvPr/>
        </p:nvSpPr>
        <p:spPr>
          <a:xfrm>
            <a:off x="1802535" y="3656735"/>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dirty="0">
                <a:solidFill>
                  <a:srgbClr val="005073"/>
                </a:solidFill>
                <a:latin typeface="CiscoSansTT ExtraLight"/>
              </a:rPr>
              <a:t>RPM</a:t>
            </a:r>
          </a:p>
        </p:txBody>
      </p:sp>
      <p:sp>
        <p:nvSpPr>
          <p:cNvPr id="155" name="Rectangle 154"/>
          <p:cNvSpPr/>
          <p:nvPr/>
        </p:nvSpPr>
        <p:spPr>
          <a:xfrm>
            <a:off x="2453760" y="3656735"/>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a:solidFill>
                  <a:srgbClr val="005073"/>
                </a:solidFill>
                <a:latin typeface="CiscoSansTT ExtraLight"/>
              </a:rPr>
              <a:t>RPM</a:t>
            </a:r>
            <a:endParaRPr lang="en-US" sz="1100" dirty="0">
              <a:solidFill>
                <a:srgbClr val="005073"/>
              </a:solidFill>
              <a:latin typeface="CiscoSansTT ExtraLight"/>
            </a:endParaRPr>
          </a:p>
        </p:txBody>
      </p:sp>
      <p:sp>
        <p:nvSpPr>
          <p:cNvPr id="156" name="Rectangle 155"/>
          <p:cNvSpPr/>
          <p:nvPr/>
        </p:nvSpPr>
        <p:spPr>
          <a:xfrm>
            <a:off x="2670834" y="3656735"/>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a:solidFill>
                  <a:srgbClr val="005073"/>
                </a:solidFill>
                <a:latin typeface="CiscoSansTT ExtraLight"/>
              </a:rPr>
              <a:t>RPM</a:t>
            </a:r>
            <a:endParaRPr lang="en-US" sz="1100" dirty="0">
              <a:solidFill>
                <a:srgbClr val="005073"/>
              </a:solidFill>
              <a:latin typeface="CiscoSansTT ExtraLight"/>
            </a:endParaRPr>
          </a:p>
        </p:txBody>
      </p:sp>
      <p:sp>
        <p:nvSpPr>
          <p:cNvPr id="157" name="Rectangle 156"/>
          <p:cNvSpPr/>
          <p:nvPr/>
        </p:nvSpPr>
        <p:spPr>
          <a:xfrm>
            <a:off x="2019610" y="3656735"/>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dirty="0">
                <a:solidFill>
                  <a:srgbClr val="005073"/>
                </a:solidFill>
                <a:latin typeface="CiscoSansTT ExtraLight"/>
              </a:rPr>
              <a:t>RPM</a:t>
            </a:r>
          </a:p>
        </p:txBody>
      </p:sp>
      <p:sp>
        <p:nvSpPr>
          <p:cNvPr id="158" name="Rectangle 157"/>
          <p:cNvSpPr/>
          <p:nvPr/>
        </p:nvSpPr>
        <p:spPr>
          <a:xfrm>
            <a:off x="2236685" y="3656735"/>
            <a:ext cx="179243" cy="44786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rtlCol="0" anchor="ctr"/>
          <a:lstStyle/>
          <a:p>
            <a:pPr algn="ctr" defTabSz="457189">
              <a:defRPr/>
            </a:pPr>
            <a:r>
              <a:rPr lang="en-US" sz="1100">
                <a:solidFill>
                  <a:srgbClr val="005073"/>
                </a:solidFill>
                <a:latin typeface="CiscoSansTT ExtraLight"/>
              </a:rPr>
              <a:t>RPM</a:t>
            </a:r>
            <a:endParaRPr lang="en-US" sz="1100" dirty="0">
              <a:solidFill>
                <a:srgbClr val="005073"/>
              </a:solidFill>
              <a:latin typeface="CiscoSansTT ExtraLight"/>
            </a:endParaRPr>
          </a:p>
        </p:txBody>
      </p:sp>
      <p:sp>
        <p:nvSpPr>
          <p:cNvPr id="159" name="Rectangle 158"/>
          <p:cNvSpPr/>
          <p:nvPr/>
        </p:nvSpPr>
        <p:spPr>
          <a:xfrm>
            <a:off x="723997" y="4056575"/>
            <a:ext cx="1257780" cy="184576"/>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dirty="0">
                <a:solidFill>
                  <a:srgbClr val="FFFFFF"/>
                </a:solidFill>
                <a:latin typeface="CiscoSansTT ExtraLight"/>
              </a:rPr>
              <a:t>Golden ISO</a:t>
            </a:r>
          </a:p>
        </p:txBody>
      </p:sp>
      <p:cxnSp>
        <p:nvCxnSpPr>
          <p:cNvPr id="160" name="Straight Arrow Connector 159"/>
          <p:cNvCxnSpPr/>
          <p:nvPr/>
        </p:nvCxnSpPr>
        <p:spPr>
          <a:xfrm>
            <a:off x="1990517" y="4147668"/>
            <a:ext cx="727849" cy="0"/>
          </a:xfrm>
          <a:prstGeom prst="straightConnector1">
            <a:avLst/>
          </a:prstGeom>
          <a:ln w="508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587352" y="3327344"/>
            <a:ext cx="2529422" cy="246221"/>
          </a:xfrm>
          <a:prstGeom prst="rect">
            <a:avLst/>
          </a:prstGeom>
          <a:noFill/>
        </p:spPr>
        <p:txBody>
          <a:bodyPr wrap="square" lIns="45720" rIns="45720" rtlCol="0" anchor="b">
            <a:spAutoFit/>
          </a:bodyPr>
          <a:lstStyle/>
          <a:p>
            <a:pPr algn="ctr" defTabSz="457189">
              <a:defRPr/>
            </a:pPr>
            <a:r>
              <a:rPr lang="en-US" sz="1000" dirty="0">
                <a:solidFill>
                  <a:srgbClr val="282828"/>
                </a:solidFill>
                <a:latin typeface="CiscoSansTT ExtraLight" charset="0"/>
                <a:ea typeface="CiscoSansTT ExtraLight" charset="0"/>
                <a:cs typeface="CiscoSansTT ExtraLight" charset="0"/>
                <a:sym typeface="Wingdings"/>
              </a:rPr>
              <a:t>Fixed Models</a:t>
            </a:r>
          </a:p>
        </p:txBody>
      </p:sp>
      <p:sp>
        <p:nvSpPr>
          <p:cNvPr id="162" name="TextBox 161"/>
          <p:cNvSpPr txBox="1"/>
          <p:nvPr/>
        </p:nvSpPr>
        <p:spPr>
          <a:xfrm>
            <a:off x="589768" y="2403095"/>
            <a:ext cx="2529422" cy="246221"/>
          </a:xfrm>
          <a:prstGeom prst="rect">
            <a:avLst/>
          </a:prstGeom>
          <a:noFill/>
        </p:spPr>
        <p:txBody>
          <a:bodyPr wrap="square" lIns="45720" rIns="45720" rtlCol="0" anchor="b">
            <a:spAutoFit/>
          </a:bodyPr>
          <a:lstStyle/>
          <a:p>
            <a:pPr algn="ctr" defTabSz="457189">
              <a:defRPr/>
            </a:pPr>
            <a:r>
              <a:rPr lang="en-US" sz="1000" dirty="0">
                <a:solidFill>
                  <a:srgbClr val="282828"/>
                </a:solidFill>
                <a:latin typeface="CiscoSansTT ExtraLight" charset="0"/>
                <a:ea typeface="CiscoSansTT ExtraLight" charset="0"/>
                <a:cs typeface="CiscoSansTT ExtraLight" charset="0"/>
                <a:sym typeface="Wingdings"/>
              </a:rPr>
              <a:t>All Inclusive (Today’s Model)</a:t>
            </a:r>
          </a:p>
        </p:txBody>
      </p:sp>
      <p:sp>
        <p:nvSpPr>
          <p:cNvPr id="177" name="TextBox 176"/>
          <p:cNvSpPr txBox="1"/>
          <p:nvPr/>
        </p:nvSpPr>
        <p:spPr>
          <a:xfrm>
            <a:off x="3326239" y="3973464"/>
            <a:ext cx="2527027" cy="246221"/>
          </a:xfrm>
          <a:prstGeom prst="rect">
            <a:avLst/>
          </a:prstGeom>
          <a:noFill/>
        </p:spPr>
        <p:txBody>
          <a:bodyPr wrap="square" rtlCol="0">
            <a:spAutoFit/>
          </a:bodyPr>
          <a:lstStyle/>
          <a:p>
            <a:pPr algn="ctr" defTabSz="457189">
              <a:defRPr/>
            </a:pPr>
            <a:r>
              <a:rPr lang="en-US" sz="1000" dirty="0">
                <a:solidFill>
                  <a:srgbClr val="282828"/>
                </a:solidFill>
                <a:latin typeface="CiscoSansTT ExtraLight" charset="0"/>
                <a:ea typeface="CiscoSansTT ExtraLight" charset="0"/>
                <a:cs typeface="CiscoSansTT ExtraLight" charset="0"/>
                <a:sym typeface="Wingdings"/>
              </a:rPr>
              <a:t>Model Based Telemetry </a:t>
            </a:r>
            <a:r>
              <a:rPr lang="en-US" sz="1000">
                <a:solidFill>
                  <a:srgbClr val="282828"/>
                </a:solidFill>
                <a:latin typeface="CiscoSansTT ExtraLight" charset="0"/>
                <a:ea typeface="CiscoSansTT ExtraLight" charset="0"/>
                <a:cs typeface="CiscoSansTT ExtraLight" charset="0"/>
                <a:sym typeface="Wingdings"/>
              </a:rPr>
              <a:t>Install Health</a:t>
            </a:r>
            <a:endParaRPr lang="en-US" sz="1000" dirty="0">
              <a:solidFill>
                <a:srgbClr val="282828"/>
              </a:solidFill>
              <a:latin typeface="CiscoSansTT ExtraLight" charset="0"/>
              <a:ea typeface="CiscoSansTT ExtraLight" charset="0"/>
              <a:cs typeface="CiscoSansTT ExtraLight" charset="0"/>
              <a:sym typeface="Wingdings"/>
            </a:endParaRPr>
          </a:p>
        </p:txBody>
      </p:sp>
      <p:pic>
        <p:nvPicPr>
          <p:cNvPr id="65" name="Picture 64"/>
          <p:cNvPicPr>
            <a:picLocks noChangeAspect="1"/>
          </p:cNvPicPr>
          <p:nvPr/>
        </p:nvPicPr>
        <p:blipFill>
          <a:blip r:embed="rId3" cstate="email">
            <a:extLst>
              <a:ext uri="{BEBA8EAE-BF5A-486C-A8C5-ECC9F3942E4B}">
                <a14:imgProps xmlns:a14="http://schemas.microsoft.com/office/drawing/2010/main">
                  <a14:imgLayer r:embed="rId4">
                    <a14:imgEffect>
                      <a14:backgroundRemoval t="0" b="98758" l="0" r="98101"/>
                    </a14:imgEffect>
                  </a14:imgLayer>
                </a14:imgProps>
              </a:ext>
              <a:ext uri="{28A0092B-C50C-407E-A947-70E740481C1C}">
                <a14:useLocalDpi xmlns:a14="http://schemas.microsoft.com/office/drawing/2010/main"/>
              </a:ext>
            </a:extLst>
          </a:blip>
          <a:stretch>
            <a:fillRect/>
          </a:stretch>
        </p:blipFill>
        <p:spPr>
          <a:xfrm>
            <a:off x="6213416" y="1757433"/>
            <a:ext cx="859611" cy="875933"/>
          </a:xfrm>
          <a:prstGeom prst="rect">
            <a:avLst/>
          </a:prstGeom>
        </p:spPr>
      </p:pic>
      <p:pic>
        <p:nvPicPr>
          <p:cNvPr id="66" name="Picture 6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flipH="1">
            <a:off x="5072191" y="2560635"/>
            <a:ext cx="766602" cy="1035124"/>
          </a:xfrm>
          <a:prstGeom prst="rect">
            <a:avLst/>
          </a:prstGeom>
          <a:noFill/>
          <a:ln>
            <a:noFill/>
          </a:ln>
          <a:effectLst>
            <a:outerShdw blurRad="139700" dist="114300" dir="5220000" sx="109000" sy="109000" algn="ctr" rotWithShape="0">
              <a:srgbClr val="000000">
                <a:alpha val="25000"/>
              </a:srgbClr>
            </a:outerShdw>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000000"/>
                </a:solidFill>
                <a:round/>
                <a:headEnd/>
                <a:tailEnd/>
              </a14:hiddenLine>
            </a:ext>
          </a:extLst>
        </p:spPr>
      </p:pic>
      <p:sp>
        <p:nvSpPr>
          <p:cNvPr id="10" name="Curved Down Arrow 9"/>
          <p:cNvSpPr/>
          <p:nvPr/>
        </p:nvSpPr>
        <p:spPr>
          <a:xfrm>
            <a:off x="3650008" y="2273220"/>
            <a:ext cx="1915311" cy="596036"/>
          </a:xfrm>
          <a:prstGeom prst="curvedDown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282828"/>
              </a:solidFill>
              <a:latin typeface="CiscoSansTT ExtraLight"/>
            </a:endParaRPr>
          </a:p>
        </p:txBody>
      </p:sp>
      <p:sp>
        <p:nvSpPr>
          <p:cNvPr id="69" name="Curved Down Arrow 68"/>
          <p:cNvSpPr/>
          <p:nvPr/>
        </p:nvSpPr>
        <p:spPr>
          <a:xfrm rot="10800000">
            <a:off x="3552491" y="3413850"/>
            <a:ext cx="2012826" cy="529519"/>
          </a:xfrm>
          <a:prstGeom prst="curvedDown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282828"/>
              </a:solidFill>
              <a:latin typeface="CiscoSansTT ExtraLight"/>
            </a:endParaRPr>
          </a:p>
        </p:txBody>
      </p:sp>
      <p:sp>
        <p:nvSpPr>
          <p:cNvPr id="70" name="TextBox 69"/>
          <p:cNvSpPr txBox="1"/>
          <p:nvPr/>
        </p:nvSpPr>
        <p:spPr>
          <a:xfrm>
            <a:off x="3558896" y="1847970"/>
            <a:ext cx="2061713" cy="400110"/>
          </a:xfrm>
          <a:prstGeom prst="rect">
            <a:avLst/>
          </a:prstGeom>
          <a:noFill/>
        </p:spPr>
        <p:txBody>
          <a:bodyPr wrap="square" rtlCol="0">
            <a:spAutoFit/>
          </a:bodyPr>
          <a:lstStyle/>
          <a:p>
            <a:pPr algn="ctr" defTabSz="457189">
              <a:defRPr/>
            </a:pPr>
            <a:r>
              <a:rPr lang="en-US" sz="1000" dirty="0">
                <a:solidFill>
                  <a:srgbClr val="282828"/>
                </a:solidFill>
                <a:latin typeface="CiscoSansTT ExtraLight" charset="0"/>
                <a:ea typeface="CiscoSansTT ExtraLight" charset="0"/>
                <a:cs typeface="CiscoSansTT ExtraLight" charset="0"/>
                <a:sym typeface="Wingdings"/>
              </a:rPr>
              <a:t>Optional Server Like Install Using Yang Models</a:t>
            </a:r>
          </a:p>
        </p:txBody>
      </p:sp>
      <p:pic>
        <p:nvPicPr>
          <p:cNvPr id="11" name="Picture 10"/>
          <p:cNvPicPr>
            <a:picLocks noChangeAspect="1"/>
          </p:cNvPicPr>
          <p:nvPr/>
        </p:nvPicPr>
        <p:blipFill rotWithShape="1">
          <a:blip r:embed="rId6" cstate="email">
            <a:extLst>
              <a:ext uri="{BEBA8EAE-BF5A-486C-A8C5-ECC9F3942E4B}">
                <a14:imgProps xmlns:a14="http://schemas.microsoft.com/office/drawing/2010/main">
                  <a14:imgLayer r:embed="rId7">
                    <a14:imgEffect>
                      <a14:backgroundRemoval t="5607" b="92523" l="6415" r="91321">
                        <a14:foregroundMark x1="23019" y1="61682" x2="23019" y2="61682"/>
                        <a14:foregroundMark x1="38113" y1="62617" x2="38113" y2="62617"/>
                      </a14:backgroundRemoval>
                    </a14:imgEffect>
                  </a14:imgLayer>
                </a14:imgProps>
              </a:ext>
              <a:ext uri="{28A0092B-C50C-407E-A947-70E740481C1C}">
                <a14:useLocalDpi xmlns:a14="http://schemas.microsoft.com/office/drawing/2010/main"/>
              </a:ext>
            </a:extLst>
          </a:blip>
          <a:srcRect/>
          <a:stretch/>
        </p:blipFill>
        <p:spPr>
          <a:xfrm>
            <a:off x="4242815" y="2349918"/>
            <a:ext cx="693874" cy="280159"/>
          </a:xfrm>
          <a:prstGeom prst="rect">
            <a:avLst/>
          </a:prstGeom>
        </p:spPr>
      </p:pic>
      <p:sp>
        <p:nvSpPr>
          <p:cNvPr id="72" name="TextBox 71"/>
          <p:cNvSpPr txBox="1"/>
          <p:nvPr/>
        </p:nvSpPr>
        <p:spPr>
          <a:xfrm>
            <a:off x="3828507" y="2899347"/>
            <a:ext cx="1483576" cy="400110"/>
          </a:xfrm>
          <a:prstGeom prst="rect">
            <a:avLst/>
          </a:prstGeom>
          <a:noFill/>
        </p:spPr>
        <p:txBody>
          <a:bodyPr wrap="square" rtlCol="0">
            <a:spAutoFit/>
          </a:bodyPr>
          <a:lstStyle/>
          <a:p>
            <a:pPr algn="ctr" defTabSz="457189">
              <a:defRPr/>
            </a:pPr>
            <a:r>
              <a:rPr lang="en-US" sz="1000" dirty="0">
                <a:solidFill>
                  <a:srgbClr val="282828"/>
                </a:solidFill>
                <a:latin typeface="CiscoSansTT ExtraLight" charset="0"/>
                <a:ea typeface="CiscoSansTT ExtraLight" charset="0"/>
                <a:cs typeface="CiscoSansTT ExtraLight" charset="0"/>
                <a:sym typeface="Wingdings"/>
              </a:rPr>
              <a:t>Atomic Install with Optional Rollback</a:t>
            </a:r>
          </a:p>
        </p:txBody>
      </p:sp>
      <p:pic>
        <p:nvPicPr>
          <p:cNvPr id="67" name="Picture 2" descr="http://icons.iconarchive.com/icons/icons-land/vista-hardware-devices/256/Home-Server-icon.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flipH="1">
            <a:off x="3369621" y="2738041"/>
            <a:ext cx="623318" cy="727493"/>
          </a:xfrm>
          <a:prstGeom prst="rect">
            <a:avLst/>
          </a:prstGeom>
          <a:noFill/>
          <a:extLst>
            <a:ext uri="{909E8E84-426E-40dd-AFC4-6F175D3DCCD1}">
              <a14:hiddenFill xmlns:a14="http://schemas.microsoft.com/office/drawing/2010/main" xmlns="">
                <a:solidFill>
                  <a:srgbClr val="FFFFFF"/>
                </a:solidFill>
              </a14:hiddenFill>
            </a:ext>
          </a:extLst>
        </p:spPr>
      </p:pic>
      <p:pic>
        <p:nvPicPr>
          <p:cNvPr id="73" name="Picture 72">
            <a:extLst>
              <a:ext uri="{FF2B5EF4-FFF2-40B4-BE49-F238E27FC236}">
                <a16:creationId xmlns:a16="http://schemas.microsoft.com/office/drawing/2014/main" id="{BEED5442-4162-2541-A3A4-E68A9FA657A8}"/>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445908" y="3573941"/>
            <a:ext cx="444500" cy="393700"/>
          </a:xfrm>
          <a:prstGeom prst="rect">
            <a:avLst/>
          </a:prstGeom>
        </p:spPr>
      </p:pic>
      <p:grpSp>
        <p:nvGrpSpPr>
          <p:cNvPr id="12" name="Group 11"/>
          <p:cNvGrpSpPr/>
          <p:nvPr/>
        </p:nvGrpSpPr>
        <p:grpSpPr>
          <a:xfrm>
            <a:off x="6020577" y="2668203"/>
            <a:ext cx="2467586" cy="894296"/>
            <a:chOff x="6008263" y="3493467"/>
            <a:chExt cx="2467586" cy="894296"/>
          </a:xfrm>
        </p:grpSpPr>
        <p:grpSp>
          <p:nvGrpSpPr>
            <p:cNvPr id="121" name="Group 120"/>
            <p:cNvGrpSpPr/>
            <p:nvPr/>
          </p:nvGrpSpPr>
          <p:grpSpPr>
            <a:xfrm>
              <a:off x="6008263" y="3493467"/>
              <a:ext cx="1201024" cy="894296"/>
              <a:chOff x="6102478" y="2739836"/>
              <a:chExt cx="1511735" cy="1099433"/>
            </a:xfrm>
          </p:grpSpPr>
          <p:pic>
            <p:nvPicPr>
              <p:cNvPr id="122" name="Picture 121"/>
              <p:cNvPicPr>
                <a:picLocks noChangeAspect="1"/>
              </p:cNvPicPr>
              <p:nvPr/>
            </p:nvPicPr>
            <p:blipFill>
              <a:blip r:embed="rId10" cstate="email">
                <a:extLst>
                  <a:ext uri="{BEBA8EAE-BF5A-486C-A8C5-ECC9F3942E4B}">
                    <a14:imgProps xmlns:a14="http://schemas.microsoft.com/office/drawing/2010/main">
                      <a14:imgLayer r:embed="rId11">
                        <a14:imgEffect>
                          <a14:backgroundRemoval t="8594" b="90234" l="4688" r="96484">
                            <a14:foregroundMark x1="84766" y1="58203" x2="84766" y2="58203"/>
                            <a14:foregroundMark x1="14844" y1="56641" x2="14844" y2="56641"/>
                          </a14:backgroundRemoval>
                        </a14:imgEffect>
                      </a14:imgLayer>
                    </a14:imgProps>
                  </a:ext>
                  <a:ext uri="{28A0092B-C50C-407E-A947-70E740481C1C}">
                    <a14:useLocalDpi xmlns:a14="http://schemas.microsoft.com/office/drawing/2010/main"/>
                  </a:ext>
                </a:extLst>
              </a:blip>
              <a:stretch>
                <a:fillRect/>
              </a:stretch>
            </p:blipFill>
            <p:spPr>
              <a:xfrm>
                <a:off x="6371811" y="2739836"/>
                <a:ext cx="952371" cy="952371"/>
              </a:xfrm>
              <a:prstGeom prst="rect">
                <a:avLst/>
              </a:prstGeom>
            </p:spPr>
          </p:pic>
          <p:sp>
            <p:nvSpPr>
              <p:cNvPr id="123" name="TextBox 122"/>
              <p:cNvSpPr txBox="1"/>
              <p:nvPr/>
            </p:nvSpPr>
            <p:spPr>
              <a:xfrm>
                <a:off x="6102478" y="3385218"/>
                <a:ext cx="1511735" cy="454051"/>
              </a:xfrm>
              <a:prstGeom prst="rect">
                <a:avLst/>
              </a:prstGeom>
              <a:noFill/>
            </p:spPr>
            <p:txBody>
              <a:bodyPr wrap="square" rtlCol="0">
                <a:spAutoFit/>
              </a:bodyPr>
              <a:lstStyle/>
              <a:p>
                <a:pPr algn="ctr" defTabSz="457189">
                  <a:defRPr/>
                </a:pPr>
                <a:r>
                  <a:rPr lang="en-US" b="1">
                    <a:solidFill>
                      <a:srgbClr val="282828">
                        <a:lumMod val="75000"/>
                        <a:lumOff val="25000"/>
                      </a:srgbClr>
                    </a:solidFill>
                    <a:latin typeface="Courier New" charset="0"/>
                    <a:ea typeface="Courier New" charset="0"/>
                    <a:cs typeface="Courier New" charset="0"/>
                    <a:sym typeface="Wingdings"/>
                  </a:rPr>
                  <a:t>ydk</a:t>
                </a:r>
                <a:endParaRPr lang="en-US" b="1" dirty="0">
                  <a:solidFill>
                    <a:srgbClr val="282828">
                      <a:lumMod val="75000"/>
                      <a:lumOff val="25000"/>
                    </a:srgbClr>
                  </a:solidFill>
                  <a:latin typeface="Courier New" charset="0"/>
                  <a:ea typeface="Courier New" charset="0"/>
                  <a:cs typeface="Courier New" charset="0"/>
                </a:endParaRPr>
              </a:p>
            </p:txBody>
          </p:sp>
        </p:grpSp>
        <p:sp>
          <p:nvSpPr>
            <p:cNvPr id="74" name="TextBox 73"/>
            <p:cNvSpPr txBox="1"/>
            <p:nvPr/>
          </p:nvSpPr>
          <p:spPr>
            <a:xfrm>
              <a:off x="7004176" y="3745077"/>
              <a:ext cx="1471673" cy="553998"/>
            </a:xfrm>
            <a:prstGeom prst="rect">
              <a:avLst/>
            </a:prstGeom>
            <a:noFill/>
          </p:spPr>
          <p:txBody>
            <a:bodyPr wrap="square" rtlCol="0">
              <a:spAutoFit/>
            </a:bodyPr>
            <a:lstStyle/>
            <a:p>
              <a:pPr algn="ctr" defTabSz="457189">
                <a:defRPr/>
              </a:pPr>
              <a:r>
                <a:rPr lang="en-US" sz="1000" dirty="0">
                  <a:solidFill>
                    <a:srgbClr val="282828"/>
                  </a:solidFill>
                  <a:latin typeface="CiscoSansTT ExtraLight" charset="0"/>
                  <a:ea typeface="CiscoSansTT ExtraLight" charset="0"/>
                  <a:cs typeface="CiscoSansTT ExtraLight" charset="0"/>
                  <a:sym typeface="Wingdings"/>
                </a:rPr>
                <a:t>16 Releases with 1000+ Commits after Open Sourcing</a:t>
              </a:r>
              <a:endParaRPr lang="en-US" sz="1000" dirty="0">
                <a:solidFill>
                  <a:srgbClr val="282828"/>
                </a:solidFill>
                <a:latin typeface="CiscoSansTT ExtraLight" charset="0"/>
                <a:ea typeface="CiscoSansTT ExtraLight" charset="0"/>
                <a:cs typeface="CiscoSansTT ExtraLight" charset="0"/>
              </a:endParaRPr>
            </a:p>
          </p:txBody>
        </p:sp>
      </p:grpSp>
    </p:spTree>
    <p:extLst>
      <p:ext uri="{BB962C8B-B14F-4D97-AF65-F5344CB8AC3E}">
        <p14:creationId xmlns:p14="http://schemas.microsoft.com/office/powerpoint/2010/main" val="3432457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1269" y="122104"/>
            <a:ext cx="8345488" cy="731837"/>
          </a:xfrm>
        </p:spPr>
        <p:txBody>
          <a:bodyPr/>
          <a:lstStyle/>
          <a:p>
            <a:r>
              <a:rPr lang="en-US" dirty="0">
                <a:cs typeface="Arial" panose="020B0604020202020204" pitchFamily="34" charset="0"/>
              </a:rPr>
              <a:t>A Growing Family</a:t>
            </a:r>
          </a:p>
        </p:txBody>
      </p:sp>
      <p:sp>
        <p:nvSpPr>
          <p:cNvPr id="2" name="TextBox 1"/>
          <p:cNvSpPr txBox="1"/>
          <p:nvPr/>
        </p:nvSpPr>
        <p:spPr>
          <a:xfrm>
            <a:off x="4406040" y="163239"/>
            <a:ext cx="1215397" cy="338554"/>
          </a:xfrm>
          <a:prstGeom prst="rect">
            <a:avLst/>
          </a:prstGeom>
          <a:noFill/>
        </p:spPr>
        <p:txBody>
          <a:bodyPr wrap="none" rtlCol="0">
            <a:spAutoFit/>
          </a:bodyPr>
          <a:lstStyle/>
          <a:p>
            <a:r>
              <a:rPr lang="en-US" sz="1600" dirty="0">
                <a:latin typeface="+mj-lt"/>
                <a:cs typeface="Arial" panose="020B0604020202020204" pitchFamily="34" charset="0"/>
              </a:rPr>
              <a:t>NCS-5516</a:t>
            </a:r>
          </a:p>
        </p:txBody>
      </p:sp>
      <p:sp>
        <p:nvSpPr>
          <p:cNvPr id="30" name="TextBox 29"/>
          <p:cNvSpPr txBox="1"/>
          <p:nvPr/>
        </p:nvSpPr>
        <p:spPr>
          <a:xfrm>
            <a:off x="6138945" y="1117837"/>
            <a:ext cx="1215397" cy="338554"/>
          </a:xfrm>
          <a:prstGeom prst="rect">
            <a:avLst/>
          </a:prstGeom>
          <a:noFill/>
        </p:spPr>
        <p:txBody>
          <a:bodyPr wrap="none" rtlCol="0">
            <a:spAutoFit/>
          </a:bodyPr>
          <a:lstStyle/>
          <a:p>
            <a:r>
              <a:rPr lang="en-US" sz="1600" dirty="0">
                <a:latin typeface="+mj-lt"/>
                <a:cs typeface="Arial" panose="020B0604020202020204" pitchFamily="34" charset="0"/>
              </a:rPr>
              <a:t>NCS-5508</a:t>
            </a:r>
          </a:p>
        </p:txBody>
      </p:sp>
      <p:sp>
        <p:nvSpPr>
          <p:cNvPr id="31" name="TextBox 30"/>
          <p:cNvSpPr txBox="1"/>
          <p:nvPr/>
        </p:nvSpPr>
        <p:spPr>
          <a:xfrm>
            <a:off x="222023" y="3133847"/>
            <a:ext cx="2012878" cy="692497"/>
          </a:xfrm>
          <a:prstGeom prst="rect">
            <a:avLst/>
          </a:prstGeom>
          <a:noFill/>
        </p:spPr>
        <p:txBody>
          <a:bodyPr wrap="square" rtlCol="0">
            <a:spAutoFit/>
          </a:bodyPr>
          <a:lstStyle/>
          <a:p>
            <a:pPr algn="r"/>
            <a:r>
              <a:rPr lang="en-US" sz="1600" dirty="0">
                <a:latin typeface="+mj-lt"/>
                <a:cs typeface="Arial" panose="020B0604020202020204" pitchFamily="34" charset="0"/>
              </a:rPr>
              <a:t>NCS-5502</a:t>
            </a:r>
            <a:br>
              <a:rPr lang="en-US" sz="1600" dirty="0">
                <a:latin typeface="+mj-lt"/>
                <a:cs typeface="Arial" panose="020B0604020202020204" pitchFamily="34" charset="0"/>
              </a:rPr>
            </a:br>
            <a:endParaRPr lang="en-US" sz="700" dirty="0">
              <a:latin typeface="+mj-lt"/>
              <a:cs typeface="Arial" panose="020B0604020202020204" pitchFamily="34" charset="0"/>
            </a:endParaRPr>
          </a:p>
          <a:p>
            <a:pPr algn="r"/>
            <a:r>
              <a:rPr lang="en-US" sz="1600" dirty="0">
                <a:latin typeface="+mj-lt"/>
                <a:cs typeface="Arial" panose="020B0604020202020204" pitchFamily="34" charset="0"/>
              </a:rPr>
              <a:t>NCS-5502-SE</a:t>
            </a:r>
          </a:p>
        </p:txBody>
      </p:sp>
      <p:sp>
        <p:nvSpPr>
          <p:cNvPr id="28" name="TextBox 27"/>
          <p:cNvSpPr txBox="1"/>
          <p:nvPr/>
        </p:nvSpPr>
        <p:spPr>
          <a:xfrm>
            <a:off x="3465681" y="4429472"/>
            <a:ext cx="1215397" cy="338554"/>
          </a:xfrm>
          <a:prstGeom prst="rect">
            <a:avLst/>
          </a:prstGeom>
          <a:noFill/>
        </p:spPr>
        <p:txBody>
          <a:bodyPr wrap="none" rtlCol="0">
            <a:spAutoFit/>
          </a:bodyPr>
          <a:lstStyle/>
          <a:p>
            <a:r>
              <a:rPr lang="en-US" sz="1600" dirty="0">
                <a:latin typeface="+mj-lt"/>
                <a:cs typeface="Arial" panose="020B0604020202020204" pitchFamily="34" charset="0"/>
              </a:rPr>
              <a:t>NCS-5501</a:t>
            </a:r>
          </a:p>
        </p:txBody>
      </p:sp>
      <p:sp>
        <p:nvSpPr>
          <p:cNvPr id="51" name="TextBox 50"/>
          <p:cNvSpPr txBox="1"/>
          <p:nvPr/>
        </p:nvSpPr>
        <p:spPr>
          <a:xfrm>
            <a:off x="5398198" y="4429472"/>
            <a:ext cx="1574470" cy="338554"/>
          </a:xfrm>
          <a:prstGeom prst="rect">
            <a:avLst/>
          </a:prstGeom>
          <a:noFill/>
        </p:spPr>
        <p:txBody>
          <a:bodyPr wrap="none" rtlCol="0">
            <a:spAutoFit/>
          </a:bodyPr>
          <a:lstStyle/>
          <a:p>
            <a:r>
              <a:rPr lang="en-US" sz="1600" dirty="0">
                <a:latin typeface="+mj-lt"/>
                <a:cs typeface="Arial" panose="020B0604020202020204" pitchFamily="34" charset="0"/>
              </a:rPr>
              <a:t>NCS-5501-SE</a:t>
            </a:r>
          </a:p>
        </p:txBody>
      </p:sp>
      <p:pic>
        <p:nvPicPr>
          <p:cNvPr id="15" name="Picture 1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039083" y="4083121"/>
            <a:ext cx="2115081" cy="398118"/>
          </a:xfrm>
          <a:prstGeom prst="rect">
            <a:avLst/>
          </a:prstGeom>
        </p:spPr>
      </p:pic>
      <p:pic>
        <p:nvPicPr>
          <p:cNvPr id="17" name="Picture 1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115770" y="4082646"/>
            <a:ext cx="2163232" cy="387131"/>
          </a:xfrm>
          <a:prstGeom prst="rect">
            <a:avLst/>
          </a:prstGeom>
        </p:spPr>
      </p:pic>
      <p:grpSp>
        <p:nvGrpSpPr>
          <p:cNvPr id="8" name="Group 7"/>
          <p:cNvGrpSpPr/>
          <p:nvPr/>
        </p:nvGrpSpPr>
        <p:grpSpPr>
          <a:xfrm>
            <a:off x="3995413" y="402445"/>
            <a:ext cx="2043679" cy="3680676"/>
            <a:chOff x="6751512" y="933426"/>
            <a:chExt cx="2067101" cy="3736095"/>
          </a:xfrm>
        </p:grpSpPr>
        <p:pic>
          <p:nvPicPr>
            <p:cNvPr id="46" name="Picture 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53989" y="2088741"/>
              <a:ext cx="2064624" cy="2580780"/>
            </a:xfrm>
            <a:prstGeom prst="rect">
              <a:avLst/>
            </a:prstGeom>
          </p:spPr>
        </p:pic>
        <p:pic>
          <p:nvPicPr>
            <p:cNvPr id="45" name="Picture 4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751512" y="933426"/>
              <a:ext cx="2064623" cy="1446528"/>
            </a:xfrm>
            <a:prstGeom prst="rect">
              <a:avLst/>
            </a:prstGeom>
          </p:spPr>
        </p:pic>
      </p:grpSp>
      <p:pic>
        <p:nvPicPr>
          <p:cNvPr id="7" name="Picture 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712592" y="1487169"/>
            <a:ext cx="2043679" cy="2621352"/>
          </a:xfrm>
          <a:prstGeom prst="rect">
            <a:avLst/>
          </a:prstGeom>
        </p:spPr>
      </p:pic>
      <p:grpSp>
        <p:nvGrpSpPr>
          <p:cNvPr id="94" name="Group 93"/>
          <p:cNvGrpSpPr/>
          <p:nvPr/>
        </p:nvGrpSpPr>
        <p:grpSpPr>
          <a:xfrm>
            <a:off x="7530344" y="2223686"/>
            <a:ext cx="1686427" cy="1820977"/>
            <a:chOff x="7321020" y="2223685"/>
            <a:chExt cx="1686427" cy="1820977"/>
          </a:xfrm>
        </p:grpSpPr>
        <p:pic>
          <p:nvPicPr>
            <p:cNvPr id="92" name="Picture 9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21020" y="2392962"/>
              <a:ext cx="1686427" cy="1651700"/>
            </a:xfrm>
            <a:prstGeom prst="rect">
              <a:avLst/>
            </a:prstGeom>
          </p:spPr>
        </p:pic>
        <p:sp>
          <p:nvSpPr>
            <p:cNvPr id="93" name="TextBox 92"/>
            <p:cNvSpPr txBox="1"/>
            <p:nvPr/>
          </p:nvSpPr>
          <p:spPr>
            <a:xfrm>
              <a:off x="7594205" y="2223685"/>
              <a:ext cx="1215397" cy="338554"/>
            </a:xfrm>
            <a:prstGeom prst="rect">
              <a:avLst/>
            </a:prstGeom>
            <a:noFill/>
          </p:spPr>
          <p:txBody>
            <a:bodyPr wrap="none" rtlCol="0">
              <a:spAutoFit/>
            </a:bodyPr>
            <a:lstStyle/>
            <a:p>
              <a:r>
                <a:rPr lang="en-US" sz="1600" dirty="0">
                  <a:latin typeface="+mj-lt"/>
                  <a:cs typeface="Arial" panose="020B0604020202020204" pitchFamily="34" charset="0"/>
                </a:rPr>
                <a:t>NCS-5504</a:t>
              </a:r>
            </a:p>
          </p:txBody>
        </p:sp>
      </p:grpSp>
      <p:grpSp>
        <p:nvGrpSpPr>
          <p:cNvPr id="114" name="Group 113"/>
          <p:cNvGrpSpPr/>
          <p:nvPr/>
        </p:nvGrpSpPr>
        <p:grpSpPr>
          <a:xfrm>
            <a:off x="-96776" y="1475574"/>
            <a:ext cx="4148538" cy="1619928"/>
            <a:chOff x="-244715" y="1115139"/>
            <a:chExt cx="4148538" cy="1619928"/>
          </a:xfrm>
        </p:grpSpPr>
        <p:pic>
          <p:nvPicPr>
            <p:cNvPr id="101" name="Picture 100"/>
            <p:cNvPicPr>
              <a:picLocks noChangeAspect="1"/>
            </p:cNvPicPr>
            <p:nvPr/>
          </p:nvPicPr>
          <p:blipFill>
            <a:blip r:embed="rId9"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2029303" y="2452362"/>
              <a:ext cx="1859014" cy="237744"/>
            </a:xfrm>
            <a:prstGeom prst="rect">
              <a:avLst/>
            </a:prstGeom>
          </p:spPr>
        </p:pic>
        <p:sp>
          <p:nvSpPr>
            <p:cNvPr id="106" name="TextBox 105"/>
            <p:cNvSpPr txBox="1"/>
            <p:nvPr/>
          </p:nvSpPr>
          <p:spPr>
            <a:xfrm>
              <a:off x="-244715" y="1134629"/>
              <a:ext cx="2329548" cy="1600438"/>
            </a:xfrm>
            <a:prstGeom prst="rect">
              <a:avLst/>
            </a:prstGeom>
            <a:noFill/>
          </p:spPr>
          <p:txBody>
            <a:bodyPr wrap="none" rtlCol="0">
              <a:spAutoFit/>
            </a:bodyPr>
            <a:lstStyle/>
            <a:p>
              <a:pPr algn="r"/>
              <a:r>
                <a:rPr lang="en-US" sz="1600" dirty="0">
                  <a:latin typeface="+mj-lt"/>
                  <a:cs typeface="Arial" panose="020B0604020202020204" pitchFamily="34" charset="0"/>
                </a:rPr>
                <a:t>NCS-55A2-MOD</a:t>
              </a:r>
            </a:p>
            <a:p>
              <a:pPr algn="r"/>
              <a:endParaRPr lang="en-US" sz="900" dirty="0">
                <a:latin typeface="+mj-lt"/>
                <a:cs typeface="Arial" panose="020B0604020202020204" pitchFamily="34" charset="0"/>
              </a:endParaRPr>
            </a:p>
            <a:p>
              <a:pPr algn="r"/>
              <a:r>
                <a:rPr lang="en-US" sz="1600" dirty="0">
                  <a:latin typeface="+mj-lt"/>
                  <a:cs typeface="Arial" panose="020B0604020202020204" pitchFamily="34" charset="0"/>
                </a:rPr>
                <a:t>NCS-55A2-MOD-SE</a:t>
              </a:r>
            </a:p>
            <a:p>
              <a:pPr algn="r"/>
              <a:endParaRPr lang="en-US" sz="900" dirty="0">
                <a:latin typeface="+mj-lt"/>
                <a:cs typeface="Arial" panose="020B0604020202020204" pitchFamily="34" charset="0"/>
              </a:endParaRPr>
            </a:p>
            <a:p>
              <a:pPr algn="r"/>
              <a:r>
                <a:rPr lang="en-US" sz="1600" dirty="0">
                  <a:latin typeface="+mj-lt"/>
                  <a:cs typeface="Arial" panose="020B0604020202020204" pitchFamily="34" charset="0"/>
                </a:rPr>
                <a:t>NCS-55A1-36H-S</a:t>
              </a:r>
            </a:p>
            <a:p>
              <a:pPr algn="r"/>
              <a:r>
                <a:rPr lang="en-US" sz="1600" dirty="0">
                  <a:latin typeface="+mj-lt"/>
                  <a:cs typeface="Arial" panose="020B0604020202020204" pitchFamily="34" charset="0"/>
                </a:rPr>
                <a:t>NCS-55A1-36H-SE-S</a:t>
              </a:r>
            </a:p>
            <a:p>
              <a:pPr algn="r"/>
              <a:r>
                <a:rPr lang="en-US" sz="1600" dirty="0">
                  <a:latin typeface="+mj-lt"/>
                  <a:cs typeface="Arial" panose="020B0604020202020204" pitchFamily="34" charset="0"/>
                </a:rPr>
                <a:t>NCS-55A1-24H</a:t>
              </a:r>
            </a:p>
          </p:txBody>
        </p:sp>
        <p:pic>
          <p:nvPicPr>
            <p:cNvPr id="107" name="Picture 106"/>
            <p:cNvPicPr>
              <a:picLocks noChangeAspect="1"/>
            </p:cNvPicPr>
            <p:nvPr/>
          </p:nvPicPr>
          <p:blipFill rotWithShape="1">
            <a:blip r:embed="rId10" cstate="email">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2029303" y="1115139"/>
              <a:ext cx="1874520" cy="399955"/>
            </a:xfrm>
            <a:prstGeom prst="rect">
              <a:avLst/>
            </a:prstGeom>
          </p:spPr>
        </p:pic>
        <p:pic>
          <p:nvPicPr>
            <p:cNvPr id="108" name="Picture 107"/>
            <p:cNvPicPr>
              <a:picLocks noChangeAspect="1"/>
            </p:cNvPicPr>
            <p:nvPr/>
          </p:nvPicPr>
          <p:blipFill>
            <a:blip r:embed="rId11"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2068591" y="2188869"/>
              <a:ext cx="1828800" cy="239060"/>
            </a:xfrm>
            <a:prstGeom prst="rect">
              <a:avLst/>
            </a:prstGeom>
          </p:spPr>
        </p:pic>
        <p:pic>
          <p:nvPicPr>
            <p:cNvPr id="109" name="Picture 108"/>
            <p:cNvPicPr>
              <a:picLocks noChangeAspect="1"/>
            </p:cNvPicPr>
            <p:nvPr/>
          </p:nvPicPr>
          <p:blipFill>
            <a:blip r:embed="rId11"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2072182" y="1919459"/>
              <a:ext cx="1828800" cy="239060"/>
            </a:xfrm>
            <a:prstGeom prst="rect">
              <a:avLst/>
            </a:prstGeom>
          </p:spPr>
        </p:pic>
        <p:pic>
          <p:nvPicPr>
            <p:cNvPr id="110" name="Picture 109"/>
            <p:cNvPicPr>
              <a:picLocks noChangeAspect="1"/>
            </p:cNvPicPr>
            <p:nvPr/>
          </p:nvPicPr>
          <p:blipFill rotWithShape="1">
            <a:blip r:embed="rId10" cstate="email">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2020740" y="1508572"/>
              <a:ext cx="1874520" cy="399955"/>
            </a:xfrm>
            <a:prstGeom prst="rect">
              <a:avLst/>
            </a:prstGeom>
          </p:spPr>
        </p:pic>
      </p:grpSp>
      <p:pic>
        <p:nvPicPr>
          <p:cNvPr id="112" name="Picture 111"/>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154839" y="3095740"/>
            <a:ext cx="1941784" cy="405936"/>
          </a:xfrm>
          <a:prstGeom prst="rect">
            <a:avLst/>
          </a:prstGeom>
        </p:spPr>
      </p:pic>
      <p:pic>
        <p:nvPicPr>
          <p:cNvPr id="113" name="Picture 112"/>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154839" y="3473202"/>
            <a:ext cx="1941784" cy="405936"/>
          </a:xfrm>
          <a:prstGeom prst="rect">
            <a:avLst/>
          </a:prstGeom>
        </p:spPr>
      </p:pic>
      <p:grpSp>
        <p:nvGrpSpPr>
          <p:cNvPr id="26" name="Group 25"/>
          <p:cNvGrpSpPr/>
          <p:nvPr/>
        </p:nvGrpSpPr>
        <p:grpSpPr>
          <a:xfrm>
            <a:off x="8366625" y="104157"/>
            <a:ext cx="630446" cy="566642"/>
            <a:chOff x="1208689" y="1464733"/>
            <a:chExt cx="2024828" cy="2035660"/>
          </a:xfrm>
        </p:grpSpPr>
        <p:sp>
          <p:nvSpPr>
            <p:cNvPr id="27" name="Rounded Rectangle 26"/>
            <p:cNvSpPr/>
            <p:nvPr/>
          </p:nvSpPr>
          <p:spPr>
            <a:xfrm>
              <a:off x="1208689" y="1464733"/>
              <a:ext cx="2024828" cy="2035660"/>
            </a:xfrm>
            <a:prstGeom prst="roundRect">
              <a:avLst>
                <a:gd name="adj" fmla="val 11745"/>
              </a:avLst>
            </a:prstGeom>
            <a:solidFill>
              <a:schemeClr val="bg1"/>
            </a:solidFill>
            <a:ln w="76200" cap="flat" cmpd="sng" algn="ctr">
              <a:solidFill>
                <a:schemeClr val="accent5"/>
              </a:solidFill>
              <a:prstDash val="solid"/>
            </a:ln>
            <a:effectLst/>
          </p:spPr>
          <p:txBody>
            <a:bodyPr lIns="91404" tIns="45702" rIns="91404" bIns="45702" rtlCol="0" anchor="ctr"/>
            <a:lstStyle/>
            <a:p>
              <a:pPr algn="ctr" defTabSz="456950">
                <a:defRPr/>
              </a:pPr>
              <a:r>
                <a:rPr lang="en-US" sz="600" dirty="0">
                  <a:solidFill>
                    <a:srgbClr val="FFFFFF"/>
                  </a:solidFill>
                  <a:latin typeface="CiscoSansTT ExtraLight"/>
                  <a:ea typeface="ＭＳ Ｐゴシック" pitchFamily="34" charset="-128"/>
                </a:rPr>
                <a:t>Mass-Scale</a:t>
              </a:r>
            </a:p>
            <a:p>
              <a:pPr algn="ctr" defTabSz="456950">
                <a:defRPr/>
              </a:pPr>
              <a:r>
                <a:rPr lang="en-US" sz="600" dirty="0">
                  <a:solidFill>
                    <a:srgbClr val="FFFFFF"/>
                  </a:solidFill>
                  <a:latin typeface="CiscoSansTT ExtraLight"/>
                  <a:ea typeface="ＭＳ Ｐゴシック" pitchFamily="34" charset="-128"/>
                </a:rPr>
                <a:t>Networking</a:t>
              </a:r>
            </a:p>
            <a:p>
              <a:pPr algn="ctr" defTabSz="456950">
                <a:defRPr/>
              </a:pPr>
              <a:endParaRPr lang="en-US" sz="600" dirty="0">
                <a:solidFill>
                  <a:srgbClr val="FFFFFF"/>
                </a:solidFill>
                <a:latin typeface="CiscoSansTT ExtraLight"/>
                <a:ea typeface="ＭＳ Ｐゴシック" pitchFamily="34" charset="-128"/>
              </a:endParaRPr>
            </a:p>
          </p:txBody>
        </p:sp>
        <p:grpSp>
          <p:nvGrpSpPr>
            <p:cNvPr id="29" name="Group 106"/>
            <p:cNvGrpSpPr>
              <a:grpSpLocks noChangeAspect="1"/>
            </p:cNvGrpSpPr>
            <p:nvPr/>
          </p:nvGrpSpPr>
          <p:grpSpPr bwMode="auto">
            <a:xfrm>
              <a:off x="2020274" y="2780560"/>
              <a:ext cx="417513" cy="403305"/>
              <a:chOff x="2433" y="2322"/>
              <a:chExt cx="382" cy="369"/>
            </a:xfrm>
            <a:solidFill>
              <a:srgbClr val="FFFFFF"/>
            </a:solidFill>
          </p:grpSpPr>
          <p:sp>
            <p:nvSpPr>
              <p:cNvPr id="32" name="Freeform 107"/>
              <p:cNvSpPr>
                <a:spLocks/>
              </p:cNvSpPr>
              <p:nvPr/>
            </p:nvSpPr>
            <p:spPr bwMode="auto">
              <a:xfrm>
                <a:off x="2527" y="2423"/>
                <a:ext cx="82" cy="69"/>
              </a:xfrm>
              <a:custGeom>
                <a:avLst/>
                <a:gdLst>
                  <a:gd name="T0" fmla="*/ 29 w 135"/>
                  <a:gd name="T1" fmla="*/ 2 h 113"/>
                  <a:gd name="T2" fmla="*/ 29 w 135"/>
                  <a:gd name="T3" fmla="*/ 2 h 113"/>
                  <a:gd name="T4" fmla="*/ 23 w 135"/>
                  <a:gd name="T5" fmla="*/ 0 h 113"/>
                  <a:gd name="T6" fmla="*/ 21 w 135"/>
                  <a:gd name="T7" fmla="*/ 6 h 113"/>
                  <a:gd name="T8" fmla="*/ 0 w 135"/>
                  <a:gd name="T9" fmla="*/ 106 h 113"/>
                  <a:gd name="T10" fmla="*/ 0 w 135"/>
                  <a:gd name="T11" fmla="*/ 113 h 113"/>
                  <a:gd name="T12" fmla="*/ 135 w 135"/>
                  <a:gd name="T13" fmla="*/ 113 h 113"/>
                  <a:gd name="T14" fmla="*/ 135 w 135"/>
                  <a:gd name="T15" fmla="*/ 22 h 113"/>
                  <a:gd name="T16" fmla="*/ 129 w 135"/>
                  <a:gd name="T17" fmla="*/ 22 h 113"/>
                  <a:gd name="T18" fmla="*/ 29 w 135"/>
                  <a:gd name="T19" fmla="*/ 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13">
                    <a:moveTo>
                      <a:pt x="29" y="2"/>
                    </a:moveTo>
                    <a:lnTo>
                      <a:pt x="29" y="2"/>
                    </a:lnTo>
                    <a:lnTo>
                      <a:pt x="23" y="0"/>
                    </a:lnTo>
                    <a:lnTo>
                      <a:pt x="21" y="6"/>
                    </a:lnTo>
                    <a:cubicBezTo>
                      <a:pt x="10" y="38"/>
                      <a:pt x="3" y="72"/>
                      <a:pt x="0" y="106"/>
                    </a:cubicBezTo>
                    <a:lnTo>
                      <a:pt x="0" y="113"/>
                    </a:lnTo>
                    <a:lnTo>
                      <a:pt x="135" y="113"/>
                    </a:lnTo>
                    <a:lnTo>
                      <a:pt x="135" y="22"/>
                    </a:lnTo>
                    <a:lnTo>
                      <a:pt x="129" y="22"/>
                    </a:lnTo>
                    <a:cubicBezTo>
                      <a:pt x="95" y="19"/>
                      <a:pt x="61" y="13"/>
                      <a:pt x="29"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33" name="Freeform 108"/>
              <p:cNvSpPr>
                <a:spLocks/>
              </p:cNvSpPr>
              <p:nvPr/>
            </p:nvSpPr>
            <p:spPr bwMode="auto">
              <a:xfrm>
                <a:off x="2552" y="2606"/>
                <a:ext cx="57" cy="80"/>
              </a:xfrm>
              <a:custGeom>
                <a:avLst/>
                <a:gdLst>
                  <a:gd name="T0" fmla="*/ 8 w 93"/>
                  <a:gd name="T1" fmla="*/ 17 h 131"/>
                  <a:gd name="T2" fmla="*/ 8 w 93"/>
                  <a:gd name="T3" fmla="*/ 17 h 131"/>
                  <a:gd name="T4" fmla="*/ 0 w 93"/>
                  <a:gd name="T5" fmla="*/ 19 h 131"/>
                  <a:gd name="T6" fmla="*/ 4 w 93"/>
                  <a:gd name="T7" fmla="*/ 26 h 131"/>
                  <a:gd name="T8" fmla="*/ 83 w 93"/>
                  <a:gd name="T9" fmla="*/ 122 h 131"/>
                  <a:gd name="T10" fmla="*/ 93 w 93"/>
                  <a:gd name="T11" fmla="*/ 131 h 131"/>
                  <a:gd name="T12" fmla="*/ 93 w 93"/>
                  <a:gd name="T13" fmla="*/ 0 h 131"/>
                  <a:gd name="T14" fmla="*/ 86 w 93"/>
                  <a:gd name="T15" fmla="*/ 1 h 131"/>
                  <a:gd name="T16" fmla="*/ 8 w 93"/>
                  <a:gd name="T17" fmla="*/ 1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31">
                    <a:moveTo>
                      <a:pt x="8" y="17"/>
                    </a:moveTo>
                    <a:lnTo>
                      <a:pt x="8" y="17"/>
                    </a:lnTo>
                    <a:lnTo>
                      <a:pt x="0" y="19"/>
                    </a:lnTo>
                    <a:lnTo>
                      <a:pt x="4" y="26"/>
                    </a:lnTo>
                    <a:cubicBezTo>
                      <a:pt x="25" y="64"/>
                      <a:pt x="51" y="96"/>
                      <a:pt x="83" y="122"/>
                    </a:cubicBezTo>
                    <a:lnTo>
                      <a:pt x="93" y="131"/>
                    </a:lnTo>
                    <a:lnTo>
                      <a:pt x="93" y="0"/>
                    </a:lnTo>
                    <a:lnTo>
                      <a:pt x="86" y="1"/>
                    </a:lnTo>
                    <a:cubicBezTo>
                      <a:pt x="60" y="3"/>
                      <a:pt x="34" y="8"/>
                      <a:pt x="8" y="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34" name="Freeform 109"/>
              <p:cNvSpPr>
                <a:spLocks/>
              </p:cNvSpPr>
              <p:nvPr/>
            </p:nvSpPr>
            <p:spPr bwMode="auto">
              <a:xfrm>
                <a:off x="2527" y="2522"/>
                <a:ext cx="82" cy="69"/>
              </a:xfrm>
              <a:custGeom>
                <a:avLst/>
                <a:gdLst>
                  <a:gd name="T0" fmla="*/ 0 w 135"/>
                  <a:gd name="T1" fmla="*/ 7 h 113"/>
                  <a:gd name="T2" fmla="*/ 0 w 135"/>
                  <a:gd name="T3" fmla="*/ 7 h 113"/>
                  <a:gd name="T4" fmla="*/ 21 w 135"/>
                  <a:gd name="T5" fmla="*/ 107 h 113"/>
                  <a:gd name="T6" fmla="*/ 23 w 135"/>
                  <a:gd name="T7" fmla="*/ 113 h 113"/>
                  <a:gd name="T8" fmla="*/ 29 w 135"/>
                  <a:gd name="T9" fmla="*/ 111 h 113"/>
                  <a:gd name="T10" fmla="*/ 129 w 135"/>
                  <a:gd name="T11" fmla="*/ 91 h 113"/>
                  <a:gd name="T12" fmla="*/ 135 w 135"/>
                  <a:gd name="T13" fmla="*/ 91 h 113"/>
                  <a:gd name="T14" fmla="*/ 135 w 135"/>
                  <a:gd name="T15" fmla="*/ 0 h 113"/>
                  <a:gd name="T16" fmla="*/ 0 w 135"/>
                  <a:gd name="T17" fmla="*/ 0 h 113"/>
                  <a:gd name="T18" fmla="*/ 0 w 135"/>
                  <a:gd name="T19" fmla="*/ 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13">
                    <a:moveTo>
                      <a:pt x="0" y="7"/>
                    </a:moveTo>
                    <a:lnTo>
                      <a:pt x="0" y="7"/>
                    </a:lnTo>
                    <a:cubicBezTo>
                      <a:pt x="3" y="41"/>
                      <a:pt x="10" y="75"/>
                      <a:pt x="21" y="107"/>
                    </a:cubicBezTo>
                    <a:lnTo>
                      <a:pt x="23" y="113"/>
                    </a:lnTo>
                    <a:lnTo>
                      <a:pt x="29" y="111"/>
                    </a:lnTo>
                    <a:cubicBezTo>
                      <a:pt x="61" y="100"/>
                      <a:pt x="95" y="93"/>
                      <a:pt x="129" y="91"/>
                    </a:cubicBezTo>
                    <a:lnTo>
                      <a:pt x="135" y="91"/>
                    </a:lnTo>
                    <a:lnTo>
                      <a:pt x="135" y="0"/>
                    </a:lnTo>
                    <a:lnTo>
                      <a:pt x="0" y="0"/>
                    </a:lnTo>
                    <a:lnTo>
                      <a:pt x="0" y="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35" name="Freeform 110"/>
              <p:cNvSpPr>
                <a:spLocks/>
              </p:cNvSpPr>
              <p:nvPr/>
            </p:nvSpPr>
            <p:spPr bwMode="auto">
              <a:xfrm>
                <a:off x="2552" y="2327"/>
                <a:ext cx="57" cy="80"/>
              </a:xfrm>
              <a:custGeom>
                <a:avLst/>
                <a:gdLst>
                  <a:gd name="T0" fmla="*/ 4 w 93"/>
                  <a:gd name="T1" fmla="*/ 105 h 131"/>
                  <a:gd name="T2" fmla="*/ 4 w 93"/>
                  <a:gd name="T3" fmla="*/ 105 h 131"/>
                  <a:gd name="T4" fmla="*/ 0 w 93"/>
                  <a:gd name="T5" fmla="*/ 112 h 131"/>
                  <a:gd name="T6" fmla="*/ 8 w 93"/>
                  <a:gd name="T7" fmla="*/ 114 h 131"/>
                  <a:gd name="T8" fmla="*/ 86 w 93"/>
                  <a:gd name="T9" fmla="*/ 130 h 131"/>
                  <a:gd name="T10" fmla="*/ 93 w 93"/>
                  <a:gd name="T11" fmla="*/ 131 h 131"/>
                  <a:gd name="T12" fmla="*/ 93 w 93"/>
                  <a:gd name="T13" fmla="*/ 0 h 131"/>
                  <a:gd name="T14" fmla="*/ 83 w 93"/>
                  <a:gd name="T15" fmla="*/ 9 h 131"/>
                  <a:gd name="T16" fmla="*/ 4 w 93"/>
                  <a:gd name="T17"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31">
                    <a:moveTo>
                      <a:pt x="4" y="105"/>
                    </a:moveTo>
                    <a:lnTo>
                      <a:pt x="4" y="105"/>
                    </a:lnTo>
                    <a:lnTo>
                      <a:pt x="0" y="112"/>
                    </a:lnTo>
                    <a:lnTo>
                      <a:pt x="8" y="114"/>
                    </a:lnTo>
                    <a:cubicBezTo>
                      <a:pt x="34" y="122"/>
                      <a:pt x="60" y="128"/>
                      <a:pt x="86" y="130"/>
                    </a:cubicBezTo>
                    <a:lnTo>
                      <a:pt x="93" y="131"/>
                    </a:lnTo>
                    <a:lnTo>
                      <a:pt x="93" y="0"/>
                    </a:lnTo>
                    <a:lnTo>
                      <a:pt x="83" y="9"/>
                    </a:lnTo>
                    <a:cubicBezTo>
                      <a:pt x="51" y="35"/>
                      <a:pt x="25" y="67"/>
                      <a:pt x="4" y="10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36" name="Freeform 111"/>
              <p:cNvSpPr>
                <a:spLocks/>
              </p:cNvSpPr>
              <p:nvPr/>
            </p:nvSpPr>
            <p:spPr bwMode="auto">
              <a:xfrm>
                <a:off x="2495" y="2322"/>
                <a:ext cx="74" cy="62"/>
              </a:xfrm>
              <a:custGeom>
                <a:avLst/>
                <a:gdLst>
                  <a:gd name="T0" fmla="*/ 44 w 121"/>
                  <a:gd name="T1" fmla="*/ 98 h 101"/>
                  <a:gd name="T2" fmla="*/ 44 w 121"/>
                  <a:gd name="T3" fmla="*/ 98 h 101"/>
                  <a:gd name="T4" fmla="*/ 50 w 121"/>
                  <a:gd name="T5" fmla="*/ 101 h 101"/>
                  <a:gd name="T6" fmla="*/ 53 w 121"/>
                  <a:gd name="T7" fmla="*/ 95 h 101"/>
                  <a:gd name="T8" fmla="*/ 104 w 121"/>
                  <a:gd name="T9" fmla="*/ 20 h 101"/>
                  <a:gd name="T10" fmla="*/ 121 w 121"/>
                  <a:gd name="T11" fmla="*/ 0 h 101"/>
                  <a:gd name="T12" fmla="*/ 97 w 121"/>
                  <a:gd name="T13" fmla="*/ 10 h 101"/>
                  <a:gd name="T14" fmla="*/ 6 w 121"/>
                  <a:gd name="T15" fmla="*/ 64 h 101"/>
                  <a:gd name="T16" fmla="*/ 0 w 121"/>
                  <a:gd name="T17" fmla="*/ 70 h 101"/>
                  <a:gd name="T18" fmla="*/ 7 w 121"/>
                  <a:gd name="T19" fmla="*/ 75 h 101"/>
                  <a:gd name="T20" fmla="*/ 44 w 121"/>
                  <a:gd name="T21" fmla="*/ 9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01">
                    <a:moveTo>
                      <a:pt x="44" y="98"/>
                    </a:moveTo>
                    <a:lnTo>
                      <a:pt x="44" y="98"/>
                    </a:lnTo>
                    <a:lnTo>
                      <a:pt x="50" y="101"/>
                    </a:lnTo>
                    <a:lnTo>
                      <a:pt x="53" y="95"/>
                    </a:lnTo>
                    <a:cubicBezTo>
                      <a:pt x="67" y="68"/>
                      <a:pt x="85" y="42"/>
                      <a:pt x="104" y="20"/>
                    </a:cubicBezTo>
                    <a:lnTo>
                      <a:pt x="121" y="0"/>
                    </a:lnTo>
                    <a:lnTo>
                      <a:pt x="97" y="10"/>
                    </a:lnTo>
                    <a:cubicBezTo>
                      <a:pt x="64" y="23"/>
                      <a:pt x="33" y="41"/>
                      <a:pt x="6" y="64"/>
                    </a:cubicBezTo>
                    <a:lnTo>
                      <a:pt x="0" y="70"/>
                    </a:lnTo>
                    <a:lnTo>
                      <a:pt x="7" y="75"/>
                    </a:lnTo>
                    <a:cubicBezTo>
                      <a:pt x="18" y="82"/>
                      <a:pt x="30" y="90"/>
                      <a:pt x="44" y="9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37" name="Freeform 112"/>
              <p:cNvSpPr>
                <a:spLocks/>
              </p:cNvSpPr>
              <p:nvPr/>
            </p:nvSpPr>
            <p:spPr bwMode="auto">
              <a:xfrm>
                <a:off x="2495" y="2630"/>
                <a:ext cx="74" cy="61"/>
              </a:xfrm>
              <a:custGeom>
                <a:avLst/>
                <a:gdLst>
                  <a:gd name="T0" fmla="*/ 53 w 121"/>
                  <a:gd name="T1" fmla="*/ 6 h 101"/>
                  <a:gd name="T2" fmla="*/ 53 w 121"/>
                  <a:gd name="T3" fmla="*/ 6 h 101"/>
                  <a:gd name="T4" fmla="*/ 50 w 121"/>
                  <a:gd name="T5" fmla="*/ 0 h 101"/>
                  <a:gd name="T6" fmla="*/ 44 w 121"/>
                  <a:gd name="T7" fmla="*/ 3 h 101"/>
                  <a:gd name="T8" fmla="*/ 7 w 121"/>
                  <a:gd name="T9" fmla="*/ 26 h 101"/>
                  <a:gd name="T10" fmla="*/ 0 w 121"/>
                  <a:gd name="T11" fmla="*/ 31 h 101"/>
                  <a:gd name="T12" fmla="*/ 6 w 121"/>
                  <a:gd name="T13" fmla="*/ 36 h 101"/>
                  <a:gd name="T14" fmla="*/ 97 w 121"/>
                  <a:gd name="T15" fmla="*/ 91 h 101"/>
                  <a:gd name="T16" fmla="*/ 121 w 121"/>
                  <a:gd name="T17" fmla="*/ 101 h 101"/>
                  <a:gd name="T18" fmla="*/ 104 w 121"/>
                  <a:gd name="T19" fmla="*/ 81 h 101"/>
                  <a:gd name="T20" fmla="*/ 53 w 121"/>
                  <a:gd name="T21" fmla="*/ 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01">
                    <a:moveTo>
                      <a:pt x="53" y="6"/>
                    </a:moveTo>
                    <a:lnTo>
                      <a:pt x="53" y="6"/>
                    </a:lnTo>
                    <a:lnTo>
                      <a:pt x="50" y="0"/>
                    </a:lnTo>
                    <a:lnTo>
                      <a:pt x="44" y="3"/>
                    </a:lnTo>
                    <a:cubicBezTo>
                      <a:pt x="30" y="11"/>
                      <a:pt x="18" y="18"/>
                      <a:pt x="7" y="26"/>
                    </a:cubicBezTo>
                    <a:lnTo>
                      <a:pt x="0" y="31"/>
                    </a:lnTo>
                    <a:lnTo>
                      <a:pt x="6" y="36"/>
                    </a:lnTo>
                    <a:cubicBezTo>
                      <a:pt x="33" y="60"/>
                      <a:pt x="64" y="78"/>
                      <a:pt x="97" y="91"/>
                    </a:cubicBezTo>
                    <a:lnTo>
                      <a:pt x="121" y="101"/>
                    </a:lnTo>
                    <a:lnTo>
                      <a:pt x="104" y="81"/>
                    </a:lnTo>
                    <a:cubicBezTo>
                      <a:pt x="85" y="58"/>
                      <a:pt x="67" y="33"/>
                      <a:pt x="53"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38" name="Freeform 113"/>
              <p:cNvSpPr>
                <a:spLocks/>
              </p:cNvSpPr>
              <p:nvPr/>
            </p:nvSpPr>
            <p:spPr bwMode="auto">
              <a:xfrm>
                <a:off x="2433" y="2386"/>
                <a:ext cx="80" cy="106"/>
              </a:xfrm>
              <a:custGeom>
                <a:avLst/>
                <a:gdLst>
                  <a:gd name="T0" fmla="*/ 106 w 132"/>
                  <a:gd name="T1" fmla="*/ 167 h 173"/>
                  <a:gd name="T2" fmla="*/ 106 w 132"/>
                  <a:gd name="T3" fmla="*/ 167 h 173"/>
                  <a:gd name="T4" fmla="*/ 131 w 132"/>
                  <a:gd name="T5" fmla="*/ 46 h 173"/>
                  <a:gd name="T6" fmla="*/ 132 w 132"/>
                  <a:gd name="T7" fmla="*/ 41 h 173"/>
                  <a:gd name="T8" fmla="*/ 127 w 132"/>
                  <a:gd name="T9" fmla="*/ 38 h 173"/>
                  <a:gd name="T10" fmla="*/ 74 w 132"/>
                  <a:gd name="T11" fmla="*/ 4 h 173"/>
                  <a:gd name="T12" fmla="*/ 69 w 132"/>
                  <a:gd name="T13" fmla="*/ 0 h 173"/>
                  <a:gd name="T14" fmla="*/ 65 w 132"/>
                  <a:gd name="T15" fmla="*/ 5 h 173"/>
                  <a:gd name="T16" fmla="*/ 1 w 132"/>
                  <a:gd name="T17" fmla="*/ 166 h 173"/>
                  <a:gd name="T18" fmla="*/ 0 w 132"/>
                  <a:gd name="T19" fmla="*/ 173 h 173"/>
                  <a:gd name="T20" fmla="*/ 105 w 132"/>
                  <a:gd name="T21" fmla="*/ 173 h 173"/>
                  <a:gd name="T22" fmla="*/ 106 w 132"/>
                  <a:gd name="T23" fmla="*/ 16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2" h="173">
                    <a:moveTo>
                      <a:pt x="106" y="167"/>
                    </a:moveTo>
                    <a:lnTo>
                      <a:pt x="106" y="167"/>
                    </a:lnTo>
                    <a:cubicBezTo>
                      <a:pt x="108" y="126"/>
                      <a:pt x="117" y="85"/>
                      <a:pt x="131" y="46"/>
                    </a:cubicBezTo>
                    <a:lnTo>
                      <a:pt x="132" y="41"/>
                    </a:lnTo>
                    <a:lnTo>
                      <a:pt x="127" y="38"/>
                    </a:lnTo>
                    <a:cubicBezTo>
                      <a:pt x="108" y="28"/>
                      <a:pt x="90" y="16"/>
                      <a:pt x="74" y="4"/>
                    </a:cubicBezTo>
                    <a:lnTo>
                      <a:pt x="69" y="0"/>
                    </a:lnTo>
                    <a:lnTo>
                      <a:pt x="65" y="5"/>
                    </a:lnTo>
                    <a:cubicBezTo>
                      <a:pt x="29" y="52"/>
                      <a:pt x="6" y="108"/>
                      <a:pt x="1" y="166"/>
                    </a:cubicBezTo>
                    <a:lnTo>
                      <a:pt x="0" y="173"/>
                    </a:lnTo>
                    <a:lnTo>
                      <a:pt x="105" y="173"/>
                    </a:lnTo>
                    <a:lnTo>
                      <a:pt x="106" y="16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39" name="Freeform 114"/>
              <p:cNvSpPr>
                <a:spLocks/>
              </p:cNvSpPr>
              <p:nvPr/>
            </p:nvSpPr>
            <p:spPr bwMode="auto">
              <a:xfrm>
                <a:off x="2433" y="2522"/>
                <a:ext cx="80" cy="105"/>
              </a:xfrm>
              <a:custGeom>
                <a:avLst/>
                <a:gdLst>
                  <a:gd name="T0" fmla="*/ 132 w 132"/>
                  <a:gd name="T1" fmla="*/ 132 h 173"/>
                  <a:gd name="T2" fmla="*/ 132 w 132"/>
                  <a:gd name="T3" fmla="*/ 132 h 173"/>
                  <a:gd name="T4" fmla="*/ 131 w 132"/>
                  <a:gd name="T5" fmla="*/ 127 h 173"/>
                  <a:gd name="T6" fmla="*/ 106 w 132"/>
                  <a:gd name="T7" fmla="*/ 6 h 173"/>
                  <a:gd name="T8" fmla="*/ 105 w 132"/>
                  <a:gd name="T9" fmla="*/ 0 h 173"/>
                  <a:gd name="T10" fmla="*/ 0 w 132"/>
                  <a:gd name="T11" fmla="*/ 0 h 173"/>
                  <a:gd name="T12" fmla="*/ 1 w 132"/>
                  <a:gd name="T13" fmla="*/ 7 h 173"/>
                  <a:gd name="T14" fmla="*/ 65 w 132"/>
                  <a:gd name="T15" fmla="*/ 167 h 173"/>
                  <a:gd name="T16" fmla="*/ 69 w 132"/>
                  <a:gd name="T17" fmla="*/ 173 h 173"/>
                  <a:gd name="T18" fmla="*/ 74 w 132"/>
                  <a:gd name="T19" fmla="*/ 169 h 173"/>
                  <a:gd name="T20" fmla="*/ 127 w 132"/>
                  <a:gd name="T21" fmla="*/ 135 h 173"/>
                  <a:gd name="T22" fmla="*/ 132 w 132"/>
                  <a:gd name="T23" fmla="*/ 13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2" h="173">
                    <a:moveTo>
                      <a:pt x="132" y="132"/>
                    </a:moveTo>
                    <a:lnTo>
                      <a:pt x="132" y="132"/>
                    </a:lnTo>
                    <a:lnTo>
                      <a:pt x="131" y="127"/>
                    </a:lnTo>
                    <a:cubicBezTo>
                      <a:pt x="117" y="88"/>
                      <a:pt x="108" y="47"/>
                      <a:pt x="106" y="6"/>
                    </a:cubicBezTo>
                    <a:lnTo>
                      <a:pt x="105" y="0"/>
                    </a:lnTo>
                    <a:lnTo>
                      <a:pt x="0" y="0"/>
                    </a:lnTo>
                    <a:lnTo>
                      <a:pt x="1" y="7"/>
                    </a:lnTo>
                    <a:cubicBezTo>
                      <a:pt x="6" y="65"/>
                      <a:pt x="29" y="120"/>
                      <a:pt x="65" y="167"/>
                    </a:cubicBezTo>
                    <a:lnTo>
                      <a:pt x="69" y="173"/>
                    </a:lnTo>
                    <a:lnTo>
                      <a:pt x="74" y="169"/>
                    </a:lnTo>
                    <a:cubicBezTo>
                      <a:pt x="90" y="156"/>
                      <a:pt x="108" y="145"/>
                      <a:pt x="127" y="135"/>
                    </a:cubicBezTo>
                    <a:lnTo>
                      <a:pt x="132" y="13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40" name="Freeform 115"/>
              <p:cNvSpPr>
                <a:spLocks/>
              </p:cNvSpPr>
              <p:nvPr/>
            </p:nvSpPr>
            <p:spPr bwMode="auto">
              <a:xfrm>
                <a:off x="2735" y="2386"/>
                <a:ext cx="80" cy="106"/>
              </a:xfrm>
              <a:custGeom>
                <a:avLst/>
                <a:gdLst>
                  <a:gd name="T0" fmla="*/ 0 w 132"/>
                  <a:gd name="T1" fmla="*/ 41 h 173"/>
                  <a:gd name="T2" fmla="*/ 0 w 132"/>
                  <a:gd name="T3" fmla="*/ 41 h 173"/>
                  <a:gd name="T4" fmla="*/ 2 w 132"/>
                  <a:gd name="T5" fmla="*/ 46 h 173"/>
                  <a:gd name="T6" fmla="*/ 27 w 132"/>
                  <a:gd name="T7" fmla="*/ 167 h 173"/>
                  <a:gd name="T8" fmla="*/ 27 w 132"/>
                  <a:gd name="T9" fmla="*/ 173 h 173"/>
                  <a:gd name="T10" fmla="*/ 132 w 132"/>
                  <a:gd name="T11" fmla="*/ 173 h 173"/>
                  <a:gd name="T12" fmla="*/ 132 w 132"/>
                  <a:gd name="T13" fmla="*/ 166 h 173"/>
                  <a:gd name="T14" fmla="*/ 67 w 132"/>
                  <a:gd name="T15" fmla="*/ 5 h 173"/>
                  <a:gd name="T16" fmla="*/ 63 w 132"/>
                  <a:gd name="T17" fmla="*/ 0 h 173"/>
                  <a:gd name="T18" fmla="*/ 58 w 132"/>
                  <a:gd name="T19" fmla="*/ 4 h 173"/>
                  <a:gd name="T20" fmla="*/ 5 w 132"/>
                  <a:gd name="T21" fmla="*/ 38 h 173"/>
                  <a:gd name="T22" fmla="*/ 0 w 132"/>
                  <a:gd name="T23" fmla="*/ 41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2" h="173">
                    <a:moveTo>
                      <a:pt x="0" y="41"/>
                    </a:moveTo>
                    <a:lnTo>
                      <a:pt x="0" y="41"/>
                    </a:lnTo>
                    <a:lnTo>
                      <a:pt x="2" y="46"/>
                    </a:lnTo>
                    <a:cubicBezTo>
                      <a:pt x="16" y="85"/>
                      <a:pt x="24" y="126"/>
                      <a:pt x="27" y="167"/>
                    </a:cubicBezTo>
                    <a:lnTo>
                      <a:pt x="27" y="173"/>
                    </a:lnTo>
                    <a:lnTo>
                      <a:pt x="132" y="173"/>
                    </a:lnTo>
                    <a:lnTo>
                      <a:pt x="132" y="166"/>
                    </a:lnTo>
                    <a:cubicBezTo>
                      <a:pt x="126" y="108"/>
                      <a:pt x="104" y="52"/>
                      <a:pt x="67" y="5"/>
                    </a:cubicBezTo>
                    <a:lnTo>
                      <a:pt x="63" y="0"/>
                    </a:lnTo>
                    <a:lnTo>
                      <a:pt x="58" y="4"/>
                    </a:lnTo>
                    <a:cubicBezTo>
                      <a:pt x="42" y="16"/>
                      <a:pt x="24" y="28"/>
                      <a:pt x="5" y="38"/>
                    </a:cubicBezTo>
                    <a:lnTo>
                      <a:pt x="0"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41" name="Freeform 116"/>
              <p:cNvSpPr>
                <a:spLocks/>
              </p:cNvSpPr>
              <p:nvPr/>
            </p:nvSpPr>
            <p:spPr bwMode="auto">
              <a:xfrm>
                <a:off x="2639" y="2606"/>
                <a:ext cx="57" cy="80"/>
              </a:xfrm>
              <a:custGeom>
                <a:avLst/>
                <a:gdLst>
                  <a:gd name="T0" fmla="*/ 93 w 93"/>
                  <a:gd name="T1" fmla="*/ 19 h 131"/>
                  <a:gd name="T2" fmla="*/ 93 w 93"/>
                  <a:gd name="T3" fmla="*/ 19 h 131"/>
                  <a:gd name="T4" fmla="*/ 85 w 93"/>
                  <a:gd name="T5" fmla="*/ 17 h 131"/>
                  <a:gd name="T6" fmla="*/ 7 w 93"/>
                  <a:gd name="T7" fmla="*/ 1 h 131"/>
                  <a:gd name="T8" fmla="*/ 0 w 93"/>
                  <a:gd name="T9" fmla="*/ 0 h 131"/>
                  <a:gd name="T10" fmla="*/ 0 w 93"/>
                  <a:gd name="T11" fmla="*/ 131 h 131"/>
                  <a:gd name="T12" fmla="*/ 11 w 93"/>
                  <a:gd name="T13" fmla="*/ 122 h 131"/>
                  <a:gd name="T14" fmla="*/ 89 w 93"/>
                  <a:gd name="T15" fmla="*/ 26 h 131"/>
                  <a:gd name="T16" fmla="*/ 93 w 93"/>
                  <a:gd name="T17"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31">
                    <a:moveTo>
                      <a:pt x="93" y="19"/>
                    </a:moveTo>
                    <a:lnTo>
                      <a:pt x="93" y="19"/>
                    </a:lnTo>
                    <a:lnTo>
                      <a:pt x="85" y="17"/>
                    </a:lnTo>
                    <a:cubicBezTo>
                      <a:pt x="59" y="8"/>
                      <a:pt x="33" y="3"/>
                      <a:pt x="7" y="1"/>
                    </a:cubicBezTo>
                    <a:lnTo>
                      <a:pt x="0" y="0"/>
                    </a:lnTo>
                    <a:lnTo>
                      <a:pt x="0" y="131"/>
                    </a:lnTo>
                    <a:lnTo>
                      <a:pt x="11" y="122"/>
                    </a:lnTo>
                    <a:cubicBezTo>
                      <a:pt x="42" y="96"/>
                      <a:pt x="69" y="64"/>
                      <a:pt x="89" y="26"/>
                    </a:cubicBezTo>
                    <a:lnTo>
                      <a:pt x="93" y="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42" name="Freeform 117"/>
              <p:cNvSpPr>
                <a:spLocks/>
              </p:cNvSpPr>
              <p:nvPr/>
            </p:nvSpPr>
            <p:spPr bwMode="auto">
              <a:xfrm>
                <a:off x="2735" y="2522"/>
                <a:ext cx="80" cy="105"/>
              </a:xfrm>
              <a:custGeom>
                <a:avLst/>
                <a:gdLst>
                  <a:gd name="T0" fmla="*/ 27 w 132"/>
                  <a:gd name="T1" fmla="*/ 6 h 173"/>
                  <a:gd name="T2" fmla="*/ 27 w 132"/>
                  <a:gd name="T3" fmla="*/ 6 h 173"/>
                  <a:gd name="T4" fmla="*/ 2 w 132"/>
                  <a:gd name="T5" fmla="*/ 127 h 173"/>
                  <a:gd name="T6" fmla="*/ 0 w 132"/>
                  <a:gd name="T7" fmla="*/ 132 h 173"/>
                  <a:gd name="T8" fmla="*/ 5 w 132"/>
                  <a:gd name="T9" fmla="*/ 135 h 173"/>
                  <a:gd name="T10" fmla="*/ 58 w 132"/>
                  <a:gd name="T11" fmla="*/ 169 h 173"/>
                  <a:gd name="T12" fmla="*/ 63 w 132"/>
                  <a:gd name="T13" fmla="*/ 173 h 173"/>
                  <a:gd name="T14" fmla="*/ 67 w 132"/>
                  <a:gd name="T15" fmla="*/ 167 h 173"/>
                  <a:gd name="T16" fmla="*/ 132 w 132"/>
                  <a:gd name="T17" fmla="*/ 7 h 173"/>
                  <a:gd name="T18" fmla="*/ 132 w 132"/>
                  <a:gd name="T19" fmla="*/ 0 h 173"/>
                  <a:gd name="T20" fmla="*/ 27 w 132"/>
                  <a:gd name="T21" fmla="*/ 0 h 173"/>
                  <a:gd name="T22" fmla="*/ 27 w 132"/>
                  <a:gd name="T23" fmla="*/ 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2" h="173">
                    <a:moveTo>
                      <a:pt x="27" y="6"/>
                    </a:moveTo>
                    <a:lnTo>
                      <a:pt x="27" y="6"/>
                    </a:lnTo>
                    <a:cubicBezTo>
                      <a:pt x="24" y="47"/>
                      <a:pt x="16" y="88"/>
                      <a:pt x="2" y="127"/>
                    </a:cubicBezTo>
                    <a:lnTo>
                      <a:pt x="0" y="132"/>
                    </a:lnTo>
                    <a:lnTo>
                      <a:pt x="5" y="135"/>
                    </a:lnTo>
                    <a:cubicBezTo>
                      <a:pt x="24" y="145"/>
                      <a:pt x="42" y="156"/>
                      <a:pt x="58" y="169"/>
                    </a:cubicBezTo>
                    <a:lnTo>
                      <a:pt x="63" y="173"/>
                    </a:lnTo>
                    <a:lnTo>
                      <a:pt x="67" y="167"/>
                    </a:lnTo>
                    <a:cubicBezTo>
                      <a:pt x="104" y="120"/>
                      <a:pt x="126" y="65"/>
                      <a:pt x="132" y="7"/>
                    </a:cubicBezTo>
                    <a:lnTo>
                      <a:pt x="132" y="0"/>
                    </a:lnTo>
                    <a:lnTo>
                      <a:pt x="27" y="0"/>
                    </a:lnTo>
                    <a:lnTo>
                      <a:pt x="27"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43" name="Freeform 118"/>
              <p:cNvSpPr>
                <a:spLocks/>
              </p:cNvSpPr>
              <p:nvPr/>
            </p:nvSpPr>
            <p:spPr bwMode="auto">
              <a:xfrm>
                <a:off x="2679" y="2630"/>
                <a:ext cx="74" cy="61"/>
              </a:xfrm>
              <a:custGeom>
                <a:avLst/>
                <a:gdLst>
                  <a:gd name="T0" fmla="*/ 77 w 121"/>
                  <a:gd name="T1" fmla="*/ 3 h 101"/>
                  <a:gd name="T2" fmla="*/ 77 w 121"/>
                  <a:gd name="T3" fmla="*/ 3 h 101"/>
                  <a:gd name="T4" fmla="*/ 71 w 121"/>
                  <a:gd name="T5" fmla="*/ 0 h 101"/>
                  <a:gd name="T6" fmla="*/ 68 w 121"/>
                  <a:gd name="T7" fmla="*/ 6 h 101"/>
                  <a:gd name="T8" fmla="*/ 17 w 121"/>
                  <a:gd name="T9" fmla="*/ 81 h 101"/>
                  <a:gd name="T10" fmla="*/ 0 w 121"/>
                  <a:gd name="T11" fmla="*/ 101 h 101"/>
                  <a:gd name="T12" fmla="*/ 25 w 121"/>
                  <a:gd name="T13" fmla="*/ 91 h 101"/>
                  <a:gd name="T14" fmla="*/ 115 w 121"/>
                  <a:gd name="T15" fmla="*/ 36 h 101"/>
                  <a:gd name="T16" fmla="*/ 121 w 121"/>
                  <a:gd name="T17" fmla="*/ 31 h 101"/>
                  <a:gd name="T18" fmla="*/ 114 w 121"/>
                  <a:gd name="T19" fmla="*/ 26 h 101"/>
                  <a:gd name="T20" fmla="*/ 77 w 121"/>
                  <a:gd name="T21" fmla="*/ 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01">
                    <a:moveTo>
                      <a:pt x="77" y="3"/>
                    </a:moveTo>
                    <a:lnTo>
                      <a:pt x="77" y="3"/>
                    </a:lnTo>
                    <a:lnTo>
                      <a:pt x="71" y="0"/>
                    </a:lnTo>
                    <a:lnTo>
                      <a:pt x="68" y="6"/>
                    </a:lnTo>
                    <a:cubicBezTo>
                      <a:pt x="54" y="33"/>
                      <a:pt x="37" y="58"/>
                      <a:pt x="17" y="81"/>
                    </a:cubicBezTo>
                    <a:lnTo>
                      <a:pt x="0" y="101"/>
                    </a:lnTo>
                    <a:lnTo>
                      <a:pt x="25" y="91"/>
                    </a:lnTo>
                    <a:cubicBezTo>
                      <a:pt x="58" y="78"/>
                      <a:pt x="88" y="60"/>
                      <a:pt x="115" y="36"/>
                    </a:cubicBezTo>
                    <a:lnTo>
                      <a:pt x="121" y="31"/>
                    </a:lnTo>
                    <a:lnTo>
                      <a:pt x="114" y="26"/>
                    </a:lnTo>
                    <a:cubicBezTo>
                      <a:pt x="104" y="18"/>
                      <a:pt x="91" y="11"/>
                      <a:pt x="77"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44" name="Freeform 119"/>
              <p:cNvSpPr>
                <a:spLocks/>
              </p:cNvSpPr>
              <p:nvPr/>
            </p:nvSpPr>
            <p:spPr bwMode="auto">
              <a:xfrm>
                <a:off x="2639" y="2423"/>
                <a:ext cx="82" cy="69"/>
              </a:xfrm>
              <a:custGeom>
                <a:avLst/>
                <a:gdLst>
                  <a:gd name="T0" fmla="*/ 135 w 135"/>
                  <a:gd name="T1" fmla="*/ 106 h 113"/>
                  <a:gd name="T2" fmla="*/ 135 w 135"/>
                  <a:gd name="T3" fmla="*/ 106 h 113"/>
                  <a:gd name="T4" fmla="*/ 114 w 135"/>
                  <a:gd name="T5" fmla="*/ 6 h 113"/>
                  <a:gd name="T6" fmla="*/ 112 w 135"/>
                  <a:gd name="T7" fmla="*/ 0 h 113"/>
                  <a:gd name="T8" fmla="*/ 106 w 135"/>
                  <a:gd name="T9" fmla="*/ 2 h 113"/>
                  <a:gd name="T10" fmla="*/ 6 w 135"/>
                  <a:gd name="T11" fmla="*/ 22 h 113"/>
                  <a:gd name="T12" fmla="*/ 0 w 135"/>
                  <a:gd name="T13" fmla="*/ 22 h 113"/>
                  <a:gd name="T14" fmla="*/ 0 w 135"/>
                  <a:gd name="T15" fmla="*/ 113 h 113"/>
                  <a:gd name="T16" fmla="*/ 135 w 135"/>
                  <a:gd name="T17" fmla="*/ 113 h 113"/>
                  <a:gd name="T18" fmla="*/ 135 w 135"/>
                  <a:gd name="T19" fmla="*/ 10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13">
                    <a:moveTo>
                      <a:pt x="135" y="106"/>
                    </a:moveTo>
                    <a:lnTo>
                      <a:pt x="135" y="106"/>
                    </a:lnTo>
                    <a:cubicBezTo>
                      <a:pt x="132" y="72"/>
                      <a:pt x="125" y="38"/>
                      <a:pt x="114" y="6"/>
                    </a:cubicBezTo>
                    <a:lnTo>
                      <a:pt x="112" y="0"/>
                    </a:lnTo>
                    <a:lnTo>
                      <a:pt x="106" y="2"/>
                    </a:lnTo>
                    <a:cubicBezTo>
                      <a:pt x="74" y="13"/>
                      <a:pt x="40" y="19"/>
                      <a:pt x="6" y="22"/>
                    </a:cubicBezTo>
                    <a:lnTo>
                      <a:pt x="0" y="22"/>
                    </a:lnTo>
                    <a:lnTo>
                      <a:pt x="0" y="113"/>
                    </a:lnTo>
                    <a:lnTo>
                      <a:pt x="135" y="113"/>
                    </a:lnTo>
                    <a:lnTo>
                      <a:pt x="135" y="10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47" name="Freeform 120"/>
              <p:cNvSpPr>
                <a:spLocks/>
              </p:cNvSpPr>
              <p:nvPr/>
            </p:nvSpPr>
            <p:spPr bwMode="auto">
              <a:xfrm>
                <a:off x="2639" y="2327"/>
                <a:ext cx="57" cy="80"/>
              </a:xfrm>
              <a:custGeom>
                <a:avLst/>
                <a:gdLst>
                  <a:gd name="T0" fmla="*/ 85 w 93"/>
                  <a:gd name="T1" fmla="*/ 114 h 131"/>
                  <a:gd name="T2" fmla="*/ 85 w 93"/>
                  <a:gd name="T3" fmla="*/ 114 h 131"/>
                  <a:gd name="T4" fmla="*/ 93 w 93"/>
                  <a:gd name="T5" fmla="*/ 112 h 131"/>
                  <a:gd name="T6" fmla="*/ 89 w 93"/>
                  <a:gd name="T7" fmla="*/ 105 h 131"/>
                  <a:gd name="T8" fmla="*/ 11 w 93"/>
                  <a:gd name="T9" fmla="*/ 9 h 131"/>
                  <a:gd name="T10" fmla="*/ 0 w 93"/>
                  <a:gd name="T11" fmla="*/ 0 h 131"/>
                  <a:gd name="T12" fmla="*/ 0 w 93"/>
                  <a:gd name="T13" fmla="*/ 131 h 131"/>
                  <a:gd name="T14" fmla="*/ 7 w 93"/>
                  <a:gd name="T15" fmla="*/ 130 h 131"/>
                  <a:gd name="T16" fmla="*/ 85 w 93"/>
                  <a:gd name="T17"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31">
                    <a:moveTo>
                      <a:pt x="85" y="114"/>
                    </a:moveTo>
                    <a:lnTo>
                      <a:pt x="85" y="114"/>
                    </a:lnTo>
                    <a:lnTo>
                      <a:pt x="93" y="112"/>
                    </a:lnTo>
                    <a:lnTo>
                      <a:pt x="89" y="105"/>
                    </a:lnTo>
                    <a:cubicBezTo>
                      <a:pt x="69" y="67"/>
                      <a:pt x="42" y="35"/>
                      <a:pt x="11" y="9"/>
                    </a:cubicBezTo>
                    <a:lnTo>
                      <a:pt x="0" y="0"/>
                    </a:lnTo>
                    <a:lnTo>
                      <a:pt x="0" y="131"/>
                    </a:lnTo>
                    <a:lnTo>
                      <a:pt x="7" y="130"/>
                    </a:lnTo>
                    <a:cubicBezTo>
                      <a:pt x="33" y="128"/>
                      <a:pt x="59" y="122"/>
                      <a:pt x="85" y="1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48" name="Freeform 121"/>
              <p:cNvSpPr>
                <a:spLocks/>
              </p:cNvSpPr>
              <p:nvPr/>
            </p:nvSpPr>
            <p:spPr bwMode="auto">
              <a:xfrm>
                <a:off x="2679" y="2322"/>
                <a:ext cx="74" cy="62"/>
              </a:xfrm>
              <a:custGeom>
                <a:avLst/>
                <a:gdLst>
                  <a:gd name="T0" fmla="*/ 68 w 121"/>
                  <a:gd name="T1" fmla="*/ 95 h 101"/>
                  <a:gd name="T2" fmla="*/ 68 w 121"/>
                  <a:gd name="T3" fmla="*/ 95 h 101"/>
                  <a:gd name="T4" fmla="*/ 71 w 121"/>
                  <a:gd name="T5" fmla="*/ 101 h 101"/>
                  <a:gd name="T6" fmla="*/ 77 w 121"/>
                  <a:gd name="T7" fmla="*/ 98 h 101"/>
                  <a:gd name="T8" fmla="*/ 114 w 121"/>
                  <a:gd name="T9" fmla="*/ 75 h 101"/>
                  <a:gd name="T10" fmla="*/ 121 w 121"/>
                  <a:gd name="T11" fmla="*/ 70 h 101"/>
                  <a:gd name="T12" fmla="*/ 115 w 121"/>
                  <a:gd name="T13" fmla="*/ 64 h 101"/>
                  <a:gd name="T14" fmla="*/ 25 w 121"/>
                  <a:gd name="T15" fmla="*/ 10 h 101"/>
                  <a:gd name="T16" fmla="*/ 0 w 121"/>
                  <a:gd name="T17" fmla="*/ 0 h 101"/>
                  <a:gd name="T18" fmla="*/ 17 w 121"/>
                  <a:gd name="T19" fmla="*/ 20 h 101"/>
                  <a:gd name="T20" fmla="*/ 68 w 121"/>
                  <a:gd name="T21" fmla="*/ 9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01">
                    <a:moveTo>
                      <a:pt x="68" y="95"/>
                    </a:moveTo>
                    <a:lnTo>
                      <a:pt x="68" y="95"/>
                    </a:lnTo>
                    <a:lnTo>
                      <a:pt x="71" y="101"/>
                    </a:lnTo>
                    <a:lnTo>
                      <a:pt x="77" y="98"/>
                    </a:lnTo>
                    <a:cubicBezTo>
                      <a:pt x="91" y="90"/>
                      <a:pt x="104" y="82"/>
                      <a:pt x="114" y="75"/>
                    </a:cubicBezTo>
                    <a:lnTo>
                      <a:pt x="121" y="70"/>
                    </a:lnTo>
                    <a:lnTo>
                      <a:pt x="115" y="64"/>
                    </a:lnTo>
                    <a:cubicBezTo>
                      <a:pt x="88" y="41"/>
                      <a:pt x="58" y="23"/>
                      <a:pt x="25" y="10"/>
                    </a:cubicBezTo>
                    <a:lnTo>
                      <a:pt x="0" y="0"/>
                    </a:lnTo>
                    <a:lnTo>
                      <a:pt x="17" y="20"/>
                    </a:lnTo>
                    <a:cubicBezTo>
                      <a:pt x="37" y="42"/>
                      <a:pt x="54" y="67"/>
                      <a:pt x="68" y="9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sp>
            <p:nvSpPr>
              <p:cNvPr id="49" name="Freeform 122"/>
              <p:cNvSpPr>
                <a:spLocks/>
              </p:cNvSpPr>
              <p:nvPr/>
            </p:nvSpPr>
            <p:spPr bwMode="auto">
              <a:xfrm>
                <a:off x="2639" y="2522"/>
                <a:ext cx="82" cy="69"/>
              </a:xfrm>
              <a:custGeom>
                <a:avLst/>
                <a:gdLst>
                  <a:gd name="T0" fmla="*/ 106 w 135"/>
                  <a:gd name="T1" fmla="*/ 111 h 113"/>
                  <a:gd name="T2" fmla="*/ 106 w 135"/>
                  <a:gd name="T3" fmla="*/ 111 h 113"/>
                  <a:gd name="T4" fmla="*/ 112 w 135"/>
                  <a:gd name="T5" fmla="*/ 113 h 113"/>
                  <a:gd name="T6" fmla="*/ 114 w 135"/>
                  <a:gd name="T7" fmla="*/ 107 h 113"/>
                  <a:gd name="T8" fmla="*/ 135 w 135"/>
                  <a:gd name="T9" fmla="*/ 7 h 113"/>
                  <a:gd name="T10" fmla="*/ 135 w 135"/>
                  <a:gd name="T11" fmla="*/ 0 h 113"/>
                  <a:gd name="T12" fmla="*/ 0 w 135"/>
                  <a:gd name="T13" fmla="*/ 0 h 113"/>
                  <a:gd name="T14" fmla="*/ 0 w 135"/>
                  <a:gd name="T15" fmla="*/ 91 h 113"/>
                  <a:gd name="T16" fmla="*/ 6 w 135"/>
                  <a:gd name="T17" fmla="*/ 91 h 113"/>
                  <a:gd name="T18" fmla="*/ 106 w 135"/>
                  <a:gd name="T1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13">
                    <a:moveTo>
                      <a:pt x="106" y="111"/>
                    </a:moveTo>
                    <a:lnTo>
                      <a:pt x="106" y="111"/>
                    </a:lnTo>
                    <a:lnTo>
                      <a:pt x="112" y="113"/>
                    </a:lnTo>
                    <a:lnTo>
                      <a:pt x="114" y="107"/>
                    </a:lnTo>
                    <a:cubicBezTo>
                      <a:pt x="125" y="75"/>
                      <a:pt x="132" y="41"/>
                      <a:pt x="135" y="7"/>
                    </a:cubicBezTo>
                    <a:lnTo>
                      <a:pt x="135" y="0"/>
                    </a:lnTo>
                    <a:lnTo>
                      <a:pt x="0" y="0"/>
                    </a:lnTo>
                    <a:lnTo>
                      <a:pt x="0" y="91"/>
                    </a:lnTo>
                    <a:lnTo>
                      <a:pt x="6" y="91"/>
                    </a:lnTo>
                    <a:cubicBezTo>
                      <a:pt x="40" y="93"/>
                      <a:pt x="74" y="100"/>
                      <a:pt x="106" y="1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6962">
                  <a:defRPr/>
                </a:pPr>
                <a:endParaRPr lang="en-US" kern="0">
                  <a:solidFill>
                    <a:srgbClr val="58595B"/>
                  </a:solidFill>
                  <a:latin typeface="CiscoSansTT ExtraLight"/>
                  <a:ea typeface="ＭＳ Ｐゴシック" pitchFamily="34" charset="-128"/>
                </a:endParaRPr>
              </a:p>
            </p:txBody>
          </p:sp>
        </p:grpSp>
      </p:grpSp>
    </p:spTree>
    <p:extLst>
      <p:ext uri="{BB962C8B-B14F-4D97-AF65-F5344CB8AC3E}">
        <p14:creationId xmlns:p14="http://schemas.microsoft.com/office/powerpoint/2010/main" val="2472146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ED865-F59E-489F-A9F5-5B488E8C02F7}"/>
              </a:ext>
            </a:extLst>
          </p:cNvPr>
          <p:cNvSpPr>
            <a:spLocks noGrp="1"/>
          </p:cNvSpPr>
          <p:nvPr>
            <p:ph type="title"/>
          </p:nvPr>
        </p:nvSpPr>
        <p:spPr/>
        <p:txBody>
          <a:bodyPr/>
          <a:lstStyle/>
          <a:p>
            <a:r>
              <a:rPr lang="en-ZA" dirty="0"/>
              <a:t>Aggregation Sites</a:t>
            </a:r>
            <a:endParaRPr lang="en-GB" dirty="0"/>
          </a:p>
        </p:txBody>
      </p:sp>
      <p:sp>
        <p:nvSpPr>
          <p:cNvPr id="3" name="Content Placeholder 2">
            <a:extLst>
              <a:ext uri="{FF2B5EF4-FFF2-40B4-BE49-F238E27FC236}">
                <a16:creationId xmlns:a16="http://schemas.microsoft.com/office/drawing/2014/main" id="{B9016126-0340-4CA0-A217-1C022730D907}"/>
              </a:ext>
            </a:extLst>
          </p:cNvPr>
          <p:cNvSpPr>
            <a:spLocks noGrp="1"/>
          </p:cNvSpPr>
          <p:nvPr>
            <p:ph sz="quarter" idx="11"/>
          </p:nvPr>
        </p:nvSpPr>
        <p:spPr/>
        <p:txBody>
          <a:bodyPr/>
          <a:lstStyle/>
          <a:p>
            <a:r>
              <a:rPr lang="en-ZA" dirty="0"/>
              <a:t>Based again on population density </a:t>
            </a:r>
          </a:p>
          <a:p>
            <a:r>
              <a:rPr lang="en-ZA" dirty="0"/>
              <a:t>Provides Access to the Access Nodes for high population Access Sites</a:t>
            </a:r>
          </a:p>
          <a:p>
            <a:r>
              <a:rPr lang="en-ZA" dirty="0"/>
              <a:t>Aggregation sites will be connected via grey fibre. </a:t>
            </a:r>
          </a:p>
          <a:p>
            <a:r>
              <a:rPr lang="en-ZA" dirty="0"/>
              <a:t>Aggregation sites will use NCS 5500’s for larger sites aggregating high densities of access sites</a:t>
            </a:r>
          </a:p>
          <a:p>
            <a:r>
              <a:rPr lang="en-ZA" dirty="0"/>
              <a:t>Smaller locations will use the NCS 560’s or NCS 540’s for aggregating multiple access nodes.</a:t>
            </a:r>
          </a:p>
          <a:p>
            <a:r>
              <a:rPr lang="en-ZA" dirty="0"/>
              <a:t>May terminate microwave links from remote base stations through third party equipment</a:t>
            </a:r>
          </a:p>
          <a:p>
            <a:endParaRPr lang="en-ZA" dirty="0"/>
          </a:p>
          <a:p>
            <a:endParaRPr lang="en-GB" dirty="0"/>
          </a:p>
        </p:txBody>
      </p:sp>
    </p:spTree>
    <p:extLst>
      <p:ext uri="{BB962C8B-B14F-4D97-AF65-F5344CB8AC3E}">
        <p14:creationId xmlns:p14="http://schemas.microsoft.com/office/powerpoint/2010/main" val="375819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xHaul</a:t>
            </a:r>
            <a:r>
              <a:rPr lang="en-US" dirty="0"/>
              <a:t> Transport Architecture</a:t>
            </a:r>
            <a:br>
              <a:rPr lang="en-US" dirty="0"/>
            </a:br>
            <a:r>
              <a:rPr lang="en-US" sz="1400" dirty="0">
                <a:solidFill>
                  <a:schemeClr val="accent4"/>
                </a:solidFill>
              </a:rPr>
              <a:t>Programmable, High Bandwidth Network Fabric</a:t>
            </a:r>
          </a:p>
        </p:txBody>
      </p:sp>
      <p:sp>
        <p:nvSpPr>
          <p:cNvPr id="4" name="Rounded Rectangle 3"/>
          <p:cNvSpPr/>
          <p:nvPr/>
        </p:nvSpPr>
        <p:spPr>
          <a:xfrm>
            <a:off x="437768" y="1091245"/>
            <a:ext cx="8267266" cy="2180687"/>
          </a:xfrm>
          <a:prstGeom prst="roundRect">
            <a:avLst>
              <a:gd name="adj" fmla="val 4127"/>
            </a:avLst>
          </a:prstGeom>
          <a:solidFill>
            <a:schemeClr val="accent4">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2000" dirty="0">
              <a:solidFill>
                <a:srgbClr val="005073"/>
              </a:solidFill>
              <a:latin typeface="CiscoSansTT ExtraLight"/>
            </a:endParaRPr>
          </a:p>
        </p:txBody>
      </p:sp>
      <p:sp>
        <p:nvSpPr>
          <p:cNvPr id="6" name="TextBox 5">
            <a:extLst>
              <a:ext uri="{FF2B5EF4-FFF2-40B4-BE49-F238E27FC236}">
                <a16:creationId xmlns:a16="http://schemas.microsoft.com/office/drawing/2014/main" id="{171B1DB9-A063-5F4B-B72E-A0D1B1B11E0D}"/>
              </a:ext>
            </a:extLst>
          </p:cNvPr>
          <p:cNvSpPr txBox="1"/>
          <p:nvPr/>
        </p:nvSpPr>
        <p:spPr>
          <a:xfrm flipH="1">
            <a:off x="2311958" y="1116697"/>
            <a:ext cx="497252" cy="230832"/>
          </a:xfrm>
          <a:prstGeom prst="rect">
            <a:avLst/>
          </a:prstGeom>
          <a:noFill/>
        </p:spPr>
        <p:txBody>
          <a:bodyPr wrap="none" rtlCol="0">
            <a:spAutoFit/>
          </a:bodyPr>
          <a:lstStyle/>
          <a:p>
            <a:pPr defTabSz="457189">
              <a:defRPr/>
            </a:pPr>
            <a:r>
              <a:rPr lang="en-US" sz="900" dirty="0">
                <a:solidFill>
                  <a:srgbClr val="282828"/>
                </a:solidFill>
                <a:latin typeface="CiscoSansTT ExtraLight"/>
              </a:rPr>
              <a:t>Site A</a:t>
            </a:r>
          </a:p>
        </p:txBody>
      </p:sp>
      <p:sp>
        <p:nvSpPr>
          <p:cNvPr id="7" name="Rounded Rectangle 6">
            <a:extLst>
              <a:ext uri="{FF2B5EF4-FFF2-40B4-BE49-F238E27FC236}">
                <a16:creationId xmlns:a16="http://schemas.microsoft.com/office/drawing/2014/main" id="{F85F06C7-BE42-4240-BB3B-815D041456FC}"/>
              </a:ext>
            </a:extLst>
          </p:cNvPr>
          <p:cNvSpPr/>
          <p:nvPr/>
        </p:nvSpPr>
        <p:spPr>
          <a:xfrm flipH="1">
            <a:off x="2352457" y="1663447"/>
            <a:ext cx="379699" cy="16298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600" b="1" dirty="0">
                <a:solidFill>
                  <a:srgbClr val="FFFFFF"/>
                </a:solidFill>
                <a:latin typeface="CiscoSansTT ExtraLight"/>
                <a:cs typeface="CiscoSansTT" panose="020B0503020201020303" pitchFamily="34" charset="0"/>
              </a:rPr>
              <a:t>BBU</a:t>
            </a:r>
          </a:p>
        </p:txBody>
      </p:sp>
      <p:cxnSp>
        <p:nvCxnSpPr>
          <p:cNvPr id="8" name="Straight Connector 7">
            <a:extLst>
              <a:ext uri="{FF2B5EF4-FFF2-40B4-BE49-F238E27FC236}">
                <a16:creationId xmlns:a16="http://schemas.microsoft.com/office/drawing/2014/main" id="{57BC4BFC-8642-E942-B99E-86B26F6173BE}"/>
              </a:ext>
            </a:extLst>
          </p:cNvPr>
          <p:cNvCxnSpPr>
            <a:cxnSpLocks/>
            <a:stCxn id="7" idx="0"/>
          </p:cNvCxnSpPr>
          <p:nvPr/>
        </p:nvCxnSpPr>
        <p:spPr>
          <a:xfrm flipH="1" flipV="1">
            <a:off x="2539029" y="1472094"/>
            <a:ext cx="3276" cy="191352"/>
          </a:xfrm>
          <a:prstGeom prst="line">
            <a:avLst/>
          </a:prstGeom>
        </p:spPr>
        <p:style>
          <a:lnRef idx="1">
            <a:schemeClr val="accent1"/>
          </a:lnRef>
          <a:fillRef idx="0">
            <a:schemeClr val="accent1"/>
          </a:fillRef>
          <a:effectRef idx="0">
            <a:schemeClr val="accent1"/>
          </a:effectRef>
          <a:fontRef idx="minor">
            <a:schemeClr val="tx1"/>
          </a:fontRef>
        </p:style>
      </p:cxnSp>
      <p:sp>
        <p:nvSpPr>
          <p:cNvPr id="9" name="Rounded Rectangle 8">
            <a:extLst>
              <a:ext uri="{FF2B5EF4-FFF2-40B4-BE49-F238E27FC236}">
                <a16:creationId xmlns:a16="http://schemas.microsoft.com/office/drawing/2014/main" id="{8A992573-D306-3E40-ACC6-AFBA44DF7813}"/>
              </a:ext>
            </a:extLst>
          </p:cNvPr>
          <p:cNvSpPr/>
          <p:nvPr/>
        </p:nvSpPr>
        <p:spPr>
          <a:xfrm flipH="1">
            <a:off x="1678036" y="1783352"/>
            <a:ext cx="459731" cy="535879"/>
          </a:xfrm>
          <a:prstGeom prst="roundRect">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700" dirty="0">
              <a:solidFill>
                <a:srgbClr val="005073"/>
              </a:solidFill>
              <a:latin typeface="CiscoSansTT ExtraLight"/>
            </a:endParaRPr>
          </a:p>
        </p:txBody>
      </p:sp>
      <p:sp>
        <p:nvSpPr>
          <p:cNvPr id="10" name="TextBox 9">
            <a:extLst>
              <a:ext uri="{FF2B5EF4-FFF2-40B4-BE49-F238E27FC236}">
                <a16:creationId xmlns:a16="http://schemas.microsoft.com/office/drawing/2014/main" id="{7135B1E6-EB17-D145-BBFC-8ED618970EFB}"/>
              </a:ext>
            </a:extLst>
          </p:cNvPr>
          <p:cNvSpPr txBox="1"/>
          <p:nvPr/>
        </p:nvSpPr>
        <p:spPr>
          <a:xfrm flipH="1">
            <a:off x="1679557" y="1566767"/>
            <a:ext cx="494046" cy="230832"/>
          </a:xfrm>
          <a:prstGeom prst="rect">
            <a:avLst/>
          </a:prstGeom>
          <a:noFill/>
        </p:spPr>
        <p:txBody>
          <a:bodyPr wrap="none" rtlCol="0">
            <a:spAutoFit/>
          </a:bodyPr>
          <a:lstStyle/>
          <a:p>
            <a:pPr defTabSz="457189">
              <a:defRPr/>
            </a:pPr>
            <a:r>
              <a:rPr lang="en-US" sz="900" dirty="0">
                <a:solidFill>
                  <a:srgbClr val="282828"/>
                </a:solidFill>
                <a:latin typeface="CiscoSansTT ExtraLight"/>
              </a:rPr>
              <a:t>Site B</a:t>
            </a:r>
          </a:p>
        </p:txBody>
      </p:sp>
      <p:sp>
        <p:nvSpPr>
          <p:cNvPr id="11" name="Rounded Rectangle 10">
            <a:extLst>
              <a:ext uri="{FF2B5EF4-FFF2-40B4-BE49-F238E27FC236}">
                <a16:creationId xmlns:a16="http://schemas.microsoft.com/office/drawing/2014/main" id="{B7BED5E7-085E-C540-8AEF-9760EE7BBC21}"/>
              </a:ext>
            </a:extLst>
          </p:cNvPr>
          <p:cNvSpPr/>
          <p:nvPr/>
        </p:nvSpPr>
        <p:spPr>
          <a:xfrm flipH="1">
            <a:off x="1707264" y="2111861"/>
            <a:ext cx="403843" cy="17246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600" b="1" dirty="0">
                <a:solidFill>
                  <a:srgbClr val="FFFFFF"/>
                </a:solidFill>
                <a:latin typeface="CiscoSansTT ExtraLight"/>
                <a:cs typeface="CiscoSansTT" panose="020B0503020201020303" pitchFamily="34" charset="0"/>
              </a:rPr>
              <a:t>DU</a:t>
            </a:r>
          </a:p>
        </p:txBody>
      </p:sp>
      <p:sp>
        <p:nvSpPr>
          <p:cNvPr id="12" name="Rounded Rectangle 11">
            <a:extLst>
              <a:ext uri="{FF2B5EF4-FFF2-40B4-BE49-F238E27FC236}">
                <a16:creationId xmlns:a16="http://schemas.microsoft.com/office/drawing/2014/main" id="{84DEC751-A8BD-6E4F-8A49-430467C02005}"/>
              </a:ext>
            </a:extLst>
          </p:cNvPr>
          <p:cNvSpPr/>
          <p:nvPr/>
        </p:nvSpPr>
        <p:spPr>
          <a:xfrm flipH="1">
            <a:off x="2303380" y="1341733"/>
            <a:ext cx="478609" cy="499383"/>
          </a:xfrm>
          <a:prstGeom prst="roundRect">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700" dirty="0">
              <a:solidFill>
                <a:srgbClr val="005073"/>
              </a:solidFill>
              <a:latin typeface="CiscoSansTT ExtraLight"/>
            </a:endParaRPr>
          </a:p>
        </p:txBody>
      </p:sp>
      <p:sp>
        <p:nvSpPr>
          <p:cNvPr id="13" name="Rounded Rectangle 12">
            <a:extLst>
              <a:ext uri="{FF2B5EF4-FFF2-40B4-BE49-F238E27FC236}">
                <a16:creationId xmlns:a16="http://schemas.microsoft.com/office/drawing/2014/main" id="{A97EA92A-D400-6A47-B8C8-7BD5FCBFF2B6}"/>
              </a:ext>
            </a:extLst>
          </p:cNvPr>
          <p:cNvSpPr/>
          <p:nvPr/>
        </p:nvSpPr>
        <p:spPr>
          <a:xfrm flipH="1">
            <a:off x="1232126" y="2456013"/>
            <a:ext cx="399371" cy="382860"/>
          </a:xfrm>
          <a:prstGeom prst="roundRect">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700" dirty="0">
              <a:solidFill>
                <a:srgbClr val="005073"/>
              </a:solidFill>
              <a:latin typeface="CiscoSansTT ExtraLight"/>
            </a:endParaRPr>
          </a:p>
        </p:txBody>
      </p:sp>
      <p:sp>
        <p:nvSpPr>
          <p:cNvPr id="14" name="TextBox 13">
            <a:extLst>
              <a:ext uri="{FF2B5EF4-FFF2-40B4-BE49-F238E27FC236}">
                <a16:creationId xmlns:a16="http://schemas.microsoft.com/office/drawing/2014/main" id="{E753F3C8-A3B8-FF44-B5A3-FAAF5EA36D31}"/>
              </a:ext>
            </a:extLst>
          </p:cNvPr>
          <p:cNvSpPr txBox="1"/>
          <p:nvPr/>
        </p:nvSpPr>
        <p:spPr>
          <a:xfrm flipH="1">
            <a:off x="1187123" y="2244773"/>
            <a:ext cx="503664" cy="230832"/>
          </a:xfrm>
          <a:prstGeom prst="rect">
            <a:avLst/>
          </a:prstGeom>
          <a:noFill/>
        </p:spPr>
        <p:txBody>
          <a:bodyPr wrap="none" rtlCol="0">
            <a:spAutoFit/>
          </a:bodyPr>
          <a:lstStyle/>
          <a:p>
            <a:pPr defTabSz="457189">
              <a:defRPr/>
            </a:pPr>
            <a:r>
              <a:rPr lang="en-US" sz="900" dirty="0">
                <a:solidFill>
                  <a:srgbClr val="282828"/>
                </a:solidFill>
                <a:latin typeface="CiscoSansTT ExtraLight"/>
              </a:rPr>
              <a:t>Site C</a:t>
            </a:r>
          </a:p>
        </p:txBody>
      </p:sp>
      <p:sp>
        <p:nvSpPr>
          <p:cNvPr id="15" name="Rounded Rectangle 14">
            <a:extLst>
              <a:ext uri="{FF2B5EF4-FFF2-40B4-BE49-F238E27FC236}">
                <a16:creationId xmlns:a16="http://schemas.microsoft.com/office/drawing/2014/main" id="{4DE53339-5E39-D046-9D13-280F60A5CA94}"/>
              </a:ext>
            </a:extLst>
          </p:cNvPr>
          <p:cNvSpPr/>
          <p:nvPr/>
        </p:nvSpPr>
        <p:spPr>
          <a:xfrm flipH="1">
            <a:off x="2576687" y="3061892"/>
            <a:ext cx="458538" cy="14806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700" b="1" dirty="0">
                <a:solidFill>
                  <a:srgbClr val="FFFFFF"/>
                </a:solidFill>
                <a:latin typeface="CiscoSansTT ExtraLight"/>
                <a:cs typeface="CiscoSansTT" panose="020B0503020201020303" pitchFamily="34" charset="0"/>
              </a:rPr>
              <a:t>DU</a:t>
            </a:r>
          </a:p>
        </p:txBody>
      </p:sp>
      <p:pic>
        <p:nvPicPr>
          <p:cNvPr id="16" name="Picture 2" descr="C:\Users\akerr\Desktop\PNG\Router.png">
            <a:extLst>
              <a:ext uri="{FF2B5EF4-FFF2-40B4-BE49-F238E27FC236}">
                <a16:creationId xmlns:a16="http://schemas.microsoft.com/office/drawing/2014/main" id="{CA80D7E1-EBEE-A84A-A0DF-43F3B6CAE20B}"/>
              </a:ext>
            </a:extLst>
          </p:cNvPr>
          <p:cNvPicPr>
            <a:picLocks noChangeAspect="1" noChangeArrowheads="1"/>
          </p:cNvPicPr>
          <p:nvPr/>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2686016" y="2547482"/>
            <a:ext cx="244001" cy="190047"/>
          </a:xfrm>
          <a:prstGeom prst="rect">
            <a:avLst/>
          </a:prstGeom>
          <a:noFill/>
        </p:spPr>
      </p:pic>
      <p:cxnSp>
        <p:nvCxnSpPr>
          <p:cNvPr id="17" name="Straight Connector 16">
            <a:extLst>
              <a:ext uri="{FF2B5EF4-FFF2-40B4-BE49-F238E27FC236}">
                <a16:creationId xmlns:a16="http://schemas.microsoft.com/office/drawing/2014/main" id="{733F6F4B-0BE7-A642-9D40-C09896BC7702}"/>
              </a:ext>
            </a:extLst>
          </p:cNvPr>
          <p:cNvCxnSpPr>
            <a:cxnSpLocks/>
            <a:stCxn id="16" idx="2"/>
            <a:endCxn id="15" idx="0"/>
          </p:cNvCxnSpPr>
          <p:nvPr/>
        </p:nvCxnSpPr>
        <p:spPr>
          <a:xfrm flipH="1">
            <a:off x="2805957" y="2737529"/>
            <a:ext cx="2059" cy="324364"/>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C6BF3A8-E94E-B54A-ADB9-1A217A561EB7}"/>
              </a:ext>
            </a:extLst>
          </p:cNvPr>
          <p:cNvCxnSpPr>
            <a:cxnSpLocks/>
            <a:stCxn id="16" idx="3"/>
            <a:endCxn id="13" idx="1"/>
          </p:cNvCxnSpPr>
          <p:nvPr/>
        </p:nvCxnSpPr>
        <p:spPr>
          <a:xfrm flipH="1">
            <a:off x="1631497" y="2642505"/>
            <a:ext cx="1054519" cy="4939"/>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45BC59D0-29BD-CD45-94E1-0CCEC2F301FC}"/>
              </a:ext>
            </a:extLst>
          </p:cNvPr>
          <p:cNvCxnSpPr>
            <a:cxnSpLocks/>
            <a:stCxn id="7" idx="1"/>
          </p:cNvCxnSpPr>
          <p:nvPr/>
        </p:nvCxnSpPr>
        <p:spPr>
          <a:xfrm>
            <a:off x="2732156" y="1744937"/>
            <a:ext cx="1754206" cy="366471"/>
          </a:xfrm>
          <a:prstGeom prst="bentConnector3">
            <a:avLst>
              <a:gd name="adj1" fmla="val 5577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9BA3F5F-5C61-7248-8136-1FD42DC79EEA}"/>
              </a:ext>
            </a:extLst>
          </p:cNvPr>
          <p:cNvCxnSpPr>
            <a:cxnSpLocks/>
            <a:stCxn id="11" idx="1"/>
            <a:endCxn id="22" idx="4"/>
          </p:cNvCxnSpPr>
          <p:nvPr/>
        </p:nvCxnSpPr>
        <p:spPr>
          <a:xfrm flipV="1">
            <a:off x="2111105" y="2195550"/>
            <a:ext cx="2375256" cy="2544"/>
          </a:xfrm>
          <a:prstGeom prst="straightConnector1">
            <a:avLst/>
          </a:prstGeom>
          <a:ln>
            <a:solidFill>
              <a:schemeClr val="accent2">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9D5F1E41-69A4-764E-AB0C-E3DD67224DFA}"/>
              </a:ext>
            </a:extLst>
          </p:cNvPr>
          <p:cNvCxnSpPr>
            <a:cxnSpLocks/>
            <a:endCxn id="16" idx="1"/>
          </p:cNvCxnSpPr>
          <p:nvPr/>
        </p:nvCxnSpPr>
        <p:spPr>
          <a:xfrm rot="10800000" flipV="1">
            <a:off x="2930017" y="2287988"/>
            <a:ext cx="1553300" cy="354517"/>
          </a:xfrm>
          <a:prstGeom prst="bentConnector3">
            <a:avLst>
              <a:gd name="adj1" fmla="val 50000"/>
            </a:avLst>
          </a:prstGeom>
          <a:ln>
            <a:solidFill>
              <a:schemeClr val="accent2">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Can 21">
            <a:extLst>
              <a:ext uri="{FF2B5EF4-FFF2-40B4-BE49-F238E27FC236}">
                <a16:creationId xmlns:a16="http://schemas.microsoft.com/office/drawing/2014/main" id="{0AFDFDEC-373E-584E-B94C-B16628B6BDB8}"/>
              </a:ext>
            </a:extLst>
          </p:cNvPr>
          <p:cNvSpPr/>
          <p:nvPr/>
        </p:nvSpPr>
        <p:spPr>
          <a:xfrm flipH="1">
            <a:off x="4486361" y="2072310"/>
            <a:ext cx="924807" cy="246478"/>
          </a:xfrm>
          <a:prstGeom prst="can">
            <a:avLst/>
          </a:prstGeom>
          <a:solidFill>
            <a:schemeClr val="accent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400" dirty="0">
              <a:solidFill>
                <a:srgbClr val="005073"/>
              </a:solidFill>
              <a:latin typeface="CiscoSansTT ExtraLight"/>
            </a:endParaRPr>
          </a:p>
        </p:txBody>
      </p:sp>
      <p:sp>
        <p:nvSpPr>
          <p:cNvPr id="23" name="Can 22">
            <a:extLst>
              <a:ext uri="{FF2B5EF4-FFF2-40B4-BE49-F238E27FC236}">
                <a16:creationId xmlns:a16="http://schemas.microsoft.com/office/drawing/2014/main" id="{140F4653-A0E2-8E47-A743-B5CC181B3F52}"/>
              </a:ext>
            </a:extLst>
          </p:cNvPr>
          <p:cNvSpPr/>
          <p:nvPr/>
        </p:nvSpPr>
        <p:spPr>
          <a:xfrm flipH="1">
            <a:off x="5810567" y="2072311"/>
            <a:ext cx="924807" cy="246476"/>
          </a:xfrm>
          <a:prstGeom prst="can">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400" dirty="0">
              <a:solidFill>
                <a:srgbClr val="FFFFFF"/>
              </a:solidFill>
              <a:latin typeface="CiscoSansTT ExtraLight"/>
            </a:endParaRPr>
          </a:p>
        </p:txBody>
      </p:sp>
      <p:cxnSp>
        <p:nvCxnSpPr>
          <p:cNvPr id="24" name="Straight Arrow Connector 23">
            <a:extLst>
              <a:ext uri="{FF2B5EF4-FFF2-40B4-BE49-F238E27FC236}">
                <a16:creationId xmlns:a16="http://schemas.microsoft.com/office/drawing/2014/main" id="{D55C1192-7B61-5746-A843-AF8E1BFC012C}"/>
              </a:ext>
            </a:extLst>
          </p:cNvPr>
          <p:cNvCxnSpPr>
            <a:cxnSpLocks/>
            <a:stCxn id="23" idx="4"/>
            <a:endCxn id="22" idx="2"/>
          </p:cNvCxnSpPr>
          <p:nvPr/>
        </p:nvCxnSpPr>
        <p:spPr>
          <a:xfrm flipH="1">
            <a:off x="5411168" y="2195550"/>
            <a:ext cx="39939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Can 24">
            <a:extLst>
              <a:ext uri="{FF2B5EF4-FFF2-40B4-BE49-F238E27FC236}">
                <a16:creationId xmlns:a16="http://schemas.microsoft.com/office/drawing/2014/main" id="{9C0B3BDB-7CAB-5F49-B007-EC07376A18E4}"/>
              </a:ext>
            </a:extLst>
          </p:cNvPr>
          <p:cNvSpPr/>
          <p:nvPr/>
        </p:nvSpPr>
        <p:spPr>
          <a:xfrm flipH="1">
            <a:off x="7086451" y="2072312"/>
            <a:ext cx="924807" cy="240369"/>
          </a:xfrm>
          <a:prstGeom prst="can">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400" dirty="0">
              <a:solidFill>
                <a:srgbClr val="005073"/>
              </a:solidFill>
              <a:latin typeface="CiscoSansTT ExtraLight"/>
            </a:endParaRPr>
          </a:p>
        </p:txBody>
      </p:sp>
      <p:cxnSp>
        <p:nvCxnSpPr>
          <p:cNvPr id="26" name="Straight Arrow Connector 25">
            <a:extLst>
              <a:ext uri="{FF2B5EF4-FFF2-40B4-BE49-F238E27FC236}">
                <a16:creationId xmlns:a16="http://schemas.microsoft.com/office/drawing/2014/main" id="{9D835BDA-F12B-7B43-B858-D7A3894379AE}"/>
              </a:ext>
            </a:extLst>
          </p:cNvPr>
          <p:cNvCxnSpPr>
            <a:cxnSpLocks/>
            <a:stCxn id="25" idx="4"/>
            <a:endCxn id="23" idx="2"/>
          </p:cNvCxnSpPr>
          <p:nvPr/>
        </p:nvCxnSpPr>
        <p:spPr>
          <a:xfrm flipH="1">
            <a:off x="6735374" y="2192498"/>
            <a:ext cx="351077" cy="305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AB04AD0-49A9-E444-A135-C07D3FBA701A}"/>
              </a:ext>
            </a:extLst>
          </p:cNvPr>
          <p:cNvSpPr txBox="1"/>
          <p:nvPr/>
        </p:nvSpPr>
        <p:spPr>
          <a:xfrm flipH="1">
            <a:off x="4483316" y="2106845"/>
            <a:ext cx="930898" cy="230832"/>
          </a:xfrm>
          <a:prstGeom prst="rect">
            <a:avLst/>
          </a:prstGeom>
          <a:noFill/>
        </p:spPr>
        <p:txBody>
          <a:bodyPr wrap="square" rtlCol="0">
            <a:spAutoFit/>
          </a:bodyPr>
          <a:lstStyle/>
          <a:p>
            <a:pPr algn="ctr" defTabSz="457189">
              <a:defRPr/>
            </a:pPr>
            <a:r>
              <a:rPr lang="en-US" sz="900" b="1" dirty="0">
                <a:solidFill>
                  <a:srgbClr val="FFFFFF"/>
                </a:solidFill>
                <a:latin typeface="CiscoSansTT ExtraLight"/>
                <a:cs typeface="CiscoSansTT" panose="020B0503020201020303" pitchFamily="34" charset="0"/>
              </a:rPr>
              <a:t>PRE-AGG</a:t>
            </a:r>
          </a:p>
        </p:txBody>
      </p:sp>
      <p:sp>
        <p:nvSpPr>
          <p:cNvPr id="28" name="TextBox 27">
            <a:extLst>
              <a:ext uri="{FF2B5EF4-FFF2-40B4-BE49-F238E27FC236}">
                <a16:creationId xmlns:a16="http://schemas.microsoft.com/office/drawing/2014/main" id="{E9A55D82-D007-7B41-877B-0A767CE6A958}"/>
              </a:ext>
            </a:extLst>
          </p:cNvPr>
          <p:cNvSpPr txBox="1"/>
          <p:nvPr/>
        </p:nvSpPr>
        <p:spPr>
          <a:xfrm flipH="1">
            <a:off x="5803695" y="2106845"/>
            <a:ext cx="930898" cy="230832"/>
          </a:xfrm>
          <a:prstGeom prst="rect">
            <a:avLst/>
          </a:prstGeom>
          <a:noFill/>
        </p:spPr>
        <p:txBody>
          <a:bodyPr wrap="square" rtlCol="0">
            <a:spAutoFit/>
          </a:bodyPr>
          <a:lstStyle/>
          <a:p>
            <a:pPr algn="ctr" defTabSz="457189">
              <a:defRPr/>
            </a:pPr>
            <a:r>
              <a:rPr lang="en-US" sz="900" b="1" dirty="0">
                <a:solidFill>
                  <a:srgbClr val="FFFFFF"/>
                </a:solidFill>
                <a:latin typeface="CiscoSansTT ExtraLight"/>
                <a:cs typeface="CiscoSansTT" panose="020B0503020201020303" pitchFamily="34" charset="0"/>
              </a:rPr>
              <a:t>AGG</a:t>
            </a:r>
          </a:p>
        </p:txBody>
      </p:sp>
      <p:sp>
        <p:nvSpPr>
          <p:cNvPr id="29" name="TextBox 28">
            <a:extLst>
              <a:ext uri="{FF2B5EF4-FFF2-40B4-BE49-F238E27FC236}">
                <a16:creationId xmlns:a16="http://schemas.microsoft.com/office/drawing/2014/main" id="{F6688C74-AC7F-3C41-921D-970E11488E67}"/>
              </a:ext>
            </a:extLst>
          </p:cNvPr>
          <p:cNvSpPr txBox="1"/>
          <p:nvPr/>
        </p:nvSpPr>
        <p:spPr>
          <a:xfrm flipH="1">
            <a:off x="7114761" y="2106845"/>
            <a:ext cx="930898" cy="230832"/>
          </a:xfrm>
          <a:prstGeom prst="rect">
            <a:avLst/>
          </a:prstGeom>
          <a:noFill/>
        </p:spPr>
        <p:txBody>
          <a:bodyPr wrap="square" rtlCol="0">
            <a:spAutoFit/>
          </a:bodyPr>
          <a:lstStyle/>
          <a:p>
            <a:pPr algn="ctr" defTabSz="457189">
              <a:defRPr/>
            </a:pPr>
            <a:r>
              <a:rPr lang="en-US" sz="900" b="1" dirty="0">
                <a:solidFill>
                  <a:srgbClr val="FFFFFF"/>
                </a:solidFill>
                <a:latin typeface="CiscoSansTT ExtraLight"/>
                <a:cs typeface="CiscoSansTT" panose="020B0503020201020303" pitchFamily="34" charset="0"/>
              </a:rPr>
              <a:t>IP/MPLS</a:t>
            </a:r>
          </a:p>
        </p:txBody>
      </p:sp>
      <p:sp>
        <p:nvSpPr>
          <p:cNvPr id="30" name="TextBox 29">
            <a:extLst>
              <a:ext uri="{FF2B5EF4-FFF2-40B4-BE49-F238E27FC236}">
                <a16:creationId xmlns:a16="http://schemas.microsoft.com/office/drawing/2014/main" id="{65468C6B-AC69-F64F-A3F5-EBBAAFE1C437}"/>
              </a:ext>
            </a:extLst>
          </p:cNvPr>
          <p:cNvSpPr txBox="1"/>
          <p:nvPr/>
        </p:nvSpPr>
        <p:spPr>
          <a:xfrm flipH="1">
            <a:off x="503816" y="1315847"/>
            <a:ext cx="652743" cy="215444"/>
          </a:xfrm>
          <a:prstGeom prst="rect">
            <a:avLst/>
          </a:prstGeom>
          <a:noFill/>
        </p:spPr>
        <p:txBody>
          <a:bodyPr wrap="none" rtlCol="0">
            <a:spAutoFit/>
          </a:bodyPr>
          <a:lstStyle/>
          <a:p>
            <a:pPr defTabSz="457189">
              <a:defRPr/>
            </a:pPr>
            <a:r>
              <a:rPr lang="en-US" sz="800" b="1" dirty="0">
                <a:solidFill>
                  <a:srgbClr val="282828"/>
                </a:solidFill>
                <a:latin typeface="CiscoSansTT ExtraLight"/>
                <a:cs typeface="CiscoSansTT" panose="020B0503020201020303" pitchFamily="34" charset="0"/>
              </a:rPr>
              <a:t>4G-DRAN</a:t>
            </a:r>
          </a:p>
        </p:txBody>
      </p:sp>
      <p:sp>
        <p:nvSpPr>
          <p:cNvPr id="31" name="TextBox 30">
            <a:extLst>
              <a:ext uri="{FF2B5EF4-FFF2-40B4-BE49-F238E27FC236}">
                <a16:creationId xmlns:a16="http://schemas.microsoft.com/office/drawing/2014/main" id="{4EC83523-B801-DE46-BE7D-582F1A18A1A3}"/>
              </a:ext>
            </a:extLst>
          </p:cNvPr>
          <p:cNvSpPr txBox="1"/>
          <p:nvPr/>
        </p:nvSpPr>
        <p:spPr>
          <a:xfrm flipH="1">
            <a:off x="503816" y="1882372"/>
            <a:ext cx="758541" cy="338554"/>
          </a:xfrm>
          <a:prstGeom prst="rect">
            <a:avLst/>
          </a:prstGeom>
          <a:noFill/>
        </p:spPr>
        <p:txBody>
          <a:bodyPr wrap="none" rtlCol="0">
            <a:spAutoFit/>
          </a:bodyPr>
          <a:lstStyle/>
          <a:p>
            <a:pPr defTabSz="457189">
              <a:defRPr/>
            </a:pPr>
            <a:r>
              <a:rPr lang="en-US" sz="800" b="1" dirty="0">
                <a:solidFill>
                  <a:srgbClr val="282828"/>
                </a:solidFill>
                <a:latin typeface="CiscoSansTT ExtraLight"/>
                <a:cs typeface="CiscoSansTT" panose="020B0503020201020303" pitchFamily="34" charset="0"/>
              </a:rPr>
              <a:t>4G – CRAN</a:t>
            </a:r>
          </a:p>
          <a:p>
            <a:pPr defTabSz="457189">
              <a:defRPr/>
            </a:pPr>
            <a:r>
              <a:rPr lang="en-US" sz="800" b="1" dirty="0">
                <a:solidFill>
                  <a:srgbClr val="282828"/>
                </a:solidFill>
                <a:latin typeface="CiscoSansTT ExtraLight"/>
                <a:cs typeface="CiscoSansTT" panose="020B0503020201020303" pitchFamily="34" charset="0"/>
              </a:rPr>
              <a:t>5G – Split  2</a:t>
            </a:r>
          </a:p>
        </p:txBody>
      </p:sp>
      <p:sp>
        <p:nvSpPr>
          <p:cNvPr id="32" name="TextBox 31">
            <a:extLst>
              <a:ext uri="{FF2B5EF4-FFF2-40B4-BE49-F238E27FC236}">
                <a16:creationId xmlns:a16="http://schemas.microsoft.com/office/drawing/2014/main" id="{7E4B8956-3323-2242-916E-4B1C2D668647}"/>
              </a:ext>
            </a:extLst>
          </p:cNvPr>
          <p:cNvSpPr txBox="1"/>
          <p:nvPr/>
        </p:nvSpPr>
        <p:spPr>
          <a:xfrm flipH="1">
            <a:off x="503816" y="2545397"/>
            <a:ext cx="758541" cy="215444"/>
          </a:xfrm>
          <a:prstGeom prst="rect">
            <a:avLst/>
          </a:prstGeom>
          <a:noFill/>
        </p:spPr>
        <p:txBody>
          <a:bodyPr wrap="none" rtlCol="0">
            <a:spAutoFit/>
          </a:bodyPr>
          <a:lstStyle/>
          <a:p>
            <a:pPr defTabSz="457189">
              <a:defRPr/>
            </a:pPr>
            <a:r>
              <a:rPr lang="en-US" sz="800" b="1" dirty="0">
                <a:solidFill>
                  <a:srgbClr val="282828"/>
                </a:solidFill>
                <a:latin typeface="CiscoSansTT ExtraLight"/>
                <a:cs typeface="CiscoSansTT" panose="020B0503020201020303" pitchFamily="34" charset="0"/>
              </a:rPr>
              <a:t>5G – Split  7</a:t>
            </a:r>
          </a:p>
        </p:txBody>
      </p:sp>
      <p:sp>
        <p:nvSpPr>
          <p:cNvPr id="33" name="Rounded Rectangle 32">
            <a:extLst>
              <a:ext uri="{FF2B5EF4-FFF2-40B4-BE49-F238E27FC236}">
                <a16:creationId xmlns:a16="http://schemas.microsoft.com/office/drawing/2014/main" id="{CFD0B268-0474-B840-BBEB-0AB6D0EF65A5}"/>
              </a:ext>
            </a:extLst>
          </p:cNvPr>
          <p:cNvSpPr/>
          <p:nvPr/>
        </p:nvSpPr>
        <p:spPr>
          <a:xfrm flipH="1">
            <a:off x="4609739" y="3052918"/>
            <a:ext cx="678051" cy="166016"/>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700" b="1" dirty="0">
                <a:solidFill>
                  <a:srgbClr val="FFFFFF"/>
                </a:solidFill>
                <a:latin typeface="CiscoSansTT ExtraLight"/>
                <a:cs typeface="CiscoSansTT" panose="020B0503020201020303" pitchFamily="34" charset="0"/>
              </a:rPr>
              <a:t>CRAN / CU</a:t>
            </a:r>
          </a:p>
        </p:txBody>
      </p:sp>
      <p:cxnSp>
        <p:nvCxnSpPr>
          <p:cNvPr id="34" name="Straight Connector 33">
            <a:extLst>
              <a:ext uri="{FF2B5EF4-FFF2-40B4-BE49-F238E27FC236}">
                <a16:creationId xmlns:a16="http://schemas.microsoft.com/office/drawing/2014/main" id="{093734CB-8279-DA4E-9293-D5614C62783C}"/>
              </a:ext>
            </a:extLst>
          </p:cNvPr>
          <p:cNvCxnSpPr>
            <a:cxnSpLocks/>
            <a:stCxn id="22" idx="3"/>
            <a:endCxn id="33" idx="0"/>
          </p:cNvCxnSpPr>
          <p:nvPr/>
        </p:nvCxnSpPr>
        <p:spPr>
          <a:xfrm>
            <a:off x="4948765" y="2318789"/>
            <a:ext cx="0" cy="734129"/>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3B13231-3C0A-9C47-A6EB-DFB9C80AB4D0}"/>
              </a:ext>
            </a:extLst>
          </p:cNvPr>
          <p:cNvSpPr txBox="1"/>
          <p:nvPr/>
        </p:nvSpPr>
        <p:spPr>
          <a:xfrm flipH="1">
            <a:off x="2947087" y="1716412"/>
            <a:ext cx="598241" cy="215444"/>
          </a:xfrm>
          <a:prstGeom prst="rect">
            <a:avLst/>
          </a:prstGeom>
          <a:noFill/>
        </p:spPr>
        <p:txBody>
          <a:bodyPr wrap="none" rtlCol="0">
            <a:spAutoFit/>
          </a:bodyPr>
          <a:lstStyle/>
          <a:p>
            <a:pPr defTabSz="457189">
              <a:defRPr/>
            </a:pPr>
            <a:r>
              <a:rPr lang="en-US" sz="800" b="1" dirty="0">
                <a:solidFill>
                  <a:srgbClr val="00BCEB">
                    <a:lumMod val="75000"/>
                  </a:srgbClr>
                </a:solidFill>
                <a:latin typeface="CiscoSansTT ExtraLight"/>
                <a:cs typeface="CiscoSansTT" panose="020B0503020201020303" pitchFamily="34" charset="0"/>
              </a:rPr>
              <a:t>Backhaul</a:t>
            </a:r>
          </a:p>
        </p:txBody>
      </p:sp>
      <p:sp>
        <p:nvSpPr>
          <p:cNvPr id="36" name="TextBox 35">
            <a:extLst>
              <a:ext uri="{FF2B5EF4-FFF2-40B4-BE49-F238E27FC236}">
                <a16:creationId xmlns:a16="http://schemas.microsoft.com/office/drawing/2014/main" id="{B04269D0-49CD-CB4F-AE2A-43E48A6FCA45}"/>
              </a:ext>
            </a:extLst>
          </p:cNvPr>
          <p:cNvSpPr txBox="1"/>
          <p:nvPr/>
        </p:nvSpPr>
        <p:spPr>
          <a:xfrm flipH="1">
            <a:off x="5333509" y="1925216"/>
            <a:ext cx="598241" cy="215444"/>
          </a:xfrm>
          <a:prstGeom prst="rect">
            <a:avLst/>
          </a:prstGeom>
          <a:noFill/>
        </p:spPr>
        <p:txBody>
          <a:bodyPr wrap="none" rtlCol="0">
            <a:spAutoFit/>
          </a:bodyPr>
          <a:lstStyle/>
          <a:p>
            <a:pPr defTabSz="457189">
              <a:defRPr/>
            </a:pPr>
            <a:r>
              <a:rPr lang="en-US" sz="800" b="1" dirty="0">
                <a:solidFill>
                  <a:srgbClr val="00BCEB">
                    <a:lumMod val="75000"/>
                  </a:srgbClr>
                </a:solidFill>
                <a:latin typeface="CiscoSansTT ExtraLight"/>
                <a:cs typeface="CiscoSansTT" panose="020B0503020201020303" pitchFamily="34" charset="0"/>
              </a:rPr>
              <a:t>Backhaul</a:t>
            </a:r>
          </a:p>
        </p:txBody>
      </p:sp>
      <p:sp>
        <p:nvSpPr>
          <p:cNvPr id="37" name="TextBox 36">
            <a:extLst>
              <a:ext uri="{FF2B5EF4-FFF2-40B4-BE49-F238E27FC236}">
                <a16:creationId xmlns:a16="http://schemas.microsoft.com/office/drawing/2014/main" id="{90BCA7CB-791D-E64F-933B-6A7E85BBE13B}"/>
              </a:ext>
            </a:extLst>
          </p:cNvPr>
          <p:cNvSpPr txBox="1"/>
          <p:nvPr/>
        </p:nvSpPr>
        <p:spPr>
          <a:xfrm flipH="1">
            <a:off x="2977522" y="2181611"/>
            <a:ext cx="538930" cy="215444"/>
          </a:xfrm>
          <a:prstGeom prst="rect">
            <a:avLst/>
          </a:prstGeom>
          <a:noFill/>
        </p:spPr>
        <p:txBody>
          <a:bodyPr wrap="none" rtlCol="0">
            <a:spAutoFit/>
          </a:bodyPr>
          <a:lstStyle/>
          <a:p>
            <a:pPr defTabSz="457189">
              <a:defRPr/>
            </a:pPr>
            <a:r>
              <a:rPr lang="en-US" sz="800" b="1" dirty="0" err="1">
                <a:solidFill>
                  <a:srgbClr val="6EBE4A">
                    <a:lumMod val="50000"/>
                  </a:srgbClr>
                </a:solidFill>
                <a:latin typeface="CiscoSansTT ExtraLight"/>
                <a:cs typeface="CiscoSansTT" panose="020B0503020201020303" pitchFamily="34" charset="0"/>
              </a:rPr>
              <a:t>Midhaul</a:t>
            </a:r>
            <a:endParaRPr lang="en-US" sz="800" b="1" dirty="0">
              <a:solidFill>
                <a:srgbClr val="6EBE4A">
                  <a:lumMod val="50000"/>
                </a:srgbClr>
              </a:solidFill>
              <a:latin typeface="CiscoSansTT ExtraLight"/>
              <a:cs typeface="CiscoSansTT" panose="020B0503020201020303" pitchFamily="34" charset="0"/>
            </a:endParaRPr>
          </a:p>
        </p:txBody>
      </p:sp>
      <p:sp>
        <p:nvSpPr>
          <p:cNvPr id="38" name="TextBox 37">
            <a:extLst>
              <a:ext uri="{FF2B5EF4-FFF2-40B4-BE49-F238E27FC236}">
                <a16:creationId xmlns:a16="http://schemas.microsoft.com/office/drawing/2014/main" id="{54BA16DD-68F4-0C47-8ED8-11F1A910F903}"/>
              </a:ext>
            </a:extLst>
          </p:cNvPr>
          <p:cNvSpPr txBox="1"/>
          <p:nvPr/>
        </p:nvSpPr>
        <p:spPr>
          <a:xfrm flipH="1">
            <a:off x="1960529" y="2613022"/>
            <a:ext cx="609462" cy="215444"/>
          </a:xfrm>
          <a:prstGeom prst="rect">
            <a:avLst/>
          </a:prstGeom>
          <a:noFill/>
        </p:spPr>
        <p:txBody>
          <a:bodyPr wrap="none" rtlCol="0">
            <a:spAutoFit/>
          </a:bodyPr>
          <a:lstStyle/>
          <a:p>
            <a:pPr defTabSz="457189">
              <a:defRPr/>
            </a:pPr>
            <a:r>
              <a:rPr lang="en-US" sz="800" b="1" dirty="0">
                <a:solidFill>
                  <a:srgbClr val="FBAB18"/>
                </a:solidFill>
                <a:latin typeface="CiscoSansTT ExtraLight"/>
                <a:cs typeface="CiscoSansTT" panose="020B0503020201020303" pitchFamily="34" charset="0"/>
              </a:rPr>
              <a:t>Fronthaul</a:t>
            </a:r>
          </a:p>
        </p:txBody>
      </p:sp>
      <p:sp>
        <p:nvSpPr>
          <p:cNvPr id="39" name="TextBox 38">
            <a:extLst>
              <a:ext uri="{FF2B5EF4-FFF2-40B4-BE49-F238E27FC236}">
                <a16:creationId xmlns:a16="http://schemas.microsoft.com/office/drawing/2014/main" id="{53AC9B27-9F20-114D-8E92-8A8B1A805A54}"/>
              </a:ext>
            </a:extLst>
          </p:cNvPr>
          <p:cNvSpPr txBox="1"/>
          <p:nvPr/>
        </p:nvSpPr>
        <p:spPr>
          <a:xfrm flipH="1">
            <a:off x="2987286" y="2607967"/>
            <a:ext cx="538930" cy="215444"/>
          </a:xfrm>
          <a:prstGeom prst="rect">
            <a:avLst/>
          </a:prstGeom>
          <a:noFill/>
        </p:spPr>
        <p:txBody>
          <a:bodyPr wrap="none" rtlCol="0">
            <a:spAutoFit/>
          </a:bodyPr>
          <a:lstStyle/>
          <a:p>
            <a:pPr defTabSz="457189">
              <a:defRPr/>
            </a:pPr>
            <a:r>
              <a:rPr lang="en-US" sz="800" b="1" dirty="0" err="1">
                <a:solidFill>
                  <a:srgbClr val="6EBE4A">
                    <a:lumMod val="50000"/>
                  </a:srgbClr>
                </a:solidFill>
                <a:latin typeface="CiscoSansTT ExtraLight"/>
                <a:cs typeface="CiscoSansTT" panose="020B0503020201020303" pitchFamily="34" charset="0"/>
              </a:rPr>
              <a:t>Midhaul</a:t>
            </a:r>
            <a:endParaRPr lang="en-US" sz="800" b="1" dirty="0">
              <a:solidFill>
                <a:srgbClr val="6EBE4A">
                  <a:lumMod val="50000"/>
                </a:srgbClr>
              </a:solidFill>
              <a:latin typeface="CiscoSansTT ExtraLight"/>
              <a:cs typeface="CiscoSansTT" panose="020B0503020201020303" pitchFamily="34" charset="0"/>
            </a:endParaRPr>
          </a:p>
        </p:txBody>
      </p:sp>
      <p:sp>
        <p:nvSpPr>
          <p:cNvPr id="40" name="TextBox 39">
            <a:extLst>
              <a:ext uri="{FF2B5EF4-FFF2-40B4-BE49-F238E27FC236}">
                <a16:creationId xmlns:a16="http://schemas.microsoft.com/office/drawing/2014/main" id="{FCE28598-C9BB-E14F-90CB-A946B355A563}"/>
              </a:ext>
            </a:extLst>
          </p:cNvPr>
          <p:cNvSpPr txBox="1"/>
          <p:nvPr/>
        </p:nvSpPr>
        <p:spPr>
          <a:xfrm flipH="1">
            <a:off x="2567239" y="2364976"/>
            <a:ext cx="559769" cy="215444"/>
          </a:xfrm>
          <a:prstGeom prst="rect">
            <a:avLst/>
          </a:prstGeom>
          <a:noFill/>
        </p:spPr>
        <p:txBody>
          <a:bodyPr wrap="none" rtlCol="0">
            <a:spAutoFit/>
          </a:bodyPr>
          <a:lstStyle/>
          <a:p>
            <a:pPr defTabSz="457189">
              <a:defRPr/>
            </a:pPr>
            <a:r>
              <a:rPr lang="en-US" sz="800" b="1" dirty="0">
                <a:solidFill>
                  <a:srgbClr val="282828"/>
                </a:solidFill>
                <a:latin typeface="CiscoSansTT ExtraLight"/>
                <a:cs typeface="CiscoSansTT" panose="020B0503020201020303" pitchFamily="34" charset="0"/>
              </a:rPr>
              <a:t>FH AGG</a:t>
            </a:r>
          </a:p>
        </p:txBody>
      </p:sp>
      <p:cxnSp>
        <p:nvCxnSpPr>
          <p:cNvPr id="41" name="Straight Connector 40">
            <a:extLst>
              <a:ext uri="{FF2B5EF4-FFF2-40B4-BE49-F238E27FC236}">
                <a16:creationId xmlns:a16="http://schemas.microsoft.com/office/drawing/2014/main" id="{A1BEA38A-A775-F545-91EF-00E5F10BA972}"/>
              </a:ext>
            </a:extLst>
          </p:cNvPr>
          <p:cNvCxnSpPr>
            <a:cxnSpLocks/>
            <a:stCxn id="23" idx="3"/>
            <a:endCxn id="58" idx="0"/>
          </p:cNvCxnSpPr>
          <p:nvPr/>
        </p:nvCxnSpPr>
        <p:spPr>
          <a:xfrm flipH="1">
            <a:off x="6267962" y="2318787"/>
            <a:ext cx="5007" cy="734130"/>
          </a:xfrm>
          <a:prstGeom prst="line">
            <a:avLst/>
          </a:prstGeom>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FFB2562A-9A9C-9349-A2B7-7B704EE6BD1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8107031" y="1656255"/>
            <a:ext cx="428784" cy="416057"/>
          </a:xfrm>
          <a:prstGeom prst="rect">
            <a:avLst/>
          </a:prstGeom>
        </p:spPr>
      </p:pic>
      <p:sp>
        <p:nvSpPr>
          <p:cNvPr id="43" name="Freeform 11">
            <a:extLst>
              <a:ext uri="{FF2B5EF4-FFF2-40B4-BE49-F238E27FC236}">
                <a16:creationId xmlns:a16="http://schemas.microsoft.com/office/drawing/2014/main" id="{BF0BCD14-E841-8D40-AE2B-EADAC615A4A4}"/>
              </a:ext>
            </a:extLst>
          </p:cNvPr>
          <p:cNvSpPr>
            <a:spLocks noEditPoints="1"/>
          </p:cNvSpPr>
          <p:nvPr/>
        </p:nvSpPr>
        <p:spPr bwMode="auto">
          <a:xfrm flipH="1">
            <a:off x="8114867" y="2332251"/>
            <a:ext cx="431137" cy="398694"/>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tx2"/>
          </a:solidFill>
          <a:ln w="25400" cap="flat" cmpd="sng" algn="ctr">
            <a:noFill/>
            <a:prstDash val="solid"/>
          </a:ln>
          <a:effectLst/>
        </p:spPr>
        <p:txBody>
          <a:bodyPr anchor="b"/>
          <a:lstStyle/>
          <a:p>
            <a:pPr algn="ctr" defTabSz="685783">
              <a:defRPr/>
            </a:pPr>
            <a:endParaRPr lang="en-US" sz="900" kern="0">
              <a:solidFill>
                <a:srgbClr val="0096D6"/>
              </a:solidFill>
              <a:latin typeface="CiscoSansTT ExtraLight"/>
              <a:cs typeface=""/>
            </a:endParaRPr>
          </a:p>
        </p:txBody>
      </p:sp>
      <p:cxnSp>
        <p:nvCxnSpPr>
          <p:cNvPr id="44" name="Straight Arrow Connector 43">
            <a:extLst>
              <a:ext uri="{FF2B5EF4-FFF2-40B4-BE49-F238E27FC236}">
                <a16:creationId xmlns:a16="http://schemas.microsoft.com/office/drawing/2014/main" id="{D2D7FDE2-DE7D-6F47-B07B-336B02DEE2F5}"/>
              </a:ext>
            </a:extLst>
          </p:cNvPr>
          <p:cNvCxnSpPr>
            <a:cxnSpLocks/>
            <a:stCxn id="42" idx="2"/>
            <a:endCxn id="29" idx="1"/>
          </p:cNvCxnSpPr>
          <p:nvPr/>
        </p:nvCxnSpPr>
        <p:spPr>
          <a:xfrm flipH="1">
            <a:off x="8045659" y="2072312"/>
            <a:ext cx="275764" cy="14994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755A7A8-C2AF-A24C-A38C-D98A1495290D}"/>
              </a:ext>
            </a:extLst>
          </p:cNvPr>
          <p:cNvCxnSpPr>
            <a:cxnSpLocks/>
            <a:endCxn id="29" idx="1"/>
          </p:cNvCxnSpPr>
          <p:nvPr/>
        </p:nvCxnSpPr>
        <p:spPr>
          <a:xfrm flipH="1" flipV="1">
            <a:off x="8045659" y="2222261"/>
            <a:ext cx="284781" cy="7263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A4D53CA7-CD39-9344-B660-52CC542A790E}"/>
              </a:ext>
            </a:extLst>
          </p:cNvPr>
          <p:cNvSpPr txBox="1"/>
          <p:nvPr/>
        </p:nvSpPr>
        <p:spPr>
          <a:xfrm flipH="1">
            <a:off x="3786846" y="1934185"/>
            <a:ext cx="598241" cy="215444"/>
          </a:xfrm>
          <a:prstGeom prst="rect">
            <a:avLst/>
          </a:prstGeom>
          <a:noFill/>
        </p:spPr>
        <p:txBody>
          <a:bodyPr wrap="none" rtlCol="0">
            <a:spAutoFit/>
          </a:bodyPr>
          <a:lstStyle/>
          <a:p>
            <a:pPr defTabSz="457189">
              <a:defRPr/>
            </a:pPr>
            <a:r>
              <a:rPr lang="en-US" sz="800" b="1" dirty="0">
                <a:solidFill>
                  <a:srgbClr val="00BCEB">
                    <a:lumMod val="75000"/>
                  </a:srgbClr>
                </a:solidFill>
                <a:latin typeface="CiscoSansTT ExtraLight"/>
                <a:cs typeface="CiscoSansTT" panose="020B0503020201020303" pitchFamily="34" charset="0"/>
              </a:rPr>
              <a:t>Backhaul</a:t>
            </a:r>
          </a:p>
        </p:txBody>
      </p:sp>
      <p:sp>
        <p:nvSpPr>
          <p:cNvPr id="47" name="TextBox 46">
            <a:extLst>
              <a:ext uri="{FF2B5EF4-FFF2-40B4-BE49-F238E27FC236}">
                <a16:creationId xmlns:a16="http://schemas.microsoft.com/office/drawing/2014/main" id="{E38BF77F-4B68-1E4F-A4AE-E3B6D23016BF}"/>
              </a:ext>
            </a:extLst>
          </p:cNvPr>
          <p:cNvSpPr txBox="1"/>
          <p:nvPr/>
        </p:nvSpPr>
        <p:spPr>
          <a:xfrm flipH="1">
            <a:off x="3806889" y="2245501"/>
            <a:ext cx="538930" cy="215444"/>
          </a:xfrm>
          <a:prstGeom prst="rect">
            <a:avLst/>
          </a:prstGeom>
          <a:noFill/>
        </p:spPr>
        <p:txBody>
          <a:bodyPr wrap="none" rtlCol="0">
            <a:spAutoFit/>
          </a:bodyPr>
          <a:lstStyle/>
          <a:p>
            <a:pPr defTabSz="457189">
              <a:defRPr/>
            </a:pPr>
            <a:r>
              <a:rPr lang="en-US" sz="800" b="1" dirty="0" err="1">
                <a:solidFill>
                  <a:srgbClr val="6EBE4A">
                    <a:lumMod val="50000"/>
                  </a:srgbClr>
                </a:solidFill>
                <a:latin typeface="CiscoSansTT ExtraLight"/>
                <a:cs typeface="CiscoSansTT" panose="020B0503020201020303" pitchFamily="34" charset="0"/>
              </a:rPr>
              <a:t>Midhaul</a:t>
            </a:r>
            <a:endParaRPr lang="en-US" sz="800" b="1" dirty="0">
              <a:solidFill>
                <a:srgbClr val="6EBE4A">
                  <a:lumMod val="50000"/>
                </a:srgbClr>
              </a:solidFill>
              <a:latin typeface="CiscoSansTT ExtraLight"/>
              <a:cs typeface="CiscoSansTT" panose="020B0503020201020303" pitchFamily="34" charset="0"/>
            </a:endParaRPr>
          </a:p>
        </p:txBody>
      </p:sp>
      <p:sp>
        <p:nvSpPr>
          <p:cNvPr id="48" name="TextBox 47">
            <a:extLst>
              <a:ext uri="{FF2B5EF4-FFF2-40B4-BE49-F238E27FC236}">
                <a16:creationId xmlns:a16="http://schemas.microsoft.com/office/drawing/2014/main" id="{D1599620-B6AD-4A44-87B2-6DBA73D84891}"/>
              </a:ext>
            </a:extLst>
          </p:cNvPr>
          <p:cNvSpPr txBox="1"/>
          <p:nvPr/>
        </p:nvSpPr>
        <p:spPr>
          <a:xfrm flipH="1">
            <a:off x="7954864" y="1297778"/>
            <a:ext cx="733118" cy="369332"/>
          </a:xfrm>
          <a:prstGeom prst="rect">
            <a:avLst/>
          </a:prstGeom>
          <a:noFill/>
        </p:spPr>
        <p:txBody>
          <a:bodyPr wrap="square" rtlCol="0">
            <a:spAutoFit/>
          </a:bodyPr>
          <a:lstStyle/>
          <a:p>
            <a:pPr algn="ctr" defTabSz="457189">
              <a:defRPr/>
            </a:pPr>
            <a:r>
              <a:rPr lang="en-US" sz="900" b="1" dirty="0">
                <a:solidFill>
                  <a:srgbClr val="282828"/>
                </a:solidFill>
                <a:latin typeface="CiscoSansTT ExtraLight"/>
                <a:cs typeface="CiscoSansTT" panose="020B0503020201020303" pitchFamily="34" charset="0"/>
              </a:rPr>
              <a:t>Central DC</a:t>
            </a:r>
          </a:p>
        </p:txBody>
      </p:sp>
      <p:sp>
        <p:nvSpPr>
          <p:cNvPr id="49" name="TextBox 48">
            <a:extLst>
              <a:ext uri="{FF2B5EF4-FFF2-40B4-BE49-F238E27FC236}">
                <a16:creationId xmlns:a16="http://schemas.microsoft.com/office/drawing/2014/main" id="{76795DAE-9C0C-984F-BD6B-046C3E047253}"/>
              </a:ext>
            </a:extLst>
          </p:cNvPr>
          <p:cNvSpPr txBox="1"/>
          <p:nvPr/>
        </p:nvSpPr>
        <p:spPr>
          <a:xfrm flipH="1">
            <a:off x="8055961" y="2720887"/>
            <a:ext cx="580608" cy="230832"/>
          </a:xfrm>
          <a:prstGeom prst="rect">
            <a:avLst/>
          </a:prstGeom>
          <a:noFill/>
        </p:spPr>
        <p:txBody>
          <a:bodyPr wrap="none" rtlCol="0">
            <a:spAutoFit/>
          </a:bodyPr>
          <a:lstStyle/>
          <a:p>
            <a:pPr defTabSz="457189">
              <a:defRPr/>
            </a:pPr>
            <a:r>
              <a:rPr lang="en-US" sz="900" b="1" dirty="0">
                <a:solidFill>
                  <a:srgbClr val="282828"/>
                </a:solidFill>
                <a:latin typeface="CiscoSansTT ExtraLight"/>
                <a:cs typeface="CiscoSansTT" panose="020B0503020201020303" pitchFamily="34" charset="0"/>
              </a:rPr>
              <a:t>Internet</a:t>
            </a:r>
          </a:p>
        </p:txBody>
      </p:sp>
      <p:sp>
        <p:nvSpPr>
          <p:cNvPr id="50" name="Can 49">
            <a:extLst>
              <a:ext uri="{FF2B5EF4-FFF2-40B4-BE49-F238E27FC236}">
                <a16:creationId xmlns:a16="http://schemas.microsoft.com/office/drawing/2014/main" id="{720AA1AE-45C2-0E42-AEB6-7302C7867D57}"/>
              </a:ext>
            </a:extLst>
          </p:cNvPr>
          <p:cNvSpPr/>
          <p:nvPr/>
        </p:nvSpPr>
        <p:spPr>
          <a:xfrm>
            <a:off x="4728100" y="2396536"/>
            <a:ext cx="441769" cy="139176"/>
          </a:xfrm>
          <a:prstGeom prst="ca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700" b="1" dirty="0">
                <a:solidFill>
                  <a:srgbClr val="FFFFFF"/>
                </a:solidFill>
                <a:latin typeface="CiscoSansTT ExtraLight"/>
                <a:cs typeface="CiscoSansTT" panose="020B0503020201020303" pitchFamily="34" charset="0"/>
              </a:rPr>
              <a:t>TOR</a:t>
            </a:r>
          </a:p>
        </p:txBody>
      </p:sp>
      <p:sp>
        <p:nvSpPr>
          <p:cNvPr id="51" name="Can 50">
            <a:extLst>
              <a:ext uri="{FF2B5EF4-FFF2-40B4-BE49-F238E27FC236}">
                <a16:creationId xmlns:a16="http://schemas.microsoft.com/office/drawing/2014/main" id="{7110CEA5-A5D2-E143-8D24-10D9B7DBFEAD}"/>
              </a:ext>
            </a:extLst>
          </p:cNvPr>
          <p:cNvSpPr/>
          <p:nvPr/>
        </p:nvSpPr>
        <p:spPr>
          <a:xfrm>
            <a:off x="6052091" y="2395994"/>
            <a:ext cx="441769" cy="139176"/>
          </a:xfrm>
          <a:prstGeom prst="ca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700" b="1" dirty="0">
                <a:solidFill>
                  <a:srgbClr val="FFFFFF"/>
                </a:solidFill>
                <a:latin typeface="CiscoSansTT ExtraLight"/>
                <a:cs typeface="CiscoSansTT" panose="020B0503020201020303" pitchFamily="34" charset="0"/>
              </a:rPr>
              <a:t>TOR</a:t>
            </a:r>
          </a:p>
        </p:txBody>
      </p:sp>
      <p:pic>
        <p:nvPicPr>
          <p:cNvPr id="52" name="Picture 2" descr="C:\Users\akerr\Desktop\PNG\Router.png">
            <a:extLst>
              <a:ext uri="{FF2B5EF4-FFF2-40B4-BE49-F238E27FC236}">
                <a16:creationId xmlns:a16="http://schemas.microsoft.com/office/drawing/2014/main" id="{CA80D7E1-EBEE-A84A-A0DF-43F3B6CAE20B}"/>
              </a:ext>
            </a:extLst>
          </p:cNvPr>
          <p:cNvPicPr>
            <a:picLocks noChangeAspect="1" noChangeArrowheads="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2653164" y="1653191"/>
            <a:ext cx="316979" cy="246888"/>
          </a:xfrm>
          <a:prstGeom prst="rect">
            <a:avLst/>
          </a:prstGeom>
          <a:noFill/>
        </p:spPr>
      </p:pic>
      <p:pic>
        <p:nvPicPr>
          <p:cNvPr id="53" name="Picture 2" descr="C:\Users\akerr\Desktop\PNG\Router.png">
            <a:extLst>
              <a:ext uri="{FF2B5EF4-FFF2-40B4-BE49-F238E27FC236}">
                <a16:creationId xmlns:a16="http://schemas.microsoft.com/office/drawing/2014/main" id="{CA80D7E1-EBEE-A84A-A0DF-43F3B6CAE20B}"/>
              </a:ext>
            </a:extLst>
          </p:cNvPr>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2010755" y="2096348"/>
            <a:ext cx="316979" cy="246888"/>
          </a:xfrm>
          <a:prstGeom prst="rect">
            <a:avLst/>
          </a:prstGeom>
          <a:noFill/>
        </p:spPr>
      </p:pic>
      <p:pic>
        <p:nvPicPr>
          <p:cNvPr id="54" name="Picture 2" descr="C:\Users\akerr\Desktop\PNG\Router.png">
            <a:extLst>
              <a:ext uri="{FF2B5EF4-FFF2-40B4-BE49-F238E27FC236}">
                <a16:creationId xmlns:a16="http://schemas.microsoft.com/office/drawing/2014/main" id="{CA80D7E1-EBEE-A84A-A0DF-43F3B6CAE20B}"/>
              </a:ext>
            </a:extLst>
          </p:cNvPr>
          <p:cNvPicPr>
            <a:picLocks noChangeAspect="1" noChangeArrowheads="1"/>
          </p:cNvPicPr>
          <p:nvPr/>
        </p:nvPicPr>
        <p:blipFill>
          <a:blip r:embed="rId4"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1571155" y="2552418"/>
            <a:ext cx="316979" cy="246888"/>
          </a:xfrm>
          <a:prstGeom prst="ellipse">
            <a:avLst/>
          </a:prstGeom>
          <a:ln>
            <a:noFill/>
          </a:ln>
          <a:effectLst/>
        </p:spPr>
      </p:pic>
      <p:pic>
        <p:nvPicPr>
          <p:cNvPr id="55" name="Picture 54">
            <a:extLst>
              <a:ext uri="{FF2B5EF4-FFF2-40B4-BE49-F238E27FC236}">
                <a16:creationId xmlns:a16="http://schemas.microsoft.com/office/drawing/2014/main" id="{FFB2562A-9A9C-9349-A2B7-7B704EE6BD1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H="1">
            <a:off x="6092083" y="2617657"/>
            <a:ext cx="355700" cy="345143"/>
          </a:xfrm>
          <a:prstGeom prst="rect">
            <a:avLst/>
          </a:prstGeom>
        </p:spPr>
      </p:pic>
      <p:pic>
        <p:nvPicPr>
          <p:cNvPr id="56" name="Picture 55">
            <a:extLst>
              <a:ext uri="{FF2B5EF4-FFF2-40B4-BE49-F238E27FC236}">
                <a16:creationId xmlns:a16="http://schemas.microsoft.com/office/drawing/2014/main" id="{FFB2562A-9A9C-9349-A2B7-7B704EE6BD1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4818366" y="2659798"/>
            <a:ext cx="278376" cy="270114"/>
          </a:xfrm>
          <a:prstGeom prst="rect">
            <a:avLst/>
          </a:prstGeom>
        </p:spPr>
      </p:pic>
      <p:pic>
        <p:nvPicPr>
          <p:cNvPr id="57" name="Picture 56">
            <a:extLst>
              <a:ext uri="{FF2B5EF4-FFF2-40B4-BE49-F238E27FC236}">
                <a16:creationId xmlns:a16="http://schemas.microsoft.com/office/drawing/2014/main" id="{FFB2562A-9A9C-9349-A2B7-7B704EE6BD1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2666769" y="2754694"/>
            <a:ext cx="278376" cy="270114"/>
          </a:xfrm>
          <a:prstGeom prst="rect">
            <a:avLst/>
          </a:prstGeom>
        </p:spPr>
      </p:pic>
      <p:sp>
        <p:nvSpPr>
          <p:cNvPr id="58" name="Rounded Rectangle 57">
            <a:extLst>
              <a:ext uri="{FF2B5EF4-FFF2-40B4-BE49-F238E27FC236}">
                <a16:creationId xmlns:a16="http://schemas.microsoft.com/office/drawing/2014/main" id="{CFD0B268-0474-B840-BBEB-0AB6D0EF65A5}"/>
              </a:ext>
            </a:extLst>
          </p:cNvPr>
          <p:cNvSpPr/>
          <p:nvPr/>
        </p:nvSpPr>
        <p:spPr>
          <a:xfrm flipH="1">
            <a:off x="5928938" y="3052918"/>
            <a:ext cx="678051" cy="166016"/>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700" b="1" dirty="0">
                <a:solidFill>
                  <a:srgbClr val="FFFFFF"/>
                </a:solidFill>
                <a:latin typeface="CiscoSansTT ExtraLight"/>
                <a:cs typeface="CiscoSansTT" panose="020B0503020201020303" pitchFamily="34" charset="0"/>
              </a:rPr>
              <a:t>MEC</a:t>
            </a:r>
          </a:p>
        </p:txBody>
      </p:sp>
      <p:grpSp>
        <p:nvGrpSpPr>
          <p:cNvPr id="59" name="Group 58"/>
          <p:cNvGrpSpPr/>
          <p:nvPr/>
        </p:nvGrpSpPr>
        <p:grpSpPr>
          <a:xfrm>
            <a:off x="1281356" y="2516697"/>
            <a:ext cx="294862" cy="261493"/>
            <a:chOff x="1106154" y="2388694"/>
            <a:chExt cx="310312" cy="248112"/>
          </a:xfrm>
        </p:grpSpPr>
        <p:sp>
          <p:nvSpPr>
            <p:cNvPr id="66" name="Rounded Rectangle 65">
              <a:extLst>
                <a:ext uri="{FF2B5EF4-FFF2-40B4-BE49-F238E27FC236}">
                  <a16:creationId xmlns:a16="http://schemas.microsoft.com/office/drawing/2014/main" id="{8C9325F1-614F-3745-BEEC-4538DBE41B31}"/>
                </a:ext>
              </a:extLst>
            </p:cNvPr>
            <p:cNvSpPr/>
            <p:nvPr/>
          </p:nvSpPr>
          <p:spPr>
            <a:xfrm flipH="1">
              <a:off x="1106154" y="2388694"/>
              <a:ext cx="310312" cy="248112"/>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700" dirty="0">
                <a:solidFill>
                  <a:srgbClr val="005073"/>
                </a:solidFill>
                <a:latin typeface="CiscoSansTT ExtraLight"/>
              </a:endParaRPr>
            </a:p>
          </p:txBody>
        </p:sp>
        <p:sp>
          <p:nvSpPr>
            <p:cNvPr id="67" name="Freeform 41">
              <a:extLst>
                <a:ext uri="{FF2B5EF4-FFF2-40B4-BE49-F238E27FC236}">
                  <a16:creationId xmlns:a16="http://schemas.microsoft.com/office/drawing/2014/main" id="{D9258A1B-870A-6048-8E0B-8E8A29C230A6}"/>
                </a:ext>
              </a:extLst>
            </p:cNvPr>
            <p:cNvSpPr>
              <a:spLocks noEditPoints="1"/>
            </p:cNvSpPr>
            <p:nvPr/>
          </p:nvSpPr>
          <p:spPr bwMode="auto">
            <a:xfrm flipH="1">
              <a:off x="1173630" y="2450010"/>
              <a:ext cx="175360" cy="125480"/>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sz="500" dirty="0">
                <a:solidFill>
                  <a:srgbClr val="39393B"/>
                </a:solidFill>
                <a:latin typeface="CiscoSansTT ExtraLight"/>
                <a:ea typeface=""/>
                <a:cs typeface=""/>
              </a:endParaRPr>
            </a:p>
          </p:txBody>
        </p:sp>
      </p:grpSp>
      <p:grpSp>
        <p:nvGrpSpPr>
          <p:cNvPr id="60" name="Group 59"/>
          <p:cNvGrpSpPr/>
          <p:nvPr/>
        </p:nvGrpSpPr>
        <p:grpSpPr>
          <a:xfrm>
            <a:off x="2391599" y="1403700"/>
            <a:ext cx="294862" cy="261493"/>
            <a:chOff x="1106154" y="2388694"/>
            <a:chExt cx="310312" cy="248112"/>
          </a:xfrm>
        </p:grpSpPr>
        <p:sp>
          <p:nvSpPr>
            <p:cNvPr id="64" name="Rounded Rectangle 63">
              <a:extLst>
                <a:ext uri="{FF2B5EF4-FFF2-40B4-BE49-F238E27FC236}">
                  <a16:creationId xmlns:a16="http://schemas.microsoft.com/office/drawing/2014/main" id="{8C9325F1-614F-3745-BEEC-4538DBE41B31}"/>
                </a:ext>
              </a:extLst>
            </p:cNvPr>
            <p:cNvSpPr/>
            <p:nvPr/>
          </p:nvSpPr>
          <p:spPr>
            <a:xfrm flipH="1">
              <a:off x="1106154" y="2388694"/>
              <a:ext cx="310312" cy="248112"/>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700" dirty="0">
                <a:solidFill>
                  <a:srgbClr val="005073"/>
                </a:solidFill>
                <a:latin typeface="CiscoSansTT ExtraLight"/>
              </a:endParaRPr>
            </a:p>
          </p:txBody>
        </p:sp>
        <p:sp>
          <p:nvSpPr>
            <p:cNvPr id="65" name="Freeform 41">
              <a:extLst>
                <a:ext uri="{FF2B5EF4-FFF2-40B4-BE49-F238E27FC236}">
                  <a16:creationId xmlns:a16="http://schemas.microsoft.com/office/drawing/2014/main" id="{D9258A1B-870A-6048-8E0B-8E8A29C230A6}"/>
                </a:ext>
              </a:extLst>
            </p:cNvPr>
            <p:cNvSpPr>
              <a:spLocks noEditPoints="1"/>
            </p:cNvSpPr>
            <p:nvPr/>
          </p:nvSpPr>
          <p:spPr bwMode="auto">
            <a:xfrm flipH="1">
              <a:off x="1173630" y="2450010"/>
              <a:ext cx="175360" cy="125480"/>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sz="500" dirty="0">
                <a:solidFill>
                  <a:srgbClr val="39393B"/>
                </a:solidFill>
                <a:latin typeface="CiscoSansTT ExtraLight"/>
                <a:ea typeface=""/>
                <a:cs typeface=""/>
              </a:endParaRPr>
            </a:p>
          </p:txBody>
        </p:sp>
      </p:grpSp>
      <p:grpSp>
        <p:nvGrpSpPr>
          <p:cNvPr id="61" name="Group 60"/>
          <p:cNvGrpSpPr/>
          <p:nvPr/>
        </p:nvGrpSpPr>
        <p:grpSpPr>
          <a:xfrm>
            <a:off x="1761525" y="1851425"/>
            <a:ext cx="294862" cy="261493"/>
            <a:chOff x="1106154" y="2388694"/>
            <a:chExt cx="310312" cy="248112"/>
          </a:xfrm>
        </p:grpSpPr>
        <p:sp>
          <p:nvSpPr>
            <p:cNvPr id="62" name="Rounded Rectangle 61">
              <a:extLst>
                <a:ext uri="{FF2B5EF4-FFF2-40B4-BE49-F238E27FC236}">
                  <a16:creationId xmlns:a16="http://schemas.microsoft.com/office/drawing/2014/main" id="{8C9325F1-614F-3745-BEEC-4538DBE41B31}"/>
                </a:ext>
              </a:extLst>
            </p:cNvPr>
            <p:cNvSpPr/>
            <p:nvPr/>
          </p:nvSpPr>
          <p:spPr>
            <a:xfrm flipH="1">
              <a:off x="1106154" y="2388694"/>
              <a:ext cx="310312" cy="248112"/>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700" dirty="0">
                <a:solidFill>
                  <a:srgbClr val="005073"/>
                </a:solidFill>
                <a:latin typeface="CiscoSansTT ExtraLight"/>
              </a:endParaRPr>
            </a:p>
          </p:txBody>
        </p:sp>
        <p:sp>
          <p:nvSpPr>
            <p:cNvPr id="63" name="Freeform 41">
              <a:extLst>
                <a:ext uri="{FF2B5EF4-FFF2-40B4-BE49-F238E27FC236}">
                  <a16:creationId xmlns:a16="http://schemas.microsoft.com/office/drawing/2014/main" id="{D9258A1B-870A-6048-8E0B-8E8A29C230A6}"/>
                </a:ext>
              </a:extLst>
            </p:cNvPr>
            <p:cNvSpPr>
              <a:spLocks noEditPoints="1"/>
            </p:cNvSpPr>
            <p:nvPr/>
          </p:nvSpPr>
          <p:spPr bwMode="auto">
            <a:xfrm flipH="1">
              <a:off x="1173630" y="2450010"/>
              <a:ext cx="175360" cy="125480"/>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sz="500" dirty="0">
                <a:solidFill>
                  <a:srgbClr val="39393B"/>
                </a:solidFill>
                <a:latin typeface="CiscoSansTT ExtraLight"/>
                <a:ea typeface=""/>
                <a:cs typeface=""/>
              </a:endParaRPr>
            </a:p>
          </p:txBody>
        </p:sp>
      </p:grpSp>
      <p:sp>
        <p:nvSpPr>
          <p:cNvPr id="68" name="Rounded Rectangle 67"/>
          <p:cNvSpPr/>
          <p:nvPr/>
        </p:nvSpPr>
        <p:spPr>
          <a:xfrm>
            <a:off x="4283640" y="1169080"/>
            <a:ext cx="1097280" cy="144518"/>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rgbClr val="FFFFFF"/>
                </a:solidFill>
                <a:latin typeface="CiscoSansTT ExtraLight"/>
              </a:rPr>
              <a:t>WAE</a:t>
            </a:r>
          </a:p>
        </p:txBody>
      </p:sp>
      <p:sp>
        <p:nvSpPr>
          <p:cNvPr id="69" name="Rounded Rectangle 68"/>
          <p:cNvSpPr/>
          <p:nvPr/>
        </p:nvSpPr>
        <p:spPr>
          <a:xfrm>
            <a:off x="5531989" y="1169080"/>
            <a:ext cx="1097280" cy="144518"/>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rgbClr val="FFFFFF"/>
                </a:solidFill>
                <a:latin typeface="CiscoSansTT ExtraLight"/>
              </a:rPr>
              <a:t>PCE</a:t>
            </a:r>
          </a:p>
        </p:txBody>
      </p:sp>
      <p:sp>
        <p:nvSpPr>
          <p:cNvPr id="70" name="Rounded Rectangle 69"/>
          <p:cNvSpPr/>
          <p:nvPr/>
        </p:nvSpPr>
        <p:spPr>
          <a:xfrm>
            <a:off x="3081011" y="1169080"/>
            <a:ext cx="1097280" cy="144518"/>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rgbClr val="FFFFFF"/>
                </a:solidFill>
                <a:latin typeface="CiscoSansTT ExtraLight"/>
              </a:rPr>
              <a:t>NSO</a:t>
            </a:r>
          </a:p>
        </p:txBody>
      </p:sp>
      <p:sp>
        <p:nvSpPr>
          <p:cNvPr id="71" name="Rounded Rectangle 70"/>
          <p:cNvSpPr/>
          <p:nvPr/>
        </p:nvSpPr>
        <p:spPr>
          <a:xfrm>
            <a:off x="6734619" y="1169080"/>
            <a:ext cx="1097280" cy="144518"/>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rgbClr val="FFFFFF"/>
                </a:solidFill>
                <a:latin typeface="CiscoSansTT ExtraLight"/>
              </a:rPr>
              <a:t>CROSSWORK</a:t>
            </a:r>
          </a:p>
        </p:txBody>
      </p:sp>
      <p:sp>
        <p:nvSpPr>
          <p:cNvPr id="72" name="Rounded Rectangle 71"/>
          <p:cNvSpPr/>
          <p:nvPr/>
        </p:nvSpPr>
        <p:spPr>
          <a:xfrm>
            <a:off x="441116" y="3327616"/>
            <a:ext cx="8263917" cy="26664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5641" indent="-171446" defTabSz="457189">
              <a:buFont typeface="Arial" panose="020B0604020202020204" pitchFamily="34" charset="0"/>
              <a:buChar char="•"/>
              <a:defRPr/>
            </a:pPr>
            <a:r>
              <a:rPr lang="en-US" sz="1200" dirty="0">
                <a:solidFill>
                  <a:srgbClr val="FFFFFF"/>
                </a:solidFill>
                <a:latin typeface="CiscoSansTT ExtraLight"/>
              </a:rPr>
              <a:t>End-to-end mass scale routing portfolio to handle massive 5G bandwidth needs</a:t>
            </a:r>
          </a:p>
        </p:txBody>
      </p:sp>
      <p:sp>
        <p:nvSpPr>
          <p:cNvPr id="73" name="Rounded Rectangle 72"/>
          <p:cNvSpPr/>
          <p:nvPr/>
        </p:nvSpPr>
        <p:spPr>
          <a:xfrm>
            <a:off x="441116" y="3611731"/>
            <a:ext cx="8263917" cy="26664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5641" indent="-171446" defTabSz="457189">
              <a:buFont typeface="Arial" panose="020B0604020202020204" pitchFamily="34" charset="0"/>
              <a:buChar char="•"/>
              <a:defRPr/>
            </a:pPr>
            <a:r>
              <a:rPr lang="en-US" sz="1200" dirty="0">
                <a:solidFill>
                  <a:srgbClr val="FFFFFF"/>
                </a:solidFill>
                <a:latin typeface="CiscoSansTT ExtraLight"/>
              </a:rPr>
              <a:t>Segment routing for simplified, programmable transport, allowing any-to-any connectivity</a:t>
            </a:r>
            <a:endParaRPr lang="en-US" sz="1100" dirty="0">
              <a:solidFill>
                <a:srgbClr val="FFFFFF"/>
              </a:solidFill>
              <a:latin typeface="CiscoSansTT ExtraLight"/>
            </a:endParaRPr>
          </a:p>
        </p:txBody>
      </p:sp>
      <p:sp>
        <p:nvSpPr>
          <p:cNvPr id="74" name="Rounded Rectangle 73"/>
          <p:cNvSpPr/>
          <p:nvPr/>
        </p:nvSpPr>
        <p:spPr>
          <a:xfrm>
            <a:off x="441116" y="3895848"/>
            <a:ext cx="8263917" cy="26664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5641" indent="-171446" defTabSz="457189">
              <a:buFont typeface="Arial" panose="020B0604020202020204" pitchFamily="34" charset="0"/>
              <a:buChar char="•"/>
              <a:defRPr/>
            </a:pPr>
            <a:r>
              <a:rPr lang="en-US" sz="1200" dirty="0">
                <a:solidFill>
                  <a:srgbClr val="FFFFFF"/>
                </a:solidFill>
                <a:latin typeface="CiscoSansTT ExtraLight"/>
              </a:rPr>
              <a:t>EVPN for unified service plane with multi-homing</a:t>
            </a:r>
            <a:endParaRPr lang="en-US" sz="1100" dirty="0">
              <a:solidFill>
                <a:srgbClr val="FFFFFF"/>
              </a:solidFill>
              <a:latin typeface="CiscoSansTT ExtraLight"/>
            </a:endParaRPr>
          </a:p>
        </p:txBody>
      </p:sp>
      <p:sp>
        <p:nvSpPr>
          <p:cNvPr id="75" name="Rounded Rectangle 74"/>
          <p:cNvSpPr/>
          <p:nvPr/>
        </p:nvSpPr>
        <p:spPr>
          <a:xfrm>
            <a:off x="441116" y="4179964"/>
            <a:ext cx="8263917" cy="26664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5641" indent="-171446" defTabSz="457189">
              <a:buFont typeface="Arial" panose="020B0604020202020204" pitchFamily="34" charset="0"/>
              <a:buChar char="•"/>
              <a:defRPr/>
            </a:pPr>
            <a:r>
              <a:rPr lang="en-US" sz="1200" dirty="0">
                <a:solidFill>
                  <a:srgbClr val="FFFFFF"/>
                </a:solidFill>
                <a:latin typeface="CiscoSansTT ExtraLight"/>
              </a:rPr>
              <a:t>State of the art clocking and system security</a:t>
            </a:r>
            <a:endParaRPr lang="en-US" sz="1100" dirty="0">
              <a:solidFill>
                <a:srgbClr val="FFFFFF"/>
              </a:solidFill>
              <a:latin typeface="CiscoSansTT ExtraLight"/>
            </a:endParaRPr>
          </a:p>
        </p:txBody>
      </p:sp>
      <p:sp>
        <p:nvSpPr>
          <p:cNvPr id="76" name="Rounded Rectangle 75"/>
          <p:cNvSpPr/>
          <p:nvPr/>
        </p:nvSpPr>
        <p:spPr>
          <a:xfrm>
            <a:off x="441116" y="4464078"/>
            <a:ext cx="8263917" cy="26664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5641" indent="-171446" defTabSz="457189">
              <a:buFont typeface="Arial" panose="020B0604020202020204" pitchFamily="34" charset="0"/>
              <a:buChar char="•"/>
              <a:defRPr/>
            </a:pPr>
            <a:r>
              <a:rPr lang="en-US" sz="1200" dirty="0">
                <a:solidFill>
                  <a:srgbClr val="FFFFFF"/>
                </a:solidFill>
                <a:latin typeface="CiscoSansTT ExtraLight"/>
              </a:rPr>
              <a:t>5G backhaul and </a:t>
            </a:r>
            <a:r>
              <a:rPr lang="en-US" sz="1200" dirty="0" err="1">
                <a:solidFill>
                  <a:srgbClr val="FFFFFF"/>
                </a:solidFill>
                <a:latin typeface="CiscoSansTT ExtraLight"/>
              </a:rPr>
              <a:t>midhaul</a:t>
            </a:r>
            <a:r>
              <a:rPr lang="en-US" sz="1200" dirty="0">
                <a:solidFill>
                  <a:srgbClr val="FFFFFF"/>
                </a:solidFill>
                <a:latin typeface="CiscoSansTT ExtraLight"/>
              </a:rPr>
              <a:t>-ready platforms, </a:t>
            </a:r>
            <a:r>
              <a:rPr lang="en-US" sz="1100" dirty="0">
                <a:solidFill>
                  <a:srgbClr val="FFFFFF"/>
                </a:solidFill>
                <a:latin typeface="CiscoSansTT ExtraLight"/>
              </a:rPr>
              <a:t>low latency </a:t>
            </a:r>
            <a:r>
              <a:rPr lang="en-US" sz="1100" dirty="0" err="1">
                <a:solidFill>
                  <a:srgbClr val="FFFFFF"/>
                </a:solidFill>
                <a:latin typeface="CiscoSansTT ExtraLight"/>
              </a:rPr>
              <a:t>fronthaul</a:t>
            </a:r>
            <a:r>
              <a:rPr lang="en-US" sz="1100" dirty="0">
                <a:solidFill>
                  <a:srgbClr val="FFFFFF"/>
                </a:solidFill>
                <a:latin typeface="CiscoSansTT ExtraLight"/>
              </a:rPr>
              <a:t> platform (roadmap)</a:t>
            </a:r>
          </a:p>
        </p:txBody>
      </p:sp>
    </p:spTree>
    <p:extLst>
      <p:ext uri="{BB962C8B-B14F-4D97-AF65-F5344CB8AC3E}">
        <p14:creationId xmlns:p14="http://schemas.microsoft.com/office/powerpoint/2010/main" val="1126577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ons for Future Growth</a:t>
            </a:r>
          </a:p>
        </p:txBody>
      </p:sp>
      <p:sp>
        <p:nvSpPr>
          <p:cNvPr id="4" name="Rectangle 4"/>
          <p:cNvSpPr>
            <a:spLocks noChangeArrowheads="1"/>
          </p:cNvSpPr>
          <p:nvPr/>
        </p:nvSpPr>
        <p:spPr bwMode="auto">
          <a:xfrm>
            <a:off x="6086732" y="1562490"/>
            <a:ext cx="2577061" cy="2687542"/>
          </a:xfrm>
          <a:prstGeom prst="rect">
            <a:avLst/>
          </a:prstGeom>
          <a:noFill/>
          <a:ln w="19050" algn="ctr">
            <a:solidFill>
              <a:schemeClr val="accent3"/>
            </a:solidFill>
            <a:miter lim="800000"/>
            <a:headEnd/>
            <a:tailEnd/>
          </a:ln>
          <a:effectLst/>
        </p:spPr>
        <p:txBody>
          <a:bodyPr lIns="68589" tIns="137178" rIns="68589" bIns="34295" anchor="t" anchorCtr="0"/>
          <a:lstStyle/>
          <a:p>
            <a:pPr marL="132174" indent="-132174" defTabSz="457189">
              <a:spcBef>
                <a:spcPts val="225"/>
              </a:spcBef>
              <a:spcAft>
                <a:spcPts val="225"/>
              </a:spcAft>
              <a:buSzPct val="80000"/>
              <a:buFont typeface="Arial" pitchFamily="34" charset="0"/>
              <a:buChar char="•"/>
              <a:defRPr/>
            </a:pPr>
            <a:endParaRPr lang="en-US" sz="1100" dirty="0">
              <a:solidFill>
                <a:srgbClr val="282828"/>
              </a:solidFill>
              <a:latin typeface="CiscoSansTT ExtraLight"/>
              <a:cs typeface="Arial" charset="0"/>
            </a:endParaRPr>
          </a:p>
        </p:txBody>
      </p:sp>
      <p:sp>
        <p:nvSpPr>
          <p:cNvPr id="5" name="Rectangle 4"/>
          <p:cNvSpPr>
            <a:spLocks noChangeArrowheads="1"/>
          </p:cNvSpPr>
          <p:nvPr/>
        </p:nvSpPr>
        <p:spPr bwMode="auto">
          <a:xfrm>
            <a:off x="6086732" y="940164"/>
            <a:ext cx="2577061" cy="625270"/>
          </a:xfrm>
          <a:prstGeom prst="rect">
            <a:avLst/>
          </a:prstGeom>
          <a:solidFill>
            <a:schemeClr val="accent3"/>
          </a:solidFill>
          <a:ln w="19050">
            <a:solidFill>
              <a:schemeClr val="accent3"/>
            </a:solidFill>
            <a:miter lim="800000"/>
            <a:headEnd/>
            <a:tailEnd/>
          </a:ln>
          <a:effectLst/>
        </p:spPr>
        <p:txBody>
          <a:bodyPr lIns="68589" tIns="34295" rIns="68589" bIns="34295" anchor="ctr" anchorCtr="1"/>
          <a:lstStyle/>
          <a:p>
            <a:pPr algn="ctr" defTabSz="610857">
              <a:defRPr/>
            </a:pPr>
            <a:r>
              <a:rPr lang="en-US" dirty="0">
                <a:solidFill>
                  <a:srgbClr val="FFFFFF"/>
                </a:solidFill>
                <a:latin typeface="CiscoSansTT ExtraLight"/>
              </a:rPr>
              <a:t>3. Fabric Router</a:t>
            </a:r>
          </a:p>
        </p:txBody>
      </p:sp>
      <p:sp>
        <p:nvSpPr>
          <p:cNvPr id="7" name="Rectangle 3"/>
          <p:cNvSpPr>
            <a:spLocks noChangeArrowheads="1"/>
          </p:cNvSpPr>
          <p:nvPr/>
        </p:nvSpPr>
        <p:spPr bwMode="auto">
          <a:xfrm>
            <a:off x="3316807" y="1534474"/>
            <a:ext cx="2577061" cy="2715559"/>
          </a:xfrm>
          <a:prstGeom prst="rect">
            <a:avLst/>
          </a:prstGeom>
          <a:noFill/>
          <a:ln w="19050" algn="ctr">
            <a:solidFill>
              <a:schemeClr val="accent2"/>
            </a:solidFill>
            <a:miter lim="800000"/>
            <a:headEnd/>
            <a:tailEnd/>
          </a:ln>
          <a:effectLst/>
        </p:spPr>
        <p:txBody>
          <a:bodyPr lIns="68589" tIns="137178" rIns="68589" bIns="34295" anchor="t" anchorCtr="0"/>
          <a:lstStyle/>
          <a:p>
            <a:pPr marL="132174" indent="-132174" defTabSz="457189">
              <a:spcBef>
                <a:spcPts val="225"/>
              </a:spcBef>
              <a:spcAft>
                <a:spcPts val="225"/>
              </a:spcAft>
              <a:buSzPct val="80000"/>
              <a:buFont typeface="Arial" pitchFamily="34" charset="0"/>
              <a:buChar char="•"/>
              <a:defRPr/>
            </a:pPr>
            <a:endParaRPr lang="en-US" sz="1100" dirty="0">
              <a:solidFill>
                <a:srgbClr val="282828"/>
              </a:solidFill>
              <a:latin typeface="CiscoSansTT ExtraLight"/>
              <a:cs typeface="Arial" charset="0"/>
            </a:endParaRPr>
          </a:p>
        </p:txBody>
      </p:sp>
      <p:sp>
        <p:nvSpPr>
          <p:cNvPr id="8" name="Rectangle 3"/>
          <p:cNvSpPr>
            <a:spLocks noChangeArrowheads="1"/>
          </p:cNvSpPr>
          <p:nvPr/>
        </p:nvSpPr>
        <p:spPr bwMode="auto">
          <a:xfrm>
            <a:off x="3316807" y="940163"/>
            <a:ext cx="2577061" cy="599139"/>
          </a:xfrm>
          <a:prstGeom prst="rect">
            <a:avLst/>
          </a:prstGeom>
          <a:solidFill>
            <a:schemeClr val="accent2"/>
          </a:solidFill>
          <a:ln w="19050">
            <a:solidFill>
              <a:schemeClr val="accent2"/>
            </a:solidFill>
            <a:miter lim="800000"/>
            <a:headEnd/>
            <a:tailEnd/>
          </a:ln>
          <a:effectLst/>
        </p:spPr>
        <p:txBody>
          <a:bodyPr lIns="68589" tIns="34295" rIns="68589" bIns="34295" anchor="ctr" anchorCtr="1"/>
          <a:lstStyle/>
          <a:p>
            <a:pPr algn="ctr" defTabSz="610857">
              <a:lnSpc>
                <a:spcPts val="1800"/>
              </a:lnSpc>
              <a:defRPr/>
            </a:pPr>
            <a:r>
              <a:rPr lang="en-US" dirty="0">
                <a:solidFill>
                  <a:srgbClr val="005073"/>
                </a:solidFill>
                <a:latin typeface="CiscoSansTT ExtraLight"/>
              </a:rPr>
              <a:t>2. Fabric “Routing”</a:t>
            </a:r>
          </a:p>
        </p:txBody>
      </p:sp>
      <p:sp>
        <p:nvSpPr>
          <p:cNvPr id="10" name="Rectangle 5"/>
          <p:cNvSpPr>
            <a:spLocks noChangeArrowheads="1"/>
          </p:cNvSpPr>
          <p:nvPr/>
        </p:nvSpPr>
        <p:spPr bwMode="auto">
          <a:xfrm>
            <a:off x="544514" y="1534474"/>
            <a:ext cx="2577061" cy="2715559"/>
          </a:xfrm>
          <a:prstGeom prst="rect">
            <a:avLst/>
          </a:prstGeom>
          <a:noFill/>
          <a:ln w="19050" algn="ctr">
            <a:solidFill>
              <a:schemeClr val="accent1"/>
            </a:solidFill>
            <a:miter lim="800000"/>
            <a:headEnd/>
            <a:tailEnd/>
          </a:ln>
          <a:effectLst/>
        </p:spPr>
        <p:txBody>
          <a:bodyPr lIns="68589" tIns="137178" rIns="68589" bIns="34295" anchor="t" anchorCtr="0"/>
          <a:lstStyle/>
          <a:p>
            <a:pPr marL="132174" indent="-132174" defTabSz="457189">
              <a:spcBef>
                <a:spcPts val="225"/>
              </a:spcBef>
              <a:spcAft>
                <a:spcPts val="225"/>
              </a:spcAft>
              <a:buSzPct val="80000"/>
              <a:buFont typeface="Arial" pitchFamily="34" charset="0"/>
              <a:buChar char="•"/>
              <a:defRPr/>
            </a:pPr>
            <a:endParaRPr lang="en-US" sz="1100" dirty="0">
              <a:solidFill>
                <a:srgbClr val="282828"/>
              </a:solidFill>
              <a:latin typeface="CiscoSansTT ExtraLight"/>
              <a:cs typeface="Arial" charset="0"/>
            </a:endParaRPr>
          </a:p>
        </p:txBody>
      </p:sp>
      <p:sp>
        <p:nvSpPr>
          <p:cNvPr id="11" name="Rectangle 5"/>
          <p:cNvSpPr>
            <a:spLocks noChangeArrowheads="1"/>
          </p:cNvSpPr>
          <p:nvPr/>
        </p:nvSpPr>
        <p:spPr bwMode="auto">
          <a:xfrm>
            <a:off x="544514" y="948740"/>
            <a:ext cx="2577061" cy="590562"/>
          </a:xfrm>
          <a:prstGeom prst="rect">
            <a:avLst/>
          </a:prstGeom>
          <a:solidFill>
            <a:schemeClr val="accent1"/>
          </a:solidFill>
          <a:ln w="19050">
            <a:solidFill>
              <a:schemeClr val="accent1"/>
            </a:solidFill>
            <a:miter lim="800000"/>
            <a:headEnd/>
            <a:tailEnd/>
          </a:ln>
          <a:effectLst/>
        </p:spPr>
        <p:txBody>
          <a:bodyPr lIns="68589" tIns="34295" rIns="68589" bIns="34295" anchor="ctr" anchorCtr="1"/>
          <a:lstStyle/>
          <a:p>
            <a:pPr algn="ctr" defTabSz="610857">
              <a:defRPr/>
            </a:pPr>
            <a:r>
              <a:rPr lang="en-US" dirty="0">
                <a:solidFill>
                  <a:srgbClr val="005073"/>
                </a:solidFill>
                <a:latin typeface="CiscoSansTT ExtraLight"/>
              </a:rPr>
              <a:t>1. Modular Chassis</a:t>
            </a:r>
          </a:p>
        </p:txBody>
      </p:sp>
      <p:sp>
        <p:nvSpPr>
          <p:cNvPr id="21" name="TextBox 20">
            <a:extLst>
              <a:ext uri="{FF2B5EF4-FFF2-40B4-BE49-F238E27FC236}">
                <a16:creationId xmlns:a16="http://schemas.microsoft.com/office/drawing/2014/main" id="{5E55DC37-169D-FA46-96FA-4E4FCF6FF2A2}"/>
              </a:ext>
            </a:extLst>
          </p:cNvPr>
          <p:cNvSpPr txBox="1"/>
          <p:nvPr/>
        </p:nvSpPr>
        <p:spPr>
          <a:xfrm>
            <a:off x="6084361" y="3635967"/>
            <a:ext cx="2581802" cy="276999"/>
          </a:xfrm>
          <a:prstGeom prst="rect">
            <a:avLst/>
          </a:prstGeom>
          <a:noFill/>
        </p:spPr>
        <p:txBody>
          <a:bodyPr wrap="square" rtlCol="0">
            <a:spAutoFit/>
          </a:bodyPr>
          <a:lstStyle/>
          <a:p>
            <a:pPr algn="ctr" defTabSz="457189">
              <a:defRPr/>
            </a:pPr>
            <a:r>
              <a:rPr lang="en-US" sz="1200" dirty="0">
                <a:solidFill>
                  <a:srgbClr val="282828"/>
                </a:solidFill>
                <a:latin typeface="CiscoSansTT ExtraLight"/>
              </a:rPr>
              <a:t>Functions as single, large router</a:t>
            </a:r>
          </a:p>
        </p:txBody>
      </p:sp>
      <p:sp>
        <p:nvSpPr>
          <p:cNvPr id="28" name="TextBox 27">
            <a:extLst>
              <a:ext uri="{FF2B5EF4-FFF2-40B4-BE49-F238E27FC236}">
                <a16:creationId xmlns:a16="http://schemas.microsoft.com/office/drawing/2014/main" id="{4951110B-6912-174F-9AB4-CD26674DDFDE}"/>
              </a:ext>
            </a:extLst>
          </p:cNvPr>
          <p:cNvSpPr txBox="1"/>
          <p:nvPr/>
        </p:nvSpPr>
        <p:spPr>
          <a:xfrm>
            <a:off x="3319175" y="3635967"/>
            <a:ext cx="2572323" cy="276999"/>
          </a:xfrm>
          <a:prstGeom prst="rect">
            <a:avLst/>
          </a:prstGeom>
          <a:noFill/>
        </p:spPr>
        <p:txBody>
          <a:bodyPr wrap="square" rtlCol="0">
            <a:spAutoFit/>
          </a:bodyPr>
          <a:lstStyle/>
          <a:p>
            <a:pPr algn="ctr" defTabSz="457189">
              <a:defRPr/>
            </a:pPr>
            <a:r>
              <a:rPr lang="en-US" sz="1200" dirty="0">
                <a:solidFill>
                  <a:srgbClr val="282828"/>
                </a:solidFill>
                <a:latin typeface="CiscoSansTT ExtraLight"/>
              </a:rPr>
              <a:t>Functions as individual routers</a:t>
            </a:r>
          </a:p>
        </p:txBody>
      </p:sp>
      <p:sp>
        <p:nvSpPr>
          <p:cNvPr id="29" name="Rectangle 28"/>
          <p:cNvSpPr/>
          <p:nvPr/>
        </p:nvSpPr>
        <p:spPr>
          <a:xfrm>
            <a:off x="544515" y="3635967"/>
            <a:ext cx="2577058" cy="424732"/>
          </a:xfrm>
          <a:prstGeom prst="rect">
            <a:avLst/>
          </a:prstGeom>
        </p:spPr>
        <p:txBody>
          <a:bodyPr wrap="square">
            <a:spAutoFit/>
          </a:bodyPr>
          <a:lstStyle/>
          <a:p>
            <a:pPr marL="0" lvl="1" algn="ctr" defTabSz="933427">
              <a:lnSpc>
                <a:spcPct val="90000"/>
              </a:lnSpc>
              <a:spcAft>
                <a:spcPct val="15000"/>
              </a:spcAft>
              <a:defRPr/>
            </a:pPr>
            <a:r>
              <a:rPr lang="en-US" sz="1200" dirty="0">
                <a:solidFill>
                  <a:srgbClr val="282828"/>
                </a:solidFill>
                <a:latin typeface="CiscoSansTT ExtraLight"/>
              </a:rPr>
              <a:t>Bandwidth Projections fit </a:t>
            </a:r>
            <a:br>
              <a:rPr lang="en-US" sz="1200" dirty="0">
                <a:solidFill>
                  <a:srgbClr val="282828"/>
                </a:solidFill>
                <a:latin typeface="CiscoSansTT ExtraLight"/>
              </a:rPr>
            </a:br>
            <a:r>
              <a:rPr lang="en-US" sz="1200" dirty="0">
                <a:solidFill>
                  <a:srgbClr val="282828"/>
                </a:solidFill>
                <a:latin typeface="CiscoSansTT ExtraLight"/>
              </a:rPr>
              <a:t>into a single system</a:t>
            </a:r>
          </a:p>
        </p:txBody>
      </p:sp>
      <p:grpSp>
        <p:nvGrpSpPr>
          <p:cNvPr id="30" name="Group 29">
            <a:extLst>
              <a:ext uri="{FF2B5EF4-FFF2-40B4-BE49-F238E27FC236}">
                <a16:creationId xmlns:a16="http://schemas.microsoft.com/office/drawing/2014/main" id="{70430E18-7538-AD44-911F-A1A0730AB3B4}"/>
              </a:ext>
            </a:extLst>
          </p:cNvPr>
          <p:cNvGrpSpPr/>
          <p:nvPr/>
        </p:nvGrpSpPr>
        <p:grpSpPr>
          <a:xfrm>
            <a:off x="1312242" y="1700754"/>
            <a:ext cx="1041604" cy="1861884"/>
            <a:chOff x="1705452" y="1107495"/>
            <a:chExt cx="1381177" cy="2276276"/>
          </a:xfrm>
        </p:grpSpPr>
        <p:grpSp>
          <p:nvGrpSpPr>
            <p:cNvPr id="31" name="Group 30">
              <a:extLst>
                <a:ext uri="{FF2B5EF4-FFF2-40B4-BE49-F238E27FC236}">
                  <a16:creationId xmlns:a16="http://schemas.microsoft.com/office/drawing/2014/main" id="{95BB20B4-4E45-434C-AADE-168F0E7E6866}"/>
                </a:ext>
              </a:extLst>
            </p:cNvPr>
            <p:cNvGrpSpPr/>
            <p:nvPr/>
          </p:nvGrpSpPr>
          <p:grpSpPr>
            <a:xfrm>
              <a:off x="1705452" y="1107495"/>
              <a:ext cx="1381177" cy="2102581"/>
              <a:chOff x="822191" y="1598280"/>
              <a:chExt cx="1867220" cy="2426661"/>
            </a:xfrm>
          </p:grpSpPr>
          <p:sp>
            <p:nvSpPr>
              <p:cNvPr id="64" name="Rectangle 63">
                <a:extLst>
                  <a:ext uri="{FF2B5EF4-FFF2-40B4-BE49-F238E27FC236}">
                    <a16:creationId xmlns:a16="http://schemas.microsoft.com/office/drawing/2014/main" id="{BEED780C-F4AD-EA45-997E-B6AB508B9315}"/>
                  </a:ext>
                </a:extLst>
              </p:cNvPr>
              <p:cNvSpPr/>
              <p:nvPr/>
            </p:nvSpPr>
            <p:spPr>
              <a:xfrm>
                <a:off x="822191" y="1598280"/>
                <a:ext cx="1867220" cy="67925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65" name="Rectangle 64">
                <a:extLst>
                  <a:ext uri="{FF2B5EF4-FFF2-40B4-BE49-F238E27FC236}">
                    <a16:creationId xmlns:a16="http://schemas.microsoft.com/office/drawing/2014/main" id="{A0283C74-28AC-D742-BE65-A45848AB1FCE}"/>
                  </a:ext>
                </a:extLst>
              </p:cNvPr>
              <p:cNvSpPr/>
              <p:nvPr/>
            </p:nvSpPr>
            <p:spPr>
              <a:xfrm>
                <a:off x="822191" y="2277534"/>
                <a:ext cx="1867220" cy="1747407"/>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cxnSp>
          <p:nvCxnSpPr>
            <p:cNvPr id="32" name="Straight Connector 31">
              <a:extLst>
                <a:ext uri="{FF2B5EF4-FFF2-40B4-BE49-F238E27FC236}">
                  <a16:creationId xmlns:a16="http://schemas.microsoft.com/office/drawing/2014/main" id="{878AC043-990B-EF49-BD95-82722160D42B}"/>
                </a:ext>
              </a:extLst>
            </p:cNvPr>
            <p:cNvCxnSpPr>
              <a:cxnSpLocks/>
            </p:cNvCxnSpPr>
            <p:nvPr/>
          </p:nvCxnSpPr>
          <p:spPr>
            <a:xfrm>
              <a:off x="171313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CE5B391-D0F2-1F42-8BEB-310AFDD8E809}"/>
                </a:ext>
              </a:extLst>
            </p:cNvPr>
            <p:cNvCxnSpPr>
              <a:cxnSpLocks/>
            </p:cNvCxnSpPr>
            <p:nvPr/>
          </p:nvCxnSpPr>
          <p:spPr>
            <a:xfrm>
              <a:off x="175660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DBE512C-473A-5D43-8C6B-44B7A1CBCBBB}"/>
                </a:ext>
              </a:extLst>
            </p:cNvPr>
            <p:cNvCxnSpPr>
              <a:cxnSpLocks/>
            </p:cNvCxnSpPr>
            <p:nvPr/>
          </p:nvCxnSpPr>
          <p:spPr>
            <a:xfrm>
              <a:off x="180007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F6F411B-59EB-A54C-BA63-830E443B5134}"/>
                </a:ext>
              </a:extLst>
            </p:cNvPr>
            <p:cNvCxnSpPr>
              <a:cxnSpLocks/>
            </p:cNvCxnSpPr>
            <p:nvPr/>
          </p:nvCxnSpPr>
          <p:spPr>
            <a:xfrm>
              <a:off x="184354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E4AA184-81D7-FB47-9233-66DB444F0B6D}"/>
                </a:ext>
              </a:extLst>
            </p:cNvPr>
            <p:cNvCxnSpPr>
              <a:cxnSpLocks/>
            </p:cNvCxnSpPr>
            <p:nvPr/>
          </p:nvCxnSpPr>
          <p:spPr>
            <a:xfrm>
              <a:off x="188701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E7AE871-E378-AC40-87B5-EAAF24A64064}"/>
                </a:ext>
              </a:extLst>
            </p:cNvPr>
            <p:cNvCxnSpPr>
              <a:cxnSpLocks/>
            </p:cNvCxnSpPr>
            <p:nvPr/>
          </p:nvCxnSpPr>
          <p:spPr>
            <a:xfrm>
              <a:off x="193048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896D752-BB64-784E-BE49-9254B7D50520}"/>
                </a:ext>
              </a:extLst>
            </p:cNvPr>
            <p:cNvCxnSpPr>
              <a:cxnSpLocks/>
            </p:cNvCxnSpPr>
            <p:nvPr/>
          </p:nvCxnSpPr>
          <p:spPr>
            <a:xfrm>
              <a:off x="197395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6D52B5B-3251-FA47-8B19-47085893C72B}"/>
                </a:ext>
              </a:extLst>
            </p:cNvPr>
            <p:cNvCxnSpPr>
              <a:cxnSpLocks/>
            </p:cNvCxnSpPr>
            <p:nvPr/>
          </p:nvCxnSpPr>
          <p:spPr>
            <a:xfrm>
              <a:off x="201742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92D3814-18D2-354A-B97B-422967839BBA}"/>
                </a:ext>
              </a:extLst>
            </p:cNvPr>
            <p:cNvCxnSpPr>
              <a:cxnSpLocks/>
            </p:cNvCxnSpPr>
            <p:nvPr/>
          </p:nvCxnSpPr>
          <p:spPr>
            <a:xfrm>
              <a:off x="206089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AACC866-75B6-D249-ADD8-6CAFDE0D2430}"/>
                </a:ext>
              </a:extLst>
            </p:cNvPr>
            <p:cNvCxnSpPr>
              <a:cxnSpLocks/>
            </p:cNvCxnSpPr>
            <p:nvPr/>
          </p:nvCxnSpPr>
          <p:spPr>
            <a:xfrm>
              <a:off x="210436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435585-E017-8E49-BB86-7C7C45AF79D4}"/>
                </a:ext>
              </a:extLst>
            </p:cNvPr>
            <p:cNvCxnSpPr>
              <a:cxnSpLocks/>
            </p:cNvCxnSpPr>
            <p:nvPr/>
          </p:nvCxnSpPr>
          <p:spPr>
            <a:xfrm>
              <a:off x="214783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AEA1CE9-DD59-664C-964A-8E56F00E3591}"/>
                </a:ext>
              </a:extLst>
            </p:cNvPr>
            <p:cNvCxnSpPr>
              <a:cxnSpLocks/>
            </p:cNvCxnSpPr>
            <p:nvPr/>
          </p:nvCxnSpPr>
          <p:spPr>
            <a:xfrm>
              <a:off x="219130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27A09B5-0BE8-D547-8B03-165578192B60}"/>
                </a:ext>
              </a:extLst>
            </p:cNvPr>
            <p:cNvCxnSpPr>
              <a:cxnSpLocks/>
            </p:cNvCxnSpPr>
            <p:nvPr/>
          </p:nvCxnSpPr>
          <p:spPr>
            <a:xfrm>
              <a:off x="223477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0430883-F05A-2E48-BDAB-D12023E4BCF1}"/>
                </a:ext>
              </a:extLst>
            </p:cNvPr>
            <p:cNvCxnSpPr>
              <a:cxnSpLocks/>
            </p:cNvCxnSpPr>
            <p:nvPr/>
          </p:nvCxnSpPr>
          <p:spPr>
            <a:xfrm>
              <a:off x="227824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E00CB2-6632-2446-8A83-DD90440E0B3D}"/>
                </a:ext>
              </a:extLst>
            </p:cNvPr>
            <p:cNvCxnSpPr>
              <a:cxnSpLocks/>
            </p:cNvCxnSpPr>
            <p:nvPr/>
          </p:nvCxnSpPr>
          <p:spPr>
            <a:xfrm>
              <a:off x="232171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D755DE8-AFD1-344F-A12B-AD202141D3DA}"/>
                </a:ext>
              </a:extLst>
            </p:cNvPr>
            <p:cNvCxnSpPr>
              <a:cxnSpLocks/>
            </p:cNvCxnSpPr>
            <p:nvPr/>
          </p:nvCxnSpPr>
          <p:spPr>
            <a:xfrm>
              <a:off x="236518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5BAAE6F-3BAE-834F-AC84-4C74747C8186}"/>
                </a:ext>
              </a:extLst>
            </p:cNvPr>
            <p:cNvCxnSpPr>
              <a:cxnSpLocks/>
            </p:cNvCxnSpPr>
            <p:nvPr/>
          </p:nvCxnSpPr>
          <p:spPr>
            <a:xfrm>
              <a:off x="275641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29CC4B5-41EC-7140-8E68-F13C825BA292}"/>
                </a:ext>
              </a:extLst>
            </p:cNvPr>
            <p:cNvCxnSpPr>
              <a:cxnSpLocks/>
            </p:cNvCxnSpPr>
            <p:nvPr/>
          </p:nvCxnSpPr>
          <p:spPr>
            <a:xfrm>
              <a:off x="279988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858ADCC-DBB3-E64C-A3FA-114B28344C2B}"/>
                </a:ext>
              </a:extLst>
            </p:cNvPr>
            <p:cNvCxnSpPr>
              <a:cxnSpLocks/>
            </p:cNvCxnSpPr>
            <p:nvPr/>
          </p:nvCxnSpPr>
          <p:spPr>
            <a:xfrm>
              <a:off x="284335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C708D0C-0116-FC4F-A7F5-E4B045E34EE9}"/>
                </a:ext>
              </a:extLst>
            </p:cNvPr>
            <p:cNvCxnSpPr>
              <a:cxnSpLocks/>
            </p:cNvCxnSpPr>
            <p:nvPr/>
          </p:nvCxnSpPr>
          <p:spPr>
            <a:xfrm>
              <a:off x="288682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AE5D857-8C50-F747-9321-AA55D5354944}"/>
                </a:ext>
              </a:extLst>
            </p:cNvPr>
            <p:cNvCxnSpPr>
              <a:cxnSpLocks/>
            </p:cNvCxnSpPr>
            <p:nvPr/>
          </p:nvCxnSpPr>
          <p:spPr>
            <a:xfrm>
              <a:off x="293029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D5076A7-8F25-D74E-9204-D9A3D51CC5C7}"/>
                </a:ext>
              </a:extLst>
            </p:cNvPr>
            <p:cNvCxnSpPr>
              <a:cxnSpLocks/>
            </p:cNvCxnSpPr>
            <p:nvPr/>
          </p:nvCxnSpPr>
          <p:spPr>
            <a:xfrm>
              <a:off x="297376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944690-B621-AF48-9DF3-826DB0C4F4F1}"/>
                </a:ext>
              </a:extLst>
            </p:cNvPr>
            <p:cNvCxnSpPr>
              <a:cxnSpLocks/>
            </p:cNvCxnSpPr>
            <p:nvPr/>
          </p:nvCxnSpPr>
          <p:spPr>
            <a:xfrm>
              <a:off x="301723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95F7B0-8688-644A-83A2-E40E744A1495}"/>
                </a:ext>
              </a:extLst>
            </p:cNvPr>
            <p:cNvCxnSpPr>
              <a:cxnSpLocks/>
            </p:cNvCxnSpPr>
            <p:nvPr/>
          </p:nvCxnSpPr>
          <p:spPr>
            <a:xfrm>
              <a:off x="3060710"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7FDD443-27CD-9D4D-9AE3-33CA87B2610D}"/>
                </a:ext>
              </a:extLst>
            </p:cNvPr>
            <p:cNvCxnSpPr>
              <a:cxnSpLocks/>
            </p:cNvCxnSpPr>
            <p:nvPr/>
          </p:nvCxnSpPr>
          <p:spPr>
            <a:xfrm>
              <a:off x="240865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6581400-C96B-354E-A77D-450AAD21EBAC}"/>
                </a:ext>
              </a:extLst>
            </p:cNvPr>
            <p:cNvCxnSpPr>
              <a:cxnSpLocks/>
            </p:cNvCxnSpPr>
            <p:nvPr/>
          </p:nvCxnSpPr>
          <p:spPr>
            <a:xfrm>
              <a:off x="245212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AB61A28-FF31-DA4C-B6D3-38BF02440B29}"/>
                </a:ext>
              </a:extLst>
            </p:cNvPr>
            <p:cNvCxnSpPr>
              <a:cxnSpLocks/>
            </p:cNvCxnSpPr>
            <p:nvPr/>
          </p:nvCxnSpPr>
          <p:spPr>
            <a:xfrm>
              <a:off x="249559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AB08AFC-C0A9-0A49-8AFB-8C4E89045C74}"/>
                </a:ext>
              </a:extLst>
            </p:cNvPr>
            <p:cNvCxnSpPr>
              <a:cxnSpLocks/>
            </p:cNvCxnSpPr>
            <p:nvPr/>
          </p:nvCxnSpPr>
          <p:spPr>
            <a:xfrm>
              <a:off x="253906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1258A35-1F74-F544-8D79-9DA32006A7E8}"/>
                </a:ext>
              </a:extLst>
            </p:cNvPr>
            <p:cNvCxnSpPr>
              <a:cxnSpLocks/>
            </p:cNvCxnSpPr>
            <p:nvPr/>
          </p:nvCxnSpPr>
          <p:spPr>
            <a:xfrm>
              <a:off x="258253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4FF2AC5-6E0C-E145-8CBC-65235C076F15}"/>
                </a:ext>
              </a:extLst>
            </p:cNvPr>
            <p:cNvCxnSpPr>
              <a:cxnSpLocks/>
            </p:cNvCxnSpPr>
            <p:nvPr/>
          </p:nvCxnSpPr>
          <p:spPr>
            <a:xfrm>
              <a:off x="262600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FA396D4-465F-BA45-8EF1-8998F233E64B}"/>
                </a:ext>
              </a:extLst>
            </p:cNvPr>
            <p:cNvCxnSpPr>
              <a:cxnSpLocks/>
            </p:cNvCxnSpPr>
            <p:nvPr/>
          </p:nvCxnSpPr>
          <p:spPr>
            <a:xfrm>
              <a:off x="2669476" y="321007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CA2B9F5-E2E1-FE47-B04A-2D765EFBFD1C}"/>
                </a:ext>
              </a:extLst>
            </p:cNvPr>
            <p:cNvCxnSpPr>
              <a:cxnSpLocks/>
            </p:cNvCxnSpPr>
            <p:nvPr/>
          </p:nvCxnSpPr>
          <p:spPr>
            <a:xfrm>
              <a:off x="2712946" y="3210076"/>
              <a:ext cx="0" cy="17369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3EF5F987-BDA9-0E43-8076-66652A30E1EF}"/>
              </a:ext>
            </a:extLst>
          </p:cNvPr>
          <p:cNvGrpSpPr/>
          <p:nvPr/>
        </p:nvGrpSpPr>
        <p:grpSpPr>
          <a:xfrm>
            <a:off x="6754295" y="2061467"/>
            <a:ext cx="1241931" cy="1452999"/>
            <a:chOff x="7066521" y="1705034"/>
            <a:chExt cx="1175131" cy="1611736"/>
          </a:xfrm>
        </p:grpSpPr>
        <p:sp>
          <p:nvSpPr>
            <p:cNvPr id="103" name="Can 102">
              <a:extLst>
                <a:ext uri="{FF2B5EF4-FFF2-40B4-BE49-F238E27FC236}">
                  <a16:creationId xmlns:a16="http://schemas.microsoft.com/office/drawing/2014/main" id="{E1157879-85DE-6A4F-850B-3C2819FEBA9A}"/>
                </a:ext>
              </a:extLst>
            </p:cNvPr>
            <p:cNvSpPr/>
            <p:nvPr/>
          </p:nvSpPr>
          <p:spPr>
            <a:xfrm>
              <a:off x="7066521" y="1705034"/>
              <a:ext cx="1175131" cy="1611736"/>
            </a:xfrm>
            <a:prstGeom prst="can">
              <a:avLst/>
            </a:prstGeom>
            <a:solidFill>
              <a:schemeClr val="bg2">
                <a:alpha val="3000"/>
              </a:schemeClr>
            </a:solidFill>
            <a:ln>
              <a:solidFill>
                <a:schemeClr val="tx2">
                  <a:lumMod val="60000"/>
                  <a:lumOff val="40000"/>
                </a:schemeClr>
              </a:solidFill>
              <a:prstDash val="sysDot"/>
            </a:ln>
            <a:effectLst>
              <a:glow rad="177800">
                <a:schemeClr val="accent1">
                  <a:satMod val="175000"/>
                  <a:alpha val="21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104" name="Oval 103">
              <a:extLst>
                <a:ext uri="{FF2B5EF4-FFF2-40B4-BE49-F238E27FC236}">
                  <a16:creationId xmlns:a16="http://schemas.microsoft.com/office/drawing/2014/main" id="{E0439768-F56D-D247-A956-829BDEDAEC68}"/>
                </a:ext>
              </a:extLst>
            </p:cNvPr>
            <p:cNvSpPr/>
            <p:nvPr/>
          </p:nvSpPr>
          <p:spPr>
            <a:xfrm>
              <a:off x="7863525" y="2179851"/>
              <a:ext cx="171039" cy="164460"/>
            </a:xfrm>
            <a:prstGeom prst="ellipse">
              <a:avLst/>
            </a:prstGeom>
            <a:solidFill>
              <a:schemeClr val="bg2"/>
            </a:solidFill>
            <a:ln w="9525">
              <a:solidFill>
                <a:srgbClr val="00944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105" name="Oval 104">
              <a:extLst>
                <a:ext uri="{FF2B5EF4-FFF2-40B4-BE49-F238E27FC236}">
                  <a16:creationId xmlns:a16="http://schemas.microsoft.com/office/drawing/2014/main" id="{E3A1B90C-6356-BC46-883C-415D6BEB006A}"/>
                </a:ext>
              </a:extLst>
            </p:cNvPr>
            <p:cNvSpPr/>
            <p:nvPr/>
          </p:nvSpPr>
          <p:spPr>
            <a:xfrm>
              <a:off x="7865020" y="2405176"/>
              <a:ext cx="171039" cy="164460"/>
            </a:xfrm>
            <a:prstGeom prst="ellipse">
              <a:avLst/>
            </a:prstGeom>
            <a:solidFill>
              <a:schemeClr val="bg2"/>
            </a:solidFill>
            <a:ln w="9525">
              <a:solidFill>
                <a:srgbClr val="00944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106" name="Oval 105">
              <a:extLst>
                <a:ext uri="{FF2B5EF4-FFF2-40B4-BE49-F238E27FC236}">
                  <a16:creationId xmlns:a16="http://schemas.microsoft.com/office/drawing/2014/main" id="{3FB622FD-BBD8-FD43-853E-94479C706CA3}"/>
                </a:ext>
              </a:extLst>
            </p:cNvPr>
            <p:cNvSpPr/>
            <p:nvPr/>
          </p:nvSpPr>
          <p:spPr>
            <a:xfrm>
              <a:off x="7254407" y="1852063"/>
              <a:ext cx="171039" cy="164460"/>
            </a:xfrm>
            <a:prstGeom prst="ellipse">
              <a:avLst/>
            </a:prstGeom>
            <a:solidFill>
              <a:schemeClr val="bg2"/>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107" name="Oval 106">
              <a:extLst>
                <a:ext uri="{FF2B5EF4-FFF2-40B4-BE49-F238E27FC236}">
                  <a16:creationId xmlns:a16="http://schemas.microsoft.com/office/drawing/2014/main" id="{D6692A87-F357-6F4D-8665-E95067ED9AB5}"/>
                </a:ext>
              </a:extLst>
            </p:cNvPr>
            <p:cNvSpPr/>
            <p:nvPr/>
          </p:nvSpPr>
          <p:spPr>
            <a:xfrm>
              <a:off x="7254406" y="2083404"/>
              <a:ext cx="171039" cy="164460"/>
            </a:xfrm>
            <a:prstGeom prst="ellipse">
              <a:avLst/>
            </a:prstGeom>
            <a:solidFill>
              <a:schemeClr val="bg2"/>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cxnSp>
          <p:nvCxnSpPr>
            <p:cNvPr id="108" name="Straight Connector 107">
              <a:extLst>
                <a:ext uri="{FF2B5EF4-FFF2-40B4-BE49-F238E27FC236}">
                  <a16:creationId xmlns:a16="http://schemas.microsoft.com/office/drawing/2014/main" id="{72ECAE86-99DB-F64F-9E63-4277253D7630}"/>
                </a:ext>
              </a:extLst>
            </p:cNvPr>
            <p:cNvCxnSpPr/>
            <p:nvPr/>
          </p:nvCxnSpPr>
          <p:spPr>
            <a:xfrm flipH="1">
              <a:off x="7339926" y="2016523"/>
              <a:ext cx="1" cy="66881"/>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0FE35618-1F98-584F-85F9-9942EFBFC205}"/>
                </a:ext>
              </a:extLst>
            </p:cNvPr>
            <p:cNvSpPr/>
            <p:nvPr/>
          </p:nvSpPr>
          <p:spPr>
            <a:xfrm>
              <a:off x="7262254" y="2382786"/>
              <a:ext cx="171039" cy="164460"/>
            </a:xfrm>
            <a:prstGeom prst="ellipse">
              <a:avLst/>
            </a:prstGeom>
            <a:solidFill>
              <a:schemeClr val="bg2"/>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110" name="Oval 109">
              <a:extLst>
                <a:ext uri="{FF2B5EF4-FFF2-40B4-BE49-F238E27FC236}">
                  <a16:creationId xmlns:a16="http://schemas.microsoft.com/office/drawing/2014/main" id="{281917CB-4BF1-494C-BEB8-1F06B8E36EE8}"/>
                </a:ext>
              </a:extLst>
            </p:cNvPr>
            <p:cNvSpPr/>
            <p:nvPr/>
          </p:nvSpPr>
          <p:spPr>
            <a:xfrm>
              <a:off x="7262253" y="2614127"/>
              <a:ext cx="171039" cy="164460"/>
            </a:xfrm>
            <a:prstGeom prst="ellipse">
              <a:avLst/>
            </a:prstGeom>
            <a:solidFill>
              <a:schemeClr val="bg2"/>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cxnSp>
          <p:nvCxnSpPr>
            <p:cNvPr id="111" name="Straight Connector 110">
              <a:extLst>
                <a:ext uri="{FF2B5EF4-FFF2-40B4-BE49-F238E27FC236}">
                  <a16:creationId xmlns:a16="http://schemas.microsoft.com/office/drawing/2014/main" id="{36DCD5B9-DAB9-C74D-A5BF-5CB4251A9CDF}"/>
                </a:ext>
              </a:extLst>
            </p:cNvPr>
            <p:cNvCxnSpPr/>
            <p:nvPr/>
          </p:nvCxnSpPr>
          <p:spPr>
            <a:xfrm flipH="1">
              <a:off x="7347773" y="2547246"/>
              <a:ext cx="1" cy="66881"/>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20C95F46-DDA7-894E-A576-91BA0A54C245}"/>
                </a:ext>
              </a:extLst>
            </p:cNvPr>
            <p:cNvCxnSpPr/>
            <p:nvPr/>
          </p:nvCxnSpPr>
          <p:spPr>
            <a:xfrm flipV="1">
              <a:off x="7433292" y="2262081"/>
              <a:ext cx="430233" cy="434276"/>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BE52277-3F8B-8C45-BBE0-7F628B3194CA}"/>
                </a:ext>
              </a:extLst>
            </p:cNvPr>
            <p:cNvCxnSpPr/>
            <p:nvPr/>
          </p:nvCxnSpPr>
          <p:spPr>
            <a:xfrm>
              <a:off x="7433293" y="2465016"/>
              <a:ext cx="431727" cy="22390"/>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307918F-2ED3-CD4A-B4B7-727D99A125F9}"/>
                </a:ext>
              </a:extLst>
            </p:cNvPr>
            <p:cNvCxnSpPr/>
            <p:nvPr/>
          </p:nvCxnSpPr>
          <p:spPr>
            <a:xfrm flipV="1">
              <a:off x="7433293" y="2262081"/>
              <a:ext cx="430232" cy="202935"/>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A87544B-93F4-6148-8522-3B0A5CC8D38A}"/>
                </a:ext>
              </a:extLst>
            </p:cNvPr>
            <p:cNvCxnSpPr/>
            <p:nvPr/>
          </p:nvCxnSpPr>
          <p:spPr>
            <a:xfrm flipV="1">
              <a:off x="7433292" y="2487406"/>
              <a:ext cx="431728" cy="208951"/>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455ABA3-27EB-5C41-BC9A-7B51B4BDA29E}"/>
                </a:ext>
              </a:extLst>
            </p:cNvPr>
            <p:cNvCxnSpPr/>
            <p:nvPr/>
          </p:nvCxnSpPr>
          <p:spPr>
            <a:xfrm>
              <a:off x="7425446" y="1934293"/>
              <a:ext cx="439574" cy="553113"/>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D5F42BD9-7965-D54A-A0C0-F43D490FC402}"/>
                </a:ext>
              </a:extLst>
            </p:cNvPr>
            <p:cNvCxnSpPr/>
            <p:nvPr/>
          </p:nvCxnSpPr>
          <p:spPr>
            <a:xfrm>
              <a:off x="7425445" y="2165634"/>
              <a:ext cx="438080" cy="96447"/>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6F09B23-91FE-D94E-A0A6-CAC81090497A}"/>
                </a:ext>
              </a:extLst>
            </p:cNvPr>
            <p:cNvCxnSpPr/>
            <p:nvPr/>
          </p:nvCxnSpPr>
          <p:spPr>
            <a:xfrm>
              <a:off x="7425446" y="1934293"/>
              <a:ext cx="438079" cy="327788"/>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7B0DAE92-A2E8-8E4D-8978-63719B3E4BE3}"/>
                </a:ext>
              </a:extLst>
            </p:cNvPr>
            <p:cNvCxnSpPr/>
            <p:nvPr/>
          </p:nvCxnSpPr>
          <p:spPr>
            <a:xfrm>
              <a:off x="7425445" y="2165634"/>
              <a:ext cx="439575" cy="321772"/>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9F7E5EE-8A73-7949-8DDD-742C58721793}"/>
                </a:ext>
              </a:extLst>
            </p:cNvPr>
            <p:cNvCxnSpPr/>
            <p:nvPr/>
          </p:nvCxnSpPr>
          <p:spPr>
            <a:xfrm>
              <a:off x="7949045" y="2344311"/>
              <a:ext cx="1495" cy="60865"/>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808D2842-329F-5C4B-AE13-32C3C9402B41}"/>
                </a:ext>
              </a:extLst>
            </p:cNvPr>
            <p:cNvSpPr/>
            <p:nvPr/>
          </p:nvSpPr>
          <p:spPr>
            <a:xfrm>
              <a:off x="7270275" y="3079349"/>
              <a:ext cx="171039" cy="164460"/>
            </a:xfrm>
            <a:prstGeom prst="ellipse">
              <a:avLst/>
            </a:prstGeom>
            <a:solidFill>
              <a:schemeClr val="bg2"/>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cxnSp>
          <p:nvCxnSpPr>
            <p:cNvPr id="122" name="Straight Connector 121">
              <a:extLst>
                <a:ext uri="{FF2B5EF4-FFF2-40B4-BE49-F238E27FC236}">
                  <a16:creationId xmlns:a16="http://schemas.microsoft.com/office/drawing/2014/main" id="{F3ADF824-EDF4-C64A-82E9-5CAEB7579320}"/>
                </a:ext>
              </a:extLst>
            </p:cNvPr>
            <p:cNvCxnSpPr/>
            <p:nvPr/>
          </p:nvCxnSpPr>
          <p:spPr>
            <a:xfrm flipH="1">
              <a:off x="7355795" y="3012468"/>
              <a:ext cx="1" cy="66881"/>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8EA91A2A-56CA-6C4A-9FB7-601056D64FCE}"/>
                </a:ext>
              </a:extLst>
            </p:cNvPr>
            <p:cNvCxnSpPr/>
            <p:nvPr/>
          </p:nvCxnSpPr>
          <p:spPr>
            <a:xfrm>
              <a:off x="7347773" y="2778587"/>
              <a:ext cx="8022" cy="300762"/>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A3141657-4ED9-7342-ACFE-5F74AAB318CE}"/>
                </a:ext>
              </a:extLst>
            </p:cNvPr>
            <p:cNvSpPr/>
            <p:nvPr/>
          </p:nvSpPr>
          <p:spPr>
            <a:xfrm>
              <a:off x="7270276" y="2848008"/>
              <a:ext cx="171039" cy="164460"/>
            </a:xfrm>
            <a:prstGeom prst="ellipse">
              <a:avLst/>
            </a:prstGeom>
            <a:solidFill>
              <a:schemeClr val="bg2"/>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125" name="Oval 124">
              <a:extLst>
                <a:ext uri="{FF2B5EF4-FFF2-40B4-BE49-F238E27FC236}">
                  <a16:creationId xmlns:a16="http://schemas.microsoft.com/office/drawing/2014/main" id="{062C536E-5EFB-2F4A-83D0-20B9E7FCC4E6}"/>
                </a:ext>
              </a:extLst>
            </p:cNvPr>
            <p:cNvSpPr/>
            <p:nvPr/>
          </p:nvSpPr>
          <p:spPr>
            <a:xfrm>
              <a:off x="7873041" y="2846334"/>
              <a:ext cx="171039" cy="164460"/>
            </a:xfrm>
            <a:prstGeom prst="ellipse">
              <a:avLst/>
            </a:prstGeom>
            <a:solidFill>
              <a:schemeClr val="bg2"/>
            </a:solidFill>
            <a:ln w="9525">
              <a:solidFill>
                <a:srgbClr val="00944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cxnSp>
          <p:nvCxnSpPr>
            <p:cNvPr id="126" name="Straight Connector 125">
              <a:extLst>
                <a:ext uri="{FF2B5EF4-FFF2-40B4-BE49-F238E27FC236}">
                  <a16:creationId xmlns:a16="http://schemas.microsoft.com/office/drawing/2014/main" id="{4DF9579A-4C8A-364F-879E-E914F0E739D9}"/>
                </a:ext>
              </a:extLst>
            </p:cNvPr>
            <p:cNvCxnSpPr/>
            <p:nvPr/>
          </p:nvCxnSpPr>
          <p:spPr>
            <a:xfrm>
              <a:off x="7950540" y="2569636"/>
              <a:ext cx="8021" cy="276698"/>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49046D92-20B8-FE49-9D9B-2D613FCBAF40}"/>
                </a:ext>
              </a:extLst>
            </p:cNvPr>
            <p:cNvSpPr/>
            <p:nvPr/>
          </p:nvSpPr>
          <p:spPr>
            <a:xfrm>
              <a:off x="7871546" y="2621009"/>
              <a:ext cx="171039" cy="164460"/>
            </a:xfrm>
            <a:prstGeom prst="ellipse">
              <a:avLst/>
            </a:prstGeom>
            <a:solidFill>
              <a:schemeClr val="bg2"/>
            </a:solidFill>
            <a:ln w="9525">
              <a:solidFill>
                <a:srgbClr val="00944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cxnSp>
          <p:nvCxnSpPr>
            <p:cNvPr id="128" name="Straight Connector 127">
              <a:extLst>
                <a:ext uri="{FF2B5EF4-FFF2-40B4-BE49-F238E27FC236}">
                  <a16:creationId xmlns:a16="http://schemas.microsoft.com/office/drawing/2014/main" id="{E96DC711-4280-7B40-B443-799BB09B49C5}"/>
                </a:ext>
              </a:extLst>
            </p:cNvPr>
            <p:cNvCxnSpPr/>
            <p:nvPr/>
          </p:nvCxnSpPr>
          <p:spPr>
            <a:xfrm>
              <a:off x="7433293" y="2465016"/>
              <a:ext cx="438253" cy="238223"/>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1D3F967A-410B-AB46-83D7-2DBC0D98BA7D}"/>
                </a:ext>
              </a:extLst>
            </p:cNvPr>
            <p:cNvCxnSpPr/>
            <p:nvPr/>
          </p:nvCxnSpPr>
          <p:spPr>
            <a:xfrm>
              <a:off x="7425446" y="1934293"/>
              <a:ext cx="447595" cy="994271"/>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9D4813D-729D-A544-8A70-41C1A2B69C5B}"/>
                </a:ext>
              </a:extLst>
            </p:cNvPr>
            <p:cNvCxnSpPr/>
            <p:nvPr/>
          </p:nvCxnSpPr>
          <p:spPr>
            <a:xfrm>
              <a:off x="7425446" y="1934293"/>
              <a:ext cx="446100" cy="768946"/>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5B4E1C1-996A-6644-9824-A7304BE35FD3}"/>
                </a:ext>
              </a:extLst>
            </p:cNvPr>
            <p:cNvCxnSpPr/>
            <p:nvPr/>
          </p:nvCxnSpPr>
          <p:spPr>
            <a:xfrm>
              <a:off x="7425445" y="2165634"/>
              <a:ext cx="446101" cy="537605"/>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6FDE1A6-70E3-4F4B-A130-F29A07CC1F79}"/>
                </a:ext>
              </a:extLst>
            </p:cNvPr>
            <p:cNvCxnSpPr/>
            <p:nvPr/>
          </p:nvCxnSpPr>
          <p:spPr>
            <a:xfrm>
              <a:off x="7425445" y="2165634"/>
              <a:ext cx="447596" cy="762930"/>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049DA0A-E0A7-8242-9578-0E0FA6A93CEF}"/>
                </a:ext>
              </a:extLst>
            </p:cNvPr>
            <p:cNvCxnSpPr/>
            <p:nvPr/>
          </p:nvCxnSpPr>
          <p:spPr>
            <a:xfrm>
              <a:off x="7433293" y="2465016"/>
              <a:ext cx="439748" cy="463548"/>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1CC1C9A9-B735-6F4E-87AB-B73902BAE40E}"/>
                </a:ext>
              </a:extLst>
            </p:cNvPr>
            <p:cNvCxnSpPr/>
            <p:nvPr/>
          </p:nvCxnSpPr>
          <p:spPr>
            <a:xfrm>
              <a:off x="7433292" y="2696357"/>
              <a:ext cx="438254" cy="6882"/>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EE48C398-B8A2-3646-90A6-A2C0CCC9739A}"/>
                </a:ext>
              </a:extLst>
            </p:cNvPr>
            <p:cNvCxnSpPr/>
            <p:nvPr/>
          </p:nvCxnSpPr>
          <p:spPr>
            <a:xfrm>
              <a:off x="7433292" y="2696357"/>
              <a:ext cx="439749" cy="232207"/>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7A4F619D-9310-174A-A8BF-B10FD70DAA60}"/>
                </a:ext>
              </a:extLst>
            </p:cNvPr>
            <p:cNvCxnSpPr/>
            <p:nvPr/>
          </p:nvCxnSpPr>
          <p:spPr>
            <a:xfrm flipV="1">
              <a:off x="7441315" y="2262081"/>
              <a:ext cx="422210" cy="668157"/>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AF013D0-E978-554F-AF96-FC9424A02F50}"/>
                </a:ext>
              </a:extLst>
            </p:cNvPr>
            <p:cNvCxnSpPr/>
            <p:nvPr/>
          </p:nvCxnSpPr>
          <p:spPr>
            <a:xfrm flipV="1">
              <a:off x="7441315" y="2487406"/>
              <a:ext cx="423705" cy="442832"/>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3B41CCB-1300-8B4D-82FE-67FEA063FEF1}"/>
                </a:ext>
              </a:extLst>
            </p:cNvPr>
            <p:cNvCxnSpPr/>
            <p:nvPr/>
          </p:nvCxnSpPr>
          <p:spPr>
            <a:xfrm flipV="1">
              <a:off x="7441315" y="2703239"/>
              <a:ext cx="430231" cy="226999"/>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9002907-228D-B64E-B1E5-C0324FE09C1B}"/>
                </a:ext>
              </a:extLst>
            </p:cNvPr>
            <p:cNvCxnSpPr/>
            <p:nvPr/>
          </p:nvCxnSpPr>
          <p:spPr>
            <a:xfrm flipV="1">
              <a:off x="7441315" y="2928564"/>
              <a:ext cx="431726" cy="1674"/>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D47228E7-8E26-1D4E-9F83-610F49AC657D}"/>
                </a:ext>
              </a:extLst>
            </p:cNvPr>
            <p:cNvCxnSpPr/>
            <p:nvPr/>
          </p:nvCxnSpPr>
          <p:spPr>
            <a:xfrm flipV="1">
              <a:off x="7441314" y="2262081"/>
              <a:ext cx="422211" cy="899498"/>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5F75F7A8-A3A2-E84C-99FE-A025B8F041F9}"/>
                </a:ext>
              </a:extLst>
            </p:cNvPr>
            <p:cNvCxnSpPr/>
            <p:nvPr/>
          </p:nvCxnSpPr>
          <p:spPr>
            <a:xfrm flipV="1">
              <a:off x="7441314" y="2487406"/>
              <a:ext cx="423706" cy="674173"/>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12F3A50-B9FB-2C41-9D95-C406B50103A1}"/>
                </a:ext>
              </a:extLst>
            </p:cNvPr>
            <p:cNvCxnSpPr/>
            <p:nvPr/>
          </p:nvCxnSpPr>
          <p:spPr>
            <a:xfrm flipV="1">
              <a:off x="7441314" y="2703239"/>
              <a:ext cx="430232" cy="458340"/>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2D6BDA13-4B67-5446-BBAF-942243E2ECC5}"/>
                </a:ext>
              </a:extLst>
            </p:cNvPr>
            <p:cNvCxnSpPr/>
            <p:nvPr/>
          </p:nvCxnSpPr>
          <p:spPr>
            <a:xfrm flipV="1">
              <a:off x="7441314" y="2928564"/>
              <a:ext cx="431727" cy="233015"/>
            </a:xfrm>
            <a:prstGeom prst="line">
              <a:avLst/>
            </a:prstGeom>
            <a:ln w="635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grpSp>
      <p:sp>
        <p:nvSpPr>
          <p:cNvPr id="144" name="Left-Right Arrow 143"/>
          <p:cNvSpPr/>
          <p:nvPr/>
        </p:nvSpPr>
        <p:spPr>
          <a:xfrm>
            <a:off x="3316807" y="3941880"/>
            <a:ext cx="5349356" cy="625474"/>
          </a:xfrm>
          <a:prstGeom prst="leftRightArrow">
            <a:avLst>
              <a:gd name="adj1" fmla="val 66472"/>
              <a:gd name="adj2"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200" dirty="0">
                <a:solidFill>
                  <a:srgbClr val="005073"/>
                </a:solidFill>
                <a:latin typeface="CiscoSansTT ExtraLight"/>
              </a:rPr>
              <a:t>Consistent Topology – Same Hardware – </a:t>
            </a:r>
            <a:br>
              <a:rPr lang="en-US" sz="1200" dirty="0">
                <a:solidFill>
                  <a:srgbClr val="005073"/>
                </a:solidFill>
                <a:latin typeface="CiscoSansTT ExtraLight"/>
              </a:rPr>
            </a:br>
            <a:r>
              <a:rPr lang="en-US" sz="1200" dirty="0">
                <a:solidFill>
                  <a:srgbClr val="005073"/>
                </a:solidFill>
                <a:latin typeface="CiscoSansTT ExtraLight"/>
              </a:rPr>
              <a:t>Same Cabling – Choice of Software Paradigm</a:t>
            </a:r>
          </a:p>
        </p:txBody>
      </p:sp>
      <p:grpSp>
        <p:nvGrpSpPr>
          <p:cNvPr id="145" name="Group 144"/>
          <p:cNvGrpSpPr/>
          <p:nvPr/>
        </p:nvGrpSpPr>
        <p:grpSpPr>
          <a:xfrm>
            <a:off x="3725560" y="2171804"/>
            <a:ext cx="1759555" cy="1297587"/>
            <a:chOff x="5793616" y="1334478"/>
            <a:chExt cx="1994472" cy="1471157"/>
          </a:xfrm>
        </p:grpSpPr>
        <p:pic>
          <p:nvPicPr>
            <p:cNvPr id="146" name="Picture 145">
              <a:extLst>
                <a:ext uri="{FF2B5EF4-FFF2-40B4-BE49-F238E27FC236}">
                  <a16:creationId xmlns:a16="http://schemas.microsoft.com/office/drawing/2014/main" id="{6501BE4D-6095-7947-97C8-5D71E695D1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93616" y="2158788"/>
              <a:ext cx="378511" cy="485482"/>
            </a:xfrm>
            <a:prstGeom prst="rect">
              <a:avLst/>
            </a:prstGeom>
          </p:spPr>
        </p:pic>
        <p:pic>
          <p:nvPicPr>
            <p:cNvPr id="147" name="Picture 146">
              <a:extLst>
                <a:ext uri="{FF2B5EF4-FFF2-40B4-BE49-F238E27FC236}">
                  <a16:creationId xmlns:a16="http://schemas.microsoft.com/office/drawing/2014/main" id="{FA80F940-3741-A749-977E-5E57F7E2EE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32270" y="2158788"/>
              <a:ext cx="378511" cy="485482"/>
            </a:xfrm>
            <a:prstGeom prst="rect">
              <a:avLst/>
            </a:prstGeom>
          </p:spPr>
        </p:pic>
        <p:pic>
          <p:nvPicPr>
            <p:cNvPr id="148" name="Picture 147">
              <a:extLst>
                <a:ext uri="{FF2B5EF4-FFF2-40B4-BE49-F238E27FC236}">
                  <a16:creationId xmlns:a16="http://schemas.microsoft.com/office/drawing/2014/main" id="{EDDDCB62-72D3-404C-BEA6-BAA7BEE412B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70924" y="2158788"/>
              <a:ext cx="378511" cy="485482"/>
            </a:xfrm>
            <a:prstGeom prst="rect">
              <a:avLst/>
            </a:prstGeom>
          </p:spPr>
        </p:pic>
        <p:pic>
          <p:nvPicPr>
            <p:cNvPr id="149" name="Picture 148">
              <a:extLst>
                <a:ext uri="{FF2B5EF4-FFF2-40B4-BE49-F238E27FC236}">
                  <a16:creationId xmlns:a16="http://schemas.microsoft.com/office/drawing/2014/main" id="{8CF55EF2-E19A-8A4C-B9AA-DF32D23BF99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09577" y="2158788"/>
              <a:ext cx="378511" cy="485482"/>
            </a:xfrm>
            <a:prstGeom prst="rect">
              <a:avLst/>
            </a:prstGeom>
          </p:spPr>
        </p:pic>
        <p:pic>
          <p:nvPicPr>
            <p:cNvPr id="150" name="Picture 149">
              <a:extLst>
                <a:ext uri="{FF2B5EF4-FFF2-40B4-BE49-F238E27FC236}">
                  <a16:creationId xmlns:a16="http://schemas.microsoft.com/office/drawing/2014/main" id="{A2438C44-0AEA-EA4F-8B1D-0D27E2ACD8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28535" y="1334478"/>
              <a:ext cx="378511" cy="485482"/>
            </a:xfrm>
            <a:prstGeom prst="rect">
              <a:avLst/>
            </a:prstGeom>
          </p:spPr>
        </p:pic>
        <p:pic>
          <p:nvPicPr>
            <p:cNvPr id="151" name="Picture 150">
              <a:extLst>
                <a:ext uri="{FF2B5EF4-FFF2-40B4-BE49-F238E27FC236}">
                  <a16:creationId xmlns:a16="http://schemas.microsoft.com/office/drawing/2014/main" id="{DD80BB3E-C30F-D745-A17C-8A75B04EA5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67189" y="1334478"/>
              <a:ext cx="378511" cy="485482"/>
            </a:xfrm>
            <a:prstGeom prst="rect">
              <a:avLst/>
            </a:prstGeom>
          </p:spPr>
        </p:pic>
        <p:cxnSp>
          <p:nvCxnSpPr>
            <p:cNvPr id="152" name="Straight Connector 151">
              <a:extLst>
                <a:ext uri="{FF2B5EF4-FFF2-40B4-BE49-F238E27FC236}">
                  <a16:creationId xmlns:a16="http://schemas.microsoft.com/office/drawing/2014/main" id="{4A8EA2C7-136B-B742-935B-3E439D370DE1}"/>
                </a:ext>
              </a:extLst>
            </p:cNvPr>
            <p:cNvCxnSpPr/>
            <p:nvPr/>
          </p:nvCxnSpPr>
          <p:spPr>
            <a:xfrm flipV="1">
              <a:off x="6016099" y="1805511"/>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C51640EF-AA33-614A-9E04-8F27B5C595A1}"/>
                </a:ext>
              </a:extLst>
            </p:cNvPr>
            <p:cNvCxnSpPr>
              <a:cxnSpLocks/>
            </p:cNvCxnSpPr>
            <p:nvPr/>
          </p:nvCxnSpPr>
          <p:spPr>
            <a:xfrm flipH="1" flipV="1">
              <a:off x="6551018" y="1805511"/>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DA5CC831-BD4D-8C46-81B6-37FA603C84A0}"/>
                </a:ext>
              </a:extLst>
            </p:cNvPr>
            <p:cNvCxnSpPr>
              <a:cxnSpLocks/>
            </p:cNvCxnSpPr>
            <p:nvPr/>
          </p:nvCxnSpPr>
          <p:spPr>
            <a:xfrm flipH="1" flipV="1">
              <a:off x="6551018" y="1805511"/>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B9C6F769-4F55-A14F-A501-6726E6E2BE6E}"/>
                </a:ext>
              </a:extLst>
            </p:cNvPr>
            <p:cNvCxnSpPr>
              <a:cxnSpLocks/>
            </p:cNvCxnSpPr>
            <p:nvPr/>
          </p:nvCxnSpPr>
          <p:spPr>
            <a:xfrm>
              <a:off x="6551018" y="1805511"/>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061FDD37-9696-254E-A994-C5D253389656}"/>
                </a:ext>
              </a:extLst>
            </p:cNvPr>
            <p:cNvCxnSpPr>
              <a:cxnSpLocks/>
            </p:cNvCxnSpPr>
            <p:nvPr/>
          </p:nvCxnSpPr>
          <p:spPr>
            <a:xfrm>
              <a:off x="7089672" y="1805511"/>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75E4F185-7623-8D4C-920D-DC839A858436}"/>
                </a:ext>
              </a:extLst>
            </p:cNvPr>
            <p:cNvCxnSpPr>
              <a:cxnSpLocks/>
            </p:cNvCxnSpPr>
            <p:nvPr/>
          </p:nvCxnSpPr>
          <p:spPr>
            <a:xfrm flipH="1">
              <a:off x="6554753" y="1805511"/>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12582621-745B-2A4D-8CF5-0D7C96250A07}"/>
                </a:ext>
              </a:extLst>
            </p:cNvPr>
            <p:cNvCxnSpPr>
              <a:cxnSpLocks/>
            </p:cNvCxnSpPr>
            <p:nvPr/>
          </p:nvCxnSpPr>
          <p:spPr>
            <a:xfrm flipH="1">
              <a:off x="6016099" y="1805511"/>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4C34F6CD-CAD7-914C-8C4C-30D32D6F9881}"/>
                </a:ext>
              </a:extLst>
            </p:cNvPr>
            <p:cNvCxnSpPr>
              <a:cxnSpLocks/>
            </p:cNvCxnSpPr>
            <p:nvPr/>
          </p:nvCxnSpPr>
          <p:spPr>
            <a:xfrm>
              <a:off x="7089672" y="1805511"/>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C630789C-2E01-2D44-B01A-D5D0E7CD883B}"/>
                </a:ext>
              </a:extLst>
            </p:cNvPr>
            <p:cNvCxnSpPr>
              <a:cxnSpLocks/>
            </p:cNvCxnSpPr>
            <p:nvPr/>
          </p:nvCxnSpPr>
          <p:spPr>
            <a:xfrm>
              <a:off x="5816669"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8280AEDC-50D3-5E4F-B880-D83562B3C562}"/>
                </a:ext>
              </a:extLst>
            </p:cNvPr>
            <p:cNvCxnSpPr>
              <a:cxnSpLocks/>
            </p:cNvCxnSpPr>
            <p:nvPr/>
          </p:nvCxnSpPr>
          <p:spPr>
            <a:xfrm>
              <a:off x="5864419"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0B92A13D-B20F-334A-9C34-96B195A0B09D}"/>
                </a:ext>
              </a:extLst>
            </p:cNvPr>
            <p:cNvCxnSpPr>
              <a:cxnSpLocks/>
            </p:cNvCxnSpPr>
            <p:nvPr/>
          </p:nvCxnSpPr>
          <p:spPr>
            <a:xfrm>
              <a:off x="5912170"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5316EAE6-0996-A44E-8B9D-758564E4D0D0}"/>
                </a:ext>
              </a:extLst>
            </p:cNvPr>
            <p:cNvCxnSpPr>
              <a:cxnSpLocks/>
            </p:cNvCxnSpPr>
            <p:nvPr/>
          </p:nvCxnSpPr>
          <p:spPr>
            <a:xfrm>
              <a:off x="5959921"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93F46143-07A7-D444-B21E-4B8E14B4E886}"/>
                </a:ext>
              </a:extLst>
            </p:cNvPr>
            <p:cNvCxnSpPr>
              <a:cxnSpLocks/>
            </p:cNvCxnSpPr>
            <p:nvPr/>
          </p:nvCxnSpPr>
          <p:spPr>
            <a:xfrm>
              <a:off x="6007672"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F0C5262D-C472-A24A-AFE9-36022053FA5E}"/>
                </a:ext>
              </a:extLst>
            </p:cNvPr>
            <p:cNvCxnSpPr>
              <a:cxnSpLocks/>
            </p:cNvCxnSpPr>
            <p:nvPr/>
          </p:nvCxnSpPr>
          <p:spPr>
            <a:xfrm>
              <a:off x="6055423"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665E160-48B9-104C-B6D0-A3DC92C2F963}"/>
                </a:ext>
              </a:extLst>
            </p:cNvPr>
            <p:cNvCxnSpPr>
              <a:cxnSpLocks/>
            </p:cNvCxnSpPr>
            <p:nvPr/>
          </p:nvCxnSpPr>
          <p:spPr>
            <a:xfrm>
              <a:off x="6103174"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65A3674-DDA3-4140-A67D-9ECD8A2B6EE6}"/>
                </a:ext>
              </a:extLst>
            </p:cNvPr>
            <p:cNvCxnSpPr>
              <a:cxnSpLocks/>
            </p:cNvCxnSpPr>
            <p:nvPr/>
          </p:nvCxnSpPr>
          <p:spPr>
            <a:xfrm>
              <a:off x="6150924"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009E129D-7CE8-044F-BCC8-9DE0CE4B7493}"/>
                </a:ext>
              </a:extLst>
            </p:cNvPr>
            <p:cNvCxnSpPr>
              <a:cxnSpLocks/>
            </p:cNvCxnSpPr>
            <p:nvPr/>
          </p:nvCxnSpPr>
          <p:spPr>
            <a:xfrm>
              <a:off x="6345119"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26B36D10-3039-194D-B97D-4B01D1253BD1}"/>
                </a:ext>
              </a:extLst>
            </p:cNvPr>
            <p:cNvCxnSpPr>
              <a:cxnSpLocks/>
            </p:cNvCxnSpPr>
            <p:nvPr/>
          </p:nvCxnSpPr>
          <p:spPr>
            <a:xfrm>
              <a:off x="6392871"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A40ECFA9-6228-1A41-AC3D-3C225128FBAD}"/>
                </a:ext>
              </a:extLst>
            </p:cNvPr>
            <p:cNvCxnSpPr>
              <a:cxnSpLocks/>
            </p:cNvCxnSpPr>
            <p:nvPr/>
          </p:nvCxnSpPr>
          <p:spPr>
            <a:xfrm>
              <a:off x="6440622"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DEFAAD2A-1AFD-B841-B7E8-68B5D122E268}"/>
                </a:ext>
              </a:extLst>
            </p:cNvPr>
            <p:cNvCxnSpPr>
              <a:cxnSpLocks/>
            </p:cNvCxnSpPr>
            <p:nvPr/>
          </p:nvCxnSpPr>
          <p:spPr>
            <a:xfrm>
              <a:off x="6488372"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20A5310-3952-3340-A836-D31F24C1F640}"/>
                </a:ext>
              </a:extLst>
            </p:cNvPr>
            <p:cNvCxnSpPr>
              <a:cxnSpLocks/>
            </p:cNvCxnSpPr>
            <p:nvPr/>
          </p:nvCxnSpPr>
          <p:spPr>
            <a:xfrm>
              <a:off x="6536123"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D70BE24A-B280-C440-8F9F-197D10F82442}"/>
                </a:ext>
              </a:extLst>
            </p:cNvPr>
            <p:cNvCxnSpPr>
              <a:cxnSpLocks/>
            </p:cNvCxnSpPr>
            <p:nvPr/>
          </p:nvCxnSpPr>
          <p:spPr>
            <a:xfrm>
              <a:off x="6583875"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4C1D31FE-50EB-D349-B8DB-193298C84A30}"/>
                </a:ext>
              </a:extLst>
            </p:cNvPr>
            <p:cNvCxnSpPr>
              <a:cxnSpLocks/>
            </p:cNvCxnSpPr>
            <p:nvPr/>
          </p:nvCxnSpPr>
          <p:spPr>
            <a:xfrm>
              <a:off x="6631625"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DA143978-C7AF-6943-BE55-6FA42220BE81}"/>
                </a:ext>
              </a:extLst>
            </p:cNvPr>
            <p:cNvCxnSpPr>
              <a:cxnSpLocks/>
            </p:cNvCxnSpPr>
            <p:nvPr/>
          </p:nvCxnSpPr>
          <p:spPr>
            <a:xfrm>
              <a:off x="6679375" y="262121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51C87A55-F802-1C48-9344-364E6D959D66}"/>
                </a:ext>
              </a:extLst>
            </p:cNvPr>
            <p:cNvCxnSpPr>
              <a:cxnSpLocks/>
            </p:cNvCxnSpPr>
            <p:nvPr/>
          </p:nvCxnSpPr>
          <p:spPr>
            <a:xfrm>
              <a:off x="6883773" y="2631940"/>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FE753450-D598-C043-A39D-F7E91F229460}"/>
                </a:ext>
              </a:extLst>
            </p:cNvPr>
            <p:cNvCxnSpPr>
              <a:cxnSpLocks/>
            </p:cNvCxnSpPr>
            <p:nvPr/>
          </p:nvCxnSpPr>
          <p:spPr>
            <a:xfrm>
              <a:off x="6931524" y="2631940"/>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2C60C428-4696-804C-8077-7323C439CE2B}"/>
                </a:ext>
              </a:extLst>
            </p:cNvPr>
            <p:cNvCxnSpPr>
              <a:cxnSpLocks/>
            </p:cNvCxnSpPr>
            <p:nvPr/>
          </p:nvCxnSpPr>
          <p:spPr>
            <a:xfrm>
              <a:off x="6979276" y="2631940"/>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921ECB4F-30AE-5245-8D8F-00DA9B64400E}"/>
                </a:ext>
              </a:extLst>
            </p:cNvPr>
            <p:cNvCxnSpPr>
              <a:cxnSpLocks/>
            </p:cNvCxnSpPr>
            <p:nvPr/>
          </p:nvCxnSpPr>
          <p:spPr>
            <a:xfrm>
              <a:off x="7027026" y="2631940"/>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C40C8084-E874-7A43-92B7-7D3CE02226C6}"/>
                </a:ext>
              </a:extLst>
            </p:cNvPr>
            <p:cNvCxnSpPr>
              <a:cxnSpLocks/>
            </p:cNvCxnSpPr>
            <p:nvPr/>
          </p:nvCxnSpPr>
          <p:spPr>
            <a:xfrm>
              <a:off x="7074777" y="2631940"/>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5118753-0DF3-B54A-B962-7B5F26F54509}"/>
                </a:ext>
              </a:extLst>
            </p:cNvPr>
            <p:cNvCxnSpPr>
              <a:cxnSpLocks/>
            </p:cNvCxnSpPr>
            <p:nvPr/>
          </p:nvCxnSpPr>
          <p:spPr>
            <a:xfrm>
              <a:off x="7122529" y="2631940"/>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388196C1-57C3-6E4A-8A2B-A359E68BD882}"/>
                </a:ext>
              </a:extLst>
            </p:cNvPr>
            <p:cNvCxnSpPr>
              <a:cxnSpLocks/>
            </p:cNvCxnSpPr>
            <p:nvPr/>
          </p:nvCxnSpPr>
          <p:spPr>
            <a:xfrm>
              <a:off x="7170279" y="2631940"/>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6D822C64-72CD-6C41-BB6E-DFDA2302E992}"/>
                </a:ext>
              </a:extLst>
            </p:cNvPr>
            <p:cNvCxnSpPr>
              <a:cxnSpLocks/>
            </p:cNvCxnSpPr>
            <p:nvPr/>
          </p:nvCxnSpPr>
          <p:spPr>
            <a:xfrm>
              <a:off x="7218029" y="2631940"/>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975EA81E-3C34-904E-9079-742098154A3A}"/>
                </a:ext>
              </a:extLst>
            </p:cNvPr>
            <p:cNvCxnSpPr>
              <a:cxnSpLocks/>
            </p:cNvCxnSpPr>
            <p:nvPr/>
          </p:nvCxnSpPr>
          <p:spPr>
            <a:xfrm>
              <a:off x="7420330" y="2627294"/>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049E458D-17C1-EB4D-A31D-44B5A0DE7906}"/>
                </a:ext>
              </a:extLst>
            </p:cNvPr>
            <p:cNvCxnSpPr>
              <a:cxnSpLocks/>
            </p:cNvCxnSpPr>
            <p:nvPr/>
          </p:nvCxnSpPr>
          <p:spPr>
            <a:xfrm>
              <a:off x="7468081" y="2627294"/>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340A5FB3-DDFE-044E-BACE-63F640A05796}"/>
                </a:ext>
              </a:extLst>
            </p:cNvPr>
            <p:cNvCxnSpPr>
              <a:cxnSpLocks/>
            </p:cNvCxnSpPr>
            <p:nvPr/>
          </p:nvCxnSpPr>
          <p:spPr>
            <a:xfrm>
              <a:off x="7515833" y="2627294"/>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0CC4024D-A9DB-E344-9A36-38A2FCCA9953}"/>
                </a:ext>
              </a:extLst>
            </p:cNvPr>
            <p:cNvCxnSpPr>
              <a:cxnSpLocks/>
            </p:cNvCxnSpPr>
            <p:nvPr/>
          </p:nvCxnSpPr>
          <p:spPr>
            <a:xfrm>
              <a:off x="7563583" y="2627294"/>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893FDA6B-D9F0-824A-BE8C-DC4DA071A03D}"/>
                </a:ext>
              </a:extLst>
            </p:cNvPr>
            <p:cNvCxnSpPr>
              <a:cxnSpLocks/>
            </p:cNvCxnSpPr>
            <p:nvPr/>
          </p:nvCxnSpPr>
          <p:spPr>
            <a:xfrm>
              <a:off x="7611334" y="2627294"/>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8D01F5D4-8E49-864F-AC4B-89D458AC0B45}"/>
                </a:ext>
              </a:extLst>
            </p:cNvPr>
            <p:cNvCxnSpPr>
              <a:cxnSpLocks/>
            </p:cNvCxnSpPr>
            <p:nvPr/>
          </p:nvCxnSpPr>
          <p:spPr>
            <a:xfrm>
              <a:off x="7659086" y="2627294"/>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06891B1F-83C1-5342-A8BE-605FE16B43F1}"/>
                </a:ext>
              </a:extLst>
            </p:cNvPr>
            <p:cNvCxnSpPr>
              <a:cxnSpLocks/>
            </p:cNvCxnSpPr>
            <p:nvPr/>
          </p:nvCxnSpPr>
          <p:spPr>
            <a:xfrm>
              <a:off x="7706836" y="2627294"/>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120A7731-6C36-EE41-87BE-100DDEB65899}"/>
                </a:ext>
              </a:extLst>
            </p:cNvPr>
            <p:cNvCxnSpPr>
              <a:cxnSpLocks/>
            </p:cNvCxnSpPr>
            <p:nvPr/>
          </p:nvCxnSpPr>
          <p:spPr>
            <a:xfrm>
              <a:off x="7754586" y="2627293"/>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BBDE27A2-E5EB-C84F-8105-FCFFF9A0F6CF}"/>
                </a:ext>
              </a:extLst>
            </p:cNvPr>
            <p:cNvCxnSpPr/>
            <p:nvPr/>
          </p:nvCxnSpPr>
          <p:spPr>
            <a:xfrm flipV="1">
              <a:off x="594132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F211CC11-C3AA-DB48-A7E9-F3A8BBFF0341}"/>
                </a:ext>
              </a:extLst>
            </p:cNvPr>
            <p:cNvCxnSpPr>
              <a:cxnSpLocks/>
            </p:cNvCxnSpPr>
            <p:nvPr/>
          </p:nvCxnSpPr>
          <p:spPr>
            <a:xfrm flipH="1" flipV="1">
              <a:off x="6476240"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7F2AF944-523E-DE49-A61F-BB2A7BF3254A}"/>
                </a:ext>
              </a:extLst>
            </p:cNvPr>
            <p:cNvCxnSpPr>
              <a:cxnSpLocks/>
            </p:cNvCxnSpPr>
            <p:nvPr/>
          </p:nvCxnSpPr>
          <p:spPr>
            <a:xfrm flipH="1" flipV="1">
              <a:off x="6476240"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9E64FF3-E8C0-DD48-A583-3C7301F43301}"/>
                </a:ext>
              </a:extLst>
            </p:cNvPr>
            <p:cNvCxnSpPr>
              <a:cxnSpLocks/>
            </p:cNvCxnSpPr>
            <p:nvPr/>
          </p:nvCxnSpPr>
          <p:spPr>
            <a:xfrm>
              <a:off x="6476240"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E2277B8A-2495-3743-A637-755AF76B2F1E}"/>
                </a:ext>
              </a:extLst>
            </p:cNvPr>
            <p:cNvCxnSpPr>
              <a:cxnSpLocks/>
            </p:cNvCxnSpPr>
            <p:nvPr/>
          </p:nvCxnSpPr>
          <p:spPr>
            <a:xfrm>
              <a:off x="7014894"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E1511104-7F66-7A4B-A0D4-496FAA001887}"/>
                </a:ext>
              </a:extLst>
            </p:cNvPr>
            <p:cNvCxnSpPr>
              <a:cxnSpLocks/>
            </p:cNvCxnSpPr>
            <p:nvPr/>
          </p:nvCxnSpPr>
          <p:spPr>
            <a:xfrm flipH="1">
              <a:off x="6479975"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7AF2F263-595C-474D-8F0A-BE804BB576D7}"/>
                </a:ext>
              </a:extLst>
            </p:cNvPr>
            <p:cNvCxnSpPr>
              <a:cxnSpLocks/>
            </p:cNvCxnSpPr>
            <p:nvPr/>
          </p:nvCxnSpPr>
          <p:spPr>
            <a:xfrm flipH="1">
              <a:off x="5941322"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CCAE4F87-96DE-F244-A7B5-F41F02EEB7AB}"/>
                </a:ext>
              </a:extLst>
            </p:cNvPr>
            <p:cNvCxnSpPr>
              <a:cxnSpLocks/>
            </p:cNvCxnSpPr>
            <p:nvPr/>
          </p:nvCxnSpPr>
          <p:spPr>
            <a:xfrm>
              <a:off x="7014894"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C201273A-5052-2C48-9EE6-B13FFAD54CAC}"/>
                </a:ext>
              </a:extLst>
            </p:cNvPr>
            <p:cNvCxnSpPr/>
            <p:nvPr/>
          </p:nvCxnSpPr>
          <p:spPr>
            <a:xfrm flipV="1">
              <a:off x="6090874"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BEB1D790-0ACD-0D47-86D4-34DC71B0E162}"/>
                </a:ext>
              </a:extLst>
            </p:cNvPr>
            <p:cNvCxnSpPr>
              <a:cxnSpLocks/>
            </p:cNvCxnSpPr>
            <p:nvPr/>
          </p:nvCxnSpPr>
          <p:spPr>
            <a:xfrm flipH="1" flipV="1">
              <a:off x="6625793"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A5E0F479-4893-EC4D-999B-DA9E43EC1AA8}"/>
                </a:ext>
              </a:extLst>
            </p:cNvPr>
            <p:cNvCxnSpPr>
              <a:cxnSpLocks/>
            </p:cNvCxnSpPr>
            <p:nvPr/>
          </p:nvCxnSpPr>
          <p:spPr>
            <a:xfrm flipH="1" flipV="1">
              <a:off x="6625793"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5D3F44CB-37F7-1146-8BFD-0750C959E3E0}"/>
                </a:ext>
              </a:extLst>
            </p:cNvPr>
            <p:cNvCxnSpPr>
              <a:cxnSpLocks/>
            </p:cNvCxnSpPr>
            <p:nvPr/>
          </p:nvCxnSpPr>
          <p:spPr>
            <a:xfrm>
              <a:off x="6625793"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A9C02803-D1AE-914E-A476-9AACD48B53B7}"/>
                </a:ext>
              </a:extLst>
            </p:cNvPr>
            <p:cNvCxnSpPr>
              <a:cxnSpLocks/>
            </p:cNvCxnSpPr>
            <p:nvPr/>
          </p:nvCxnSpPr>
          <p:spPr>
            <a:xfrm>
              <a:off x="716444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7082FFE-F027-4D4A-8EC7-B1891F90292C}"/>
                </a:ext>
              </a:extLst>
            </p:cNvPr>
            <p:cNvCxnSpPr>
              <a:cxnSpLocks/>
            </p:cNvCxnSpPr>
            <p:nvPr/>
          </p:nvCxnSpPr>
          <p:spPr>
            <a:xfrm flipH="1">
              <a:off x="662952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CF84BFE0-4CD8-184D-9F74-88195C02D6C7}"/>
                </a:ext>
              </a:extLst>
            </p:cNvPr>
            <p:cNvCxnSpPr>
              <a:cxnSpLocks/>
            </p:cNvCxnSpPr>
            <p:nvPr/>
          </p:nvCxnSpPr>
          <p:spPr>
            <a:xfrm flipH="1">
              <a:off x="6090874"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94B266AA-B1A7-7948-8144-B57DEAD7A69C}"/>
                </a:ext>
              </a:extLst>
            </p:cNvPr>
            <p:cNvCxnSpPr>
              <a:cxnSpLocks/>
            </p:cNvCxnSpPr>
            <p:nvPr/>
          </p:nvCxnSpPr>
          <p:spPr>
            <a:xfrm>
              <a:off x="7164448"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3F403F39-6767-FD44-B686-6E966B3C5645}"/>
                </a:ext>
              </a:extLst>
            </p:cNvPr>
            <p:cNvCxnSpPr/>
            <p:nvPr/>
          </p:nvCxnSpPr>
          <p:spPr>
            <a:xfrm flipV="1">
              <a:off x="5866547"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BA4D7F2F-A11B-AF4F-8BF0-983403B97899}"/>
                </a:ext>
              </a:extLst>
            </p:cNvPr>
            <p:cNvCxnSpPr>
              <a:cxnSpLocks/>
            </p:cNvCxnSpPr>
            <p:nvPr/>
          </p:nvCxnSpPr>
          <p:spPr>
            <a:xfrm flipH="1" flipV="1">
              <a:off x="6401466"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A071FB0D-4EB2-C345-9C38-24E607D4E3BE}"/>
                </a:ext>
              </a:extLst>
            </p:cNvPr>
            <p:cNvCxnSpPr>
              <a:cxnSpLocks/>
            </p:cNvCxnSpPr>
            <p:nvPr/>
          </p:nvCxnSpPr>
          <p:spPr>
            <a:xfrm flipH="1" flipV="1">
              <a:off x="6401466"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249F9012-0970-5C43-A84D-C210E4C6544E}"/>
                </a:ext>
              </a:extLst>
            </p:cNvPr>
            <p:cNvCxnSpPr>
              <a:cxnSpLocks/>
            </p:cNvCxnSpPr>
            <p:nvPr/>
          </p:nvCxnSpPr>
          <p:spPr>
            <a:xfrm>
              <a:off x="6401466"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D0AB873A-0BA8-DC4C-9D02-73C765E7DB23}"/>
                </a:ext>
              </a:extLst>
            </p:cNvPr>
            <p:cNvCxnSpPr>
              <a:cxnSpLocks/>
            </p:cNvCxnSpPr>
            <p:nvPr/>
          </p:nvCxnSpPr>
          <p:spPr>
            <a:xfrm>
              <a:off x="6940120"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1448CC0A-B382-6847-861A-FDFC7BC837B9}"/>
                </a:ext>
              </a:extLst>
            </p:cNvPr>
            <p:cNvCxnSpPr>
              <a:cxnSpLocks/>
            </p:cNvCxnSpPr>
            <p:nvPr/>
          </p:nvCxnSpPr>
          <p:spPr>
            <a:xfrm flipH="1">
              <a:off x="6405201"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6965AFB9-C52A-304D-8D2E-173DD27F012F}"/>
                </a:ext>
              </a:extLst>
            </p:cNvPr>
            <p:cNvCxnSpPr>
              <a:cxnSpLocks/>
            </p:cNvCxnSpPr>
            <p:nvPr/>
          </p:nvCxnSpPr>
          <p:spPr>
            <a:xfrm flipH="1">
              <a:off x="5866548" y="1805512"/>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8C7EB7B9-A1A0-F743-B13B-EB073AE03EE8}"/>
                </a:ext>
              </a:extLst>
            </p:cNvPr>
            <p:cNvCxnSpPr>
              <a:cxnSpLocks/>
            </p:cNvCxnSpPr>
            <p:nvPr/>
          </p:nvCxnSpPr>
          <p:spPr>
            <a:xfrm>
              <a:off x="6940121" y="1805509"/>
              <a:ext cx="542389" cy="338828"/>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4175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1" name="Rectangle 310"/>
          <p:cNvSpPr/>
          <p:nvPr/>
        </p:nvSpPr>
        <p:spPr>
          <a:xfrm>
            <a:off x="6887506" y="1282483"/>
            <a:ext cx="1848170" cy="1524017"/>
          </a:xfrm>
          <a:prstGeom prst="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94" name="Oval 293"/>
          <p:cNvSpPr/>
          <p:nvPr/>
        </p:nvSpPr>
        <p:spPr>
          <a:xfrm>
            <a:off x="7716440" y="1614855"/>
            <a:ext cx="918641" cy="884615"/>
          </a:xfrm>
          <a:prstGeom prst="ellipse">
            <a:avLst/>
          </a:prstGeom>
          <a:no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nvGrpSpPr>
          <p:cNvPr id="3" name="Group 2"/>
          <p:cNvGrpSpPr/>
          <p:nvPr/>
        </p:nvGrpSpPr>
        <p:grpSpPr>
          <a:xfrm>
            <a:off x="6920457" y="1307098"/>
            <a:ext cx="1615812" cy="1113065"/>
            <a:chOff x="6920457" y="1414604"/>
            <a:chExt cx="1615812" cy="1148462"/>
          </a:xfrm>
        </p:grpSpPr>
        <p:grpSp>
          <p:nvGrpSpPr>
            <p:cNvPr id="312" name="Group 311"/>
            <p:cNvGrpSpPr/>
            <p:nvPr/>
          </p:nvGrpSpPr>
          <p:grpSpPr>
            <a:xfrm>
              <a:off x="7861239" y="1946177"/>
              <a:ext cx="675030" cy="616889"/>
              <a:chOff x="5366550" y="1160960"/>
              <a:chExt cx="1509116" cy="1270477"/>
            </a:xfrm>
          </p:grpSpPr>
          <p:pic>
            <p:nvPicPr>
              <p:cNvPr id="314" name="Picture 3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54619" y="1160960"/>
                <a:ext cx="521047" cy="521048"/>
              </a:xfrm>
              <a:prstGeom prst="rect">
                <a:avLst/>
              </a:prstGeom>
            </p:spPr>
          </p:pic>
          <p:grpSp>
            <p:nvGrpSpPr>
              <p:cNvPr id="315" name="Group 314"/>
              <p:cNvGrpSpPr/>
              <p:nvPr/>
            </p:nvGrpSpPr>
            <p:grpSpPr>
              <a:xfrm rot="16200000">
                <a:off x="5344777" y="1636885"/>
                <a:ext cx="816325" cy="772779"/>
                <a:chOff x="5793619" y="1334476"/>
                <a:chExt cx="1994473" cy="1471157"/>
              </a:xfrm>
            </p:grpSpPr>
            <p:pic>
              <p:nvPicPr>
                <p:cNvPr id="332" name="Picture 331">
                  <a:extLst>
                    <a:ext uri="{FF2B5EF4-FFF2-40B4-BE49-F238E27FC236}">
                      <a16:creationId xmlns:a16="http://schemas.microsoft.com/office/drawing/2014/main" id="{6501BE4D-6095-7947-97C8-5D71E695D1D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93619" y="2158786"/>
                  <a:ext cx="378511" cy="485482"/>
                </a:xfrm>
                <a:prstGeom prst="rect">
                  <a:avLst/>
                </a:prstGeom>
              </p:spPr>
            </p:pic>
            <p:pic>
              <p:nvPicPr>
                <p:cNvPr id="333" name="Picture 332">
                  <a:extLst>
                    <a:ext uri="{FF2B5EF4-FFF2-40B4-BE49-F238E27FC236}">
                      <a16:creationId xmlns:a16="http://schemas.microsoft.com/office/drawing/2014/main" id="{FA80F940-3741-A749-977E-5E57F7E2EE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32273" y="2158786"/>
                  <a:ext cx="378511" cy="485482"/>
                </a:xfrm>
                <a:prstGeom prst="rect">
                  <a:avLst/>
                </a:prstGeom>
              </p:spPr>
            </p:pic>
            <p:pic>
              <p:nvPicPr>
                <p:cNvPr id="334" name="Picture 333">
                  <a:extLst>
                    <a:ext uri="{FF2B5EF4-FFF2-40B4-BE49-F238E27FC236}">
                      <a16:creationId xmlns:a16="http://schemas.microsoft.com/office/drawing/2014/main" id="{EDDDCB62-72D3-404C-BEA6-BAA7BEE412B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70927" y="2158786"/>
                  <a:ext cx="378511" cy="485482"/>
                </a:xfrm>
                <a:prstGeom prst="rect">
                  <a:avLst/>
                </a:prstGeom>
              </p:spPr>
            </p:pic>
            <p:pic>
              <p:nvPicPr>
                <p:cNvPr id="335" name="Picture 334">
                  <a:extLst>
                    <a:ext uri="{FF2B5EF4-FFF2-40B4-BE49-F238E27FC236}">
                      <a16:creationId xmlns:a16="http://schemas.microsoft.com/office/drawing/2014/main" id="{8CF55EF2-E19A-8A4C-B9AA-DF32D23BF99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09581" y="2158786"/>
                  <a:ext cx="378511" cy="485482"/>
                </a:xfrm>
                <a:prstGeom prst="rect">
                  <a:avLst/>
                </a:prstGeom>
              </p:spPr>
            </p:pic>
            <p:pic>
              <p:nvPicPr>
                <p:cNvPr id="336" name="Picture 335">
                  <a:extLst>
                    <a:ext uri="{FF2B5EF4-FFF2-40B4-BE49-F238E27FC236}">
                      <a16:creationId xmlns:a16="http://schemas.microsoft.com/office/drawing/2014/main" id="{A2438C44-0AEA-EA4F-8B1D-0D27E2ACD89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28538" y="1334476"/>
                  <a:ext cx="378511" cy="485482"/>
                </a:xfrm>
                <a:prstGeom prst="rect">
                  <a:avLst/>
                </a:prstGeom>
              </p:spPr>
            </p:pic>
            <p:pic>
              <p:nvPicPr>
                <p:cNvPr id="337" name="Picture 336">
                  <a:extLst>
                    <a:ext uri="{FF2B5EF4-FFF2-40B4-BE49-F238E27FC236}">
                      <a16:creationId xmlns:a16="http://schemas.microsoft.com/office/drawing/2014/main" id="{DD80BB3E-C30F-D745-A17C-8A75B04EA57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67192" y="1334476"/>
                  <a:ext cx="378511" cy="485482"/>
                </a:xfrm>
                <a:prstGeom prst="rect">
                  <a:avLst/>
                </a:prstGeom>
              </p:spPr>
            </p:pic>
            <p:cxnSp>
              <p:nvCxnSpPr>
                <p:cNvPr id="338" name="Straight Connector 337">
                  <a:extLst>
                    <a:ext uri="{FF2B5EF4-FFF2-40B4-BE49-F238E27FC236}">
                      <a16:creationId xmlns:a16="http://schemas.microsoft.com/office/drawing/2014/main" id="{4A8EA2C7-136B-B742-935B-3E439D370DE1}"/>
                    </a:ext>
                  </a:extLst>
                </p:cNvPr>
                <p:cNvCxnSpPr/>
                <p:nvPr/>
              </p:nvCxnSpPr>
              <p:spPr>
                <a:xfrm flipV="1">
                  <a:off x="60161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C51640EF-AA33-614A-9E04-8F27B5C595A1}"/>
                    </a:ext>
                  </a:extLst>
                </p:cNvPr>
                <p:cNvCxnSpPr>
                  <a:cxnSpLocks/>
                </p:cNvCxnSpPr>
                <p:nvPr/>
              </p:nvCxnSpPr>
              <p:spPr>
                <a:xfrm flipH="1" flipV="1">
                  <a:off x="65510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DA5CC831-BD4D-8C46-81B6-37FA603C84A0}"/>
                    </a:ext>
                  </a:extLst>
                </p:cNvPr>
                <p:cNvCxnSpPr>
                  <a:cxnSpLocks/>
                </p:cNvCxnSpPr>
                <p:nvPr/>
              </p:nvCxnSpPr>
              <p:spPr>
                <a:xfrm flipH="1" flipV="1">
                  <a:off x="65510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B9C6F769-4F55-A14F-A501-6726E6E2BE6E}"/>
                    </a:ext>
                  </a:extLst>
                </p:cNvPr>
                <p:cNvCxnSpPr>
                  <a:cxnSpLocks/>
                </p:cNvCxnSpPr>
                <p:nvPr/>
              </p:nvCxnSpPr>
              <p:spPr>
                <a:xfrm>
                  <a:off x="6551021"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061FDD37-9696-254E-A994-C5D253389656}"/>
                    </a:ext>
                  </a:extLst>
                </p:cNvPr>
                <p:cNvCxnSpPr>
                  <a:cxnSpLocks/>
                </p:cNvCxnSpPr>
                <p:nvPr/>
              </p:nvCxnSpPr>
              <p:spPr>
                <a:xfrm>
                  <a:off x="7089675"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75E4F185-7623-8D4C-920D-DC839A858436}"/>
                    </a:ext>
                  </a:extLst>
                </p:cNvPr>
                <p:cNvCxnSpPr>
                  <a:cxnSpLocks/>
                </p:cNvCxnSpPr>
                <p:nvPr/>
              </p:nvCxnSpPr>
              <p:spPr>
                <a:xfrm flipH="1">
                  <a:off x="6554756"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12582621-745B-2A4D-8CF5-0D7C96250A07}"/>
                    </a:ext>
                  </a:extLst>
                </p:cNvPr>
                <p:cNvCxnSpPr>
                  <a:cxnSpLocks/>
                </p:cNvCxnSpPr>
                <p:nvPr/>
              </p:nvCxnSpPr>
              <p:spPr>
                <a:xfrm flipH="1">
                  <a:off x="6016102"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4C34F6CD-CAD7-914C-8C4C-30D32D6F9881}"/>
                    </a:ext>
                  </a:extLst>
                </p:cNvPr>
                <p:cNvCxnSpPr>
                  <a:cxnSpLocks/>
                </p:cNvCxnSpPr>
                <p:nvPr/>
              </p:nvCxnSpPr>
              <p:spPr>
                <a:xfrm>
                  <a:off x="7089675"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C630789C-2E01-2D44-B01A-D5D0E7CD883B}"/>
                    </a:ext>
                  </a:extLst>
                </p:cNvPr>
                <p:cNvCxnSpPr>
                  <a:cxnSpLocks/>
                </p:cNvCxnSpPr>
                <p:nvPr/>
              </p:nvCxnSpPr>
              <p:spPr>
                <a:xfrm>
                  <a:off x="5816671"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8280AEDC-50D3-5E4F-B880-D83562B3C562}"/>
                    </a:ext>
                  </a:extLst>
                </p:cNvPr>
                <p:cNvCxnSpPr>
                  <a:cxnSpLocks/>
                </p:cNvCxnSpPr>
                <p:nvPr/>
              </p:nvCxnSpPr>
              <p:spPr>
                <a:xfrm>
                  <a:off x="5864422"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0B92A13D-B20F-334A-9C34-96B195A0B09D}"/>
                    </a:ext>
                  </a:extLst>
                </p:cNvPr>
                <p:cNvCxnSpPr>
                  <a:cxnSpLocks/>
                </p:cNvCxnSpPr>
                <p:nvPr/>
              </p:nvCxnSpPr>
              <p:spPr>
                <a:xfrm>
                  <a:off x="591217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5316EAE6-0996-A44E-8B9D-758564E4D0D0}"/>
                    </a:ext>
                  </a:extLst>
                </p:cNvPr>
                <p:cNvCxnSpPr>
                  <a:cxnSpLocks/>
                </p:cNvCxnSpPr>
                <p:nvPr/>
              </p:nvCxnSpPr>
              <p:spPr>
                <a:xfrm>
                  <a:off x="595992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93F46143-07A7-D444-B21E-4B8E14B4E886}"/>
                    </a:ext>
                  </a:extLst>
                </p:cNvPr>
                <p:cNvCxnSpPr>
                  <a:cxnSpLocks/>
                </p:cNvCxnSpPr>
                <p:nvPr/>
              </p:nvCxnSpPr>
              <p:spPr>
                <a:xfrm>
                  <a:off x="600767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F0C5262D-C472-A24A-AFE9-36022053FA5E}"/>
                    </a:ext>
                  </a:extLst>
                </p:cNvPr>
                <p:cNvCxnSpPr>
                  <a:cxnSpLocks/>
                </p:cNvCxnSpPr>
                <p:nvPr/>
              </p:nvCxnSpPr>
              <p:spPr>
                <a:xfrm>
                  <a:off x="605542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6665E160-48B9-104C-B6D0-A3DC92C2F963}"/>
                    </a:ext>
                  </a:extLst>
                </p:cNvPr>
                <p:cNvCxnSpPr>
                  <a:cxnSpLocks/>
                </p:cNvCxnSpPr>
                <p:nvPr/>
              </p:nvCxnSpPr>
              <p:spPr>
                <a:xfrm>
                  <a:off x="610317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165A3674-DDA3-4140-A67D-9ECD8A2B6EE6}"/>
                    </a:ext>
                  </a:extLst>
                </p:cNvPr>
                <p:cNvCxnSpPr>
                  <a:cxnSpLocks/>
                </p:cNvCxnSpPr>
                <p:nvPr/>
              </p:nvCxnSpPr>
              <p:spPr>
                <a:xfrm>
                  <a:off x="61509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009E129D-7CE8-044F-BCC8-9DE0CE4B7493}"/>
                    </a:ext>
                  </a:extLst>
                </p:cNvPr>
                <p:cNvCxnSpPr>
                  <a:cxnSpLocks/>
                </p:cNvCxnSpPr>
                <p:nvPr/>
              </p:nvCxnSpPr>
              <p:spPr>
                <a:xfrm>
                  <a:off x="634512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26B36D10-3039-194D-B97D-4B01D1253BD1}"/>
                    </a:ext>
                  </a:extLst>
                </p:cNvPr>
                <p:cNvCxnSpPr>
                  <a:cxnSpLocks/>
                </p:cNvCxnSpPr>
                <p:nvPr/>
              </p:nvCxnSpPr>
              <p:spPr>
                <a:xfrm>
                  <a:off x="639287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A40ECFA9-6228-1A41-AC3D-3C225128FBAD}"/>
                    </a:ext>
                  </a:extLst>
                </p:cNvPr>
                <p:cNvCxnSpPr>
                  <a:cxnSpLocks/>
                </p:cNvCxnSpPr>
                <p:nvPr/>
              </p:nvCxnSpPr>
              <p:spPr>
                <a:xfrm>
                  <a:off x="644062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DEFAAD2A-1AFD-B841-B7E8-68B5D122E268}"/>
                    </a:ext>
                  </a:extLst>
                </p:cNvPr>
                <p:cNvCxnSpPr>
                  <a:cxnSpLocks/>
                </p:cNvCxnSpPr>
                <p:nvPr/>
              </p:nvCxnSpPr>
              <p:spPr>
                <a:xfrm>
                  <a:off x="648837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C20A5310-3952-3340-A836-D31F24C1F640}"/>
                    </a:ext>
                  </a:extLst>
                </p:cNvPr>
                <p:cNvCxnSpPr>
                  <a:cxnSpLocks/>
                </p:cNvCxnSpPr>
                <p:nvPr/>
              </p:nvCxnSpPr>
              <p:spPr>
                <a:xfrm>
                  <a:off x="65361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D70BE24A-B280-C440-8F9F-197D10F82442}"/>
                    </a:ext>
                  </a:extLst>
                </p:cNvPr>
                <p:cNvCxnSpPr>
                  <a:cxnSpLocks/>
                </p:cNvCxnSpPr>
                <p:nvPr/>
              </p:nvCxnSpPr>
              <p:spPr>
                <a:xfrm>
                  <a:off x="6583878"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4C1D31FE-50EB-D349-B8DB-193298C84A30}"/>
                    </a:ext>
                  </a:extLst>
                </p:cNvPr>
                <p:cNvCxnSpPr>
                  <a:cxnSpLocks/>
                </p:cNvCxnSpPr>
                <p:nvPr/>
              </p:nvCxnSpPr>
              <p:spPr>
                <a:xfrm>
                  <a:off x="663162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DA143978-C7AF-6943-BE55-6FA42220BE81}"/>
                    </a:ext>
                  </a:extLst>
                </p:cNvPr>
                <p:cNvCxnSpPr>
                  <a:cxnSpLocks/>
                </p:cNvCxnSpPr>
                <p:nvPr/>
              </p:nvCxnSpPr>
              <p:spPr>
                <a:xfrm>
                  <a:off x="667937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51C87A55-F802-1C48-9344-364E6D959D66}"/>
                    </a:ext>
                  </a:extLst>
                </p:cNvPr>
                <p:cNvCxnSpPr>
                  <a:cxnSpLocks/>
                </p:cNvCxnSpPr>
                <p:nvPr/>
              </p:nvCxnSpPr>
              <p:spPr>
                <a:xfrm>
                  <a:off x="6883777"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FE753450-D598-C043-A39D-F7E91F229460}"/>
                    </a:ext>
                  </a:extLst>
                </p:cNvPr>
                <p:cNvCxnSpPr>
                  <a:cxnSpLocks/>
                </p:cNvCxnSpPr>
                <p:nvPr/>
              </p:nvCxnSpPr>
              <p:spPr>
                <a:xfrm>
                  <a:off x="6931528"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2C60C428-4696-804C-8077-7323C439CE2B}"/>
                    </a:ext>
                  </a:extLst>
                </p:cNvPr>
                <p:cNvCxnSpPr>
                  <a:cxnSpLocks/>
                </p:cNvCxnSpPr>
                <p:nvPr/>
              </p:nvCxnSpPr>
              <p:spPr>
                <a:xfrm>
                  <a:off x="6979279"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921ECB4F-30AE-5245-8D8F-00DA9B64400E}"/>
                    </a:ext>
                  </a:extLst>
                </p:cNvPr>
                <p:cNvCxnSpPr>
                  <a:cxnSpLocks/>
                </p:cNvCxnSpPr>
                <p:nvPr/>
              </p:nvCxnSpPr>
              <p:spPr>
                <a:xfrm>
                  <a:off x="7027030"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C40C8084-E874-7A43-92B7-7D3CE02226C6}"/>
                    </a:ext>
                  </a:extLst>
                </p:cNvPr>
                <p:cNvCxnSpPr>
                  <a:cxnSpLocks/>
                </p:cNvCxnSpPr>
                <p:nvPr/>
              </p:nvCxnSpPr>
              <p:spPr>
                <a:xfrm>
                  <a:off x="7074781"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75118753-0DF3-B54A-B962-7B5F26F54509}"/>
                    </a:ext>
                  </a:extLst>
                </p:cNvPr>
                <p:cNvCxnSpPr>
                  <a:cxnSpLocks/>
                </p:cNvCxnSpPr>
                <p:nvPr/>
              </p:nvCxnSpPr>
              <p:spPr>
                <a:xfrm>
                  <a:off x="7122532"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388196C1-57C3-6E4A-8A2B-A359E68BD882}"/>
                    </a:ext>
                  </a:extLst>
                </p:cNvPr>
                <p:cNvCxnSpPr>
                  <a:cxnSpLocks/>
                </p:cNvCxnSpPr>
                <p:nvPr/>
              </p:nvCxnSpPr>
              <p:spPr>
                <a:xfrm>
                  <a:off x="717028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6D822C64-72CD-6C41-BB6E-DFDA2302E992}"/>
                    </a:ext>
                  </a:extLst>
                </p:cNvPr>
                <p:cNvCxnSpPr>
                  <a:cxnSpLocks/>
                </p:cNvCxnSpPr>
                <p:nvPr/>
              </p:nvCxnSpPr>
              <p:spPr>
                <a:xfrm>
                  <a:off x="721803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975EA81E-3C34-904E-9079-742098154A3A}"/>
                    </a:ext>
                  </a:extLst>
                </p:cNvPr>
                <p:cNvCxnSpPr>
                  <a:cxnSpLocks/>
                </p:cNvCxnSpPr>
                <p:nvPr/>
              </p:nvCxnSpPr>
              <p:spPr>
                <a:xfrm>
                  <a:off x="7420334"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049E458D-17C1-EB4D-A31D-44B5A0DE7906}"/>
                    </a:ext>
                  </a:extLst>
                </p:cNvPr>
                <p:cNvCxnSpPr>
                  <a:cxnSpLocks/>
                </p:cNvCxnSpPr>
                <p:nvPr/>
              </p:nvCxnSpPr>
              <p:spPr>
                <a:xfrm>
                  <a:off x="7468085"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340A5FB3-DDFE-044E-BACE-63F640A05796}"/>
                    </a:ext>
                  </a:extLst>
                </p:cNvPr>
                <p:cNvCxnSpPr>
                  <a:cxnSpLocks/>
                </p:cNvCxnSpPr>
                <p:nvPr/>
              </p:nvCxnSpPr>
              <p:spPr>
                <a:xfrm>
                  <a:off x="7515836"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0CC4024D-A9DB-E344-9A36-38A2FCCA9953}"/>
                    </a:ext>
                  </a:extLst>
                </p:cNvPr>
                <p:cNvCxnSpPr>
                  <a:cxnSpLocks/>
                </p:cNvCxnSpPr>
                <p:nvPr/>
              </p:nvCxnSpPr>
              <p:spPr>
                <a:xfrm>
                  <a:off x="7563587"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893FDA6B-D9F0-824A-BE8C-DC4DA071A03D}"/>
                    </a:ext>
                  </a:extLst>
                </p:cNvPr>
                <p:cNvCxnSpPr>
                  <a:cxnSpLocks/>
                </p:cNvCxnSpPr>
                <p:nvPr/>
              </p:nvCxnSpPr>
              <p:spPr>
                <a:xfrm>
                  <a:off x="7611338"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8D01F5D4-8E49-864F-AC4B-89D458AC0B45}"/>
                    </a:ext>
                  </a:extLst>
                </p:cNvPr>
                <p:cNvCxnSpPr>
                  <a:cxnSpLocks/>
                </p:cNvCxnSpPr>
                <p:nvPr/>
              </p:nvCxnSpPr>
              <p:spPr>
                <a:xfrm>
                  <a:off x="7659089"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06891B1F-83C1-5342-A8BE-605FE16B43F1}"/>
                    </a:ext>
                  </a:extLst>
                </p:cNvPr>
                <p:cNvCxnSpPr>
                  <a:cxnSpLocks/>
                </p:cNvCxnSpPr>
                <p:nvPr/>
              </p:nvCxnSpPr>
              <p:spPr>
                <a:xfrm>
                  <a:off x="770684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120A7731-6C36-EE41-87BE-100DDEB65899}"/>
                    </a:ext>
                  </a:extLst>
                </p:cNvPr>
                <p:cNvCxnSpPr>
                  <a:cxnSpLocks/>
                </p:cNvCxnSpPr>
                <p:nvPr/>
              </p:nvCxnSpPr>
              <p:spPr>
                <a:xfrm>
                  <a:off x="775459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BBDE27A2-E5EB-C84F-8105-FCFFF9A0F6CF}"/>
                    </a:ext>
                  </a:extLst>
                </p:cNvPr>
                <p:cNvCxnSpPr/>
                <p:nvPr/>
              </p:nvCxnSpPr>
              <p:spPr>
                <a:xfrm flipV="1">
                  <a:off x="5941325"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F211CC11-C3AA-DB48-A7E9-F3A8BBFF0341}"/>
                    </a:ext>
                  </a:extLst>
                </p:cNvPr>
                <p:cNvCxnSpPr>
                  <a:cxnSpLocks/>
                </p:cNvCxnSpPr>
                <p:nvPr/>
              </p:nvCxnSpPr>
              <p:spPr>
                <a:xfrm flipH="1" flipV="1">
                  <a:off x="6476244"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7F2AF944-523E-DE49-A61F-BB2A7BF3254A}"/>
                    </a:ext>
                  </a:extLst>
                </p:cNvPr>
                <p:cNvCxnSpPr>
                  <a:cxnSpLocks/>
                </p:cNvCxnSpPr>
                <p:nvPr/>
              </p:nvCxnSpPr>
              <p:spPr>
                <a:xfrm flipH="1" flipV="1">
                  <a:off x="6476244"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69E64FF3-E8C0-DD48-A583-3C7301F43301}"/>
                    </a:ext>
                  </a:extLst>
                </p:cNvPr>
                <p:cNvCxnSpPr>
                  <a:cxnSpLocks/>
                </p:cNvCxnSpPr>
                <p:nvPr/>
              </p:nvCxnSpPr>
              <p:spPr>
                <a:xfrm>
                  <a:off x="6476244"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E2277B8A-2495-3743-A637-755AF76B2F1E}"/>
                    </a:ext>
                  </a:extLst>
                </p:cNvPr>
                <p:cNvCxnSpPr>
                  <a:cxnSpLocks/>
                </p:cNvCxnSpPr>
                <p:nvPr/>
              </p:nvCxnSpPr>
              <p:spPr>
                <a:xfrm>
                  <a:off x="7014898"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E1511104-7F66-7A4B-A0D4-496FAA001887}"/>
                    </a:ext>
                  </a:extLst>
                </p:cNvPr>
                <p:cNvCxnSpPr>
                  <a:cxnSpLocks/>
                </p:cNvCxnSpPr>
                <p:nvPr/>
              </p:nvCxnSpPr>
              <p:spPr>
                <a:xfrm flipH="1">
                  <a:off x="6479979"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7AF2F263-595C-474D-8F0A-BE804BB576D7}"/>
                    </a:ext>
                  </a:extLst>
                </p:cNvPr>
                <p:cNvCxnSpPr>
                  <a:cxnSpLocks/>
                </p:cNvCxnSpPr>
                <p:nvPr/>
              </p:nvCxnSpPr>
              <p:spPr>
                <a:xfrm flipH="1">
                  <a:off x="5941325"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CCAE4F87-96DE-F244-A7B5-F41F02EEB7AB}"/>
                    </a:ext>
                  </a:extLst>
                </p:cNvPr>
                <p:cNvCxnSpPr>
                  <a:cxnSpLocks/>
                </p:cNvCxnSpPr>
                <p:nvPr/>
              </p:nvCxnSpPr>
              <p:spPr>
                <a:xfrm>
                  <a:off x="7014898"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C201273A-5052-2C48-9EE6-B13FFAD54CAC}"/>
                    </a:ext>
                  </a:extLst>
                </p:cNvPr>
                <p:cNvCxnSpPr/>
                <p:nvPr/>
              </p:nvCxnSpPr>
              <p:spPr>
                <a:xfrm flipV="1">
                  <a:off x="609087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BEB1D790-0ACD-0D47-86D4-34DC71B0E162}"/>
                    </a:ext>
                  </a:extLst>
                </p:cNvPr>
                <p:cNvCxnSpPr>
                  <a:cxnSpLocks/>
                </p:cNvCxnSpPr>
                <p:nvPr/>
              </p:nvCxnSpPr>
              <p:spPr>
                <a:xfrm flipH="1" flipV="1">
                  <a:off x="662579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A5E0F479-4893-EC4D-999B-DA9E43EC1AA8}"/>
                    </a:ext>
                  </a:extLst>
                </p:cNvPr>
                <p:cNvCxnSpPr>
                  <a:cxnSpLocks/>
                </p:cNvCxnSpPr>
                <p:nvPr/>
              </p:nvCxnSpPr>
              <p:spPr>
                <a:xfrm flipH="1" flipV="1">
                  <a:off x="662579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5D3F44CB-37F7-1146-8BFD-0750C959E3E0}"/>
                    </a:ext>
                  </a:extLst>
                </p:cNvPr>
                <p:cNvCxnSpPr>
                  <a:cxnSpLocks/>
                </p:cNvCxnSpPr>
                <p:nvPr/>
              </p:nvCxnSpPr>
              <p:spPr>
                <a:xfrm>
                  <a:off x="662579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A9C02803-D1AE-914E-A476-9AACD48B53B7}"/>
                    </a:ext>
                  </a:extLst>
                </p:cNvPr>
                <p:cNvCxnSpPr>
                  <a:cxnSpLocks/>
                </p:cNvCxnSpPr>
                <p:nvPr/>
              </p:nvCxnSpPr>
              <p:spPr>
                <a:xfrm>
                  <a:off x="716445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D7082FFE-F027-4D4A-8EC7-B1891F90292C}"/>
                    </a:ext>
                  </a:extLst>
                </p:cNvPr>
                <p:cNvCxnSpPr>
                  <a:cxnSpLocks/>
                </p:cNvCxnSpPr>
                <p:nvPr/>
              </p:nvCxnSpPr>
              <p:spPr>
                <a:xfrm flipH="1">
                  <a:off x="662953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CF84BFE0-4CD8-184D-9F74-88195C02D6C7}"/>
                    </a:ext>
                  </a:extLst>
                </p:cNvPr>
                <p:cNvCxnSpPr>
                  <a:cxnSpLocks/>
                </p:cNvCxnSpPr>
                <p:nvPr/>
              </p:nvCxnSpPr>
              <p:spPr>
                <a:xfrm flipH="1">
                  <a:off x="609087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94B266AA-B1A7-7948-8144-B57DEAD7A69C}"/>
                    </a:ext>
                  </a:extLst>
                </p:cNvPr>
                <p:cNvCxnSpPr>
                  <a:cxnSpLocks/>
                </p:cNvCxnSpPr>
                <p:nvPr/>
              </p:nvCxnSpPr>
              <p:spPr>
                <a:xfrm>
                  <a:off x="716445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3F403F39-6767-FD44-B686-6E966B3C5645}"/>
                    </a:ext>
                  </a:extLst>
                </p:cNvPr>
                <p:cNvCxnSpPr/>
                <p:nvPr/>
              </p:nvCxnSpPr>
              <p:spPr>
                <a:xfrm flipV="1">
                  <a:off x="586654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BA4D7F2F-A11B-AF4F-8BF0-983403B97899}"/>
                    </a:ext>
                  </a:extLst>
                </p:cNvPr>
                <p:cNvCxnSpPr>
                  <a:cxnSpLocks/>
                </p:cNvCxnSpPr>
                <p:nvPr/>
              </p:nvCxnSpPr>
              <p:spPr>
                <a:xfrm flipH="1" flipV="1">
                  <a:off x="640146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A071FB0D-4EB2-C345-9C38-24E607D4E3BE}"/>
                    </a:ext>
                  </a:extLst>
                </p:cNvPr>
                <p:cNvCxnSpPr>
                  <a:cxnSpLocks/>
                </p:cNvCxnSpPr>
                <p:nvPr/>
              </p:nvCxnSpPr>
              <p:spPr>
                <a:xfrm flipH="1" flipV="1">
                  <a:off x="640146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249F9012-0970-5C43-A84D-C210E4C6544E}"/>
                    </a:ext>
                  </a:extLst>
                </p:cNvPr>
                <p:cNvCxnSpPr>
                  <a:cxnSpLocks/>
                </p:cNvCxnSpPr>
                <p:nvPr/>
              </p:nvCxnSpPr>
              <p:spPr>
                <a:xfrm>
                  <a:off x="640146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D0AB873A-0BA8-DC4C-9D02-73C765E7DB23}"/>
                    </a:ext>
                  </a:extLst>
                </p:cNvPr>
                <p:cNvCxnSpPr>
                  <a:cxnSpLocks/>
                </p:cNvCxnSpPr>
                <p:nvPr/>
              </p:nvCxnSpPr>
              <p:spPr>
                <a:xfrm>
                  <a:off x="69401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1448CC0A-B382-6847-861A-FDFC7BC837B9}"/>
                    </a:ext>
                  </a:extLst>
                </p:cNvPr>
                <p:cNvCxnSpPr>
                  <a:cxnSpLocks/>
                </p:cNvCxnSpPr>
                <p:nvPr/>
              </p:nvCxnSpPr>
              <p:spPr>
                <a:xfrm flipH="1">
                  <a:off x="64052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6965AFB9-C52A-304D-8D2E-173DD27F012F}"/>
                    </a:ext>
                  </a:extLst>
                </p:cNvPr>
                <p:cNvCxnSpPr>
                  <a:cxnSpLocks/>
                </p:cNvCxnSpPr>
                <p:nvPr/>
              </p:nvCxnSpPr>
              <p:spPr>
                <a:xfrm flipH="1">
                  <a:off x="586654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8C7EB7B9-A1A0-F743-B13B-EB073AE03EE8}"/>
                    </a:ext>
                  </a:extLst>
                </p:cNvPr>
                <p:cNvCxnSpPr>
                  <a:cxnSpLocks/>
                </p:cNvCxnSpPr>
                <p:nvPr/>
              </p:nvCxnSpPr>
              <p:spPr>
                <a:xfrm>
                  <a:off x="69401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16" name="Group 315"/>
              <p:cNvGrpSpPr>
                <a:grpSpLocks noChangeAspect="1"/>
              </p:cNvGrpSpPr>
              <p:nvPr/>
            </p:nvGrpSpPr>
            <p:grpSpPr>
              <a:xfrm rot="974379">
                <a:off x="5993010" y="1205719"/>
                <a:ext cx="297676" cy="364360"/>
                <a:chOff x="4929188" y="1022351"/>
                <a:chExt cx="687388" cy="841375"/>
              </a:xfrm>
            </p:grpSpPr>
            <p:sp>
              <p:nvSpPr>
                <p:cNvPr id="325" name="Freeform 124"/>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26" name="Freeform 125"/>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27" name="Freeform 126"/>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28" name="Freeform 127"/>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29" name="Freeform 128"/>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30" name="Freeform 129"/>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31" name="Freeform 130"/>
                <p:cNvSpPr>
                  <a:spLocks/>
                </p:cNvSpPr>
                <p:nvPr/>
              </p:nvSpPr>
              <p:spPr bwMode="auto">
                <a:xfrm>
                  <a:off x="5468938"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317" name="Group 316"/>
              <p:cNvGrpSpPr>
                <a:grpSpLocks noChangeAspect="1"/>
              </p:cNvGrpSpPr>
              <p:nvPr/>
            </p:nvGrpSpPr>
            <p:grpSpPr>
              <a:xfrm rot="10230679">
                <a:off x="6341186" y="1803921"/>
                <a:ext cx="302884" cy="370735"/>
                <a:chOff x="4929188" y="1022351"/>
                <a:chExt cx="687388" cy="841375"/>
              </a:xfrm>
            </p:grpSpPr>
            <p:sp>
              <p:nvSpPr>
                <p:cNvPr id="318" name="Freeform 124"/>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19" name="Freeform 125"/>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20" name="Freeform 126"/>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21" name="Freeform 127"/>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22" name="Freeform 128"/>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23" name="Freeform 129"/>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24" name="Freeform 130"/>
                <p:cNvSpPr>
                  <a:spLocks/>
                </p:cNvSpPr>
                <p:nvPr/>
              </p:nvSpPr>
              <p:spPr bwMode="auto">
                <a:xfrm>
                  <a:off x="5468938"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pic>
          <p:nvPicPr>
            <p:cNvPr id="313" name="Picture 3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20457" y="1414604"/>
              <a:ext cx="586964" cy="586964"/>
            </a:xfrm>
            <a:prstGeom prst="rect">
              <a:avLst/>
            </a:prstGeom>
          </p:spPr>
        </p:pic>
        <p:grpSp>
          <p:nvGrpSpPr>
            <p:cNvPr id="295" name="Group 294"/>
            <p:cNvGrpSpPr>
              <a:grpSpLocks noChangeAspect="1"/>
            </p:cNvGrpSpPr>
            <p:nvPr/>
          </p:nvGrpSpPr>
          <p:grpSpPr>
            <a:xfrm rot="12754484" flipV="1">
              <a:off x="7457150" y="1955461"/>
              <a:ext cx="229738" cy="97541"/>
              <a:chOff x="7413625" y="908051"/>
              <a:chExt cx="1162844" cy="493712"/>
            </a:xfrm>
          </p:grpSpPr>
          <p:sp>
            <p:nvSpPr>
              <p:cNvPr id="304" name="Freeform 61"/>
              <p:cNvSpPr>
                <a:spLocks noEditPoints="1"/>
              </p:cNvSpPr>
              <p:nvPr/>
            </p:nvSpPr>
            <p:spPr bwMode="auto">
              <a:xfrm>
                <a:off x="7413625" y="1093788"/>
                <a:ext cx="1160463" cy="122237"/>
              </a:xfrm>
              <a:custGeom>
                <a:avLst/>
                <a:gdLst>
                  <a:gd name="T0" fmla="*/ 654 w 664"/>
                  <a:gd name="T1" fmla="*/ 60 h 70"/>
                  <a:gd name="T2" fmla="*/ 653 w 664"/>
                  <a:gd name="T3" fmla="*/ 60 h 70"/>
                  <a:gd name="T4" fmla="*/ 653 w 664"/>
                  <a:gd name="T5" fmla="*/ 60 h 70"/>
                  <a:gd name="T6" fmla="*/ 654 w 664"/>
                  <a:gd name="T7" fmla="*/ 60 h 70"/>
                  <a:gd name="T8" fmla="*/ 654 w 664"/>
                  <a:gd name="T9" fmla="*/ 60 h 70"/>
                  <a:gd name="T10" fmla="*/ 654 w 664"/>
                  <a:gd name="T11" fmla="*/ 60 h 70"/>
                  <a:gd name="T12" fmla="*/ 654 w 664"/>
                  <a:gd name="T13" fmla="*/ 60 h 70"/>
                  <a:gd name="T14" fmla="*/ 654 w 664"/>
                  <a:gd name="T15" fmla="*/ 60 h 70"/>
                  <a:gd name="T16" fmla="*/ 654 w 664"/>
                  <a:gd name="T17" fmla="*/ 60 h 70"/>
                  <a:gd name="T18" fmla="*/ 654 w 664"/>
                  <a:gd name="T19" fmla="*/ 60 h 70"/>
                  <a:gd name="T20" fmla="*/ 654 w 664"/>
                  <a:gd name="T21" fmla="*/ 59 h 70"/>
                  <a:gd name="T22" fmla="*/ 654 w 664"/>
                  <a:gd name="T23" fmla="*/ 59 h 70"/>
                  <a:gd name="T24" fmla="*/ 654 w 664"/>
                  <a:gd name="T25" fmla="*/ 59 h 70"/>
                  <a:gd name="T26" fmla="*/ 661 w 664"/>
                  <a:gd name="T27" fmla="*/ 49 h 70"/>
                  <a:gd name="T28" fmla="*/ 661 w 664"/>
                  <a:gd name="T29" fmla="*/ 49 h 70"/>
                  <a:gd name="T30" fmla="*/ 661 w 664"/>
                  <a:gd name="T31" fmla="*/ 49 h 70"/>
                  <a:gd name="T32" fmla="*/ 661 w 664"/>
                  <a:gd name="T33" fmla="*/ 20 h 70"/>
                  <a:gd name="T34" fmla="*/ 664 w 664"/>
                  <a:gd name="T35" fmla="*/ 35 h 70"/>
                  <a:gd name="T36" fmla="*/ 661 w 664"/>
                  <a:gd name="T37" fmla="*/ 49 h 70"/>
                  <a:gd name="T38" fmla="*/ 664 w 664"/>
                  <a:gd name="T39" fmla="*/ 35 h 70"/>
                  <a:gd name="T40" fmla="*/ 661 w 664"/>
                  <a:gd name="T41" fmla="*/ 20 h 70"/>
                  <a:gd name="T42" fmla="*/ 660 w 664"/>
                  <a:gd name="T43" fmla="*/ 20 h 70"/>
                  <a:gd name="T44" fmla="*/ 660 w 664"/>
                  <a:gd name="T45" fmla="*/ 20 h 70"/>
                  <a:gd name="T46" fmla="*/ 660 w 664"/>
                  <a:gd name="T47" fmla="*/ 20 h 70"/>
                  <a:gd name="T48" fmla="*/ 654 w 664"/>
                  <a:gd name="T49" fmla="*/ 11 h 70"/>
                  <a:gd name="T50" fmla="*/ 654 w 664"/>
                  <a:gd name="T51" fmla="*/ 11 h 70"/>
                  <a:gd name="T52" fmla="*/ 654 w 664"/>
                  <a:gd name="T53" fmla="*/ 11 h 70"/>
                  <a:gd name="T54" fmla="*/ 654 w 664"/>
                  <a:gd name="T55" fmla="*/ 11 h 70"/>
                  <a:gd name="T56" fmla="*/ 654 w 664"/>
                  <a:gd name="T57" fmla="*/ 11 h 70"/>
                  <a:gd name="T58" fmla="*/ 654 w 664"/>
                  <a:gd name="T59" fmla="*/ 11 h 70"/>
                  <a:gd name="T60" fmla="*/ 653 w 664"/>
                  <a:gd name="T61" fmla="*/ 10 h 70"/>
                  <a:gd name="T62" fmla="*/ 653 w 664"/>
                  <a:gd name="T63" fmla="*/ 10 h 70"/>
                  <a:gd name="T64" fmla="*/ 653 w 664"/>
                  <a:gd name="T65" fmla="*/ 10 h 70"/>
                  <a:gd name="T66" fmla="*/ 654 w 664"/>
                  <a:gd name="T67" fmla="*/ 11 h 70"/>
                  <a:gd name="T68" fmla="*/ 653 w 664"/>
                  <a:gd name="T69" fmla="*/ 10 h 70"/>
                  <a:gd name="T70" fmla="*/ 543 w 664"/>
                  <a:gd name="T71" fmla="*/ 0 h 70"/>
                  <a:gd name="T72" fmla="*/ 35 w 664"/>
                  <a:gd name="T73" fmla="*/ 0 h 70"/>
                  <a:gd name="T74" fmla="*/ 0 w 664"/>
                  <a:gd name="T75" fmla="*/ 35 h 70"/>
                  <a:gd name="T76" fmla="*/ 35 w 664"/>
                  <a:gd name="T77" fmla="*/ 70 h 70"/>
                  <a:gd name="T78" fmla="*/ 543 w 664"/>
                  <a:gd name="T79" fmla="*/ 70 h 70"/>
                  <a:gd name="T80" fmla="*/ 578 w 664"/>
                  <a:gd name="T81" fmla="*/ 35 h 70"/>
                  <a:gd name="T82" fmla="*/ 543 w 664"/>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4" h="70">
                    <a:moveTo>
                      <a:pt x="654" y="60"/>
                    </a:moveTo>
                    <a:cubicBezTo>
                      <a:pt x="653" y="60"/>
                      <a:pt x="653" y="60"/>
                      <a:pt x="653" y="60"/>
                    </a:cubicBezTo>
                    <a:cubicBezTo>
                      <a:pt x="653" y="60"/>
                      <a:pt x="653" y="60"/>
                      <a:pt x="653" y="60"/>
                    </a:cubicBezTo>
                    <a:cubicBezTo>
                      <a:pt x="653" y="60"/>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59"/>
                    </a:moveTo>
                    <a:cubicBezTo>
                      <a:pt x="654" y="59"/>
                      <a:pt x="654" y="59"/>
                      <a:pt x="654" y="59"/>
                    </a:cubicBezTo>
                    <a:cubicBezTo>
                      <a:pt x="654" y="59"/>
                      <a:pt x="654" y="59"/>
                      <a:pt x="654" y="59"/>
                    </a:cubicBezTo>
                    <a:moveTo>
                      <a:pt x="661" y="49"/>
                    </a:moveTo>
                    <a:cubicBezTo>
                      <a:pt x="661" y="49"/>
                      <a:pt x="661" y="49"/>
                      <a:pt x="661" y="49"/>
                    </a:cubicBezTo>
                    <a:cubicBezTo>
                      <a:pt x="661" y="49"/>
                      <a:pt x="661" y="49"/>
                      <a:pt x="661" y="49"/>
                    </a:cubicBezTo>
                    <a:moveTo>
                      <a:pt x="661" y="20"/>
                    </a:moveTo>
                    <a:cubicBezTo>
                      <a:pt x="663" y="25"/>
                      <a:pt x="664" y="30"/>
                      <a:pt x="664" y="35"/>
                    </a:cubicBezTo>
                    <a:cubicBezTo>
                      <a:pt x="664" y="40"/>
                      <a:pt x="663" y="45"/>
                      <a:pt x="661" y="49"/>
                    </a:cubicBezTo>
                    <a:cubicBezTo>
                      <a:pt x="663" y="45"/>
                      <a:pt x="664" y="40"/>
                      <a:pt x="664" y="35"/>
                    </a:cubicBezTo>
                    <a:cubicBezTo>
                      <a:pt x="664" y="30"/>
                      <a:pt x="663" y="25"/>
                      <a:pt x="661" y="20"/>
                    </a:cubicBezTo>
                    <a:moveTo>
                      <a:pt x="660" y="20"/>
                    </a:moveTo>
                    <a:cubicBezTo>
                      <a:pt x="660" y="20"/>
                      <a:pt x="660" y="20"/>
                      <a:pt x="660" y="20"/>
                    </a:cubicBezTo>
                    <a:cubicBezTo>
                      <a:pt x="660" y="20"/>
                      <a:pt x="660" y="20"/>
                      <a:pt x="660" y="20"/>
                    </a:cubicBezTo>
                    <a:moveTo>
                      <a:pt x="654" y="11"/>
                    </a:moveTo>
                    <a:cubicBezTo>
                      <a:pt x="654" y="11"/>
                      <a:pt x="654" y="11"/>
                      <a:pt x="654" y="11"/>
                    </a:cubicBezTo>
                    <a:cubicBezTo>
                      <a:pt x="654" y="11"/>
                      <a:pt x="654" y="11"/>
                      <a:pt x="654" y="11"/>
                    </a:cubicBezTo>
                    <a:moveTo>
                      <a:pt x="654" y="11"/>
                    </a:moveTo>
                    <a:cubicBezTo>
                      <a:pt x="654" y="11"/>
                      <a:pt x="654" y="11"/>
                      <a:pt x="654" y="11"/>
                    </a:cubicBezTo>
                    <a:cubicBezTo>
                      <a:pt x="654" y="11"/>
                      <a:pt x="654" y="11"/>
                      <a:pt x="654" y="11"/>
                    </a:cubicBezTo>
                    <a:moveTo>
                      <a:pt x="653" y="10"/>
                    </a:moveTo>
                    <a:cubicBezTo>
                      <a:pt x="653" y="10"/>
                      <a:pt x="653" y="10"/>
                      <a:pt x="653" y="10"/>
                    </a:cubicBezTo>
                    <a:cubicBezTo>
                      <a:pt x="653" y="10"/>
                      <a:pt x="653" y="10"/>
                      <a:pt x="653" y="10"/>
                    </a:cubicBezTo>
                    <a:cubicBezTo>
                      <a:pt x="654" y="10"/>
                      <a:pt x="654" y="11"/>
                      <a:pt x="654" y="11"/>
                    </a:cubicBezTo>
                    <a:cubicBezTo>
                      <a:pt x="654" y="11"/>
                      <a:pt x="654" y="10"/>
                      <a:pt x="653" y="10"/>
                    </a:cubicBezTo>
                    <a:moveTo>
                      <a:pt x="543" y="0"/>
                    </a:moveTo>
                    <a:cubicBezTo>
                      <a:pt x="35" y="0"/>
                      <a:pt x="35" y="0"/>
                      <a:pt x="35" y="0"/>
                    </a:cubicBezTo>
                    <a:cubicBezTo>
                      <a:pt x="15" y="0"/>
                      <a:pt x="0" y="16"/>
                      <a:pt x="0" y="35"/>
                    </a:cubicBezTo>
                    <a:cubicBezTo>
                      <a:pt x="0" y="55"/>
                      <a:pt x="15" y="70"/>
                      <a:pt x="35" y="70"/>
                    </a:cubicBezTo>
                    <a:cubicBezTo>
                      <a:pt x="543" y="70"/>
                      <a:pt x="543" y="70"/>
                      <a:pt x="543" y="70"/>
                    </a:cubicBezTo>
                    <a:cubicBezTo>
                      <a:pt x="578" y="35"/>
                      <a:pt x="578" y="35"/>
                      <a:pt x="578" y="35"/>
                    </a:cubicBezTo>
                    <a:cubicBezTo>
                      <a:pt x="543" y="0"/>
                      <a:pt x="543" y="0"/>
                      <a:pt x="54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05" name="Freeform 62"/>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06" name="Freeform 63"/>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07" name="Freeform 64"/>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08" name="Freeform 65"/>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09" name="Freeform 66"/>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10" name="Freeform 67"/>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296" name="Group 295"/>
            <p:cNvGrpSpPr>
              <a:grpSpLocks noChangeAspect="1"/>
            </p:cNvGrpSpPr>
            <p:nvPr/>
          </p:nvGrpSpPr>
          <p:grpSpPr>
            <a:xfrm rot="1750739" flipV="1">
              <a:off x="7505049" y="1880137"/>
              <a:ext cx="229738" cy="97541"/>
              <a:chOff x="7413625" y="908051"/>
              <a:chExt cx="1162844" cy="493712"/>
            </a:xfrm>
          </p:grpSpPr>
          <p:sp>
            <p:nvSpPr>
              <p:cNvPr id="297" name="Freeform 61"/>
              <p:cNvSpPr>
                <a:spLocks noEditPoints="1"/>
              </p:cNvSpPr>
              <p:nvPr/>
            </p:nvSpPr>
            <p:spPr bwMode="auto">
              <a:xfrm>
                <a:off x="7413625" y="1093788"/>
                <a:ext cx="1160463" cy="122237"/>
              </a:xfrm>
              <a:custGeom>
                <a:avLst/>
                <a:gdLst>
                  <a:gd name="T0" fmla="*/ 654 w 664"/>
                  <a:gd name="T1" fmla="*/ 60 h 70"/>
                  <a:gd name="T2" fmla="*/ 653 w 664"/>
                  <a:gd name="T3" fmla="*/ 60 h 70"/>
                  <a:gd name="T4" fmla="*/ 653 w 664"/>
                  <a:gd name="T5" fmla="*/ 60 h 70"/>
                  <a:gd name="T6" fmla="*/ 654 w 664"/>
                  <a:gd name="T7" fmla="*/ 60 h 70"/>
                  <a:gd name="T8" fmla="*/ 654 w 664"/>
                  <a:gd name="T9" fmla="*/ 60 h 70"/>
                  <a:gd name="T10" fmla="*/ 654 w 664"/>
                  <a:gd name="T11" fmla="*/ 60 h 70"/>
                  <a:gd name="T12" fmla="*/ 654 w 664"/>
                  <a:gd name="T13" fmla="*/ 60 h 70"/>
                  <a:gd name="T14" fmla="*/ 654 w 664"/>
                  <a:gd name="T15" fmla="*/ 60 h 70"/>
                  <a:gd name="T16" fmla="*/ 654 w 664"/>
                  <a:gd name="T17" fmla="*/ 60 h 70"/>
                  <a:gd name="T18" fmla="*/ 654 w 664"/>
                  <a:gd name="T19" fmla="*/ 60 h 70"/>
                  <a:gd name="T20" fmla="*/ 654 w 664"/>
                  <a:gd name="T21" fmla="*/ 59 h 70"/>
                  <a:gd name="T22" fmla="*/ 654 w 664"/>
                  <a:gd name="T23" fmla="*/ 59 h 70"/>
                  <a:gd name="T24" fmla="*/ 654 w 664"/>
                  <a:gd name="T25" fmla="*/ 59 h 70"/>
                  <a:gd name="T26" fmla="*/ 661 w 664"/>
                  <a:gd name="T27" fmla="*/ 49 h 70"/>
                  <a:gd name="T28" fmla="*/ 661 w 664"/>
                  <a:gd name="T29" fmla="*/ 49 h 70"/>
                  <a:gd name="T30" fmla="*/ 661 w 664"/>
                  <a:gd name="T31" fmla="*/ 49 h 70"/>
                  <a:gd name="T32" fmla="*/ 661 w 664"/>
                  <a:gd name="T33" fmla="*/ 20 h 70"/>
                  <a:gd name="T34" fmla="*/ 664 w 664"/>
                  <a:gd name="T35" fmla="*/ 35 h 70"/>
                  <a:gd name="T36" fmla="*/ 661 w 664"/>
                  <a:gd name="T37" fmla="*/ 49 h 70"/>
                  <a:gd name="T38" fmla="*/ 664 w 664"/>
                  <a:gd name="T39" fmla="*/ 35 h 70"/>
                  <a:gd name="T40" fmla="*/ 661 w 664"/>
                  <a:gd name="T41" fmla="*/ 20 h 70"/>
                  <a:gd name="T42" fmla="*/ 660 w 664"/>
                  <a:gd name="T43" fmla="*/ 20 h 70"/>
                  <a:gd name="T44" fmla="*/ 660 w 664"/>
                  <a:gd name="T45" fmla="*/ 20 h 70"/>
                  <a:gd name="T46" fmla="*/ 660 w 664"/>
                  <a:gd name="T47" fmla="*/ 20 h 70"/>
                  <a:gd name="T48" fmla="*/ 654 w 664"/>
                  <a:gd name="T49" fmla="*/ 11 h 70"/>
                  <a:gd name="T50" fmla="*/ 654 w 664"/>
                  <a:gd name="T51" fmla="*/ 11 h 70"/>
                  <a:gd name="T52" fmla="*/ 654 w 664"/>
                  <a:gd name="T53" fmla="*/ 11 h 70"/>
                  <a:gd name="T54" fmla="*/ 654 w 664"/>
                  <a:gd name="T55" fmla="*/ 11 h 70"/>
                  <a:gd name="T56" fmla="*/ 654 w 664"/>
                  <a:gd name="T57" fmla="*/ 11 h 70"/>
                  <a:gd name="T58" fmla="*/ 654 w 664"/>
                  <a:gd name="T59" fmla="*/ 11 h 70"/>
                  <a:gd name="T60" fmla="*/ 653 w 664"/>
                  <a:gd name="T61" fmla="*/ 10 h 70"/>
                  <a:gd name="T62" fmla="*/ 653 w 664"/>
                  <a:gd name="T63" fmla="*/ 10 h 70"/>
                  <a:gd name="T64" fmla="*/ 653 w 664"/>
                  <a:gd name="T65" fmla="*/ 10 h 70"/>
                  <a:gd name="T66" fmla="*/ 654 w 664"/>
                  <a:gd name="T67" fmla="*/ 11 h 70"/>
                  <a:gd name="T68" fmla="*/ 653 w 664"/>
                  <a:gd name="T69" fmla="*/ 10 h 70"/>
                  <a:gd name="T70" fmla="*/ 543 w 664"/>
                  <a:gd name="T71" fmla="*/ 0 h 70"/>
                  <a:gd name="T72" fmla="*/ 35 w 664"/>
                  <a:gd name="T73" fmla="*/ 0 h 70"/>
                  <a:gd name="T74" fmla="*/ 0 w 664"/>
                  <a:gd name="T75" fmla="*/ 35 h 70"/>
                  <a:gd name="T76" fmla="*/ 35 w 664"/>
                  <a:gd name="T77" fmla="*/ 70 h 70"/>
                  <a:gd name="T78" fmla="*/ 543 w 664"/>
                  <a:gd name="T79" fmla="*/ 70 h 70"/>
                  <a:gd name="T80" fmla="*/ 578 w 664"/>
                  <a:gd name="T81" fmla="*/ 35 h 70"/>
                  <a:gd name="T82" fmla="*/ 543 w 664"/>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4" h="70">
                    <a:moveTo>
                      <a:pt x="654" y="60"/>
                    </a:moveTo>
                    <a:cubicBezTo>
                      <a:pt x="653" y="60"/>
                      <a:pt x="653" y="60"/>
                      <a:pt x="653" y="60"/>
                    </a:cubicBezTo>
                    <a:cubicBezTo>
                      <a:pt x="653" y="60"/>
                      <a:pt x="653" y="60"/>
                      <a:pt x="653" y="60"/>
                    </a:cubicBezTo>
                    <a:cubicBezTo>
                      <a:pt x="653" y="60"/>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59"/>
                    </a:moveTo>
                    <a:cubicBezTo>
                      <a:pt x="654" y="59"/>
                      <a:pt x="654" y="59"/>
                      <a:pt x="654" y="59"/>
                    </a:cubicBezTo>
                    <a:cubicBezTo>
                      <a:pt x="654" y="59"/>
                      <a:pt x="654" y="59"/>
                      <a:pt x="654" y="59"/>
                    </a:cubicBezTo>
                    <a:moveTo>
                      <a:pt x="661" y="49"/>
                    </a:moveTo>
                    <a:cubicBezTo>
                      <a:pt x="661" y="49"/>
                      <a:pt x="661" y="49"/>
                      <a:pt x="661" y="49"/>
                    </a:cubicBezTo>
                    <a:cubicBezTo>
                      <a:pt x="661" y="49"/>
                      <a:pt x="661" y="49"/>
                      <a:pt x="661" y="49"/>
                    </a:cubicBezTo>
                    <a:moveTo>
                      <a:pt x="661" y="20"/>
                    </a:moveTo>
                    <a:cubicBezTo>
                      <a:pt x="663" y="25"/>
                      <a:pt x="664" y="30"/>
                      <a:pt x="664" y="35"/>
                    </a:cubicBezTo>
                    <a:cubicBezTo>
                      <a:pt x="664" y="40"/>
                      <a:pt x="663" y="45"/>
                      <a:pt x="661" y="49"/>
                    </a:cubicBezTo>
                    <a:cubicBezTo>
                      <a:pt x="663" y="45"/>
                      <a:pt x="664" y="40"/>
                      <a:pt x="664" y="35"/>
                    </a:cubicBezTo>
                    <a:cubicBezTo>
                      <a:pt x="664" y="30"/>
                      <a:pt x="663" y="25"/>
                      <a:pt x="661" y="20"/>
                    </a:cubicBezTo>
                    <a:moveTo>
                      <a:pt x="660" y="20"/>
                    </a:moveTo>
                    <a:cubicBezTo>
                      <a:pt x="660" y="20"/>
                      <a:pt x="660" y="20"/>
                      <a:pt x="660" y="20"/>
                    </a:cubicBezTo>
                    <a:cubicBezTo>
                      <a:pt x="660" y="20"/>
                      <a:pt x="660" y="20"/>
                      <a:pt x="660" y="20"/>
                    </a:cubicBezTo>
                    <a:moveTo>
                      <a:pt x="654" y="11"/>
                    </a:moveTo>
                    <a:cubicBezTo>
                      <a:pt x="654" y="11"/>
                      <a:pt x="654" y="11"/>
                      <a:pt x="654" y="11"/>
                    </a:cubicBezTo>
                    <a:cubicBezTo>
                      <a:pt x="654" y="11"/>
                      <a:pt x="654" y="11"/>
                      <a:pt x="654" y="11"/>
                    </a:cubicBezTo>
                    <a:moveTo>
                      <a:pt x="654" y="11"/>
                    </a:moveTo>
                    <a:cubicBezTo>
                      <a:pt x="654" y="11"/>
                      <a:pt x="654" y="11"/>
                      <a:pt x="654" y="11"/>
                    </a:cubicBezTo>
                    <a:cubicBezTo>
                      <a:pt x="654" y="11"/>
                      <a:pt x="654" y="11"/>
                      <a:pt x="654" y="11"/>
                    </a:cubicBezTo>
                    <a:moveTo>
                      <a:pt x="653" y="10"/>
                    </a:moveTo>
                    <a:cubicBezTo>
                      <a:pt x="653" y="10"/>
                      <a:pt x="653" y="10"/>
                      <a:pt x="653" y="10"/>
                    </a:cubicBezTo>
                    <a:cubicBezTo>
                      <a:pt x="653" y="10"/>
                      <a:pt x="653" y="10"/>
                      <a:pt x="653" y="10"/>
                    </a:cubicBezTo>
                    <a:cubicBezTo>
                      <a:pt x="654" y="10"/>
                      <a:pt x="654" y="11"/>
                      <a:pt x="654" y="11"/>
                    </a:cubicBezTo>
                    <a:cubicBezTo>
                      <a:pt x="654" y="11"/>
                      <a:pt x="654" y="10"/>
                      <a:pt x="653" y="10"/>
                    </a:cubicBezTo>
                    <a:moveTo>
                      <a:pt x="543" y="0"/>
                    </a:moveTo>
                    <a:cubicBezTo>
                      <a:pt x="35" y="0"/>
                      <a:pt x="35" y="0"/>
                      <a:pt x="35" y="0"/>
                    </a:cubicBezTo>
                    <a:cubicBezTo>
                      <a:pt x="15" y="0"/>
                      <a:pt x="0" y="16"/>
                      <a:pt x="0" y="35"/>
                    </a:cubicBezTo>
                    <a:cubicBezTo>
                      <a:pt x="0" y="55"/>
                      <a:pt x="15" y="70"/>
                      <a:pt x="35" y="70"/>
                    </a:cubicBezTo>
                    <a:cubicBezTo>
                      <a:pt x="543" y="70"/>
                      <a:pt x="543" y="70"/>
                      <a:pt x="543" y="70"/>
                    </a:cubicBezTo>
                    <a:cubicBezTo>
                      <a:pt x="578" y="35"/>
                      <a:pt x="578" y="35"/>
                      <a:pt x="578" y="35"/>
                    </a:cubicBezTo>
                    <a:cubicBezTo>
                      <a:pt x="543" y="0"/>
                      <a:pt x="543" y="0"/>
                      <a:pt x="54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98" name="Freeform 62"/>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99" name="Freeform 63"/>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00" name="Freeform 64"/>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01" name="Freeform 65"/>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02" name="Freeform 66"/>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303" name="Freeform 67"/>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sp>
        <p:nvSpPr>
          <p:cNvPr id="18" name="Rectangle 17"/>
          <p:cNvSpPr/>
          <p:nvPr/>
        </p:nvSpPr>
        <p:spPr>
          <a:xfrm>
            <a:off x="2604861" y="1266864"/>
            <a:ext cx="1946267" cy="1539636"/>
          </a:xfrm>
          <a:prstGeom prst="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 name="Title 1">
            <a:extLst>
              <a:ext uri="{FF2B5EF4-FFF2-40B4-BE49-F238E27FC236}">
                <a16:creationId xmlns:a16="http://schemas.microsoft.com/office/drawing/2014/main" id="{A943B545-77C9-544C-B940-F487C2886375}"/>
              </a:ext>
            </a:extLst>
          </p:cNvPr>
          <p:cNvSpPr>
            <a:spLocks noGrp="1"/>
          </p:cNvSpPr>
          <p:nvPr>
            <p:ph type="title"/>
          </p:nvPr>
        </p:nvSpPr>
        <p:spPr/>
        <p:txBody>
          <a:bodyPr/>
          <a:lstStyle/>
          <a:p>
            <a:r>
              <a:rPr lang="en-US" dirty="0"/>
              <a:t>Cisco Fabric Routing </a:t>
            </a:r>
            <a:r>
              <a:rPr lang="mr-IN" dirty="0"/>
              <a:t>–</a:t>
            </a:r>
            <a:r>
              <a:rPr lang="en-US" dirty="0"/>
              <a:t> Simplified Operations Enabled through Automation</a:t>
            </a:r>
          </a:p>
        </p:txBody>
      </p:sp>
      <p:sp>
        <p:nvSpPr>
          <p:cNvPr id="4" name="Rectangle 3"/>
          <p:cNvSpPr/>
          <p:nvPr/>
        </p:nvSpPr>
        <p:spPr>
          <a:xfrm>
            <a:off x="472736" y="1266864"/>
            <a:ext cx="1924546" cy="1539636"/>
          </a:xfrm>
          <a:prstGeom prst="rect">
            <a:avLst/>
          </a:prstGeom>
          <a:blipFill rotWithShape="1">
            <a:blip r:embed="rId6"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defTabSz="457189">
              <a:defRPr/>
            </a:pPr>
            <a:endParaRPr lang="en-US" dirty="0">
              <a:solidFill>
                <a:srgbClr val="005073">
                  <a:hueOff val="0"/>
                  <a:satOff val="0"/>
                  <a:lumOff val="0"/>
                  <a:alphaOff val="0"/>
                </a:srgbClr>
              </a:solidFill>
              <a:latin typeface="CiscoSansTT ExtraLight"/>
            </a:endParaRPr>
          </a:p>
        </p:txBody>
      </p:sp>
      <p:sp>
        <p:nvSpPr>
          <p:cNvPr id="5" name="Freeform 4"/>
          <p:cNvSpPr/>
          <p:nvPr/>
        </p:nvSpPr>
        <p:spPr>
          <a:xfrm>
            <a:off x="645946" y="2652538"/>
            <a:ext cx="1712846" cy="538872"/>
          </a:xfrm>
          <a:custGeom>
            <a:avLst/>
            <a:gdLst>
              <a:gd name="connsiteX0" fmla="*/ 0 w 1712846"/>
              <a:gd name="connsiteY0" fmla="*/ 0 h 538872"/>
              <a:gd name="connsiteX1" fmla="*/ 999160 w 1712846"/>
              <a:gd name="connsiteY1" fmla="*/ 0 h 538872"/>
              <a:gd name="connsiteX2" fmla="*/ 1203274 w 1712846"/>
              <a:gd name="connsiteY2" fmla="*/ -57659 h 538872"/>
              <a:gd name="connsiteX3" fmla="*/ 1427372 w 1712846"/>
              <a:gd name="connsiteY3" fmla="*/ 0 h 538872"/>
              <a:gd name="connsiteX4" fmla="*/ 1712846 w 1712846"/>
              <a:gd name="connsiteY4" fmla="*/ 0 h 538872"/>
              <a:gd name="connsiteX5" fmla="*/ 1712846 w 1712846"/>
              <a:gd name="connsiteY5" fmla="*/ 89812 h 538872"/>
              <a:gd name="connsiteX6" fmla="*/ 1712846 w 1712846"/>
              <a:gd name="connsiteY6" fmla="*/ 89812 h 538872"/>
              <a:gd name="connsiteX7" fmla="*/ 1712846 w 1712846"/>
              <a:gd name="connsiteY7" fmla="*/ 224530 h 538872"/>
              <a:gd name="connsiteX8" fmla="*/ 1712846 w 1712846"/>
              <a:gd name="connsiteY8" fmla="*/ 538872 h 538872"/>
              <a:gd name="connsiteX9" fmla="*/ 1427372 w 1712846"/>
              <a:gd name="connsiteY9" fmla="*/ 538872 h 538872"/>
              <a:gd name="connsiteX10" fmla="*/ 999160 w 1712846"/>
              <a:gd name="connsiteY10" fmla="*/ 538872 h 538872"/>
              <a:gd name="connsiteX11" fmla="*/ 999160 w 1712846"/>
              <a:gd name="connsiteY11" fmla="*/ 538872 h 538872"/>
              <a:gd name="connsiteX12" fmla="*/ 0 w 1712846"/>
              <a:gd name="connsiteY12" fmla="*/ 538872 h 538872"/>
              <a:gd name="connsiteX13" fmla="*/ 0 w 1712846"/>
              <a:gd name="connsiteY13" fmla="*/ 224530 h 538872"/>
              <a:gd name="connsiteX14" fmla="*/ 0 w 1712846"/>
              <a:gd name="connsiteY14" fmla="*/ 89812 h 538872"/>
              <a:gd name="connsiteX15" fmla="*/ 0 w 1712846"/>
              <a:gd name="connsiteY15" fmla="*/ 89812 h 538872"/>
              <a:gd name="connsiteX16" fmla="*/ 0 w 1712846"/>
              <a:gd name="connsiteY16" fmla="*/ 0 h 53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2846" h="538872">
                <a:moveTo>
                  <a:pt x="0" y="0"/>
                </a:moveTo>
                <a:lnTo>
                  <a:pt x="999160" y="0"/>
                </a:lnTo>
                <a:lnTo>
                  <a:pt x="1203274" y="-57659"/>
                </a:lnTo>
                <a:lnTo>
                  <a:pt x="1427372" y="0"/>
                </a:lnTo>
                <a:lnTo>
                  <a:pt x="1712846" y="0"/>
                </a:lnTo>
                <a:lnTo>
                  <a:pt x="1712846" y="89812"/>
                </a:lnTo>
                <a:lnTo>
                  <a:pt x="1712846" y="89812"/>
                </a:lnTo>
                <a:lnTo>
                  <a:pt x="1712846" y="224530"/>
                </a:lnTo>
                <a:lnTo>
                  <a:pt x="1712846" y="538872"/>
                </a:lnTo>
                <a:lnTo>
                  <a:pt x="1427372" y="538872"/>
                </a:lnTo>
                <a:lnTo>
                  <a:pt x="999160" y="538872"/>
                </a:lnTo>
                <a:lnTo>
                  <a:pt x="999160" y="538872"/>
                </a:lnTo>
                <a:lnTo>
                  <a:pt x="0" y="538872"/>
                </a:lnTo>
                <a:lnTo>
                  <a:pt x="0" y="224530"/>
                </a:lnTo>
                <a:lnTo>
                  <a:pt x="0" y="89812"/>
                </a:lnTo>
                <a:lnTo>
                  <a:pt x="0" y="89812"/>
                </a:lnTo>
                <a:lnTo>
                  <a:pt x="0"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150" tIns="57150" rIns="57150" bIns="57150" numCol="1" spcCol="1270" anchor="ctr" anchorCtr="0">
            <a:noAutofit/>
          </a:bodyPr>
          <a:lstStyle/>
          <a:p>
            <a:pPr algn="ctr" defTabSz="666734">
              <a:lnSpc>
                <a:spcPct val="90000"/>
              </a:lnSpc>
              <a:spcAft>
                <a:spcPct val="35000"/>
              </a:spcAft>
              <a:defRPr/>
            </a:pPr>
            <a:r>
              <a:rPr lang="en-US" sz="1500" dirty="0">
                <a:solidFill>
                  <a:srgbClr val="005073"/>
                </a:solidFill>
                <a:latin typeface="CiscoSansTT ExtraLight"/>
              </a:rPr>
              <a:t>“Lots” of “Small” Devices</a:t>
            </a:r>
          </a:p>
        </p:txBody>
      </p:sp>
      <p:sp>
        <p:nvSpPr>
          <p:cNvPr id="13" name="Freeform 12"/>
          <p:cNvSpPr/>
          <p:nvPr/>
        </p:nvSpPr>
        <p:spPr>
          <a:xfrm>
            <a:off x="2762946" y="2652538"/>
            <a:ext cx="1712846" cy="538872"/>
          </a:xfrm>
          <a:custGeom>
            <a:avLst/>
            <a:gdLst>
              <a:gd name="connsiteX0" fmla="*/ 0 w 1712846"/>
              <a:gd name="connsiteY0" fmla="*/ 0 h 538872"/>
              <a:gd name="connsiteX1" fmla="*/ 999160 w 1712846"/>
              <a:gd name="connsiteY1" fmla="*/ 0 h 538872"/>
              <a:gd name="connsiteX2" fmla="*/ 1203274 w 1712846"/>
              <a:gd name="connsiteY2" fmla="*/ -57659 h 538872"/>
              <a:gd name="connsiteX3" fmla="*/ 1427372 w 1712846"/>
              <a:gd name="connsiteY3" fmla="*/ 0 h 538872"/>
              <a:gd name="connsiteX4" fmla="*/ 1712846 w 1712846"/>
              <a:gd name="connsiteY4" fmla="*/ 0 h 538872"/>
              <a:gd name="connsiteX5" fmla="*/ 1712846 w 1712846"/>
              <a:gd name="connsiteY5" fmla="*/ 89812 h 538872"/>
              <a:gd name="connsiteX6" fmla="*/ 1712846 w 1712846"/>
              <a:gd name="connsiteY6" fmla="*/ 89812 h 538872"/>
              <a:gd name="connsiteX7" fmla="*/ 1712846 w 1712846"/>
              <a:gd name="connsiteY7" fmla="*/ 224530 h 538872"/>
              <a:gd name="connsiteX8" fmla="*/ 1712846 w 1712846"/>
              <a:gd name="connsiteY8" fmla="*/ 538872 h 538872"/>
              <a:gd name="connsiteX9" fmla="*/ 1427372 w 1712846"/>
              <a:gd name="connsiteY9" fmla="*/ 538872 h 538872"/>
              <a:gd name="connsiteX10" fmla="*/ 999160 w 1712846"/>
              <a:gd name="connsiteY10" fmla="*/ 538872 h 538872"/>
              <a:gd name="connsiteX11" fmla="*/ 999160 w 1712846"/>
              <a:gd name="connsiteY11" fmla="*/ 538872 h 538872"/>
              <a:gd name="connsiteX12" fmla="*/ 0 w 1712846"/>
              <a:gd name="connsiteY12" fmla="*/ 538872 h 538872"/>
              <a:gd name="connsiteX13" fmla="*/ 0 w 1712846"/>
              <a:gd name="connsiteY13" fmla="*/ 224530 h 538872"/>
              <a:gd name="connsiteX14" fmla="*/ 0 w 1712846"/>
              <a:gd name="connsiteY14" fmla="*/ 89812 h 538872"/>
              <a:gd name="connsiteX15" fmla="*/ 0 w 1712846"/>
              <a:gd name="connsiteY15" fmla="*/ 89812 h 538872"/>
              <a:gd name="connsiteX16" fmla="*/ 0 w 1712846"/>
              <a:gd name="connsiteY16" fmla="*/ 0 h 53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2846" h="538872">
                <a:moveTo>
                  <a:pt x="0" y="0"/>
                </a:moveTo>
                <a:lnTo>
                  <a:pt x="999160" y="0"/>
                </a:lnTo>
                <a:lnTo>
                  <a:pt x="1203274" y="-57659"/>
                </a:lnTo>
                <a:lnTo>
                  <a:pt x="1427372" y="0"/>
                </a:lnTo>
                <a:lnTo>
                  <a:pt x="1712846" y="0"/>
                </a:lnTo>
                <a:lnTo>
                  <a:pt x="1712846" y="89812"/>
                </a:lnTo>
                <a:lnTo>
                  <a:pt x="1712846" y="89812"/>
                </a:lnTo>
                <a:lnTo>
                  <a:pt x="1712846" y="224530"/>
                </a:lnTo>
                <a:lnTo>
                  <a:pt x="1712846" y="538872"/>
                </a:lnTo>
                <a:lnTo>
                  <a:pt x="1427372" y="538872"/>
                </a:lnTo>
                <a:lnTo>
                  <a:pt x="999160" y="538872"/>
                </a:lnTo>
                <a:lnTo>
                  <a:pt x="999160" y="538872"/>
                </a:lnTo>
                <a:lnTo>
                  <a:pt x="0" y="538872"/>
                </a:lnTo>
                <a:lnTo>
                  <a:pt x="0" y="224530"/>
                </a:lnTo>
                <a:lnTo>
                  <a:pt x="0" y="89812"/>
                </a:lnTo>
                <a:lnTo>
                  <a:pt x="0" y="89812"/>
                </a:lnTo>
                <a:lnTo>
                  <a:pt x="0"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150" tIns="57150" rIns="57150" bIns="57150" numCol="1" spcCol="1270" anchor="ctr" anchorCtr="0">
            <a:noAutofit/>
          </a:bodyPr>
          <a:lstStyle/>
          <a:p>
            <a:pPr algn="ctr" defTabSz="666734">
              <a:lnSpc>
                <a:spcPct val="90000"/>
              </a:lnSpc>
              <a:spcAft>
                <a:spcPct val="35000"/>
              </a:spcAft>
              <a:defRPr/>
            </a:pPr>
            <a:r>
              <a:rPr lang="en-US" sz="1500" dirty="0">
                <a:solidFill>
                  <a:srgbClr val="005073"/>
                </a:solidFill>
                <a:latin typeface="CiscoSansTT ExtraLight"/>
              </a:rPr>
              <a:t>Optimized for Services</a:t>
            </a:r>
          </a:p>
        </p:txBody>
      </p:sp>
      <p:sp>
        <p:nvSpPr>
          <p:cNvPr id="17" name="Freeform 16"/>
          <p:cNvSpPr/>
          <p:nvPr/>
        </p:nvSpPr>
        <p:spPr>
          <a:xfrm>
            <a:off x="6996948" y="2652538"/>
            <a:ext cx="1712846" cy="538872"/>
          </a:xfrm>
          <a:custGeom>
            <a:avLst/>
            <a:gdLst>
              <a:gd name="connsiteX0" fmla="*/ 0 w 1712846"/>
              <a:gd name="connsiteY0" fmla="*/ 0 h 538872"/>
              <a:gd name="connsiteX1" fmla="*/ 999160 w 1712846"/>
              <a:gd name="connsiteY1" fmla="*/ 0 h 538872"/>
              <a:gd name="connsiteX2" fmla="*/ 1203274 w 1712846"/>
              <a:gd name="connsiteY2" fmla="*/ -57659 h 538872"/>
              <a:gd name="connsiteX3" fmla="*/ 1427372 w 1712846"/>
              <a:gd name="connsiteY3" fmla="*/ 0 h 538872"/>
              <a:gd name="connsiteX4" fmla="*/ 1712846 w 1712846"/>
              <a:gd name="connsiteY4" fmla="*/ 0 h 538872"/>
              <a:gd name="connsiteX5" fmla="*/ 1712846 w 1712846"/>
              <a:gd name="connsiteY5" fmla="*/ 89812 h 538872"/>
              <a:gd name="connsiteX6" fmla="*/ 1712846 w 1712846"/>
              <a:gd name="connsiteY6" fmla="*/ 89812 h 538872"/>
              <a:gd name="connsiteX7" fmla="*/ 1712846 w 1712846"/>
              <a:gd name="connsiteY7" fmla="*/ 224530 h 538872"/>
              <a:gd name="connsiteX8" fmla="*/ 1712846 w 1712846"/>
              <a:gd name="connsiteY8" fmla="*/ 538872 h 538872"/>
              <a:gd name="connsiteX9" fmla="*/ 1427372 w 1712846"/>
              <a:gd name="connsiteY9" fmla="*/ 538872 h 538872"/>
              <a:gd name="connsiteX10" fmla="*/ 999160 w 1712846"/>
              <a:gd name="connsiteY10" fmla="*/ 538872 h 538872"/>
              <a:gd name="connsiteX11" fmla="*/ 999160 w 1712846"/>
              <a:gd name="connsiteY11" fmla="*/ 538872 h 538872"/>
              <a:gd name="connsiteX12" fmla="*/ 0 w 1712846"/>
              <a:gd name="connsiteY12" fmla="*/ 538872 h 538872"/>
              <a:gd name="connsiteX13" fmla="*/ 0 w 1712846"/>
              <a:gd name="connsiteY13" fmla="*/ 224530 h 538872"/>
              <a:gd name="connsiteX14" fmla="*/ 0 w 1712846"/>
              <a:gd name="connsiteY14" fmla="*/ 89812 h 538872"/>
              <a:gd name="connsiteX15" fmla="*/ 0 w 1712846"/>
              <a:gd name="connsiteY15" fmla="*/ 89812 h 538872"/>
              <a:gd name="connsiteX16" fmla="*/ 0 w 1712846"/>
              <a:gd name="connsiteY16" fmla="*/ 0 h 53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2846" h="538872">
                <a:moveTo>
                  <a:pt x="0" y="0"/>
                </a:moveTo>
                <a:lnTo>
                  <a:pt x="999160" y="0"/>
                </a:lnTo>
                <a:lnTo>
                  <a:pt x="1203274" y="-57659"/>
                </a:lnTo>
                <a:lnTo>
                  <a:pt x="1427372" y="0"/>
                </a:lnTo>
                <a:lnTo>
                  <a:pt x="1712846" y="0"/>
                </a:lnTo>
                <a:lnTo>
                  <a:pt x="1712846" y="89812"/>
                </a:lnTo>
                <a:lnTo>
                  <a:pt x="1712846" y="89812"/>
                </a:lnTo>
                <a:lnTo>
                  <a:pt x="1712846" y="224530"/>
                </a:lnTo>
                <a:lnTo>
                  <a:pt x="1712846" y="538872"/>
                </a:lnTo>
                <a:lnTo>
                  <a:pt x="1427372" y="538872"/>
                </a:lnTo>
                <a:lnTo>
                  <a:pt x="999160" y="538872"/>
                </a:lnTo>
                <a:lnTo>
                  <a:pt x="999160" y="538872"/>
                </a:lnTo>
                <a:lnTo>
                  <a:pt x="0" y="538872"/>
                </a:lnTo>
                <a:lnTo>
                  <a:pt x="0" y="224530"/>
                </a:lnTo>
                <a:lnTo>
                  <a:pt x="0" y="89812"/>
                </a:lnTo>
                <a:lnTo>
                  <a:pt x="0" y="89812"/>
                </a:lnTo>
                <a:lnTo>
                  <a:pt x="0"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150" tIns="57150" rIns="57150" bIns="57150" numCol="1" spcCol="1270" anchor="ctr" anchorCtr="0">
            <a:noAutofit/>
          </a:bodyPr>
          <a:lstStyle/>
          <a:p>
            <a:pPr algn="ctr" defTabSz="666734">
              <a:lnSpc>
                <a:spcPct val="90000"/>
              </a:lnSpc>
              <a:spcAft>
                <a:spcPct val="35000"/>
              </a:spcAft>
              <a:defRPr/>
            </a:pPr>
            <a:r>
              <a:rPr lang="en-US" sz="1500" dirty="0">
                <a:solidFill>
                  <a:srgbClr val="005073"/>
                </a:solidFill>
                <a:latin typeface="CiscoSansTT ExtraLight"/>
              </a:rPr>
              <a:t>Enhanced By Cloud</a:t>
            </a:r>
          </a:p>
        </p:txBody>
      </p:sp>
      <p:sp>
        <p:nvSpPr>
          <p:cNvPr id="6" name="TextBox 5"/>
          <p:cNvSpPr txBox="1"/>
          <p:nvPr/>
        </p:nvSpPr>
        <p:spPr>
          <a:xfrm>
            <a:off x="548848" y="3195654"/>
            <a:ext cx="1910373" cy="646331"/>
          </a:xfrm>
          <a:prstGeom prst="rect">
            <a:avLst/>
          </a:prstGeom>
          <a:noFill/>
        </p:spPr>
        <p:txBody>
          <a:bodyPr wrap="square" rtlCol="0">
            <a:spAutoFit/>
          </a:bodyPr>
          <a:lstStyle/>
          <a:p>
            <a:pPr marL="112710" indent="-112710" defTabSz="457189">
              <a:buFont typeface="Arial" charset="0"/>
              <a:buChar char="•"/>
              <a:defRPr/>
            </a:pPr>
            <a:r>
              <a:rPr lang="en-US" sz="1200" dirty="0">
                <a:solidFill>
                  <a:srgbClr val="282828"/>
                </a:solidFill>
                <a:latin typeface="CiscoSansTT ExtraLight"/>
              </a:rPr>
              <a:t>Optimal topology for traffic patterns and growth</a:t>
            </a:r>
          </a:p>
        </p:txBody>
      </p:sp>
      <p:sp>
        <p:nvSpPr>
          <p:cNvPr id="7" name="TextBox 6"/>
          <p:cNvSpPr txBox="1"/>
          <p:nvPr/>
        </p:nvSpPr>
        <p:spPr>
          <a:xfrm>
            <a:off x="2604860" y="3195655"/>
            <a:ext cx="2022408" cy="1461939"/>
          </a:xfrm>
          <a:prstGeom prst="rect">
            <a:avLst/>
          </a:prstGeom>
          <a:noFill/>
        </p:spPr>
        <p:txBody>
          <a:bodyPr wrap="square" rtlCol="0">
            <a:spAutoFit/>
          </a:bodyPr>
          <a:lstStyle/>
          <a:p>
            <a:pPr marL="112710" indent="-112710" defTabSz="457189">
              <a:spcBef>
                <a:spcPts val="600"/>
              </a:spcBef>
              <a:buFont typeface="Arial" charset="0"/>
              <a:buChar char="•"/>
              <a:defRPr/>
            </a:pPr>
            <a:r>
              <a:rPr lang="en-US" sz="1200" dirty="0">
                <a:solidFill>
                  <a:srgbClr val="282828"/>
                </a:solidFill>
                <a:latin typeface="CiscoSansTT ExtraLight"/>
              </a:rPr>
              <a:t>Deploy services as close to edge as is economically and operationally viable</a:t>
            </a:r>
          </a:p>
          <a:p>
            <a:pPr marL="112710" indent="-112710" defTabSz="457189">
              <a:spcBef>
                <a:spcPts val="600"/>
              </a:spcBef>
              <a:buFont typeface="Arial" charset="0"/>
              <a:buChar char="•"/>
              <a:defRPr/>
            </a:pPr>
            <a:r>
              <a:rPr lang="en-US" sz="1200" dirty="0">
                <a:solidFill>
                  <a:srgbClr val="282828"/>
                </a:solidFill>
                <a:latin typeface="CiscoSansTT ExtraLight"/>
              </a:rPr>
              <a:t>Unified forwarding plane (SR), common control plane (EVPN)</a:t>
            </a:r>
          </a:p>
        </p:txBody>
      </p:sp>
      <p:sp>
        <p:nvSpPr>
          <p:cNvPr id="8" name="TextBox 7"/>
          <p:cNvSpPr txBox="1"/>
          <p:nvPr/>
        </p:nvSpPr>
        <p:spPr>
          <a:xfrm>
            <a:off x="4771655" y="3195654"/>
            <a:ext cx="1908955" cy="1092607"/>
          </a:xfrm>
          <a:prstGeom prst="rect">
            <a:avLst/>
          </a:prstGeom>
          <a:noFill/>
        </p:spPr>
        <p:txBody>
          <a:bodyPr wrap="square" rtlCol="0">
            <a:spAutoFit/>
          </a:bodyPr>
          <a:lstStyle/>
          <a:p>
            <a:pPr marL="112710" indent="-112710" defTabSz="457189">
              <a:spcBef>
                <a:spcPts val="600"/>
              </a:spcBef>
              <a:buFont typeface="Arial" charset="0"/>
              <a:buChar char="•"/>
              <a:defRPr/>
            </a:pPr>
            <a:r>
              <a:rPr lang="en-US" sz="1200" dirty="0">
                <a:solidFill>
                  <a:srgbClr val="282828"/>
                </a:solidFill>
                <a:latin typeface="CiscoSansTT ExtraLight"/>
              </a:rPr>
              <a:t>Fully automated, zero-touch operations</a:t>
            </a:r>
          </a:p>
          <a:p>
            <a:pPr marL="112710" indent="-112710" defTabSz="457189">
              <a:spcBef>
                <a:spcPts val="600"/>
              </a:spcBef>
              <a:buFont typeface="Arial" charset="0"/>
              <a:buChar char="•"/>
              <a:defRPr/>
            </a:pPr>
            <a:r>
              <a:rPr lang="en-US" sz="1200" dirty="0">
                <a:solidFill>
                  <a:srgbClr val="282828"/>
                </a:solidFill>
                <a:latin typeface="CiscoSansTT ExtraLight"/>
              </a:rPr>
              <a:t>Fabric manager for bring up, deploy and maintenance</a:t>
            </a:r>
          </a:p>
        </p:txBody>
      </p:sp>
      <p:sp>
        <p:nvSpPr>
          <p:cNvPr id="9" name="TextBox 8"/>
          <p:cNvSpPr txBox="1"/>
          <p:nvPr/>
        </p:nvSpPr>
        <p:spPr>
          <a:xfrm>
            <a:off x="6939704" y="3195655"/>
            <a:ext cx="1843552" cy="276999"/>
          </a:xfrm>
          <a:prstGeom prst="rect">
            <a:avLst/>
          </a:prstGeom>
          <a:noFill/>
        </p:spPr>
        <p:txBody>
          <a:bodyPr wrap="square" rtlCol="0">
            <a:spAutoFit/>
          </a:bodyPr>
          <a:lstStyle/>
          <a:p>
            <a:pPr marL="285743" indent="-285743" defTabSz="457189">
              <a:buFont typeface="Arial" charset="0"/>
              <a:buChar char="•"/>
              <a:defRPr/>
            </a:pPr>
            <a:r>
              <a:rPr lang="en-US" sz="1200" dirty="0">
                <a:solidFill>
                  <a:srgbClr val="282828"/>
                </a:solidFill>
                <a:latin typeface="CiscoSansTT ExtraLight"/>
              </a:rPr>
              <a:t>Cloud tethered</a:t>
            </a:r>
          </a:p>
        </p:txBody>
      </p:sp>
      <p:grpSp>
        <p:nvGrpSpPr>
          <p:cNvPr id="59" name="Group 58"/>
          <p:cNvGrpSpPr/>
          <p:nvPr/>
        </p:nvGrpSpPr>
        <p:grpSpPr>
          <a:xfrm rot="16200000">
            <a:off x="2967853" y="1456128"/>
            <a:ext cx="1143024" cy="1007687"/>
            <a:chOff x="5793619" y="1334476"/>
            <a:chExt cx="1994473" cy="1471157"/>
          </a:xfrm>
        </p:grpSpPr>
        <p:pic>
          <p:nvPicPr>
            <p:cNvPr id="60" name="Picture 59">
              <a:extLst>
                <a:ext uri="{FF2B5EF4-FFF2-40B4-BE49-F238E27FC236}">
                  <a16:creationId xmlns:a16="http://schemas.microsoft.com/office/drawing/2014/main" id="{6501BE4D-6095-7947-97C8-5D71E695D1D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93619" y="2158786"/>
              <a:ext cx="378511" cy="485482"/>
            </a:xfrm>
            <a:prstGeom prst="rect">
              <a:avLst/>
            </a:prstGeom>
          </p:spPr>
        </p:pic>
        <p:pic>
          <p:nvPicPr>
            <p:cNvPr id="61" name="Picture 60">
              <a:extLst>
                <a:ext uri="{FF2B5EF4-FFF2-40B4-BE49-F238E27FC236}">
                  <a16:creationId xmlns:a16="http://schemas.microsoft.com/office/drawing/2014/main" id="{FA80F940-3741-A749-977E-5E57F7E2EEF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32273" y="2158786"/>
              <a:ext cx="378511" cy="485482"/>
            </a:xfrm>
            <a:prstGeom prst="rect">
              <a:avLst/>
            </a:prstGeom>
          </p:spPr>
        </p:pic>
        <p:pic>
          <p:nvPicPr>
            <p:cNvPr id="62" name="Picture 61">
              <a:extLst>
                <a:ext uri="{FF2B5EF4-FFF2-40B4-BE49-F238E27FC236}">
                  <a16:creationId xmlns:a16="http://schemas.microsoft.com/office/drawing/2014/main" id="{EDDDCB62-72D3-404C-BEA6-BAA7BEE412B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870927" y="2158786"/>
              <a:ext cx="378511" cy="485482"/>
            </a:xfrm>
            <a:prstGeom prst="rect">
              <a:avLst/>
            </a:prstGeom>
          </p:spPr>
        </p:pic>
        <p:pic>
          <p:nvPicPr>
            <p:cNvPr id="63" name="Picture 62">
              <a:extLst>
                <a:ext uri="{FF2B5EF4-FFF2-40B4-BE49-F238E27FC236}">
                  <a16:creationId xmlns:a16="http://schemas.microsoft.com/office/drawing/2014/main" id="{8CF55EF2-E19A-8A4C-B9AA-DF32D23BF99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409581" y="2158786"/>
              <a:ext cx="378511" cy="485482"/>
            </a:xfrm>
            <a:prstGeom prst="rect">
              <a:avLst/>
            </a:prstGeom>
          </p:spPr>
        </p:pic>
        <p:pic>
          <p:nvPicPr>
            <p:cNvPr id="64" name="Picture 63">
              <a:extLst>
                <a:ext uri="{FF2B5EF4-FFF2-40B4-BE49-F238E27FC236}">
                  <a16:creationId xmlns:a16="http://schemas.microsoft.com/office/drawing/2014/main" id="{A2438C44-0AEA-EA4F-8B1D-0D27E2ACD89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28538" y="1334476"/>
              <a:ext cx="378511" cy="485482"/>
            </a:xfrm>
            <a:prstGeom prst="rect">
              <a:avLst/>
            </a:prstGeom>
          </p:spPr>
        </p:pic>
        <p:pic>
          <p:nvPicPr>
            <p:cNvPr id="65" name="Picture 64">
              <a:extLst>
                <a:ext uri="{FF2B5EF4-FFF2-40B4-BE49-F238E27FC236}">
                  <a16:creationId xmlns:a16="http://schemas.microsoft.com/office/drawing/2014/main" id="{DD80BB3E-C30F-D745-A17C-8A75B04EA57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867192" y="1334476"/>
              <a:ext cx="378511" cy="485482"/>
            </a:xfrm>
            <a:prstGeom prst="rect">
              <a:avLst/>
            </a:prstGeom>
          </p:spPr>
        </p:pic>
        <p:cxnSp>
          <p:nvCxnSpPr>
            <p:cNvPr id="66" name="Straight Connector 65">
              <a:extLst>
                <a:ext uri="{FF2B5EF4-FFF2-40B4-BE49-F238E27FC236}">
                  <a16:creationId xmlns:a16="http://schemas.microsoft.com/office/drawing/2014/main" id="{4A8EA2C7-136B-B742-935B-3E439D370DE1}"/>
                </a:ext>
              </a:extLst>
            </p:cNvPr>
            <p:cNvCxnSpPr/>
            <p:nvPr/>
          </p:nvCxnSpPr>
          <p:spPr>
            <a:xfrm flipV="1">
              <a:off x="60161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51640EF-AA33-614A-9E04-8F27B5C595A1}"/>
                </a:ext>
              </a:extLst>
            </p:cNvPr>
            <p:cNvCxnSpPr>
              <a:cxnSpLocks/>
            </p:cNvCxnSpPr>
            <p:nvPr/>
          </p:nvCxnSpPr>
          <p:spPr>
            <a:xfrm flipH="1" flipV="1">
              <a:off x="65510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A5CC831-BD4D-8C46-81B6-37FA603C84A0}"/>
                </a:ext>
              </a:extLst>
            </p:cNvPr>
            <p:cNvCxnSpPr>
              <a:cxnSpLocks/>
            </p:cNvCxnSpPr>
            <p:nvPr/>
          </p:nvCxnSpPr>
          <p:spPr>
            <a:xfrm flipH="1" flipV="1">
              <a:off x="65510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9C6F769-4F55-A14F-A501-6726E6E2BE6E}"/>
                </a:ext>
              </a:extLst>
            </p:cNvPr>
            <p:cNvCxnSpPr>
              <a:cxnSpLocks/>
            </p:cNvCxnSpPr>
            <p:nvPr/>
          </p:nvCxnSpPr>
          <p:spPr>
            <a:xfrm>
              <a:off x="6551021"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1FDD37-9696-254E-A994-C5D253389656}"/>
                </a:ext>
              </a:extLst>
            </p:cNvPr>
            <p:cNvCxnSpPr>
              <a:cxnSpLocks/>
            </p:cNvCxnSpPr>
            <p:nvPr/>
          </p:nvCxnSpPr>
          <p:spPr>
            <a:xfrm>
              <a:off x="7089675"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5E4F185-7623-8D4C-920D-DC839A858436}"/>
                </a:ext>
              </a:extLst>
            </p:cNvPr>
            <p:cNvCxnSpPr>
              <a:cxnSpLocks/>
            </p:cNvCxnSpPr>
            <p:nvPr/>
          </p:nvCxnSpPr>
          <p:spPr>
            <a:xfrm flipH="1">
              <a:off x="6554756"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2582621-745B-2A4D-8CF5-0D7C96250A07}"/>
                </a:ext>
              </a:extLst>
            </p:cNvPr>
            <p:cNvCxnSpPr>
              <a:cxnSpLocks/>
            </p:cNvCxnSpPr>
            <p:nvPr/>
          </p:nvCxnSpPr>
          <p:spPr>
            <a:xfrm flipH="1">
              <a:off x="6016102"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C34F6CD-CAD7-914C-8C4C-30D32D6F9881}"/>
                </a:ext>
              </a:extLst>
            </p:cNvPr>
            <p:cNvCxnSpPr>
              <a:cxnSpLocks/>
            </p:cNvCxnSpPr>
            <p:nvPr/>
          </p:nvCxnSpPr>
          <p:spPr>
            <a:xfrm>
              <a:off x="7089675"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630789C-2E01-2D44-B01A-D5D0E7CD883B}"/>
                </a:ext>
              </a:extLst>
            </p:cNvPr>
            <p:cNvCxnSpPr>
              <a:cxnSpLocks/>
            </p:cNvCxnSpPr>
            <p:nvPr/>
          </p:nvCxnSpPr>
          <p:spPr>
            <a:xfrm>
              <a:off x="5816671"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280AEDC-50D3-5E4F-B880-D83562B3C562}"/>
                </a:ext>
              </a:extLst>
            </p:cNvPr>
            <p:cNvCxnSpPr>
              <a:cxnSpLocks/>
            </p:cNvCxnSpPr>
            <p:nvPr/>
          </p:nvCxnSpPr>
          <p:spPr>
            <a:xfrm>
              <a:off x="5864422"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B92A13D-B20F-334A-9C34-96B195A0B09D}"/>
                </a:ext>
              </a:extLst>
            </p:cNvPr>
            <p:cNvCxnSpPr>
              <a:cxnSpLocks/>
            </p:cNvCxnSpPr>
            <p:nvPr/>
          </p:nvCxnSpPr>
          <p:spPr>
            <a:xfrm>
              <a:off x="591217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316EAE6-0996-A44E-8B9D-758564E4D0D0}"/>
                </a:ext>
              </a:extLst>
            </p:cNvPr>
            <p:cNvCxnSpPr>
              <a:cxnSpLocks/>
            </p:cNvCxnSpPr>
            <p:nvPr/>
          </p:nvCxnSpPr>
          <p:spPr>
            <a:xfrm>
              <a:off x="595992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F46143-07A7-D444-B21E-4B8E14B4E886}"/>
                </a:ext>
              </a:extLst>
            </p:cNvPr>
            <p:cNvCxnSpPr>
              <a:cxnSpLocks/>
            </p:cNvCxnSpPr>
            <p:nvPr/>
          </p:nvCxnSpPr>
          <p:spPr>
            <a:xfrm>
              <a:off x="600767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0C5262D-C472-A24A-AFE9-36022053FA5E}"/>
                </a:ext>
              </a:extLst>
            </p:cNvPr>
            <p:cNvCxnSpPr>
              <a:cxnSpLocks/>
            </p:cNvCxnSpPr>
            <p:nvPr/>
          </p:nvCxnSpPr>
          <p:spPr>
            <a:xfrm>
              <a:off x="605542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665E160-48B9-104C-B6D0-A3DC92C2F963}"/>
                </a:ext>
              </a:extLst>
            </p:cNvPr>
            <p:cNvCxnSpPr>
              <a:cxnSpLocks/>
            </p:cNvCxnSpPr>
            <p:nvPr/>
          </p:nvCxnSpPr>
          <p:spPr>
            <a:xfrm>
              <a:off x="610317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65A3674-DDA3-4140-A67D-9ECD8A2B6EE6}"/>
                </a:ext>
              </a:extLst>
            </p:cNvPr>
            <p:cNvCxnSpPr>
              <a:cxnSpLocks/>
            </p:cNvCxnSpPr>
            <p:nvPr/>
          </p:nvCxnSpPr>
          <p:spPr>
            <a:xfrm>
              <a:off x="61509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09E129D-7CE8-044F-BCC8-9DE0CE4B7493}"/>
                </a:ext>
              </a:extLst>
            </p:cNvPr>
            <p:cNvCxnSpPr>
              <a:cxnSpLocks/>
            </p:cNvCxnSpPr>
            <p:nvPr/>
          </p:nvCxnSpPr>
          <p:spPr>
            <a:xfrm>
              <a:off x="634512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6B36D10-3039-194D-B97D-4B01D1253BD1}"/>
                </a:ext>
              </a:extLst>
            </p:cNvPr>
            <p:cNvCxnSpPr>
              <a:cxnSpLocks/>
            </p:cNvCxnSpPr>
            <p:nvPr/>
          </p:nvCxnSpPr>
          <p:spPr>
            <a:xfrm>
              <a:off x="639287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40ECFA9-6228-1A41-AC3D-3C225128FBAD}"/>
                </a:ext>
              </a:extLst>
            </p:cNvPr>
            <p:cNvCxnSpPr>
              <a:cxnSpLocks/>
            </p:cNvCxnSpPr>
            <p:nvPr/>
          </p:nvCxnSpPr>
          <p:spPr>
            <a:xfrm>
              <a:off x="644062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EFAAD2A-1AFD-B841-B7E8-68B5D122E268}"/>
                </a:ext>
              </a:extLst>
            </p:cNvPr>
            <p:cNvCxnSpPr>
              <a:cxnSpLocks/>
            </p:cNvCxnSpPr>
            <p:nvPr/>
          </p:nvCxnSpPr>
          <p:spPr>
            <a:xfrm>
              <a:off x="648837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20A5310-3952-3340-A836-D31F24C1F640}"/>
                </a:ext>
              </a:extLst>
            </p:cNvPr>
            <p:cNvCxnSpPr>
              <a:cxnSpLocks/>
            </p:cNvCxnSpPr>
            <p:nvPr/>
          </p:nvCxnSpPr>
          <p:spPr>
            <a:xfrm>
              <a:off x="65361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70BE24A-B280-C440-8F9F-197D10F82442}"/>
                </a:ext>
              </a:extLst>
            </p:cNvPr>
            <p:cNvCxnSpPr>
              <a:cxnSpLocks/>
            </p:cNvCxnSpPr>
            <p:nvPr/>
          </p:nvCxnSpPr>
          <p:spPr>
            <a:xfrm>
              <a:off x="6583878"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C1D31FE-50EB-D349-B8DB-193298C84A30}"/>
                </a:ext>
              </a:extLst>
            </p:cNvPr>
            <p:cNvCxnSpPr>
              <a:cxnSpLocks/>
            </p:cNvCxnSpPr>
            <p:nvPr/>
          </p:nvCxnSpPr>
          <p:spPr>
            <a:xfrm>
              <a:off x="663162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A143978-C7AF-6943-BE55-6FA42220BE81}"/>
                </a:ext>
              </a:extLst>
            </p:cNvPr>
            <p:cNvCxnSpPr>
              <a:cxnSpLocks/>
            </p:cNvCxnSpPr>
            <p:nvPr/>
          </p:nvCxnSpPr>
          <p:spPr>
            <a:xfrm>
              <a:off x="667937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1C87A55-F802-1C48-9344-364E6D959D66}"/>
                </a:ext>
              </a:extLst>
            </p:cNvPr>
            <p:cNvCxnSpPr>
              <a:cxnSpLocks/>
            </p:cNvCxnSpPr>
            <p:nvPr/>
          </p:nvCxnSpPr>
          <p:spPr>
            <a:xfrm>
              <a:off x="6883777"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E753450-D598-C043-A39D-F7E91F229460}"/>
                </a:ext>
              </a:extLst>
            </p:cNvPr>
            <p:cNvCxnSpPr>
              <a:cxnSpLocks/>
            </p:cNvCxnSpPr>
            <p:nvPr/>
          </p:nvCxnSpPr>
          <p:spPr>
            <a:xfrm>
              <a:off x="6931528"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60C428-4696-804C-8077-7323C439CE2B}"/>
                </a:ext>
              </a:extLst>
            </p:cNvPr>
            <p:cNvCxnSpPr>
              <a:cxnSpLocks/>
            </p:cNvCxnSpPr>
            <p:nvPr/>
          </p:nvCxnSpPr>
          <p:spPr>
            <a:xfrm>
              <a:off x="6979279"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21ECB4F-30AE-5245-8D8F-00DA9B64400E}"/>
                </a:ext>
              </a:extLst>
            </p:cNvPr>
            <p:cNvCxnSpPr>
              <a:cxnSpLocks/>
            </p:cNvCxnSpPr>
            <p:nvPr/>
          </p:nvCxnSpPr>
          <p:spPr>
            <a:xfrm>
              <a:off x="7027030"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C40C8084-E874-7A43-92B7-7D3CE02226C6}"/>
                </a:ext>
              </a:extLst>
            </p:cNvPr>
            <p:cNvCxnSpPr>
              <a:cxnSpLocks/>
            </p:cNvCxnSpPr>
            <p:nvPr/>
          </p:nvCxnSpPr>
          <p:spPr>
            <a:xfrm>
              <a:off x="7074781"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5118753-0DF3-B54A-B962-7B5F26F54509}"/>
                </a:ext>
              </a:extLst>
            </p:cNvPr>
            <p:cNvCxnSpPr>
              <a:cxnSpLocks/>
            </p:cNvCxnSpPr>
            <p:nvPr/>
          </p:nvCxnSpPr>
          <p:spPr>
            <a:xfrm>
              <a:off x="7122532"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88196C1-57C3-6E4A-8A2B-A359E68BD882}"/>
                </a:ext>
              </a:extLst>
            </p:cNvPr>
            <p:cNvCxnSpPr>
              <a:cxnSpLocks/>
            </p:cNvCxnSpPr>
            <p:nvPr/>
          </p:nvCxnSpPr>
          <p:spPr>
            <a:xfrm>
              <a:off x="717028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D822C64-72CD-6C41-BB6E-DFDA2302E992}"/>
                </a:ext>
              </a:extLst>
            </p:cNvPr>
            <p:cNvCxnSpPr>
              <a:cxnSpLocks/>
            </p:cNvCxnSpPr>
            <p:nvPr/>
          </p:nvCxnSpPr>
          <p:spPr>
            <a:xfrm>
              <a:off x="721803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975EA81E-3C34-904E-9079-742098154A3A}"/>
                </a:ext>
              </a:extLst>
            </p:cNvPr>
            <p:cNvCxnSpPr>
              <a:cxnSpLocks/>
            </p:cNvCxnSpPr>
            <p:nvPr/>
          </p:nvCxnSpPr>
          <p:spPr>
            <a:xfrm>
              <a:off x="7420334"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49E458D-17C1-EB4D-A31D-44B5A0DE7906}"/>
                </a:ext>
              </a:extLst>
            </p:cNvPr>
            <p:cNvCxnSpPr>
              <a:cxnSpLocks/>
            </p:cNvCxnSpPr>
            <p:nvPr/>
          </p:nvCxnSpPr>
          <p:spPr>
            <a:xfrm>
              <a:off x="7468085"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40A5FB3-DDFE-044E-BACE-63F640A05796}"/>
                </a:ext>
              </a:extLst>
            </p:cNvPr>
            <p:cNvCxnSpPr>
              <a:cxnSpLocks/>
            </p:cNvCxnSpPr>
            <p:nvPr/>
          </p:nvCxnSpPr>
          <p:spPr>
            <a:xfrm>
              <a:off x="7515836"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CC4024D-A9DB-E344-9A36-38A2FCCA9953}"/>
                </a:ext>
              </a:extLst>
            </p:cNvPr>
            <p:cNvCxnSpPr>
              <a:cxnSpLocks/>
            </p:cNvCxnSpPr>
            <p:nvPr/>
          </p:nvCxnSpPr>
          <p:spPr>
            <a:xfrm>
              <a:off x="7563587"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93FDA6B-D9F0-824A-BE8C-DC4DA071A03D}"/>
                </a:ext>
              </a:extLst>
            </p:cNvPr>
            <p:cNvCxnSpPr>
              <a:cxnSpLocks/>
            </p:cNvCxnSpPr>
            <p:nvPr/>
          </p:nvCxnSpPr>
          <p:spPr>
            <a:xfrm>
              <a:off x="7611338"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8D01F5D4-8E49-864F-AC4B-89D458AC0B45}"/>
                </a:ext>
              </a:extLst>
            </p:cNvPr>
            <p:cNvCxnSpPr>
              <a:cxnSpLocks/>
            </p:cNvCxnSpPr>
            <p:nvPr/>
          </p:nvCxnSpPr>
          <p:spPr>
            <a:xfrm>
              <a:off x="7659089"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6891B1F-83C1-5342-A8BE-605FE16B43F1}"/>
                </a:ext>
              </a:extLst>
            </p:cNvPr>
            <p:cNvCxnSpPr>
              <a:cxnSpLocks/>
            </p:cNvCxnSpPr>
            <p:nvPr/>
          </p:nvCxnSpPr>
          <p:spPr>
            <a:xfrm>
              <a:off x="770684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20A7731-6C36-EE41-87BE-100DDEB65899}"/>
                </a:ext>
              </a:extLst>
            </p:cNvPr>
            <p:cNvCxnSpPr>
              <a:cxnSpLocks/>
            </p:cNvCxnSpPr>
            <p:nvPr/>
          </p:nvCxnSpPr>
          <p:spPr>
            <a:xfrm>
              <a:off x="775459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DE27A2-E5EB-C84F-8105-FCFFF9A0F6CF}"/>
                </a:ext>
              </a:extLst>
            </p:cNvPr>
            <p:cNvCxnSpPr/>
            <p:nvPr/>
          </p:nvCxnSpPr>
          <p:spPr>
            <a:xfrm flipV="1">
              <a:off x="5941325"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211CC11-C3AA-DB48-A7E9-F3A8BBFF0341}"/>
                </a:ext>
              </a:extLst>
            </p:cNvPr>
            <p:cNvCxnSpPr>
              <a:cxnSpLocks/>
            </p:cNvCxnSpPr>
            <p:nvPr/>
          </p:nvCxnSpPr>
          <p:spPr>
            <a:xfrm flipH="1" flipV="1">
              <a:off x="6476244"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F2AF944-523E-DE49-A61F-BB2A7BF3254A}"/>
                </a:ext>
              </a:extLst>
            </p:cNvPr>
            <p:cNvCxnSpPr>
              <a:cxnSpLocks/>
            </p:cNvCxnSpPr>
            <p:nvPr/>
          </p:nvCxnSpPr>
          <p:spPr>
            <a:xfrm flipH="1" flipV="1">
              <a:off x="6476244"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9E64FF3-E8C0-DD48-A583-3C7301F43301}"/>
                </a:ext>
              </a:extLst>
            </p:cNvPr>
            <p:cNvCxnSpPr>
              <a:cxnSpLocks/>
            </p:cNvCxnSpPr>
            <p:nvPr/>
          </p:nvCxnSpPr>
          <p:spPr>
            <a:xfrm>
              <a:off x="6476244"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2277B8A-2495-3743-A637-755AF76B2F1E}"/>
                </a:ext>
              </a:extLst>
            </p:cNvPr>
            <p:cNvCxnSpPr>
              <a:cxnSpLocks/>
            </p:cNvCxnSpPr>
            <p:nvPr/>
          </p:nvCxnSpPr>
          <p:spPr>
            <a:xfrm>
              <a:off x="7014898"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1511104-7F66-7A4B-A0D4-496FAA001887}"/>
                </a:ext>
              </a:extLst>
            </p:cNvPr>
            <p:cNvCxnSpPr>
              <a:cxnSpLocks/>
            </p:cNvCxnSpPr>
            <p:nvPr/>
          </p:nvCxnSpPr>
          <p:spPr>
            <a:xfrm flipH="1">
              <a:off x="6479979"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AF2F263-595C-474D-8F0A-BE804BB576D7}"/>
                </a:ext>
              </a:extLst>
            </p:cNvPr>
            <p:cNvCxnSpPr>
              <a:cxnSpLocks/>
            </p:cNvCxnSpPr>
            <p:nvPr/>
          </p:nvCxnSpPr>
          <p:spPr>
            <a:xfrm flipH="1">
              <a:off x="5941325"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CAE4F87-96DE-F244-A7B5-F41F02EEB7AB}"/>
                </a:ext>
              </a:extLst>
            </p:cNvPr>
            <p:cNvCxnSpPr>
              <a:cxnSpLocks/>
            </p:cNvCxnSpPr>
            <p:nvPr/>
          </p:nvCxnSpPr>
          <p:spPr>
            <a:xfrm>
              <a:off x="7014898"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201273A-5052-2C48-9EE6-B13FFAD54CAC}"/>
                </a:ext>
              </a:extLst>
            </p:cNvPr>
            <p:cNvCxnSpPr/>
            <p:nvPr/>
          </p:nvCxnSpPr>
          <p:spPr>
            <a:xfrm flipV="1">
              <a:off x="609087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BEB1D790-0ACD-0D47-86D4-34DC71B0E162}"/>
                </a:ext>
              </a:extLst>
            </p:cNvPr>
            <p:cNvCxnSpPr>
              <a:cxnSpLocks/>
            </p:cNvCxnSpPr>
            <p:nvPr/>
          </p:nvCxnSpPr>
          <p:spPr>
            <a:xfrm flipH="1" flipV="1">
              <a:off x="662579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5E0F479-4893-EC4D-999B-DA9E43EC1AA8}"/>
                </a:ext>
              </a:extLst>
            </p:cNvPr>
            <p:cNvCxnSpPr>
              <a:cxnSpLocks/>
            </p:cNvCxnSpPr>
            <p:nvPr/>
          </p:nvCxnSpPr>
          <p:spPr>
            <a:xfrm flipH="1" flipV="1">
              <a:off x="662579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5D3F44CB-37F7-1146-8BFD-0750C959E3E0}"/>
                </a:ext>
              </a:extLst>
            </p:cNvPr>
            <p:cNvCxnSpPr>
              <a:cxnSpLocks/>
            </p:cNvCxnSpPr>
            <p:nvPr/>
          </p:nvCxnSpPr>
          <p:spPr>
            <a:xfrm>
              <a:off x="662579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9C02803-D1AE-914E-A476-9AACD48B53B7}"/>
                </a:ext>
              </a:extLst>
            </p:cNvPr>
            <p:cNvCxnSpPr>
              <a:cxnSpLocks/>
            </p:cNvCxnSpPr>
            <p:nvPr/>
          </p:nvCxnSpPr>
          <p:spPr>
            <a:xfrm>
              <a:off x="716445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7082FFE-F027-4D4A-8EC7-B1891F90292C}"/>
                </a:ext>
              </a:extLst>
            </p:cNvPr>
            <p:cNvCxnSpPr>
              <a:cxnSpLocks/>
            </p:cNvCxnSpPr>
            <p:nvPr/>
          </p:nvCxnSpPr>
          <p:spPr>
            <a:xfrm flipH="1">
              <a:off x="662953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F84BFE0-4CD8-184D-9F74-88195C02D6C7}"/>
                </a:ext>
              </a:extLst>
            </p:cNvPr>
            <p:cNvCxnSpPr>
              <a:cxnSpLocks/>
            </p:cNvCxnSpPr>
            <p:nvPr/>
          </p:nvCxnSpPr>
          <p:spPr>
            <a:xfrm flipH="1">
              <a:off x="609087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4B266AA-B1A7-7948-8144-B57DEAD7A69C}"/>
                </a:ext>
              </a:extLst>
            </p:cNvPr>
            <p:cNvCxnSpPr>
              <a:cxnSpLocks/>
            </p:cNvCxnSpPr>
            <p:nvPr/>
          </p:nvCxnSpPr>
          <p:spPr>
            <a:xfrm>
              <a:off x="716445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F403F39-6767-FD44-B686-6E966B3C5645}"/>
                </a:ext>
              </a:extLst>
            </p:cNvPr>
            <p:cNvCxnSpPr/>
            <p:nvPr/>
          </p:nvCxnSpPr>
          <p:spPr>
            <a:xfrm flipV="1">
              <a:off x="586654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A4D7F2F-A11B-AF4F-8BF0-983403B97899}"/>
                </a:ext>
              </a:extLst>
            </p:cNvPr>
            <p:cNvCxnSpPr>
              <a:cxnSpLocks/>
            </p:cNvCxnSpPr>
            <p:nvPr/>
          </p:nvCxnSpPr>
          <p:spPr>
            <a:xfrm flipH="1" flipV="1">
              <a:off x="640146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071FB0D-4EB2-C345-9C38-24E607D4E3BE}"/>
                </a:ext>
              </a:extLst>
            </p:cNvPr>
            <p:cNvCxnSpPr>
              <a:cxnSpLocks/>
            </p:cNvCxnSpPr>
            <p:nvPr/>
          </p:nvCxnSpPr>
          <p:spPr>
            <a:xfrm flipH="1" flipV="1">
              <a:off x="640146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49F9012-0970-5C43-A84D-C210E4C6544E}"/>
                </a:ext>
              </a:extLst>
            </p:cNvPr>
            <p:cNvCxnSpPr>
              <a:cxnSpLocks/>
            </p:cNvCxnSpPr>
            <p:nvPr/>
          </p:nvCxnSpPr>
          <p:spPr>
            <a:xfrm>
              <a:off x="640146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D0AB873A-0BA8-DC4C-9D02-73C765E7DB23}"/>
                </a:ext>
              </a:extLst>
            </p:cNvPr>
            <p:cNvCxnSpPr>
              <a:cxnSpLocks/>
            </p:cNvCxnSpPr>
            <p:nvPr/>
          </p:nvCxnSpPr>
          <p:spPr>
            <a:xfrm>
              <a:off x="69401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448CC0A-B382-6847-861A-FDFC7BC837B9}"/>
                </a:ext>
              </a:extLst>
            </p:cNvPr>
            <p:cNvCxnSpPr>
              <a:cxnSpLocks/>
            </p:cNvCxnSpPr>
            <p:nvPr/>
          </p:nvCxnSpPr>
          <p:spPr>
            <a:xfrm flipH="1">
              <a:off x="64052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965AFB9-C52A-304D-8D2E-173DD27F012F}"/>
                </a:ext>
              </a:extLst>
            </p:cNvPr>
            <p:cNvCxnSpPr>
              <a:cxnSpLocks/>
            </p:cNvCxnSpPr>
            <p:nvPr/>
          </p:nvCxnSpPr>
          <p:spPr>
            <a:xfrm flipH="1">
              <a:off x="586654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8C7EB7B9-A1A0-F743-B13B-EB073AE03EE8}"/>
                </a:ext>
              </a:extLst>
            </p:cNvPr>
            <p:cNvCxnSpPr>
              <a:cxnSpLocks/>
            </p:cNvCxnSpPr>
            <p:nvPr/>
          </p:nvCxnSpPr>
          <p:spPr>
            <a:xfrm>
              <a:off x="69401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grpSp>
      <p:sp>
        <p:nvSpPr>
          <p:cNvPr id="202" name="Rectangle 201"/>
          <p:cNvSpPr/>
          <p:nvPr/>
        </p:nvSpPr>
        <p:spPr>
          <a:xfrm>
            <a:off x="4746184" y="1266864"/>
            <a:ext cx="1946267" cy="1539636"/>
          </a:xfrm>
          <a:prstGeom prst="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grpSp>
        <p:nvGrpSpPr>
          <p:cNvPr id="203" name="Group 202"/>
          <p:cNvGrpSpPr/>
          <p:nvPr/>
        </p:nvGrpSpPr>
        <p:grpSpPr>
          <a:xfrm>
            <a:off x="5057425" y="1363468"/>
            <a:ext cx="1468813" cy="1136001"/>
            <a:chOff x="5366550" y="1127079"/>
            <a:chExt cx="1634195" cy="1304358"/>
          </a:xfrm>
        </p:grpSpPr>
        <p:pic>
          <p:nvPicPr>
            <p:cNvPr id="204" name="Picture 20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66584" y="1127079"/>
              <a:ext cx="634161" cy="634161"/>
            </a:xfrm>
            <a:prstGeom prst="rect">
              <a:avLst/>
            </a:prstGeom>
          </p:spPr>
        </p:pic>
        <p:grpSp>
          <p:nvGrpSpPr>
            <p:cNvPr id="205" name="Group 204"/>
            <p:cNvGrpSpPr/>
            <p:nvPr/>
          </p:nvGrpSpPr>
          <p:grpSpPr>
            <a:xfrm rot="16200000">
              <a:off x="5344777" y="1636885"/>
              <a:ext cx="816325" cy="772779"/>
              <a:chOff x="5793619" y="1334476"/>
              <a:chExt cx="1994473" cy="1471157"/>
            </a:xfrm>
          </p:grpSpPr>
          <p:pic>
            <p:nvPicPr>
              <p:cNvPr id="222" name="Picture 221">
                <a:extLst>
                  <a:ext uri="{FF2B5EF4-FFF2-40B4-BE49-F238E27FC236}">
                    <a16:creationId xmlns:a16="http://schemas.microsoft.com/office/drawing/2014/main" id="{6501BE4D-6095-7947-97C8-5D71E695D1D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93619" y="2158786"/>
                <a:ext cx="378511" cy="485482"/>
              </a:xfrm>
              <a:prstGeom prst="rect">
                <a:avLst/>
              </a:prstGeom>
            </p:spPr>
          </p:pic>
          <p:pic>
            <p:nvPicPr>
              <p:cNvPr id="223" name="Picture 222">
                <a:extLst>
                  <a:ext uri="{FF2B5EF4-FFF2-40B4-BE49-F238E27FC236}">
                    <a16:creationId xmlns:a16="http://schemas.microsoft.com/office/drawing/2014/main" id="{FA80F940-3741-A749-977E-5E57F7E2EEF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32273" y="2158786"/>
                <a:ext cx="378511" cy="485482"/>
              </a:xfrm>
              <a:prstGeom prst="rect">
                <a:avLst/>
              </a:prstGeom>
            </p:spPr>
          </p:pic>
          <p:pic>
            <p:nvPicPr>
              <p:cNvPr id="224" name="Picture 223">
                <a:extLst>
                  <a:ext uri="{FF2B5EF4-FFF2-40B4-BE49-F238E27FC236}">
                    <a16:creationId xmlns:a16="http://schemas.microsoft.com/office/drawing/2014/main" id="{EDDDCB62-72D3-404C-BEA6-BAA7BEE412B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870927" y="2158786"/>
                <a:ext cx="378511" cy="485482"/>
              </a:xfrm>
              <a:prstGeom prst="rect">
                <a:avLst/>
              </a:prstGeom>
            </p:spPr>
          </p:pic>
          <p:pic>
            <p:nvPicPr>
              <p:cNvPr id="225" name="Picture 224">
                <a:extLst>
                  <a:ext uri="{FF2B5EF4-FFF2-40B4-BE49-F238E27FC236}">
                    <a16:creationId xmlns:a16="http://schemas.microsoft.com/office/drawing/2014/main" id="{8CF55EF2-E19A-8A4C-B9AA-DF32D23BF99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09581" y="2158786"/>
                <a:ext cx="378511" cy="485482"/>
              </a:xfrm>
              <a:prstGeom prst="rect">
                <a:avLst/>
              </a:prstGeom>
            </p:spPr>
          </p:pic>
          <p:pic>
            <p:nvPicPr>
              <p:cNvPr id="226" name="Picture 225">
                <a:extLst>
                  <a:ext uri="{FF2B5EF4-FFF2-40B4-BE49-F238E27FC236}">
                    <a16:creationId xmlns:a16="http://schemas.microsoft.com/office/drawing/2014/main" id="{A2438C44-0AEA-EA4F-8B1D-0D27E2ACD89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28538" y="1334476"/>
                <a:ext cx="378511" cy="485482"/>
              </a:xfrm>
              <a:prstGeom prst="rect">
                <a:avLst/>
              </a:prstGeom>
            </p:spPr>
          </p:pic>
          <p:pic>
            <p:nvPicPr>
              <p:cNvPr id="227" name="Picture 226">
                <a:extLst>
                  <a:ext uri="{FF2B5EF4-FFF2-40B4-BE49-F238E27FC236}">
                    <a16:creationId xmlns:a16="http://schemas.microsoft.com/office/drawing/2014/main" id="{DD80BB3E-C30F-D745-A17C-8A75B04EA57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867192" y="1334476"/>
                <a:ext cx="378511" cy="485482"/>
              </a:xfrm>
              <a:prstGeom prst="rect">
                <a:avLst/>
              </a:prstGeom>
            </p:spPr>
          </p:pic>
          <p:cxnSp>
            <p:nvCxnSpPr>
              <p:cNvPr id="228" name="Straight Connector 227">
                <a:extLst>
                  <a:ext uri="{FF2B5EF4-FFF2-40B4-BE49-F238E27FC236}">
                    <a16:creationId xmlns:a16="http://schemas.microsoft.com/office/drawing/2014/main" id="{4A8EA2C7-136B-B742-935B-3E439D370DE1}"/>
                  </a:ext>
                </a:extLst>
              </p:cNvPr>
              <p:cNvCxnSpPr/>
              <p:nvPr/>
            </p:nvCxnSpPr>
            <p:spPr>
              <a:xfrm flipV="1">
                <a:off x="60161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51640EF-AA33-614A-9E04-8F27B5C595A1}"/>
                  </a:ext>
                </a:extLst>
              </p:cNvPr>
              <p:cNvCxnSpPr>
                <a:cxnSpLocks/>
              </p:cNvCxnSpPr>
              <p:nvPr/>
            </p:nvCxnSpPr>
            <p:spPr>
              <a:xfrm flipH="1" flipV="1">
                <a:off x="65510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DA5CC831-BD4D-8C46-81B6-37FA603C84A0}"/>
                  </a:ext>
                </a:extLst>
              </p:cNvPr>
              <p:cNvCxnSpPr>
                <a:cxnSpLocks/>
              </p:cNvCxnSpPr>
              <p:nvPr/>
            </p:nvCxnSpPr>
            <p:spPr>
              <a:xfrm flipH="1" flipV="1">
                <a:off x="65510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B9C6F769-4F55-A14F-A501-6726E6E2BE6E}"/>
                  </a:ext>
                </a:extLst>
              </p:cNvPr>
              <p:cNvCxnSpPr>
                <a:cxnSpLocks/>
              </p:cNvCxnSpPr>
              <p:nvPr/>
            </p:nvCxnSpPr>
            <p:spPr>
              <a:xfrm>
                <a:off x="6551021"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061FDD37-9696-254E-A994-C5D253389656}"/>
                  </a:ext>
                </a:extLst>
              </p:cNvPr>
              <p:cNvCxnSpPr>
                <a:cxnSpLocks/>
              </p:cNvCxnSpPr>
              <p:nvPr/>
            </p:nvCxnSpPr>
            <p:spPr>
              <a:xfrm>
                <a:off x="7089675"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75E4F185-7623-8D4C-920D-DC839A858436}"/>
                  </a:ext>
                </a:extLst>
              </p:cNvPr>
              <p:cNvCxnSpPr>
                <a:cxnSpLocks/>
              </p:cNvCxnSpPr>
              <p:nvPr/>
            </p:nvCxnSpPr>
            <p:spPr>
              <a:xfrm flipH="1">
                <a:off x="6554756"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12582621-745B-2A4D-8CF5-0D7C96250A07}"/>
                  </a:ext>
                </a:extLst>
              </p:cNvPr>
              <p:cNvCxnSpPr>
                <a:cxnSpLocks/>
              </p:cNvCxnSpPr>
              <p:nvPr/>
            </p:nvCxnSpPr>
            <p:spPr>
              <a:xfrm flipH="1">
                <a:off x="6016102"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C34F6CD-CAD7-914C-8C4C-30D32D6F9881}"/>
                  </a:ext>
                </a:extLst>
              </p:cNvPr>
              <p:cNvCxnSpPr>
                <a:cxnSpLocks/>
              </p:cNvCxnSpPr>
              <p:nvPr/>
            </p:nvCxnSpPr>
            <p:spPr>
              <a:xfrm>
                <a:off x="7089675"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C630789C-2E01-2D44-B01A-D5D0E7CD883B}"/>
                  </a:ext>
                </a:extLst>
              </p:cNvPr>
              <p:cNvCxnSpPr>
                <a:cxnSpLocks/>
              </p:cNvCxnSpPr>
              <p:nvPr/>
            </p:nvCxnSpPr>
            <p:spPr>
              <a:xfrm>
                <a:off x="5816671"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8280AEDC-50D3-5E4F-B880-D83562B3C562}"/>
                  </a:ext>
                </a:extLst>
              </p:cNvPr>
              <p:cNvCxnSpPr>
                <a:cxnSpLocks/>
              </p:cNvCxnSpPr>
              <p:nvPr/>
            </p:nvCxnSpPr>
            <p:spPr>
              <a:xfrm>
                <a:off x="5864422"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B92A13D-B20F-334A-9C34-96B195A0B09D}"/>
                  </a:ext>
                </a:extLst>
              </p:cNvPr>
              <p:cNvCxnSpPr>
                <a:cxnSpLocks/>
              </p:cNvCxnSpPr>
              <p:nvPr/>
            </p:nvCxnSpPr>
            <p:spPr>
              <a:xfrm>
                <a:off x="591217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316EAE6-0996-A44E-8B9D-758564E4D0D0}"/>
                  </a:ext>
                </a:extLst>
              </p:cNvPr>
              <p:cNvCxnSpPr>
                <a:cxnSpLocks/>
              </p:cNvCxnSpPr>
              <p:nvPr/>
            </p:nvCxnSpPr>
            <p:spPr>
              <a:xfrm>
                <a:off x="595992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93F46143-07A7-D444-B21E-4B8E14B4E886}"/>
                  </a:ext>
                </a:extLst>
              </p:cNvPr>
              <p:cNvCxnSpPr>
                <a:cxnSpLocks/>
              </p:cNvCxnSpPr>
              <p:nvPr/>
            </p:nvCxnSpPr>
            <p:spPr>
              <a:xfrm>
                <a:off x="600767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F0C5262D-C472-A24A-AFE9-36022053FA5E}"/>
                  </a:ext>
                </a:extLst>
              </p:cNvPr>
              <p:cNvCxnSpPr>
                <a:cxnSpLocks/>
              </p:cNvCxnSpPr>
              <p:nvPr/>
            </p:nvCxnSpPr>
            <p:spPr>
              <a:xfrm>
                <a:off x="605542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665E160-48B9-104C-B6D0-A3DC92C2F963}"/>
                  </a:ext>
                </a:extLst>
              </p:cNvPr>
              <p:cNvCxnSpPr>
                <a:cxnSpLocks/>
              </p:cNvCxnSpPr>
              <p:nvPr/>
            </p:nvCxnSpPr>
            <p:spPr>
              <a:xfrm>
                <a:off x="610317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165A3674-DDA3-4140-A67D-9ECD8A2B6EE6}"/>
                  </a:ext>
                </a:extLst>
              </p:cNvPr>
              <p:cNvCxnSpPr>
                <a:cxnSpLocks/>
              </p:cNvCxnSpPr>
              <p:nvPr/>
            </p:nvCxnSpPr>
            <p:spPr>
              <a:xfrm>
                <a:off x="61509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009E129D-7CE8-044F-BCC8-9DE0CE4B7493}"/>
                  </a:ext>
                </a:extLst>
              </p:cNvPr>
              <p:cNvCxnSpPr>
                <a:cxnSpLocks/>
              </p:cNvCxnSpPr>
              <p:nvPr/>
            </p:nvCxnSpPr>
            <p:spPr>
              <a:xfrm>
                <a:off x="6345123"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26B36D10-3039-194D-B97D-4B01D1253BD1}"/>
                  </a:ext>
                </a:extLst>
              </p:cNvPr>
              <p:cNvCxnSpPr>
                <a:cxnSpLocks/>
              </p:cNvCxnSpPr>
              <p:nvPr/>
            </p:nvCxnSpPr>
            <p:spPr>
              <a:xfrm>
                <a:off x="6392874"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40ECFA9-6228-1A41-AC3D-3C225128FBAD}"/>
                  </a:ext>
                </a:extLst>
              </p:cNvPr>
              <p:cNvCxnSpPr>
                <a:cxnSpLocks/>
              </p:cNvCxnSpPr>
              <p:nvPr/>
            </p:nvCxnSpPr>
            <p:spPr>
              <a:xfrm>
                <a:off x="6440625"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DEFAAD2A-1AFD-B841-B7E8-68B5D122E268}"/>
                  </a:ext>
                </a:extLst>
              </p:cNvPr>
              <p:cNvCxnSpPr>
                <a:cxnSpLocks/>
              </p:cNvCxnSpPr>
              <p:nvPr/>
            </p:nvCxnSpPr>
            <p:spPr>
              <a:xfrm>
                <a:off x="6488376"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C20A5310-3952-3340-A836-D31F24C1F640}"/>
                  </a:ext>
                </a:extLst>
              </p:cNvPr>
              <p:cNvCxnSpPr>
                <a:cxnSpLocks/>
              </p:cNvCxnSpPr>
              <p:nvPr/>
            </p:nvCxnSpPr>
            <p:spPr>
              <a:xfrm>
                <a:off x="6536127"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D70BE24A-B280-C440-8F9F-197D10F82442}"/>
                  </a:ext>
                </a:extLst>
              </p:cNvPr>
              <p:cNvCxnSpPr>
                <a:cxnSpLocks/>
              </p:cNvCxnSpPr>
              <p:nvPr/>
            </p:nvCxnSpPr>
            <p:spPr>
              <a:xfrm>
                <a:off x="6583878"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4C1D31FE-50EB-D349-B8DB-193298C84A30}"/>
                  </a:ext>
                </a:extLst>
              </p:cNvPr>
              <p:cNvCxnSpPr>
                <a:cxnSpLocks/>
              </p:cNvCxnSpPr>
              <p:nvPr/>
            </p:nvCxnSpPr>
            <p:spPr>
              <a:xfrm>
                <a:off x="663162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DA143978-C7AF-6943-BE55-6FA42220BE81}"/>
                  </a:ext>
                </a:extLst>
              </p:cNvPr>
              <p:cNvCxnSpPr>
                <a:cxnSpLocks/>
              </p:cNvCxnSpPr>
              <p:nvPr/>
            </p:nvCxnSpPr>
            <p:spPr>
              <a:xfrm>
                <a:off x="6679379" y="2621216"/>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51C87A55-F802-1C48-9344-364E6D959D66}"/>
                  </a:ext>
                </a:extLst>
              </p:cNvPr>
              <p:cNvCxnSpPr>
                <a:cxnSpLocks/>
              </p:cNvCxnSpPr>
              <p:nvPr/>
            </p:nvCxnSpPr>
            <p:spPr>
              <a:xfrm>
                <a:off x="6883777"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FE753450-D598-C043-A39D-F7E91F229460}"/>
                  </a:ext>
                </a:extLst>
              </p:cNvPr>
              <p:cNvCxnSpPr>
                <a:cxnSpLocks/>
              </p:cNvCxnSpPr>
              <p:nvPr/>
            </p:nvCxnSpPr>
            <p:spPr>
              <a:xfrm>
                <a:off x="6931528"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2C60C428-4696-804C-8077-7323C439CE2B}"/>
                  </a:ext>
                </a:extLst>
              </p:cNvPr>
              <p:cNvCxnSpPr>
                <a:cxnSpLocks/>
              </p:cNvCxnSpPr>
              <p:nvPr/>
            </p:nvCxnSpPr>
            <p:spPr>
              <a:xfrm>
                <a:off x="6979279"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921ECB4F-30AE-5245-8D8F-00DA9B64400E}"/>
                  </a:ext>
                </a:extLst>
              </p:cNvPr>
              <p:cNvCxnSpPr>
                <a:cxnSpLocks/>
              </p:cNvCxnSpPr>
              <p:nvPr/>
            </p:nvCxnSpPr>
            <p:spPr>
              <a:xfrm>
                <a:off x="7027030"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C40C8084-E874-7A43-92B7-7D3CE02226C6}"/>
                  </a:ext>
                </a:extLst>
              </p:cNvPr>
              <p:cNvCxnSpPr>
                <a:cxnSpLocks/>
              </p:cNvCxnSpPr>
              <p:nvPr/>
            </p:nvCxnSpPr>
            <p:spPr>
              <a:xfrm>
                <a:off x="7074781"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75118753-0DF3-B54A-B962-7B5F26F54509}"/>
                  </a:ext>
                </a:extLst>
              </p:cNvPr>
              <p:cNvCxnSpPr>
                <a:cxnSpLocks/>
              </p:cNvCxnSpPr>
              <p:nvPr/>
            </p:nvCxnSpPr>
            <p:spPr>
              <a:xfrm>
                <a:off x="7122532"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388196C1-57C3-6E4A-8A2B-A359E68BD882}"/>
                  </a:ext>
                </a:extLst>
              </p:cNvPr>
              <p:cNvCxnSpPr>
                <a:cxnSpLocks/>
              </p:cNvCxnSpPr>
              <p:nvPr/>
            </p:nvCxnSpPr>
            <p:spPr>
              <a:xfrm>
                <a:off x="717028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822C64-72CD-6C41-BB6E-DFDA2302E992}"/>
                  </a:ext>
                </a:extLst>
              </p:cNvPr>
              <p:cNvCxnSpPr>
                <a:cxnSpLocks/>
              </p:cNvCxnSpPr>
              <p:nvPr/>
            </p:nvCxnSpPr>
            <p:spPr>
              <a:xfrm>
                <a:off x="7218033" y="2631938"/>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975EA81E-3C34-904E-9079-742098154A3A}"/>
                  </a:ext>
                </a:extLst>
              </p:cNvPr>
              <p:cNvCxnSpPr>
                <a:cxnSpLocks/>
              </p:cNvCxnSpPr>
              <p:nvPr/>
            </p:nvCxnSpPr>
            <p:spPr>
              <a:xfrm>
                <a:off x="7420334"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049E458D-17C1-EB4D-A31D-44B5A0DE7906}"/>
                  </a:ext>
                </a:extLst>
              </p:cNvPr>
              <p:cNvCxnSpPr>
                <a:cxnSpLocks/>
              </p:cNvCxnSpPr>
              <p:nvPr/>
            </p:nvCxnSpPr>
            <p:spPr>
              <a:xfrm>
                <a:off x="7468085"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340A5FB3-DDFE-044E-BACE-63F640A05796}"/>
                  </a:ext>
                </a:extLst>
              </p:cNvPr>
              <p:cNvCxnSpPr>
                <a:cxnSpLocks/>
              </p:cNvCxnSpPr>
              <p:nvPr/>
            </p:nvCxnSpPr>
            <p:spPr>
              <a:xfrm>
                <a:off x="7515836"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0CC4024D-A9DB-E344-9A36-38A2FCCA9953}"/>
                  </a:ext>
                </a:extLst>
              </p:cNvPr>
              <p:cNvCxnSpPr>
                <a:cxnSpLocks/>
              </p:cNvCxnSpPr>
              <p:nvPr/>
            </p:nvCxnSpPr>
            <p:spPr>
              <a:xfrm>
                <a:off x="7563587"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893FDA6B-D9F0-824A-BE8C-DC4DA071A03D}"/>
                  </a:ext>
                </a:extLst>
              </p:cNvPr>
              <p:cNvCxnSpPr>
                <a:cxnSpLocks/>
              </p:cNvCxnSpPr>
              <p:nvPr/>
            </p:nvCxnSpPr>
            <p:spPr>
              <a:xfrm>
                <a:off x="7611338"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8D01F5D4-8E49-864F-AC4B-89D458AC0B45}"/>
                  </a:ext>
                </a:extLst>
              </p:cNvPr>
              <p:cNvCxnSpPr>
                <a:cxnSpLocks/>
              </p:cNvCxnSpPr>
              <p:nvPr/>
            </p:nvCxnSpPr>
            <p:spPr>
              <a:xfrm>
                <a:off x="7659089"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06891B1F-83C1-5342-A8BE-605FE16B43F1}"/>
                  </a:ext>
                </a:extLst>
              </p:cNvPr>
              <p:cNvCxnSpPr>
                <a:cxnSpLocks/>
              </p:cNvCxnSpPr>
              <p:nvPr/>
            </p:nvCxnSpPr>
            <p:spPr>
              <a:xfrm>
                <a:off x="770684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120A7731-6C36-EE41-87BE-100DDEB65899}"/>
                  </a:ext>
                </a:extLst>
              </p:cNvPr>
              <p:cNvCxnSpPr>
                <a:cxnSpLocks/>
              </p:cNvCxnSpPr>
              <p:nvPr/>
            </p:nvCxnSpPr>
            <p:spPr>
              <a:xfrm>
                <a:off x="7754590" y="2627292"/>
                <a:ext cx="0" cy="173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BBDE27A2-E5EB-C84F-8105-FCFFF9A0F6CF}"/>
                  </a:ext>
                </a:extLst>
              </p:cNvPr>
              <p:cNvCxnSpPr/>
              <p:nvPr/>
            </p:nvCxnSpPr>
            <p:spPr>
              <a:xfrm flipV="1">
                <a:off x="5941325"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F211CC11-C3AA-DB48-A7E9-F3A8BBFF0341}"/>
                  </a:ext>
                </a:extLst>
              </p:cNvPr>
              <p:cNvCxnSpPr>
                <a:cxnSpLocks/>
              </p:cNvCxnSpPr>
              <p:nvPr/>
            </p:nvCxnSpPr>
            <p:spPr>
              <a:xfrm flipH="1" flipV="1">
                <a:off x="6476244"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7F2AF944-523E-DE49-A61F-BB2A7BF3254A}"/>
                  </a:ext>
                </a:extLst>
              </p:cNvPr>
              <p:cNvCxnSpPr>
                <a:cxnSpLocks/>
              </p:cNvCxnSpPr>
              <p:nvPr/>
            </p:nvCxnSpPr>
            <p:spPr>
              <a:xfrm flipH="1" flipV="1">
                <a:off x="6476244"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69E64FF3-E8C0-DD48-A583-3C7301F43301}"/>
                  </a:ext>
                </a:extLst>
              </p:cNvPr>
              <p:cNvCxnSpPr>
                <a:cxnSpLocks/>
              </p:cNvCxnSpPr>
              <p:nvPr/>
            </p:nvCxnSpPr>
            <p:spPr>
              <a:xfrm>
                <a:off x="6476244"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E2277B8A-2495-3743-A637-755AF76B2F1E}"/>
                  </a:ext>
                </a:extLst>
              </p:cNvPr>
              <p:cNvCxnSpPr>
                <a:cxnSpLocks/>
              </p:cNvCxnSpPr>
              <p:nvPr/>
            </p:nvCxnSpPr>
            <p:spPr>
              <a:xfrm>
                <a:off x="7014898"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E1511104-7F66-7A4B-A0D4-496FAA001887}"/>
                  </a:ext>
                </a:extLst>
              </p:cNvPr>
              <p:cNvCxnSpPr>
                <a:cxnSpLocks/>
              </p:cNvCxnSpPr>
              <p:nvPr/>
            </p:nvCxnSpPr>
            <p:spPr>
              <a:xfrm flipH="1">
                <a:off x="6479979"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7AF2F263-595C-474D-8F0A-BE804BB576D7}"/>
                  </a:ext>
                </a:extLst>
              </p:cNvPr>
              <p:cNvCxnSpPr>
                <a:cxnSpLocks/>
              </p:cNvCxnSpPr>
              <p:nvPr/>
            </p:nvCxnSpPr>
            <p:spPr>
              <a:xfrm flipH="1">
                <a:off x="5941325"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CCAE4F87-96DE-F244-A7B5-F41F02EEB7AB}"/>
                  </a:ext>
                </a:extLst>
              </p:cNvPr>
              <p:cNvCxnSpPr>
                <a:cxnSpLocks/>
              </p:cNvCxnSpPr>
              <p:nvPr/>
            </p:nvCxnSpPr>
            <p:spPr>
              <a:xfrm>
                <a:off x="7014898"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C201273A-5052-2C48-9EE6-B13FFAD54CAC}"/>
                  </a:ext>
                </a:extLst>
              </p:cNvPr>
              <p:cNvCxnSpPr/>
              <p:nvPr/>
            </p:nvCxnSpPr>
            <p:spPr>
              <a:xfrm flipV="1">
                <a:off x="609087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BEB1D790-0ACD-0D47-86D4-34DC71B0E162}"/>
                  </a:ext>
                </a:extLst>
              </p:cNvPr>
              <p:cNvCxnSpPr>
                <a:cxnSpLocks/>
              </p:cNvCxnSpPr>
              <p:nvPr/>
            </p:nvCxnSpPr>
            <p:spPr>
              <a:xfrm flipH="1" flipV="1">
                <a:off x="662579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A5E0F479-4893-EC4D-999B-DA9E43EC1AA8}"/>
                  </a:ext>
                </a:extLst>
              </p:cNvPr>
              <p:cNvCxnSpPr>
                <a:cxnSpLocks/>
              </p:cNvCxnSpPr>
              <p:nvPr/>
            </p:nvCxnSpPr>
            <p:spPr>
              <a:xfrm flipH="1" flipV="1">
                <a:off x="662579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D3F44CB-37F7-1146-8BFD-0750C959E3E0}"/>
                  </a:ext>
                </a:extLst>
              </p:cNvPr>
              <p:cNvCxnSpPr>
                <a:cxnSpLocks/>
              </p:cNvCxnSpPr>
              <p:nvPr/>
            </p:nvCxnSpPr>
            <p:spPr>
              <a:xfrm>
                <a:off x="662579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A9C02803-D1AE-914E-A476-9AACD48B53B7}"/>
                  </a:ext>
                </a:extLst>
              </p:cNvPr>
              <p:cNvCxnSpPr>
                <a:cxnSpLocks/>
              </p:cNvCxnSpPr>
              <p:nvPr/>
            </p:nvCxnSpPr>
            <p:spPr>
              <a:xfrm>
                <a:off x="716445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D7082FFE-F027-4D4A-8EC7-B1891F90292C}"/>
                  </a:ext>
                </a:extLst>
              </p:cNvPr>
              <p:cNvCxnSpPr>
                <a:cxnSpLocks/>
              </p:cNvCxnSpPr>
              <p:nvPr/>
            </p:nvCxnSpPr>
            <p:spPr>
              <a:xfrm flipH="1">
                <a:off x="662953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CF84BFE0-4CD8-184D-9F74-88195C02D6C7}"/>
                  </a:ext>
                </a:extLst>
              </p:cNvPr>
              <p:cNvCxnSpPr>
                <a:cxnSpLocks/>
              </p:cNvCxnSpPr>
              <p:nvPr/>
            </p:nvCxnSpPr>
            <p:spPr>
              <a:xfrm flipH="1">
                <a:off x="609087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94B266AA-B1A7-7948-8144-B57DEAD7A69C}"/>
                  </a:ext>
                </a:extLst>
              </p:cNvPr>
              <p:cNvCxnSpPr>
                <a:cxnSpLocks/>
              </p:cNvCxnSpPr>
              <p:nvPr/>
            </p:nvCxnSpPr>
            <p:spPr>
              <a:xfrm>
                <a:off x="716445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3F403F39-6767-FD44-B686-6E966B3C5645}"/>
                  </a:ext>
                </a:extLst>
              </p:cNvPr>
              <p:cNvCxnSpPr/>
              <p:nvPr/>
            </p:nvCxnSpPr>
            <p:spPr>
              <a:xfrm flipV="1">
                <a:off x="5866548"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BA4D7F2F-A11B-AF4F-8BF0-983403B97899}"/>
                  </a:ext>
                </a:extLst>
              </p:cNvPr>
              <p:cNvCxnSpPr>
                <a:cxnSpLocks/>
              </p:cNvCxnSpPr>
              <p:nvPr/>
            </p:nvCxnSpPr>
            <p:spPr>
              <a:xfrm flipH="1" flipV="1">
                <a:off x="6401467"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A071FB0D-4EB2-C345-9C38-24E607D4E3BE}"/>
                  </a:ext>
                </a:extLst>
              </p:cNvPr>
              <p:cNvCxnSpPr>
                <a:cxnSpLocks/>
              </p:cNvCxnSpPr>
              <p:nvPr/>
            </p:nvCxnSpPr>
            <p:spPr>
              <a:xfrm flipH="1" flipV="1">
                <a:off x="6401467"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249F9012-0970-5C43-A84D-C210E4C6544E}"/>
                  </a:ext>
                </a:extLst>
              </p:cNvPr>
              <p:cNvCxnSpPr>
                <a:cxnSpLocks/>
              </p:cNvCxnSpPr>
              <p:nvPr/>
            </p:nvCxnSpPr>
            <p:spPr>
              <a:xfrm>
                <a:off x="6401467" y="1805510"/>
                <a:ext cx="108104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D0AB873A-0BA8-DC4C-9D02-73C765E7DB23}"/>
                  </a:ext>
                </a:extLst>
              </p:cNvPr>
              <p:cNvCxnSpPr>
                <a:cxnSpLocks/>
              </p:cNvCxnSpPr>
              <p:nvPr/>
            </p:nvCxnSpPr>
            <p:spPr>
              <a:xfrm>
                <a:off x="6940121" y="1805510"/>
                <a:ext cx="3735"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1448CC0A-B382-6847-861A-FDFC7BC837B9}"/>
                  </a:ext>
                </a:extLst>
              </p:cNvPr>
              <p:cNvCxnSpPr>
                <a:cxnSpLocks/>
              </p:cNvCxnSpPr>
              <p:nvPr/>
            </p:nvCxnSpPr>
            <p:spPr>
              <a:xfrm flipH="1">
                <a:off x="6405202" y="1805510"/>
                <a:ext cx="534919"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6965AFB9-C52A-304D-8D2E-173DD27F012F}"/>
                  </a:ext>
                </a:extLst>
              </p:cNvPr>
              <p:cNvCxnSpPr>
                <a:cxnSpLocks/>
              </p:cNvCxnSpPr>
              <p:nvPr/>
            </p:nvCxnSpPr>
            <p:spPr>
              <a:xfrm flipH="1">
                <a:off x="5866548" y="1805510"/>
                <a:ext cx="1073573" cy="338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8C7EB7B9-A1A0-F743-B13B-EB073AE03EE8}"/>
                  </a:ext>
                </a:extLst>
              </p:cNvPr>
              <p:cNvCxnSpPr>
                <a:cxnSpLocks/>
              </p:cNvCxnSpPr>
              <p:nvPr/>
            </p:nvCxnSpPr>
            <p:spPr>
              <a:xfrm>
                <a:off x="6940121" y="1805510"/>
                <a:ext cx="542389" cy="33882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6" name="Group 205"/>
            <p:cNvGrpSpPr>
              <a:grpSpLocks noChangeAspect="1"/>
            </p:cNvGrpSpPr>
            <p:nvPr/>
          </p:nvGrpSpPr>
          <p:grpSpPr>
            <a:xfrm rot="974379">
              <a:off x="5993010" y="1205719"/>
              <a:ext cx="297676" cy="364360"/>
              <a:chOff x="4929188" y="1022351"/>
              <a:chExt cx="687388" cy="841375"/>
            </a:xfrm>
          </p:grpSpPr>
          <p:sp>
            <p:nvSpPr>
              <p:cNvPr id="215" name="Freeform 124"/>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16" name="Freeform 125"/>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17" name="Freeform 126"/>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18" name="Freeform 127"/>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19" name="Freeform 128"/>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20" name="Freeform 129"/>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21" name="Freeform 130"/>
              <p:cNvSpPr>
                <a:spLocks/>
              </p:cNvSpPr>
              <p:nvPr/>
            </p:nvSpPr>
            <p:spPr bwMode="auto">
              <a:xfrm>
                <a:off x="5468938"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nvGrpSpPr>
            <p:cNvPr id="207" name="Group 206"/>
            <p:cNvGrpSpPr>
              <a:grpSpLocks noChangeAspect="1"/>
            </p:cNvGrpSpPr>
            <p:nvPr/>
          </p:nvGrpSpPr>
          <p:grpSpPr>
            <a:xfrm rot="10230679">
              <a:off x="6341186" y="1803921"/>
              <a:ext cx="302884" cy="370735"/>
              <a:chOff x="4929188" y="1022351"/>
              <a:chExt cx="687388" cy="841375"/>
            </a:xfrm>
          </p:grpSpPr>
          <p:sp>
            <p:nvSpPr>
              <p:cNvPr id="208" name="Freeform 124"/>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09" name="Freeform 125"/>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10" name="Freeform 126"/>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11" name="Freeform 127"/>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12" name="Freeform 128"/>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13" name="Freeform 129"/>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sp>
            <p:nvSpPr>
              <p:cNvPr id="214" name="Freeform 130"/>
              <p:cNvSpPr>
                <a:spLocks/>
              </p:cNvSpPr>
              <p:nvPr/>
            </p:nvSpPr>
            <p:spPr bwMode="auto">
              <a:xfrm>
                <a:off x="5468938"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89">
                  <a:defRPr/>
                </a:pPr>
                <a:endParaRPr lang="en-US">
                  <a:solidFill>
                    <a:srgbClr val="282828"/>
                  </a:solidFill>
                </a:endParaRPr>
              </a:p>
            </p:txBody>
          </p:sp>
        </p:grpSp>
      </p:grpSp>
      <p:sp>
        <p:nvSpPr>
          <p:cNvPr id="15" name="Freeform 14"/>
          <p:cNvSpPr/>
          <p:nvPr/>
        </p:nvSpPr>
        <p:spPr>
          <a:xfrm>
            <a:off x="4879947" y="2652538"/>
            <a:ext cx="1712846" cy="538872"/>
          </a:xfrm>
          <a:custGeom>
            <a:avLst/>
            <a:gdLst>
              <a:gd name="connsiteX0" fmla="*/ 0 w 1712846"/>
              <a:gd name="connsiteY0" fmla="*/ 0 h 538872"/>
              <a:gd name="connsiteX1" fmla="*/ 999160 w 1712846"/>
              <a:gd name="connsiteY1" fmla="*/ 0 h 538872"/>
              <a:gd name="connsiteX2" fmla="*/ 1203274 w 1712846"/>
              <a:gd name="connsiteY2" fmla="*/ -57659 h 538872"/>
              <a:gd name="connsiteX3" fmla="*/ 1427372 w 1712846"/>
              <a:gd name="connsiteY3" fmla="*/ 0 h 538872"/>
              <a:gd name="connsiteX4" fmla="*/ 1712846 w 1712846"/>
              <a:gd name="connsiteY4" fmla="*/ 0 h 538872"/>
              <a:gd name="connsiteX5" fmla="*/ 1712846 w 1712846"/>
              <a:gd name="connsiteY5" fmla="*/ 89812 h 538872"/>
              <a:gd name="connsiteX6" fmla="*/ 1712846 w 1712846"/>
              <a:gd name="connsiteY6" fmla="*/ 89812 h 538872"/>
              <a:gd name="connsiteX7" fmla="*/ 1712846 w 1712846"/>
              <a:gd name="connsiteY7" fmla="*/ 224530 h 538872"/>
              <a:gd name="connsiteX8" fmla="*/ 1712846 w 1712846"/>
              <a:gd name="connsiteY8" fmla="*/ 538872 h 538872"/>
              <a:gd name="connsiteX9" fmla="*/ 1427372 w 1712846"/>
              <a:gd name="connsiteY9" fmla="*/ 538872 h 538872"/>
              <a:gd name="connsiteX10" fmla="*/ 999160 w 1712846"/>
              <a:gd name="connsiteY10" fmla="*/ 538872 h 538872"/>
              <a:gd name="connsiteX11" fmla="*/ 999160 w 1712846"/>
              <a:gd name="connsiteY11" fmla="*/ 538872 h 538872"/>
              <a:gd name="connsiteX12" fmla="*/ 0 w 1712846"/>
              <a:gd name="connsiteY12" fmla="*/ 538872 h 538872"/>
              <a:gd name="connsiteX13" fmla="*/ 0 w 1712846"/>
              <a:gd name="connsiteY13" fmla="*/ 224530 h 538872"/>
              <a:gd name="connsiteX14" fmla="*/ 0 w 1712846"/>
              <a:gd name="connsiteY14" fmla="*/ 89812 h 538872"/>
              <a:gd name="connsiteX15" fmla="*/ 0 w 1712846"/>
              <a:gd name="connsiteY15" fmla="*/ 89812 h 538872"/>
              <a:gd name="connsiteX16" fmla="*/ 0 w 1712846"/>
              <a:gd name="connsiteY16" fmla="*/ 0 h 53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2846" h="538872">
                <a:moveTo>
                  <a:pt x="0" y="0"/>
                </a:moveTo>
                <a:lnTo>
                  <a:pt x="999160" y="0"/>
                </a:lnTo>
                <a:lnTo>
                  <a:pt x="1203274" y="-57659"/>
                </a:lnTo>
                <a:lnTo>
                  <a:pt x="1427372" y="0"/>
                </a:lnTo>
                <a:lnTo>
                  <a:pt x="1712846" y="0"/>
                </a:lnTo>
                <a:lnTo>
                  <a:pt x="1712846" y="89812"/>
                </a:lnTo>
                <a:lnTo>
                  <a:pt x="1712846" y="89812"/>
                </a:lnTo>
                <a:lnTo>
                  <a:pt x="1712846" y="224530"/>
                </a:lnTo>
                <a:lnTo>
                  <a:pt x="1712846" y="538872"/>
                </a:lnTo>
                <a:lnTo>
                  <a:pt x="1427372" y="538872"/>
                </a:lnTo>
                <a:lnTo>
                  <a:pt x="999160" y="538872"/>
                </a:lnTo>
                <a:lnTo>
                  <a:pt x="999160" y="538872"/>
                </a:lnTo>
                <a:lnTo>
                  <a:pt x="0" y="538872"/>
                </a:lnTo>
                <a:lnTo>
                  <a:pt x="0" y="224530"/>
                </a:lnTo>
                <a:lnTo>
                  <a:pt x="0" y="89812"/>
                </a:lnTo>
                <a:lnTo>
                  <a:pt x="0" y="89812"/>
                </a:lnTo>
                <a:lnTo>
                  <a:pt x="0"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150" tIns="57150" rIns="57150" bIns="57150" numCol="1" spcCol="1270" anchor="ctr" anchorCtr="0">
            <a:noAutofit/>
          </a:bodyPr>
          <a:lstStyle/>
          <a:p>
            <a:pPr algn="ctr" defTabSz="666734">
              <a:lnSpc>
                <a:spcPct val="90000"/>
              </a:lnSpc>
              <a:spcAft>
                <a:spcPct val="35000"/>
              </a:spcAft>
              <a:defRPr/>
            </a:pPr>
            <a:r>
              <a:rPr lang="en-US" sz="1500" dirty="0">
                <a:solidFill>
                  <a:srgbClr val="005073"/>
                </a:solidFill>
                <a:latin typeface="CiscoSansTT ExtraLight"/>
              </a:rPr>
              <a:t>Unified By Automation</a:t>
            </a:r>
          </a:p>
        </p:txBody>
      </p:sp>
    </p:spTree>
    <p:extLst>
      <p:ext uri="{BB962C8B-B14F-4D97-AF65-F5344CB8AC3E}">
        <p14:creationId xmlns:p14="http://schemas.microsoft.com/office/powerpoint/2010/main" val="19541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3F3B7E-9A71-BD45-ACF7-81C216E2D44C}"/>
              </a:ext>
            </a:extLst>
          </p:cNvPr>
          <p:cNvSpPr>
            <a:spLocks noGrp="1"/>
          </p:cNvSpPr>
          <p:nvPr>
            <p:ph type="body" sz="quarter" idx="10"/>
          </p:nvPr>
        </p:nvSpPr>
        <p:spPr/>
        <p:txBody>
          <a:bodyPr/>
          <a:lstStyle/>
          <a:p>
            <a:r>
              <a:rPr lang="en-US" sz="1400" dirty="0"/>
              <a:t>Physical and logical separation of network functions</a:t>
            </a:r>
          </a:p>
          <a:p>
            <a:r>
              <a:rPr lang="en-US" sz="1400" dirty="0"/>
              <a:t>Peering Fabric Leaf and Peering Fabric Spine roles </a:t>
            </a:r>
          </a:p>
          <a:p>
            <a:r>
              <a:rPr lang="en-US" sz="1400" dirty="0"/>
              <a:t>Evolution in peering similar to widespread use of </a:t>
            </a:r>
            <a:r>
              <a:rPr lang="en-US" sz="1400" dirty="0" err="1"/>
              <a:t>ToR</a:t>
            </a:r>
            <a:r>
              <a:rPr lang="en-US" sz="1400" dirty="0"/>
              <a:t> devices in datacenters </a:t>
            </a:r>
          </a:p>
          <a:p>
            <a:endParaRPr lang="en-US" sz="1400" dirty="0"/>
          </a:p>
        </p:txBody>
      </p:sp>
      <p:sp>
        <p:nvSpPr>
          <p:cNvPr id="3" name="Title 2">
            <a:extLst>
              <a:ext uri="{FF2B5EF4-FFF2-40B4-BE49-F238E27FC236}">
                <a16:creationId xmlns:a16="http://schemas.microsoft.com/office/drawing/2014/main" id="{6790CD1A-8844-404F-A17C-5F9D244B5E05}"/>
              </a:ext>
            </a:extLst>
          </p:cNvPr>
          <p:cNvSpPr>
            <a:spLocks noGrp="1"/>
          </p:cNvSpPr>
          <p:nvPr>
            <p:ph type="title"/>
          </p:nvPr>
        </p:nvSpPr>
        <p:spPr/>
        <p:txBody>
          <a:bodyPr/>
          <a:lstStyle/>
          <a:p>
            <a:r>
              <a:rPr lang="en-US" dirty="0"/>
              <a:t>Peering Fabric </a:t>
            </a:r>
            <a:r>
              <a:rPr lang="mr-IN" dirty="0"/>
              <a:t>–</a:t>
            </a:r>
            <a:r>
              <a:rPr lang="en-US" dirty="0"/>
              <a:t> Distributed Network Functions  </a:t>
            </a:r>
          </a:p>
        </p:txBody>
      </p:sp>
      <p:grpSp>
        <p:nvGrpSpPr>
          <p:cNvPr id="87" name="Group 86">
            <a:extLst>
              <a:ext uri="{FF2B5EF4-FFF2-40B4-BE49-F238E27FC236}">
                <a16:creationId xmlns:a16="http://schemas.microsoft.com/office/drawing/2014/main" id="{DCE7668A-7098-2C4C-96D0-97537059B5D0}"/>
              </a:ext>
            </a:extLst>
          </p:cNvPr>
          <p:cNvGrpSpPr/>
          <p:nvPr/>
        </p:nvGrpSpPr>
        <p:grpSpPr>
          <a:xfrm>
            <a:off x="501575" y="2323730"/>
            <a:ext cx="7850766" cy="2285702"/>
            <a:chOff x="193446" y="1314291"/>
            <a:chExt cx="8309428" cy="2480469"/>
          </a:xfrm>
        </p:grpSpPr>
        <p:sp>
          <p:nvSpPr>
            <p:cNvPr id="88" name="Rounded Rectangle 87">
              <a:extLst>
                <a:ext uri="{FF2B5EF4-FFF2-40B4-BE49-F238E27FC236}">
                  <a16:creationId xmlns:a16="http://schemas.microsoft.com/office/drawing/2014/main" id="{21104A89-BD2C-D548-A281-97BD5A4FAD0A}"/>
                </a:ext>
              </a:extLst>
            </p:cNvPr>
            <p:cNvSpPr/>
            <p:nvPr/>
          </p:nvSpPr>
          <p:spPr>
            <a:xfrm>
              <a:off x="2645810" y="1314291"/>
              <a:ext cx="3603361" cy="2480469"/>
            </a:xfrm>
            <a:prstGeom prst="roundRect">
              <a:avLst/>
            </a:prstGeom>
            <a:solidFill>
              <a:srgbClr val="64BAE2">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endParaRPr>
            </a:p>
          </p:txBody>
        </p:sp>
        <p:pic>
          <p:nvPicPr>
            <p:cNvPr id="89" name="Picture 10" descr="C:\Users\ecoffey\AppData\Local\Temp\Rar$DRa0.386\30067_Device_router_default_256.png">
              <a:extLst>
                <a:ext uri="{FF2B5EF4-FFF2-40B4-BE49-F238E27FC236}">
                  <a16:creationId xmlns:a16="http://schemas.microsoft.com/office/drawing/2014/main" id="{CC7A21CA-0459-3346-B07D-B6852EC4B6E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171" t="28931" r="8368" b="21666"/>
            <a:stretch/>
          </p:blipFill>
          <p:spPr bwMode="auto">
            <a:xfrm>
              <a:off x="680511" y="2353563"/>
              <a:ext cx="631333" cy="38349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descr="C:\Users\ecoffey\AppData\Local\Temp\Rar$DRa0.386\30067_Device_router_default_256.png">
              <a:extLst>
                <a:ext uri="{FF2B5EF4-FFF2-40B4-BE49-F238E27FC236}">
                  <a16:creationId xmlns:a16="http://schemas.microsoft.com/office/drawing/2014/main" id="{46C24CDA-C5AE-2841-B673-639A3C8EB8F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171" t="28931" r="8368" b="21666"/>
            <a:stretch/>
          </p:blipFill>
          <p:spPr bwMode="auto">
            <a:xfrm>
              <a:off x="680511" y="1711717"/>
              <a:ext cx="631333" cy="383498"/>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0" descr="C:\Users\ecoffey\AppData\Local\Temp\Rar$DRa0.386\30067_Device_router_default_256.png">
              <a:extLst>
                <a:ext uri="{FF2B5EF4-FFF2-40B4-BE49-F238E27FC236}">
                  <a16:creationId xmlns:a16="http://schemas.microsoft.com/office/drawing/2014/main" id="{303F8D56-F328-6349-B489-DBA2A8BA579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171" t="28931" r="8368" b="21666"/>
            <a:stretch/>
          </p:blipFill>
          <p:spPr bwMode="auto">
            <a:xfrm>
              <a:off x="667572" y="3033152"/>
              <a:ext cx="631333" cy="383498"/>
            </a:xfrm>
            <a:prstGeom prst="rect">
              <a:avLst/>
            </a:prstGeom>
            <a:noFill/>
            <a:extLst>
              <a:ext uri="{909E8E84-426E-40DD-AFC4-6F175D3DCCD1}">
                <a14:hiddenFill xmlns:a14="http://schemas.microsoft.com/office/drawing/2010/main">
                  <a:solidFill>
                    <a:srgbClr val="FFFFFF"/>
                  </a:solidFill>
                </a14:hiddenFill>
              </a:ext>
            </a:extLst>
          </p:spPr>
        </p:pic>
        <p:sp>
          <p:nvSpPr>
            <p:cNvPr id="92" name="Cloud 91">
              <a:extLst>
                <a:ext uri="{FF2B5EF4-FFF2-40B4-BE49-F238E27FC236}">
                  <a16:creationId xmlns:a16="http://schemas.microsoft.com/office/drawing/2014/main" id="{456001AC-BDCC-2C45-A47A-CC94B10A9A9D}"/>
                </a:ext>
              </a:extLst>
            </p:cNvPr>
            <p:cNvSpPr/>
            <p:nvPr/>
          </p:nvSpPr>
          <p:spPr>
            <a:xfrm>
              <a:off x="6730739" y="1855054"/>
              <a:ext cx="1772135" cy="1127265"/>
            </a:xfrm>
            <a:prstGeom prst="cloud">
              <a:avLst/>
            </a:prstGeom>
            <a:gradFill flip="none" rotWithShape="1">
              <a:gsLst>
                <a:gs pos="0">
                  <a:srgbClr val="ABC333">
                    <a:lumMod val="5000"/>
                    <a:lumOff val="95000"/>
                  </a:srgbClr>
                </a:gs>
                <a:gs pos="74000">
                  <a:srgbClr val="ABC333">
                    <a:lumMod val="45000"/>
                    <a:lumOff val="55000"/>
                  </a:srgbClr>
                </a:gs>
                <a:gs pos="83000">
                  <a:srgbClr val="ABC333">
                    <a:lumMod val="45000"/>
                    <a:lumOff val="55000"/>
                  </a:srgbClr>
                </a:gs>
                <a:gs pos="100000">
                  <a:srgbClr val="ABC333">
                    <a:lumMod val="30000"/>
                    <a:lumOff val="70000"/>
                  </a:srgbClr>
                </a:gs>
              </a:gsLst>
              <a:lin ang="5400000" scaled="1"/>
              <a:tileRect/>
            </a:gradFill>
            <a:ln w="9525" cap="flat" cmpd="sng" algn="ctr">
              <a:noFill/>
              <a:prstDash val="solid"/>
            </a:ln>
            <a:effectLst/>
          </p:spPr>
          <p:txBody>
            <a:bodyPr rtlCol="0" anchor="ctr"/>
            <a:lstStyle/>
            <a:p>
              <a:pPr marL="0" marR="0" lvl="0" indent="0" algn="ctr" defTabSz="45725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9393B"/>
                  </a:solidFill>
                  <a:effectLst/>
                  <a:uLnTx/>
                  <a:uFillTx/>
                  <a:latin typeface="+mn-lt"/>
                  <a:ea typeface="CiscoSansTT Light" charset="0"/>
                  <a:cs typeface="CiscoSansTT Light" charset="0"/>
                </a:rPr>
                <a:t>SP Network</a:t>
              </a:r>
            </a:p>
          </p:txBody>
        </p:sp>
        <p:cxnSp>
          <p:nvCxnSpPr>
            <p:cNvPr id="93" name="Straight Connector 92">
              <a:extLst>
                <a:ext uri="{FF2B5EF4-FFF2-40B4-BE49-F238E27FC236}">
                  <a16:creationId xmlns:a16="http://schemas.microsoft.com/office/drawing/2014/main" id="{D8EF223C-C853-5C4F-A41F-4C7ECFAB74C3}"/>
                </a:ext>
              </a:extLst>
            </p:cNvPr>
            <p:cNvCxnSpPr/>
            <p:nvPr/>
          </p:nvCxnSpPr>
          <p:spPr>
            <a:xfrm flipV="1">
              <a:off x="1298905" y="3195225"/>
              <a:ext cx="1669551" cy="29676"/>
            </a:xfrm>
            <a:prstGeom prst="line">
              <a:avLst/>
            </a:prstGeom>
            <a:noFill/>
            <a:ln w="9525" cap="flat" cmpd="sng" algn="ctr">
              <a:solidFill>
                <a:srgbClr val="014093">
                  <a:shade val="95000"/>
                  <a:satMod val="105000"/>
                </a:srgbClr>
              </a:solidFill>
              <a:prstDash val="solid"/>
            </a:ln>
            <a:effectLst/>
          </p:spPr>
        </p:cxnSp>
        <p:pic>
          <p:nvPicPr>
            <p:cNvPr id="94" name="Picture 6" descr="C:\Users\ecoffey\AppData\Local\Temp\Rar$DRa0.583\Cisco Icons November\30067_Device_router_3057\Png_256\30067_Device_router_3057_unknown_256.png">
              <a:extLst>
                <a:ext uri="{FF2B5EF4-FFF2-40B4-BE49-F238E27FC236}">
                  <a16:creationId xmlns:a16="http://schemas.microsoft.com/office/drawing/2014/main" id="{76849E4B-E1E0-7247-8A02-ACFF8D0BC9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9192" y="2751445"/>
              <a:ext cx="831009" cy="482376"/>
            </a:xfrm>
            <a:prstGeom prst="rect">
              <a:avLst/>
            </a:prstGeom>
            <a:noFill/>
            <a:extLst>
              <a:ext uri="{909E8E84-426E-40DD-AFC4-6F175D3DCCD1}">
                <a14:hiddenFill xmlns:a14="http://schemas.microsoft.com/office/drawing/2010/main">
                  <a:solidFill>
                    <a:srgbClr val="FFFFFF"/>
                  </a:solidFill>
                </a14:hiddenFill>
              </a:ext>
            </a:extLst>
          </p:spPr>
        </p:pic>
        <p:cxnSp>
          <p:nvCxnSpPr>
            <p:cNvPr id="95" name="Straight Connector 94">
              <a:extLst>
                <a:ext uri="{FF2B5EF4-FFF2-40B4-BE49-F238E27FC236}">
                  <a16:creationId xmlns:a16="http://schemas.microsoft.com/office/drawing/2014/main" id="{505E34B2-EBB5-D640-AAB7-76D7C9B98ACA}"/>
                </a:ext>
              </a:extLst>
            </p:cNvPr>
            <p:cNvCxnSpPr/>
            <p:nvPr/>
          </p:nvCxnSpPr>
          <p:spPr>
            <a:xfrm flipV="1">
              <a:off x="1298905" y="2515526"/>
              <a:ext cx="1658243" cy="709376"/>
            </a:xfrm>
            <a:prstGeom prst="line">
              <a:avLst/>
            </a:prstGeom>
            <a:noFill/>
            <a:ln w="9525" cap="flat" cmpd="sng" algn="ctr">
              <a:solidFill>
                <a:srgbClr val="014093">
                  <a:shade val="95000"/>
                  <a:satMod val="105000"/>
                </a:srgbClr>
              </a:solidFill>
              <a:prstDash val="solid"/>
            </a:ln>
            <a:effectLst/>
          </p:spPr>
        </p:cxnSp>
        <p:cxnSp>
          <p:nvCxnSpPr>
            <p:cNvPr id="96" name="Straight Connector 95">
              <a:extLst>
                <a:ext uri="{FF2B5EF4-FFF2-40B4-BE49-F238E27FC236}">
                  <a16:creationId xmlns:a16="http://schemas.microsoft.com/office/drawing/2014/main" id="{65D9F251-29C7-FC4E-9A8C-7636B291ADC1}"/>
                </a:ext>
              </a:extLst>
            </p:cNvPr>
            <p:cNvCxnSpPr/>
            <p:nvPr/>
          </p:nvCxnSpPr>
          <p:spPr>
            <a:xfrm flipV="1">
              <a:off x="1311844" y="1902118"/>
              <a:ext cx="1649074" cy="643193"/>
            </a:xfrm>
            <a:prstGeom prst="line">
              <a:avLst/>
            </a:prstGeom>
            <a:noFill/>
            <a:ln w="9525" cap="flat" cmpd="sng" algn="ctr">
              <a:solidFill>
                <a:srgbClr val="014093">
                  <a:shade val="95000"/>
                  <a:satMod val="105000"/>
                </a:srgbClr>
              </a:solidFill>
              <a:prstDash val="solid"/>
            </a:ln>
            <a:effectLst/>
          </p:spPr>
        </p:cxnSp>
        <p:cxnSp>
          <p:nvCxnSpPr>
            <p:cNvPr id="97" name="Straight Connector 96">
              <a:extLst>
                <a:ext uri="{FF2B5EF4-FFF2-40B4-BE49-F238E27FC236}">
                  <a16:creationId xmlns:a16="http://schemas.microsoft.com/office/drawing/2014/main" id="{13791F2E-90AF-324B-97B3-F4F1CBA75092}"/>
                </a:ext>
              </a:extLst>
            </p:cNvPr>
            <p:cNvCxnSpPr/>
            <p:nvPr/>
          </p:nvCxnSpPr>
          <p:spPr>
            <a:xfrm>
              <a:off x="1311844" y="1903466"/>
              <a:ext cx="1645305" cy="612059"/>
            </a:xfrm>
            <a:prstGeom prst="line">
              <a:avLst/>
            </a:prstGeom>
            <a:noFill/>
            <a:ln w="9525" cap="flat" cmpd="sng" algn="ctr">
              <a:solidFill>
                <a:srgbClr val="014093">
                  <a:shade val="95000"/>
                  <a:satMod val="105000"/>
                </a:srgbClr>
              </a:solidFill>
              <a:prstDash val="solid"/>
            </a:ln>
            <a:effectLst/>
          </p:spPr>
        </p:cxnSp>
        <p:pic>
          <p:nvPicPr>
            <p:cNvPr id="98" name="Picture 6" descr="C:\Users\ecoffey\AppData\Local\Temp\Rar$DRa0.583\Cisco Icons November\30067_Device_router_3057\Png_256\30067_Device_router_3057_unknown_256.png">
              <a:extLst>
                <a:ext uri="{FF2B5EF4-FFF2-40B4-BE49-F238E27FC236}">
                  <a16:creationId xmlns:a16="http://schemas.microsoft.com/office/drawing/2014/main" id="{9BA654A6-D241-FE41-9821-5ECF0EAD17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22131" y="1879479"/>
              <a:ext cx="805132" cy="46735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6" descr="C:\Users\ecoffey\AppData\Local\Temp\Rar$DRa0.583\Cisco Icons November\30067_Device_router_3057\Png_256\30067_Device_router_3057_unknown_256.png">
              <a:extLst>
                <a:ext uri="{FF2B5EF4-FFF2-40B4-BE49-F238E27FC236}">
                  <a16:creationId xmlns:a16="http://schemas.microsoft.com/office/drawing/2014/main" id="{C81D271B-D81F-5041-A9FE-8FE810ED39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60918" y="1702359"/>
              <a:ext cx="688266" cy="399518"/>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6" descr="C:\Users\ecoffey\AppData\Local\Temp\Rar$DRa0.583\Cisco Icons November\30067_Device_router_3057\Png_256\30067_Device_router_3057_unknown_256.png">
              <a:extLst>
                <a:ext uri="{FF2B5EF4-FFF2-40B4-BE49-F238E27FC236}">
                  <a16:creationId xmlns:a16="http://schemas.microsoft.com/office/drawing/2014/main" id="{A9A432AF-CD58-564C-8CFD-D455577F0C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7149" y="2299449"/>
              <a:ext cx="744488" cy="43215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6" descr="C:\Users\ecoffey\AppData\Local\Temp\Rar$DRa0.583\Cisco Icons November\30067_Device_router_3057\Png_256\30067_Device_router_3057_unknown_256.png">
              <a:extLst>
                <a:ext uri="{FF2B5EF4-FFF2-40B4-BE49-F238E27FC236}">
                  <a16:creationId xmlns:a16="http://schemas.microsoft.com/office/drawing/2014/main" id="{5CDD6BB0-5862-6742-ABEE-13ED9748B7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68457" y="2973798"/>
              <a:ext cx="762919" cy="442852"/>
            </a:xfrm>
            <a:prstGeom prst="rect">
              <a:avLst/>
            </a:prstGeom>
            <a:noFill/>
            <a:extLst>
              <a:ext uri="{909E8E84-426E-40DD-AFC4-6F175D3DCCD1}">
                <a14:hiddenFill xmlns:a14="http://schemas.microsoft.com/office/drawing/2010/main">
                  <a:solidFill>
                    <a:srgbClr val="FFFFFF"/>
                  </a:solidFill>
                </a14:hiddenFill>
              </a:ext>
            </a:extLst>
          </p:spPr>
        </p:pic>
        <p:cxnSp>
          <p:nvCxnSpPr>
            <p:cNvPr id="102" name="Straight Connector 101">
              <a:extLst>
                <a:ext uri="{FF2B5EF4-FFF2-40B4-BE49-F238E27FC236}">
                  <a16:creationId xmlns:a16="http://schemas.microsoft.com/office/drawing/2014/main" id="{91211C67-2430-3D40-BE50-E061BAB24070}"/>
                </a:ext>
              </a:extLst>
            </p:cNvPr>
            <p:cNvCxnSpPr/>
            <p:nvPr/>
          </p:nvCxnSpPr>
          <p:spPr>
            <a:xfrm flipV="1">
              <a:off x="1298905" y="1902118"/>
              <a:ext cx="1662013" cy="1322783"/>
            </a:xfrm>
            <a:prstGeom prst="line">
              <a:avLst/>
            </a:prstGeom>
            <a:noFill/>
            <a:ln w="9525" cap="flat" cmpd="sng" algn="ctr">
              <a:solidFill>
                <a:srgbClr val="014093">
                  <a:shade val="95000"/>
                  <a:satMod val="105000"/>
                </a:srgbClr>
              </a:solidFill>
              <a:prstDash val="solid"/>
            </a:ln>
            <a:effectLst/>
          </p:spPr>
        </p:cxnSp>
        <p:cxnSp>
          <p:nvCxnSpPr>
            <p:cNvPr id="103" name="Straight Connector 102">
              <a:extLst>
                <a:ext uri="{FF2B5EF4-FFF2-40B4-BE49-F238E27FC236}">
                  <a16:creationId xmlns:a16="http://schemas.microsoft.com/office/drawing/2014/main" id="{3A455169-0223-CD41-89D5-A7E0DD05C293}"/>
                </a:ext>
              </a:extLst>
            </p:cNvPr>
            <p:cNvCxnSpPr/>
            <p:nvPr/>
          </p:nvCxnSpPr>
          <p:spPr>
            <a:xfrm>
              <a:off x="1311844" y="2545312"/>
              <a:ext cx="1656613" cy="649913"/>
            </a:xfrm>
            <a:prstGeom prst="line">
              <a:avLst/>
            </a:prstGeom>
            <a:noFill/>
            <a:ln w="9525" cap="flat" cmpd="sng" algn="ctr">
              <a:solidFill>
                <a:srgbClr val="014093">
                  <a:shade val="95000"/>
                  <a:satMod val="105000"/>
                </a:srgbClr>
              </a:solidFill>
              <a:prstDash val="solid"/>
            </a:ln>
            <a:effectLst/>
          </p:spPr>
        </p:cxnSp>
        <p:cxnSp>
          <p:nvCxnSpPr>
            <p:cNvPr id="104" name="Straight Connector 103">
              <a:extLst>
                <a:ext uri="{FF2B5EF4-FFF2-40B4-BE49-F238E27FC236}">
                  <a16:creationId xmlns:a16="http://schemas.microsoft.com/office/drawing/2014/main" id="{F3FC3837-986C-9A4B-BF52-7D75CCA5BEAF}"/>
                </a:ext>
              </a:extLst>
            </p:cNvPr>
            <p:cNvCxnSpPr/>
            <p:nvPr/>
          </p:nvCxnSpPr>
          <p:spPr>
            <a:xfrm flipV="1">
              <a:off x="1311844" y="2515526"/>
              <a:ext cx="1645305" cy="29786"/>
            </a:xfrm>
            <a:prstGeom prst="line">
              <a:avLst/>
            </a:prstGeom>
            <a:noFill/>
            <a:ln w="9525" cap="flat" cmpd="sng" algn="ctr">
              <a:solidFill>
                <a:srgbClr val="014093">
                  <a:shade val="95000"/>
                  <a:satMod val="105000"/>
                </a:srgbClr>
              </a:solidFill>
              <a:prstDash val="solid"/>
            </a:ln>
            <a:effectLst/>
          </p:spPr>
        </p:cxnSp>
        <p:cxnSp>
          <p:nvCxnSpPr>
            <p:cNvPr id="105" name="Straight Connector 104">
              <a:extLst>
                <a:ext uri="{FF2B5EF4-FFF2-40B4-BE49-F238E27FC236}">
                  <a16:creationId xmlns:a16="http://schemas.microsoft.com/office/drawing/2014/main" id="{36BB6AA4-207F-F74B-9BEE-A0DCFD568DF1}"/>
                </a:ext>
              </a:extLst>
            </p:cNvPr>
            <p:cNvCxnSpPr/>
            <p:nvPr/>
          </p:nvCxnSpPr>
          <p:spPr>
            <a:xfrm>
              <a:off x="1311844" y="1903466"/>
              <a:ext cx="1656613" cy="1291759"/>
            </a:xfrm>
            <a:prstGeom prst="line">
              <a:avLst/>
            </a:prstGeom>
            <a:noFill/>
            <a:ln w="9525" cap="flat" cmpd="sng" algn="ctr">
              <a:solidFill>
                <a:srgbClr val="014093">
                  <a:shade val="95000"/>
                  <a:satMod val="105000"/>
                </a:srgbClr>
              </a:solidFill>
              <a:prstDash val="solid"/>
            </a:ln>
            <a:effectLst/>
          </p:spPr>
        </p:cxnSp>
        <p:cxnSp>
          <p:nvCxnSpPr>
            <p:cNvPr id="106" name="Straight Connector 105">
              <a:extLst>
                <a:ext uri="{FF2B5EF4-FFF2-40B4-BE49-F238E27FC236}">
                  <a16:creationId xmlns:a16="http://schemas.microsoft.com/office/drawing/2014/main" id="{0DC94905-37BA-5343-B8D3-77E9335495C7}"/>
                </a:ext>
              </a:extLst>
            </p:cNvPr>
            <p:cNvCxnSpPr/>
            <p:nvPr/>
          </p:nvCxnSpPr>
          <p:spPr>
            <a:xfrm flipV="1">
              <a:off x="1311844" y="1902118"/>
              <a:ext cx="1649074" cy="1348"/>
            </a:xfrm>
            <a:prstGeom prst="line">
              <a:avLst/>
            </a:prstGeom>
            <a:noFill/>
            <a:ln w="9525" cap="flat" cmpd="sng" algn="ctr">
              <a:solidFill>
                <a:srgbClr val="014093">
                  <a:shade val="95000"/>
                  <a:satMod val="105000"/>
                </a:srgbClr>
              </a:solidFill>
              <a:prstDash val="solid"/>
            </a:ln>
            <a:effectLst/>
          </p:spPr>
        </p:cxnSp>
        <p:cxnSp>
          <p:nvCxnSpPr>
            <p:cNvPr id="107" name="Straight Connector 106">
              <a:extLst>
                <a:ext uri="{FF2B5EF4-FFF2-40B4-BE49-F238E27FC236}">
                  <a16:creationId xmlns:a16="http://schemas.microsoft.com/office/drawing/2014/main" id="{52320895-BC0F-BA41-AD55-B843EF2CBE76}"/>
                </a:ext>
              </a:extLst>
            </p:cNvPr>
            <p:cNvCxnSpPr/>
            <p:nvPr/>
          </p:nvCxnSpPr>
          <p:spPr>
            <a:xfrm flipH="1" flipV="1">
              <a:off x="3649184" y="1902118"/>
              <a:ext cx="1372947" cy="211039"/>
            </a:xfrm>
            <a:prstGeom prst="line">
              <a:avLst/>
            </a:prstGeom>
            <a:noFill/>
            <a:ln w="9525" cap="flat" cmpd="sng" algn="ctr">
              <a:solidFill>
                <a:srgbClr val="014093">
                  <a:shade val="95000"/>
                  <a:satMod val="105000"/>
                </a:srgbClr>
              </a:solidFill>
              <a:prstDash val="solid"/>
            </a:ln>
            <a:effectLst/>
          </p:spPr>
        </p:cxnSp>
        <p:cxnSp>
          <p:nvCxnSpPr>
            <p:cNvPr id="108" name="Straight Connector 107">
              <a:extLst>
                <a:ext uri="{FF2B5EF4-FFF2-40B4-BE49-F238E27FC236}">
                  <a16:creationId xmlns:a16="http://schemas.microsoft.com/office/drawing/2014/main" id="{83BC1C34-51D0-4344-96B8-1C87B377677C}"/>
                </a:ext>
              </a:extLst>
            </p:cNvPr>
            <p:cNvCxnSpPr/>
            <p:nvPr/>
          </p:nvCxnSpPr>
          <p:spPr>
            <a:xfrm flipH="1">
              <a:off x="3731376" y="2992634"/>
              <a:ext cx="1277817" cy="202591"/>
            </a:xfrm>
            <a:prstGeom prst="line">
              <a:avLst/>
            </a:prstGeom>
            <a:noFill/>
            <a:ln w="9525" cap="flat" cmpd="sng" algn="ctr">
              <a:solidFill>
                <a:srgbClr val="014093">
                  <a:shade val="95000"/>
                  <a:satMod val="105000"/>
                </a:srgbClr>
              </a:solidFill>
              <a:prstDash val="solid"/>
            </a:ln>
            <a:effectLst/>
          </p:spPr>
        </p:cxnSp>
        <p:cxnSp>
          <p:nvCxnSpPr>
            <p:cNvPr id="109" name="Straight Connector 108">
              <a:extLst>
                <a:ext uri="{FF2B5EF4-FFF2-40B4-BE49-F238E27FC236}">
                  <a16:creationId xmlns:a16="http://schemas.microsoft.com/office/drawing/2014/main" id="{D9256ABB-F3DC-704B-A891-752912098038}"/>
                </a:ext>
              </a:extLst>
            </p:cNvPr>
            <p:cNvCxnSpPr/>
            <p:nvPr/>
          </p:nvCxnSpPr>
          <p:spPr>
            <a:xfrm flipH="1">
              <a:off x="3731376" y="2113157"/>
              <a:ext cx="1290755" cy="1082067"/>
            </a:xfrm>
            <a:prstGeom prst="line">
              <a:avLst/>
            </a:prstGeom>
            <a:noFill/>
            <a:ln w="9525" cap="flat" cmpd="sng" algn="ctr">
              <a:solidFill>
                <a:srgbClr val="014093">
                  <a:shade val="95000"/>
                  <a:satMod val="105000"/>
                </a:srgbClr>
              </a:solidFill>
              <a:prstDash val="solid"/>
            </a:ln>
            <a:effectLst/>
          </p:spPr>
        </p:cxnSp>
        <p:cxnSp>
          <p:nvCxnSpPr>
            <p:cNvPr id="110" name="Straight Connector 109">
              <a:extLst>
                <a:ext uri="{FF2B5EF4-FFF2-40B4-BE49-F238E27FC236}">
                  <a16:creationId xmlns:a16="http://schemas.microsoft.com/office/drawing/2014/main" id="{594E8ED6-8462-2643-89D2-419E8DBD4B92}"/>
                </a:ext>
              </a:extLst>
            </p:cNvPr>
            <p:cNvCxnSpPr/>
            <p:nvPr/>
          </p:nvCxnSpPr>
          <p:spPr>
            <a:xfrm flipH="1" flipV="1">
              <a:off x="3701636" y="2515526"/>
              <a:ext cx="1307556" cy="477109"/>
            </a:xfrm>
            <a:prstGeom prst="line">
              <a:avLst/>
            </a:prstGeom>
            <a:noFill/>
            <a:ln w="9525" cap="flat" cmpd="sng" algn="ctr">
              <a:solidFill>
                <a:srgbClr val="014093">
                  <a:shade val="95000"/>
                  <a:satMod val="105000"/>
                </a:srgbClr>
              </a:solidFill>
              <a:prstDash val="solid"/>
            </a:ln>
            <a:effectLst/>
          </p:spPr>
        </p:cxnSp>
        <p:cxnSp>
          <p:nvCxnSpPr>
            <p:cNvPr id="111" name="Straight Connector 110">
              <a:extLst>
                <a:ext uri="{FF2B5EF4-FFF2-40B4-BE49-F238E27FC236}">
                  <a16:creationId xmlns:a16="http://schemas.microsoft.com/office/drawing/2014/main" id="{18CAAC15-E941-C648-9175-EF25A098F4D0}"/>
                </a:ext>
              </a:extLst>
            </p:cNvPr>
            <p:cNvCxnSpPr/>
            <p:nvPr/>
          </p:nvCxnSpPr>
          <p:spPr>
            <a:xfrm flipH="1">
              <a:off x="3701636" y="2113157"/>
              <a:ext cx="1320494" cy="402368"/>
            </a:xfrm>
            <a:prstGeom prst="line">
              <a:avLst/>
            </a:prstGeom>
            <a:noFill/>
            <a:ln w="9525" cap="flat" cmpd="sng" algn="ctr">
              <a:solidFill>
                <a:srgbClr val="014093">
                  <a:shade val="95000"/>
                  <a:satMod val="105000"/>
                </a:srgbClr>
              </a:solidFill>
              <a:prstDash val="solid"/>
            </a:ln>
            <a:effectLst/>
          </p:spPr>
        </p:cxnSp>
        <p:cxnSp>
          <p:nvCxnSpPr>
            <p:cNvPr id="112" name="Straight Connector 111">
              <a:extLst>
                <a:ext uri="{FF2B5EF4-FFF2-40B4-BE49-F238E27FC236}">
                  <a16:creationId xmlns:a16="http://schemas.microsoft.com/office/drawing/2014/main" id="{F91E9702-04A4-C948-A53E-2DF52F7BF923}"/>
                </a:ext>
              </a:extLst>
            </p:cNvPr>
            <p:cNvCxnSpPr/>
            <p:nvPr/>
          </p:nvCxnSpPr>
          <p:spPr>
            <a:xfrm flipH="1" flipV="1">
              <a:off x="3649184" y="1902118"/>
              <a:ext cx="1360008" cy="1090516"/>
            </a:xfrm>
            <a:prstGeom prst="line">
              <a:avLst/>
            </a:prstGeom>
            <a:noFill/>
            <a:ln w="9525" cap="flat" cmpd="sng" algn="ctr">
              <a:solidFill>
                <a:srgbClr val="014093">
                  <a:shade val="95000"/>
                  <a:satMod val="105000"/>
                </a:srgbClr>
              </a:solidFill>
              <a:prstDash val="solid"/>
            </a:ln>
            <a:effectLst/>
          </p:spPr>
        </p:cxnSp>
        <p:sp>
          <p:nvSpPr>
            <p:cNvPr id="113" name="TextBox 112">
              <a:extLst>
                <a:ext uri="{FF2B5EF4-FFF2-40B4-BE49-F238E27FC236}">
                  <a16:creationId xmlns:a16="http://schemas.microsoft.com/office/drawing/2014/main" id="{11906382-D9AD-D844-ACA4-8D59D47D7381}"/>
                </a:ext>
              </a:extLst>
            </p:cNvPr>
            <p:cNvSpPr txBox="1"/>
            <p:nvPr/>
          </p:nvSpPr>
          <p:spPr>
            <a:xfrm>
              <a:off x="193446" y="1420399"/>
              <a:ext cx="1965299" cy="27555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39393B"/>
                  </a:solidFill>
                  <a:effectLst/>
                  <a:uLnTx/>
                  <a:uFillTx/>
                  <a:latin typeface="+mn-lt"/>
                  <a:ea typeface="CiscoSansTT Light" charset="0"/>
                  <a:cs typeface="CiscoSansTT Light" charset="0"/>
                </a:rPr>
                <a:t>Peers, CDN, Content Hosts</a:t>
              </a:r>
              <a:endParaRPr kumimoji="0" lang="en-US" sz="1050" b="0" i="0" u="none" strike="noStrike" kern="0" cap="none" spc="0" normalizeH="0" baseline="0" noProof="0" dirty="0">
                <a:ln>
                  <a:noFill/>
                </a:ln>
                <a:solidFill>
                  <a:srgbClr val="39393B"/>
                </a:solidFill>
                <a:effectLst/>
                <a:uLnTx/>
                <a:uFillTx/>
                <a:latin typeface="+mn-lt"/>
                <a:ea typeface="CiscoSansTT Light" charset="0"/>
                <a:cs typeface="CiscoSansTT Light" charset="0"/>
              </a:endParaRPr>
            </a:p>
          </p:txBody>
        </p:sp>
        <p:sp>
          <p:nvSpPr>
            <p:cNvPr id="114" name="TextBox 113">
              <a:extLst>
                <a:ext uri="{FF2B5EF4-FFF2-40B4-BE49-F238E27FC236}">
                  <a16:creationId xmlns:a16="http://schemas.microsoft.com/office/drawing/2014/main" id="{0D258522-3B60-0B4C-89D2-9490C565D19C}"/>
                </a:ext>
              </a:extLst>
            </p:cNvPr>
            <p:cNvSpPr txBox="1"/>
            <p:nvPr/>
          </p:nvSpPr>
          <p:spPr>
            <a:xfrm>
              <a:off x="3117918" y="1865308"/>
              <a:ext cx="1692747" cy="25050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mn-lt"/>
                  <a:ea typeface="ＭＳ Ｐゴシック" pitchFamily="34" charset="-128"/>
                  <a:cs typeface="+mn-cs"/>
                </a:rPr>
                <a:t>PFL</a:t>
              </a:r>
            </a:p>
          </p:txBody>
        </p:sp>
        <p:sp>
          <p:nvSpPr>
            <p:cNvPr id="115" name="TextBox 114">
              <a:extLst>
                <a:ext uri="{FF2B5EF4-FFF2-40B4-BE49-F238E27FC236}">
                  <a16:creationId xmlns:a16="http://schemas.microsoft.com/office/drawing/2014/main" id="{6D70F13B-49F5-094C-BDB0-D2267E308130}"/>
                </a:ext>
              </a:extLst>
            </p:cNvPr>
            <p:cNvSpPr txBox="1"/>
            <p:nvPr/>
          </p:nvSpPr>
          <p:spPr>
            <a:xfrm>
              <a:off x="3125605" y="2481764"/>
              <a:ext cx="1692747" cy="25050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mn-lt"/>
                  <a:ea typeface="ＭＳ Ｐゴシック" pitchFamily="34" charset="-128"/>
                  <a:cs typeface="+mn-cs"/>
                </a:rPr>
                <a:t>PFL</a:t>
              </a:r>
            </a:p>
          </p:txBody>
        </p:sp>
        <p:sp>
          <p:nvSpPr>
            <p:cNvPr id="116" name="TextBox 115">
              <a:extLst>
                <a:ext uri="{FF2B5EF4-FFF2-40B4-BE49-F238E27FC236}">
                  <a16:creationId xmlns:a16="http://schemas.microsoft.com/office/drawing/2014/main" id="{F037D3F9-D004-E24E-8583-CADFD05F37A5}"/>
                </a:ext>
              </a:extLst>
            </p:cNvPr>
            <p:cNvSpPr txBox="1"/>
            <p:nvPr/>
          </p:nvSpPr>
          <p:spPr>
            <a:xfrm>
              <a:off x="3140468" y="3165834"/>
              <a:ext cx="1692747" cy="25050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mn-lt"/>
                  <a:ea typeface="ＭＳ Ｐゴシック" pitchFamily="34" charset="-128"/>
                  <a:cs typeface="+mn-cs"/>
                </a:rPr>
                <a:t>PFL</a:t>
              </a:r>
            </a:p>
          </p:txBody>
        </p:sp>
        <p:sp>
          <p:nvSpPr>
            <p:cNvPr id="117" name="TextBox 116">
              <a:extLst>
                <a:ext uri="{FF2B5EF4-FFF2-40B4-BE49-F238E27FC236}">
                  <a16:creationId xmlns:a16="http://schemas.microsoft.com/office/drawing/2014/main" id="{0A0ECFA4-D359-B547-BC86-03B1CE590DC4}"/>
                </a:ext>
              </a:extLst>
            </p:cNvPr>
            <p:cNvSpPr txBox="1"/>
            <p:nvPr/>
          </p:nvSpPr>
          <p:spPr>
            <a:xfrm>
              <a:off x="5212971" y="2992633"/>
              <a:ext cx="1692747" cy="25050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mn-lt"/>
                  <a:ea typeface="ＭＳ Ｐゴシック" pitchFamily="34" charset="-128"/>
                  <a:cs typeface="+mn-cs"/>
                </a:rPr>
                <a:t>PFS</a:t>
              </a:r>
            </a:p>
          </p:txBody>
        </p:sp>
        <p:cxnSp>
          <p:nvCxnSpPr>
            <p:cNvPr id="118" name="Straight Connector 117">
              <a:extLst>
                <a:ext uri="{FF2B5EF4-FFF2-40B4-BE49-F238E27FC236}">
                  <a16:creationId xmlns:a16="http://schemas.microsoft.com/office/drawing/2014/main" id="{EB6E7A0A-CFE1-E245-92AA-62ACB9DA3AC9}"/>
                </a:ext>
              </a:extLst>
            </p:cNvPr>
            <p:cNvCxnSpPr/>
            <p:nvPr/>
          </p:nvCxnSpPr>
          <p:spPr>
            <a:xfrm flipH="1" flipV="1">
              <a:off x="5827262" y="2113157"/>
              <a:ext cx="908973" cy="305530"/>
            </a:xfrm>
            <a:prstGeom prst="line">
              <a:avLst/>
            </a:prstGeom>
            <a:noFill/>
            <a:ln w="9525" cap="flat" cmpd="sng" algn="ctr">
              <a:solidFill>
                <a:srgbClr val="014093">
                  <a:shade val="95000"/>
                  <a:satMod val="105000"/>
                </a:srgbClr>
              </a:solidFill>
              <a:prstDash val="solid"/>
            </a:ln>
            <a:effectLst/>
          </p:spPr>
        </p:cxnSp>
        <p:sp>
          <p:nvSpPr>
            <p:cNvPr id="119" name="TextBox 118">
              <a:extLst>
                <a:ext uri="{FF2B5EF4-FFF2-40B4-BE49-F238E27FC236}">
                  <a16:creationId xmlns:a16="http://schemas.microsoft.com/office/drawing/2014/main" id="{5E6167CF-3460-7645-9A1E-AEC34FE6E304}"/>
                </a:ext>
              </a:extLst>
            </p:cNvPr>
            <p:cNvSpPr txBox="1"/>
            <p:nvPr/>
          </p:nvSpPr>
          <p:spPr>
            <a:xfrm>
              <a:off x="5221256" y="2113395"/>
              <a:ext cx="1692747" cy="25050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mn-lt"/>
                  <a:ea typeface="ＭＳ Ｐゴシック" pitchFamily="34" charset="-128"/>
                  <a:cs typeface="+mn-cs"/>
                </a:rPr>
                <a:t>PFS</a:t>
              </a:r>
            </a:p>
          </p:txBody>
        </p:sp>
        <p:cxnSp>
          <p:nvCxnSpPr>
            <p:cNvPr id="120" name="Straight Connector 119">
              <a:extLst>
                <a:ext uri="{FF2B5EF4-FFF2-40B4-BE49-F238E27FC236}">
                  <a16:creationId xmlns:a16="http://schemas.microsoft.com/office/drawing/2014/main" id="{37CD94BF-46AE-3D4B-AA22-372F15203F7D}"/>
                </a:ext>
              </a:extLst>
            </p:cNvPr>
            <p:cNvCxnSpPr/>
            <p:nvPr/>
          </p:nvCxnSpPr>
          <p:spPr>
            <a:xfrm flipH="1">
              <a:off x="5840201" y="2418688"/>
              <a:ext cx="896034" cy="573946"/>
            </a:xfrm>
            <a:prstGeom prst="line">
              <a:avLst/>
            </a:prstGeom>
            <a:noFill/>
            <a:ln w="9525" cap="flat" cmpd="sng" algn="ctr">
              <a:solidFill>
                <a:srgbClr val="014093">
                  <a:shade val="95000"/>
                  <a:satMod val="105000"/>
                </a:srgbClr>
              </a:solidFill>
              <a:prstDash val="solid"/>
            </a:ln>
            <a:effectLst/>
          </p:spPr>
        </p:cxnSp>
        <p:sp>
          <p:nvSpPr>
            <p:cNvPr id="121" name="TextBox 120">
              <a:extLst>
                <a:ext uri="{FF2B5EF4-FFF2-40B4-BE49-F238E27FC236}">
                  <a16:creationId xmlns:a16="http://schemas.microsoft.com/office/drawing/2014/main" id="{932016AD-CFFF-2243-8C8B-4C493E77AD78}"/>
                </a:ext>
              </a:extLst>
            </p:cNvPr>
            <p:cNvSpPr txBox="1"/>
            <p:nvPr/>
          </p:nvSpPr>
          <p:spPr>
            <a:xfrm>
              <a:off x="3926266" y="3210392"/>
              <a:ext cx="1347280" cy="25050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39393B"/>
                  </a:solidFill>
                  <a:effectLst/>
                  <a:uLnTx/>
                  <a:uFillTx/>
                  <a:latin typeface="+mn-lt"/>
                  <a:ea typeface="ＭＳ Ｐゴシック" pitchFamily="34" charset="-128"/>
                  <a:cs typeface="+mn-cs"/>
                </a:rPr>
                <a:t> </a:t>
              </a:r>
            </a:p>
          </p:txBody>
        </p:sp>
      </p:grpSp>
      <p:sp>
        <p:nvSpPr>
          <p:cNvPr id="122" name="TextBox 121">
            <a:extLst>
              <a:ext uri="{FF2B5EF4-FFF2-40B4-BE49-F238E27FC236}">
                <a16:creationId xmlns:a16="http://schemas.microsoft.com/office/drawing/2014/main" id="{0EBE41D0-84DB-834E-BCC0-5F526CEA0C0F}"/>
              </a:ext>
            </a:extLst>
          </p:cNvPr>
          <p:cNvSpPr txBox="1"/>
          <p:nvPr/>
        </p:nvSpPr>
        <p:spPr>
          <a:xfrm>
            <a:off x="4028352" y="2319648"/>
            <a:ext cx="1608858" cy="276999"/>
          </a:xfrm>
          <a:prstGeom prst="rect">
            <a:avLst/>
          </a:prstGeom>
          <a:noFill/>
        </p:spPr>
        <p:txBody>
          <a:bodyPr wrap="square" rtlCol="0">
            <a:spAutoFit/>
          </a:bodyPr>
          <a:lstStyle/>
          <a:p>
            <a:r>
              <a:rPr lang="en-US" sz="1200" dirty="0">
                <a:solidFill>
                  <a:srgbClr val="39393B"/>
                </a:solidFill>
                <a:latin typeface="+mn-lt"/>
                <a:ea typeface="CiscoSansTT Light" charset="0"/>
                <a:cs typeface="CiscoSansTT Light" charset="0"/>
              </a:rPr>
              <a:t>Peering Fabric</a:t>
            </a:r>
          </a:p>
        </p:txBody>
      </p:sp>
      <p:sp>
        <p:nvSpPr>
          <p:cNvPr id="123" name="TextBox 122">
            <a:extLst>
              <a:ext uri="{FF2B5EF4-FFF2-40B4-BE49-F238E27FC236}">
                <a16:creationId xmlns:a16="http://schemas.microsoft.com/office/drawing/2014/main" id="{6E147CAC-E2B1-F24D-B881-A8E337927983}"/>
              </a:ext>
            </a:extLst>
          </p:cNvPr>
          <p:cNvSpPr txBox="1"/>
          <p:nvPr/>
        </p:nvSpPr>
        <p:spPr>
          <a:xfrm>
            <a:off x="2915809" y="4286640"/>
            <a:ext cx="1856819" cy="253916"/>
          </a:xfrm>
          <a:prstGeom prst="rect">
            <a:avLst/>
          </a:prstGeom>
          <a:noFill/>
        </p:spPr>
        <p:txBody>
          <a:bodyPr wrap="square" rtlCol="0">
            <a:spAutoFit/>
          </a:bodyPr>
          <a:lstStyle/>
          <a:p>
            <a:r>
              <a:rPr lang="en-US" sz="1050" b="1" dirty="0">
                <a:solidFill>
                  <a:srgbClr val="39393B"/>
                </a:solidFill>
                <a:latin typeface="+mn-lt"/>
                <a:ea typeface="CiscoSansTT Light" charset="0"/>
                <a:cs typeface="CiscoSansTT Light" charset="0"/>
              </a:rPr>
              <a:t>Peer Termination </a:t>
            </a:r>
          </a:p>
        </p:txBody>
      </p:sp>
      <p:sp>
        <p:nvSpPr>
          <p:cNvPr id="124" name="TextBox 123">
            <a:extLst>
              <a:ext uri="{FF2B5EF4-FFF2-40B4-BE49-F238E27FC236}">
                <a16:creationId xmlns:a16="http://schemas.microsoft.com/office/drawing/2014/main" id="{E007EC9B-0D30-D941-BACF-3B4F15D0E3B5}"/>
              </a:ext>
            </a:extLst>
          </p:cNvPr>
          <p:cNvSpPr txBox="1"/>
          <p:nvPr/>
        </p:nvSpPr>
        <p:spPr>
          <a:xfrm>
            <a:off x="4676371" y="4266548"/>
            <a:ext cx="1856819" cy="253916"/>
          </a:xfrm>
          <a:prstGeom prst="rect">
            <a:avLst/>
          </a:prstGeom>
          <a:noFill/>
        </p:spPr>
        <p:txBody>
          <a:bodyPr wrap="square" rtlCol="0">
            <a:spAutoFit/>
          </a:bodyPr>
          <a:lstStyle/>
          <a:p>
            <a:r>
              <a:rPr lang="en-US" sz="1050" b="1" dirty="0">
                <a:solidFill>
                  <a:srgbClr val="39393B"/>
                </a:solidFill>
                <a:latin typeface="+mn-lt"/>
                <a:ea typeface="CiscoSansTT Light" charset="0"/>
                <a:cs typeface="CiscoSansTT Light" charset="0"/>
              </a:rPr>
              <a:t>Core Connectivity </a:t>
            </a:r>
          </a:p>
        </p:txBody>
      </p:sp>
    </p:spTree>
    <p:extLst>
      <p:ext uri="{BB962C8B-B14F-4D97-AF65-F5344CB8AC3E}">
        <p14:creationId xmlns:p14="http://schemas.microsoft.com/office/powerpoint/2010/main" val="153987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46276" y="2032558"/>
            <a:ext cx="2460396" cy="1293275"/>
          </a:xfrm>
          <a:prstGeom prst="rect">
            <a:avLst/>
          </a:prstGeom>
          <a:solidFill>
            <a:srgbClr val="FFC000"/>
          </a:solidFill>
          <a:ln>
            <a:solidFill>
              <a:schemeClr val="accent1"/>
            </a:solidFill>
            <a:prstDash val="sysDash"/>
          </a:ln>
        </p:spPr>
      </p:pic>
      <p:grpSp>
        <p:nvGrpSpPr>
          <p:cNvPr id="24" name="Group 23"/>
          <p:cNvGrpSpPr/>
          <p:nvPr/>
        </p:nvGrpSpPr>
        <p:grpSpPr>
          <a:xfrm>
            <a:off x="3599659" y="2032558"/>
            <a:ext cx="2802900" cy="2187305"/>
            <a:chOff x="3412914" y="1191417"/>
            <a:chExt cx="3927014" cy="3064532"/>
          </a:xfrm>
        </p:grpSpPr>
        <p:pic>
          <p:nvPicPr>
            <p:cNvPr id="18" name="Picture 2" descr="https://scontent-sjc2-1.xx.fbcdn.net/v/t39.2365-6/10734294_775986955823316_1197403205_n.jpg?oh=e9b4464724f8dbb8b94dc72eb7791800&amp;oe=5A35891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412914" y="1736790"/>
              <a:ext cx="2390143" cy="1885783"/>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p:cNvGrpSpPr/>
            <p:nvPr/>
          </p:nvGrpSpPr>
          <p:grpSpPr>
            <a:xfrm rot="16200000">
              <a:off x="3877119" y="793140"/>
              <a:ext cx="3064532" cy="3861086"/>
              <a:chOff x="2794000" y="565149"/>
              <a:chExt cx="3556000" cy="4013201"/>
            </a:xfrm>
          </p:grpSpPr>
          <p:sp>
            <p:nvSpPr>
              <p:cNvPr id="20" name="Oval 19"/>
              <p:cNvSpPr/>
              <p:nvPr/>
            </p:nvSpPr>
            <p:spPr>
              <a:xfrm>
                <a:off x="2928620" y="704849"/>
                <a:ext cx="3276600" cy="1137920"/>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22" name="Freeform 21"/>
              <p:cNvSpPr/>
              <p:nvPr/>
            </p:nvSpPr>
            <p:spPr>
              <a:xfrm>
                <a:off x="3048000" y="3816350"/>
                <a:ext cx="3048000" cy="762000"/>
              </a:xfrm>
              <a:custGeom>
                <a:avLst/>
                <a:gdLst>
                  <a:gd name="connsiteX0" fmla="*/ 0 w 3048000"/>
                  <a:gd name="connsiteY0" fmla="*/ 0 h 762000"/>
                  <a:gd name="connsiteX1" fmla="*/ 3048000 w 3048000"/>
                  <a:gd name="connsiteY1" fmla="*/ 0 h 762000"/>
                  <a:gd name="connsiteX2" fmla="*/ 3048000 w 3048000"/>
                  <a:gd name="connsiteY2" fmla="*/ 762000 h 762000"/>
                  <a:gd name="connsiteX3" fmla="*/ 0 w 3048000"/>
                  <a:gd name="connsiteY3" fmla="*/ 762000 h 762000"/>
                  <a:gd name="connsiteX4" fmla="*/ 0 w 3048000"/>
                  <a:gd name="connsiteY4" fmla="*/ 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762000">
                    <a:moveTo>
                      <a:pt x="0" y="0"/>
                    </a:moveTo>
                    <a:lnTo>
                      <a:pt x="3048000" y="0"/>
                    </a:lnTo>
                    <a:lnTo>
                      <a:pt x="3048000" y="762000"/>
                    </a:lnTo>
                    <a:lnTo>
                      <a:pt x="0" y="762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2024" tIns="192024" rIns="192024" bIns="192024" numCol="1" spcCol="1270" anchor="ctr" anchorCtr="0">
                <a:noAutofit/>
              </a:bodyPr>
              <a:lstStyle/>
              <a:p>
                <a:pPr algn="ctr" defTabSz="1200120">
                  <a:lnSpc>
                    <a:spcPct val="90000"/>
                  </a:lnSpc>
                  <a:spcAft>
                    <a:spcPct val="35000"/>
                  </a:spcAft>
                  <a:defRPr/>
                </a:pPr>
                <a:endParaRPr lang="en-US" sz="2700">
                  <a:solidFill>
                    <a:srgbClr val="39393B">
                      <a:hueOff val="0"/>
                      <a:satOff val="0"/>
                      <a:lumOff val="0"/>
                      <a:alphaOff val="0"/>
                    </a:srgbClr>
                  </a:solidFill>
                  <a:latin typeface="CiscoSansTT ExtraLight"/>
                </a:endParaRPr>
              </a:p>
            </p:txBody>
          </p:sp>
          <p:sp>
            <p:nvSpPr>
              <p:cNvPr id="23" name="Shape 22"/>
              <p:cNvSpPr/>
              <p:nvPr/>
            </p:nvSpPr>
            <p:spPr>
              <a:xfrm>
                <a:off x="2794000" y="565149"/>
                <a:ext cx="3556000" cy="2844800"/>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grpSp>
      </p:grpSp>
      <p:sp>
        <p:nvSpPr>
          <p:cNvPr id="2" name="Title 1"/>
          <p:cNvSpPr>
            <a:spLocks noGrp="1"/>
          </p:cNvSpPr>
          <p:nvPr>
            <p:ph type="title"/>
          </p:nvPr>
        </p:nvSpPr>
        <p:spPr/>
        <p:txBody>
          <a:bodyPr/>
          <a:lstStyle/>
          <a:p>
            <a:r>
              <a:rPr lang="en-US" dirty="0"/>
              <a:t>The Service Provider Network of the Future – </a:t>
            </a:r>
            <a:br>
              <a:rPr lang="en-US" dirty="0"/>
            </a:br>
            <a:r>
              <a:rPr lang="en-US" dirty="0"/>
              <a:t>A Fabric of Fabrics</a:t>
            </a:r>
          </a:p>
        </p:txBody>
      </p:sp>
      <p:sp>
        <p:nvSpPr>
          <p:cNvPr id="4" name="Rectangle 4"/>
          <p:cNvSpPr>
            <a:spLocks noChangeArrowheads="1"/>
          </p:cNvSpPr>
          <p:nvPr/>
        </p:nvSpPr>
        <p:spPr bwMode="auto">
          <a:xfrm>
            <a:off x="6089102" y="1768548"/>
            <a:ext cx="2577061" cy="2687542"/>
          </a:xfrm>
          <a:prstGeom prst="rect">
            <a:avLst/>
          </a:prstGeom>
          <a:noFill/>
          <a:ln w="19050" algn="ctr">
            <a:solidFill>
              <a:schemeClr val="accent3"/>
            </a:solidFill>
            <a:miter lim="800000"/>
            <a:headEnd/>
            <a:tailEnd/>
          </a:ln>
          <a:effectLst/>
        </p:spPr>
        <p:txBody>
          <a:bodyPr lIns="68589" tIns="137178" rIns="68589" bIns="34295" anchor="t" anchorCtr="0"/>
          <a:lstStyle/>
          <a:p>
            <a:pPr marL="132174" indent="-132174" defTabSz="457189">
              <a:spcBef>
                <a:spcPts val="225"/>
              </a:spcBef>
              <a:spcAft>
                <a:spcPts val="225"/>
              </a:spcAft>
              <a:buSzPct val="80000"/>
              <a:buFont typeface="Arial" pitchFamily="34" charset="0"/>
              <a:buChar char="•"/>
              <a:defRPr/>
            </a:pPr>
            <a:endParaRPr lang="en-US" sz="1100" dirty="0">
              <a:solidFill>
                <a:srgbClr val="282828"/>
              </a:solidFill>
              <a:latin typeface="CiscoSansTT ExtraLight"/>
              <a:cs typeface="Arial" charset="0"/>
            </a:endParaRPr>
          </a:p>
        </p:txBody>
      </p:sp>
      <p:sp>
        <p:nvSpPr>
          <p:cNvPr id="5" name="Rectangle 4"/>
          <p:cNvSpPr>
            <a:spLocks noChangeArrowheads="1"/>
          </p:cNvSpPr>
          <p:nvPr/>
        </p:nvSpPr>
        <p:spPr bwMode="auto">
          <a:xfrm>
            <a:off x="6089102" y="1146222"/>
            <a:ext cx="2577061" cy="625270"/>
          </a:xfrm>
          <a:prstGeom prst="rect">
            <a:avLst/>
          </a:prstGeom>
          <a:solidFill>
            <a:schemeClr val="accent3"/>
          </a:solidFill>
          <a:ln w="19050">
            <a:solidFill>
              <a:schemeClr val="accent3"/>
            </a:solidFill>
            <a:miter lim="800000"/>
            <a:headEnd/>
            <a:tailEnd/>
          </a:ln>
          <a:effectLst/>
        </p:spPr>
        <p:txBody>
          <a:bodyPr lIns="68589" tIns="34295" rIns="68589" bIns="34295" anchor="ctr" anchorCtr="1"/>
          <a:lstStyle/>
          <a:p>
            <a:pPr algn="ctr" defTabSz="610857">
              <a:defRPr/>
            </a:pPr>
            <a:r>
              <a:rPr lang="en-US" dirty="0">
                <a:solidFill>
                  <a:srgbClr val="FFFFFF"/>
                </a:solidFill>
                <a:latin typeface="CiscoSansTT ExtraLight"/>
              </a:rPr>
              <a:t>A Network of Fabrics</a:t>
            </a:r>
          </a:p>
        </p:txBody>
      </p:sp>
      <p:sp>
        <p:nvSpPr>
          <p:cNvPr id="7" name="Rectangle 3"/>
          <p:cNvSpPr>
            <a:spLocks noChangeArrowheads="1"/>
          </p:cNvSpPr>
          <p:nvPr/>
        </p:nvSpPr>
        <p:spPr bwMode="auto">
          <a:xfrm>
            <a:off x="3316807" y="1740532"/>
            <a:ext cx="2577061" cy="2715559"/>
          </a:xfrm>
          <a:prstGeom prst="rect">
            <a:avLst/>
          </a:prstGeom>
          <a:noFill/>
          <a:ln w="19050" algn="ctr">
            <a:solidFill>
              <a:schemeClr val="accent2"/>
            </a:solidFill>
            <a:miter lim="800000"/>
            <a:headEnd/>
            <a:tailEnd/>
          </a:ln>
          <a:effectLst/>
        </p:spPr>
        <p:txBody>
          <a:bodyPr lIns="68589" tIns="137178" rIns="68589" bIns="34295" anchor="t" anchorCtr="0"/>
          <a:lstStyle/>
          <a:p>
            <a:pPr marL="132174" indent="-132174" defTabSz="457189">
              <a:spcBef>
                <a:spcPts val="225"/>
              </a:spcBef>
              <a:spcAft>
                <a:spcPts val="225"/>
              </a:spcAft>
              <a:buSzPct val="80000"/>
              <a:buFont typeface="Arial" pitchFamily="34" charset="0"/>
              <a:buChar char="•"/>
              <a:defRPr/>
            </a:pPr>
            <a:endParaRPr lang="en-US" sz="1100" dirty="0">
              <a:solidFill>
                <a:srgbClr val="282828"/>
              </a:solidFill>
              <a:latin typeface="CiscoSansTT ExtraLight"/>
              <a:cs typeface="Arial" charset="0"/>
            </a:endParaRPr>
          </a:p>
        </p:txBody>
      </p:sp>
      <p:sp>
        <p:nvSpPr>
          <p:cNvPr id="8" name="Rectangle 3"/>
          <p:cNvSpPr>
            <a:spLocks noChangeArrowheads="1"/>
          </p:cNvSpPr>
          <p:nvPr/>
        </p:nvSpPr>
        <p:spPr bwMode="auto">
          <a:xfrm>
            <a:off x="3316807" y="1146221"/>
            <a:ext cx="2577061" cy="599139"/>
          </a:xfrm>
          <a:prstGeom prst="rect">
            <a:avLst/>
          </a:prstGeom>
          <a:solidFill>
            <a:schemeClr val="accent2"/>
          </a:solidFill>
          <a:ln w="19050">
            <a:solidFill>
              <a:schemeClr val="accent2"/>
            </a:solidFill>
            <a:miter lim="800000"/>
            <a:headEnd/>
            <a:tailEnd/>
          </a:ln>
          <a:effectLst/>
        </p:spPr>
        <p:txBody>
          <a:bodyPr lIns="68589" tIns="34295" rIns="68589" bIns="34295" anchor="ctr" anchorCtr="1"/>
          <a:lstStyle/>
          <a:p>
            <a:pPr algn="ctr" defTabSz="610857">
              <a:lnSpc>
                <a:spcPts val="1800"/>
              </a:lnSpc>
              <a:defRPr/>
            </a:pPr>
            <a:r>
              <a:rPr lang="en-US" dirty="0">
                <a:solidFill>
                  <a:srgbClr val="005073"/>
                </a:solidFill>
                <a:latin typeface="CiscoSansTT ExtraLight"/>
              </a:rPr>
              <a:t>Mass-scale Innovations</a:t>
            </a:r>
          </a:p>
        </p:txBody>
      </p:sp>
      <p:sp>
        <p:nvSpPr>
          <p:cNvPr id="10" name="Rectangle 5"/>
          <p:cNvSpPr>
            <a:spLocks noChangeArrowheads="1"/>
          </p:cNvSpPr>
          <p:nvPr/>
        </p:nvSpPr>
        <p:spPr bwMode="auto">
          <a:xfrm>
            <a:off x="544514" y="1740532"/>
            <a:ext cx="2577061" cy="2715559"/>
          </a:xfrm>
          <a:prstGeom prst="rect">
            <a:avLst/>
          </a:prstGeom>
          <a:noFill/>
          <a:ln w="19050" algn="ctr">
            <a:solidFill>
              <a:schemeClr val="accent1"/>
            </a:solidFill>
            <a:miter lim="800000"/>
            <a:headEnd/>
            <a:tailEnd/>
          </a:ln>
          <a:effectLst/>
        </p:spPr>
        <p:txBody>
          <a:bodyPr lIns="68589" tIns="137178" rIns="68589" bIns="34295" anchor="t" anchorCtr="0"/>
          <a:lstStyle/>
          <a:p>
            <a:pPr marL="132174" indent="-132174" defTabSz="457189">
              <a:spcBef>
                <a:spcPts val="225"/>
              </a:spcBef>
              <a:spcAft>
                <a:spcPts val="225"/>
              </a:spcAft>
              <a:buSzPct val="80000"/>
              <a:buFont typeface="Arial" pitchFamily="34" charset="0"/>
              <a:buChar char="•"/>
              <a:defRPr/>
            </a:pPr>
            <a:endParaRPr lang="en-US" sz="1100" dirty="0">
              <a:solidFill>
                <a:srgbClr val="282828"/>
              </a:solidFill>
              <a:latin typeface="CiscoSansTT ExtraLight"/>
              <a:cs typeface="Arial" charset="0"/>
            </a:endParaRPr>
          </a:p>
        </p:txBody>
      </p:sp>
      <p:sp>
        <p:nvSpPr>
          <p:cNvPr id="11" name="Rectangle 5"/>
          <p:cNvSpPr>
            <a:spLocks noChangeArrowheads="1"/>
          </p:cNvSpPr>
          <p:nvPr/>
        </p:nvSpPr>
        <p:spPr bwMode="auto">
          <a:xfrm>
            <a:off x="544514" y="1154798"/>
            <a:ext cx="2577061" cy="590562"/>
          </a:xfrm>
          <a:prstGeom prst="rect">
            <a:avLst/>
          </a:prstGeom>
          <a:solidFill>
            <a:schemeClr val="accent1"/>
          </a:solidFill>
          <a:ln w="19050">
            <a:solidFill>
              <a:schemeClr val="accent1"/>
            </a:solidFill>
            <a:miter lim="800000"/>
            <a:headEnd/>
            <a:tailEnd/>
          </a:ln>
          <a:effectLst/>
        </p:spPr>
        <p:txBody>
          <a:bodyPr lIns="68589" tIns="34295" rIns="68589" bIns="34295" anchor="ctr" anchorCtr="1"/>
          <a:lstStyle/>
          <a:p>
            <a:pPr algn="ctr" defTabSz="610857">
              <a:defRPr/>
            </a:pPr>
            <a:r>
              <a:rPr lang="en-US" dirty="0">
                <a:solidFill>
                  <a:srgbClr val="005073"/>
                </a:solidFill>
                <a:latin typeface="CiscoSansTT ExtraLight"/>
              </a:rPr>
              <a:t>Today’s Network</a:t>
            </a:r>
          </a:p>
        </p:txBody>
      </p:sp>
      <p:pic>
        <p:nvPicPr>
          <p:cNvPr id="12" name="Picture 11"/>
          <p:cNvPicPr>
            <a:picLocks noChangeAspect="1"/>
          </p:cNvPicPr>
          <p:nvPr/>
        </p:nvPicPr>
        <p:blipFill rotWithShape="1">
          <a:blip r:embed="rId5" cstate="email">
            <a:extLst>
              <a:ext uri="{28A0092B-C50C-407E-A947-70E740481C1C}">
                <a14:useLocalDpi xmlns:a14="http://schemas.microsoft.com/office/drawing/2010/main"/>
              </a:ext>
            </a:extLst>
          </a:blip>
          <a:srcRect b="-4504"/>
          <a:stretch/>
        </p:blipFill>
        <p:spPr>
          <a:xfrm>
            <a:off x="672298" y="2060482"/>
            <a:ext cx="2332976" cy="2131454"/>
          </a:xfrm>
          <a:prstGeom prst="rect">
            <a:avLst/>
          </a:prstGeom>
        </p:spPr>
      </p:pic>
      <p:sp>
        <p:nvSpPr>
          <p:cNvPr id="26" name="Right Arrow 25"/>
          <p:cNvSpPr/>
          <p:nvPr/>
        </p:nvSpPr>
        <p:spPr>
          <a:xfrm>
            <a:off x="3058732" y="2926588"/>
            <a:ext cx="412124" cy="399245"/>
          </a:xfrm>
          <a:prstGeom prst="rightArrow">
            <a:avLst/>
          </a:prstGeom>
          <a:solidFill>
            <a:schemeClr val="bg2"/>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27" name="Right Arrow 26"/>
          <p:cNvSpPr/>
          <p:nvPr/>
        </p:nvSpPr>
        <p:spPr>
          <a:xfrm>
            <a:off x="5831973" y="2926588"/>
            <a:ext cx="412124" cy="399245"/>
          </a:xfrm>
          <a:prstGeom prst="rightArrow">
            <a:avLst/>
          </a:prstGeom>
          <a:solidFill>
            <a:schemeClr val="bg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sp>
        <p:nvSpPr>
          <p:cNvPr id="30" name="TextBox 29"/>
          <p:cNvSpPr txBox="1"/>
          <p:nvPr/>
        </p:nvSpPr>
        <p:spPr>
          <a:xfrm>
            <a:off x="6146277" y="3383129"/>
            <a:ext cx="2460395" cy="861774"/>
          </a:xfrm>
          <a:prstGeom prst="rect">
            <a:avLst/>
          </a:prstGeom>
          <a:noFill/>
        </p:spPr>
        <p:txBody>
          <a:bodyPr wrap="square" rtlCol="0">
            <a:spAutoFit/>
          </a:bodyPr>
          <a:lstStyle/>
          <a:p>
            <a:pPr marL="115885" indent="-115885" defTabSz="457189">
              <a:buFont typeface="Arial" panose="020B0604020202020204" pitchFamily="34" charset="0"/>
              <a:buChar char="•"/>
              <a:defRPr/>
            </a:pPr>
            <a:r>
              <a:rPr lang="en-US" sz="1000" dirty="0">
                <a:solidFill>
                  <a:srgbClr val="676767"/>
                </a:solidFill>
                <a:latin typeface="CiscoSansTT ExtraLight"/>
              </a:rPr>
              <a:t>Core &gt;</a:t>
            </a:r>
            <a:r>
              <a:rPr lang="en-US" sz="1000" dirty="0">
                <a:solidFill>
                  <a:srgbClr val="676767"/>
                </a:solidFill>
                <a:latin typeface="Symbol" charset="2"/>
                <a:ea typeface="Symbol" charset="2"/>
                <a:cs typeface="Symbol" charset="2"/>
              </a:rPr>
              <a:t> </a:t>
            </a:r>
            <a:r>
              <a:rPr lang="en-US" sz="1000" dirty="0">
                <a:solidFill>
                  <a:srgbClr val="676767"/>
                </a:solidFill>
                <a:latin typeface="CiscoSansTT ExtraLight"/>
              </a:rPr>
              <a:t>deploy fabric</a:t>
            </a:r>
          </a:p>
          <a:p>
            <a:pPr marL="115885" indent="-115885" defTabSz="457189">
              <a:buFont typeface="Arial" panose="020B0604020202020204" pitchFamily="34" charset="0"/>
              <a:buChar char="•"/>
              <a:defRPr/>
            </a:pPr>
            <a:r>
              <a:rPr lang="en-US" sz="1000" dirty="0">
                <a:solidFill>
                  <a:srgbClr val="676767"/>
                </a:solidFill>
                <a:latin typeface="CiscoSansTT ExtraLight"/>
              </a:rPr>
              <a:t>Edge &gt; deploy fabric</a:t>
            </a:r>
          </a:p>
          <a:p>
            <a:pPr marL="115885" indent="-115885" defTabSz="457189">
              <a:buFont typeface="Arial" panose="020B0604020202020204" pitchFamily="34" charset="0"/>
              <a:buChar char="•"/>
              <a:defRPr/>
            </a:pPr>
            <a:r>
              <a:rPr lang="en-US" sz="1000" dirty="0">
                <a:solidFill>
                  <a:srgbClr val="676767"/>
                </a:solidFill>
                <a:latin typeface="CiscoSansTT ExtraLight"/>
              </a:rPr>
              <a:t>Peering &gt; deploy fabric</a:t>
            </a:r>
          </a:p>
          <a:p>
            <a:pPr marL="115885" indent="-115885" defTabSz="457189">
              <a:buFont typeface="Arial" panose="020B0604020202020204" pitchFamily="34" charset="0"/>
              <a:buChar char="•"/>
              <a:defRPr/>
            </a:pPr>
            <a:r>
              <a:rPr lang="en-US" sz="1000" dirty="0">
                <a:solidFill>
                  <a:srgbClr val="676767"/>
                </a:solidFill>
                <a:latin typeface="CiscoSansTT ExtraLight"/>
              </a:rPr>
              <a:t>Aggregation &gt; deploy fabric where optical infrastructure allows</a:t>
            </a:r>
          </a:p>
        </p:txBody>
      </p:sp>
    </p:spTree>
    <p:extLst>
      <p:ext uri="{BB962C8B-B14F-4D97-AF65-F5344CB8AC3E}">
        <p14:creationId xmlns:p14="http://schemas.microsoft.com/office/powerpoint/2010/main" val="268029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P Network - Simplification Journey - Summary</a:t>
            </a:r>
          </a:p>
        </p:txBody>
      </p:sp>
      <p:sp>
        <p:nvSpPr>
          <p:cNvPr id="69" name="Rectangle 68"/>
          <p:cNvSpPr/>
          <p:nvPr/>
        </p:nvSpPr>
        <p:spPr>
          <a:xfrm>
            <a:off x="2635531" y="3222432"/>
            <a:ext cx="914400" cy="182880"/>
          </a:xfrm>
          <a:prstGeom prst="rect">
            <a:avLst/>
          </a:prstGeom>
          <a:solidFill>
            <a:srgbClr val="00BCEB"/>
          </a:solidFill>
          <a:ln w="19050" cap="flat" cmpd="sng" algn="ctr">
            <a:solidFill>
              <a:srgbClr val="005073"/>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LDP</a:t>
            </a:r>
          </a:p>
        </p:txBody>
      </p:sp>
      <p:sp>
        <p:nvSpPr>
          <p:cNvPr id="70" name="Rectangle 69"/>
          <p:cNvSpPr/>
          <p:nvPr/>
        </p:nvSpPr>
        <p:spPr>
          <a:xfrm>
            <a:off x="2635531" y="2993832"/>
            <a:ext cx="914400" cy="182880"/>
          </a:xfrm>
          <a:prstGeom prst="rect">
            <a:avLst/>
          </a:prstGeom>
          <a:solidFill>
            <a:srgbClr val="00BCEB"/>
          </a:solidFill>
          <a:ln w="19050" cap="flat" cmpd="sng" algn="ctr">
            <a:solidFill>
              <a:srgbClr val="005073"/>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RSVP</a:t>
            </a:r>
          </a:p>
        </p:txBody>
      </p:sp>
      <p:sp>
        <p:nvSpPr>
          <p:cNvPr id="71" name="Rectangle 70"/>
          <p:cNvSpPr/>
          <p:nvPr/>
        </p:nvSpPr>
        <p:spPr>
          <a:xfrm>
            <a:off x="2635531" y="3451032"/>
            <a:ext cx="914400" cy="182880"/>
          </a:xfrm>
          <a:prstGeom prst="rect">
            <a:avLst/>
          </a:prstGeom>
          <a:solidFill>
            <a:srgbClr val="00BCEB"/>
          </a:solidFill>
          <a:ln w="19050" cap="flat" cmpd="sng" algn="ctr">
            <a:solidFill>
              <a:srgbClr val="005073"/>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IGP</a:t>
            </a:r>
          </a:p>
        </p:txBody>
      </p:sp>
      <p:sp>
        <p:nvSpPr>
          <p:cNvPr id="72" name="Rectangle 71"/>
          <p:cNvSpPr/>
          <p:nvPr/>
        </p:nvSpPr>
        <p:spPr>
          <a:xfrm>
            <a:off x="2635531" y="2765232"/>
            <a:ext cx="914400" cy="182880"/>
          </a:xfrm>
          <a:prstGeom prst="rect">
            <a:avLst/>
          </a:prstGeom>
          <a:solidFill>
            <a:srgbClr val="6EBE4A"/>
          </a:solidFill>
          <a:ln w="19050" cap="flat" cmpd="sng" algn="ctr">
            <a:solidFill>
              <a:srgbClr val="005073"/>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BGP-LU</a:t>
            </a:r>
          </a:p>
        </p:txBody>
      </p:sp>
      <p:sp>
        <p:nvSpPr>
          <p:cNvPr id="73" name="Rectangle 72"/>
          <p:cNvSpPr/>
          <p:nvPr/>
        </p:nvSpPr>
        <p:spPr>
          <a:xfrm>
            <a:off x="2635532" y="2524636"/>
            <a:ext cx="429274" cy="194876"/>
          </a:xfrm>
          <a:prstGeom prst="rect">
            <a:avLst/>
          </a:prstGeom>
          <a:solidFill>
            <a:srgbClr val="FFC000"/>
          </a:solidFill>
          <a:ln w="19050" cap="flat" cmpd="sng" algn="ctr">
            <a:solidFill>
              <a:srgbClr val="005073"/>
            </a:solidFill>
            <a:prstDash val="solid"/>
          </a:ln>
          <a:effectLst/>
        </p:spPr>
        <p:txBody>
          <a:bodyPr wrap="none"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LDP</a:t>
            </a:r>
          </a:p>
        </p:txBody>
      </p:sp>
      <p:sp>
        <p:nvSpPr>
          <p:cNvPr id="74" name="Left Brace 73"/>
          <p:cNvSpPr/>
          <p:nvPr/>
        </p:nvSpPr>
        <p:spPr>
          <a:xfrm>
            <a:off x="2369275" y="3222432"/>
            <a:ext cx="155448" cy="411596"/>
          </a:xfrm>
          <a:prstGeom prst="leftBrace">
            <a:avLst>
              <a:gd name="adj1" fmla="val 143791"/>
              <a:gd name="adj2" fmla="val 51111"/>
            </a:avLst>
          </a:prstGeom>
          <a:noFill/>
          <a:ln w="9525" cap="flat" cmpd="sng" algn="ctr">
            <a:solidFill>
              <a:srgbClr val="00BCEB">
                <a:shade val="95000"/>
                <a:satMod val="105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
              <a:cs typeface=""/>
            </a:endParaRPr>
          </a:p>
        </p:txBody>
      </p:sp>
      <p:sp>
        <p:nvSpPr>
          <p:cNvPr id="75" name="Left Brace 74"/>
          <p:cNvSpPr/>
          <p:nvPr/>
        </p:nvSpPr>
        <p:spPr>
          <a:xfrm>
            <a:off x="2369275" y="2765231"/>
            <a:ext cx="155448" cy="190305"/>
          </a:xfrm>
          <a:prstGeom prst="leftBrace">
            <a:avLst>
              <a:gd name="adj1" fmla="val 143791"/>
              <a:gd name="adj2" fmla="val 51111"/>
            </a:avLst>
          </a:prstGeom>
          <a:noFill/>
          <a:ln w="9525" cap="flat" cmpd="sng" algn="ctr">
            <a:solidFill>
              <a:srgbClr val="00BCEB">
                <a:shade val="95000"/>
                <a:satMod val="105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
              <a:cs typeface=""/>
            </a:endParaRPr>
          </a:p>
        </p:txBody>
      </p:sp>
      <p:sp>
        <p:nvSpPr>
          <p:cNvPr id="76" name="Left Brace 75"/>
          <p:cNvSpPr/>
          <p:nvPr/>
        </p:nvSpPr>
        <p:spPr>
          <a:xfrm>
            <a:off x="2368172" y="2536632"/>
            <a:ext cx="155448" cy="190305"/>
          </a:xfrm>
          <a:prstGeom prst="leftBrace">
            <a:avLst>
              <a:gd name="adj1" fmla="val 143791"/>
              <a:gd name="adj2" fmla="val 51111"/>
            </a:avLst>
          </a:prstGeom>
          <a:noFill/>
          <a:ln w="9525" cap="flat" cmpd="sng" algn="ctr">
            <a:solidFill>
              <a:srgbClr val="00BCEB">
                <a:shade val="95000"/>
                <a:satMod val="105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
              <a:cs typeface=""/>
            </a:endParaRPr>
          </a:p>
        </p:txBody>
      </p:sp>
      <p:sp>
        <p:nvSpPr>
          <p:cNvPr id="77" name="TextBox 76"/>
          <p:cNvSpPr txBox="1"/>
          <p:nvPr/>
        </p:nvSpPr>
        <p:spPr>
          <a:xfrm flipH="1">
            <a:off x="942782" y="3243663"/>
            <a:ext cx="1425390" cy="307777"/>
          </a:xfrm>
          <a:prstGeom prst="rect">
            <a:avLst/>
          </a:prstGeom>
          <a:noFill/>
        </p:spPr>
        <p:txBody>
          <a:bodyPr wrap="none" rtlCol="0">
            <a:spAutoFit/>
          </a:bodyPr>
          <a:lstStyle/>
          <a:p>
            <a:pPr algn="r" defTabSz="457200" fontAlgn="base">
              <a:spcBef>
                <a:spcPct val="0"/>
              </a:spcBef>
              <a:spcAft>
                <a:spcPct val="0"/>
              </a:spcAft>
            </a:pPr>
            <a:r>
              <a:rPr lang="en-US" sz="1400">
                <a:solidFill>
                  <a:srgbClr val="39393B"/>
                </a:solidFill>
                <a:latin typeface="+mn-lt"/>
                <a:ea typeface="ＭＳ Ｐゴシック" pitchFamily="34" charset="-128"/>
                <a:cs typeface=""/>
              </a:rPr>
              <a:t>Intra-Domain CP</a:t>
            </a:r>
            <a:endParaRPr lang="en-US" sz="1400" dirty="0">
              <a:solidFill>
                <a:srgbClr val="39393B"/>
              </a:solidFill>
              <a:latin typeface="+mn-lt"/>
              <a:ea typeface="ＭＳ Ｐゴシック" pitchFamily="34" charset="-128"/>
              <a:cs typeface=""/>
            </a:endParaRPr>
          </a:p>
        </p:txBody>
      </p:sp>
      <p:sp>
        <p:nvSpPr>
          <p:cNvPr id="78" name="Left Brace 77"/>
          <p:cNvSpPr/>
          <p:nvPr/>
        </p:nvSpPr>
        <p:spPr>
          <a:xfrm>
            <a:off x="2368172" y="2993830"/>
            <a:ext cx="155448" cy="190305"/>
          </a:xfrm>
          <a:prstGeom prst="leftBrace">
            <a:avLst>
              <a:gd name="adj1" fmla="val 143791"/>
              <a:gd name="adj2" fmla="val 51111"/>
            </a:avLst>
          </a:prstGeom>
          <a:noFill/>
          <a:ln w="9525" cap="flat" cmpd="sng" algn="ctr">
            <a:solidFill>
              <a:srgbClr val="00BCEB">
                <a:shade val="95000"/>
                <a:satMod val="105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
              <a:cs typeface=""/>
            </a:endParaRPr>
          </a:p>
        </p:txBody>
      </p:sp>
      <p:sp>
        <p:nvSpPr>
          <p:cNvPr id="79" name="TextBox 78"/>
          <p:cNvSpPr txBox="1"/>
          <p:nvPr/>
        </p:nvSpPr>
        <p:spPr>
          <a:xfrm flipH="1">
            <a:off x="1390019" y="2938745"/>
            <a:ext cx="978153" cy="307777"/>
          </a:xfrm>
          <a:prstGeom prst="rect">
            <a:avLst/>
          </a:prstGeom>
          <a:noFill/>
        </p:spPr>
        <p:txBody>
          <a:bodyPr wrap="none" rtlCol="0">
            <a:spAutoFit/>
          </a:bodyPr>
          <a:lstStyle/>
          <a:p>
            <a:pPr algn="r" defTabSz="457200" fontAlgn="base">
              <a:spcBef>
                <a:spcPct val="0"/>
              </a:spcBef>
              <a:spcAft>
                <a:spcPct val="0"/>
              </a:spcAft>
            </a:pPr>
            <a:r>
              <a:rPr lang="en-US" sz="1400">
                <a:solidFill>
                  <a:srgbClr val="39393B"/>
                </a:solidFill>
                <a:latin typeface="+mn-lt"/>
                <a:ea typeface="ＭＳ Ｐゴシック" pitchFamily="34" charset="-128"/>
                <a:cs typeface=""/>
              </a:rPr>
              <a:t>FRR or TE</a:t>
            </a:r>
            <a:endParaRPr lang="en-US" sz="1400" dirty="0">
              <a:solidFill>
                <a:srgbClr val="39393B"/>
              </a:solidFill>
              <a:latin typeface="+mn-lt"/>
              <a:ea typeface="ＭＳ Ｐゴシック" pitchFamily="34" charset="-128"/>
              <a:cs typeface=""/>
            </a:endParaRPr>
          </a:p>
        </p:txBody>
      </p:sp>
      <p:sp>
        <p:nvSpPr>
          <p:cNvPr id="80" name="TextBox 79"/>
          <p:cNvSpPr txBox="1"/>
          <p:nvPr/>
        </p:nvSpPr>
        <p:spPr>
          <a:xfrm flipH="1">
            <a:off x="946372" y="2713100"/>
            <a:ext cx="1421799" cy="307777"/>
          </a:xfrm>
          <a:prstGeom prst="rect">
            <a:avLst/>
          </a:prstGeom>
          <a:noFill/>
        </p:spPr>
        <p:txBody>
          <a:bodyPr wrap="none" rtlCol="0">
            <a:spAutoFit/>
          </a:bodyPr>
          <a:lstStyle/>
          <a:p>
            <a:pPr algn="r" defTabSz="457200" fontAlgn="base">
              <a:spcBef>
                <a:spcPct val="0"/>
              </a:spcBef>
              <a:spcAft>
                <a:spcPct val="0"/>
              </a:spcAft>
            </a:pPr>
            <a:r>
              <a:rPr lang="en-US" sz="1400">
                <a:solidFill>
                  <a:srgbClr val="39393B"/>
                </a:solidFill>
                <a:latin typeface="+mn-lt"/>
                <a:ea typeface="ＭＳ Ｐゴシック" pitchFamily="34" charset="-128"/>
                <a:cs typeface=""/>
              </a:rPr>
              <a:t>Inter-Domain CP</a:t>
            </a:r>
            <a:endParaRPr lang="en-US" sz="1400" dirty="0">
              <a:solidFill>
                <a:srgbClr val="39393B"/>
              </a:solidFill>
              <a:latin typeface="+mn-lt"/>
              <a:ea typeface="ＭＳ Ｐゴシック" pitchFamily="34" charset="-128"/>
              <a:cs typeface=""/>
            </a:endParaRPr>
          </a:p>
        </p:txBody>
      </p:sp>
      <p:sp>
        <p:nvSpPr>
          <p:cNvPr id="81" name="TextBox 80"/>
          <p:cNvSpPr txBox="1"/>
          <p:nvPr/>
        </p:nvSpPr>
        <p:spPr>
          <a:xfrm flipH="1">
            <a:off x="723169" y="2459086"/>
            <a:ext cx="1645002" cy="307777"/>
          </a:xfrm>
          <a:prstGeom prst="rect">
            <a:avLst/>
          </a:prstGeom>
          <a:noFill/>
        </p:spPr>
        <p:txBody>
          <a:bodyPr wrap="none" rtlCol="0">
            <a:spAutoFit/>
          </a:bodyPr>
          <a:lstStyle/>
          <a:p>
            <a:pPr algn="r" defTabSz="457200" fontAlgn="base">
              <a:spcBef>
                <a:spcPct val="0"/>
              </a:spcBef>
              <a:spcAft>
                <a:spcPct val="0"/>
              </a:spcAft>
            </a:pPr>
            <a:r>
              <a:rPr lang="en-US" sz="1400" dirty="0" err="1">
                <a:solidFill>
                  <a:srgbClr val="39393B"/>
                </a:solidFill>
                <a:latin typeface="+mn-lt"/>
                <a:ea typeface="ＭＳ Ｐゴシック" pitchFamily="34" charset="-128"/>
                <a:cs typeface=""/>
              </a:rPr>
              <a:t>L2</a:t>
            </a:r>
            <a:r>
              <a:rPr lang="en-US" sz="1400" dirty="0">
                <a:solidFill>
                  <a:srgbClr val="39393B"/>
                </a:solidFill>
                <a:latin typeface="+mn-lt"/>
                <a:ea typeface="ＭＳ Ｐゴシック" pitchFamily="34" charset="-128"/>
                <a:cs typeface=""/>
              </a:rPr>
              <a:t>/</a:t>
            </a:r>
            <a:r>
              <a:rPr lang="en-US" sz="1400" dirty="0" err="1">
                <a:solidFill>
                  <a:srgbClr val="39393B"/>
                </a:solidFill>
                <a:latin typeface="+mn-lt"/>
                <a:ea typeface="ＭＳ Ｐゴシック" pitchFamily="34" charset="-128"/>
                <a:cs typeface=""/>
              </a:rPr>
              <a:t>L3VPN</a:t>
            </a:r>
            <a:r>
              <a:rPr lang="en-US" sz="1400" dirty="0">
                <a:solidFill>
                  <a:srgbClr val="39393B"/>
                </a:solidFill>
                <a:latin typeface="+mn-lt"/>
                <a:ea typeface="ＭＳ Ｐゴシック" pitchFamily="34" charset="-128"/>
                <a:cs typeface=""/>
              </a:rPr>
              <a:t> Services</a:t>
            </a:r>
          </a:p>
        </p:txBody>
      </p:sp>
      <p:sp>
        <p:nvSpPr>
          <p:cNvPr id="82" name="Rectangle 81"/>
          <p:cNvSpPr/>
          <p:nvPr/>
        </p:nvSpPr>
        <p:spPr>
          <a:xfrm>
            <a:off x="6272812" y="2778992"/>
            <a:ext cx="914400" cy="850126"/>
          </a:xfrm>
          <a:prstGeom prst="rect">
            <a:avLst/>
          </a:prstGeom>
          <a:solidFill>
            <a:srgbClr val="00BCEB"/>
          </a:solidFill>
          <a:ln w="19050" cap="flat" cmpd="sng" algn="ctr">
            <a:solidFill>
              <a:srgbClr val="005073"/>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IGP with SR</a:t>
            </a:r>
          </a:p>
        </p:txBody>
      </p:sp>
      <p:sp>
        <p:nvSpPr>
          <p:cNvPr id="83" name="Rectangle 82"/>
          <p:cNvSpPr/>
          <p:nvPr/>
        </p:nvSpPr>
        <p:spPr>
          <a:xfrm>
            <a:off x="6272811" y="2514171"/>
            <a:ext cx="914400" cy="205341"/>
          </a:xfrm>
          <a:prstGeom prst="rect">
            <a:avLst/>
          </a:prstGeom>
          <a:solidFill>
            <a:srgbClr val="FFC000"/>
          </a:solidFill>
          <a:ln w="19050" cap="flat" cmpd="sng" algn="ctr">
            <a:solidFill>
              <a:srgbClr val="005073"/>
            </a:solidFill>
            <a:prstDash val="solid"/>
          </a:ln>
          <a:effectLst/>
        </p:spPr>
        <p:txBody>
          <a:bodyPr wrap="none"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BGP</a:t>
            </a:r>
          </a:p>
        </p:txBody>
      </p:sp>
      <p:sp>
        <p:nvSpPr>
          <p:cNvPr id="84" name="Rectangle 83"/>
          <p:cNvSpPr/>
          <p:nvPr/>
        </p:nvSpPr>
        <p:spPr>
          <a:xfrm>
            <a:off x="4454171" y="3000166"/>
            <a:ext cx="914400" cy="640082"/>
          </a:xfrm>
          <a:prstGeom prst="rect">
            <a:avLst/>
          </a:prstGeom>
          <a:solidFill>
            <a:srgbClr val="00BCEB"/>
          </a:solidFill>
          <a:ln w="19050" cap="flat" cmpd="sng" algn="ctr">
            <a:solidFill>
              <a:srgbClr val="005073"/>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IGP with SR</a:t>
            </a:r>
          </a:p>
        </p:txBody>
      </p:sp>
      <p:sp>
        <p:nvSpPr>
          <p:cNvPr id="85" name="Rectangle 84"/>
          <p:cNvSpPr/>
          <p:nvPr/>
        </p:nvSpPr>
        <p:spPr>
          <a:xfrm>
            <a:off x="4454171" y="2778992"/>
            <a:ext cx="914400" cy="182880"/>
          </a:xfrm>
          <a:prstGeom prst="rect">
            <a:avLst/>
          </a:prstGeom>
          <a:solidFill>
            <a:srgbClr val="6EBE4A"/>
          </a:solidFill>
          <a:ln w="19050" cap="flat" cmpd="sng" algn="ctr">
            <a:solidFill>
              <a:srgbClr val="005073"/>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BGP-LU</a:t>
            </a:r>
          </a:p>
        </p:txBody>
      </p:sp>
      <p:sp>
        <p:nvSpPr>
          <p:cNvPr id="89" name="Right Arrow 88"/>
          <p:cNvSpPr/>
          <p:nvPr/>
        </p:nvSpPr>
        <p:spPr>
          <a:xfrm>
            <a:off x="3751143" y="2830588"/>
            <a:ext cx="501816" cy="484632"/>
          </a:xfrm>
          <a:prstGeom prst="rightArrow">
            <a:avLst/>
          </a:prstGeom>
          <a:solidFill>
            <a:schemeClr val="bg1">
              <a:lumMod val="20000"/>
              <a:lumOff val="80000"/>
            </a:scheme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90" name="Right Arrow 89"/>
          <p:cNvSpPr/>
          <p:nvPr/>
        </p:nvSpPr>
        <p:spPr>
          <a:xfrm>
            <a:off x="5569783" y="2835921"/>
            <a:ext cx="501816" cy="484632"/>
          </a:xfrm>
          <a:prstGeom prst="rightArrow">
            <a:avLst/>
          </a:prstGeom>
          <a:solidFill>
            <a:schemeClr val="bg1">
              <a:lumMod val="20000"/>
              <a:lumOff val="80000"/>
            </a:scheme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91" name="TextBox 90"/>
          <p:cNvSpPr txBox="1"/>
          <p:nvPr/>
        </p:nvSpPr>
        <p:spPr>
          <a:xfrm flipH="1">
            <a:off x="965231" y="1943427"/>
            <a:ext cx="1399742" cy="307777"/>
          </a:xfrm>
          <a:prstGeom prst="rect">
            <a:avLst/>
          </a:prstGeom>
          <a:noFill/>
        </p:spPr>
        <p:txBody>
          <a:bodyPr wrap="none" rtlCol="0">
            <a:spAutoFit/>
          </a:bodyPr>
          <a:lstStyle/>
          <a:p>
            <a:pPr algn="r" defTabSz="457200" fontAlgn="base">
              <a:spcBef>
                <a:spcPct val="0"/>
              </a:spcBef>
              <a:spcAft>
                <a:spcPct val="0"/>
              </a:spcAft>
            </a:pPr>
            <a:r>
              <a:rPr lang="en-US" sz="1400">
                <a:solidFill>
                  <a:srgbClr val="39393B"/>
                </a:solidFill>
                <a:latin typeface="+mn-lt"/>
                <a:ea typeface="ＭＳ Ｐゴシック" pitchFamily="34" charset="-128"/>
                <a:cs typeface=""/>
              </a:rPr>
              <a:t>Programmability</a:t>
            </a:r>
            <a:endParaRPr lang="en-US" sz="1400" dirty="0">
              <a:solidFill>
                <a:srgbClr val="39393B"/>
              </a:solidFill>
              <a:latin typeface="+mn-lt"/>
              <a:ea typeface="ＭＳ Ｐゴシック" pitchFamily="34" charset="-128"/>
              <a:cs typeface=""/>
            </a:endParaRPr>
          </a:p>
        </p:txBody>
      </p:sp>
      <p:sp>
        <p:nvSpPr>
          <p:cNvPr id="92" name="Rectangle 91"/>
          <p:cNvSpPr/>
          <p:nvPr/>
        </p:nvSpPr>
        <p:spPr>
          <a:xfrm>
            <a:off x="6386809" y="2050198"/>
            <a:ext cx="640689" cy="265665"/>
          </a:xfrm>
          <a:prstGeom prst="rect">
            <a:avLst/>
          </a:prstGeom>
          <a:solidFill>
            <a:srgbClr val="FFFFFF"/>
          </a:solidFill>
          <a:ln w="25400" cap="flat" cmpd="sng" algn="ctr">
            <a:solidFill>
              <a:srgbClr val="034093"/>
            </a:solidFill>
            <a:prstDash val="solid"/>
          </a:ln>
          <a:effectLst/>
        </p:spPr>
        <p:txBody>
          <a:bodyPr rtlCol="0" anchor="ctr"/>
          <a:lstStyle/>
          <a:p>
            <a:pPr algn="ctr" defTabSz="914400">
              <a:defRPr/>
            </a:pPr>
            <a:r>
              <a:rPr lang="en-US" sz="1400" b="1" kern="0" dirty="0" err="1">
                <a:ln>
                  <a:solidFill>
                    <a:srgbClr val="FFFFFF"/>
                  </a:solidFill>
                </a:ln>
                <a:solidFill>
                  <a:srgbClr val="39393B"/>
                </a:solidFill>
                <a:ea typeface=""/>
                <a:cs typeface=""/>
              </a:rPr>
              <a:t>PCE</a:t>
            </a:r>
            <a:endParaRPr lang="en-US" sz="1400" b="1" kern="0" dirty="0">
              <a:ln>
                <a:solidFill>
                  <a:srgbClr val="FFFFFF"/>
                </a:solidFill>
              </a:ln>
              <a:solidFill>
                <a:srgbClr val="39393B"/>
              </a:solidFill>
              <a:ea typeface=""/>
              <a:cs typeface=""/>
            </a:endParaRPr>
          </a:p>
        </p:txBody>
      </p:sp>
      <p:sp>
        <p:nvSpPr>
          <p:cNvPr id="93" name="TextBox 92"/>
          <p:cNvSpPr txBox="1"/>
          <p:nvPr/>
        </p:nvSpPr>
        <p:spPr>
          <a:xfrm flipH="1">
            <a:off x="1258579" y="1453267"/>
            <a:ext cx="1101585" cy="307777"/>
          </a:xfrm>
          <a:prstGeom prst="rect">
            <a:avLst/>
          </a:prstGeom>
          <a:noFill/>
        </p:spPr>
        <p:txBody>
          <a:bodyPr wrap="none" rtlCol="0">
            <a:spAutoFit/>
          </a:bodyPr>
          <a:lstStyle/>
          <a:p>
            <a:pPr algn="r" defTabSz="457200" fontAlgn="base">
              <a:spcBef>
                <a:spcPct val="0"/>
              </a:spcBef>
              <a:spcAft>
                <a:spcPct val="0"/>
              </a:spcAft>
            </a:pPr>
            <a:r>
              <a:rPr lang="en-US" sz="1400" dirty="0">
                <a:solidFill>
                  <a:srgbClr val="39393B"/>
                </a:solidFill>
                <a:latin typeface="+mn-lt"/>
                <a:ea typeface="ＭＳ Ｐゴシック" pitchFamily="34" charset="-128"/>
                <a:cs typeface=""/>
              </a:rPr>
              <a:t>Provisioning</a:t>
            </a:r>
          </a:p>
        </p:txBody>
      </p:sp>
      <p:sp>
        <p:nvSpPr>
          <p:cNvPr id="94" name="Rectangle 93"/>
          <p:cNvSpPr/>
          <p:nvPr/>
        </p:nvSpPr>
        <p:spPr>
          <a:xfrm>
            <a:off x="4587823" y="1516900"/>
            <a:ext cx="640689" cy="265665"/>
          </a:xfrm>
          <a:prstGeom prst="rect">
            <a:avLst/>
          </a:prstGeom>
          <a:solidFill>
            <a:srgbClr val="FFFFFF"/>
          </a:solidFill>
          <a:ln w="25400" cap="flat" cmpd="sng" algn="ctr">
            <a:solidFill>
              <a:srgbClr val="034093"/>
            </a:solidFill>
            <a:prstDash val="solid"/>
          </a:ln>
          <a:effectLst/>
        </p:spPr>
        <p:txBody>
          <a:bodyPr wrap="none" rtlCol="0" anchor="ctr"/>
          <a:lstStyle/>
          <a:p>
            <a:pPr algn="ctr" defTabSz="914400">
              <a:defRPr/>
            </a:pPr>
            <a:endParaRPr lang="en-US" sz="800" b="1" kern="0">
              <a:ln>
                <a:solidFill>
                  <a:srgbClr val="FFFFFF"/>
                </a:solidFill>
              </a:ln>
              <a:solidFill>
                <a:srgbClr val="39393B"/>
              </a:solidFill>
              <a:ea typeface="Arial" charset="0"/>
              <a:cs typeface="Arial" charset="0"/>
            </a:endParaRPr>
          </a:p>
        </p:txBody>
      </p:sp>
      <p:sp>
        <p:nvSpPr>
          <p:cNvPr id="95" name="TextBox 94"/>
          <p:cNvSpPr txBox="1"/>
          <p:nvPr/>
        </p:nvSpPr>
        <p:spPr>
          <a:xfrm flipH="1">
            <a:off x="4568175" y="1480455"/>
            <a:ext cx="679994" cy="338554"/>
          </a:xfrm>
          <a:prstGeom prst="rect">
            <a:avLst/>
          </a:prstGeom>
          <a:noFill/>
        </p:spPr>
        <p:txBody>
          <a:bodyPr wrap="square" rtlCol="0">
            <a:spAutoFit/>
          </a:bodyPr>
          <a:lstStyle/>
          <a:p>
            <a:pPr algn="ctr" defTabSz="457200" fontAlgn="base">
              <a:spcBef>
                <a:spcPct val="0"/>
              </a:spcBef>
              <a:spcAft>
                <a:spcPct val="0"/>
              </a:spcAft>
            </a:pPr>
            <a:r>
              <a:rPr lang="en-US" sz="800" dirty="0" err="1">
                <a:solidFill>
                  <a:srgbClr val="39393B"/>
                </a:solidFill>
                <a:ea typeface="ＭＳ Ｐゴシック" pitchFamily="34" charset="-128"/>
                <a:cs typeface=""/>
              </a:rPr>
              <a:t>NETCONF</a:t>
            </a:r>
            <a:endParaRPr lang="en-US" sz="800" dirty="0">
              <a:solidFill>
                <a:srgbClr val="39393B"/>
              </a:solidFill>
              <a:ea typeface="ＭＳ Ｐゴシック" pitchFamily="34" charset="-128"/>
              <a:cs typeface=""/>
            </a:endParaRPr>
          </a:p>
          <a:p>
            <a:pPr algn="ctr" defTabSz="457200" fontAlgn="base">
              <a:spcBef>
                <a:spcPct val="0"/>
              </a:spcBef>
              <a:spcAft>
                <a:spcPct val="0"/>
              </a:spcAft>
            </a:pPr>
            <a:r>
              <a:rPr lang="en-US" sz="800" dirty="0">
                <a:solidFill>
                  <a:srgbClr val="39393B"/>
                </a:solidFill>
                <a:ea typeface="ＭＳ Ｐゴシック" pitchFamily="34" charset="-128"/>
                <a:cs typeface=""/>
              </a:rPr>
              <a:t>YANG</a:t>
            </a:r>
          </a:p>
        </p:txBody>
      </p:sp>
      <p:sp>
        <p:nvSpPr>
          <p:cNvPr id="96" name="Rectangle 95"/>
          <p:cNvSpPr/>
          <p:nvPr/>
        </p:nvSpPr>
        <p:spPr>
          <a:xfrm>
            <a:off x="6386809" y="1517333"/>
            <a:ext cx="640689" cy="265665"/>
          </a:xfrm>
          <a:prstGeom prst="rect">
            <a:avLst/>
          </a:prstGeom>
          <a:solidFill>
            <a:srgbClr val="FFFFFF"/>
          </a:solidFill>
          <a:ln w="25400" cap="flat" cmpd="sng" algn="ctr">
            <a:solidFill>
              <a:srgbClr val="034093"/>
            </a:solidFill>
            <a:prstDash val="solid"/>
          </a:ln>
          <a:effectLst/>
        </p:spPr>
        <p:txBody>
          <a:bodyPr wrap="none" rtlCol="0" anchor="ctr"/>
          <a:lstStyle/>
          <a:p>
            <a:pPr algn="ctr" defTabSz="914400">
              <a:defRPr/>
            </a:pPr>
            <a:endParaRPr lang="en-US" sz="800" b="1" kern="0">
              <a:ln>
                <a:solidFill>
                  <a:srgbClr val="FFFFFF"/>
                </a:solidFill>
              </a:ln>
              <a:solidFill>
                <a:srgbClr val="39393B"/>
              </a:solidFill>
              <a:ea typeface="Arial" charset="0"/>
              <a:cs typeface="Arial" charset="0"/>
            </a:endParaRPr>
          </a:p>
        </p:txBody>
      </p:sp>
      <p:sp>
        <p:nvSpPr>
          <p:cNvPr id="97" name="TextBox 96"/>
          <p:cNvSpPr txBox="1"/>
          <p:nvPr/>
        </p:nvSpPr>
        <p:spPr>
          <a:xfrm flipH="1">
            <a:off x="6367161" y="1480888"/>
            <a:ext cx="679994" cy="338554"/>
          </a:xfrm>
          <a:prstGeom prst="rect">
            <a:avLst/>
          </a:prstGeom>
          <a:noFill/>
        </p:spPr>
        <p:txBody>
          <a:bodyPr wrap="square" rtlCol="0">
            <a:spAutoFit/>
          </a:bodyPr>
          <a:lstStyle/>
          <a:p>
            <a:pPr algn="ctr" defTabSz="457200" fontAlgn="base">
              <a:spcBef>
                <a:spcPct val="0"/>
              </a:spcBef>
              <a:spcAft>
                <a:spcPct val="0"/>
              </a:spcAft>
            </a:pPr>
            <a:r>
              <a:rPr lang="en-US" sz="800">
                <a:solidFill>
                  <a:srgbClr val="39393B"/>
                </a:solidFill>
                <a:ea typeface="ＭＳ Ｐゴシック" pitchFamily="34" charset="-128"/>
                <a:cs typeface=""/>
              </a:rPr>
              <a:t>NETCONF</a:t>
            </a:r>
          </a:p>
          <a:p>
            <a:pPr algn="ctr" defTabSz="457200" fontAlgn="base">
              <a:spcBef>
                <a:spcPct val="0"/>
              </a:spcBef>
              <a:spcAft>
                <a:spcPct val="0"/>
              </a:spcAft>
            </a:pPr>
            <a:r>
              <a:rPr lang="en-US" sz="800">
                <a:solidFill>
                  <a:srgbClr val="39393B"/>
                </a:solidFill>
                <a:ea typeface="ＭＳ Ｐゴシック" pitchFamily="34" charset="-128"/>
                <a:cs typeface=""/>
              </a:rPr>
              <a:t>YANG</a:t>
            </a:r>
            <a:endParaRPr lang="en-US" sz="800" dirty="0">
              <a:solidFill>
                <a:srgbClr val="39393B"/>
              </a:solidFill>
              <a:ea typeface="ＭＳ Ｐゴシック" pitchFamily="34" charset="-128"/>
              <a:cs typeface=""/>
            </a:endParaRPr>
          </a:p>
        </p:txBody>
      </p:sp>
      <p:sp>
        <p:nvSpPr>
          <p:cNvPr id="98" name="Rectangle 97"/>
          <p:cNvSpPr/>
          <p:nvPr/>
        </p:nvSpPr>
        <p:spPr>
          <a:xfrm>
            <a:off x="3115577" y="2524636"/>
            <a:ext cx="429274" cy="194876"/>
          </a:xfrm>
          <a:prstGeom prst="rect">
            <a:avLst/>
          </a:prstGeom>
          <a:solidFill>
            <a:srgbClr val="FFC000"/>
          </a:solidFill>
          <a:ln w="19050" cap="flat" cmpd="sng" algn="ctr">
            <a:solidFill>
              <a:srgbClr val="005073"/>
            </a:solidFill>
            <a:prstDash val="solid"/>
          </a:ln>
          <a:effectLst/>
        </p:spPr>
        <p:txBody>
          <a:bodyPr wrap="none"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err="1">
                <a:ln>
                  <a:noFill/>
                </a:ln>
                <a:solidFill>
                  <a:srgbClr val="282828"/>
                </a:solidFill>
                <a:effectLst/>
                <a:uLnTx/>
                <a:uFillTx/>
                <a:latin typeface="CiscoSansTT ExtraLight"/>
                <a:ea typeface=""/>
                <a:cs typeface=""/>
              </a:rPr>
              <a:t>BGP</a:t>
            </a:r>
            <a:endParaRPr kumimoji="0" lang="en-US" sz="1000" b="0" i="0" u="none" strike="noStrike" kern="0" cap="none" spc="0" normalizeH="0" baseline="0" noProof="0" dirty="0">
              <a:ln>
                <a:noFill/>
              </a:ln>
              <a:solidFill>
                <a:srgbClr val="282828"/>
              </a:solidFill>
              <a:effectLst/>
              <a:uLnTx/>
              <a:uFillTx/>
              <a:latin typeface="CiscoSansTT ExtraLight"/>
              <a:ea typeface=""/>
              <a:cs typeface=""/>
            </a:endParaRPr>
          </a:p>
        </p:txBody>
      </p:sp>
      <p:sp>
        <p:nvSpPr>
          <p:cNvPr id="99" name="Rectangle 98"/>
          <p:cNvSpPr/>
          <p:nvPr/>
        </p:nvSpPr>
        <p:spPr>
          <a:xfrm>
            <a:off x="4454171" y="2524636"/>
            <a:ext cx="429274" cy="194876"/>
          </a:xfrm>
          <a:prstGeom prst="rect">
            <a:avLst/>
          </a:prstGeom>
          <a:solidFill>
            <a:srgbClr val="FFC000"/>
          </a:solidFill>
          <a:ln w="19050" cap="flat" cmpd="sng" algn="ctr">
            <a:solidFill>
              <a:srgbClr val="005073"/>
            </a:solidFill>
            <a:prstDash val="solid"/>
          </a:ln>
          <a:effectLst/>
        </p:spPr>
        <p:txBody>
          <a:bodyPr wrap="none"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CiscoSansTT ExtraLight"/>
                <a:ea typeface=""/>
                <a:cs typeface=""/>
              </a:rPr>
              <a:t>LDP</a:t>
            </a:r>
          </a:p>
        </p:txBody>
      </p:sp>
      <p:sp>
        <p:nvSpPr>
          <p:cNvPr id="100" name="Rectangle 99"/>
          <p:cNvSpPr/>
          <p:nvPr/>
        </p:nvSpPr>
        <p:spPr>
          <a:xfrm>
            <a:off x="4934216" y="2524636"/>
            <a:ext cx="429274" cy="194876"/>
          </a:xfrm>
          <a:prstGeom prst="rect">
            <a:avLst/>
          </a:prstGeom>
          <a:solidFill>
            <a:srgbClr val="FFC000"/>
          </a:solidFill>
          <a:ln w="19050" cap="flat" cmpd="sng" algn="ctr">
            <a:solidFill>
              <a:srgbClr val="005073"/>
            </a:solidFill>
            <a:prstDash val="solid"/>
          </a:ln>
          <a:effectLst/>
        </p:spPr>
        <p:txBody>
          <a:bodyPr wrap="none"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err="1">
                <a:ln>
                  <a:noFill/>
                </a:ln>
                <a:solidFill>
                  <a:srgbClr val="282828"/>
                </a:solidFill>
                <a:effectLst/>
                <a:uLnTx/>
                <a:uFillTx/>
                <a:latin typeface="CiscoSansTT ExtraLight"/>
                <a:ea typeface=""/>
                <a:cs typeface=""/>
              </a:rPr>
              <a:t>BGP</a:t>
            </a:r>
            <a:endParaRPr kumimoji="0" lang="en-US" sz="1000" b="0" i="0" u="none" strike="noStrike" kern="0" cap="none" spc="0" normalizeH="0" baseline="0" noProof="0" dirty="0">
              <a:ln>
                <a:noFill/>
              </a:ln>
              <a:solidFill>
                <a:srgbClr val="282828"/>
              </a:solidFill>
              <a:effectLst/>
              <a:uLnTx/>
              <a:uFillTx/>
              <a:latin typeface="CiscoSansTT ExtraLight"/>
              <a:ea typeface=""/>
              <a:cs typeface=""/>
            </a:endParaRPr>
          </a:p>
        </p:txBody>
      </p:sp>
      <p:cxnSp>
        <p:nvCxnSpPr>
          <p:cNvPr id="7" name="Straight Arrow Connector 6">
            <a:extLst>
              <a:ext uri="{FF2B5EF4-FFF2-40B4-BE49-F238E27FC236}">
                <a16:creationId xmlns:a16="http://schemas.microsoft.com/office/drawing/2014/main" id="{A2AF63B4-88D4-7D40-9617-0463F285BB1D}"/>
              </a:ext>
            </a:extLst>
          </p:cNvPr>
          <p:cNvCxnSpPr>
            <a:cxnSpLocks/>
          </p:cNvCxnSpPr>
          <p:nvPr/>
        </p:nvCxnSpPr>
        <p:spPr>
          <a:xfrm>
            <a:off x="2700867" y="1261510"/>
            <a:ext cx="4486344" cy="0"/>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5CE12A6-3975-AF43-B1B0-52E05639E9E6}"/>
              </a:ext>
            </a:extLst>
          </p:cNvPr>
          <p:cNvSpPr txBox="1"/>
          <p:nvPr/>
        </p:nvSpPr>
        <p:spPr>
          <a:xfrm>
            <a:off x="4002051" y="895263"/>
            <a:ext cx="2004075" cy="369332"/>
          </a:xfrm>
          <a:prstGeom prst="rect">
            <a:avLst/>
          </a:prstGeom>
          <a:noFill/>
        </p:spPr>
        <p:txBody>
          <a:bodyPr wrap="none" rtlCol="0">
            <a:spAutoFit/>
          </a:bodyPr>
          <a:lstStyle/>
          <a:p>
            <a:r>
              <a:rPr lang="en-US" sz="1800" dirty="0">
                <a:latin typeface="+mn-lt"/>
              </a:rPr>
              <a:t>Industry Evolution</a:t>
            </a:r>
          </a:p>
        </p:txBody>
      </p:sp>
      <p:sp>
        <p:nvSpPr>
          <p:cNvPr id="45" name="TextBox 44">
            <a:extLst>
              <a:ext uri="{FF2B5EF4-FFF2-40B4-BE49-F238E27FC236}">
                <a16:creationId xmlns:a16="http://schemas.microsoft.com/office/drawing/2014/main" id="{CA57EBCB-8A67-944B-8AC1-5D011DD5F3D8}"/>
              </a:ext>
            </a:extLst>
          </p:cNvPr>
          <p:cNvSpPr txBox="1"/>
          <p:nvPr/>
        </p:nvSpPr>
        <p:spPr>
          <a:xfrm flipH="1">
            <a:off x="2308422" y="3857048"/>
            <a:ext cx="1442721" cy="307777"/>
          </a:xfrm>
          <a:prstGeom prst="rect">
            <a:avLst/>
          </a:prstGeom>
          <a:noFill/>
        </p:spPr>
        <p:txBody>
          <a:bodyPr wrap="square" rtlCol="0">
            <a:spAutoFit/>
          </a:bodyPr>
          <a:lstStyle/>
          <a:p>
            <a:pPr algn="ctr" defTabSz="457200" fontAlgn="base">
              <a:spcBef>
                <a:spcPct val="0"/>
              </a:spcBef>
              <a:spcAft>
                <a:spcPct val="0"/>
              </a:spcAft>
            </a:pPr>
            <a:r>
              <a:rPr lang="en-US" sz="1400" b="1" dirty="0">
                <a:solidFill>
                  <a:srgbClr val="39393B"/>
                </a:solidFill>
                <a:latin typeface="+mn-lt"/>
                <a:ea typeface="ＭＳ Ｐゴシック" pitchFamily="34" charset="-128"/>
                <a:cs typeface=""/>
              </a:rPr>
              <a:t>UMMT</a:t>
            </a:r>
          </a:p>
        </p:txBody>
      </p:sp>
      <p:sp>
        <p:nvSpPr>
          <p:cNvPr id="46" name="TextBox 45">
            <a:extLst>
              <a:ext uri="{FF2B5EF4-FFF2-40B4-BE49-F238E27FC236}">
                <a16:creationId xmlns:a16="http://schemas.microsoft.com/office/drawing/2014/main" id="{D8E383A2-40F5-0A41-AF8C-4A401661CE42}"/>
              </a:ext>
            </a:extLst>
          </p:cNvPr>
          <p:cNvSpPr txBox="1"/>
          <p:nvPr/>
        </p:nvSpPr>
        <p:spPr>
          <a:xfrm flipH="1">
            <a:off x="4203261" y="3857853"/>
            <a:ext cx="1442721" cy="307777"/>
          </a:xfrm>
          <a:prstGeom prst="rect">
            <a:avLst/>
          </a:prstGeom>
          <a:noFill/>
        </p:spPr>
        <p:txBody>
          <a:bodyPr wrap="square" rtlCol="0">
            <a:spAutoFit/>
          </a:bodyPr>
          <a:lstStyle/>
          <a:p>
            <a:pPr algn="ctr" defTabSz="457200" fontAlgn="base">
              <a:spcBef>
                <a:spcPct val="0"/>
              </a:spcBef>
              <a:spcAft>
                <a:spcPct val="0"/>
              </a:spcAft>
            </a:pPr>
            <a:r>
              <a:rPr lang="en-US" sz="1400" b="1">
                <a:solidFill>
                  <a:srgbClr val="39393B"/>
                </a:solidFill>
                <a:latin typeface="+mn-lt"/>
                <a:ea typeface="ＭＳ Ｐゴシック" pitchFamily="34" charset="-128"/>
                <a:cs typeface=""/>
              </a:rPr>
              <a:t>EPN 5.0</a:t>
            </a:r>
            <a:endParaRPr lang="en-US" sz="1400" b="1" dirty="0">
              <a:solidFill>
                <a:srgbClr val="39393B"/>
              </a:solidFill>
              <a:latin typeface="+mn-lt"/>
              <a:ea typeface="ＭＳ Ｐゴシック" pitchFamily="34" charset="-128"/>
              <a:cs typeface=""/>
            </a:endParaRPr>
          </a:p>
        </p:txBody>
      </p:sp>
      <p:sp>
        <p:nvSpPr>
          <p:cNvPr id="47" name="TextBox 46">
            <a:extLst>
              <a:ext uri="{FF2B5EF4-FFF2-40B4-BE49-F238E27FC236}">
                <a16:creationId xmlns:a16="http://schemas.microsoft.com/office/drawing/2014/main" id="{951D4870-01C5-6B41-8718-2AE4A977F914}"/>
              </a:ext>
            </a:extLst>
          </p:cNvPr>
          <p:cNvSpPr txBox="1"/>
          <p:nvPr/>
        </p:nvSpPr>
        <p:spPr>
          <a:xfrm flipH="1">
            <a:off x="5837144" y="3848144"/>
            <a:ext cx="1832095" cy="523220"/>
          </a:xfrm>
          <a:prstGeom prst="rect">
            <a:avLst/>
          </a:prstGeom>
          <a:noFill/>
        </p:spPr>
        <p:txBody>
          <a:bodyPr wrap="square" rtlCol="0">
            <a:spAutoFit/>
          </a:bodyPr>
          <a:lstStyle/>
          <a:p>
            <a:pPr algn="ctr" defTabSz="457200" fontAlgn="base">
              <a:spcBef>
                <a:spcPct val="0"/>
              </a:spcBef>
              <a:spcAft>
                <a:spcPct val="0"/>
              </a:spcAft>
            </a:pPr>
            <a:r>
              <a:rPr lang="en-US" sz="1400" b="1" dirty="0">
                <a:solidFill>
                  <a:srgbClr val="39393B"/>
                </a:solidFill>
                <a:ea typeface="ＭＳ Ｐゴシック" pitchFamily="34" charset="-128"/>
                <a:cs typeface=""/>
              </a:rPr>
              <a:t>Converged SDN Transport</a:t>
            </a:r>
            <a:endParaRPr lang="en-US" sz="1400" b="1" dirty="0">
              <a:solidFill>
                <a:srgbClr val="39393B"/>
              </a:solidFill>
              <a:latin typeface="+mn-lt"/>
              <a:ea typeface="ＭＳ Ｐゴシック" pitchFamily="34" charset="-128"/>
              <a:cs typeface=""/>
            </a:endParaRPr>
          </a:p>
        </p:txBody>
      </p:sp>
      <p:sp>
        <p:nvSpPr>
          <p:cNvPr id="48" name="TextBox 47">
            <a:extLst>
              <a:ext uri="{FF2B5EF4-FFF2-40B4-BE49-F238E27FC236}">
                <a16:creationId xmlns:a16="http://schemas.microsoft.com/office/drawing/2014/main" id="{D55DEFA4-1A81-B24C-B61E-C37415330A76}"/>
              </a:ext>
            </a:extLst>
          </p:cNvPr>
          <p:cNvSpPr txBox="1"/>
          <p:nvPr/>
        </p:nvSpPr>
        <p:spPr>
          <a:xfrm>
            <a:off x="2915456" y="4299662"/>
            <a:ext cx="1741182" cy="369332"/>
          </a:xfrm>
          <a:prstGeom prst="rect">
            <a:avLst/>
          </a:prstGeom>
          <a:noFill/>
        </p:spPr>
        <p:txBody>
          <a:bodyPr wrap="none" rtlCol="0">
            <a:spAutoFit/>
          </a:bodyPr>
          <a:lstStyle/>
          <a:p>
            <a:r>
              <a:rPr lang="en-US" sz="1800" dirty="0">
                <a:latin typeface="+mn-lt"/>
              </a:rPr>
              <a:t>From Solutions</a:t>
            </a:r>
          </a:p>
        </p:txBody>
      </p:sp>
      <p:sp>
        <p:nvSpPr>
          <p:cNvPr id="49" name="TextBox 48">
            <a:extLst>
              <a:ext uri="{FF2B5EF4-FFF2-40B4-BE49-F238E27FC236}">
                <a16:creationId xmlns:a16="http://schemas.microsoft.com/office/drawing/2014/main" id="{21BC0D2D-49FA-FB44-8C4A-EA6472CAEA6E}"/>
              </a:ext>
            </a:extLst>
          </p:cNvPr>
          <p:cNvSpPr txBox="1"/>
          <p:nvPr/>
        </p:nvSpPr>
        <p:spPr>
          <a:xfrm>
            <a:off x="6071599" y="4291384"/>
            <a:ext cx="1350050" cy="369332"/>
          </a:xfrm>
          <a:prstGeom prst="rect">
            <a:avLst/>
          </a:prstGeom>
          <a:noFill/>
        </p:spPr>
        <p:txBody>
          <a:bodyPr wrap="none" rtlCol="0">
            <a:spAutoFit/>
          </a:bodyPr>
          <a:lstStyle/>
          <a:p>
            <a:r>
              <a:rPr lang="en-US" sz="1800" dirty="0">
                <a:latin typeface="+mn-lt"/>
              </a:rPr>
              <a:t>To Designs</a:t>
            </a:r>
          </a:p>
        </p:txBody>
      </p:sp>
      <p:sp>
        <p:nvSpPr>
          <p:cNvPr id="50" name="TextBox 49">
            <a:extLst>
              <a:ext uri="{FF2B5EF4-FFF2-40B4-BE49-F238E27FC236}">
                <a16:creationId xmlns:a16="http://schemas.microsoft.com/office/drawing/2014/main" id="{934B3EBB-198E-7140-A3B3-D2CA96EEB818}"/>
              </a:ext>
            </a:extLst>
          </p:cNvPr>
          <p:cNvSpPr txBox="1"/>
          <p:nvPr/>
        </p:nvSpPr>
        <p:spPr>
          <a:xfrm>
            <a:off x="584363" y="3882924"/>
            <a:ext cx="1710267" cy="738664"/>
          </a:xfrm>
          <a:prstGeom prst="rect">
            <a:avLst/>
          </a:prstGeom>
          <a:noFill/>
        </p:spPr>
        <p:txBody>
          <a:bodyPr wrap="square" rtlCol="0">
            <a:spAutoFit/>
          </a:bodyPr>
          <a:lstStyle/>
          <a:p>
            <a:pPr algn="r"/>
            <a:r>
              <a:rPr lang="en-US" sz="1400" dirty="0">
                <a:latin typeface="+mn-lt"/>
              </a:rPr>
              <a:t>Cisco validated architectures journey</a:t>
            </a:r>
          </a:p>
        </p:txBody>
      </p:sp>
      <p:sp>
        <p:nvSpPr>
          <p:cNvPr id="51" name="Left Brace 50">
            <a:extLst>
              <a:ext uri="{FF2B5EF4-FFF2-40B4-BE49-F238E27FC236}">
                <a16:creationId xmlns:a16="http://schemas.microsoft.com/office/drawing/2014/main" id="{32CC241B-6655-8945-B534-3619BACF3A1E}"/>
              </a:ext>
            </a:extLst>
          </p:cNvPr>
          <p:cNvSpPr/>
          <p:nvPr/>
        </p:nvSpPr>
        <p:spPr>
          <a:xfrm>
            <a:off x="2376617" y="3843199"/>
            <a:ext cx="163456" cy="865174"/>
          </a:xfrm>
          <a:prstGeom prst="leftBrace">
            <a:avLst>
              <a:gd name="adj1" fmla="val 51758"/>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Rectangle 1">
            <a:extLst>
              <a:ext uri="{FF2B5EF4-FFF2-40B4-BE49-F238E27FC236}">
                <a16:creationId xmlns:a16="http://schemas.microsoft.com/office/drawing/2014/main" id="{527637ED-7B1F-6342-8977-288381620CC5}"/>
              </a:ext>
            </a:extLst>
          </p:cNvPr>
          <p:cNvSpPr/>
          <p:nvPr/>
        </p:nvSpPr>
        <p:spPr>
          <a:xfrm>
            <a:off x="7523636" y="1424750"/>
            <a:ext cx="1285022" cy="2308324"/>
          </a:xfrm>
          <a:prstGeom prst="rect">
            <a:avLst/>
          </a:prstGeom>
        </p:spPr>
        <p:txBody>
          <a:bodyPr wrap="square">
            <a:spAutoFit/>
          </a:bodyPr>
          <a:lstStyle/>
          <a:p>
            <a:pPr algn="ctr"/>
            <a:br>
              <a:rPr lang="en-US" sz="1800" b="1" dirty="0">
                <a:solidFill>
                  <a:schemeClr val="tx2"/>
                </a:solidFill>
              </a:rPr>
            </a:br>
            <a:r>
              <a:rPr lang="en-US" sz="1800" b="1" dirty="0">
                <a:solidFill>
                  <a:schemeClr val="tx2"/>
                </a:solidFill>
              </a:rPr>
              <a:t>Control Plane Protocol stack reduced by more than 50%</a:t>
            </a:r>
          </a:p>
        </p:txBody>
      </p:sp>
    </p:spTree>
    <p:extLst>
      <p:ext uri="{BB962C8B-B14F-4D97-AF65-F5344CB8AC3E}">
        <p14:creationId xmlns:p14="http://schemas.microsoft.com/office/powerpoint/2010/main" val="68542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807" y="0"/>
            <a:ext cx="1727668" cy="49708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hlinkClick r:id="rId3" action="ppaction://hlinksldjump"/>
          </p:cNvPr>
          <p:cNvSpPr txBox="1"/>
          <p:nvPr/>
        </p:nvSpPr>
        <p:spPr>
          <a:xfrm>
            <a:off x="74557" y="43106"/>
            <a:ext cx="1535424" cy="253916"/>
          </a:xfrm>
          <a:prstGeom prst="rect">
            <a:avLst/>
          </a:prstGeom>
          <a:noFill/>
        </p:spPr>
        <p:txBody>
          <a:bodyPr wrap="square" rtlCol="0">
            <a:spAutoFit/>
          </a:bodyPr>
          <a:lstStyle>
            <a:defPPr>
              <a:defRPr lang="en-US"/>
            </a:defPPr>
            <a:lvl1pPr algn="ctr" defTabSz="457200" fontAlgn="base">
              <a:spcBef>
                <a:spcPct val="0"/>
              </a:spcBef>
              <a:spcAft>
                <a:spcPct val="0"/>
              </a:spcAft>
              <a:defRPr sz="1050" b="1">
                <a:solidFill>
                  <a:srgbClr val="FFFFFF">
                    <a:lumMod val="50000"/>
                  </a:srgbClr>
                </a:solidFill>
                <a:latin typeface="CiscoSansTT ExtraLight"/>
                <a:ea typeface="CiscoSansTT Light" charset="0"/>
                <a:cs typeface="CiscoSansTT Light" charset="0"/>
              </a:defRPr>
            </a:lvl1pPr>
          </a:lstStyle>
          <a:p>
            <a:r>
              <a:rPr lang="en-US" dirty="0">
                <a:solidFill>
                  <a:schemeClr val="bg1"/>
                </a:solidFill>
              </a:rPr>
              <a:t>Peering Fabric Design</a:t>
            </a:r>
          </a:p>
        </p:txBody>
      </p:sp>
      <p:pic>
        <p:nvPicPr>
          <p:cNvPr id="153" name="Picture 15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8389" y="4131733"/>
            <a:ext cx="1555814" cy="116686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2551" y="2832744"/>
            <a:ext cx="3685553" cy="1358900"/>
          </a:xfrm>
          <a:prstGeom prst="rect">
            <a:avLst/>
          </a:prstGeom>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05399" y="2836333"/>
            <a:ext cx="4038599" cy="1295400"/>
          </a:xfrm>
          <a:prstGeom prst="rect">
            <a:avLst/>
          </a:prstGeom>
        </p:spPr>
      </p:pic>
      <p:sp>
        <p:nvSpPr>
          <p:cNvPr id="48" name="Rectangle 47"/>
          <p:cNvSpPr/>
          <p:nvPr/>
        </p:nvSpPr>
        <p:spPr>
          <a:xfrm>
            <a:off x="1292853" y="828213"/>
            <a:ext cx="1497846" cy="253916"/>
          </a:xfrm>
          <a:prstGeom prst="rect">
            <a:avLst/>
          </a:prstGeom>
        </p:spPr>
        <p:txBody>
          <a:bodyPr wrap="none">
            <a:spAutoFit/>
          </a:bodyPr>
          <a:lstStyle/>
          <a:p>
            <a:pPr marL="1785" indent="0">
              <a:buNone/>
            </a:pPr>
            <a:r>
              <a:rPr lang="en-US" sz="1050" b="1" dirty="0">
                <a:solidFill>
                  <a:schemeClr val="accent1"/>
                </a:solidFill>
                <a:latin typeface="CiscoSansTT" charset="0"/>
                <a:ea typeface="CiscoSansTT" charset="0"/>
                <a:cs typeface="CiscoSansTT" charset="0"/>
              </a:rPr>
              <a:t>Option 1: Integrated</a:t>
            </a:r>
          </a:p>
        </p:txBody>
      </p:sp>
      <p:sp>
        <p:nvSpPr>
          <p:cNvPr id="49" name="Rectangle 48"/>
          <p:cNvSpPr/>
          <p:nvPr/>
        </p:nvSpPr>
        <p:spPr>
          <a:xfrm>
            <a:off x="5919853" y="831986"/>
            <a:ext cx="1541128" cy="253916"/>
          </a:xfrm>
          <a:prstGeom prst="rect">
            <a:avLst/>
          </a:prstGeom>
        </p:spPr>
        <p:txBody>
          <a:bodyPr wrap="none">
            <a:spAutoFit/>
          </a:bodyPr>
          <a:lstStyle/>
          <a:p>
            <a:pPr marL="1785" indent="0">
              <a:buNone/>
            </a:pPr>
            <a:r>
              <a:rPr lang="en-US" sz="1050" b="1" dirty="0">
                <a:solidFill>
                  <a:schemeClr val="accent1"/>
                </a:solidFill>
                <a:latin typeface="CiscoSansTT" charset="0"/>
                <a:ea typeface="CiscoSansTT" charset="0"/>
                <a:cs typeface="CiscoSansTT" charset="0"/>
              </a:rPr>
              <a:t>Option 2: Distributed</a:t>
            </a:r>
          </a:p>
        </p:txBody>
      </p:sp>
      <p:cxnSp>
        <p:nvCxnSpPr>
          <p:cNvPr id="8" name="Straight Connector 7"/>
          <p:cNvCxnSpPr/>
          <p:nvPr/>
        </p:nvCxnSpPr>
        <p:spPr bwMode="auto">
          <a:xfrm>
            <a:off x="4380499" y="1134686"/>
            <a:ext cx="0" cy="3602414"/>
          </a:xfrm>
          <a:prstGeom prst="line">
            <a:avLst/>
          </a:prstGeom>
          <a:solidFill>
            <a:srgbClr val="0183B7"/>
          </a:solidFill>
          <a:ln w="19050" cap="flat" cmpd="sng" algn="ctr">
            <a:solidFill>
              <a:schemeClr val="accent1"/>
            </a:solidFill>
            <a:prstDash val="solid"/>
            <a:round/>
            <a:headEnd type="none" w="med" len="med"/>
            <a:tailEnd type="none" w="med" len="med"/>
          </a:ln>
          <a:effectLst/>
        </p:spPr>
      </p:cxnSp>
      <p:sp>
        <p:nvSpPr>
          <p:cNvPr id="9" name="Rectangle 8"/>
          <p:cNvSpPr/>
          <p:nvPr/>
        </p:nvSpPr>
        <p:spPr>
          <a:xfrm>
            <a:off x="46454" y="1360304"/>
            <a:ext cx="4260075" cy="830997"/>
          </a:xfrm>
          <a:prstGeom prst="rect">
            <a:avLst/>
          </a:prstGeom>
        </p:spPr>
        <p:txBody>
          <a:bodyPr wrap="square">
            <a:spAutoFit/>
          </a:bodyPr>
          <a:lstStyle/>
          <a:p>
            <a:pPr marL="171450" indent="-171450">
              <a:buFont typeface="Arial" charset="0"/>
              <a:buChar char="•"/>
            </a:pPr>
            <a:r>
              <a:rPr lang="en-US" sz="1200" dirty="0">
                <a:latin typeface="CiscoSansTT Light" charset="0"/>
                <a:ea typeface="CiscoSansTT Light" charset="0"/>
                <a:cs typeface="CiscoSansTT Light" charset="0"/>
              </a:rPr>
              <a:t>Peer termination and core connectivity combined in the same network device.</a:t>
            </a:r>
          </a:p>
          <a:p>
            <a:pPr marL="171450" indent="-171450">
              <a:buFont typeface="Arial" charset="0"/>
              <a:buChar char="•"/>
            </a:pPr>
            <a:endParaRPr lang="en-US" sz="1200" dirty="0">
              <a:latin typeface="CiscoSansTT Light" charset="0"/>
              <a:ea typeface="CiscoSansTT Light" charset="0"/>
              <a:cs typeface="CiscoSansTT Light" charset="0"/>
            </a:endParaRPr>
          </a:p>
          <a:p>
            <a:pPr marL="171450" indent="-171450">
              <a:buFont typeface="Arial" charset="0"/>
              <a:buChar char="•"/>
            </a:pPr>
            <a:r>
              <a:rPr lang="en-US" sz="1200" dirty="0">
                <a:latin typeface="CiscoSansTT Light" charset="0"/>
                <a:ea typeface="CiscoSansTT Light" charset="0"/>
                <a:cs typeface="CiscoSansTT Light" charset="0"/>
              </a:rPr>
              <a:t>It can be migrated to a distributed design.    </a:t>
            </a:r>
          </a:p>
        </p:txBody>
      </p:sp>
      <p:sp>
        <p:nvSpPr>
          <p:cNvPr id="10" name="Rectangle 9"/>
          <p:cNvSpPr/>
          <p:nvPr/>
        </p:nvSpPr>
        <p:spPr>
          <a:xfrm>
            <a:off x="4380498" y="1160964"/>
            <a:ext cx="4763500" cy="1384995"/>
          </a:xfrm>
          <a:prstGeom prst="rect">
            <a:avLst/>
          </a:prstGeom>
        </p:spPr>
        <p:txBody>
          <a:bodyPr wrap="square">
            <a:spAutoFit/>
          </a:bodyPr>
          <a:lstStyle/>
          <a:p>
            <a:pPr marL="285750" indent="-285750">
              <a:buFont typeface="Arial" charset="0"/>
              <a:buChar char="•"/>
            </a:pPr>
            <a:r>
              <a:rPr lang="en-US" sz="1200" dirty="0">
                <a:latin typeface="CiscoSansTT Light" charset="0"/>
                <a:ea typeface="CiscoSansTT Light" charset="0"/>
                <a:cs typeface="CiscoSansTT Light" charset="0"/>
              </a:rPr>
              <a:t>Physical and logical separation of network functions.</a:t>
            </a:r>
          </a:p>
          <a:p>
            <a:pPr marL="285750" indent="-285750">
              <a:buFont typeface="Arial" charset="0"/>
              <a:buChar char="•"/>
            </a:pPr>
            <a:endParaRPr lang="en-US" sz="1200" dirty="0">
              <a:latin typeface="CiscoSansTT Light" charset="0"/>
              <a:ea typeface="CiscoSansTT Light" charset="0"/>
              <a:cs typeface="CiscoSansTT Light" charset="0"/>
            </a:endParaRPr>
          </a:p>
          <a:p>
            <a:pPr marL="285750" indent="-285750">
              <a:buFont typeface="Arial" charset="0"/>
              <a:buChar char="•"/>
            </a:pPr>
            <a:r>
              <a:rPr lang="en-US" sz="1200" dirty="0">
                <a:latin typeface="CiscoSansTT Light" charset="0"/>
                <a:ea typeface="CiscoSansTT Light" charset="0"/>
                <a:cs typeface="CiscoSansTT Light" charset="0"/>
              </a:rPr>
              <a:t>Peering Fabric Leaf (PFL) and Peering Fabric Spine (PFS) roles. </a:t>
            </a:r>
          </a:p>
          <a:p>
            <a:pPr marL="285750" indent="-285750">
              <a:buFont typeface="Arial" charset="0"/>
              <a:buChar char="•"/>
            </a:pPr>
            <a:endParaRPr lang="en-US" sz="1200" dirty="0">
              <a:latin typeface="CiscoSansTT Light" charset="0"/>
              <a:ea typeface="CiscoSansTT Light" charset="0"/>
              <a:cs typeface="CiscoSansTT Light" charset="0"/>
            </a:endParaRPr>
          </a:p>
          <a:p>
            <a:pPr marL="285750" indent="-285750">
              <a:buFont typeface="Arial" charset="0"/>
              <a:buChar char="•"/>
            </a:pPr>
            <a:r>
              <a:rPr lang="en-US" sz="1200" dirty="0">
                <a:latin typeface="CiscoSansTT Light" charset="0"/>
                <a:ea typeface="CiscoSansTT Light" charset="0"/>
                <a:cs typeface="CiscoSansTT Light" charset="0"/>
              </a:rPr>
              <a:t>Peering evolution towards datacenter design with </a:t>
            </a:r>
            <a:r>
              <a:rPr lang="en-US" sz="1200" dirty="0" err="1">
                <a:latin typeface="CiscoSansTT Light" charset="0"/>
                <a:ea typeface="CiscoSansTT Light" charset="0"/>
                <a:cs typeface="CiscoSansTT Light" charset="0"/>
              </a:rPr>
              <a:t>ToR</a:t>
            </a:r>
            <a:r>
              <a:rPr lang="en-US" sz="1200" dirty="0">
                <a:latin typeface="CiscoSansTT Light" charset="0"/>
                <a:ea typeface="CiscoSansTT Light" charset="0"/>
                <a:cs typeface="CiscoSansTT Light" charset="0"/>
              </a:rPr>
              <a:t> devices. </a:t>
            </a:r>
          </a:p>
        </p:txBody>
      </p:sp>
      <p:sp>
        <p:nvSpPr>
          <p:cNvPr id="54" name="Rectangle 53"/>
          <p:cNvSpPr/>
          <p:nvPr/>
        </p:nvSpPr>
        <p:spPr>
          <a:xfrm>
            <a:off x="0" y="497090"/>
            <a:ext cx="9143999" cy="238527"/>
          </a:xfrm>
          <a:prstGeom prst="rect">
            <a:avLst/>
          </a:prstGeom>
          <a:noFill/>
        </p:spPr>
        <p:txBody>
          <a:bodyPr wrap="square" rtlCol="0">
            <a:spAutoFit/>
          </a:bodyPr>
          <a:lstStyle/>
          <a:p>
            <a:pPr algn="ctr"/>
            <a:endParaRPr lang="en-US" sz="950" dirty="0">
              <a:solidFill>
                <a:srgbClr val="595959">
                  <a:lumMod val="50000"/>
                  <a:alpha val="80000"/>
                </a:srgbClr>
              </a:solidFill>
              <a:latin typeface="CiscoSansTT" charset="0"/>
              <a:ea typeface="CiscoSansTT" charset="0"/>
              <a:cs typeface="CiscoSansTT" charset="0"/>
            </a:endParaRPr>
          </a:p>
        </p:txBody>
      </p:sp>
      <p:sp>
        <p:nvSpPr>
          <p:cNvPr id="55" name="Rectangle 54"/>
          <p:cNvSpPr/>
          <p:nvPr/>
        </p:nvSpPr>
        <p:spPr>
          <a:xfrm>
            <a:off x="0" y="497089"/>
            <a:ext cx="9143999" cy="298439"/>
          </a:xfrm>
          <a:prstGeom prst="rect">
            <a:avLst/>
          </a:prstGeom>
          <a:solidFill>
            <a:srgbClr val="FFFFFF">
              <a:lumMod val="95000"/>
            </a:srgbClr>
          </a:solidFill>
          <a:ln w="25400" cap="flat" cmpd="sng" algn="ctr">
            <a:noFill/>
            <a:prstDash val="solid"/>
          </a:ln>
          <a:effectLst/>
        </p:spPr>
        <p:txBody>
          <a:bodyPr rtlCol="0" anchor="ctr"/>
          <a:lstStyle/>
          <a:p>
            <a:pPr algn="ctr" defTabSz="457200" fontAlgn="base">
              <a:spcBef>
                <a:spcPct val="0"/>
              </a:spcBef>
              <a:spcAft>
                <a:spcPct val="0"/>
              </a:spcAft>
              <a:defRPr/>
            </a:pPr>
            <a:endParaRPr lang="en-US" sz="1800" kern="0" dirty="0">
              <a:solidFill>
                <a:srgbClr val="005073"/>
              </a:solidFill>
              <a:latin typeface="CiscoSansTT ExtraLight"/>
              <a:ea typeface=""/>
              <a:cs typeface=""/>
            </a:endParaRPr>
          </a:p>
        </p:txBody>
      </p:sp>
      <p:sp>
        <p:nvSpPr>
          <p:cNvPr id="56" name="TextBox 55">
            <a:hlinkClick r:id="" action="ppaction://noaction"/>
          </p:cNvPr>
          <p:cNvSpPr txBox="1"/>
          <p:nvPr/>
        </p:nvSpPr>
        <p:spPr>
          <a:xfrm>
            <a:off x="-382955" y="529073"/>
            <a:ext cx="1912281"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Overview</a:t>
            </a:r>
          </a:p>
        </p:txBody>
      </p:sp>
      <p:sp>
        <p:nvSpPr>
          <p:cNvPr id="57" name="TextBox 56">
            <a:hlinkClick r:id="" action="ppaction://noaction"/>
          </p:cNvPr>
          <p:cNvSpPr txBox="1"/>
          <p:nvPr/>
        </p:nvSpPr>
        <p:spPr>
          <a:xfrm>
            <a:off x="1046011" y="529072"/>
            <a:ext cx="1884405" cy="238527"/>
          </a:xfrm>
          <a:prstGeom prst="rect">
            <a:avLst/>
          </a:prstGeom>
          <a:noFill/>
        </p:spPr>
        <p:txBody>
          <a:bodyPr wrap="square" rtlCol="0">
            <a:spAutoFit/>
          </a:bodyPr>
          <a:lstStyle>
            <a:defPPr>
              <a:defRPr lang="en-US"/>
            </a:defPPr>
            <a:lvl1pPr algn="ctr">
              <a:defRPr sz="950" b="1">
                <a:solidFill>
                  <a:srgbClr val="00A3DE"/>
                </a:solidFill>
                <a:latin typeface="CiscoSansTT" charset="0"/>
                <a:ea typeface="CiscoSansTT" charset="0"/>
                <a:cs typeface="CiscoSansTT" charset="0"/>
              </a:defRPr>
            </a:lvl1pPr>
          </a:lstStyle>
          <a:p>
            <a:r>
              <a:rPr lang="en-US" dirty="0"/>
              <a:t>Design Options</a:t>
            </a:r>
          </a:p>
        </p:txBody>
      </p:sp>
      <p:sp>
        <p:nvSpPr>
          <p:cNvPr id="58" name="TextBox 57">
            <a:hlinkClick r:id="" action="ppaction://noaction"/>
          </p:cNvPr>
          <p:cNvSpPr txBox="1"/>
          <p:nvPr/>
        </p:nvSpPr>
        <p:spPr>
          <a:xfrm>
            <a:off x="4332605" y="534872"/>
            <a:ext cx="1884405"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Automation &amp; Telemetry</a:t>
            </a:r>
          </a:p>
        </p:txBody>
      </p:sp>
      <p:sp>
        <p:nvSpPr>
          <p:cNvPr id="59" name="TextBox 58">
            <a:hlinkClick r:id="" action="ppaction://noaction"/>
          </p:cNvPr>
          <p:cNvSpPr txBox="1"/>
          <p:nvPr/>
        </p:nvSpPr>
        <p:spPr>
          <a:xfrm>
            <a:off x="5901950" y="540366"/>
            <a:ext cx="1884405"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Segment Routing</a:t>
            </a:r>
          </a:p>
        </p:txBody>
      </p:sp>
      <p:sp>
        <p:nvSpPr>
          <p:cNvPr id="60" name="TextBox 59">
            <a:hlinkClick r:id="" action="ppaction://noaction"/>
          </p:cNvPr>
          <p:cNvSpPr txBox="1"/>
          <p:nvPr/>
        </p:nvSpPr>
        <p:spPr>
          <a:xfrm>
            <a:off x="2774633" y="540365"/>
            <a:ext cx="1884405" cy="238527"/>
          </a:xfrm>
          <a:prstGeom prst="rect">
            <a:avLst/>
          </a:prstGeom>
          <a:noFill/>
        </p:spPr>
        <p:txBody>
          <a:bodyPr wrap="square" rtlCol="0">
            <a:spAutoFit/>
          </a:bodyPr>
          <a:lstStyle/>
          <a:p>
            <a:pPr algn="ctr"/>
            <a:r>
              <a:rPr lang="en-US" sz="950" dirty="0">
                <a:solidFill>
                  <a:srgbClr val="595959">
                    <a:lumMod val="50000"/>
                    <a:alpha val="80000"/>
                  </a:srgbClr>
                </a:solidFill>
                <a:latin typeface="CiscoSansTT" charset="0"/>
                <a:ea typeface="CiscoSansTT" charset="0"/>
                <a:cs typeface="CiscoSansTT" charset="0"/>
              </a:rPr>
              <a:t>Distributed Design</a:t>
            </a:r>
          </a:p>
        </p:txBody>
      </p:sp>
      <p:sp>
        <p:nvSpPr>
          <p:cNvPr id="61" name="TextBox 60">
            <a:hlinkClick r:id="" action="ppaction://noaction"/>
          </p:cNvPr>
          <p:cNvSpPr txBox="1"/>
          <p:nvPr/>
        </p:nvSpPr>
        <p:spPr>
          <a:xfrm>
            <a:off x="7459922" y="529075"/>
            <a:ext cx="1884405" cy="238527"/>
          </a:xfrm>
          <a:prstGeom prst="rect">
            <a:avLst/>
          </a:prstGeom>
          <a:noFill/>
        </p:spPr>
        <p:txBody>
          <a:bodyPr wrap="square" rtlCol="0">
            <a:spAutoFit/>
          </a:bodyPr>
          <a:lstStyle/>
          <a:p>
            <a:pPr algn="ctr"/>
            <a:r>
              <a:rPr lang="en-US" sz="950" dirty="0">
                <a:solidFill>
                  <a:srgbClr val="595959">
                    <a:lumMod val="50000"/>
                    <a:alpha val="80000"/>
                  </a:srgbClr>
                </a:solidFill>
                <a:latin typeface="CiscoSansTT" charset="0"/>
                <a:ea typeface="CiscoSansTT" charset="0"/>
                <a:cs typeface="CiscoSansTT" charset="0"/>
              </a:rPr>
              <a:t>Configuration BP</a:t>
            </a:r>
          </a:p>
        </p:txBody>
      </p:sp>
    </p:spTree>
    <p:extLst>
      <p:ext uri="{BB962C8B-B14F-4D97-AF65-F5344CB8AC3E}">
        <p14:creationId xmlns:p14="http://schemas.microsoft.com/office/powerpoint/2010/main" val="52320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59"/>
          <p:cNvSpPr/>
          <p:nvPr/>
        </p:nvSpPr>
        <p:spPr>
          <a:xfrm>
            <a:off x="3335356" y="1082536"/>
            <a:ext cx="2142640" cy="1266225"/>
          </a:xfrm>
          <a:prstGeom prst="roundRect">
            <a:avLst/>
          </a:prstGeom>
          <a:solidFill>
            <a:srgbClr val="0498D1">
              <a:lumMod val="40000"/>
              <a:lumOff val="60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
              <a:cs typeface=""/>
            </a:endParaRPr>
          </a:p>
        </p:txBody>
      </p:sp>
      <p:pic>
        <p:nvPicPr>
          <p:cNvPr id="41" name="Picture 4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8389" y="4131733"/>
            <a:ext cx="1555814" cy="1166860"/>
          </a:xfrm>
          <a:prstGeom prst="rect">
            <a:avLst/>
          </a:prstGeom>
        </p:spPr>
      </p:pic>
      <p:sp>
        <p:nvSpPr>
          <p:cNvPr id="279" name="Content Placeholder 3"/>
          <p:cNvSpPr txBox="1">
            <a:spLocks/>
          </p:cNvSpPr>
          <p:nvPr/>
        </p:nvSpPr>
        <p:spPr bwMode="auto">
          <a:xfrm>
            <a:off x="865626" y="2429553"/>
            <a:ext cx="3577537" cy="266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785" indent="0" defTabSz="914400">
              <a:lnSpc>
                <a:spcPct val="150000"/>
              </a:lnSpc>
              <a:buNone/>
            </a:pPr>
            <a:r>
              <a:rPr lang="en-US" sz="1200" b="1" dirty="0">
                <a:solidFill>
                  <a:schemeClr val="accent1"/>
                </a:solidFill>
                <a:latin typeface="CiscoSansTT" charset="0"/>
                <a:ea typeface="CiscoSansTT" charset="0"/>
                <a:cs typeface="CiscoSansTT" charset="0"/>
              </a:rPr>
              <a:t>Peering Fabric Leaf (PFL)</a:t>
            </a:r>
          </a:p>
          <a:p>
            <a:pPr lvl="1" defTabSz="914400">
              <a:lnSpc>
                <a:spcPct val="150000"/>
              </a:lnSpc>
              <a:buFont typeface="Wingdings" charset="2"/>
              <a:buChar char="v"/>
            </a:pPr>
            <a:r>
              <a:rPr lang="en-US" sz="1200" kern="0" dirty="0">
                <a:solidFill>
                  <a:srgbClr val="282828"/>
                </a:solidFill>
                <a:latin typeface="CiscoSansTT ExtraLight"/>
                <a:ea typeface="ＭＳ Ｐゴシック" charset="0"/>
                <a:cs typeface="ＭＳ Ｐゴシック" charset="0"/>
              </a:rPr>
              <a:t>Terminate peers redundantly, so failures are local. </a:t>
            </a:r>
          </a:p>
          <a:p>
            <a:pPr lvl="1" defTabSz="914400">
              <a:buFont typeface="Wingdings" charset="2"/>
              <a:buChar char="v"/>
            </a:pPr>
            <a:endParaRPr lang="en-US" sz="1200" kern="0" dirty="0">
              <a:solidFill>
                <a:srgbClr val="282828"/>
              </a:solidFill>
              <a:latin typeface="CiscoSansTT ExtraLight"/>
              <a:ea typeface="ＭＳ Ｐゴシック" charset="0"/>
              <a:cs typeface="ＭＳ Ｐゴシック" charset="0"/>
            </a:endParaRPr>
          </a:p>
          <a:p>
            <a:pPr lvl="1" defTabSz="914400">
              <a:buFont typeface="Wingdings" charset="2"/>
              <a:buChar char="v"/>
            </a:pPr>
            <a:r>
              <a:rPr lang="en-US" sz="1200" kern="0" dirty="0">
                <a:solidFill>
                  <a:srgbClr val="282828"/>
                </a:solidFill>
                <a:latin typeface="CiscoSansTT ExtraLight"/>
                <a:ea typeface="ＭＳ Ｐゴシック" charset="0"/>
                <a:cs typeface="ＭＳ Ｐゴシック" charset="0"/>
              </a:rPr>
              <a:t>Connect to all PFS’s</a:t>
            </a:r>
          </a:p>
          <a:p>
            <a:pPr lvl="1" defTabSz="914400">
              <a:buFont typeface="Wingdings" charset="2"/>
              <a:buChar char="v"/>
            </a:pPr>
            <a:endParaRPr lang="en-US" sz="1200" kern="0" dirty="0">
              <a:solidFill>
                <a:srgbClr val="282828"/>
              </a:solidFill>
              <a:latin typeface="CiscoSansTT ExtraLight"/>
              <a:ea typeface="ＭＳ Ｐゴシック" charset="0"/>
              <a:cs typeface="ＭＳ Ｐゴシック" charset="0"/>
            </a:endParaRPr>
          </a:p>
          <a:p>
            <a:pPr lvl="1" defTabSz="914400">
              <a:buFont typeface="Wingdings" charset="2"/>
              <a:buChar char="v"/>
            </a:pPr>
            <a:r>
              <a:rPr lang="en-US" sz="1200" kern="0" dirty="0">
                <a:solidFill>
                  <a:srgbClr val="282828"/>
                </a:solidFill>
                <a:latin typeface="CiscoSansTT ExtraLight"/>
                <a:ea typeface="ＭＳ Ｐゴシック" charset="0"/>
                <a:cs typeface="ＭＳ Ｐゴシック" charset="0"/>
              </a:rPr>
              <a:t>Aggregate 3rd party cache/ content nodes.</a:t>
            </a:r>
          </a:p>
          <a:p>
            <a:pPr lvl="1" defTabSz="914400">
              <a:buFont typeface="Wingdings" charset="2"/>
              <a:buChar char="v"/>
            </a:pPr>
            <a:endParaRPr lang="en-US" sz="1200" kern="0" dirty="0">
              <a:solidFill>
                <a:srgbClr val="282828"/>
              </a:solidFill>
              <a:latin typeface="CiscoSansTT ExtraLight"/>
              <a:ea typeface="ＭＳ Ｐゴシック" charset="0"/>
              <a:cs typeface="ＭＳ Ｐゴシック" charset="0"/>
            </a:endParaRPr>
          </a:p>
          <a:p>
            <a:pPr lvl="1" defTabSz="914400">
              <a:buFont typeface="Wingdings" charset="2"/>
              <a:buChar char="v"/>
            </a:pPr>
            <a:r>
              <a:rPr lang="en-US" sz="1200" kern="0" dirty="0">
                <a:solidFill>
                  <a:srgbClr val="282828"/>
                </a:solidFill>
                <a:latin typeface="CiscoSansTT ExtraLight"/>
                <a:ea typeface="ＭＳ Ｐゴシック" charset="0"/>
                <a:cs typeface="ＭＳ Ｐゴシック" charset="0"/>
              </a:rPr>
              <a:t>Security enforcement point.</a:t>
            </a:r>
          </a:p>
          <a:p>
            <a:pPr lvl="1" defTabSz="914400">
              <a:buFont typeface="Wingdings" charset="2"/>
              <a:buChar char="v"/>
            </a:pPr>
            <a:endParaRPr lang="en-US" sz="1200" kern="0" dirty="0">
              <a:solidFill>
                <a:srgbClr val="282828"/>
              </a:solidFill>
              <a:latin typeface="CiscoSansTT ExtraLight"/>
              <a:ea typeface="ＭＳ Ｐゴシック" charset="0"/>
              <a:cs typeface="ＭＳ Ｐゴシック" charset="0"/>
            </a:endParaRPr>
          </a:p>
          <a:p>
            <a:pPr lvl="1" defTabSz="914400">
              <a:buFont typeface="Wingdings" charset="2"/>
              <a:buChar char="v"/>
            </a:pPr>
            <a:r>
              <a:rPr lang="en-US" sz="1200" kern="0" dirty="0">
                <a:solidFill>
                  <a:srgbClr val="282828"/>
                </a:solidFill>
                <a:latin typeface="CiscoSansTT ExtraLight"/>
                <a:ea typeface="ＭＳ Ｐゴシック" charset="0"/>
                <a:cs typeface="ＭＳ Ｐゴシック" charset="0"/>
              </a:rPr>
              <a:t>Export monitoring data.</a:t>
            </a:r>
          </a:p>
          <a:p>
            <a:pPr lvl="1" defTabSz="914400">
              <a:buFont typeface="Wingdings" charset="2"/>
              <a:buChar char="v"/>
            </a:pPr>
            <a:endParaRPr lang="en-US" kern="0" dirty="0"/>
          </a:p>
        </p:txBody>
      </p:sp>
      <p:pic>
        <p:nvPicPr>
          <p:cNvPr id="284" name="Picture 10" descr="C:\Users\ecoffey\AppData\Local\Temp\Rar$DRa0.386\30067_Device_router_default_256.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939143" y="1627777"/>
            <a:ext cx="424262" cy="257714"/>
          </a:xfrm>
          <a:prstGeom prst="rect">
            <a:avLst/>
          </a:prstGeom>
          <a:noFill/>
          <a:extLst>
            <a:ext uri="{909E8E84-426E-40DD-AFC4-6F175D3DCCD1}">
              <a14:hiddenFill xmlns:a14="http://schemas.microsoft.com/office/drawing/2010/main">
                <a:solidFill>
                  <a:srgbClr val="FFFFFF"/>
                </a:solidFill>
              </a14:hiddenFill>
            </a:ext>
          </a:extLst>
        </p:spPr>
      </p:pic>
      <p:pic>
        <p:nvPicPr>
          <p:cNvPr id="285" name="Picture 10" descr="C:\Users\ecoffey\AppData\Local\Temp\Rar$DRa0.386\30067_Device_router_default_256.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939143" y="1196451"/>
            <a:ext cx="424262" cy="257714"/>
          </a:xfrm>
          <a:prstGeom prst="rect">
            <a:avLst/>
          </a:prstGeom>
          <a:noFill/>
          <a:extLst>
            <a:ext uri="{909E8E84-426E-40DD-AFC4-6F175D3DCCD1}">
              <a14:hiddenFill xmlns:a14="http://schemas.microsoft.com/office/drawing/2010/main">
                <a:solidFill>
                  <a:srgbClr val="FFFFFF"/>
                </a:solidFill>
              </a14:hiddenFill>
            </a:ext>
          </a:extLst>
        </p:spPr>
      </p:pic>
      <p:pic>
        <p:nvPicPr>
          <p:cNvPr id="286" name="Picture 10" descr="C:\Users\ecoffey\AppData\Local\Temp\Rar$DRa0.386\30067_Device_router_default_256.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930448" y="2084467"/>
            <a:ext cx="424262" cy="257714"/>
          </a:xfrm>
          <a:prstGeom prst="rect">
            <a:avLst/>
          </a:prstGeom>
          <a:noFill/>
          <a:extLst>
            <a:ext uri="{909E8E84-426E-40DD-AFC4-6F175D3DCCD1}">
              <a14:hiddenFill xmlns:a14="http://schemas.microsoft.com/office/drawing/2010/main">
                <a:solidFill>
                  <a:srgbClr val="FFFFFF"/>
                </a:solidFill>
              </a14:hiddenFill>
            </a:ext>
          </a:extLst>
        </p:spPr>
      </p:pic>
      <p:cxnSp>
        <p:nvCxnSpPr>
          <p:cNvPr id="287" name="Straight Connector 286"/>
          <p:cNvCxnSpPr/>
          <p:nvPr/>
        </p:nvCxnSpPr>
        <p:spPr>
          <a:xfrm flipV="1">
            <a:off x="2354710" y="2193382"/>
            <a:ext cx="1121954" cy="19943"/>
          </a:xfrm>
          <a:prstGeom prst="line">
            <a:avLst/>
          </a:prstGeom>
          <a:noFill/>
          <a:ln w="9525" cap="flat" cmpd="sng" algn="ctr">
            <a:solidFill>
              <a:srgbClr val="014093">
                <a:shade val="95000"/>
                <a:satMod val="105000"/>
              </a:srgbClr>
            </a:solidFill>
            <a:prstDash val="solid"/>
          </a:ln>
          <a:effectLst/>
        </p:spPr>
      </p:cxnSp>
      <p:cxnSp>
        <p:nvCxnSpPr>
          <p:cNvPr id="288" name="Straight Connector 287"/>
          <p:cNvCxnSpPr/>
          <p:nvPr/>
        </p:nvCxnSpPr>
        <p:spPr>
          <a:xfrm flipV="1">
            <a:off x="2354710" y="1736618"/>
            <a:ext cx="1114355" cy="476707"/>
          </a:xfrm>
          <a:prstGeom prst="line">
            <a:avLst/>
          </a:prstGeom>
          <a:noFill/>
          <a:ln w="9525" cap="flat" cmpd="sng" algn="ctr">
            <a:solidFill>
              <a:srgbClr val="014093">
                <a:shade val="95000"/>
                <a:satMod val="105000"/>
              </a:srgbClr>
            </a:solidFill>
            <a:prstDash val="solid"/>
          </a:ln>
          <a:effectLst/>
        </p:spPr>
      </p:cxnSp>
      <p:cxnSp>
        <p:nvCxnSpPr>
          <p:cNvPr id="289" name="Straight Connector 288"/>
          <p:cNvCxnSpPr/>
          <p:nvPr/>
        </p:nvCxnSpPr>
        <p:spPr>
          <a:xfrm flipV="1">
            <a:off x="2363405" y="1324402"/>
            <a:ext cx="1108193" cy="432231"/>
          </a:xfrm>
          <a:prstGeom prst="line">
            <a:avLst/>
          </a:prstGeom>
          <a:noFill/>
          <a:ln w="9525" cap="flat" cmpd="sng" algn="ctr">
            <a:solidFill>
              <a:srgbClr val="014093">
                <a:shade val="95000"/>
                <a:satMod val="105000"/>
              </a:srgbClr>
            </a:solidFill>
            <a:prstDash val="solid"/>
          </a:ln>
          <a:effectLst/>
        </p:spPr>
      </p:cxnSp>
      <p:cxnSp>
        <p:nvCxnSpPr>
          <p:cNvPr id="290" name="Straight Connector 289"/>
          <p:cNvCxnSpPr/>
          <p:nvPr/>
        </p:nvCxnSpPr>
        <p:spPr>
          <a:xfrm>
            <a:off x="2363405" y="1325308"/>
            <a:ext cx="1105660" cy="411309"/>
          </a:xfrm>
          <a:prstGeom prst="line">
            <a:avLst/>
          </a:prstGeom>
          <a:noFill/>
          <a:ln w="9525" cap="flat" cmpd="sng" algn="ctr">
            <a:solidFill>
              <a:srgbClr val="014093">
                <a:shade val="95000"/>
                <a:satMod val="105000"/>
              </a:srgbClr>
            </a:solidFill>
            <a:prstDash val="solid"/>
          </a:ln>
          <a:effectLst/>
        </p:spPr>
      </p:cxnSp>
      <p:pic>
        <p:nvPicPr>
          <p:cNvPr id="291" name="Picture 6" descr="C:\Users\ecoffey\AppData\Local\Temp\Rar$DRa0.583\Cisco Icons November\30067_Device_router_3057\Png_256\30067_Device_router_3057_unknown_256.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471598" y="1190162"/>
            <a:ext cx="462521" cy="268480"/>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6" descr="C:\Users\ecoffey\AppData\Local\Temp\Rar$DRa0.583\Cisco Icons November\30067_Device_router_3057\Png_256\30067_Device_router_3057_unknown_256.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469065" y="1591412"/>
            <a:ext cx="500303" cy="290411"/>
          </a:xfrm>
          <a:prstGeom prst="rect">
            <a:avLst/>
          </a:prstGeom>
          <a:noFill/>
          <a:extLst>
            <a:ext uri="{909E8E84-426E-40DD-AFC4-6F175D3DCCD1}">
              <a14:hiddenFill xmlns:a14="http://schemas.microsoft.com/office/drawing/2010/main">
                <a:solidFill>
                  <a:srgbClr val="FFFFFF"/>
                </a:solidFill>
              </a14:hiddenFill>
            </a:ext>
          </a:extLst>
        </p:spPr>
      </p:pic>
      <p:pic>
        <p:nvPicPr>
          <p:cNvPr id="293" name="Picture 6" descr="C:\Users\ecoffey\AppData\Local\Temp\Rar$DRa0.583\Cisco Icons November\30067_Device_router_3057\Png_256\30067_Device_router_3057_unknown_256.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476664" y="2044581"/>
            <a:ext cx="512689" cy="297600"/>
          </a:xfrm>
          <a:prstGeom prst="rect">
            <a:avLst/>
          </a:prstGeom>
          <a:noFill/>
          <a:extLst>
            <a:ext uri="{909E8E84-426E-40DD-AFC4-6F175D3DCCD1}">
              <a14:hiddenFill xmlns:a14="http://schemas.microsoft.com/office/drawing/2010/main">
                <a:solidFill>
                  <a:srgbClr val="FFFFFF"/>
                </a:solidFill>
              </a14:hiddenFill>
            </a:ext>
          </a:extLst>
        </p:spPr>
      </p:pic>
      <p:cxnSp>
        <p:nvCxnSpPr>
          <p:cNvPr id="294" name="Straight Connector 293"/>
          <p:cNvCxnSpPr/>
          <p:nvPr/>
        </p:nvCxnSpPr>
        <p:spPr>
          <a:xfrm flipV="1">
            <a:off x="2354710" y="1324402"/>
            <a:ext cx="1116888" cy="888922"/>
          </a:xfrm>
          <a:prstGeom prst="line">
            <a:avLst/>
          </a:prstGeom>
          <a:noFill/>
          <a:ln w="9525" cap="flat" cmpd="sng" algn="ctr">
            <a:solidFill>
              <a:srgbClr val="014093">
                <a:shade val="95000"/>
                <a:satMod val="105000"/>
              </a:srgbClr>
            </a:solidFill>
            <a:prstDash val="solid"/>
          </a:ln>
          <a:effectLst/>
        </p:spPr>
      </p:cxnSp>
      <p:cxnSp>
        <p:nvCxnSpPr>
          <p:cNvPr id="295" name="Straight Connector 294"/>
          <p:cNvCxnSpPr/>
          <p:nvPr/>
        </p:nvCxnSpPr>
        <p:spPr>
          <a:xfrm>
            <a:off x="2363405" y="1756634"/>
            <a:ext cx="1113259" cy="436747"/>
          </a:xfrm>
          <a:prstGeom prst="line">
            <a:avLst/>
          </a:prstGeom>
          <a:noFill/>
          <a:ln w="9525" cap="flat" cmpd="sng" algn="ctr">
            <a:solidFill>
              <a:srgbClr val="014093">
                <a:shade val="95000"/>
                <a:satMod val="105000"/>
              </a:srgbClr>
            </a:solidFill>
            <a:prstDash val="solid"/>
          </a:ln>
          <a:effectLst/>
        </p:spPr>
      </p:cxnSp>
      <p:cxnSp>
        <p:nvCxnSpPr>
          <p:cNvPr id="296" name="Straight Connector 295"/>
          <p:cNvCxnSpPr/>
          <p:nvPr/>
        </p:nvCxnSpPr>
        <p:spPr>
          <a:xfrm flipV="1">
            <a:off x="2363405" y="1736618"/>
            <a:ext cx="1105660" cy="20016"/>
          </a:xfrm>
          <a:prstGeom prst="line">
            <a:avLst/>
          </a:prstGeom>
          <a:noFill/>
          <a:ln w="9525" cap="flat" cmpd="sng" algn="ctr">
            <a:solidFill>
              <a:srgbClr val="014093">
                <a:shade val="95000"/>
                <a:satMod val="105000"/>
              </a:srgbClr>
            </a:solidFill>
            <a:prstDash val="solid"/>
          </a:ln>
          <a:effectLst/>
        </p:spPr>
      </p:cxnSp>
      <p:cxnSp>
        <p:nvCxnSpPr>
          <p:cNvPr id="297" name="Straight Connector 296"/>
          <p:cNvCxnSpPr/>
          <p:nvPr/>
        </p:nvCxnSpPr>
        <p:spPr>
          <a:xfrm>
            <a:off x="2363405" y="1325308"/>
            <a:ext cx="1113259" cy="868074"/>
          </a:xfrm>
          <a:prstGeom prst="line">
            <a:avLst/>
          </a:prstGeom>
          <a:noFill/>
          <a:ln w="9525" cap="flat" cmpd="sng" algn="ctr">
            <a:solidFill>
              <a:srgbClr val="014093">
                <a:shade val="95000"/>
                <a:satMod val="105000"/>
              </a:srgbClr>
            </a:solidFill>
            <a:prstDash val="solid"/>
          </a:ln>
          <a:effectLst/>
        </p:spPr>
      </p:cxnSp>
      <p:cxnSp>
        <p:nvCxnSpPr>
          <p:cNvPr id="298" name="Straight Connector 297"/>
          <p:cNvCxnSpPr/>
          <p:nvPr/>
        </p:nvCxnSpPr>
        <p:spPr>
          <a:xfrm flipV="1">
            <a:off x="2363405" y="1324402"/>
            <a:ext cx="1108193" cy="906"/>
          </a:xfrm>
          <a:prstGeom prst="line">
            <a:avLst/>
          </a:prstGeom>
          <a:noFill/>
          <a:ln w="9525" cap="flat" cmpd="sng" algn="ctr">
            <a:solidFill>
              <a:srgbClr val="014093">
                <a:shade val="95000"/>
                <a:satMod val="105000"/>
              </a:srgbClr>
            </a:solidFill>
            <a:prstDash val="solid"/>
          </a:ln>
          <a:effectLst/>
        </p:spPr>
      </p:cxnSp>
      <p:cxnSp>
        <p:nvCxnSpPr>
          <p:cNvPr id="299" name="Straight Connector 298"/>
          <p:cNvCxnSpPr/>
          <p:nvPr/>
        </p:nvCxnSpPr>
        <p:spPr>
          <a:xfrm flipH="1" flipV="1">
            <a:off x="3934120" y="1324402"/>
            <a:ext cx="962853" cy="147546"/>
          </a:xfrm>
          <a:prstGeom prst="line">
            <a:avLst/>
          </a:prstGeom>
          <a:noFill/>
          <a:ln w="9525" cap="flat" cmpd="sng" algn="ctr">
            <a:solidFill>
              <a:srgbClr val="014093">
                <a:shade val="95000"/>
                <a:satMod val="105000"/>
              </a:srgbClr>
            </a:solidFill>
            <a:prstDash val="solid"/>
          </a:ln>
          <a:effectLst/>
        </p:spPr>
      </p:cxnSp>
      <p:cxnSp>
        <p:nvCxnSpPr>
          <p:cNvPr id="300" name="Straight Connector 299"/>
          <p:cNvCxnSpPr/>
          <p:nvPr/>
        </p:nvCxnSpPr>
        <p:spPr>
          <a:xfrm flipH="1">
            <a:off x="4004616" y="2048653"/>
            <a:ext cx="885146" cy="145271"/>
          </a:xfrm>
          <a:prstGeom prst="line">
            <a:avLst/>
          </a:prstGeom>
          <a:noFill/>
          <a:ln w="9525" cap="flat" cmpd="sng" algn="ctr">
            <a:solidFill>
              <a:srgbClr val="014093">
                <a:shade val="95000"/>
                <a:satMod val="105000"/>
              </a:srgbClr>
            </a:solidFill>
            <a:prstDash val="solid"/>
          </a:ln>
          <a:effectLst/>
        </p:spPr>
      </p:cxnSp>
      <p:cxnSp>
        <p:nvCxnSpPr>
          <p:cNvPr id="301" name="Straight Connector 300"/>
          <p:cNvCxnSpPr/>
          <p:nvPr/>
        </p:nvCxnSpPr>
        <p:spPr>
          <a:xfrm flipH="1">
            <a:off x="3989354" y="1471948"/>
            <a:ext cx="907619" cy="721433"/>
          </a:xfrm>
          <a:prstGeom prst="line">
            <a:avLst/>
          </a:prstGeom>
          <a:noFill/>
          <a:ln w="9525" cap="flat" cmpd="sng" algn="ctr">
            <a:solidFill>
              <a:srgbClr val="014093">
                <a:shade val="95000"/>
                <a:satMod val="105000"/>
              </a:srgbClr>
            </a:solidFill>
            <a:prstDash val="solid"/>
          </a:ln>
          <a:effectLst/>
        </p:spPr>
      </p:cxnSp>
      <p:cxnSp>
        <p:nvCxnSpPr>
          <p:cNvPr id="302" name="Straight Connector 301"/>
          <p:cNvCxnSpPr/>
          <p:nvPr/>
        </p:nvCxnSpPr>
        <p:spPr>
          <a:xfrm flipH="1" flipV="1">
            <a:off x="3984629" y="1737161"/>
            <a:ext cx="905133" cy="311492"/>
          </a:xfrm>
          <a:prstGeom prst="line">
            <a:avLst/>
          </a:prstGeom>
          <a:noFill/>
          <a:ln w="9525" cap="flat" cmpd="sng" algn="ctr">
            <a:solidFill>
              <a:srgbClr val="014093">
                <a:shade val="95000"/>
                <a:satMod val="105000"/>
              </a:srgbClr>
            </a:solidFill>
            <a:prstDash val="solid"/>
          </a:ln>
          <a:effectLst/>
        </p:spPr>
      </p:cxnSp>
      <p:cxnSp>
        <p:nvCxnSpPr>
          <p:cNvPr id="303" name="Straight Connector 302"/>
          <p:cNvCxnSpPr/>
          <p:nvPr/>
        </p:nvCxnSpPr>
        <p:spPr>
          <a:xfrm flipH="1">
            <a:off x="3969368" y="1471948"/>
            <a:ext cx="927605" cy="264669"/>
          </a:xfrm>
          <a:prstGeom prst="line">
            <a:avLst/>
          </a:prstGeom>
          <a:noFill/>
          <a:ln w="9525" cap="flat" cmpd="sng" algn="ctr">
            <a:solidFill>
              <a:srgbClr val="014093">
                <a:shade val="95000"/>
                <a:satMod val="105000"/>
              </a:srgbClr>
            </a:solidFill>
            <a:prstDash val="solid"/>
          </a:ln>
          <a:effectLst/>
        </p:spPr>
      </p:cxnSp>
      <p:cxnSp>
        <p:nvCxnSpPr>
          <p:cNvPr id="304" name="Straight Connector 303"/>
          <p:cNvCxnSpPr/>
          <p:nvPr/>
        </p:nvCxnSpPr>
        <p:spPr>
          <a:xfrm flipH="1" flipV="1">
            <a:off x="3949381" y="1324944"/>
            <a:ext cx="940381" cy="723709"/>
          </a:xfrm>
          <a:prstGeom prst="line">
            <a:avLst/>
          </a:prstGeom>
          <a:noFill/>
          <a:ln w="9525" cap="flat" cmpd="sng" algn="ctr">
            <a:solidFill>
              <a:srgbClr val="014093">
                <a:shade val="95000"/>
                <a:satMod val="105000"/>
              </a:srgbClr>
            </a:solidFill>
            <a:prstDash val="solid"/>
          </a:ln>
          <a:effectLst/>
        </p:spPr>
      </p:cxnSp>
      <p:sp>
        <p:nvSpPr>
          <p:cNvPr id="305" name="TextBox 304"/>
          <p:cNvSpPr txBox="1"/>
          <p:nvPr/>
        </p:nvSpPr>
        <p:spPr>
          <a:xfrm>
            <a:off x="1502270" y="996442"/>
            <a:ext cx="1703028" cy="253916"/>
          </a:xfrm>
          <a:prstGeom prst="rect">
            <a:avLst/>
          </a:prstGeom>
          <a:noFill/>
        </p:spPr>
        <p:txBody>
          <a:bodyPr wrap="square" rtlCol="0">
            <a:spAutoFit/>
          </a:bodyPr>
          <a:lstStyle/>
          <a:p>
            <a:pPr defTabSz="457200" fontAlgn="base">
              <a:spcBef>
                <a:spcPct val="0"/>
              </a:spcBef>
              <a:spcAft>
                <a:spcPct val="0"/>
              </a:spcAft>
            </a:pPr>
            <a:r>
              <a:rPr lang="en-US" sz="1000" dirty="0">
                <a:solidFill>
                  <a:srgbClr val="39393B"/>
                </a:solidFill>
                <a:latin typeface="CiscoSansTT Light" charset="0"/>
                <a:ea typeface="CiscoSansTT Light" charset="0"/>
                <a:cs typeface="CiscoSansTT Light" charset="0"/>
              </a:rPr>
              <a:t>Peers, CDN, Content</a:t>
            </a:r>
          </a:p>
        </p:txBody>
      </p:sp>
      <p:sp>
        <p:nvSpPr>
          <p:cNvPr id="306" name="TextBox 305"/>
          <p:cNvSpPr txBox="1"/>
          <p:nvPr/>
        </p:nvSpPr>
        <p:spPr>
          <a:xfrm>
            <a:off x="3513686" y="1277527"/>
            <a:ext cx="1137542" cy="204998"/>
          </a:xfrm>
          <a:prstGeom prst="rect">
            <a:avLst/>
          </a:prstGeom>
          <a:noFill/>
        </p:spPr>
        <p:txBody>
          <a:bodyPr wrap="square" rtlCol="0">
            <a:spAutoFit/>
          </a:bodyPr>
          <a:lstStyle/>
          <a:p>
            <a:pPr defTabSz="457200" fontAlgn="base">
              <a:spcBef>
                <a:spcPct val="0"/>
              </a:spcBef>
              <a:spcAft>
                <a:spcPct val="0"/>
              </a:spcAft>
            </a:pPr>
            <a:r>
              <a:rPr lang="en-US" sz="900" b="1" dirty="0">
                <a:solidFill>
                  <a:srgbClr val="FFFFFF"/>
                </a:solidFill>
                <a:ea typeface="ＭＳ Ｐゴシック" pitchFamily="34" charset="-128"/>
                <a:cs typeface=""/>
              </a:rPr>
              <a:t>PFL</a:t>
            </a:r>
          </a:p>
        </p:txBody>
      </p:sp>
      <p:sp>
        <p:nvSpPr>
          <p:cNvPr id="307" name="TextBox 306"/>
          <p:cNvSpPr txBox="1"/>
          <p:nvPr/>
        </p:nvSpPr>
        <p:spPr>
          <a:xfrm>
            <a:off x="3526742" y="1693940"/>
            <a:ext cx="1137542" cy="204998"/>
          </a:xfrm>
          <a:prstGeom prst="rect">
            <a:avLst/>
          </a:prstGeom>
          <a:noFill/>
        </p:spPr>
        <p:txBody>
          <a:bodyPr wrap="square" rtlCol="0">
            <a:spAutoFit/>
          </a:bodyPr>
          <a:lstStyle/>
          <a:p>
            <a:pPr defTabSz="457200" fontAlgn="base">
              <a:spcBef>
                <a:spcPct val="0"/>
              </a:spcBef>
              <a:spcAft>
                <a:spcPct val="0"/>
              </a:spcAft>
            </a:pPr>
            <a:r>
              <a:rPr lang="en-US" sz="900" b="1">
                <a:solidFill>
                  <a:srgbClr val="FFFFFF"/>
                </a:solidFill>
                <a:ea typeface="ＭＳ Ｐゴシック" pitchFamily="34" charset="-128"/>
                <a:cs typeface=""/>
              </a:rPr>
              <a:t>PFL</a:t>
            </a:r>
            <a:endParaRPr lang="en-US" sz="900" b="1" dirty="0">
              <a:solidFill>
                <a:srgbClr val="FFFFFF"/>
              </a:solidFill>
              <a:ea typeface="ＭＳ Ｐゴシック" pitchFamily="34" charset="-128"/>
              <a:cs typeface=""/>
            </a:endParaRPr>
          </a:p>
        </p:txBody>
      </p:sp>
      <p:sp>
        <p:nvSpPr>
          <p:cNvPr id="308" name="TextBox 307"/>
          <p:cNvSpPr txBox="1"/>
          <p:nvPr/>
        </p:nvSpPr>
        <p:spPr>
          <a:xfrm>
            <a:off x="3526742" y="2143763"/>
            <a:ext cx="1137542" cy="204998"/>
          </a:xfrm>
          <a:prstGeom prst="rect">
            <a:avLst/>
          </a:prstGeom>
          <a:noFill/>
        </p:spPr>
        <p:txBody>
          <a:bodyPr wrap="square" rtlCol="0">
            <a:spAutoFit/>
          </a:bodyPr>
          <a:lstStyle/>
          <a:p>
            <a:pPr defTabSz="457200" fontAlgn="base">
              <a:spcBef>
                <a:spcPct val="0"/>
              </a:spcBef>
              <a:spcAft>
                <a:spcPct val="0"/>
              </a:spcAft>
            </a:pPr>
            <a:r>
              <a:rPr lang="en-US" sz="900" b="1" dirty="0">
                <a:solidFill>
                  <a:srgbClr val="FFFFFF"/>
                </a:solidFill>
                <a:ea typeface="ＭＳ Ｐゴシック" pitchFamily="34" charset="-128"/>
                <a:cs typeface=""/>
              </a:rPr>
              <a:t>PFL</a:t>
            </a:r>
          </a:p>
        </p:txBody>
      </p:sp>
      <p:cxnSp>
        <p:nvCxnSpPr>
          <p:cNvPr id="309" name="Straight Connector 308"/>
          <p:cNvCxnSpPr/>
          <p:nvPr/>
        </p:nvCxnSpPr>
        <p:spPr>
          <a:xfrm flipH="1" flipV="1">
            <a:off x="5384653" y="1471948"/>
            <a:ext cx="609978" cy="129964"/>
          </a:xfrm>
          <a:prstGeom prst="line">
            <a:avLst/>
          </a:prstGeom>
          <a:noFill/>
          <a:ln w="9525" cap="flat" cmpd="sng" algn="ctr">
            <a:solidFill>
              <a:srgbClr val="014093">
                <a:shade val="95000"/>
                <a:satMod val="105000"/>
              </a:srgbClr>
            </a:solidFill>
            <a:prstDash val="solid"/>
          </a:ln>
          <a:effectLst/>
        </p:spPr>
      </p:cxnSp>
      <p:cxnSp>
        <p:nvCxnSpPr>
          <p:cNvPr id="310" name="Straight Connector 309"/>
          <p:cNvCxnSpPr/>
          <p:nvPr/>
        </p:nvCxnSpPr>
        <p:spPr>
          <a:xfrm flipH="1">
            <a:off x="5384654" y="1601912"/>
            <a:ext cx="609977" cy="468466"/>
          </a:xfrm>
          <a:prstGeom prst="line">
            <a:avLst/>
          </a:prstGeom>
          <a:noFill/>
          <a:ln w="9525" cap="flat" cmpd="sng" algn="ctr">
            <a:solidFill>
              <a:srgbClr val="014093">
                <a:shade val="95000"/>
                <a:satMod val="105000"/>
              </a:srgbClr>
            </a:solidFill>
            <a:prstDash val="solid"/>
          </a:ln>
          <a:effectLst/>
        </p:spPr>
      </p:cxnSp>
      <p:sp>
        <p:nvSpPr>
          <p:cNvPr id="311" name="TextBox 310"/>
          <p:cNvSpPr txBox="1"/>
          <p:nvPr/>
        </p:nvSpPr>
        <p:spPr>
          <a:xfrm>
            <a:off x="3588127" y="851796"/>
            <a:ext cx="2018482" cy="261610"/>
          </a:xfrm>
          <a:prstGeom prst="rect">
            <a:avLst/>
          </a:prstGeom>
          <a:noFill/>
        </p:spPr>
        <p:txBody>
          <a:bodyPr wrap="square" rtlCol="0">
            <a:spAutoFit/>
          </a:bodyPr>
          <a:lstStyle/>
          <a:p>
            <a:pPr defTabSz="457200" fontAlgn="base">
              <a:spcBef>
                <a:spcPct val="0"/>
              </a:spcBef>
              <a:spcAft>
                <a:spcPct val="0"/>
              </a:spcAft>
            </a:pPr>
            <a:r>
              <a:rPr lang="en-US" sz="1100" dirty="0">
                <a:solidFill>
                  <a:srgbClr val="39393B"/>
                </a:solidFill>
                <a:latin typeface="CiscoSansTT Light" charset="0"/>
                <a:ea typeface="CiscoSansTT Light" charset="0"/>
                <a:cs typeface="CiscoSansTT Light" charset="0"/>
              </a:rPr>
              <a:t>Peering Fabric</a:t>
            </a:r>
          </a:p>
        </p:txBody>
      </p:sp>
      <p:pic>
        <p:nvPicPr>
          <p:cNvPr id="312" name="Picture 7" descr="C:\Users\ecoffey\AppData\Local\Temp\Rar$DRa0.386\30067_Device_router_critical_64.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896973" y="1228108"/>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313" name="Picture 7" descr="C:\Users\ecoffey\AppData\Local\Temp\Rar$DRa0.386\30067_Device_router_critical_64.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889762" y="1804813"/>
            <a:ext cx="487680" cy="487680"/>
          </a:xfrm>
          <a:prstGeom prst="rect">
            <a:avLst/>
          </a:prstGeom>
          <a:noFill/>
          <a:extLst>
            <a:ext uri="{909E8E84-426E-40DD-AFC4-6F175D3DCCD1}">
              <a14:hiddenFill xmlns:a14="http://schemas.microsoft.com/office/drawing/2010/main">
                <a:solidFill>
                  <a:srgbClr val="FFFFFF"/>
                </a:solidFill>
              </a14:hiddenFill>
            </a:ext>
          </a:extLst>
        </p:spPr>
      </p:pic>
      <p:sp>
        <p:nvSpPr>
          <p:cNvPr id="314" name="TextBox 313"/>
          <p:cNvSpPr txBox="1"/>
          <p:nvPr/>
        </p:nvSpPr>
        <p:spPr>
          <a:xfrm>
            <a:off x="4932221" y="1417336"/>
            <a:ext cx="615444" cy="230832"/>
          </a:xfrm>
          <a:prstGeom prst="rect">
            <a:avLst/>
          </a:prstGeom>
          <a:noFill/>
        </p:spPr>
        <p:txBody>
          <a:bodyPr wrap="square" rtlCol="0">
            <a:spAutoFit/>
          </a:bodyPr>
          <a:lstStyle/>
          <a:p>
            <a:pPr defTabSz="457200" fontAlgn="base">
              <a:spcBef>
                <a:spcPct val="0"/>
              </a:spcBef>
              <a:spcAft>
                <a:spcPct val="0"/>
              </a:spcAft>
            </a:pPr>
            <a:r>
              <a:rPr lang="en-US" sz="900" b="1" dirty="0">
                <a:solidFill>
                  <a:srgbClr val="FFFFFF"/>
                </a:solidFill>
                <a:ea typeface="ＭＳ Ｐゴシック" pitchFamily="34" charset="-128"/>
                <a:cs typeface=""/>
              </a:rPr>
              <a:t>PFS</a:t>
            </a:r>
          </a:p>
        </p:txBody>
      </p:sp>
      <p:sp>
        <p:nvSpPr>
          <p:cNvPr id="315" name="TextBox 314"/>
          <p:cNvSpPr txBox="1"/>
          <p:nvPr/>
        </p:nvSpPr>
        <p:spPr>
          <a:xfrm>
            <a:off x="4932221" y="2002962"/>
            <a:ext cx="1137542" cy="204998"/>
          </a:xfrm>
          <a:prstGeom prst="rect">
            <a:avLst/>
          </a:prstGeom>
          <a:noFill/>
        </p:spPr>
        <p:txBody>
          <a:bodyPr wrap="square" rtlCol="0">
            <a:spAutoFit/>
          </a:bodyPr>
          <a:lstStyle/>
          <a:p>
            <a:pPr defTabSz="457200" fontAlgn="base">
              <a:spcBef>
                <a:spcPct val="0"/>
              </a:spcBef>
              <a:spcAft>
                <a:spcPct val="0"/>
              </a:spcAft>
            </a:pPr>
            <a:r>
              <a:rPr lang="en-US" sz="900" b="1" dirty="0">
                <a:solidFill>
                  <a:srgbClr val="FFFFFF"/>
                </a:solidFill>
                <a:ea typeface="ＭＳ Ｐゴシック" pitchFamily="34" charset="-128"/>
                <a:cs typeface=""/>
              </a:rPr>
              <a:t>PFS</a:t>
            </a:r>
          </a:p>
        </p:txBody>
      </p:sp>
      <p:sp>
        <p:nvSpPr>
          <p:cNvPr id="316" name="Cloud 315"/>
          <p:cNvSpPr/>
          <p:nvPr/>
        </p:nvSpPr>
        <p:spPr>
          <a:xfrm>
            <a:off x="5989438" y="1082536"/>
            <a:ext cx="1674317" cy="1038752"/>
          </a:xfrm>
          <a:prstGeom prst="cloud">
            <a:avLst/>
          </a:prstGeom>
          <a:gradFill flip="none" rotWithShape="1">
            <a:gsLst>
              <a:gs pos="0">
                <a:srgbClr val="ABC333">
                  <a:lumMod val="5000"/>
                  <a:lumOff val="95000"/>
                </a:srgbClr>
              </a:gs>
              <a:gs pos="74000">
                <a:srgbClr val="ABC333">
                  <a:lumMod val="45000"/>
                  <a:lumOff val="55000"/>
                </a:srgbClr>
              </a:gs>
              <a:gs pos="83000">
                <a:srgbClr val="ABC333">
                  <a:lumMod val="45000"/>
                  <a:lumOff val="55000"/>
                </a:srgbClr>
              </a:gs>
              <a:gs pos="100000">
                <a:srgbClr val="ABC333">
                  <a:lumMod val="30000"/>
                  <a:lumOff val="70000"/>
                </a:srgbClr>
              </a:gs>
            </a:gsLst>
            <a:lin ang="5400000" scaled="1"/>
            <a:tileRect/>
          </a:gradFill>
          <a:ln w="9525" cap="flat" cmpd="sng" algn="ctr">
            <a:solidFill>
              <a:srgbClr val="CACCD2">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45725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39393B"/>
                </a:solidFill>
                <a:effectLst/>
                <a:uLnTx/>
                <a:uFillTx/>
                <a:latin typeface="CiscoSansTT Light" charset="0"/>
                <a:ea typeface="CiscoSansTT Light" charset="0"/>
                <a:cs typeface="CiscoSansTT Light" charset="0"/>
              </a:rPr>
              <a:t>Network Edge</a:t>
            </a:r>
          </a:p>
        </p:txBody>
      </p:sp>
      <p:sp>
        <p:nvSpPr>
          <p:cNvPr id="317" name="Content Placeholder 3"/>
          <p:cNvSpPr txBox="1">
            <a:spLocks/>
          </p:cNvSpPr>
          <p:nvPr/>
        </p:nvSpPr>
        <p:spPr bwMode="auto">
          <a:xfrm>
            <a:off x="4664284" y="2504873"/>
            <a:ext cx="4492772" cy="2263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785" indent="0" defTabSz="914400">
              <a:buNone/>
            </a:pPr>
            <a:r>
              <a:rPr lang="en-US" sz="1200" b="1" dirty="0">
                <a:solidFill>
                  <a:schemeClr val="accent1"/>
                </a:solidFill>
                <a:latin typeface="CiscoSansTT" charset="0"/>
                <a:ea typeface="CiscoSansTT" charset="0"/>
                <a:cs typeface="CiscoSansTT" charset="0"/>
              </a:rPr>
              <a:t>Peering Fabric Spine (PFS)</a:t>
            </a:r>
            <a:endParaRPr lang="en-US" sz="1400" dirty="0">
              <a:latin typeface="CiscoSansTT Light" charset="0"/>
              <a:ea typeface="CiscoSansTT Light" charset="0"/>
              <a:cs typeface="CiscoSansTT Light" charset="0"/>
            </a:endParaRPr>
          </a:p>
          <a:p>
            <a:pPr defTabSz="914400">
              <a:buFont typeface="Wingdings" charset="2"/>
              <a:buChar char="v"/>
            </a:pPr>
            <a:r>
              <a:rPr lang="en-US" sz="1200" kern="0" dirty="0">
                <a:solidFill>
                  <a:srgbClr val="282828"/>
                </a:solidFill>
                <a:latin typeface="CiscoSansTT ExtraLight"/>
                <a:ea typeface="ＭＳ Ｐゴシック" charset="0"/>
                <a:cs typeface="ＭＳ Ｐゴシック" charset="0"/>
              </a:rPr>
              <a:t>Spine nodes similar to collapsed spine/border GW in DC.  </a:t>
            </a:r>
          </a:p>
          <a:p>
            <a:pPr lvl="1" defTabSz="914400">
              <a:buFont typeface="Wingdings" charset="2"/>
              <a:buChar char="v"/>
            </a:pPr>
            <a:endParaRPr lang="en-US" sz="1200" kern="0" dirty="0">
              <a:solidFill>
                <a:srgbClr val="282828"/>
              </a:solidFill>
              <a:latin typeface="CiscoSansTT ExtraLight"/>
              <a:ea typeface="ＭＳ Ｐゴシック" charset="0"/>
              <a:cs typeface="ＭＳ Ｐゴシック" charset="0"/>
            </a:endParaRPr>
          </a:p>
          <a:p>
            <a:pPr defTabSz="914400">
              <a:buFont typeface="Wingdings" charset="2"/>
              <a:buChar char="v"/>
            </a:pPr>
            <a:r>
              <a:rPr lang="en-US" sz="1200" kern="0" dirty="0">
                <a:solidFill>
                  <a:srgbClr val="282828"/>
                </a:solidFill>
                <a:latin typeface="CiscoSansTT ExtraLight"/>
                <a:ea typeface="ＭＳ Ｐゴシック" charset="0"/>
                <a:cs typeface="ＭＳ Ｐゴシック" charset="0"/>
              </a:rPr>
              <a:t>Connection point to the rest of the SP network.</a:t>
            </a:r>
          </a:p>
          <a:p>
            <a:pPr defTabSz="914400">
              <a:buFont typeface="Wingdings" charset="2"/>
              <a:buChar char="v"/>
            </a:pPr>
            <a:endParaRPr lang="en-US" sz="1200" kern="0" dirty="0">
              <a:solidFill>
                <a:srgbClr val="282828"/>
              </a:solidFill>
              <a:latin typeface="CiscoSansTT ExtraLight"/>
              <a:ea typeface="ＭＳ Ｐゴシック" charset="0"/>
              <a:cs typeface="ＭＳ Ｐゴシック" charset="0"/>
            </a:endParaRPr>
          </a:p>
          <a:p>
            <a:pPr defTabSz="914400">
              <a:buFont typeface="Wingdings" charset="2"/>
              <a:buChar char="v"/>
            </a:pPr>
            <a:r>
              <a:rPr lang="en-US" sz="1200" kern="0" dirty="0">
                <a:solidFill>
                  <a:srgbClr val="282828"/>
                </a:solidFill>
                <a:latin typeface="CiscoSansTT ExtraLight"/>
                <a:ea typeface="ＭＳ Ｐゴシック" charset="0"/>
                <a:cs typeface="ＭＳ Ｐゴシック" charset="0"/>
              </a:rPr>
              <a:t>Act as edge node, head-end for TE tunnels.  </a:t>
            </a:r>
          </a:p>
          <a:p>
            <a:pPr lvl="1" defTabSz="914400">
              <a:buFont typeface="Wingdings" charset="2"/>
              <a:buChar char="v"/>
            </a:pPr>
            <a:endParaRPr lang="en-US" sz="1200" kern="0" dirty="0">
              <a:solidFill>
                <a:srgbClr val="282828"/>
              </a:solidFill>
              <a:latin typeface="CiscoSansTT ExtraLight"/>
              <a:ea typeface="ＭＳ Ｐゴシック" charset="0"/>
              <a:cs typeface="ＭＳ Ｐゴシック" charset="0"/>
            </a:endParaRPr>
          </a:p>
          <a:p>
            <a:pPr defTabSz="914400">
              <a:buFont typeface="Wingdings" charset="2"/>
              <a:buChar char="v"/>
            </a:pPr>
            <a:r>
              <a:rPr lang="en-US" sz="1200" kern="0" dirty="0">
                <a:solidFill>
                  <a:srgbClr val="282828"/>
                </a:solidFill>
                <a:latin typeface="CiscoSansTT ExtraLight"/>
                <a:ea typeface="ＭＳ Ｐゴシック" charset="0"/>
                <a:cs typeface="ＭＳ Ｐゴシック" charset="0"/>
              </a:rPr>
              <a:t>Route Reflectors for PFL peer routes </a:t>
            </a:r>
          </a:p>
          <a:p>
            <a:pPr lvl="1" defTabSz="914400">
              <a:buFont typeface="Wingdings" charset="2"/>
              <a:buChar char="v"/>
            </a:pPr>
            <a:endParaRPr lang="en-US" sz="1200" kern="0" dirty="0">
              <a:solidFill>
                <a:srgbClr val="282828"/>
              </a:solidFill>
              <a:latin typeface="CiscoSansTT ExtraLight"/>
              <a:ea typeface="ＭＳ Ｐゴシック" charset="0"/>
              <a:cs typeface="ＭＳ Ｐゴシック" charset="0"/>
            </a:endParaRPr>
          </a:p>
        </p:txBody>
      </p:sp>
      <p:sp>
        <p:nvSpPr>
          <p:cNvPr id="51" name="Rectangle 50"/>
          <p:cNvSpPr/>
          <p:nvPr/>
        </p:nvSpPr>
        <p:spPr>
          <a:xfrm>
            <a:off x="807" y="0"/>
            <a:ext cx="1727668" cy="49708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hlinkClick r:id="rId8" action="ppaction://hlinksldjump"/>
          </p:cNvPr>
          <p:cNvSpPr txBox="1"/>
          <p:nvPr/>
        </p:nvSpPr>
        <p:spPr>
          <a:xfrm>
            <a:off x="74557" y="43106"/>
            <a:ext cx="1535424" cy="253916"/>
          </a:xfrm>
          <a:prstGeom prst="rect">
            <a:avLst/>
          </a:prstGeom>
          <a:noFill/>
        </p:spPr>
        <p:txBody>
          <a:bodyPr wrap="square" rtlCol="0">
            <a:spAutoFit/>
          </a:bodyPr>
          <a:lstStyle>
            <a:defPPr>
              <a:defRPr lang="en-US"/>
            </a:defPPr>
            <a:lvl1pPr algn="ctr" defTabSz="457200" fontAlgn="base">
              <a:spcBef>
                <a:spcPct val="0"/>
              </a:spcBef>
              <a:spcAft>
                <a:spcPct val="0"/>
              </a:spcAft>
              <a:defRPr sz="1050" b="1">
                <a:solidFill>
                  <a:srgbClr val="FFFFFF">
                    <a:lumMod val="50000"/>
                  </a:srgbClr>
                </a:solidFill>
                <a:latin typeface="CiscoSansTT ExtraLight"/>
                <a:ea typeface="CiscoSansTT Light" charset="0"/>
                <a:cs typeface="CiscoSansTT Light" charset="0"/>
              </a:defRPr>
            </a:lvl1pPr>
          </a:lstStyle>
          <a:p>
            <a:r>
              <a:rPr lang="en-US" dirty="0">
                <a:solidFill>
                  <a:schemeClr val="bg1"/>
                </a:solidFill>
              </a:rPr>
              <a:t>Peering Fabric Design</a:t>
            </a:r>
          </a:p>
        </p:txBody>
      </p:sp>
      <p:sp>
        <p:nvSpPr>
          <p:cNvPr id="48" name="Rectangle 47"/>
          <p:cNvSpPr/>
          <p:nvPr/>
        </p:nvSpPr>
        <p:spPr>
          <a:xfrm>
            <a:off x="0" y="497090"/>
            <a:ext cx="9143999" cy="238527"/>
          </a:xfrm>
          <a:prstGeom prst="rect">
            <a:avLst/>
          </a:prstGeom>
          <a:noFill/>
        </p:spPr>
        <p:txBody>
          <a:bodyPr wrap="square" rtlCol="0">
            <a:spAutoFit/>
          </a:bodyPr>
          <a:lstStyle/>
          <a:p>
            <a:pPr algn="ctr"/>
            <a:endParaRPr lang="en-US" sz="950" dirty="0">
              <a:solidFill>
                <a:srgbClr val="595959">
                  <a:lumMod val="50000"/>
                  <a:alpha val="80000"/>
                </a:srgbClr>
              </a:solidFill>
              <a:latin typeface="CiscoSansTT" charset="0"/>
              <a:ea typeface="CiscoSansTT" charset="0"/>
              <a:cs typeface="CiscoSansTT" charset="0"/>
            </a:endParaRPr>
          </a:p>
        </p:txBody>
      </p:sp>
      <p:sp>
        <p:nvSpPr>
          <p:cNvPr id="49" name="Rectangle 48"/>
          <p:cNvSpPr/>
          <p:nvPr/>
        </p:nvSpPr>
        <p:spPr>
          <a:xfrm>
            <a:off x="0" y="497089"/>
            <a:ext cx="9143999" cy="298439"/>
          </a:xfrm>
          <a:prstGeom prst="rect">
            <a:avLst/>
          </a:prstGeom>
          <a:solidFill>
            <a:srgbClr val="FFFFFF">
              <a:lumMod val="95000"/>
            </a:srgbClr>
          </a:solidFill>
          <a:ln w="25400" cap="flat" cmpd="sng" algn="ctr">
            <a:noFill/>
            <a:prstDash val="solid"/>
          </a:ln>
          <a:effectLst/>
        </p:spPr>
        <p:txBody>
          <a:bodyPr rtlCol="0" anchor="ctr"/>
          <a:lstStyle/>
          <a:p>
            <a:pPr algn="ctr" defTabSz="457200" fontAlgn="base">
              <a:spcBef>
                <a:spcPct val="0"/>
              </a:spcBef>
              <a:spcAft>
                <a:spcPct val="0"/>
              </a:spcAft>
              <a:defRPr/>
            </a:pPr>
            <a:endParaRPr lang="en-US" sz="1800" kern="0" dirty="0">
              <a:solidFill>
                <a:srgbClr val="005073"/>
              </a:solidFill>
              <a:latin typeface="CiscoSansTT ExtraLight"/>
              <a:ea typeface=""/>
              <a:cs typeface=""/>
            </a:endParaRPr>
          </a:p>
        </p:txBody>
      </p:sp>
      <p:sp>
        <p:nvSpPr>
          <p:cNvPr id="50" name="TextBox 49">
            <a:hlinkClick r:id="" action="ppaction://noaction"/>
          </p:cNvPr>
          <p:cNvSpPr txBox="1"/>
          <p:nvPr/>
        </p:nvSpPr>
        <p:spPr>
          <a:xfrm>
            <a:off x="-382955" y="529073"/>
            <a:ext cx="1912281"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Overview</a:t>
            </a:r>
          </a:p>
        </p:txBody>
      </p:sp>
      <p:sp>
        <p:nvSpPr>
          <p:cNvPr id="61" name="TextBox 60">
            <a:hlinkClick r:id="" action="ppaction://noaction"/>
          </p:cNvPr>
          <p:cNvSpPr txBox="1"/>
          <p:nvPr/>
        </p:nvSpPr>
        <p:spPr>
          <a:xfrm>
            <a:off x="1046011" y="529072"/>
            <a:ext cx="1884405"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Design Options</a:t>
            </a:r>
          </a:p>
        </p:txBody>
      </p:sp>
      <p:sp>
        <p:nvSpPr>
          <p:cNvPr id="62" name="TextBox 61">
            <a:hlinkClick r:id="" action="ppaction://noaction"/>
          </p:cNvPr>
          <p:cNvSpPr txBox="1"/>
          <p:nvPr/>
        </p:nvSpPr>
        <p:spPr>
          <a:xfrm>
            <a:off x="4332605" y="534872"/>
            <a:ext cx="1884405"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Automation &amp; Telemetry</a:t>
            </a:r>
          </a:p>
        </p:txBody>
      </p:sp>
      <p:sp>
        <p:nvSpPr>
          <p:cNvPr id="63" name="TextBox 62">
            <a:hlinkClick r:id="" action="ppaction://noaction"/>
          </p:cNvPr>
          <p:cNvSpPr txBox="1"/>
          <p:nvPr/>
        </p:nvSpPr>
        <p:spPr>
          <a:xfrm>
            <a:off x="5901950" y="540366"/>
            <a:ext cx="1884405"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Segment Routing</a:t>
            </a:r>
          </a:p>
        </p:txBody>
      </p:sp>
      <p:sp>
        <p:nvSpPr>
          <p:cNvPr id="64" name="TextBox 63">
            <a:hlinkClick r:id="" action="ppaction://noaction"/>
          </p:cNvPr>
          <p:cNvSpPr txBox="1"/>
          <p:nvPr/>
        </p:nvSpPr>
        <p:spPr>
          <a:xfrm>
            <a:off x="2774633" y="540365"/>
            <a:ext cx="1884405" cy="238527"/>
          </a:xfrm>
          <a:prstGeom prst="rect">
            <a:avLst/>
          </a:prstGeom>
          <a:noFill/>
        </p:spPr>
        <p:txBody>
          <a:bodyPr wrap="square" rtlCol="0">
            <a:spAutoFit/>
          </a:bodyPr>
          <a:lstStyle>
            <a:defPPr>
              <a:defRPr lang="en-US"/>
            </a:defPPr>
            <a:lvl1pPr algn="ctr">
              <a:defRPr sz="950" b="1">
                <a:solidFill>
                  <a:srgbClr val="00A3DE"/>
                </a:solidFill>
                <a:latin typeface="CiscoSansTT" charset="0"/>
                <a:ea typeface="CiscoSansTT" charset="0"/>
                <a:cs typeface="CiscoSansTT" charset="0"/>
              </a:defRPr>
            </a:lvl1pPr>
          </a:lstStyle>
          <a:p>
            <a:r>
              <a:rPr lang="en-US" dirty="0"/>
              <a:t>Distributed Design</a:t>
            </a:r>
          </a:p>
        </p:txBody>
      </p:sp>
      <p:sp>
        <p:nvSpPr>
          <p:cNvPr id="65" name="TextBox 64">
            <a:hlinkClick r:id="" action="ppaction://noaction"/>
          </p:cNvPr>
          <p:cNvSpPr txBox="1"/>
          <p:nvPr/>
        </p:nvSpPr>
        <p:spPr>
          <a:xfrm>
            <a:off x="7459922" y="529075"/>
            <a:ext cx="1884405" cy="238527"/>
          </a:xfrm>
          <a:prstGeom prst="rect">
            <a:avLst/>
          </a:prstGeom>
          <a:noFill/>
        </p:spPr>
        <p:txBody>
          <a:bodyPr wrap="square" rtlCol="0">
            <a:spAutoFit/>
          </a:bodyPr>
          <a:lstStyle/>
          <a:p>
            <a:pPr algn="ctr"/>
            <a:r>
              <a:rPr lang="en-US" sz="950" dirty="0">
                <a:solidFill>
                  <a:srgbClr val="595959">
                    <a:lumMod val="50000"/>
                    <a:alpha val="80000"/>
                  </a:srgbClr>
                </a:solidFill>
                <a:latin typeface="CiscoSansTT" charset="0"/>
                <a:ea typeface="CiscoSansTT" charset="0"/>
                <a:cs typeface="CiscoSansTT" charset="0"/>
              </a:rPr>
              <a:t>Configuration BP</a:t>
            </a:r>
          </a:p>
        </p:txBody>
      </p:sp>
    </p:spTree>
    <p:extLst>
      <p:ext uri="{BB962C8B-B14F-4D97-AF65-F5344CB8AC3E}">
        <p14:creationId xmlns:p14="http://schemas.microsoft.com/office/powerpoint/2010/main" val="836572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8389" y="4131733"/>
            <a:ext cx="1555814" cy="1166860"/>
          </a:xfrm>
          <a:prstGeom prst="rect">
            <a:avLst/>
          </a:prstGeom>
        </p:spPr>
      </p:pic>
      <p:sp>
        <p:nvSpPr>
          <p:cNvPr id="11" name="Rectangle 10"/>
          <p:cNvSpPr/>
          <p:nvPr/>
        </p:nvSpPr>
        <p:spPr>
          <a:xfrm>
            <a:off x="807" y="0"/>
            <a:ext cx="1727668" cy="49708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hlinkClick r:id="rId4" action="ppaction://hlinksldjump"/>
          </p:cNvPr>
          <p:cNvSpPr txBox="1"/>
          <p:nvPr/>
        </p:nvSpPr>
        <p:spPr>
          <a:xfrm>
            <a:off x="74557" y="43106"/>
            <a:ext cx="1535424" cy="253916"/>
          </a:xfrm>
          <a:prstGeom prst="rect">
            <a:avLst/>
          </a:prstGeom>
          <a:noFill/>
        </p:spPr>
        <p:txBody>
          <a:bodyPr wrap="square" rtlCol="0">
            <a:spAutoFit/>
          </a:bodyPr>
          <a:lstStyle>
            <a:defPPr>
              <a:defRPr lang="en-US"/>
            </a:defPPr>
            <a:lvl1pPr algn="ctr" defTabSz="457200" fontAlgn="base">
              <a:spcBef>
                <a:spcPct val="0"/>
              </a:spcBef>
              <a:spcAft>
                <a:spcPct val="0"/>
              </a:spcAft>
              <a:defRPr sz="1050" b="1">
                <a:solidFill>
                  <a:srgbClr val="FFFFFF">
                    <a:lumMod val="50000"/>
                  </a:srgbClr>
                </a:solidFill>
                <a:latin typeface="CiscoSansTT ExtraLight"/>
                <a:ea typeface="CiscoSansTT Light" charset="0"/>
                <a:cs typeface="CiscoSansTT Light" charset="0"/>
              </a:defRPr>
            </a:lvl1pPr>
          </a:lstStyle>
          <a:p>
            <a:r>
              <a:rPr lang="en-US" dirty="0">
                <a:solidFill>
                  <a:schemeClr val="bg1"/>
                </a:solidFill>
              </a:rPr>
              <a:t>Peering Fabric Design</a:t>
            </a:r>
          </a:p>
        </p:txBody>
      </p:sp>
      <p:sp>
        <p:nvSpPr>
          <p:cNvPr id="2" name="Rectangle 1"/>
          <p:cNvSpPr/>
          <p:nvPr/>
        </p:nvSpPr>
        <p:spPr>
          <a:xfrm>
            <a:off x="344130" y="1051778"/>
            <a:ext cx="8696384" cy="1977464"/>
          </a:xfrm>
          <a:prstGeom prst="rect">
            <a:avLst/>
          </a:prstGeom>
        </p:spPr>
        <p:txBody>
          <a:bodyPr wrap="square">
            <a:spAutoFit/>
          </a:bodyPr>
          <a:lstStyle/>
          <a:p>
            <a:pPr marL="285750" indent="-285750">
              <a:lnSpc>
                <a:spcPts val="1400"/>
              </a:lnSpc>
              <a:spcAft>
                <a:spcPts val="700"/>
              </a:spcAft>
              <a:buFont typeface="Wingdings" charset="2"/>
              <a:buChar char="v"/>
              <a:tabLst>
                <a:tab pos="457200" algn="l"/>
                <a:tab pos="914400" algn="l"/>
                <a:tab pos="1371600" algn="l"/>
                <a:tab pos="1828800" algn="l"/>
                <a:tab pos="2286000" algn="l"/>
                <a:tab pos="2743200" algn="l"/>
                <a:tab pos="3200400" algn="l"/>
                <a:tab pos="3708400" algn="l"/>
                <a:tab pos="4114800" algn="l"/>
                <a:tab pos="4572000" algn="l"/>
                <a:tab pos="5029200" algn="l"/>
              </a:tabLst>
            </a:pPr>
            <a:r>
              <a:rPr lang="en-US" sz="1200" kern="0" dirty="0">
                <a:solidFill>
                  <a:srgbClr val="282828"/>
                </a:solidFill>
                <a:latin typeface="CiscoSansTT ExtraLight"/>
                <a:ea typeface="ＭＳ Ｐゴシック" charset="0"/>
                <a:cs typeface="ＭＳ Ｐゴシック" charset="0"/>
                <a:sym typeface="Arial" pitchFamily="34" charset="0"/>
              </a:rPr>
              <a:t>Service providers have been facing the following issue in peering networks:  </a:t>
            </a:r>
          </a:p>
          <a:p>
            <a:pPr marL="628650" lvl="1" indent="-285750">
              <a:lnSpc>
                <a:spcPts val="1400"/>
              </a:lnSpc>
              <a:spcAft>
                <a:spcPts val="700"/>
              </a:spcAft>
              <a:buFont typeface="Courier New" charset="0"/>
              <a:buChar char="o"/>
              <a:tabLst>
                <a:tab pos="457200" algn="l"/>
                <a:tab pos="914400" algn="l"/>
                <a:tab pos="1371600" algn="l"/>
                <a:tab pos="1828800" algn="l"/>
                <a:tab pos="2286000" algn="l"/>
                <a:tab pos="2743200" algn="l"/>
                <a:tab pos="3200400" algn="l"/>
                <a:tab pos="3708400" algn="l"/>
                <a:tab pos="4114800" algn="l"/>
                <a:tab pos="4572000" algn="l"/>
                <a:tab pos="5029200" algn="l"/>
              </a:tabLst>
            </a:pPr>
            <a:r>
              <a:rPr lang="en-US" sz="1200" b="1" kern="0" dirty="0">
                <a:solidFill>
                  <a:srgbClr val="0070C0"/>
                </a:solidFill>
                <a:latin typeface="CiscoSansTT ExtraLight"/>
                <a:ea typeface="ＭＳ Ｐゴシック" charset="0"/>
                <a:cs typeface="ＭＳ Ｐゴシック" charset="0"/>
                <a:sym typeface="Arial" pitchFamily="34" charset="0"/>
              </a:rPr>
              <a:t>Problem:</a:t>
            </a:r>
            <a:r>
              <a:rPr lang="en-US" sz="1200" b="1" kern="0" dirty="0">
                <a:solidFill>
                  <a:srgbClr val="282828"/>
                </a:solidFill>
                <a:latin typeface="CiscoSansTT ExtraLight"/>
                <a:ea typeface="ＭＳ Ｐゴシック" charset="0"/>
                <a:cs typeface="ＭＳ Ｐゴシック" charset="0"/>
                <a:sym typeface="Arial" pitchFamily="34" charset="0"/>
              </a:rPr>
              <a:t> </a:t>
            </a:r>
            <a:r>
              <a:rPr lang="en-US" sz="1200" kern="0" dirty="0">
                <a:solidFill>
                  <a:srgbClr val="282828"/>
                </a:solidFill>
                <a:latin typeface="CiscoSansTT ExtraLight"/>
                <a:ea typeface="ＭＳ Ｐゴシック" charset="0"/>
                <a:cs typeface="ＭＳ Ｐゴシック" charset="0"/>
                <a:sym typeface="Arial" pitchFamily="34" charset="0"/>
              </a:rPr>
              <a:t>Engineering the best network exit path that is cost-efficient while providing good user experience metrics (latency, link utilization &amp; traffic loss).</a:t>
            </a:r>
          </a:p>
          <a:p>
            <a:pPr marL="628650" lvl="1" indent="-285750">
              <a:lnSpc>
                <a:spcPts val="1400"/>
              </a:lnSpc>
              <a:spcAft>
                <a:spcPts val="700"/>
              </a:spcAft>
              <a:buFont typeface="Courier New" charset="0"/>
              <a:buChar char="o"/>
              <a:tabLst>
                <a:tab pos="457200" algn="l"/>
                <a:tab pos="914400" algn="l"/>
                <a:tab pos="1371600" algn="l"/>
                <a:tab pos="1828800" algn="l"/>
                <a:tab pos="2286000" algn="l"/>
                <a:tab pos="2743200" algn="l"/>
                <a:tab pos="3200400" algn="l"/>
                <a:tab pos="3708400" algn="l"/>
                <a:tab pos="4114800" algn="l"/>
                <a:tab pos="4572000" algn="l"/>
                <a:tab pos="5029200" algn="l"/>
              </a:tabLst>
            </a:pPr>
            <a:r>
              <a:rPr lang="en-US" sz="1200" b="1" kern="0" dirty="0">
                <a:solidFill>
                  <a:srgbClr val="0070C0"/>
                </a:solidFill>
                <a:latin typeface="CiscoSansTT ExtraLight"/>
                <a:ea typeface="ＭＳ Ｐゴシック" charset="0"/>
                <a:cs typeface="ＭＳ Ｐゴシック" charset="0"/>
                <a:sym typeface="Arial" pitchFamily="34" charset="0"/>
              </a:rPr>
              <a:t>Solution: </a:t>
            </a:r>
            <a:r>
              <a:rPr lang="en-US" sz="1200" kern="0" dirty="0">
                <a:solidFill>
                  <a:srgbClr val="282828"/>
                </a:solidFill>
                <a:latin typeface="CiscoSansTT ExtraLight"/>
                <a:ea typeface="ＭＳ Ｐゴシック" charset="0"/>
                <a:cs typeface="ＭＳ Ｐゴシック" charset="0"/>
                <a:sym typeface="Arial" pitchFamily="34" charset="0"/>
              </a:rPr>
              <a:t>Segment Routing Egress Peer Engineering (EPE).</a:t>
            </a:r>
          </a:p>
          <a:p>
            <a:pPr marL="628650" lvl="1" indent="-285750">
              <a:lnSpc>
                <a:spcPts val="1400"/>
              </a:lnSpc>
              <a:spcAft>
                <a:spcPts val="700"/>
              </a:spcAft>
              <a:buFont typeface="Wingdings" charset="2"/>
              <a:buChar char="v"/>
              <a:tabLst>
                <a:tab pos="457200" algn="l"/>
                <a:tab pos="914400" algn="l"/>
                <a:tab pos="1371600" algn="l"/>
                <a:tab pos="1828800" algn="l"/>
                <a:tab pos="2286000" algn="l"/>
                <a:tab pos="2743200" algn="l"/>
                <a:tab pos="3200400" algn="l"/>
                <a:tab pos="3708400" algn="l"/>
                <a:tab pos="4114800" algn="l"/>
                <a:tab pos="4572000" algn="l"/>
                <a:tab pos="5029200" algn="l"/>
              </a:tabLst>
            </a:pPr>
            <a:endParaRPr lang="en-US" sz="1200" kern="0" dirty="0">
              <a:solidFill>
                <a:srgbClr val="282828"/>
              </a:solidFill>
              <a:latin typeface="CiscoSansTT ExtraLight"/>
              <a:ea typeface="ＭＳ Ｐゴシック" charset="0"/>
              <a:cs typeface="ＭＳ Ｐゴシック" charset="0"/>
              <a:sym typeface="Arial" pitchFamily="34" charset="0"/>
            </a:endParaRPr>
          </a:p>
          <a:p>
            <a:pPr marL="285750" indent="-285750">
              <a:lnSpc>
                <a:spcPts val="1400"/>
              </a:lnSpc>
              <a:spcAft>
                <a:spcPts val="700"/>
              </a:spcAft>
              <a:buFont typeface="Wingdings" charset="2"/>
              <a:buChar char="v"/>
              <a:tabLst>
                <a:tab pos="457200" algn="l"/>
                <a:tab pos="914400" algn="l"/>
                <a:tab pos="1371600" algn="l"/>
                <a:tab pos="1828800" algn="l"/>
                <a:tab pos="2286000" algn="l"/>
                <a:tab pos="2743200" algn="l"/>
                <a:tab pos="3200400" algn="l"/>
                <a:tab pos="3708400" algn="l"/>
                <a:tab pos="4114800" algn="l"/>
                <a:tab pos="4572000" algn="l"/>
                <a:tab pos="5029200" algn="l"/>
              </a:tabLst>
            </a:pPr>
            <a:r>
              <a:rPr lang="en-US" sz="1200" kern="0" dirty="0">
                <a:solidFill>
                  <a:srgbClr val="282828"/>
                </a:solidFill>
                <a:latin typeface="CiscoSansTT ExtraLight"/>
                <a:ea typeface="ＭＳ Ｐゴシック" charset="0"/>
                <a:cs typeface="ＭＳ Ｐゴシック" charset="0"/>
                <a:sym typeface="Arial" pitchFamily="34" charset="0"/>
              </a:rPr>
              <a:t>Segment Routing EPE enables Service Providers to dynamically adapt to the best path within their network and the optimal exit, based on the changing network environment.</a:t>
            </a:r>
          </a:p>
          <a:p>
            <a:pPr>
              <a:lnSpc>
                <a:spcPts val="1400"/>
              </a:lnSpc>
              <a:spcAft>
                <a:spcPts val="700"/>
              </a:spcAft>
              <a:tabLst>
                <a:tab pos="457200" algn="l"/>
                <a:tab pos="914400" algn="l"/>
                <a:tab pos="1371600" algn="l"/>
                <a:tab pos="1828800" algn="l"/>
                <a:tab pos="2286000" algn="l"/>
                <a:tab pos="2743200" algn="l"/>
                <a:tab pos="3200400" algn="l"/>
                <a:tab pos="3708400" algn="l"/>
                <a:tab pos="4114800" algn="l"/>
                <a:tab pos="4572000" algn="l"/>
                <a:tab pos="5029200" algn="l"/>
              </a:tabLst>
            </a:pPr>
            <a:endParaRPr lang="en-US" sz="1400" dirty="0">
              <a:solidFill>
                <a:srgbClr val="58595B"/>
              </a:solidFill>
              <a:effectLst/>
              <a:latin typeface="CiscoSans Light" charset="0"/>
              <a:ea typeface="Times New Roman" charset="0"/>
              <a:cs typeface="Times New Roman" charset="0"/>
            </a:endParaRP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09981" y="3166894"/>
            <a:ext cx="5664405" cy="1452716"/>
          </a:xfrm>
          <a:prstGeom prst="rect">
            <a:avLst/>
          </a:prstGeom>
        </p:spPr>
      </p:pic>
      <p:pic>
        <p:nvPicPr>
          <p:cNvPr id="2050" name="Picture 2" descr="ttps://upload.wikimedia.org/wikipedia/commons/f/f1/Check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619" y="2572179"/>
            <a:ext cx="941751" cy="914126"/>
          </a:xfrm>
          <a:prstGeom prst="rect">
            <a:avLst/>
          </a:prstGeom>
          <a:noFill/>
          <a:extLst>
            <a:ext uri="{909E8E84-426E-40DD-AFC4-6F175D3DCCD1}">
              <a14:hiddenFill xmlns:a14="http://schemas.microsoft.com/office/drawing/2010/main">
                <a:solidFill>
                  <a:srgbClr val="FFFFFF"/>
                </a:solidFill>
              </a14:hiddenFill>
            </a:ext>
          </a:extLst>
        </p:spPr>
      </p:pic>
      <p:sp>
        <p:nvSpPr>
          <p:cNvPr id="30" name="Rounded Rectangle 29"/>
          <p:cNvSpPr/>
          <p:nvPr/>
        </p:nvSpPr>
        <p:spPr>
          <a:xfrm>
            <a:off x="6180835" y="2680810"/>
            <a:ext cx="2625213" cy="696864"/>
          </a:xfrm>
          <a:prstGeom prst="roundRect">
            <a:avLst/>
          </a:prstGeom>
          <a:solidFill>
            <a:srgbClr val="92D050"/>
          </a:solidFill>
          <a:ln w="25400" cap="flat" cmpd="sng" algn="ctr">
            <a:noFill/>
            <a:prstDash val="solid"/>
          </a:ln>
          <a:effectLst/>
        </p:spPr>
        <p:txBody>
          <a:bodyPr rtlCol="0" anchor="ctr"/>
          <a:lstStyle/>
          <a:p>
            <a:pPr defTabSz="914400"/>
            <a:r>
              <a:rPr lang="en-US" sz="1200" b="1" kern="0" dirty="0">
                <a:solidFill>
                  <a:srgbClr val="005073"/>
                </a:solidFill>
                <a:latin typeface="CiscoSansTT ExtraLight"/>
                <a:ea typeface=""/>
                <a:cs typeface=""/>
              </a:rPr>
              <a:t>Optimal exit link chosen:</a:t>
            </a:r>
          </a:p>
          <a:p>
            <a:pPr marL="514350" lvl="1" indent="-171450" defTabSz="914400">
              <a:buFont typeface="Arial" charset="0"/>
              <a:buChar char="•"/>
            </a:pPr>
            <a:r>
              <a:rPr lang="en-US" sz="1200" b="1" kern="0" dirty="0">
                <a:solidFill>
                  <a:srgbClr val="005073"/>
                </a:solidFill>
                <a:latin typeface="CiscoSansTT ExtraLight"/>
                <a:ea typeface=""/>
                <a:cs typeface=""/>
              </a:rPr>
              <a:t>Low cost (private peer)</a:t>
            </a:r>
          </a:p>
          <a:p>
            <a:pPr marL="514350" lvl="1" indent="-171450" defTabSz="914400">
              <a:buFont typeface="Arial" charset="0"/>
              <a:buChar char="•"/>
            </a:pPr>
            <a:r>
              <a:rPr lang="en-US" sz="1200" b="1" kern="0" dirty="0">
                <a:solidFill>
                  <a:srgbClr val="005073"/>
                </a:solidFill>
                <a:latin typeface="CiscoSansTT ExtraLight"/>
                <a:ea typeface=""/>
                <a:cs typeface=""/>
              </a:rPr>
              <a:t>Low utilization link</a:t>
            </a:r>
          </a:p>
        </p:txBody>
      </p:sp>
      <p:sp>
        <p:nvSpPr>
          <p:cNvPr id="20" name="Rectangle 19"/>
          <p:cNvSpPr/>
          <p:nvPr/>
        </p:nvSpPr>
        <p:spPr>
          <a:xfrm>
            <a:off x="0" y="497090"/>
            <a:ext cx="9143999" cy="238527"/>
          </a:xfrm>
          <a:prstGeom prst="rect">
            <a:avLst/>
          </a:prstGeom>
          <a:noFill/>
        </p:spPr>
        <p:txBody>
          <a:bodyPr wrap="square" rtlCol="0">
            <a:spAutoFit/>
          </a:bodyPr>
          <a:lstStyle/>
          <a:p>
            <a:pPr algn="ctr"/>
            <a:endParaRPr lang="en-US" sz="950" dirty="0">
              <a:solidFill>
                <a:srgbClr val="595959">
                  <a:lumMod val="50000"/>
                  <a:alpha val="80000"/>
                </a:srgbClr>
              </a:solidFill>
              <a:latin typeface="CiscoSansTT" charset="0"/>
              <a:ea typeface="CiscoSansTT" charset="0"/>
              <a:cs typeface="CiscoSansTT" charset="0"/>
            </a:endParaRPr>
          </a:p>
        </p:txBody>
      </p:sp>
      <p:sp>
        <p:nvSpPr>
          <p:cNvPr id="21" name="Rectangle 20"/>
          <p:cNvSpPr/>
          <p:nvPr/>
        </p:nvSpPr>
        <p:spPr>
          <a:xfrm>
            <a:off x="0" y="497089"/>
            <a:ext cx="9143999" cy="298439"/>
          </a:xfrm>
          <a:prstGeom prst="rect">
            <a:avLst/>
          </a:prstGeom>
          <a:solidFill>
            <a:srgbClr val="FFFFFF">
              <a:lumMod val="95000"/>
            </a:srgbClr>
          </a:solidFill>
          <a:ln w="25400" cap="flat" cmpd="sng" algn="ctr">
            <a:noFill/>
            <a:prstDash val="solid"/>
          </a:ln>
          <a:effectLst/>
        </p:spPr>
        <p:txBody>
          <a:bodyPr rtlCol="0" anchor="ctr"/>
          <a:lstStyle/>
          <a:p>
            <a:pPr algn="ctr" defTabSz="457200" fontAlgn="base">
              <a:spcBef>
                <a:spcPct val="0"/>
              </a:spcBef>
              <a:spcAft>
                <a:spcPct val="0"/>
              </a:spcAft>
              <a:defRPr/>
            </a:pPr>
            <a:endParaRPr lang="en-US" sz="1800" kern="0" dirty="0">
              <a:solidFill>
                <a:srgbClr val="005073"/>
              </a:solidFill>
              <a:latin typeface="CiscoSansTT ExtraLight"/>
              <a:ea typeface=""/>
              <a:cs typeface=""/>
            </a:endParaRPr>
          </a:p>
        </p:txBody>
      </p:sp>
      <p:sp>
        <p:nvSpPr>
          <p:cNvPr id="22" name="TextBox 21">
            <a:hlinkClick r:id="" action="ppaction://noaction"/>
          </p:cNvPr>
          <p:cNvSpPr txBox="1"/>
          <p:nvPr/>
        </p:nvSpPr>
        <p:spPr>
          <a:xfrm>
            <a:off x="-382955" y="529073"/>
            <a:ext cx="1912281"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Overview</a:t>
            </a:r>
          </a:p>
        </p:txBody>
      </p:sp>
      <p:sp>
        <p:nvSpPr>
          <p:cNvPr id="23" name="TextBox 22">
            <a:hlinkClick r:id="" action="ppaction://noaction"/>
          </p:cNvPr>
          <p:cNvSpPr txBox="1"/>
          <p:nvPr/>
        </p:nvSpPr>
        <p:spPr>
          <a:xfrm>
            <a:off x="1046011" y="529072"/>
            <a:ext cx="1884405"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Design Options</a:t>
            </a:r>
          </a:p>
        </p:txBody>
      </p:sp>
      <p:sp>
        <p:nvSpPr>
          <p:cNvPr id="24" name="TextBox 23">
            <a:hlinkClick r:id="" action="ppaction://noaction"/>
          </p:cNvPr>
          <p:cNvSpPr txBox="1"/>
          <p:nvPr/>
        </p:nvSpPr>
        <p:spPr>
          <a:xfrm>
            <a:off x="4332605" y="534872"/>
            <a:ext cx="1884405" cy="238527"/>
          </a:xfrm>
          <a:prstGeom prst="rect">
            <a:avLst/>
          </a:prstGeom>
          <a:noFill/>
        </p:spPr>
        <p:txBody>
          <a:bodyPr wrap="square" rtlCol="0">
            <a:spAutoFit/>
          </a:bodyPr>
          <a:lstStyle>
            <a:defPPr>
              <a:defRPr lang="en-US"/>
            </a:defPPr>
            <a:lvl1pPr algn="ctr">
              <a:defRPr sz="950" b="1">
                <a:solidFill>
                  <a:srgbClr val="00A3DE"/>
                </a:solidFill>
                <a:latin typeface="CiscoSansTT" charset="0"/>
                <a:ea typeface="CiscoSansTT" charset="0"/>
                <a:cs typeface="CiscoSansTT" charset="0"/>
              </a:defRPr>
            </a:lvl1pPr>
          </a:lstStyle>
          <a:p>
            <a:r>
              <a:rPr lang="en-US" b="0" dirty="0">
                <a:solidFill>
                  <a:srgbClr val="595959">
                    <a:lumMod val="50000"/>
                    <a:alpha val="80000"/>
                  </a:srgbClr>
                </a:solidFill>
              </a:rPr>
              <a:t>Automation &amp; Telemetry</a:t>
            </a:r>
          </a:p>
        </p:txBody>
      </p:sp>
      <p:sp>
        <p:nvSpPr>
          <p:cNvPr id="25" name="TextBox 24">
            <a:hlinkClick r:id="" action="ppaction://noaction"/>
          </p:cNvPr>
          <p:cNvSpPr txBox="1"/>
          <p:nvPr/>
        </p:nvSpPr>
        <p:spPr>
          <a:xfrm>
            <a:off x="5901950" y="540366"/>
            <a:ext cx="1884405"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b="1" dirty="0">
                <a:solidFill>
                  <a:srgbClr val="00A3DE"/>
                </a:solidFill>
              </a:rPr>
              <a:t>Segment Routing</a:t>
            </a:r>
          </a:p>
        </p:txBody>
      </p:sp>
      <p:sp>
        <p:nvSpPr>
          <p:cNvPr id="26" name="TextBox 25">
            <a:hlinkClick r:id="" action="ppaction://noaction"/>
          </p:cNvPr>
          <p:cNvSpPr txBox="1"/>
          <p:nvPr/>
        </p:nvSpPr>
        <p:spPr>
          <a:xfrm>
            <a:off x="2708489" y="540366"/>
            <a:ext cx="1884405" cy="238527"/>
          </a:xfrm>
          <a:prstGeom prst="rect">
            <a:avLst/>
          </a:prstGeom>
          <a:noFill/>
        </p:spPr>
        <p:txBody>
          <a:bodyPr wrap="square" rtlCol="0">
            <a:spAutoFit/>
          </a:bodyPr>
          <a:lstStyle>
            <a:defPPr>
              <a:defRPr lang="en-US"/>
            </a:defPPr>
            <a:lvl1pPr algn="ctr">
              <a:defRPr sz="950">
                <a:solidFill>
                  <a:srgbClr val="595959">
                    <a:lumMod val="50000"/>
                    <a:alpha val="80000"/>
                  </a:srgbClr>
                </a:solidFill>
                <a:latin typeface="CiscoSansTT" charset="0"/>
                <a:ea typeface="CiscoSansTT" charset="0"/>
                <a:cs typeface="CiscoSansTT" charset="0"/>
              </a:defRPr>
            </a:lvl1pPr>
          </a:lstStyle>
          <a:p>
            <a:r>
              <a:rPr lang="en-US" dirty="0"/>
              <a:t>Distributed Design</a:t>
            </a:r>
          </a:p>
        </p:txBody>
      </p:sp>
      <p:sp>
        <p:nvSpPr>
          <p:cNvPr id="27" name="TextBox 26">
            <a:hlinkClick r:id="" action="ppaction://noaction"/>
          </p:cNvPr>
          <p:cNvSpPr txBox="1"/>
          <p:nvPr/>
        </p:nvSpPr>
        <p:spPr>
          <a:xfrm>
            <a:off x="7459922" y="529075"/>
            <a:ext cx="1884405" cy="238527"/>
          </a:xfrm>
          <a:prstGeom prst="rect">
            <a:avLst/>
          </a:prstGeom>
          <a:noFill/>
        </p:spPr>
        <p:txBody>
          <a:bodyPr wrap="square" rtlCol="0">
            <a:spAutoFit/>
          </a:bodyPr>
          <a:lstStyle/>
          <a:p>
            <a:pPr algn="ctr"/>
            <a:r>
              <a:rPr lang="en-US" sz="950" dirty="0">
                <a:solidFill>
                  <a:srgbClr val="595959">
                    <a:lumMod val="50000"/>
                    <a:alpha val="80000"/>
                  </a:srgbClr>
                </a:solidFill>
                <a:latin typeface="CiscoSansTT" charset="0"/>
                <a:ea typeface="CiscoSansTT" charset="0"/>
                <a:cs typeface="CiscoSansTT" charset="0"/>
              </a:rPr>
              <a:t>Configuration BP</a:t>
            </a:r>
          </a:p>
        </p:txBody>
      </p:sp>
    </p:spTree>
    <p:extLst>
      <p:ext uri="{BB962C8B-B14F-4D97-AF65-F5344CB8AC3E}">
        <p14:creationId xmlns:p14="http://schemas.microsoft.com/office/powerpoint/2010/main" val="208530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3" name="Right Bracket 432">
            <a:extLst>
              <a:ext uri="{FF2B5EF4-FFF2-40B4-BE49-F238E27FC236}">
                <a16:creationId xmlns:a16="http://schemas.microsoft.com/office/drawing/2014/main" id="{CC545D59-401D-7446-9B6E-C58BAA9B4AF1}"/>
              </a:ext>
            </a:extLst>
          </p:cNvPr>
          <p:cNvSpPr/>
          <p:nvPr/>
        </p:nvSpPr>
        <p:spPr>
          <a:xfrm flipV="1">
            <a:off x="5688898" y="1000014"/>
            <a:ext cx="2299583" cy="618083"/>
          </a:xfrm>
          <a:prstGeom prst="rightBracket">
            <a:avLst>
              <a:gd name="adj" fmla="val 19811"/>
            </a:avLst>
          </a:prstGeom>
          <a:solidFill>
            <a:schemeClr val="tx2"/>
          </a:solidFill>
          <a:ln w="222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2"/>
              </a:solidFill>
            </a:endParaRPr>
          </a:p>
        </p:txBody>
      </p:sp>
      <p:sp>
        <p:nvSpPr>
          <p:cNvPr id="432" name="Right Bracket 431">
            <a:extLst>
              <a:ext uri="{FF2B5EF4-FFF2-40B4-BE49-F238E27FC236}">
                <a16:creationId xmlns:a16="http://schemas.microsoft.com/office/drawing/2014/main" id="{77589443-0078-9B4E-83C2-F139CB8117F4}"/>
              </a:ext>
            </a:extLst>
          </p:cNvPr>
          <p:cNvSpPr/>
          <p:nvPr/>
        </p:nvSpPr>
        <p:spPr>
          <a:xfrm flipH="1" flipV="1">
            <a:off x="3394885" y="999061"/>
            <a:ext cx="2299583" cy="618083"/>
          </a:xfrm>
          <a:prstGeom prst="rightBracket">
            <a:avLst>
              <a:gd name="adj" fmla="val 19811"/>
            </a:avLst>
          </a:prstGeom>
          <a:solidFill>
            <a:schemeClr val="tx2"/>
          </a:solidFill>
          <a:ln w="222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2"/>
              </a:solidFill>
            </a:endParaRPr>
          </a:p>
        </p:txBody>
      </p:sp>
      <p:sp>
        <p:nvSpPr>
          <p:cNvPr id="2" name="Title 1"/>
          <p:cNvSpPr>
            <a:spLocks noGrp="1"/>
          </p:cNvSpPr>
          <p:nvPr>
            <p:ph type="title"/>
          </p:nvPr>
        </p:nvSpPr>
        <p:spPr>
          <a:xfrm>
            <a:off x="371932" y="206878"/>
            <a:ext cx="8345488" cy="731837"/>
          </a:xfrm>
        </p:spPr>
        <p:txBody>
          <a:bodyPr>
            <a:normAutofit/>
          </a:bodyPr>
          <a:lstStyle/>
          <a:p>
            <a:r>
              <a:rPr lang="en-US" dirty="0"/>
              <a:t>Converged SDN-enabled IP transport</a:t>
            </a:r>
          </a:p>
        </p:txBody>
      </p:sp>
      <p:sp>
        <p:nvSpPr>
          <p:cNvPr id="267" name="Rectangle 266">
            <a:extLst>
              <a:ext uri="{FF2B5EF4-FFF2-40B4-BE49-F238E27FC236}">
                <a16:creationId xmlns:a16="http://schemas.microsoft.com/office/drawing/2014/main" id="{1F0515B8-96EB-EF4C-82A8-C4085FF3F8B8}"/>
              </a:ext>
            </a:extLst>
          </p:cNvPr>
          <p:cNvSpPr/>
          <p:nvPr/>
        </p:nvSpPr>
        <p:spPr>
          <a:xfrm>
            <a:off x="4831" y="3496219"/>
            <a:ext cx="9144000" cy="560951"/>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269" name="Group 268">
            <a:extLst>
              <a:ext uri="{FF2B5EF4-FFF2-40B4-BE49-F238E27FC236}">
                <a16:creationId xmlns:a16="http://schemas.microsoft.com/office/drawing/2014/main" id="{B9095860-F5A3-E841-B82A-76589D50EC2F}"/>
              </a:ext>
            </a:extLst>
          </p:cNvPr>
          <p:cNvGrpSpPr/>
          <p:nvPr/>
        </p:nvGrpSpPr>
        <p:grpSpPr>
          <a:xfrm>
            <a:off x="3345171" y="3528048"/>
            <a:ext cx="1730664" cy="213585"/>
            <a:chOff x="1980115" y="2840234"/>
            <a:chExt cx="2178861" cy="343594"/>
          </a:xfrm>
        </p:grpSpPr>
        <p:grpSp>
          <p:nvGrpSpPr>
            <p:cNvPr id="270" name="Group 269">
              <a:extLst>
                <a:ext uri="{FF2B5EF4-FFF2-40B4-BE49-F238E27FC236}">
                  <a16:creationId xmlns:a16="http://schemas.microsoft.com/office/drawing/2014/main" id="{69F46D7A-0AC2-8D4F-A5F0-23DB6852EE50}"/>
                </a:ext>
              </a:extLst>
            </p:cNvPr>
            <p:cNvGrpSpPr/>
            <p:nvPr/>
          </p:nvGrpSpPr>
          <p:grpSpPr>
            <a:xfrm>
              <a:off x="1980115" y="2869735"/>
              <a:ext cx="2140029" cy="215665"/>
              <a:chOff x="2797978" y="2681964"/>
              <a:chExt cx="2586422" cy="260650"/>
            </a:xfrm>
            <a:solidFill>
              <a:schemeClr val="accent5"/>
            </a:solidFill>
          </p:grpSpPr>
          <p:sp>
            <p:nvSpPr>
              <p:cNvPr id="273" name="Rectangle 272">
                <a:extLst>
                  <a:ext uri="{FF2B5EF4-FFF2-40B4-BE49-F238E27FC236}">
                    <a16:creationId xmlns:a16="http://schemas.microsoft.com/office/drawing/2014/main" id="{5EEEDB96-A28D-134A-B538-C89D7F340C73}"/>
                  </a:ext>
                </a:extLst>
              </p:cNvPr>
              <p:cNvSpPr/>
              <p:nvPr/>
            </p:nvSpPr>
            <p:spPr>
              <a:xfrm>
                <a:off x="2851341" y="2681964"/>
                <a:ext cx="2533059" cy="260643"/>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274" name="Oval 273">
                <a:extLst>
                  <a:ext uri="{FF2B5EF4-FFF2-40B4-BE49-F238E27FC236}">
                    <a16:creationId xmlns:a16="http://schemas.microsoft.com/office/drawing/2014/main" id="{19BCD75E-EF5D-F94B-800B-9FD173A8238B}"/>
                  </a:ext>
                </a:extLst>
              </p:cNvPr>
              <p:cNvSpPr/>
              <p:nvPr/>
            </p:nvSpPr>
            <p:spPr>
              <a:xfrm flipH="1">
                <a:off x="2797978" y="2683123"/>
                <a:ext cx="106721" cy="259491"/>
              </a:xfrm>
              <a:prstGeom prst="ellipse">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grpSp>
        <p:sp>
          <p:nvSpPr>
            <p:cNvPr id="271" name="Oval 270">
              <a:extLst>
                <a:ext uri="{FF2B5EF4-FFF2-40B4-BE49-F238E27FC236}">
                  <a16:creationId xmlns:a16="http://schemas.microsoft.com/office/drawing/2014/main" id="{9B0CBD0C-0012-F04E-BE6B-23882958DB9E}"/>
                </a:ext>
              </a:extLst>
            </p:cNvPr>
            <p:cNvSpPr/>
            <p:nvPr/>
          </p:nvSpPr>
          <p:spPr>
            <a:xfrm flipH="1">
              <a:off x="4070674" y="2870679"/>
              <a:ext cx="88302" cy="214705"/>
            </a:xfrm>
            <a:prstGeom prst="ellipse">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272" name="TextBox 271">
              <a:extLst>
                <a:ext uri="{FF2B5EF4-FFF2-40B4-BE49-F238E27FC236}">
                  <a16:creationId xmlns:a16="http://schemas.microsoft.com/office/drawing/2014/main" id="{9A00B692-B652-A04F-8E3D-07F076F0BF6A}"/>
                </a:ext>
              </a:extLst>
            </p:cNvPr>
            <p:cNvSpPr txBox="1"/>
            <p:nvPr/>
          </p:nvSpPr>
          <p:spPr>
            <a:xfrm>
              <a:off x="2009523" y="2840234"/>
              <a:ext cx="946911" cy="343594"/>
            </a:xfrm>
            <a:prstGeom prst="rect">
              <a:avLst/>
            </a:prstGeom>
            <a:noFill/>
          </p:spPr>
          <p:txBody>
            <a:bodyPr wrap="none" rtlCol="0">
              <a:spAutoFit/>
            </a:bodyPr>
            <a:lstStyle/>
            <a:p>
              <a:r>
                <a:rPr lang="en-US" sz="788" dirty="0">
                  <a:solidFill>
                    <a:schemeClr val="accent4"/>
                  </a:solidFill>
                  <a:latin typeface="CiscoSansTT" panose="020B0503020201020303" pitchFamily="34" charset="0"/>
                  <a:cs typeface="CiscoSansTT" panose="020B0503020201020303" pitchFamily="34" charset="0"/>
                </a:rPr>
                <a:t>uRLLC Slice</a:t>
              </a:r>
            </a:p>
          </p:txBody>
        </p:sp>
      </p:grpSp>
      <p:grpSp>
        <p:nvGrpSpPr>
          <p:cNvPr id="275" name="Group 274">
            <a:extLst>
              <a:ext uri="{FF2B5EF4-FFF2-40B4-BE49-F238E27FC236}">
                <a16:creationId xmlns:a16="http://schemas.microsoft.com/office/drawing/2014/main" id="{41F7FEFB-5514-D74C-88AB-763E2ED0C644}"/>
              </a:ext>
            </a:extLst>
          </p:cNvPr>
          <p:cNvGrpSpPr/>
          <p:nvPr/>
        </p:nvGrpSpPr>
        <p:grpSpPr>
          <a:xfrm>
            <a:off x="3343990" y="3699088"/>
            <a:ext cx="2902713" cy="213585"/>
            <a:chOff x="1980115" y="3212411"/>
            <a:chExt cx="3654440" cy="360023"/>
          </a:xfrm>
        </p:grpSpPr>
        <p:grpSp>
          <p:nvGrpSpPr>
            <p:cNvPr id="276" name="Group 275">
              <a:extLst>
                <a:ext uri="{FF2B5EF4-FFF2-40B4-BE49-F238E27FC236}">
                  <a16:creationId xmlns:a16="http://schemas.microsoft.com/office/drawing/2014/main" id="{69E6AB00-6CFA-194A-82F1-FB3300EE33B1}"/>
                </a:ext>
              </a:extLst>
            </p:cNvPr>
            <p:cNvGrpSpPr/>
            <p:nvPr/>
          </p:nvGrpSpPr>
          <p:grpSpPr>
            <a:xfrm>
              <a:off x="1980115" y="3240784"/>
              <a:ext cx="3608788" cy="215658"/>
              <a:chOff x="2797978" y="2834275"/>
              <a:chExt cx="4361553" cy="260643"/>
            </a:xfrm>
            <a:solidFill>
              <a:schemeClr val="accent1"/>
            </a:solidFill>
          </p:grpSpPr>
          <p:sp>
            <p:nvSpPr>
              <p:cNvPr id="279" name="Rectangle 278">
                <a:extLst>
                  <a:ext uri="{FF2B5EF4-FFF2-40B4-BE49-F238E27FC236}">
                    <a16:creationId xmlns:a16="http://schemas.microsoft.com/office/drawing/2014/main" id="{5542F022-9F4E-5442-A64C-94919DEE37D7}"/>
                  </a:ext>
                </a:extLst>
              </p:cNvPr>
              <p:cNvSpPr/>
              <p:nvPr/>
            </p:nvSpPr>
            <p:spPr>
              <a:xfrm>
                <a:off x="2851340" y="2834275"/>
                <a:ext cx="4308191" cy="260642"/>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Oval 279">
                <a:extLst>
                  <a:ext uri="{FF2B5EF4-FFF2-40B4-BE49-F238E27FC236}">
                    <a16:creationId xmlns:a16="http://schemas.microsoft.com/office/drawing/2014/main" id="{26DE9598-88C7-3245-8719-B278E3AA23C6}"/>
                  </a:ext>
                </a:extLst>
              </p:cNvPr>
              <p:cNvSpPr/>
              <p:nvPr/>
            </p:nvSpPr>
            <p:spPr>
              <a:xfrm flipH="1">
                <a:off x="2797978" y="2835427"/>
                <a:ext cx="106721" cy="259491"/>
              </a:xfrm>
              <a:prstGeom prst="ellipse">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7" name="Oval 276">
              <a:extLst>
                <a:ext uri="{FF2B5EF4-FFF2-40B4-BE49-F238E27FC236}">
                  <a16:creationId xmlns:a16="http://schemas.microsoft.com/office/drawing/2014/main" id="{234AF48C-61AD-2E43-BA80-E69DFBF9AFB0}"/>
                </a:ext>
              </a:extLst>
            </p:cNvPr>
            <p:cNvSpPr/>
            <p:nvPr/>
          </p:nvSpPr>
          <p:spPr>
            <a:xfrm flipH="1">
              <a:off x="5546253" y="3241750"/>
              <a:ext cx="88302" cy="214705"/>
            </a:xfrm>
            <a:prstGeom prst="ellipse">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8" name="TextBox 277">
              <a:extLst>
                <a:ext uri="{FF2B5EF4-FFF2-40B4-BE49-F238E27FC236}">
                  <a16:creationId xmlns:a16="http://schemas.microsoft.com/office/drawing/2014/main" id="{C0BF518C-5CA3-6343-8DEE-BC332582ED7D}"/>
                </a:ext>
              </a:extLst>
            </p:cNvPr>
            <p:cNvSpPr txBox="1"/>
            <p:nvPr/>
          </p:nvSpPr>
          <p:spPr>
            <a:xfrm>
              <a:off x="2032477" y="3212411"/>
              <a:ext cx="910584" cy="360023"/>
            </a:xfrm>
            <a:prstGeom prst="rect">
              <a:avLst/>
            </a:prstGeom>
            <a:noFill/>
          </p:spPr>
          <p:txBody>
            <a:bodyPr wrap="none" rtlCol="0">
              <a:spAutoFit/>
            </a:bodyPr>
            <a:lstStyle/>
            <a:p>
              <a:r>
                <a:rPr lang="en-US" sz="788" dirty="0">
                  <a:solidFill>
                    <a:schemeClr val="accent4"/>
                  </a:solidFill>
                  <a:latin typeface="CiscoSansTT" panose="020B0503020201020303" pitchFamily="34" charset="0"/>
                  <a:cs typeface="CiscoSansTT" panose="020B0503020201020303" pitchFamily="34" charset="0"/>
                </a:rPr>
                <a:t>eMBB Slice</a:t>
              </a:r>
            </a:p>
          </p:txBody>
        </p:sp>
      </p:grpSp>
      <p:grpSp>
        <p:nvGrpSpPr>
          <p:cNvPr id="281" name="Group 280">
            <a:extLst>
              <a:ext uri="{FF2B5EF4-FFF2-40B4-BE49-F238E27FC236}">
                <a16:creationId xmlns:a16="http://schemas.microsoft.com/office/drawing/2014/main" id="{3DE7F055-674B-2348-8B68-EDD22E064DBA}"/>
              </a:ext>
            </a:extLst>
          </p:cNvPr>
          <p:cNvGrpSpPr/>
          <p:nvPr/>
        </p:nvGrpSpPr>
        <p:grpSpPr>
          <a:xfrm>
            <a:off x="3339675" y="3853869"/>
            <a:ext cx="4900440" cy="207749"/>
            <a:chOff x="1980115" y="3454010"/>
            <a:chExt cx="6169527" cy="349451"/>
          </a:xfrm>
        </p:grpSpPr>
        <p:grpSp>
          <p:nvGrpSpPr>
            <p:cNvPr id="282" name="Group 281">
              <a:extLst>
                <a:ext uri="{FF2B5EF4-FFF2-40B4-BE49-F238E27FC236}">
                  <a16:creationId xmlns:a16="http://schemas.microsoft.com/office/drawing/2014/main" id="{348CEF39-5DF9-1B44-940E-0DBF0E7EF2C4}"/>
                </a:ext>
              </a:extLst>
            </p:cNvPr>
            <p:cNvGrpSpPr/>
            <p:nvPr/>
          </p:nvGrpSpPr>
          <p:grpSpPr>
            <a:xfrm>
              <a:off x="1980115" y="3491283"/>
              <a:ext cx="6125659" cy="215654"/>
              <a:chOff x="2797978" y="2840904"/>
              <a:chExt cx="7403424" cy="260641"/>
            </a:xfrm>
            <a:solidFill>
              <a:schemeClr val="accent2"/>
            </a:solidFill>
          </p:grpSpPr>
          <p:sp>
            <p:nvSpPr>
              <p:cNvPr id="285" name="Rectangle 284">
                <a:extLst>
                  <a:ext uri="{FF2B5EF4-FFF2-40B4-BE49-F238E27FC236}">
                    <a16:creationId xmlns:a16="http://schemas.microsoft.com/office/drawing/2014/main" id="{8319E696-8BC3-944E-A4A8-99ED5C9CCAF6}"/>
                  </a:ext>
                </a:extLst>
              </p:cNvPr>
              <p:cNvSpPr/>
              <p:nvPr/>
            </p:nvSpPr>
            <p:spPr>
              <a:xfrm>
                <a:off x="2851340" y="2840904"/>
                <a:ext cx="7350062" cy="260641"/>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86" name="Oval 285">
                <a:extLst>
                  <a:ext uri="{FF2B5EF4-FFF2-40B4-BE49-F238E27FC236}">
                    <a16:creationId xmlns:a16="http://schemas.microsoft.com/office/drawing/2014/main" id="{E8BC0C34-B761-3B4C-8706-0916981BF3CF}"/>
                  </a:ext>
                </a:extLst>
              </p:cNvPr>
              <p:cNvSpPr/>
              <p:nvPr/>
            </p:nvSpPr>
            <p:spPr>
              <a:xfrm flipH="1">
                <a:off x="2797978" y="2842043"/>
                <a:ext cx="106721" cy="259491"/>
              </a:xfrm>
              <a:prstGeom prst="ellipse">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sp>
          <p:nvSpPr>
            <p:cNvPr id="283" name="Oval 282">
              <a:extLst>
                <a:ext uri="{FF2B5EF4-FFF2-40B4-BE49-F238E27FC236}">
                  <a16:creationId xmlns:a16="http://schemas.microsoft.com/office/drawing/2014/main" id="{C8D5EDC0-7BEC-3E41-B535-111D18E7CAC8}"/>
                </a:ext>
              </a:extLst>
            </p:cNvPr>
            <p:cNvSpPr/>
            <p:nvPr/>
          </p:nvSpPr>
          <p:spPr>
            <a:xfrm flipH="1">
              <a:off x="8061340" y="3492252"/>
              <a:ext cx="88302" cy="214705"/>
            </a:xfrm>
            <a:prstGeom prst="ellipse">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84" name="TextBox 283">
              <a:extLst>
                <a:ext uri="{FF2B5EF4-FFF2-40B4-BE49-F238E27FC236}">
                  <a16:creationId xmlns:a16="http://schemas.microsoft.com/office/drawing/2014/main" id="{C1316D4A-99B0-EC45-98E0-4F2039998A77}"/>
                </a:ext>
              </a:extLst>
            </p:cNvPr>
            <p:cNvSpPr txBox="1"/>
            <p:nvPr/>
          </p:nvSpPr>
          <p:spPr>
            <a:xfrm>
              <a:off x="2025862" y="3454010"/>
              <a:ext cx="950947" cy="349451"/>
            </a:xfrm>
            <a:prstGeom prst="rect">
              <a:avLst/>
            </a:prstGeom>
            <a:noFill/>
          </p:spPr>
          <p:txBody>
            <a:bodyPr wrap="none" rtlCol="0">
              <a:spAutoFit/>
            </a:bodyPr>
            <a:lstStyle/>
            <a:p>
              <a:r>
                <a:rPr lang="en-US" sz="750" dirty="0">
                  <a:solidFill>
                    <a:schemeClr val="accent4"/>
                  </a:solidFill>
                  <a:latin typeface="CiscoSansTT" panose="020B0503020201020303" pitchFamily="34" charset="0"/>
                  <a:cs typeface="CiscoSansTT" panose="020B0503020201020303" pitchFamily="34" charset="0"/>
                </a:rPr>
                <a:t> </a:t>
              </a:r>
              <a:r>
                <a:rPr lang="en-US" sz="750" dirty="0" err="1">
                  <a:solidFill>
                    <a:schemeClr val="accent4"/>
                  </a:solidFill>
                  <a:latin typeface="CiscoSansTT" panose="020B0503020201020303" pitchFamily="34" charset="0"/>
                  <a:cs typeface="CiscoSansTT" panose="020B0503020201020303" pitchFamily="34" charset="0"/>
                </a:rPr>
                <a:t>mMTC</a:t>
              </a:r>
              <a:r>
                <a:rPr lang="en-US" sz="750" dirty="0">
                  <a:solidFill>
                    <a:schemeClr val="accent4"/>
                  </a:solidFill>
                  <a:latin typeface="CiscoSansTT" panose="020B0503020201020303" pitchFamily="34" charset="0"/>
                  <a:cs typeface="CiscoSansTT" panose="020B0503020201020303" pitchFamily="34" charset="0"/>
                </a:rPr>
                <a:t> Slice</a:t>
              </a:r>
            </a:p>
          </p:txBody>
        </p:sp>
      </p:grpSp>
      <p:sp>
        <p:nvSpPr>
          <p:cNvPr id="21" name="Rectangle 20">
            <a:extLst>
              <a:ext uri="{FF2B5EF4-FFF2-40B4-BE49-F238E27FC236}">
                <a16:creationId xmlns:a16="http://schemas.microsoft.com/office/drawing/2014/main" id="{28288E0F-E15B-4241-AFB1-92A10690F008}"/>
              </a:ext>
            </a:extLst>
          </p:cNvPr>
          <p:cNvSpPr/>
          <p:nvPr/>
        </p:nvSpPr>
        <p:spPr>
          <a:xfrm>
            <a:off x="631992" y="3672751"/>
            <a:ext cx="1082348" cy="253916"/>
          </a:xfrm>
          <a:prstGeom prst="rect">
            <a:avLst/>
          </a:prstGeom>
        </p:spPr>
        <p:txBody>
          <a:bodyPr wrap="none">
            <a:spAutoFit/>
          </a:bodyPr>
          <a:lstStyle/>
          <a:p>
            <a:pPr algn="ctr"/>
            <a:r>
              <a:rPr lang="en-US" sz="1050" dirty="0">
                <a:latin typeface="+mn-lt"/>
              </a:rPr>
              <a:t>network slicing</a:t>
            </a:r>
          </a:p>
        </p:txBody>
      </p:sp>
      <p:sp>
        <p:nvSpPr>
          <p:cNvPr id="395" name="Rounded Rectangle 5">
            <a:extLst>
              <a:ext uri="{FF2B5EF4-FFF2-40B4-BE49-F238E27FC236}">
                <a16:creationId xmlns:a16="http://schemas.microsoft.com/office/drawing/2014/main" id="{FD26C8AC-0B02-F440-9E87-797B21B0C689}"/>
              </a:ext>
            </a:extLst>
          </p:cNvPr>
          <p:cNvSpPr/>
          <p:nvPr/>
        </p:nvSpPr>
        <p:spPr>
          <a:xfrm>
            <a:off x="2173299" y="707967"/>
            <a:ext cx="5225034" cy="614195"/>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bg1"/>
              </a:solidFill>
            </a:endParaRPr>
          </a:p>
        </p:txBody>
      </p:sp>
      <p:sp>
        <p:nvSpPr>
          <p:cNvPr id="396" name="Rectangle 395">
            <a:extLst>
              <a:ext uri="{FF2B5EF4-FFF2-40B4-BE49-F238E27FC236}">
                <a16:creationId xmlns:a16="http://schemas.microsoft.com/office/drawing/2014/main" id="{ADE974A8-E8E6-CD47-8A95-8EB214506779}"/>
              </a:ext>
            </a:extLst>
          </p:cNvPr>
          <p:cNvSpPr/>
          <p:nvPr/>
        </p:nvSpPr>
        <p:spPr>
          <a:xfrm>
            <a:off x="5253812" y="1098849"/>
            <a:ext cx="1830950" cy="230832"/>
          </a:xfrm>
          <a:prstGeom prst="rect">
            <a:avLst/>
          </a:prstGeom>
          <a:noFill/>
        </p:spPr>
        <p:txBody>
          <a:bodyPr wrap="none">
            <a:spAutoFit/>
          </a:bodyPr>
          <a:lstStyle/>
          <a:p>
            <a:pPr algn="ctr"/>
            <a:r>
              <a:rPr lang="en-US" sz="900" dirty="0">
                <a:solidFill>
                  <a:schemeClr val="bg2"/>
                </a:solidFill>
                <a:latin typeface="+mn-lt"/>
                <a:cs typeface="CiscoSansTT Light" panose="020B0503020201020303" pitchFamily="34" charset="0"/>
              </a:rPr>
              <a:t>Crosswork Network Automation</a:t>
            </a:r>
          </a:p>
        </p:txBody>
      </p:sp>
      <p:sp>
        <p:nvSpPr>
          <p:cNvPr id="294" name="Rectangle: Rounded Corners 349">
            <a:extLst>
              <a:ext uri="{FF2B5EF4-FFF2-40B4-BE49-F238E27FC236}">
                <a16:creationId xmlns:a16="http://schemas.microsoft.com/office/drawing/2014/main" id="{24C3E233-D1F1-7549-950F-C1C1DCF16EBB}"/>
              </a:ext>
            </a:extLst>
          </p:cNvPr>
          <p:cNvSpPr/>
          <p:nvPr/>
        </p:nvSpPr>
        <p:spPr>
          <a:xfrm>
            <a:off x="0" y="4188191"/>
            <a:ext cx="9144000" cy="962502"/>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TT Light" panose="020B0503020201020303" pitchFamily="34" charset="0"/>
              <a:cs typeface="CiscoSansTT Light" panose="020B0503020201020303" pitchFamily="34" charset="0"/>
            </a:endParaRPr>
          </a:p>
        </p:txBody>
      </p:sp>
      <p:sp>
        <p:nvSpPr>
          <p:cNvPr id="309" name="TextBox 308">
            <a:extLst>
              <a:ext uri="{FF2B5EF4-FFF2-40B4-BE49-F238E27FC236}">
                <a16:creationId xmlns:a16="http://schemas.microsoft.com/office/drawing/2014/main" id="{579BE111-6A78-7848-858D-5D8154901821}"/>
              </a:ext>
            </a:extLst>
          </p:cNvPr>
          <p:cNvSpPr txBox="1"/>
          <p:nvPr/>
        </p:nvSpPr>
        <p:spPr>
          <a:xfrm>
            <a:off x="54194" y="4530367"/>
            <a:ext cx="941454" cy="400110"/>
          </a:xfrm>
          <a:prstGeom prst="rect">
            <a:avLst/>
          </a:prstGeom>
          <a:noFill/>
        </p:spPr>
        <p:txBody>
          <a:bodyPr wrap="square" rtlCol="0">
            <a:spAutoFit/>
          </a:bodyPr>
          <a:lstStyle/>
          <a:p>
            <a:pPr algn="r"/>
            <a:r>
              <a:rPr lang="en-US" sz="1000" dirty="0">
                <a:solidFill>
                  <a:schemeClr val="accent2">
                    <a:lumMod val="60000"/>
                    <a:lumOff val="40000"/>
                  </a:schemeClr>
                </a:solidFill>
                <a:latin typeface="CiscoSansTT" panose="020B0503020201020303" pitchFamily="34" charset="0"/>
                <a:cs typeface="CiscoSansTT" panose="020B0503020201020303" pitchFamily="34" charset="0"/>
              </a:rPr>
              <a:t>performance</a:t>
            </a:r>
          </a:p>
          <a:p>
            <a:pPr algn="r"/>
            <a:r>
              <a:rPr lang="en-US" sz="1000" dirty="0">
                <a:solidFill>
                  <a:schemeClr val="accent2">
                    <a:lumMod val="60000"/>
                    <a:lumOff val="40000"/>
                  </a:schemeClr>
                </a:solidFill>
                <a:latin typeface="CiscoSansTT" panose="020B0503020201020303" pitchFamily="34" charset="0"/>
                <a:cs typeface="CiscoSansTT" panose="020B0503020201020303" pitchFamily="34" charset="0"/>
              </a:rPr>
              <a:t>Increase</a:t>
            </a:r>
          </a:p>
        </p:txBody>
      </p:sp>
      <p:grpSp>
        <p:nvGrpSpPr>
          <p:cNvPr id="5" name="Group 4">
            <a:extLst>
              <a:ext uri="{FF2B5EF4-FFF2-40B4-BE49-F238E27FC236}">
                <a16:creationId xmlns:a16="http://schemas.microsoft.com/office/drawing/2014/main" id="{B153FA4B-A21A-724D-AEC3-93020699544A}"/>
              </a:ext>
            </a:extLst>
          </p:cNvPr>
          <p:cNvGrpSpPr/>
          <p:nvPr/>
        </p:nvGrpSpPr>
        <p:grpSpPr>
          <a:xfrm>
            <a:off x="1099534" y="4597018"/>
            <a:ext cx="1684940" cy="524237"/>
            <a:chOff x="1702550" y="6110792"/>
            <a:chExt cx="2246587" cy="698982"/>
          </a:xfrm>
        </p:grpSpPr>
        <p:sp>
          <p:nvSpPr>
            <p:cNvPr id="307" name="TextBox 306">
              <a:extLst>
                <a:ext uri="{FF2B5EF4-FFF2-40B4-BE49-F238E27FC236}">
                  <a16:creationId xmlns:a16="http://schemas.microsoft.com/office/drawing/2014/main" id="{8E0E88CF-4BCA-234F-8676-B71B064C4B2D}"/>
                </a:ext>
              </a:extLst>
            </p:cNvPr>
            <p:cNvSpPr txBox="1"/>
            <p:nvPr/>
          </p:nvSpPr>
          <p:spPr>
            <a:xfrm>
              <a:off x="2535929" y="6452672"/>
              <a:ext cx="1413208" cy="348813"/>
            </a:xfrm>
            <a:prstGeom prst="rect">
              <a:avLst/>
            </a:prstGeom>
            <a:noFill/>
          </p:spPr>
          <p:txBody>
            <a:bodyPr wrap="none" rtlCol="0">
              <a:spAutoFit/>
            </a:bodyPr>
            <a:lstStyle/>
            <a:p>
              <a:r>
                <a:rPr lang="en-US" sz="1100" dirty="0">
                  <a:solidFill>
                    <a:schemeClr val="bg2"/>
                  </a:solidFill>
                  <a:latin typeface="+mn-lt"/>
                </a:rPr>
                <a:t>300G System</a:t>
              </a:r>
            </a:p>
          </p:txBody>
        </p:sp>
        <p:sp>
          <p:nvSpPr>
            <p:cNvPr id="308" name="TextBox 307">
              <a:extLst>
                <a:ext uri="{FF2B5EF4-FFF2-40B4-BE49-F238E27FC236}">
                  <a16:creationId xmlns:a16="http://schemas.microsoft.com/office/drawing/2014/main" id="{CCBA0A94-95DD-2A4E-8D89-1122DFDB23ED}"/>
                </a:ext>
              </a:extLst>
            </p:cNvPr>
            <p:cNvSpPr txBox="1"/>
            <p:nvPr/>
          </p:nvSpPr>
          <p:spPr>
            <a:xfrm>
              <a:off x="1702550" y="6399406"/>
              <a:ext cx="755951" cy="410368"/>
            </a:xfrm>
            <a:prstGeom prst="rect">
              <a:avLst/>
            </a:prstGeom>
            <a:noFill/>
          </p:spPr>
          <p:txBody>
            <a:bodyPr wrap="square" rtlCol="0">
              <a:spAutoFit/>
            </a:bodyPr>
            <a:lstStyle/>
            <a:p>
              <a:r>
                <a:rPr lang="en-US" sz="1400" dirty="0">
                  <a:solidFill>
                    <a:schemeClr val="accent5"/>
                  </a:solidFill>
                  <a:latin typeface="CiscoSansTT Light" panose="020B0503020201020303" pitchFamily="34" charset="0"/>
                  <a:cs typeface="CiscoSansTT Light" panose="020B0503020201020303" pitchFamily="34" charset="0"/>
                </a:rPr>
                <a:t>x4.5 </a:t>
              </a:r>
            </a:p>
          </p:txBody>
        </p:sp>
        <p:sp>
          <p:nvSpPr>
            <p:cNvPr id="360" name="Rectangle 359">
              <a:extLst>
                <a:ext uri="{FF2B5EF4-FFF2-40B4-BE49-F238E27FC236}">
                  <a16:creationId xmlns:a16="http://schemas.microsoft.com/office/drawing/2014/main" id="{6AA508B7-40E7-624D-8BEB-A9B88D061E13}"/>
                </a:ext>
              </a:extLst>
            </p:cNvPr>
            <p:cNvSpPr/>
            <p:nvPr/>
          </p:nvSpPr>
          <p:spPr>
            <a:xfrm>
              <a:off x="2007659" y="6110792"/>
              <a:ext cx="1659242" cy="410369"/>
            </a:xfrm>
            <a:prstGeom prst="rect">
              <a:avLst/>
            </a:prstGeom>
          </p:spPr>
          <p:txBody>
            <a:bodyPr wrap="square" anchor="b">
              <a:spAutoFit/>
            </a:bodyPr>
            <a:lstStyle/>
            <a:p>
              <a:pPr algn="ctr"/>
              <a:r>
                <a:rPr lang="en-US" sz="1400" dirty="0">
                  <a:solidFill>
                    <a:schemeClr val="bg2"/>
                  </a:solidFill>
                  <a:latin typeface="CiscoSansTT Light" panose="020B0503020201020303" pitchFamily="34" charset="0"/>
                  <a:cs typeface="CiscoSansTT Light" panose="020B0503020201020303" pitchFamily="34" charset="0"/>
                </a:rPr>
                <a:t>NCS 540</a:t>
              </a:r>
            </a:p>
          </p:txBody>
        </p:sp>
        <p:sp>
          <p:nvSpPr>
            <p:cNvPr id="370" name="Freeform 5">
              <a:extLst>
                <a:ext uri="{FF2B5EF4-FFF2-40B4-BE49-F238E27FC236}">
                  <a16:creationId xmlns:a16="http://schemas.microsoft.com/office/drawing/2014/main" id="{A4FFA284-5845-8A46-AB10-8946CFFA6861}"/>
                </a:ext>
              </a:extLst>
            </p:cNvPr>
            <p:cNvSpPr>
              <a:spLocks/>
            </p:cNvSpPr>
            <p:nvPr/>
          </p:nvSpPr>
          <p:spPr bwMode="auto">
            <a:xfrm>
              <a:off x="2425831" y="6533837"/>
              <a:ext cx="100189" cy="15688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000" dirty="0">
                <a:solidFill>
                  <a:srgbClr val="282828"/>
                </a:solidFill>
              </a:endParaRPr>
            </a:p>
          </p:txBody>
        </p:sp>
      </p:grpSp>
      <p:grpSp>
        <p:nvGrpSpPr>
          <p:cNvPr id="390" name="Group 389">
            <a:extLst>
              <a:ext uri="{FF2B5EF4-FFF2-40B4-BE49-F238E27FC236}">
                <a16:creationId xmlns:a16="http://schemas.microsoft.com/office/drawing/2014/main" id="{40DBE48D-54E1-A44A-B9D0-58E7209A675D}"/>
              </a:ext>
            </a:extLst>
          </p:cNvPr>
          <p:cNvGrpSpPr/>
          <p:nvPr/>
        </p:nvGrpSpPr>
        <p:grpSpPr>
          <a:xfrm>
            <a:off x="2968808" y="4589360"/>
            <a:ext cx="1712022" cy="526531"/>
            <a:chOff x="1702550" y="6084876"/>
            <a:chExt cx="2282695" cy="702040"/>
          </a:xfrm>
        </p:grpSpPr>
        <p:sp>
          <p:nvSpPr>
            <p:cNvPr id="392" name="TextBox 391">
              <a:extLst>
                <a:ext uri="{FF2B5EF4-FFF2-40B4-BE49-F238E27FC236}">
                  <a16:creationId xmlns:a16="http://schemas.microsoft.com/office/drawing/2014/main" id="{5850659B-DDC6-A546-A679-212C0B7C89AB}"/>
                </a:ext>
              </a:extLst>
            </p:cNvPr>
            <p:cNvSpPr txBox="1"/>
            <p:nvPr/>
          </p:nvSpPr>
          <p:spPr>
            <a:xfrm>
              <a:off x="2572038" y="6417935"/>
              <a:ext cx="1413207" cy="348813"/>
            </a:xfrm>
            <a:prstGeom prst="rect">
              <a:avLst/>
            </a:prstGeom>
            <a:noFill/>
          </p:spPr>
          <p:txBody>
            <a:bodyPr wrap="none" rtlCol="0">
              <a:spAutoFit/>
            </a:bodyPr>
            <a:lstStyle/>
            <a:p>
              <a:r>
                <a:rPr lang="en-US" sz="1100" dirty="0">
                  <a:solidFill>
                    <a:schemeClr val="bg2"/>
                  </a:solidFill>
                  <a:latin typeface="+mn-lt"/>
                </a:rPr>
                <a:t>800G System</a:t>
              </a:r>
            </a:p>
          </p:txBody>
        </p:sp>
        <p:sp>
          <p:nvSpPr>
            <p:cNvPr id="397" name="TextBox 396">
              <a:extLst>
                <a:ext uri="{FF2B5EF4-FFF2-40B4-BE49-F238E27FC236}">
                  <a16:creationId xmlns:a16="http://schemas.microsoft.com/office/drawing/2014/main" id="{54CF479B-ACE8-844F-B6F3-AFAE83E62583}"/>
                </a:ext>
              </a:extLst>
            </p:cNvPr>
            <p:cNvSpPr txBox="1"/>
            <p:nvPr/>
          </p:nvSpPr>
          <p:spPr>
            <a:xfrm>
              <a:off x="1702550" y="6376547"/>
              <a:ext cx="755950" cy="410369"/>
            </a:xfrm>
            <a:prstGeom prst="rect">
              <a:avLst/>
            </a:prstGeom>
            <a:noFill/>
          </p:spPr>
          <p:txBody>
            <a:bodyPr wrap="square" rtlCol="0">
              <a:spAutoFit/>
            </a:bodyPr>
            <a:lstStyle/>
            <a:p>
              <a:r>
                <a:rPr lang="en-US" sz="1400" dirty="0">
                  <a:solidFill>
                    <a:schemeClr val="accent5"/>
                  </a:solidFill>
                  <a:latin typeface="CiscoSansTT Light" panose="020B0503020201020303" pitchFamily="34" charset="0"/>
                  <a:cs typeface="CiscoSansTT Light" panose="020B0503020201020303" pitchFamily="34" charset="0"/>
                </a:rPr>
                <a:t>X2.0 </a:t>
              </a:r>
            </a:p>
          </p:txBody>
        </p:sp>
        <p:sp>
          <p:nvSpPr>
            <p:cNvPr id="398" name="Rectangle 397">
              <a:extLst>
                <a:ext uri="{FF2B5EF4-FFF2-40B4-BE49-F238E27FC236}">
                  <a16:creationId xmlns:a16="http://schemas.microsoft.com/office/drawing/2014/main" id="{078FF741-C915-964A-A292-4F00770542A1}"/>
                </a:ext>
              </a:extLst>
            </p:cNvPr>
            <p:cNvSpPr/>
            <p:nvPr/>
          </p:nvSpPr>
          <p:spPr>
            <a:xfrm>
              <a:off x="2023615" y="6084876"/>
              <a:ext cx="1659241" cy="410369"/>
            </a:xfrm>
            <a:prstGeom prst="rect">
              <a:avLst/>
            </a:prstGeom>
          </p:spPr>
          <p:txBody>
            <a:bodyPr wrap="square" anchor="b">
              <a:spAutoFit/>
            </a:bodyPr>
            <a:lstStyle/>
            <a:p>
              <a:pPr algn="ctr"/>
              <a:r>
                <a:rPr lang="en-US" sz="1400" dirty="0">
                  <a:solidFill>
                    <a:schemeClr val="bg2"/>
                  </a:solidFill>
                  <a:latin typeface="CiscoSansTT Light" panose="020B0503020201020303" pitchFamily="34" charset="0"/>
                  <a:cs typeface="CiscoSansTT Light" panose="020B0503020201020303" pitchFamily="34" charset="0"/>
                </a:rPr>
                <a:t>NCS 560</a:t>
              </a:r>
            </a:p>
          </p:txBody>
        </p:sp>
        <p:sp>
          <p:nvSpPr>
            <p:cNvPr id="400" name="Freeform 5">
              <a:extLst>
                <a:ext uri="{FF2B5EF4-FFF2-40B4-BE49-F238E27FC236}">
                  <a16:creationId xmlns:a16="http://schemas.microsoft.com/office/drawing/2014/main" id="{94A940E8-6BFA-AC42-A347-58E9D4443FBB}"/>
                </a:ext>
              </a:extLst>
            </p:cNvPr>
            <p:cNvSpPr>
              <a:spLocks/>
            </p:cNvSpPr>
            <p:nvPr/>
          </p:nvSpPr>
          <p:spPr bwMode="auto">
            <a:xfrm>
              <a:off x="2438188" y="6510977"/>
              <a:ext cx="100189" cy="15688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000" dirty="0">
                <a:solidFill>
                  <a:srgbClr val="282828"/>
                </a:solidFill>
              </a:endParaRPr>
            </a:p>
          </p:txBody>
        </p:sp>
      </p:grpSp>
      <p:grpSp>
        <p:nvGrpSpPr>
          <p:cNvPr id="401" name="Group 400">
            <a:extLst>
              <a:ext uri="{FF2B5EF4-FFF2-40B4-BE49-F238E27FC236}">
                <a16:creationId xmlns:a16="http://schemas.microsoft.com/office/drawing/2014/main" id="{EF9E8382-3E5E-F44B-A769-3714AD244FED}"/>
              </a:ext>
            </a:extLst>
          </p:cNvPr>
          <p:cNvGrpSpPr/>
          <p:nvPr/>
        </p:nvGrpSpPr>
        <p:grpSpPr>
          <a:xfrm>
            <a:off x="4991957" y="4586051"/>
            <a:ext cx="1419860" cy="530677"/>
            <a:chOff x="1690193" y="6069674"/>
            <a:chExt cx="1893146" cy="707568"/>
          </a:xfrm>
        </p:grpSpPr>
        <p:sp>
          <p:nvSpPr>
            <p:cNvPr id="403" name="TextBox 402">
              <a:extLst>
                <a:ext uri="{FF2B5EF4-FFF2-40B4-BE49-F238E27FC236}">
                  <a16:creationId xmlns:a16="http://schemas.microsoft.com/office/drawing/2014/main" id="{47C487D2-E2D3-3B43-803D-338D157EEC7B}"/>
                </a:ext>
              </a:extLst>
            </p:cNvPr>
            <p:cNvSpPr txBox="1"/>
            <p:nvPr/>
          </p:nvSpPr>
          <p:spPr>
            <a:xfrm>
              <a:off x="2582638" y="6408261"/>
              <a:ext cx="1000701" cy="348813"/>
            </a:xfrm>
            <a:prstGeom prst="rect">
              <a:avLst/>
            </a:prstGeom>
            <a:noFill/>
          </p:spPr>
          <p:txBody>
            <a:bodyPr wrap="none" rtlCol="0">
              <a:spAutoFit/>
            </a:bodyPr>
            <a:lstStyle/>
            <a:p>
              <a:r>
                <a:rPr lang="en-US" sz="1100" dirty="0">
                  <a:solidFill>
                    <a:schemeClr val="bg2"/>
                  </a:solidFill>
                  <a:latin typeface="+mn-lt"/>
                </a:rPr>
                <a:t>3.2T/slot</a:t>
              </a:r>
            </a:p>
          </p:txBody>
        </p:sp>
        <p:sp>
          <p:nvSpPr>
            <p:cNvPr id="404" name="TextBox 403">
              <a:extLst>
                <a:ext uri="{FF2B5EF4-FFF2-40B4-BE49-F238E27FC236}">
                  <a16:creationId xmlns:a16="http://schemas.microsoft.com/office/drawing/2014/main" id="{5B1FB129-7C1A-6F47-B7C9-7ED42B59FE78}"/>
                </a:ext>
              </a:extLst>
            </p:cNvPr>
            <p:cNvSpPr txBox="1"/>
            <p:nvPr/>
          </p:nvSpPr>
          <p:spPr>
            <a:xfrm>
              <a:off x="1690193" y="6366873"/>
              <a:ext cx="755950" cy="410369"/>
            </a:xfrm>
            <a:prstGeom prst="rect">
              <a:avLst/>
            </a:prstGeom>
            <a:noFill/>
          </p:spPr>
          <p:txBody>
            <a:bodyPr wrap="square" rtlCol="0">
              <a:spAutoFit/>
            </a:bodyPr>
            <a:lstStyle/>
            <a:p>
              <a:r>
                <a:rPr lang="en-US" sz="1400" dirty="0">
                  <a:solidFill>
                    <a:schemeClr val="accent5"/>
                  </a:solidFill>
                  <a:latin typeface="CiscoSansTT Light" panose="020B0503020201020303" pitchFamily="34" charset="0"/>
                  <a:cs typeface="CiscoSansTT Light" panose="020B0503020201020303" pitchFamily="34" charset="0"/>
                </a:rPr>
                <a:t>X2.7 </a:t>
              </a:r>
            </a:p>
          </p:txBody>
        </p:sp>
        <p:sp>
          <p:nvSpPr>
            <p:cNvPr id="405" name="Rectangle 404">
              <a:extLst>
                <a:ext uri="{FF2B5EF4-FFF2-40B4-BE49-F238E27FC236}">
                  <a16:creationId xmlns:a16="http://schemas.microsoft.com/office/drawing/2014/main" id="{96CF7B84-5A5C-C64A-BC6D-150BEB2436C8}"/>
                </a:ext>
              </a:extLst>
            </p:cNvPr>
            <p:cNvSpPr/>
            <p:nvPr/>
          </p:nvSpPr>
          <p:spPr>
            <a:xfrm>
              <a:off x="1797796" y="6069674"/>
              <a:ext cx="1659241" cy="410369"/>
            </a:xfrm>
            <a:prstGeom prst="rect">
              <a:avLst/>
            </a:prstGeom>
          </p:spPr>
          <p:txBody>
            <a:bodyPr wrap="square" anchor="b">
              <a:spAutoFit/>
            </a:bodyPr>
            <a:lstStyle/>
            <a:p>
              <a:pPr algn="ctr"/>
              <a:r>
                <a:rPr lang="en-US" sz="1400" dirty="0">
                  <a:solidFill>
                    <a:schemeClr val="bg2"/>
                  </a:solidFill>
                  <a:latin typeface="CiscoSansTT Light" panose="020B0503020201020303" pitchFamily="34" charset="0"/>
                  <a:cs typeface="CiscoSansTT Light" panose="020B0503020201020303" pitchFamily="34" charset="0"/>
                </a:rPr>
                <a:t>ASR9000</a:t>
              </a:r>
            </a:p>
          </p:txBody>
        </p:sp>
        <p:sp>
          <p:nvSpPr>
            <p:cNvPr id="406" name="Freeform 5">
              <a:extLst>
                <a:ext uri="{FF2B5EF4-FFF2-40B4-BE49-F238E27FC236}">
                  <a16:creationId xmlns:a16="http://schemas.microsoft.com/office/drawing/2014/main" id="{BC984BA3-C09B-D04A-ACEF-156E24EF1767}"/>
                </a:ext>
              </a:extLst>
            </p:cNvPr>
            <p:cNvSpPr>
              <a:spLocks/>
            </p:cNvSpPr>
            <p:nvPr/>
          </p:nvSpPr>
          <p:spPr bwMode="auto">
            <a:xfrm>
              <a:off x="2425831" y="6501303"/>
              <a:ext cx="100189" cy="15688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000" dirty="0">
                <a:solidFill>
                  <a:srgbClr val="282828"/>
                </a:solidFill>
              </a:endParaRPr>
            </a:p>
          </p:txBody>
        </p:sp>
      </p:grpSp>
      <p:sp>
        <p:nvSpPr>
          <p:cNvPr id="213" name="Oval 212">
            <a:extLst>
              <a:ext uri="{FF2B5EF4-FFF2-40B4-BE49-F238E27FC236}">
                <a16:creationId xmlns:a16="http://schemas.microsoft.com/office/drawing/2014/main" id="{65B23612-B7B4-46AB-B877-E1E74C7F9B2D}"/>
              </a:ext>
            </a:extLst>
          </p:cNvPr>
          <p:cNvSpPr/>
          <p:nvPr/>
        </p:nvSpPr>
        <p:spPr>
          <a:xfrm>
            <a:off x="1910928" y="1831161"/>
            <a:ext cx="274320" cy="2743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TextBox 197">
            <a:extLst>
              <a:ext uri="{FF2B5EF4-FFF2-40B4-BE49-F238E27FC236}">
                <a16:creationId xmlns:a16="http://schemas.microsoft.com/office/drawing/2014/main" id="{C4AFB003-4A24-43A5-8F53-BB2D2C8F13BD}"/>
              </a:ext>
            </a:extLst>
          </p:cNvPr>
          <p:cNvSpPr txBox="1"/>
          <p:nvPr/>
        </p:nvSpPr>
        <p:spPr>
          <a:xfrm>
            <a:off x="2027568" y="3353607"/>
            <a:ext cx="510076" cy="196208"/>
          </a:xfrm>
          <a:prstGeom prst="rect">
            <a:avLst/>
          </a:prstGeom>
          <a:noFill/>
        </p:spPr>
        <p:txBody>
          <a:bodyPr wrap="none" rtlCol="0">
            <a:spAutoFit/>
          </a:bodyPr>
          <a:lstStyle/>
          <a:p>
            <a:pPr algn="r"/>
            <a:r>
              <a:rPr lang="en-US" sz="675" dirty="0">
                <a:latin typeface="+mj-lt"/>
                <a:cs typeface="CiscoSansTT" panose="020B0503020201020303" pitchFamily="34" charset="0"/>
              </a:rPr>
              <a:t>Ethernet</a:t>
            </a:r>
          </a:p>
        </p:txBody>
      </p:sp>
      <p:sp>
        <p:nvSpPr>
          <p:cNvPr id="380" name="Rectangle 379">
            <a:extLst>
              <a:ext uri="{FF2B5EF4-FFF2-40B4-BE49-F238E27FC236}">
                <a16:creationId xmlns:a16="http://schemas.microsoft.com/office/drawing/2014/main" id="{C5FC49B3-5461-5A41-B6DB-1467189BB517}"/>
              </a:ext>
            </a:extLst>
          </p:cNvPr>
          <p:cNvSpPr/>
          <p:nvPr/>
        </p:nvSpPr>
        <p:spPr>
          <a:xfrm>
            <a:off x="5473305" y="3227060"/>
            <a:ext cx="1094785" cy="196208"/>
          </a:xfrm>
          <a:prstGeom prst="rect">
            <a:avLst/>
          </a:prstGeom>
        </p:spPr>
        <p:txBody>
          <a:bodyPr wrap="square">
            <a:spAutoFit/>
          </a:bodyPr>
          <a:lstStyle/>
          <a:p>
            <a:pPr algn="ctr" defTabSz="457178">
              <a:defRPr/>
            </a:pPr>
            <a:r>
              <a:rPr lang="en-US" sz="675" dirty="0">
                <a:solidFill>
                  <a:srgbClr val="282828"/>
                </a:solidFill>
                <a:latin typeface="+mj-lt"/>
              </a:rPr>
              <a:t>Regional DC</a:t>
            </a:r>
          </a:p>
        </p:txBody>
      </p:sp>
      <p:sp>
        <p:nvSpPr>
          <p:cNvPr id="381" name="Rectangle 380">
            <a:extLst>
              <a:ext uri="{FF2B5EF4-FFF2-40B4-BE49-F238E27FC236}">
                <a16:creationId xmlns:a16="http://schemas.microsoft.com/office/drawing/2014/main" id="{F577F3D7-F6E0-7B48-B1BE-4847BB048A7F}"/>
              </a:ext>
            </a:extLst>
          </p:cNvPr>
          <p:cNvSpPr/>
          <p:nvPr/>
        </p:nvSpPr>
        <p:spPr>
          <a:xfrm>
            <a:off x="4051581" y="3235670"/>
            <a:ext cx="1094785" cy="196208"/>
          </a:xfrm>
          <a:prstGeom prst="rect">
            <a:avLst/>
          </a:prstGeom>
        </p:spPr>
        <p:txBody>
          <a:bodyPr wrap="square">
            <a:spAutoFit/>
          </a:bodyPr>
          <a:lstStyle/>
          <a:p>
            <a:pPr algn="ctr" defTabSz="457178">
              <a:defRPr/>
            </a:pPr>
            <a:r>
              <a:rPr lang="en-US" sz="675" dirty="0">
                <a:solidFill>
                  <a:srgbClr val="282828"/>
                </a:solidFill>
                <a:latin typeface="+mj-lt"/>
              </a:rPr>
              <a:t>MEC/CRAN Hub</a:t>
            </a:r>
          </a:p>
        </p:txBody>
      </p:sp>
      <p:grpSp>
        <p:nvGrpSpPr>
          <p:cNvPr id="3" name="Group 2">
            <a:extLst>
              <a:ext uri="{FF2B5EF4-FFF2-40B4-BE49-F238E27FC236}">
                <a16:creationId xmlns:a16="http://schemas.microsoft.com/office/drawing/2014/main" id="{13339AA9-6407-4143-98D4-227ED39918AA}"/>
              </a:ext>
            </a:extLst>
          </p:cNvPr>
          <p:cNvGrpSpPr/>
          <p:nvPr/>
        </p:nvGrpSpPr>
        <p:grpSpPr>
          <a:xfrm>
            <a:off x="6869997" y="4581428"/>
            <a:ext cx="2384971" cy="539331"/>
            <a:chOff x="9445000" y="5990223"/>
            <a:chExt cx="3179961" cy="719107"/>
          </a:xfrm>
        </p:grpSpPr>
        <p:grpSp>
          <p:nvGrpSpPr>
            <p:cNvPr id="407" name="Group 406">
              <a:extLst>
                <a:ext uri="{FF2B5EF4-FFF2-40B4-BE49-F238E27FC236}">
                  <a16:creationId xmlns:a16="http://schemas.microsoft.com/office/drawing/2014/main" id="{0ECEDCBB-D6AC-F24C-8469-D4022C517175}"/>
                </a:ext>
              </a:extLst>
            </p:cNvPr>
            <p:cNvGrpSpPr/>
            <p:nvPr/>
          </p:nvGrpSpPr>
          <p:grpSpPr>
            <a:xfrm>
              <a:off x="9445000" y="5990223"/>
              <a:ext cx="2406708" cy="719107"/>
              <a:chOff x="1702550" y="6074298"/>
              <a:chExt cx="2406708" cy="719107"/>
            </a:xfrm>
          </p:grpSpPr>
          <p:sp>
            <p:nvSpPr>
              <p:cNvPr id="410" name="TextBox 409">
                <a:extLst>
                  <a:ext uri="{FF2B5EF4-FFF2-40B4-BE49-F238E27FC236}">
                    <a16:creationId xmlns:a16="http://schemas.microsoft.com/office/drawing/2014/main" id="{F66FDC04-7A7B-9849-B449-FD1AFD7EDF30}"/>
                  </a:ext>
                </a:extLst>
              </p:cNvPr>
              <p:cNvSpPr txBox="1"/>
              <p:nvPr/>
            </p:nvSpPr>
            <p:spPr>
              <a:xfrm>
                <a:off x="1702550" y="6383036"/>
                <a:ext cx="755951" cy="410369"/>
              </a:xfrm>
              <a:prstGeom prst="rect">
                <a:avLst/>
              </a:prstGeom>
              <a:noFill/>
            </p:spPr>
            <p:txBody>
              <a:bodyPr wrap="square" rtlCol="0">
                <a:spAutoFit/>
              </a:bodyPr>
              <a:lstStyle/>
              <a:p>
                <a:r>
                  <a:rPr lang="en-US" sz="1400" dirty="0">
                    <a:solidFill>
                      <a:schemeClr val="accent5"/>
                    </a:solidFill>
                    <a:latin typeface="CiscoSansTT Light" panose="020B0503020201020303" pitchFamily="34" charset="0"/>
                    <a:cs typeface="CiscoSansTT Light" panose="020B0503020201020303" pitchFamily="34" charset="0"/>
                  </a:rPr>
                  <a:t>X2.7 </a:t>
                </a:r>
              </a:p>
            </p:txBody>
          </p:sp>
          <p:sp>
            <p:nvSpPr>
              <p:cNvPr id="411" name="Rectangle 410">
                <a:extLst>
                  <a:ext uri="{FF2B5EF4-FFF2-40B4-BE49-F238E27FC236}">
                    <a16:creationId xmlns:a16="http://schemas.microsoft.com/office/drawing/2014/main" id="{E7FD79AB-E553-6E49-B188-67951A6C79DE}"/>
                  </a:ext>
                </a:extLst>
              </p:cNvPr>
              <p:cNvSpPr/>
              <p:nvPr/>
            </p:nvSpPr>
            <p:spPr>
              <a:xfrm>
                <a:off x="2450017" y="6074298"/>
                <a:ext cx="1659241" cy="410369"/>
              </a:xfrm>
              <a:prstGeom prst="rect">
                <a:avLst/>
              </a:prstGeom>
            </p:spPr>
            <p:txBody>
              <a:bodyPr wrap="square" anchor="b">
                <a:spAutoFit/>
              </a:bodyPr>
              <a:lstStyle/>
              <a:p>
                <a:pPr algn="ctr"/>
                <a:r>
                  <a:rPr lang="en-US" sz="1400" dirty="0">
                    <a:solidFill>
                      <a:schemeClr val="bg2"/>
                    </a:solidFill>
                    <a:latin typeface="CiscoSansTT Light" panose="020B0503020201020303" pitchFamily="34" charset="0"/>
                    <a:cs typeface="CiscoSansTT Light" panose="020B0503020201020303" pitchFamily="34" charset="0"/>
                  </a:rPr>
                  <a:t>NCS 5500</a:t>
                </a:r>
              </a:p>
            </p:txBody>
          </p:sp>
          <p:sp>
            <p:nvSpPr>
              <p:cNvPr id="412" name="Freeform 5">
                <a:extLst>
                  <a:ext uri="{FF2B5EF4-FFF2-40B4-BE49-F238E27FC236}">
                    <a16:creationId xmlns:a16="http://schemas.microsoft.com/office/drawing/2014/main" id="{CB1645A2-6F12-7447-B1FF-19AB95B1FCB8}"/>
                  </a:ext>
                </a:extLst>
              </p:cNvPr>
              <p:cNvSpPr>
                <a:spLocks/>
              </p:cNvSpPr>
              <p:nvPr/>
            </p:nvSpPr>
            <p:spPr bwMode="auto">
              <a:xfrm>
                <a:off x="2425831" y="6517466"/>
                <a:ext cx="100189" cy="15688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algn="r" defTabSz="609570">
                  <a:defRPr/>
                </a:pPr>
                <a:endParaRPr lang="en-US" sz="2000" dirty="0">
                  <a:solidFill>
                    <a:srgbClr val="282828"/>
                  </a:solidFill>
                </a:endParaRPr>
              </a:p>
            </p:txBody>
          </p:sp>
        </p:grpSp>
        <p:sp>
          <p:nvSpPr>
            <p:cNvPr id="242" name="TextBox 241">
              <a:extLst>
                <a:ext uri="{FF2B5EF4-FFF2-40B4-BE49-F238E27FC236}">
                  <a16:creationId xmlns:a16="http://schemas.microsoft.com/office/drawing/2014/main" id="{34C464A5-1F4C-904B-9094-1307ECB7058B}"/>
                </a:ext>
              </a:extLst>
            </p:cNvPr>
            <p:cNvSpPr txBox="1"/>
            <p:nvPr/>
          </p:nvSpPr>
          <p:spPr>
            <a:xfrm>
              <a:off x="10325973" y="6338927"/>
              <a:ext cx="2298988" cy="338555"/>
            </a:xfrm>
            <a:prstGeom prst="rect">
              <a:avLst/>
            </a:prstGeom>
            <a:noFill/>
          </p:spPr>
          <p:txBody>
            <a:bodyPr wrap="square" rtlCol="0">
              <a:spAutoFit/>
            </a:bodyPr>
            <a:lstStyle/>
            <a:p>
              <a:r>
                <a:rPr lang="en-US" sz="1000" dirty="0">
                  <a:solidFill>
                    <a:schemeClr val="bg2"/>
                  </a:solidFill>
                  <a:latin typeface="+mn-lt"/>
                </a:rPr>
                <a:t>9.6T/slot (24 x </a:t>
              </a:r>
              <a:r>
                <a:rPr lang="en-US" sz="1000" dirty="0">
                  <a:solidFill>
                    <a:schemeClr val="accent5"/>
                  </a:solidFill>
                  <a:latin typeface="CiscoSansTT" panose="020B0503020201020303" pitchFamily="34" charset="0"/>
                  <a:cs typeface="CiscoSansTT" panose="020B0503020201020303" pitchFamily="34" charset="0"/>
                </a:rPr>
                <a:t>400GE</a:t>
              </a:r>
              <a:r>
                <a:rPr lang="en-US" sz="1000" dirty="0">
                  <a:solidFill>
                    <a:schemeClr val="bg2"/>
                  </a:solidFill>
                  <a:latin typeface="+mn-lt"/>
                </a:rPr>
                <a:t>)</a:t>
              </a:r>
            </a:p>
          </p:txBody>
        </p:sp>
      </p:grpSp>
      <p:sp>
        <p:nvSpPr>
          <p:cNvPr id="4" name="Right Bracket 3">
            <a:extLst>
              <a:ext uri="{FF2B5EF4-FFF2-40B4-BE49-F238E27FC236}">
                <a16:creationId xmlns:a16="http://schemas.microsoft.com/office/drawing/2014/main" id="{6D610650-40E5-E041-A78B-AD28E2FDEF23}"/>
              </a:ext>
            </a:extLst>
          </p:cNvPr>
          <p:cNvSpPr/>
          <p:nvPr/>
        </p:nvSpPr>
        <p:spPr>
          <a:xfrm>
            <a:off x="210516" y="1191926"/>
            <a:ext cx="1608856" cy="2159954"/>
          </a:xfrm>
          <a:prstGeom prst="rightBracket">
            <a:avLst/>
          </a:prstGeom>
          <a:solidFill>
            <a:schemeClr val="tx2"/>
          </a:solidFill>
          <a:ln w="222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2"/>
              </a:solidFill>
            </a:endParaRPr>
          </a:p>
        </p:txBody>
      </p:sp>
      <p:sp>
        <p:nvSpPr>
          <p:cNvPr id="11" name="TextBox 10">
            <a:extLst>
              <a:ext uri="{FF2B5EF4-FFF2-40B4-BE49-F238E27FC236}">
                <a16:creationId xmlns:a16="http://schemas.microsoft.com/office/drawing/2014/main" id="{B228B2EF-3E80-F040-8B6D-F2E5DF743751}"/>
              </a:ext>
            </a:extLst>
          </p:cNvPr>
          <p:cNvSpPr txBox="1"/>
          <p:nvPr/>
        </p:nvSpPr>
        <p:spPr>
          <a:xfrm>
            <a:off x="280070" y="1474372"/>
            <a:ext cx="1562522" cy="1765099"/>
          </a:xfrm>
          <a:prstGeom prst="rect">
            <a:avLst/>
          </a:prstGeom>
          <a:noFill/>
        </p:spPr>
        <p:txBody>
          <a:bodyPr wrap="square" rtlCol="0">
            <a:spAutoFit/>
          </a:bodyPr>
          <a:lstStyle/>
          <a:p>
            <a:pPr>
              <a:lnSpc>
                <a:spcPct val="95000"/>
              </a:lnSpc>
              <a:spcAft>
                <a:spcPts val="675"/>
              </a:spcAft>
            </a:pPr>
            <a:r>
              <a:rPr lang="en-US" sz="1200" dirty="0">
                <a:solidFill>
                  <a:schemeClr val="bg2"/>
                </a:solidFill>
                <a:latin typeface="+mn-lt"/>
              </a:rPr>
              <a:t>high-performance, 5G-ready portfolio</a:t>
            </a:r>
          </a:p>
          <a:p>
            <a:pPr>
              <a:lnSpc>
                <a:spcPct val="95000"/>
              </a:lnSpc>
              <a:spcAft>
                <a:spcPts val="675"/>
              </a:spcAft>
            </a:pPr>
            <a:r>
              <a:rPr lang="en-US" sz="1200" dirty="0">
                <a:solidFill>
                  <a:schemeClr val="bg2"/>
                </a:solidFill>
                <a:latin typeface="+mn-lt"/>
              </a:rPr>
              <a:t>software-driven simplification</a:t>
            </a:r>
          </a:p>
          <a:p>
            <a:pPr>
              <a:lnSpc>
                <a:spcPct val="95000"/>
              </a:lnSpc>
              <a:spcAft>
                <a:spcPts val="675"/>
              </a:spcAft>
            </a:pPr>
            <a:r>
              <a:rPr lang="en-US" sz="1200" dirty="0">
                <a:solidFill>
                  <a:schemeClr val="bg2"/>
                </a:solidFill>
                <a:latin typeface="+mn-lt"/>
              </a:rPr>
              <a:t>cross-domain automation</a:t>
            </a:r>
          </a:p>
          <a:p>
            <a:pPr>
              <a:lnSpc>
                <a:spcPct val="95000"/>
              </a:lnSpc>
              <a:spcAft>
                <a:spcPts val="675"/>
              </a:spcAft>
            </a:pPr>
            <a:r>
              <a:rPr lang="en-US" sz="1200" dirty="0">
                <a:solidFill>
                  <a:schemeClr val="bg2"/>
                </a:solidFill>
                <a:latin typeface="+mn-lt"/>
              </a:rPr>
              <a:t>trustworthy platforms</a:t>
            </a:r>
          </a:p>
        </p:txBody>
      </p:sp>
      <p:sp>
        <p:nvSpPr>
          <p:cNvPr id="399" name="Rounded Rectangle 3">
            <a:extLst>
              <a:ext uri="{FF2B5EF4-FFF2-40B4-BE49-F238E27FC236}">
                <a16:creationId xmlns:a16="http://schemas.microsoft.com/office/drawing/2014/main" id="{CC19B9E2-1EB0-9840-89EE-E4FA975AB31E}"/>
              </a:ext>
            </a:extLst>
          </p:cNvPr>
          <p:cNvSpPr/>
          <p:nvPr/>
        </p:nvSpPr>
        <p:spPr>
          <a:xfrm>
            <a:off x="5088259" y="1271391"/>
            <a:ext cx="2245220" cy="2478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solidFill>
                <a:cs typeface="CiscoSansTT Light" panose="020B0503020201020303" pitchFamily="34" charset="0"/>
              </a:rPr>
              <a:t>Optimization Engine</a:t>
            </a:r>
          </a:p>
        </p:txBody>
      </p:sp>
      <p:grpSp>
        <p:nvGrpSpPr>
          <p:cNvPr id="14" name="Group 13">
            <a:extLst>
              <a:ext uri="{FF2B5EF4-FFF2-40B4-BE49-F238E27FC236}">
                <a16:creationId xmlns:a16="http://schemas.microsoft.com/office/drawing/2014/main" id="{7E80ED58-0585-2647-9F27-DD3699949F67}"/>
              </a:ext>
            </a:extLst>
          </p:cNvPr>
          <p:cNvGrpSpPr/>
          <p:nvPr/>
        </p:nvGrpSpPr>
        <p:grpSpPr>
          <a:xfrm>
            <a:off x="4300464" y="1105593"/>
            <a:ext cx="742791" cy="409488"/>
            <a:chOff x="5095252" y="1599139"/>
            <a:chExt cx="990388" cy="545984"/>
          </a:xfrm>
        </p:grpSpPr>
        <p:grpSp>
          <p:nvGrpSpPr>
            <p:cNvPr id="363" name="Group 362">
              <a:extLst>
                <a:ext uri="{FF2B5EF4-FFF2-40B4-BE49-F238E27FC236}">
                  <a16:creationId xmlns:a16="http://schemas.microsoft.com/office/drawing/2014/main" id="{17395774-8642-F741-B4B3-3AC85C4AE5A4}"/>
                </a:ext>
              </a:extLst>
            </p:cNvPr>
            <p:cNvGrpSpPr>
              <a:grpSpLocks noChangeAspect="1"/>
            </p:cNvGrpSpPr>
            <p:nvPr/>
          </p:nvGrpSpPr>
          <p:grpSpPr>
            <a:xfrm>
              <a:off x="5675655" y="1601852"/>
              <a:ext cx="271958" cy="274320"/>
              <a:chOff x="12587345" y="2301556"/>
              <a:chExt cx="114999" cy="115998"/>
            </a:xfrm>
            <a:solidFill>
              <a:schemeClr val="accent3"/>
            </a:solidFill>
          </p:grpSpPr>
          <p:sp>
            <p:nvSpPr>
              <p:cNvPr id="371" name="Freeform 36">
                <a:extLst>
                  <a:ext uri="{FF2B5EF4-FFF2-40B4-BE49-F238E27FC236}">
                    <a16:creationId xmlns:a16="http://schemas.microsoft.com/office/drawing/2014/main" id="{92B93E8E-7629-2E4E-8B46-06BBAD222D34}"/>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2" name="Freeform 37">
                <a:extLst>
                  <a:ext uri="{FF2B5EF4-FFF2-40B4-BE49-F238E27FC236}">
                    <a16:creationId xmlns:a16="http://schemas.microsoft.com/office/drawing/2014/main" id="{6FE81385-92CB-C542-84A8-2BA24A33F940}"/>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3" name="Freeform 38">
                <a:extLst>
                  <a:ext uri="{FF2B5EF4-FFF2-40B4-BE49-F238E27FC236}">
                    <a16:creationId xmlns:a16="http://schemas.microsoft.com/office/drawing/2014/main" id="{433ACB5B-FB69-7241-9F77-AF2CC4F4613A}"/>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4" name="Rectangle 39">
                <a:extLst>
                  <a:ext uri="{FF2B5EF4-FFF2-40B4-BE49-F238E27FC236}">
                    <a16:creationId xmlns:a16="http://schemas.microsoft.com/office/drawing/2014/main" id="{2098785B-1445-E545-9CF7-5F6B9C19E98F}"/>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5" name="Rectangle 40">
                <a:extLst>
                  <a:ext uri="{FF2B5EF4-FFF2-40B4-BE49-F238E27FC236}">
                    <a16:creationId xmlns:a16="http://schemas.microsoft.com/office/drawing/2014/main" id="{103AE5E7-C848-404B-ABE5-CA359137F51E}"/>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6" name="Freeform 41">
                <a:extLst>
                  <a:ext uri="{FF2B5EF4-FFF2-40B4-BE49-F238E27FC236}">
                    <a16:creationId xmlns:a16="http://schemas.microsoft.com/office/drawing/2014/main" id="{E367FF59-DD94-BC49-B9CF-82A5E7F7D218}"/>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7" name="Rectangle 42">
                <a:extLst>
                  <a:ext uri="{FF2B5EF4-FFF2-40B4-BE49-F238E27FC236}">
                    <a16:creationId xmlns:a16="http://schemas.microsoft.com/office/drawing/2014/main" id="{70A7F5C5-24B9-1546-A328-330B2028A155}"/>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8" name="Rectangle 43">
                <a:extLst>
                  <a:ext uri="{FF2B5EF4-FFF2-40B4-BE49-F238E27FC236}">
                    <a16:creationId xmlns:a16="http://schemas.microsoft.com/office/drawing/2014/main" id="{0351A7D4-DAF4-D94E-88E0-34270616E25B}"/>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84" name="Freeform 44">
                <a:extLst>
                  <a:ext uri="{FF2B5EF4-FFF2-40B4-BE49-F238E27FC236}">
                    <a16:creationId xmlns:a16="http://schemas.microsoft.com/office/drawing/2014/main" id="{BBABB126-79BC-A948-B4A9-A81CD4FA72F9}"/>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85" name="Freeform 45">
                <a:extLst>
                  <a:ext uri="{FF2B5EF4-FFF2-40B4-BE49-F238E27FC236}">
                    <a16:creationId xmlns:a16="http://schemas.microsoft.com/office/drawing/2014/main" id="{7BF0838D-5157-D945-9798-207AD5059C0A}"/>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86" name="Freeform 46">
                <a:extLst>
                  <a:ext uri="{FF2B5EF4-FFF2-40B4-BE49-F238E27FC236}">
                    <a16:creationId xmlns:a16="http://schemas.microsoft.com/office/drawing/2014/main" id="{1E4D365E-8A18-864E-9F04-6F373A9702C4}"/>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87" name="Freeform 47">
                <a:extLst>
                  <a:ext uri="{FF2B5EF4-FFF2-40B4-BE49-F238E27FC236}">
                    <a16:creationId xmlns:a16="http://schemas.microsoft.com/office/drawing/2014/main" id="{5C5B6F72-4369-DA42-91FE-1A706D7EDC32}"/>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93" name="Oval 48">
                <a:extLst>
                  <a:ext uri="{FF2B5EF4-FFF2-40B4-BE49-F238E27FC236}">
                    <a16:creationId xmlns:a16="http://schemas.microsoft.com/office/drawing/2014/main" id="{D33B37D9-A87C-694C-8B78-1E00A9771D0E}"/>
                  </a:ext>
                </a:extLst>
              </p:cNvPr>
              <p:cNvSpPr>
                <a:spLocks noChangeAspect="1" noChangeArrowheads="1"/>
              </p:cNvSpPr>
              <p:nvPr/>
            </p:nvSpPr>
            <p:spPr bwMode="auto">
              <a:xfrm>
                <a:off x="12627372" y="2341557"/>
                <a:ext cx="34999" cy="35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94" name="Freeform 49">
                <a:extLst>
                  <a:ext uri="{FF2B5EF4-FFF2-40B4-BE49-F238E27FC236}">
                    <a16:creationId xmlns:a16="http://schemas.microsoft.com/office/drawing/2014/main" id="{B09B3CD8-BC0B-2649-A03E-1020F30D977D}"/>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grpSp>
          <p:nvGrpSpPr>
            <p:cNvPr id="408" name="Group 407">
              <a:extLst>
                <a:ext uri="{FF2B5EF4-FFF2-40B4-BE49-F238E27FC236}">
                  <a16:creationId xmlns:a16="http://schemas.microsoft.com/office/drawing/2014/main" id="{9BAB8456-3381-464D-B163-EE316CC7CE08}"/>
                </a:ext>
              </a:extLst>
            </p:cNvPr>
            <p:cNvGrpSpPr>
              <a:grpSpLocks noChangeAspect="1"/>
            </p:cNvGrpSpPr>
            <p:nvPr/>
          </p:nvGrpSpPr>
          <p:grpSpPr>
            <a:xfrm>
              <a:off x="5451990" y="1730095"/>
              <a:ext cx="271957" cy="274320"/>
              <a:chOff x="12587345" y="2301556"/>
              <a:chExt cx="114999" cy="115998"/>
            </a:xfrm>
            <a:solidFill>
              <a:schemeClr val="accent2"/>
            </a:solidFill>
          </p:grpSpPr>
          <p:sp>
            <p:nvSpPr>
              <p:cNvPr id="409" name="Freeform 36">
                <a:extLst>
                  <a:ext uri="{FF2B5EF4-FFF2-40B4-BE49-F238E27FC236}">
                    <a16:creationId xmlns:a16="http://schemas.microsoft.com/office/drawing/2014/main" id="{8F88F753-4EAD-0240-ABDC-4783A5622881}"/>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3" name="Freeform 37">
                <a:extLst>
                  <a:ext uri="{FF2B5EF4-FFF2-40B4-BE49-F238E27FC236}">
                    <a16:creationId xmlns:a16="http://schemas.microsoft.com/office/drawing/2014/main" id="{B4DEA51B-BDA9-8749-B5D4-3314390161C3}"/>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4" name="Freeform 38">
                <a:extLst>
                  <a:ext uri="{FF2B5EF4-FFF2-40B4-BE49-F238E27FC236}">
                    <a16:creationId xmlns:a16="http://schemas.microsoft.com/office/drawing/2014/main" id="{23801A15-D3D2-8B47-B30C-C437331E8A44}"/>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5" name="Rectangle 39">
                <a:extLst>
                  <a:ext uri="{FF2B5EF4-FFF2-40B4-BE49-F238E27FC236}">
                    <a16:creationId xmlns:a16="http://schemas.microsoft.com/office/drawing/2014/main" id="{3EBEB416-6E39-1F47-84CF-FA246BBC9B76}"/>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6" name="Rectangle 40">
                <a:extLst>
                  <a:ext uri="{FF2B5EF4-FFF2-40B4-BE49-F238E27FC236}">
                    <a16:creationId xmlns:a16="http://schemas.microsoft.com/office/drawing/2014/main" id="{C6F83B30-853D-9C4A-AC24-57CC2CC65F56}"/>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7" name="Freeform 41">
                <a:extLst>
                  <a:ext uri="{FF2B5EF4-FFF2-40B4-BE49-F238E27FC236}">
                    <a16:creationId xmlns:a16="http://schemas.microsoft.com/office/drawing/2014/main" id="{F7F24E1E-E7CA-7847-868A-30F9C61CE7A4}"/>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9" name="Rectangle 42">
                <a:extLst>
                  <a:ext uri="{FF2B5EF4-FFF2-40B4-BE49-F238E27FC236}">
                    <a16:creationId xmlns:a16="http://schemas.microsoft.com/office/drawing/2014/main" id="{3153205F-0E18-6C43-AC51-B553564879B0}"/>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0" name="Rectangle 43">
                <a:extLst>
                  <a:ext uri="{FF2B5EF4-FFF2-40B4-BE49-F238E27FC236}">
                    <a16:creationId xmlns:a16="http://schemas.microsoft.com/office/drawing/2014/main" id="{ADF4A498-3E19-E74F-A0ED-34F557EE7D09}"/>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5" name="Freeform 44">
                <a:extLst>
                  <a:ext uri="{FF2B5EF4-FFF2-40B4-BE49-F238E27FC236}">
                    <a16:creationId xmlns:a16="http://schemas.microsoft.com/office/drawing/2014/main" id="{B173DD32-05AD-0C4A-9ED9-2CA9C67F5C9C}"/>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6" name="Freeform 45">
                <a:extLst>
                  <a:ext uri="{FF2B5EF4-FFF2-40B4-BE49-F238E27FC236}">
                    <a16:creationId xmlns:a16="http://schemas.microsoft.com/office/drawing/2014/main" id="{344F419D-4BB3-B049-8628-131939A9B94E}"/>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7" name="Freeform 46">
                <a:extLst>
                  <a:ext uri="{FF2B5EF4-FFF2-40B4-BE49-F238E27FC236}">
                    <a16:creationId xmlns:a16="http://schemas.microsoft.com/office/drawing/2014/main" id="{6E9B1EE7-D94D-0F47-B1AD-57A9E66F80CE}"/>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8" name="Freeform 47">
                <a:extLst>
                  <a:ext uri="{FF2B5EF4-FFF2-40B4-BE49-F238E27FC236}">
                    <a16:creationId xmlns:a16="http://schemas.microsoft.com/office/drawing/2014/main" id="{29F8FCC6-5811-E849-B6CF-E97D34EBDA8F}"/>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9" name="Oval 48">
                <a:extLst>
                  <a:ext uri="{FF2B5EF4-FFF2-40B4-BE49-F238E27FC236}">
                    <a16:creationId xmlns:a16="http://schemas.microsoft.com/office/drawing/2014/main" id="{B1FCAC26-1143-314E-9C01-0559981F4886}"/>
                  </a:ext>
                </a:extLst>
              </p:cNvPr>
              <p:cNvSpPr>
                <a:spLocks noChangeAspect="1" noChangeArrowheads="1"/>
              </p:cNvSpPr>
              <p:nvPr/>
            </p:nvSpPr>
            <p:spPr bwMode="auto">
              <a:xfrm>
                <a:off x="12627372" y="2341557"/>
                <a:ext cx="34999" cy="35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30" name="Freeform 49">
                <a:extLst>
                  <a:ext uri="{FF2B5EF4-FFF2-40B4-BE49-F238E27FC236}">
                    <a16:creationId xmlns:a16="http://schemas.microsoft.com/office/drawing/2014/main" id="{8D905EB6-0827-7647-A81C-D931E6F45088}"/>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grpSp>
          <p:nvGrpSpPr>
            <p:cNvPr id="359" name="Group 358">
              <a:extLst>
                <a:ext uri="{FF2B5EF4-FFF2-40B4-BE49-F238E27FC236}">
                  <a16:creationId xmlns:a16="http://schemas.microsoft.com/office/drawing/2014/main" id="{0D4D54A9-CE84-1543-9197-F9ED7A9581C0}"/>
                </a:ext>
              </a:extLst>
            </p:cNvPr>
            <p:cNvGrpSpPr>
              <a:grpSpLocks noChangeAspect="1"/>
            </p:cNvGrpSpPr>
            <p:nvPr/>
          </p:nvGrpSpPr>
          <p:grpSpPr>
            <a:xfrm>
              <a:off x="5095252" y="1599139"/>
              <a:ext cx="990388" cy="545984"/>
              <a:chOff x="572756" y="4356495"/>
              <a:chExt cx="701979" cy="386989"/>
            </a:xfrm>
            <a:solidFill>
              <a:schemeClr val="bg2"/>
            </a:solidFill>
          </p:grpSpPr>
          <p:sp>
            <p:nvSpPr>
              <p:cNvPr id="361" name="Freeform 294">
                <a:extLst>
                  <a:ext uri="{FF2B5EF4-FFF2-40B4-BE49-F238E27FC236}">
                    <a16:creationId xmlns:a16="http://schemas.microsoft.com/office/drawing/2014/main" id="{D260880F-3A2F-E84D-BBEC-D98DCD6A5022}"/>
                  </a:ext>
                </a:extLst>
              </p:cNvPr>
              <p:cNvSpPr>
                <a:spLocks noChangeAspect="1"/>
              </p:cNvSpPr>
              <p:nvPr/>
            </p:nvSpPr>
            <p:spPr bwMode="auto">
              <a:xfrm>
                <a:off x="572756" y="4701485"/>
                <a:ext cx="701979" cy="41999"/>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62" name="Freeform 295">
                <a:extLst>
                  <a:ext uri="{FF2B5EF4-FFF2-40B4-BE49-F238E27FC236}">
                    <a16:creationId xmlns:a16="http://schemas.microsoft.com/office/drawing/2014/main" id="{0194D6AE-D3B8-0C41-BA2C-114A1F680446}"/>
                  </a:ext>
                </a:extLst>
              </p:cNvPr>
              <p:cNvSpPr>
                <a:spLocks noChangeAspect="1" noEditPoints="1"/>
              </p:cNvSpPr>
              <p:nvPr/>
            </p:nvSpPr>
            <p:spPr bwMode="auto">
              <a:xfrm>
                <a:off x="650754" y="4356495"/>
                <a:ext cx="545983" cy="306991"/>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grpSp>
      <p:pic>
        <p:nvPicPr>
          <p:cNvPr id="238" name="Picture 237">
            <a:extLst>
              <a:ext uri="{FF2B5EF4-FFF2-40B4-BE49-F238E27FC236}">
                <a16:creationId xmlns:a16="http://schemas.microsoft.com/office/drawing/2014/main" id="{82933F95-9A4B-D24C-9E09-411293820D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488" y="1122329"/>
            <a:ext cx="411480" cy="411480"/>
          </a:xfrm>
          <a:prstGeom prst="rect">
            <a:avLst/>
          </a:prstGeom>
        </p:spPr>
      </p:pic>
      <p:sp>
        <p:nvSpPr>
          <p:cNvPr id="423" name="Cloud 422">
            <a:extLst>
              <a:ext uri="{FF2B5EF4-FFF2-40B4-BE49-F238E27FC236}">
                <a16:creationId xmlns:a16="http://schemas.microsoft.com/office/drawing/2014/main" id="{07832C73-3572-EE4A-8FC0-2C20F1D8704A}"/>
              </a:ext>
            </a:extLst>
          </p:cNvPr>
          <p:cNvSpPr/>
          <p:nvPr/>
        </p:nvSpPr>
        <p:spPr>
          <a:xfrm>
            <a:off x="6854491" y="2040763"/>
            <a:ext cx="1426407" cy="885962"/>
          </a:xfrm>
          <a:prstGeom prst="cloud">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2" name="Cloud 421">
            <a:extLst>
              <a:ext uri="{FF2B5EF4-FFF2-40B4-BE49-F238E27FC236}">
                <a16:creationId xmlns:a16="http://schemas.microsoft.com/office/drawing/2014/main" id="{A9C34FDA-C96E-BE44-AB26-9992315921CE}"/>
              </a:ext>
            </a:extLst>
          </p:cNvPr>
          <p:cNvSpPr/>
          <p:nvPr/>
        </p:nvSpPr>
        <p:spPr>
          <a:xfrm>
            <a:off x="5322141" y="2005969"/>
            <a:ext cx="1548836" cy="885962"/>
          </a:xfrm>
          <a:prstGeom prst="cloud">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1" name="Cloud 420">
            <a:extLst>
              <a:ext uri="{FF2B5EF4-FFF2-40B4-BE49-F238E27FC236}">
                <a16:creationId xmlns:a16="http://schemas.microsoft.com/office/drawing/2014/main" id="{B2F1F239-6E93-1747-B046-2EA49780F3BA}"/>
              </a:ext>
            </a:extLst>
          </p:cNvPr>
          <p:cNvSpPr/>
          <p:nvPr/>
        </p:nvSpPr>
        <p:spPr>
          <a:xfrm>
            <a:off x="3862360" y="1997635"/>
            <a:ext cx="1548836" cy="885962"/>
          </a:xfrm>
          <a:prstGeom prst="cloud">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Cloud 21">
            <a:extLst>
              <a:ext uri="{FF2B5EF4-FFF2-40B4-BE49-F238E27FC236}">
                <a16:creationId xmlns:a16="http://schemas.microsoft.com/office/drawing/2014/main" id="{A7421219-38A6-0341-B3C9-FC11DED3A079}"/>
              </a:ext>
            </a:extLst>
          </p:cNvPr>
          <p:cNvSpPr/>
          <p:nvPr/>
        </p:nvSpPr>
        <p:spPr>
          <a:xfrm>
            <a:off x="2340038" y="1991119"/>
            <a:ext cx="1548836" cy="885962"/>
          </a:xfrm>
          <a:prstGeom prst="cloud">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8" name="Rounded Rectangle 417">
            <a:extLst>
              <a:ext uri="{FF2B5EF4-FFF2-40B4-BE49-F238E27FC236}">
                <a16:creationId xmlns:a16="http://schemas.microsoft.com/office/drawing/2014/main" id="{A8FE9B1D-B26A-3B42-8689-B7228BD2655A}"/>
              </a:ext>
            </a:extLst>
          </p:cNvPr>
          <p:cNvSpPr/>
          <p:nvPr/>
        </p:nvSpPr>
        <p:spPr>
          <a:xfrm>
            <a:off x="2777459" y="2276401"/>
            <a:ext cx="6131915" cy="411480"/>
          </a:xfrm>
          <a:prstGeom prst="roundRect">
            <a:avLst>
              <a:gd name="adj" fmla="val 50000"/>
            </a:avLst>
          </a:prstGeom>
          <a:solidFill>
            <a:schemeClr val="accent3">
              <a:alpha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7" name="Oval 186">
            <a:extLst>
              <a:ext uri="{FF2B5EF4-FFF2-40B4-BE49-F238E27FC236}">
                <a16:creationId xmlns:a16="http://schemas.microsoft.com/office/drawing/2014/main" id="{CB925FC9-70E0-45C6-8B9A-A53765315445}"/>
              </a:ext>
            </a:extLst>
          </p:cNvPr>
          <p:cNvSpPr/>
          <p:nvPr/>
        </p:nvSpPr>
        <p:spPr>
          <a:xfrm>
            <a:off x="2125351" y="2970004"/>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5" name="Group 214">
            <a:extLst>
              <a:ext uri="{FF2B5EF4-FFF2-40B4-BE49-F238E27FC236}">
                <a16:creationId xmlns:a16="http://schemas.microsoft.com/office/drawing/2014/main" id="{D1DCB209-B288-4AD9-9384-B96BC298AF37}"/>
              </a:ext>
            </a:extLst>
          </p:cNvPr>
          <p:cNvGrpSpPr/>
          <p:nvPr/>
        </p:nvGrpSpPr>
        <p:grpSpPr>
          <a:xfrm rot="16200000">
            <a:off x="2502679" y="2659131"/>
            <a:ext cx="429692" cy="576863"/>
            <a:chOff x="1053576" y="845943"/>
            <a:chExt cx="429692" cy="976323"/>
          </a:xfrm>
        </p:grpSpPr>
        <p:sp>
          <p:nvSpPr>
            <p:cNvPr id="223" name="Arc 222">
              <a:extLst>
                <a:ext uri="{FF2B5EF4-FFF2-40B4-BE49-F238E27FC236}">
                  <a16:creationId xmlns:a16="http://schemas.microsoft.com/office/drawing/2014/main" id="{CA739ADF-A5A4-42F9-91BE-923D203C8D41}"/>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3" name="Straight Connector 242">
              <a:extLst>
                <a:ext uri="{FF2B5EF4-FFF2-40B4-BE49-F238E27FC236}">
                  <a16:creationId xmlns:a16="http://schemas.microsoft.com/office/drawing/2014/main" id="{22C9036C-CD40-4792-9D98-598966EAFB25}"/>
                </a:ext>
              </a:extLst>
            </p:cNvPr>
            <p:cNvCxnSpPr>
              <a:cxnSpLocks/>
              <a:endCxn id="223"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87CF0529-3DF1-4D35-87BF-EB5E873B3E9E}"/>
                </a:ext>
              </a:extLst>
            </p:cNvPr>
            <p:cNvCxnSpPr>
              <a:cxnSpLocks/>
              <a:stCxn id="223"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4C33C87-E934-4B24-9EEF-8A88C332C06E}"/>
              </a:ext>
            </a:extLst>
          </p:cNvPr>
          <p:cNvGrpSpPr/>
          <p:nvPr/>
        </p:nvGrpSpPr>
        <p:grpSpPr>
          <a:xfrm>
            <a:off x="2049913" y="2027728"/>
            <a:ext cx="854360" cy="247625"/>
            <a:chOff x="1053577" y="1587731"/>
            <a:chExt cx="854360" cy="247625"/>
          </a:xfrm>
        </p:grpSpPr>
        <p:sp>
          <p:nvSpPr>
            <p:cNvPr id="8" name="Arc 7">
              <a:extLst>
                <a:ext uri="{FF2B5EF4-FFF2-40B4-BE49-F238E27FC236}">
                  <a16:creationId xmlns:a16="http://schemas.microsoft.com/office/drawing/2014/main" id="{F2BBA645-1C01-4740-9BCD-6384D894018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04" name="Straight Connector 203">
              <a:extLst>
                <a:ext uri="{FF2B5EF4-FFF2-40B4-BE49-F238E27FC236}">
                  <a16:creationId xmlns:a16="http://schemas.microsoft.com/office/drawing/2014/main" id="{38AC4832-3392-4F01-8055-7E9FA0A887B8}"/>
                </a:ext>
              </a:extLst>
            </p:cNvPr>
            <p:cNvCxnSpPr>
              <a:cxnSpLocks/>
              <a:endCxn id="8"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96FBB5E8-43AF-42AD-8B6C-00AAE0FFE16D}"/>
                </a:ext>
              </a:extLst>
            </p:cNvPr>
            <p:cNvCxnSpPr>
              <a:cxnSpLocks/>
              <a:stCxn id="8" idx="0"/>
            </p:cNvCxnSpPr>
            <p:nvPr/>
          </p:nvCxnSpPr>
          <p:spPr>
            <a:xfrm>
              <a:off x="1170844" y="1822265"/>
              <a:ext cx="737093" cy="130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B0AD1619-B8CA-4887-A5F3-D8DDF8E61EFF}"/>
              </a:ext>
            </a:extLst>
          </p:cNvPr>
          <p:cNvGrpSpPr/>
          <p:nvPr/>
        </p:nvGrpSpPr>
        <p:grpSpPr>
          <a:xfrm>
            <a:off x="2374857" y="2032495"/>
            <a:ext cx="531509" cy="184272"/>
            <a:chOff x="1416621" y="1599856"/>
            <a:chExt cx="531509" cy="184272"/>
          </a:xfrm>
        </p:grpSpPr>
        <p:sp>
          <p:nvSpPr>
            <p:cNvPr id="206" name="Arc 205">
              <a:extLst>
                <a:ext uri="{FF2B5EF4-FFF2-40B4-BE49-F238E27FC236}">
                  <a16:creationId xmlns:a16="http://schemas.microsoft.com/office/drawing/2014/main" id="{F16B4621-A1A3-4B6F-88EC-50E9BC7BFF65}"/>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07" name="Straight Connector 206">
              <a:extLst>
                <a:ext uri="{FF2B5EF4-FFF2-40B4-BE49-F238E27FC236}">
                  <a16:creationId xmlns:a16="http://schemas.microsoft.com/office/drawing/2014/main" id="{F13FF378-A7A3-4AFC-A07A-D052293B9648}"/>
                </a:ext>
              </a:extLst>
            </p:cNvPr>
            <p:cNvCxnSpPr>
              <a:cxnSpLocks/>
              <a:endCxn id="206"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106CBE25-228E-41B7-9550-DFE7350C861C}"/>
                </a:ext>
              </a:extLst>
            </p:cNvPr>
            <p:cNvCxnSpPr>
              <a:cxnSpLocks/>
              <a:stCxn id="206" idx="0"/>
            </p:cNvCxnSpPr>
            <p:nvPr/>
          </p:nvCxnSpPr>
          <p:spPr>
            <a:xfrm>
              <a:off x="1482076" y="1784128"/>
              <a:ext cx="466054"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7EB98589-C654-4F18-BB68-DB1206F2C6EB}"/>
              </a:ext>
            </a:extLst>
          </p:cNvPr>
          <p:cNvGrpSpPr/>
          <p:nvPr/>
        </p:nvGrpSpPr>
        <p:grpSpPr>
          <a:xfrm>
            <a:off x="2706224" y="1984072"/>
            <a:ext cx="186364" cy="184274"/>
            <a:chOff x="2216109" y="1564701"/>
            <a:chExt cx="186364" cy="184275"/>
          </a:xfrm>
        </p:grpSpPr>
        <p:sp>
          <p:nvSpPr>
            <p:cNvPr id="209" name="Arc 208">
              <a:extLst>
                <a:ext uri="{FF2B5EF4-FFF2-40B4-BE49-F238E27FC236}">
                  <a16:creationId xmlns:a16="http://schemas.microsoft.com/office/drawing/2014/main" id="{458D9591-8D67-4C7E-9593-915DABFA8ECC}"/>
                </a:ext>
              </a:extLst>
            </p:cNvPr>
            <p:cNvSpPr/>
            <p:nvPr/>
          </p:nvSpPr>
          <p:spPr>
            <a:xfrm rot="10800000">
              <a:off x="2216109"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10" name="Straight Connector 209">
              <a:extLst>
                <a:ext uri="{FF2B5EF4-FFF2-40B4-BE49-F238E27FC236}">
                  <a16:creationId xmlns:a16="http://schemas.microsoft.com/office/drawing/2014/main" id="{270F50A8-5D98-48CE-AD1C-BC621E56D39E}"/>
                </a:ext>
              </a:extLst>
            </p:cNvPr>
            <p:cNvCxnSpPr>
              <a:cxnSpLocks/>
              <a:endCxn id="209" idx="2"/>
            </p:cNvCxnSpPr>
            <p:nvPr/>
          </p:nvCxnSpPr>
          <p:spPr>
            <a:xfrm>
              <a:off x="2216109"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6A49A51-F783-4BEB-AADB-B2BE439FA66B}"/>
                </a:ext>
              </a:extLst>
            </p:cNvPr>
            <p:cNvCxnSpPr>
              <a:cxnSpLocks/>
            </p:cNvCxnSpPr>
            <p:nvPr/>
          </p:nvCxnSpPr>
          <p:spPr>
            <a:xfrm flipV="1">
              <a:off x="2255527" y="1748975"/>
              <a:ext cx="146946"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2" name="Oval 211">
            <a:extLst>
              <a:ext uri="{FF2B5EF4-FFF2-40B4-BE49-F238E27FC236}">
                <a16:creationId xmlns:a16="http://schemas.microsoft.com/office/drawing/2014/main" id="{69C1EF1D-58F9-4610-8221-E489665C48FE}"/>
              </a:ext>
            </a:extLst>
          </p:cNvPr>
          <p:cNvSpPr/>
          <p:nvPr/>
        </p:nvSpPr>
        <p:spPr>
          <a:xfrm>
            <a:off x="2582045" y="1831161"/>
            <a:ext cx="274320" cy="2819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3964D935-C6E6-478F-8183-52E1D6818333}"/>
              </a:ext>
            </a:extLst>
          </p:cNvPr>
          <p:cNvSpPr/>
          <p:nvPr/>
        </p:nvSpPr>
        <p:spPr>
          <a:xfrm>
            <a:off x="2234325" y="1831161"/>
            <a:ext cx="274320" cy="2743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3" name="Straight Connector 182">
            <a:extLst>
              <a:ext uri="{FF2B5EF4-FFF2-40B4-BE49-F238E27FC236}">
                <a16:creationId xmlns:a16="http://schemas.microsoft.com/office/drawing/2014/main" id="{F96696E3-737A-4690-87F2-9C6D117AEB57}"/>
              </a:ext>
            </a:extLst>
          </p:cNvPr>
          <p:cNvCxnSpPr>
            <a:cxnSpLocks/>
          </p:cNvCxnSpPr>
          <p:nvPr/>
        </p:nvCxnSpPr>
        <p:spPr>
          <a:xfrm flipV="1">
            <a:off x="2501682" y="2621435"/>
            <a:ext cx="343723" cy="5030"/>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E320B0C0-D6A4-45DB-912F-45C1AF01F654}"/>
              </a:ext>
            </a:extLst>
          </p:cNvPr>
          <p:cNvSpPr/>
          <p:nvPr/>
        </p:nvSpPr>
        <p:spPr>
          <a:xfrm>
            <a:off x="2125351" y="2435526"/>
            <a:ext cx="381876" cy="38187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0" name="Rectangle 199">
            <a:extLst>
              <a:ext uri="{FF2B5EF4-FFF2-40B4-BE49-F238E27FC236}">
                <a16:creationId xmlns:a16="http://schemas.microsoft.com/office/drawing/2014/main" id="{886D8E33-A0A4-4FBC-8BA9-91889C8DCCEF}"/>
              </a:ext>
            </a:extLst>
          </p:cNvPr>
          <p:cNvSpPr/>
          <p:nvPr/>
        </p:nvSpPr>
        <p:spPr>
          <a:xfrm>
            <a:off x="2044700" y="2806265"/>
            <a:ext cx="559769" cy="196208"/>
          </a:xfrm>
          <a:prstGeom prst="rect">
            <a:avLst/>
          </a:prstGeom>
        </p:spPr>
        <p:txBody>
          <a:bodyPr wrap="none">
            <a:spAutoFit/>
          </a:bodyPr>
          <a:lstStyle/>
          <a:p>
            <a:pPr algn="ctr"/>
            <a:r>
              <a:rPr lang="en-US" sz="675" dirty="0">
                <a:latin typeface="+mj-lt"/>
                <a:cs typeface="CiscoSansTT" panose="020B0503020201020303" pitchFamily="34" charset="0"/>
              </a:rPr>
              <a:t>DSL/PON</a:t>
            </a:r>
          </a:p>
        </p:txBody>
      </p:sp>
      <p:sp>
        <p:nvSpPr>
          <p:cNvPr id="219" name="TextBox 218">
            <a:extLst>
              <a:ext uri="{FF2B5EF4-FFF2-40B4-BE49-F238E27FC236}">
                <a16:creationId xmlns:a16="http://schemas.microsoft.com/office/drawing/2014/main" id="{276B166A-BC0F-4828-B542-C8C5392D92CC}"/>
              </a:ext>
            </a:extLst>
          </p:cNvPr>
          <p:cNvSpPr txBox="1"/>
          <p:nvPr/>
        </p:nvSpPr>
        <p:spPr>
          <a:xfrm>
            <a:off x="2990486" y="2022561"/>
            <a:ext cx="551754" cy="230832"/>
          </a:xfrm>
          <a:prstGeom prst="rect">
            <a:avLst/>
          </a:prstGeom>
          <a:noFill/>
        </p:spPr>
        <p:txBody>
          <a:bodyPr wrap="none" rtlCol="0">
            <a:spAutoFit/>
          </a:bodyPr>
          <a:lstStyle/>
          <a:p>
            <a:pPr algn="ctr"/>
            <a:r>
              <a:rPr lang="en-US" sz="900" dirty="0">
                <a:latin typeface="+mn-lt"/>
              </a:rPr>
              <a:t>access</a:t>
            </a:r>
          </a:p>
        </p:txBody>
      </p:sp>
      <p:sp>
        <p:nvSpPr>
          <p:cNvPr id="221" name="TextBox 220">
            <a:extLst>
              <a:ext uri="{FF2B5EF4-FFF2-40B4-BE49-F238E27FC236}">
                <a16:creationId xmlns:a16="http://schemas.microsoft.com/office/drawing/2014/main" id="{7749401B-873F-4639-BC3C-068FB9511884}"/>
              </a:ext>
            </a:extLst>
          </p:cNvPr>
          <p:cNvSpPr txBox="1"/>
          <p:nvPr/>
        </p:nvSpPr>
        <p:spPr>
          <a:xfrm>
            <a:off x="4050179" y="2016518"/>
            <a:ext cx="1039067" cy="230832"/>
          </a:xfrm>
          <a:prstGeom prst="rect">
            <a:avLst/>
          </a:prstGeom>
          <a:noFill/>
        </p:spPr>
        <p:txBody>
          <a:bodyPr wrap="none" rtlCol="0">
            <a:spAutoFit/>
          </a:bodyPr>
          <a:lstStyle/>
          <a:p>
            <a:pPr algn="ctr"/>
            <a:r>
              <a:rPr lang="en-US" sz="900" dirty="0">
                <a:latin typeface="+mn-lt"/>
              </a:rPr>
              <a:t>pre-aggregation</a:t>
            </a:r>
          </a:p>
        </p:txBody>
      </p:sp>
      <p:sp>
        <p:nvSpPr>
          <p:cNvPr id="222" name="TextBox 221">
            <a:extLst>
              <a:ext uri="{FF2B5EF4-FFF2-40B4-BE49-F238E27FC236}">
                <a16:creationId xmlns:a16="http://schemas.microsoft.com/office/drawing/2014/main" id="{9D72C430-1B71-483E-967A-677BB149503E}"/>
              </a:ext>
            </a:extLst>
          </p:cNvPr>
          <p:cNvSpPr txBox="1"/>
          <p:nvPr/>
        </p:nvSpPr>
        <p:spPr>
          <a:xfrm>
            <a:off x="7124483" y="2026228"/>
            <a:ext cx="418704" cy="230832"/>
          </a:xfrm>
          <a:prstGeom prst="rect">
            <a:avLst/>
          </a:prstGeom>
          <a:noFill/>
        </p:spPr>
        <p:txBody>
          <a:bodyPr wrap="none" rtlCol="0">
            <a:spAutoFit/>
          </a:bodyPr>
          <a:lstStyle/>
          <a:p>
            <a:pPr algn="ctr"/>
            <a:r>
              <a:rPr lang="en-US" sz="900" dirty="0">
                <a:latin typeface="+mn-lt"/>
              </a:rPr>
              <a:t>core</a:t>
            </a:r>
          </a:p>
        </p:txBody>
      </p:sp>
      <p:sp>
        <p:nvSpPr>
          <p:cNvPr id="228" name="TextBox 227">
            <a:extLst>
              <a:ext uri="{FF2B5EF4-FFF2-40B4-BE49-F238E27FC236}">
                <a16:creationId xmlns:a16="http://schemas.microsoft.com/office/drawing/2014/main" id="{7B50B941-6BE1-4721-8F0C-BDF20025CCE1}"/>
              </a:ext>
            </a:extLst>
          </p:cNvPr>
          <p:cNvSpPr txBox="1"/>
          <p:nvPr/>
        </p:nvSpPr>
        <p:spPr>
          <a:xfrm>
            <a:off x="5572628" y="2012485"/>
            <a:ext cx="803426" cy="230832"/>
          </a:xfrm>
          <a:prstGeom prst="rect">
            <a:avLst/>
          </a:prstGeom>
          <a:noFill/>
        </p:spPr>
        <p:txBody>
          <a:bodyPr wrap="none" rtlCol="0">
            <a:spAutoFit/>
          </a:bodyPr>
          <a:lstStyle/>
          <a:p>
            <a:pPr algn="ctr"/>
            <a:r>
              <a:rPr lang="en-US" sz="900" dirty="0">
                <a:latin typeface="+mn-lt"/>
              </a:rPr>
              <a:t>aggregation</a:t>
            </a:r>
          </a:p>
        </p:txBody>
      </p:sp>
      <p:grpSp>
        <p:nvGrpSpPr>
          <p:cNvPr id="288" name="Group 287">
            <a:extLst>
              <a:ext uri="{FF2B5EF4-FFF2-40B4-BE49-F238E27FC236}">
                <a16:creationId xmlns:a16="http://schemas.microsoft.com/office/drawing/2014/main" id="{C6A1B02A-E50A-465C-A9FF-9D238123F81B}"/>
              </a:ext>
            </a:extLst>
          </p:cNvPr>
          <p:cNvGrpSpPr/>
          <p:nvPr/>
        </p:nvGrpSpPr>
        <p:grpSpPr>
          <a:xfrm>
            <a:off x="2635395" y="1918299"/>
            <a:ext cx="175204" cy="107630"/>
            <a:chOff x="3221673" y="3946130"/>
            <a:chExt cx="521162" cy="320153"/>
          </a:xfrm>
          <a:solidFill>
            <a:schemeClr val="accent2"/>
          </a:solidFill>
        </p:grpSpPr>
        <p:sp>
          <p:nvSpPr>
            <p:cNvPr id="289" name="Freeform 7">
              <a:extLst>
                <a:ext uri="{FF2B5EF4-FFF2-40B4-BE49-F238E27FC236}">
                  <a16:creationId xmlns:a16="http://schemas.microsoft.com/office/drawing/2014/main" id="{78E343A9-06D1-4E8A-AFAE-A0F10C40A364}"/>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290" name="Freeform 23">
              <a:extLst>
                <a:ext uri="{FF2B5EF4-FFF2-40B4-BE49-F238E27FC236}">
                  <a16:creationId xmlns:a16="http://schemas.microsoft.com/office/drawing/2014/main" id="{2997D6A4-EE20-4B45-BAE5-DA8A2AAF210D}"/>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291" name="Group 290">
            <a:extLst>
              <a:ext uri="{FF2B5EF4-FFF2-40B4-BE49-F238E27FC236}">
                <a16:creationId xmlns:a16="http://schemas.microsoft.com/office/drawing/2014/main" id="{D311FC14-C2E6-4EB7-AA98-8FA6081BAC78}"/>
              </a:ext>
            </a:extLst>
          </p:cNvPr>
          <p:cNvGrpSpPr/>
          <p:nvPr/>
        </p:nvGrpSpPr>
        <p:grpSpPr>
          <a:xfrm>
            <a:off x="2284506" y="1917867"/>
            <a:ext cx="181542" cy="108492"/>
            <a:chOff x="3202819" y="3711222"/>
            <a:chExt cx="348044" cy="207998"/>
          </a:xfrm>
          <a:solidFill>
            <a:schemeClr val="accent1"/>
          </a:solidFill>
        </p:grpSpPr>
        <p:sp>
          <p:nvSpPr>
            <p:cNvPr id="292" name="Freeform 77">
              <a:extLst>
                <a:ext uri="{FF2B5EF4-FFF2-40B4-BE49-F238E27FC236}">
                  <a16:creationId xmlns:a16="http://schemas.microsoft.com/office/drawing/2014/main" id="{E0B0437F-0CCB-4261-8BDD-D7D4887026FA}"/>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293" name="Freeform 23">
              <a:extLst>
                <a:ext uri="{FF2B5EF4-FFF2-40B4-BE49-F238E27FC236}">
                  <a16:creationId xmlns:a16="http://schemas.microsoft.com/office/drawing/2014/main" id="{00B453A5-D21C-4649-81C4-9094E20BFB89}"/>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64" name="Group 63">
            <a:extLst>
              <a:ext uri="{FF2B5EF4-FFF2-40B4-BE49-F238E27FC236}">
                <a16:creationId xmlns:a16="http://schemas.microsoft.com/office/drawing/2014/main" id="{0C3C3788-0243-4DE6-945A-CA42CF3FCCEC}"/>
              </a:ext>
            </a:extLst>
          </p:cNvPr>
          <p:cNvGrpSpPr/>
          <p:nvPr/>
        </p:nvGrpSpPr>
        <p:grpSpPr>
          <a:xfrm>
            <a:off x="1964933" y="1918300"/>
            <a:ext cx="173897" cy="107627"/>
            <a:chOff x="974446" y="1475289"/>
            <a:chExt cx="173897" cy="107627"/>
          </a:xfrm>
          <a:solidFill>
            <a:schemeClr val="accent5"/>
          </a:solidFill>
        </p:grpSpPr>
        <p:sp>
          <p:nvSpPr>
            <p:cNvPr id="287" name="Freeform 11">
              <a:extLst>
                <a:ext uri="{FF2B5EF4-FFF2-40B4-BE49-F238E27FC236}">
                  <a16:creationId xmlns:a16="http://schemas.microsoft.com/office/drawing/2014/main" id="{38A822DD-B6EB-459F-8FE0-DACEC8C3982D}"/>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95" name="Freeform 23">
              <a:extLst>
                <a:ext uri="{FF2B5EF4-FFF2-40B4-BE49-F238E27FC236}">
                  <a16:creationId xmlns:a16="http://schemas.microsoft.com/office/drawing/2014/main" id="{B0AC208F-D501-4EB1-B446-8543E39F22B2}"/>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85" name="Group 84">
            <a:extLst>
              <a:ext uri="{FF2B5EF4-FFF2-40B4-BE49-F238E27FC236}">
                <a16:creationId xmlns:a16="http://schemas.microsoft.com/office/drawing/2014/main" id="{CC65A828-0901-4CC0-A9A7-4981BBD9ABE4}"/>
              </a:ext>
            </a:extLst>
          </p:cNvPr>
          <p:cNvGrpSpPr/>
          <p:nvPr/>
        </p:nvGrpSpPr>
        <p:grpSpPr>
          <a:xfrm>
            <a:off x="3599290" y="1895915"/>
            <a:ext cx="433812" cy="433812"/>
            <a:chOff x="3119641" y="1416189"/>
            <a:chExt cx="507244" cy="507244"/>
          </a:xfrm>
        </p:grpSpPr>
        <p:sp>
          <p:nvSpPr>
            <p:cNvPr id="131" name="Oval 130">
              <a:extLst>
                <a:ext uri="{FF2B5EF4-FFF2-40B4-BE49-F238E27FC236}">
                  <a16:creationId xmlns:a16="http://schemas.microsoft.com/office/drawing/2014/main" id="{5422990F-655A-4400-A240-34FE8E8513A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7" name="Group 66">
              <a:extLst>
                <a:ext uri="{FF2B5EF4-FFF2-40B4-BE49-F238E27FC236}">
                  <a16:creationId xmlns:a16="http://schemas.microsoft.com/office/drawing/2014/main" id="{9308D5D1-FA82-40C8-8E59-78AF0E546798}"/>
                </a:ext>
              </a:extLst>
            </p:cNvPr>
            <p:cNvGrpSpPr/>
            <p:nvPr/>
          </p:nvGrpSpPr>
          <p:grpSpPr>
            <a:xfrm>
              <a:off x="3179583" y="1476131"/>
              <a:ext cx="387360" cy="387360"/>
              <a:chOff x="2652535" y="-3571486"/>
              <a:chExt cx="4882348" cy="4882348"/>
            </a:xfrm>
            <a:solidFill>
              <a:schemeClr val="bg2"/>
            </a:solidFill>
          </p:grpSpPr>
          <p:sp>
            <p:nvSpPr>
              <p:cNvPr id="299" name="Freeform: Shape 298">
                <a:extLst>
                  <a:ext uri="{FF2B5EF4-FFF2-40B4-BE49-F238E27FC236}">
                    <a16:creationId xmlns:a16="http://schemas.microsoft.com/office/drawing/2014/main" id="{43130683-0242-4486-9227-31AEBEC20EB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0" name="Freeform: Shape 299">
                <a:extLst>
                  <a:ext uri="{FF2B5EF4-FFF2-40B4-BE49-F238E27FC236}">
                    <a16:creationId xmlns:a16="http://schemas.microsoft.com/office/drawing/2014/main" id="{69849F13-2C67-4DC1-8396-862B0D307C1C}"/>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01" name="Group 300">
                <a:extLst>
                  <a:ext uri="{FF2B5EF4-FFF2-40B4-BE49-F238E27FC236}">
                    <a16:creationId xmlns:a16="http://schemas.microsoft.com/office/drawing/2014/main" id="{66C9D715-04B9-4A85-BAE7-40A5F10905A6}"/>
                  </a:ext>
                </a:extLst>
              </p:cNvPr>
              <p:cNvGrpSpPr/>
              <p:nvPr/>
            </p:nvGrpSpPr>
            <p:grpSpPr>
              <a:xfrm rot="5400000">
                <a:off x="4197485" y="-3571486"/>
                <a:ext cx="1792447" cy="4882348"/>
                <a:chOff x="4197485" y="-3571486"/>
                <a:chExt cx="1792447" cy="4882348"/>
              </a:xfrm>
              <a:grpFill/>
            </p:grpSpPr>
            <p:sp>
              <p:nvSpPr>
                <p:cNvPr id="302" name="Freeform: Shape 301">
                  <a:extLst>
                    <a:ext uri="{FF2B5EF4-FFF2-40B4-BE49-F238E27FC236}">
                      <a16:creationId xmlns:a16="http://schemas.microsoft.com/office/drawing/2014/main" id="{CD22F07A-772A-4F74-B17C-44FFE0D0E7F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03" name="Freeform: Shape 302">
                  <a:extLst>
                    <a:ext uri="{FF2B5EF4-FFF2-40B4-BE49-F238E27FC236}">
                      <a16:creationId xmlns:a16="http://schemas.microsoft.com/office/drawing/2014/main" id="{AA5C33EC-4745-4D93-86A5-B44030B64CA6}"/>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310" name="Group 309">
            <a:extLst>
              <a:ext uri="{FF2B5EF4-FFF2-40B4-BE49-F238E27FC236}">
                <a16:creationId xmlns:a16="http://schemas.microsoft.com/office/drawing/2014/main" id="{5233BDA4-5E3A-4FC2-8989-9BD40F0D46B4}"/>
              </a:ext>
            </a:extLst>
          </p:cNvPr>
          <p:cNvGrpSpPr/>
          <p:nvPr/>
        </p:nvGrpSpPr>
        <p:grpSpPr>
          <a:xfrm>
            <a:off x="3650555" y="2657434"/>
            <a:ext cx="331283" cy="331283"/>
            <a:chOff x="2652535" y="-3571486"/>
            <a:chExt cx="4882348" cy="4882348"/>
          </a:xfrm>
          <a:solidFill>
            <a:schemeClr val="bg2"/>
          </a:solidFill>
        </p:grpSpPr>
        <p:sp>
          <p:nvSpPr>
            <p:cNvPr id="311" name="Freeform: Shape 310">
              <a:extLst>
                <a:ext uri="{FF2B5EF4-FFF2-40B4-BE49-F238E27FC236}">
                  <a16:creationId xmlns:a16="http://schemas.microsoft.com/office/drawing/2014/main" id="{ACEE0769-48DE-4DB1-9B51-7A7218E64F77}"/>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2" name="Freeform: Shape 311">
              <a:extLst>
                <a:ext uri="{FF2B5EF4-FFF2-40B4-BE49-F238E27FC236}">
                  <a16:creationId xmlns:a16="http://schemas.microsoft.com/office/drawing/2014/main" id="{B823A34A-A87D-453A-8CB6-F9215305237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13" name="Group 312">
              <a:extLst>
                <a:ext uri="{FF2B5EF4-FFF2-40B4-BE49-F238E27FC236}">
                  <a16:creationId xmlns:a16="http://schemas.microsoft.com/office/drawing/2014/main" id="{AC8C7A1E-59AB-4010-81F1-A777CB6F330E}"/>
                </a:ext>
              </a:extLst>
            </p:cNvPr>
            <p:cNvGrpSpPr/>
            <p:nvPr/>
          </p:nvGrpSpPr>
          <p:grpSpPr>
            <a:xfrm rot="5400000">
              <a:off x="4197485" y="-3571486"/>
              <a:ext cx="1792447" cy="4882348"/>
              <a:chOff x="4197485" y="-3571486"/>
              <a:chExt cx="1792447" cy="4882348"/>
            </a:xfrm>
            <a:grpFill/>
          </p:grpSpPr>
          <p:sp>
            <p:nvSpPr>
              <p:cNvPr id="314" name="Freeform: Shape 313">
                <a:extLst>
                  <a:ext uri="{FF2B5EF4-FFF2-40B4-BE49-F238E27FC236}">
                    <a16:creationId xmlns:a16="http://schemas.microsoft.com/office/drawing/2014/main" id="{0CEC106C-79A2-42D8-B41B-A3F210E1A6E8}"/>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5" name="Freeform: Shape 314">
                <a:extLst>
                  <a:ext uri="{FF2B5EF4-FFF2-40B4-BE49-F238E27FC236}">
                    <a16:creationId xmlns:a16="http://schemas.microsoft.com/office/drawing/2014/main" id="{BD45C410-464D-42D3-AFCB-1473F902FD3B}"/>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nvGrpSpPr>
          <p:cNvPr id="73" name="Group 72">
            <a:extLst>
              <a:ext uri="{FF2B5EF4-FFF2-40B4-BE49-F238E27FC236}">
                <a16:creationId xmlns:a16="http://schemas.microsoft.com/office/drawing/2014/main" id="{EB9650AB-E977-46DD-A82C-5EEF2A1589BA}"/>
              </a:ext>
            </a:extLst>
          </p:cNvPr>
          <p:cNvGrpSpPr/>
          <p:nvPr/>
        </p:nvGrpSpPr>
        <p:grpSpPr>
          <a:xfrm>
            <a:off x="5076043" y="1895915"/>
            <a:ext cx="433812" cy="433812"/>
            <a:chOff x="4596394" y="1416189"/>
            <a:chExt cx="507244" cy="507244"/>
          </a:xfrm>
        </p:grpSpPr>
        <p:sp>
          <p:nvSpPr>
            <p:cNvPr id="139" name="Oval 138">
              <a:extLst>
                <a:ext uri="{FF2B5EF4-FFF2-40B4-BE49-F238E27FC236}">
                  <a16:creationId xmlns:a16="http://schemas.microsoft.com/office/drawing/2014/main" id="{B0DB67AB-FE23-40FB-8DC2-D639FDE954D0}"/>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6" name="Group 315">
              <a:extLst>
                <a:ext uri="{FF2B5EF4-FFF2-40B4-BE49-F238E27FC236}">
                  <a16:creationId xmlns:a16="http://schemas.microsoft.com/office/drawing/2014/main" id="{7A395674-ABF1-4DF4-92C2-B05EC3F643EC}"/>
                </a:ext>
              </a:extLst>
            </p:cNvPr>
            <p:cNvGrpSpPr/>
            <p:nvPr/>
          </p:nvGrpSpPr>
          <p:grpSpPr>
            <a:xfrm>
              <a:off x="4656336" y="1476131"/>
              <a:ext cx="387360" cy="387360"/>
              <a:chOff x="2652535" y="-3571486"/>
              <a:chExt cx="4882348" cy="4882348"/>
            </a:xfrm>
            <a:solidFill>
              <a:schemeClr val="bg2"/>
            </a:solidFill>
          </p:grpSpPr>
          <p:sp>
            <p:nvSpPr>
              <p:cNvPr id="317" name="Freeform: Shape 316">
                <a:extLst>
                  <a:ext uri="{FF2B5EF4-FFF2-40B4-BE49-F238E27FC236}">
                    <a16:creationId xmlns:a16="http://schemas.microsoft.com/office/drawing/2014/main" id="{329CA738-A747-4895-8DAE-B403FA7B59CF}"/>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18" name="Freeform: Shape 317">
                <a:extLst>
                  <a:ext uri="{FF2B5EF4-FFF2-40B4-BE49-F238E27FC236}">
                    <a16:creationId xmlns:a16="http://schemas.microsoft.com/office/drawing/2014/main" id="{B08DC48B-AF2D-473F-82E9-07DE17F28FC0}"/>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19" name="Group 318">
                <a:extLst>
                  <a:ext uri="{FF2B5EF4-FFF2-40B4-BE49-F238E27FC236}">
                    <a16:creationId xmlns:a16="http://schemas.microsoft.com/office/drawing/2014/main" id="{0235BD80-4386-413E-9622-57169419E460}"/>
                  </a:ext>
                </a:extLst>
              </p:cNvPr>
              <p:cNvGrpSpPr/>
              <p:nvPr/>
            </p:nvGrpSpPr>
            <p:grpSpPr>
              <a:xfrm rot="5400000">
                <a:off x="4197485" y="-3571486"/>
                <a:ext cx="1792447" cy="4882348"/>
                <a:chOff x="4197485" y="-3571486"/>
                <a:chExt cx="1792447" cy="4882348"/>
              </a:xfrm>
              <a:grpFill/>
            </p:grpSpPr>
            <p:sp>
              <p:nvSpPr>
                <p:cNvPr id="320" name="Freeform: Shape 319">
                  <a:extLst>
                    <a:ext uri="{FF2B5EF4-FFF2-40B4-BE49-F238E27FC236}">
                      <a16:creationId xmlns:a16="http://schemas.microsoft.com/office/drawing/2014/main" id="{4337057A-BFEC-4614-B27F-6BE74B5F24F5}"/>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1" name="Freeform: Shape 320">
                  <a:extLst>
                    <a:ext uri="{FF2B5EF4-FFF2-40B4-BE49-F238E27FC236}">
                      <a16:creationId xmlns:a16="http://schemas.microsoft.com/office/drawing/2014/main" id="{4A796412-93EC-4EEF-8B29-019823BDBFA6}"/>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322" name="Group 321">
            <a:extLst>
              <a:ext uri="{FF2B5EF4-FFF2-40B4-BE49-F238E27FC236}">
                <a16:creationId xmlns:a16="http://schemas.microsoft.com/office/drawing/2014/main" id="{E1DD3FEE-56A0-4039-83B9-B38508CABCAC}"/>
              </a:ext>
            </a:extLst>
          </p:cNvPr>
          <p:cNvGrpSpPr/>
          <p:nvPr/>
        </p:nvGrpSpPr>
        <p:grpSpPr>
          <a:xfrm>
            <a:off x="5127308" y="2657434"/>
            <a:ext cx="331283" cy="331283"/>
            <a:chOff x="2652535" y="-3571486"/>
            <a:chExt cx="4882348" cy="4882348"/>
          </a:xfrm>
          <a:solidFill>
            <a:schemeClr val="bg2"/>
          </a:solidFill>
        </p:grpSpPr>
        <p:sp>
          <p:nvSpPr>
            <p:cNvPr id="323" name="Freeform: Shape 322">
              <a:extLst>
                <a:ext uri="{FF2B5EF4-FFF2-40B4-BE49-F238E27FC236}">
                  <a16:creationId xmlns:a16="http://schemas.microsoft.com/office/drawing/2014/main" id="{E8080F09-BDB4-4D29-BDBD-AB63902E9106}"/>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4" name="Freeform: Shape 323">
              <a:extLst>
                <a:ext uri="{FF2B5EF4-FFF2-40B4-BE49-F238E27FC236}">
                  <a16:creationId xmlns:a16="http://schemas.microsoft.com/office/drawing/2014/main" id="{8851BC79-E2D8-4A7D-9F84-C74D8056F9B4}"/>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25" name="Group 324">
              <a:extLst>
                <a:ext uri="{FF2B5EF4-FFF2-40B4-BE49-F238E27FC236}">
                  <a16:creationId xmlns:a16="http://schemas.microsoft.com/office/drawing/2014/main" id="{334AFB6F-BDCC-41B4-A320-86199CBCAA17}"/>
                </a:ext>
              </a:extLst>
            </p:cNvPr>
            <p:cNvGrpSpPr/>
            <p:nvPr/>
          </p:nvGrpSpPr>
          <p:grpSpPr>
            <a:xfrm rot="5400000">
              <a:off x="4197485" y="-3571486"/>
              <a:ext cx="1792447" cy="4882348"/>
              <a:chOff x="4197485" y="-3571486"/>
              <a:chExt cx="1792447" cy="4882348"/>
            </a:xfrm>
            <a:grpFill/>
          </p:grpSpPr>
          <p:sp>
            <p:nvSpPr>
              <p:cNvPr id="326" name="Freeform: Shape 325">
                <a:extLst>
                  <a:ext uri="{FF2B5EF4-FFF2-40B4-BE49-F238E27FC236}">
                    <a16:creationId xmlns:a16="http://schemas.microsoft.com/office/drawing/2014/main" id="{AE300CB0-B4AA-460F-863A-DC40E9CEEFEF}"/>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27" name="Freeform: Shape 326">
                <a:extLst>
                  <a:ext uri="{FF2B5EF4-FFF2-40B4-BE49-F238E27FC236}">
                    <a16:creationId xmlns:a16="http://schemas.microsoft.com/office/drawing/2014/main" id="{EC7A8362-6B62-41CA-B2B0-61E516299615}"/>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nvGrpSpPr>
          <p:cNvPr id="69" name="Group 68">
            <a:extLst>
              <a:ext uri="{FF2B5EF4-FFF2-40B4-BE49-F238E27FC236}">
                <a16:creationId xmlns:a16="http://schemas.microsoft.com/office/drawing/2014/main" id="{AF0B0B71-7D6B-4221-B9B7-9EFE72EB1D6E}"/>
              </a:ext>
            </a:extLst>
          </p:cNvPr>
          <p:cNvGrpSpPr/>
          <p:nvPr/>
        </p:nvGrpSpPr>
        <p:grpSpPr>
          <a:xfrm>
            <a:off x="6552796" y="1895915"/>
            <a:ext cx="433812" cy="433812"/>
            <a:chOff x="6073147" y="1416189"/>
            <a:chExt cx="507244" cy="507244"/>
          </a:xfrm>
        </p:grpSpPr>
        <p:sp>
          <p:nvSpPr>
            <p:cNvPr id="127" name="Oval 126">
              <a:extLst>
                <a:ext uri="{FF2B5EF4-FFF2-40B4-BE49-F238E27FC236}">
                  <a16:creationId xmlns:a16="http://schemas.microsoft.com/office/drawing/2014/main" id="{B453DA27-91AD-437E-9711-3B7CD1501F27}"/>
                </a:ext>
              </a:extLst>
            </p:cNvPr>
            <p:cNvSpPr/>
            <p:nvPr/>
          </p:nvSpPr>
          <p:spPr>
            <a:xfrm>
              <a:off x="6073147"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8" name="Group 327">
              <a:extLst>
                <a:ext uri="{FF2B5EF4-FFF2-40B4-BE49-F238E27FC236}">
                  <a16:creationId xmlns:a16="http://schemas.microsoft.com/office/drawing/2014/main" id="{025B35E8-257F-40CB-8036-2BAE385FC7BA}"/>
                </a:ext>
              </a:extLst>
            </p:cNvPr>
            <p:cNvGrpSpPr/>
            <p:nvPr/>
          </p:nvGrpSpPr>
          <p:grpSpPr>
            <a:xfrm>
              <a:off x="6133089" y="1476131"/>
              <a:ext cx="387360" cy="387360"/>
              <a:chOff x="2652535" y="-3571486"/>
              <a:chExt cx="4882348" cy="4882348"/>
            </a:xfrm>
            <a:solidFill>
              <a:schemeClr val="bg2"/>
            </a:solidFill>
          </p:grpSpPr>
          <p:sp>
            <p:nvSpPr>
              <p:cNvPr id="329" name="Freeform: Shape 328">
                <a:extLst>
                  <a:ext uri="{FF2B5EF4-FFF2-40B4-BE49-F238E27FC236}">
                    <a16:creationId xmlns:a16="http://schemas.microsoft.com/office/drawing/2014/main" id="{95370E25-9E03-4474-B925-8729736E961C}"/>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0" name="Freeform: Shape 329">
                <a:extLst>
                  <a:ext uri="{FF2B5EF4-FFF2-40B4-BE49-F238E27FC236}">
                    <a16:creationId xmlns:a16="http://schemas.microsoft.com/office/drawing/2014/main" id="{7F5F5F38-C629-4214-B860-5FA72A421510}"/>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31" name="Group 330">
                <a:extLst>
                  <a:ext uri="{FF2B5EF4-FFF2-40B4-BE49-F238E27FC236}">
                    <a16:creationId xmlns:a16="http://schemas.microsoft.com/office/drawing/2014/main" id="{DCC8D8B6-7CFE-4C69-9CAD-66B4BD9941F2}"/>
                  </a:ext>
                </a:extLst>
              </p:cNvPr>
              <p:cNvGrpSpPr/>
              <p:nvPr/>
            </p:nvGrpSpPr>
            <p:grpSpPr>
              <a:xfrm rot="5400000">
                <a:off x="4197485" y="-3571486"/>
                <a:ext cx="1792447" cy="4882348"/>
                <a:chOff x="4197485" y="-3571486"/>
                <a:chExt cx="1792447" cy="4882348"/>
              </a:xfrm>
              <a:grpFill/>
            </p:grpSpPr>
            <p:sp>
              <p:nvSpPr>
                <p:cNvPr id="332" name="Freeform: Shape 331">
                  <a:extLst>
                    <a:ext uri="{FF2B5EF4-FFF2-40B4-BE49-F238E27FC236}">
                      <a16:creationId xmlns:a16="http://schemas.microsoft.com/office/drawing/2014/main" id="{7072BF85-26EF-4680-8157-7F3E09F6130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3" name="Freeform: Shape 332">
                  <a:extLst>
                    <a:ext uri="{FF2B5EF4-FFF2-40B4-BE49-F238E27FC236}">
                      <a16:creationId xmlns:a16="http://schemas.microsoft.com/office/drawing/2014/main" id="{02D6BC80-454C-4476-8F11-1879D7306586}"/>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334" name="Group 333">
            <a:extLst>
              <a:ext uri="{FF2B5EF4-FFF2-40B4-BE49-F238E27FC236}">
                <a16:creationId xmlns:a16="http://schemas.microsoft.com/office/drawing/2014/main" id="{7CED5335-3A4E-4654-BEDD-5F9DFDB3FF84}"/>
              </a:ext>
            </a:extLst>
          </p:cNvPr>
          <p:cNvGrpSpPr/>
          <p:nvPr/>
        </p:nvGrpSpPr>
        <p:grpSpPr>
          <a:xfrm>
            <a:off x="6604061" y="2657434"/>
            <a:ext cx="331283" cy="331283"/>
            <a:chOff x="2652535" y="-3571486"/>
            <a:chExt cx="4882348" cy="4882348"/>
          </a:xfrm>
          <a:solidFill>
            <a:schemeClr val="bg2"/>
          </a:solidFill>
        </p:grpSpPr>
        <p:sp>
          <p:nvSpPr>
            <p:cNvPr id="335" name="Freeform: Shape 334">
              <a:extLst>
                <a:ext uri="{FF2B5EF4-FFF2-40B4-BE49-F238E27FC236}">
                  <a16:creationId xmlns:a16="http://schemas.microsoft.com/office/drawing/2014/main" id="{36411E2F-3D2A-4CBD-A901-46C87035A88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6" name="Freeform: Shape 335">
              <a:extLst>
                <a:ext uri="{FF2B5EF4-FFF2-40B4-BE49-F238E27FC236}">
                  <a16:creationId xmlns:a16="http://schemas.microsoft.com/office/drawing/2014/main" id="{DDF1E868-C2AE-4718-9CDA-8960DE43FC1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337" name="Group 336">
              <a:extLst>
                <a:ext uri="{FF2B5EF4-FFF2-40B4-BE49-F238E27FC236}">
                  <a16:creationId xmlns:a16="http://schemas.microsoft.com/office/drawing/2014/main" id="{1BDAE1EA-7C22-4412-9979-F2453A10E079}"/>
                </a:ext>
              </a:extLst>
            </p:cNvPr>
            <p:cNvGrpSpPr/>
            <p:nvPr/>
          </p:nvGrpSpPr>
          <p:grpSpPr>
            <a:xfrm rot="5400000">
              <a:off x="4197485" y="-3571486"/>
              <a:ext cx="1792447" cy="4882348"/>
              <a:chOff x="4197485" y="-3571486"/>
              <a:chExt cx="1792447" cy="4882348"/>
            </a:xfrm>
            <a:grpFill/>
          </p:grpSpPr>
          <p:sp>
            <p:nvSpPr>
              <p:cNvPr id="338" name="Freeform: Shape 337">
                <a:extLst>
                  <a:ext uri="{FF2B5EF4-FFF2-40B4-BE49-F238E27FC236}">
                    <a16:creationId xmlns:a16="http://schemas.microsoft.com/office/drawing/2014/main" id="{A1B73B8F-F168-4288-821A-E14B8577D9C8}"/>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339" name="Freeform: Shape 338">
                <a:extLst>
                  <a:ext uri="{FF2B5EF4-FFF2-40B4-BE49-F238E27FC236}">
                    <a16:creationId xmlns:a16="http://schemas.microsoft.com/office/drawing/2014/main" id="{BBDAD5BD-8D3F-4B59-BE0B-AE7C7697359D}"/>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nvGrpSpPr>
          <p:cNvPr id="367" name="Group 366">
            <a:extLst>
              <a:ext uri="{FF2B5EF4-FFF2-40B4-BE49-F238E27FC236}">
                <a16:creationId xmlns:a16="http://schemas.microsoft.com/office/drawing/2014/main" id="{54D7F1C9-28D5-4993-AA44-2579B0C524F4}"/>
              </a:ext>
            </a:extLst>
          </p:cNvPr>
          <p:cNvGrpSpPr/>
          <p:nvPr/>
        </p:nvGrpSpPr>
        <p:grpSpPr>
          <a:xfrm>
            <a:off x="7887261" y="2599393"/>
            <a:ext cx="249333" cy="249333"/>
            <a:chOff x="7547191" y="1416189"/>
            <a:chExt cx="507244" cy="507244"/>
          </a:xfrm>
        </p:grpSpPr>
        <p:sp>
          <p:nvSpPr>
            <p:cNvPr id="368" name="Oval 367">
              <a:extLst>
                <a:ext uri="{FF2B5EF4-FFF2-40B4-BE49-F238E27FC236}">
                  <a16:creationId xmlns:a16="http://schemas.microsoft.com/office/drawing/2014/main" id="{B961A4B2-7060-4642-BCB6-A9412DF4CE2F}"/>
                </a:ext>
              </a:extLst>
            </p:cNvPr>
            <p:cNvSpPr/>
            <p:nvPr/>
          </p:nvSpPr>
          <p:spPr>
            <a:xfrm>
              <a:off x="7547191" y="1416189"/>
              <a:ext cx="507244" cy="507244"/>
            </a:xfrm>
            <a:prstGeom prst="ellipse">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Freeform 594">
              <a:extLst>
                <a:ext uri="{FF2B5EF4-FFF2-40B4-BE49-F238E27FC236}">
                  <a16:creationId xmlns:a16="http://schemas.microsoft.com/office/drawing/2014/main" id="{107F9A1E-339A-4470-BF38-C37CC70B0B61}"/>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Group 120">
            <a:extLst>
              <a:ext uri="{FF2B5EF4-FFF2-40B4-BE49-F238E27FC236}">
                <a16:creationId xmlns:a16="http://schemas.microsoft.com/office/drawing/2014/main" id="{AFCEE923-CFC8-4848-AD0D-B0A27D351746}"/>
              </a:ext>
            </a:extLst>
          </p:cNvPr>
          <p:cNvGrpSpPr/>
          <p:nvPr/>
        </p:nvGrpSpPr>
        <p:grpSpPr>
          <a:xfrm>
            <a:off x="5548257" y="2796915"/>
            <a:ext cx="941045" cy="425467"/>
            <a:chOff x="5119882" y="2426686"/>
            <a:chExt cx="941045" cy="425467"/>
          </a:xfrm>
        </p:grpSpPr>
        <p:sp>
          <p:nvSpPr>
            <p:cNvPr id="575" name="Rounded Rectangle 133">
              <a:extLst>
                <a:ext uri="{FF2B5EF4-FFF2-40B4-BE49-F238E27FC236}">
                  <a16:creationId xmlns:a16="http://schemas.microsoft.com/office/drawing/2014/main" id="{531AC8A9-8C9E-477E-A308-052EE3F08155}"/>
                </a:ext>
              </a:extLst>
            </p:cNvPr>
            <p:cNvSpPr/>
            <p:nvPr/>
          </p:nvSpPr>
          <p:spPr>
            <a:xfrm>
              <a:off x="5119882" y="2426686"/>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570" name="Group 569">
              <a:extLst>
                <a:ext uri="{FF2B5EF4-FFF2-40B4-BE49-F238E27FC236}">
                  <a16:creationId xmlns:a16="http://schemas.microsoft.com/office/drawing/2014/main" id="{078D254F-8740-4C25-9CAA-5A961A48B0ED}"/>
                </a:ext>
              </a:extLst>
            </p:cNvPr>
            <p:cNvGrpSpPr/>
            <p:nvPr/>
          </p:nvGrpSpPr>
          <p:grpSpPr>
            <a:xfrm>
              <a:off x="5458774" y="2577579"/>
              <a:ext cx="557526" cy="211860"/>
              <a:chOff x="7481768" y="2569226"/>
              <a:chExt cx="710722" cy="270075"/>
            </a:xfrm>
          </p:grpSpPr>
          <p:pic>
            <p:nvPicPr>
              <p:cNvPr id="572" name="Picture 571">
                <a:extLst>
                  <a:ext uri="{FF2B5EF4-FFF2-40B4-BE49-F238E27FC236}">
                    <a16:creationId xmlns:a16="http://schemas.microsoft.com/office/drawing/2014/main" id="{4FD18502-B972-4EE6-BA69-432CEC1D6CC3}"/>
                  </a:ext>
                </a:extLst>
              </p:cNvPr>
              <p:cNvPicPr>
                <a:picLocks noChangeAspect="1"/>
              </p:cNvPicPr>
              <p:nvPr/>
            </p:nvPicPr>
            <p:blipFill rotWithShape="1">
              <a:blip r:embed="rId4">
                <a:alphaModFix amt="50000"/>
              </a:blip>
              <a:srcRect l="1971" t="1971" r="1971" b="1971"/>
              <a:stretch/>
            </p:blipFill>
            <p:spPr>
              <a:xfrm>
                <a:off x="7481768" y="2574125"/>
                <a:ext cx="265179" cy="265176"/>
              </a:xfrm>
              <a:prstGeom prst="roundRect">
                <a:avLst>
                  <a:gd name="adj" fmla="val 22436"/>
                </a:avLst>
              </a:prstGeom>
            </p:spPr>
          </p:pic>
          <p:pic>
            <p:nvPicPr>
              <p:cNvPr id="573" name="Picture 572">
                <a:extLst>
                  <a:ext uri="{FF2B5EF4-FFF2-40B4-BE49-F238E27FC236}">
                    <a16:creationId xmlns:a16="http://schemas.microsoft.com/office/drawing/2014/main" id="{3DE00D10-B768-44F7-BF10-0DA0FFE817F2}"/>
                  </a:ext>
                </a:extLst>
              </p:cNvPr>
              <p:cNvPicPr>
                <a:picLocks noChangeAspect="1"/>
              </p:cNvPicPr>
              <p:nvPr/>
            </p:nvPicPr>
            <p:blipFill>
              <a:blip r:embed="rId5">
                <a:alphaModFix amt="50000"/>
              </a:blip>
              <a:stretch>
                <a:fillRect/>
              </a:stretch>
            </p:blipFill>
            <p:spPr>
              <a:xfrm>
                <a:off x="7927311" y="2569226"/>
                <a:ext cx="265179" cy="265176"/>
              </a:xfrm>
              <a:prstGeom prst="roundRect">
                <a:avLst>
                  <a:gd name="adj" fmla="val 21600"/>
                </a:avLst>
              </a:prstGeom>
            </p:spPr>
          </p:pic>
        </p:grpSp>
      </p:grpSp>
      <p:sp>
        <p:nvSpPr>
          <p:cNvPr id="614" name="Rounded Rectangle 133">
            <a:extLst>
              <a:ext uri="{FF2B5EF4-FFF2-40B4-BE49-F238E27FC236}">
                <a16:creationId xmlns:a16="http://schemas.microsoft.com/office/drawing/2014/main" id="{7A99B96A-C7A4-49D7-B0DE-D29F2AD69214}"/>
              </a:ext>
            </a:extLst>
          </p:cNvPr>
          <p:cNvSpPr/>
          <p:nvPr/>
        </p:nvSpPr>
        <p:spPr>
          <a:xfrm>
            <a:off x="4089145" y="2802998"/>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6EBE4A">
                  <a:lumMod val="50000"/>
                </a:srgbClr>
              </a:solidFill>
              <a:latin typeface="CiscoSansTT ExtraLight"/>
            </a:endParaRPr>
          </a:p>
        </p:txBody>
      </p:sp>
      <p:grpSp>
        <p:nvGrpSpPr>
          <p:cNvPr id="609" name="Group 608">
            <a:extLst>
              <a:ext uri="{FF2B5EF4-FFF2-40B4-BE49-F238E27FC236}">
                <a16:creationId xmlns:a16="http://schemas.microsoft.com/office/drawing/2014/main" id="{13DC8400-97A3-4ABF-B12C-97372BDCCEAF}"/>
              </a:ext>
            </a:extLst>
          </p:cNvPr>
          <p:cNvGrpSpPr/>
          <p:nvPr/>
        </p:nvGrpSpPr>
        <p:grpSpPr>
          <a:xfrm>
            <a:off x="4427386" y="2954976"/>
            <a:ext cx="534056" cy="217324"/>
            <a:chOff x="7480952" y="2570611"/>
            <a:chExt cx="680803" cy="277040"/>
          </a:xfrm>
        </p:grpSpPr>
        <p:pic>
          <p:nvPicPr>
            <p:cNvPr id="611" name="Picture 610">
              <a:extLst>
                <a:ext uri="{FF2B5EF4-FFF2-40B4-BE49-F238E27FC236}">
                  <a16:creationId xmlns:a16="http://schemas.microsoft.com/office/drawing/2014/main" id="{8AE4B70E-B159-49E9-8844-432D7B0C8CF0}"/>
                </a:ext>
              </a:extLst>
            </p:cNvPr>
            <p:cNvPicPr>
              <a:picLocks noChangeAspect="1"/>
            </p:cNvPicPr>
            <p:nvPr/>
          </p:nvPicPr>
          <p:blipFill rotWithShape="1">
            <a:blip r:embed="rId4">
              <a:alphaModFix amt="50000"/>
            </a:blip>
            <a:srcRect l="1971" t="1971" r="1971" b="1971"/>
            <a:stretch/>
          </p:blipFill>
          <p:spPr>
            <a:xfrm>
              <a:off x="7480952" y="2582475"/>
              <a:ext cx="265179" cy="265176"/>
            </a:xfrm>
            <a:prstGeom prst="roundRect">
              <a:avLst>
                <a:gd name="adj" fmla="val 22436"/>
              </a:avLst>
            </a:prstGeom>
          </p:spPr>
        </p:pic>
        <p:pic>
          <p:nvPicPr>
            <p:cNvPr id="612" name="Picture 611">
              <a:extLst>
                <a:ext uri="{FF2B5EF4-FFF2-40B4-BE49-F238E27FC236}">
                  <a16:creationId xmlns:a16="http://schemas.microsoft.com/office/drawing/2014/main" id="{729B597A-DC4B-4522-9DF4-61EBBDA796E0}"/>
                </a:ext>
              </a:extLst>
            </p:cNvPr>
            <p:cNvPicPr>
              <a:picLocks noChangeAspect="1"/>
            </p:cNvPicPr>
            <p:nvPr/>
          </p:nvPicPr>
          <p:blipFill>
            <a:blip r:embed="rId5">
              <a:alphaModFix amt="50000"/>
            </a:blip>
            <a:stretch>
              <a:fillRect/>
            </a:stretch>
          </p:blipFill>
          <p:spPr>
            <a:xfrm>
              <a:off x="7896576" y="2570611"/>
              <a:ext cx="265179" cy="265176"/>
            </a:xfrm>
            <a:prstGeom prst="roundRect">
              <a:avLst>
                <a:gd name="adj" fmla="val 21600"/>
              </a:avLst>
            </a:prstGeom>
          </p:spPr>
        </p:pic>
      </p:grpSp>
      <p:grpSp>
        <p:nvGrpSpPr>
          <p:cNvPr id="643" name="Group 642">
            <a:extLst>
              <a:ext uri="{FF2B5EF4-FFF2-40B4-BE49-F238E27FC236}">
                <a16:creationId xmlns:a16="http://schemas.microsoft.com/office/drawing/2014/main" id="{9F6A10DC-63AF-4707-B430-F383CB764607}"/>
              </a:ext>
            </a:extLst>
          </p:cNvPr>
          <p:cNvGrpSpPr/>
          <p:nvPr/>
        </p:nvGrpSpPr>
        <p:grpSpPr>
          <a:xfrm>
            <a:off x="4559755" y="2679558"/>
            <a:ext cx="249333" cy="249334"/>
            <a:chOff x="7547191" y="1198589"/>
            <a:chExt cx="507244" cy="507245"/>
          </a:xfrm>
        </p:grpSpPr>
        <p:sp>
          <p:nvSpPr>
            <p:cNvPr id="644" name="Oval 643">
              <a:extLst>
                <a:ext uri="{FF2B5EF4-FFF2-40B4-BE49-F238E27FC236}">
                  <a16:creationId xmlns:a16="http://schemas.microsoft.com/office/drawing/2014/main" id="{72717B6F-5EF3-440B-8073-576C3824E876}"/>
                </a:ext>
              </a:extLst>
            </p:cNvPr>
            <p:cNvSpPr/>
            <p:nvPr/>
          </p:nvSpPr>
          <p:spPr>
            <a:xfrm>
              <a:off x="7547191" y="1198589"/>
              <a:ext cx="507244" cy="50724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5" name="Freeform 594">
              <a:extLst>
                <a:ext uri="{FF2B5EF4-FFF2-40B4-BE49-F238E27FC236}">
                  <a16:creationId xmlns:a16="http://schemas.microsoft.com/office/drawing/2014/main" id="{90AA1076-F388-49F0-B05B-1842865AAD14}"/>
                </a:ext>
              </a:extLst>
            </p:cNvPr>
            <p:cNvSpPr>
              <a:spLocks noChangeAspect="1" noEditPoints="1"/>
            </p:cNvSpPr>
            <p:nvPr/>
          </p:nvSpPr>
          <p:spPr bwMode="auto">
            <a:xfrm>
              <a:off x="7570067" y="1235080"/>
              <a:ext cx="461491"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3" name="Rectangle: Rounded Corners 692">
            <a:extLst>
              <a:ext uri="{FF2B5EF4-FFF2-40B4-BE49-F238E27FC236}">
                <a16:creationId xmlns:a16="http://schemas.microsoft.com/office/drawing/2014/main" id="{AD0D8141-1EC8-42A9-B8BB-18E9EDCB547B}"/>
              </a:ext>
            </a:extLst>
          </p:cNvPr>
          <p:cNvSpPr/>
          <p:nvPr/>
        </p:nvSpPr>
        <p:spPr>
          <a:xfrm>
            <a:off x="4699066" y="2358671"/>
            <a:ext cx="1160821" cy="235053"/>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1"/>
                </a:solidFill>
              </a:rPr>
              <a:t>mid haul / backhaul</a:t>
            </a:r>
          </a:p>
        </p:txBody>
      </p:sp>
      <p:sp>
        <p:nvSpPr>
          <p:cNvPr id="706" name="Rectangle: Rounded Corners 705">
            <a:extLst>
              <a:ext uri="{FF2B5EF4-FFF2-40B4-BE49-F238E27FC236}">
                <a16:creationId xmlns:a16="http://schemas.microsoft.com/office/drawing/2014/main" id="{43DDA52D-C82C-4F2C-AE0B-EFF4E90C0B54}"/>
              </a:ext>
            </a:extLst>
          </p:cNvPr>
          <p:cNvSpPr/>
          <p:nvPr/>
        </p:nvSpPr>
        <p:spPr>
          <a:xfrm>
            <a:off x="3433881" y="2350088"/>
            <a:ext cx="701189" cy="235053"/>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1"/>
                </a:solidFill>
              </a:rPr>
              <a:t>fronthaul</a:t>
            </a:r>
          </a:p>
        </p:txBody>
      </p:sp>
      <p:grpSp>
        <p:nvGrpSpPr>
          <p:cNvPr id="790" name="Group 4">
            <a:extLst>
              <a:ext uri="{FF2B5EF4-FFF2-40B4-BE49-F238E27FC236}">
                <a16:creationId xmlns:a16="http://schemas.microsoft.com/office/drawing/2014/main" id="{A8A23D0D-1D9C-41F3-BFCA-98331BE5316E}"/>
              </a:ext>
            </a:extLst>
          </p:cNvPr>
          <p:cNvGrpSpPr>
            <a:grpSpLocks noChangeAspect="1"/>
          </p:cNvGrpSpPr>
          <p:nvPr/>
        </p:nvGrpSpPr>
        <p:grpSpPr bwMode="auto">
          <a:xfrm>
            <a:off x="2184697" y="2495566"/>
            <a:ext cx="272202" cy="206060"/>
            <a:chOff x="740" y="0"/>
            <a:chExt cx="4280" cy="3240"/>
          </a:xfrm>
        </p:grpSpPr>
        <p:sp>
          <p:nvSpPr>
            <p:cNvPr id="791" name="Freeform 5">
              <a:extLst>
                <a:ext uri="{FF2B5EF4-FFF2-40B4-BE49-F238E27FC236}">
                  <a16:creationId xmlns:a16="http://schemas.microsoft.com/office/drawing/2014/main" id="{ECD08FB1-6FF4-453A-AB39-875E1BB58475}"/>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6">
              <a:extLst>
                <a:ext uri="{FF2B5EF4-FFF2-40B4-BE49-F238E27FC236}">
                  <a16:creationId xmlns:a16="http://schemas.microsoft.com/office/drawing/2014/main" id="{07B01FDB-E903-46A1-94E2-7BF6AFBF9930}"/>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7">
              <a:extLst>
                <a:ext uri="{FF2B5EF4-FFF2-40B4-BE49-F238E27FC236}">
                  <a16:creationId xmlns:a16="http://schemas.microsoft.com/office/drawing/2014/main" id="{281CC1D4-0E48-43BB-9D6E-9788548F958D}"/>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8">
              <a:extLst>
                <a:ext uri="{FF2B5EF4-FFF2-40B4-BE49-F238E27FC236}">
                  <a16:creationId xmlns:a16="http://schemas.microsoft.com/office/drawing/2014/main" id="{2A06BBF8-930D-4D67-A341-0AFFBC7A9322}"/>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5" name="Group 794">
            <a:extLst>
              <a:ext uri="{FF2B5EF4-FFF2-40B4-BE49-F238E27FC236}">
                <a16:creationId xmlns:a16="http://schemas.microsoft.com/office/drawing/2014/main" id="{A313153B-5E23-4A12-80B7-94A0D12B9D90}"/>
              </a:ext>
            </a:extLst>
          </p:cNvPr>
          <p:cNvGrpSpPr/>
          <p:nvPr/>
        </p:nvGrpSpPr>
        <p:grpSpPr>
          <a:xfrm>
            <a:off x="2224993" y="3035002"/>
            <a:ext cx="182594" cy="251882"/>
            <a:chOff x="858973" y="1403744"/>
            <a:chExt cx="643458" cy="887629"/>
          </a:xfrm>
        </p:grpSpPr>
        <p:grpSp>
          <p:nvGrpSpPr>
            <p:cNvPr id="796" name="Group 795">
              <a:extLst>
                <a:ext uri="{FF2B5EF4-FFF2-40B4-BE49-F238E27FC236}">
                  <a16:creationId xmlns:a16="http://schemas.microsoft.com/office/drawing/2014/main" id="{06DAB742-87E4-4D35-B1A8-C1CC16D1D36A}"/>
                </a:ext>
              </a:extLst>
            </p:cNvPr>
            <p:cNvGrpSpPr/>
            <p:nvPr/>
          </p:nvGrpSpPr>
          <p:grpSpPr>
            <a:xfrm>
              <a:off x="858973" y="1403744"/>
              <a:ext cx="643458" cy="887629"/>
              <a:chOff x="565417" y="1536835"/>
              <a:chExt cx="996124" cy="1374120"/>
            </a:xfrm>
          </p:grpSpPr>
          <p:sp>
            <p:nvSpPr>
              <p:cNvPr id="798" name="Rounded Rectangle 63">
                <a:extLst>
                  <a:ext uri="{FF2B5EF4-FFF2-40B4-BE49-F238E27FC236}">
                    <a16:creationId xmlns:a16="http://schemas.microsoft.com/office/drawing/2014/main" id="{48150BE8-43FD-4C6D-9B12-32CCB4DBA7E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99" name="Group 798">
                <a:extLst>
                  <a:ext uri="{FF2B5EF4-FFF2-40B4-BE49-F238E27FC236}">
                    <a16:creationId xmlns:a16="http://schemas.microsoft.com/office/drawing/2014/main" id="{FD02D945-3539-431E-935F-8E618DAF2CAD}"/>
                  </a:ext>
                </a:extLst>
              </p:cNvPr>
              <p:cNvGrpSpPr/>
              <p:nvPr/>
            </p:nvGrpSpPr>
            <p:grpSpPr>
              <a:xfrm>
                <a:off x="565417" y="1536835"/>
                <a:ext cx="996124" cy="1374120"/>
                <a:chOff x="352800" y="-7200"/>
                <a:chExt cx="1984680" cy="2737800"/>
              </a:xfrm>
            </p:grpSpPr>
            <p:sp>
              <p:nvSpPr>
                <p:cNvPr id="800" name="Freeform: Shape 1">
                  <a:extLst>
                    <a:ext uri="{FF2B5EF4-FFF2-40B4-BE49-F238E27FC236}">
                      <a16:creationId xmlns:a16="http://schemas.microsoft.com/office/drawing/2014/main" id="{959D0AA8-5567-4CE4-A61D-B2759501A1CB}"/>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hangingPunct="0"/>
                  <a:endParaRPr lang="en-US">
                    <a:latin typeface="Arial" pitchFamily="18"/>
                    <a:ea typeface="Arial Unicode MS" pitchFamily="2"/>
                    <a:cs typeface="Arial Unicode MS" pitchFamily="2"/>
                  </a:endParaRPr>
                </a:p>
              </p:txBody>
            </p:sp>
            <p:sp>
              <p:nvSpPr>
                <p:cNvPr id="801" name="Freeform 57">
                  <a:extLst>
                    <a:ext uri="{FF2B5EF4-FFF2-40B4-BE49-F238E27FC236}">
                      <a16:creationId xmlns:a16="http://schemas.microsoft.com/office/drawing/2014/main" id="{1FF09710-3860-4A24-807B-B07E477E003E}"/>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hangingPunct="0"/>
                  <a:endParaRPr lang="en-US">
                    <a:latin typeface="Arial" pitchFamily="18"/>
                    <a:ea typeface="Arial Unicode MS" pitchFamily="2"/>
                    <a:cs typeface="Arial Unicode MS" pitchFamily="2"/>
                  </a:endParaRPr>
                </a:p>
              </p:txBody>
            </p:sp>
          </p:grpSp>
        </p:grpSp>
        <p:sp>
          <p:nvSpPr>
            <p:cNvPr id="797" name="Freeform: Shape 796">
              <a:extLst>
                <a:ext uri="{FF2B5EF4-FFF2-40B4-BE49-F238E27FC236}">
                  <a16:creationId xmlns:a16="http://schemas.microsoft.com/office/drawing/2014/main" id="{FA0848C3-21E2-42E0-9848-E216CC20E9BF}"/>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hangingPunct="0"/>
              <a:endParaRPr lang="en-US">
                <a:latin typeface="Arial" pitchFamily="18"/>
                <a:ea typeface="Arial Unicode MS" pitchFamily="2"/>
                <a:cs typeface="Arial Unicode MS" pitchFamily="2"/>
              </a:endParaRPr>
            </a:p>
          </p:txBody>
        </p:sp>
      </p:grpSp>
      <p:sp>
        <p:nvSpPr>
          <p:cNvPr id="365" name="TextBox 364">
            <a:extLst>
              <a:ext uri="{FF2B5EF4-FFF2-40B4-BE49-F238E27FC236}">
                <a16:creationId xmlns:a16="http://schemas.microsoft.com/office/drawing/2014/main" id="{C45AF172-8382-3D42-AC9C-AF30B2DA89E2}"/>
              </a:ext>
            </a:extLst>
          </p:cNvPr>
          <p:cNvSpPr txBox="1"/>
          <p:nvPr/>
        </p:nvSpPr>
        <p:spPr>
          <a:xfrm>
            <a:off x="7760039" y="2878086"/>
            <a:ext cx="580608" cy="230832"/>
          </a:xfrm>
          <a:prstGeom prst="rect">
            <a:avLst/>
          </a:prstGeom>
          <a:noFill/>
        </p:spPr>
        <p:txBody>
          <a:bodyPr wrap="none" rtlCol="0">
            <a:spAutoFit/>
          </a:bodyPr>
          <a:lstStyle/>
          <a:p>
            <a:pPr algn="ctr"/>
            <a:r>
              <a:rPr lang="en-US" sz="900" dirty="0">
                <a:latin typeface="+mn-lt"/>
              </a:rPr>
              <a:t>Internet</a:t>
            </a:r>
          </a:p>
        </p:txBody>
      </p:sp>
      <p:pic>
        <p:nvPicPr>
          <p:cNvPr id="382" name="Picture 381">
            <a:extLst>
              <a:ext uri="{FF2B5EF4-FFF2-40B4-BE49-F238E27FC236}">
                <a16:creationId xmlns:a16="http://schemas.microsoft.com/office/drawing/2014/main" id="{A78562B1-D234-9B46-8885-99BE1D6DAA3B}"/>
              </a:ext>
            </a:extLst>
          </p:cNvPr>
          <p:cNvPicPr>
            <a:picLocks noChangeAspect="1"/>
          </p:cNvPicPr>
          <p:nvPr/>
        </p:nvPicPr>
        <p:blipFill>
          <a:blip r:embed="rId6">
            <a:alphaModFix amt="50000"/>
            <a:extLst>
              <a:ext uri="{28A0092B-C50C-407E-A947-70E740481C1C}">
                <a14:useLocalDpi xmlns:a14="http://schemas.microsoft.com/office/drawing/2010/main" val="0"/>
              </a:ext>
            </a:extLst>
          </a:blip>
          <a:stretch>
            <a:fillRect/>
          </a:stretch>
        </p:blipFill>
        <p:spPr>
          <a:xfrm>
            <a:off x="4149031" y="2981943"/>
            <a:ext cx="172651" cy="172651"/>
          </a:xfrm>
          <a:prstGeom prst="rect">
            <a:avLst/>
          </a:prstGeom>
        </p:spPr>
      </p:pic>
      <p:pic>
        <p:nvPicPr>
          <p:cNvPr id="383" name="Picture 382">
            <a:extLst>
              <a:ext uri="{FF2B5EF4-FFF2-40B4-BE49-F238E27FC236}">
                <a16:creationId xmlns:a16="http://schemas.microsoft.com/office/drawing/2014/main" id="{EC2E3D95-FA93-1A49-99E2-BDDB880BFC22}"/>
              </a:ext>
            </a:extLst>
          </p:cNvPr>
          <p:cNvPicPr>
            <a:picLocks noChangeAspect="1"/>
          </p:cNvPicPr>
          <p:nvPr/>
        </p:nvPicPr>
        <p:blipFill>
          <a:blip r:embed="rId6">
            <a:alphaModFix amt="50000"/>
            <a:extLst>
              <a:ext uri="{28A0092B-C50C-407E-A947-70E740481C1C}">
                <a14:useLocalDpi xmlns:a14="http://schemas.microsoft.com/office/drawing/2010/main" val="0"/>
              </a:ext>
            </a:extLst>
          </a:blip>
          <a:stretch>
            <a:fillRect/>
          </a:stretch>
        </p:blipFill>
        <p:spPr>
          <a:xfrm>
            <a:off x="5608143" y="2962872"/>
            <a:ext cx="172651" cy="172651"/>
          </a:xfrm>
          <a:prstGeom prst="rect">
            <a:avLst/>
          </a:prstGeom>
        </p:spPr>
      </p:pic>
      <p:pic>
        <p:nvPicPr>
          <p:cNvPr id="389" name="Picture 388">
            <a:extLst>
              <a:ext uri="{FF2B5EF4-FFF2-40B4-BE49-F238E27FC236}">
                <a16:creationId xmlns:a16="http://schemas.microsoft.com/office/drawing/2014/main" id="{BC0FD799-A475-7945-BDC6-2D8B8C7470FE}"/>
              </a:ext>
            </a:extLst>
          </p:cNvPr>
          <p:cNvPicPr>
            <a:picLocks noChangeAspect="1"/>
          </p:cNvPicPr>
          <p:nvPr/>
        </p:nvPicPr>
        <p:blipFill>
          <a:blip r:embed="rId7"/>
          <a:stretch>
            <a:fillRect/>
          </a:stretch>
        </p:blipFill>
        <p:spPr>
          <a:xfrm>
            <a:off x="8437472" y="2387736"/>
            <a:ext cx="340356" cy="158493"/>
          </a:xfrm>
          <a:prstGeom prst="rect">
            <a:avLst/>
          </a:prstGeom>
        </p:spPr>
      </p:pic>
      <p:grpSp>
        <p:nvGrpSpPr>
          <p:cNvPr id="20" name="Group 19">
            <a:extLst>
              <a:ext uri="{FF2B5EF4-FFF2-40B4-BE49-F238E27FC236}">
                <a16:creationId xmlns:a16="http://schemas.microsoft.com/office/drawing/2014/main" id="{D95459DB-4873-374E-A161-2EF8217EAB76}"/>
              </a:ext>
            </a:extLst>
          </p:cNvPr>
          <p:cNvGrpSpPr/>
          <p:nvPr/>
        </p:nvGrpSpPr>
        <p:grpSpPr>
          <a:xfrm>
            <a:off x="7535630" y="1741814"/>
            <a:ext cx="876599" cy="528135"/>
            <a:chOff x="9778631" y="2256847"/>
            <a:chExt cx="1168799" cy="704180"/>
          </a:xfrm>
        </p:grpSpPr>
        <p:grpSp>
          <p:nvGrpSpPr>
            <p:cNvPr id="344" name="Group 343">
              <a:extLst>
                <a:ext uri="{FF2B5EF4-FFF2-40B4-BE49-F238E27FC236}">
                  <a16:creationId xmlns:a16="http://schemas.microsoft.com/office/drawing/2014/main" id="{46AAC52B-542B-4607-9A38-D63AB6572621}"/>
                </a:ext>
              </a:extLst>
            </p:cNvPr>
            <p:cNvGrpSpPr/>
            <p:nvPr/>
          </p:nvGrpSpPr>
          <p:grpSpPr>
            <a:xfrm>
              <a:off x="9778631" y="2256847"/>
              <a:ext cx="1118436" cy="704180"/>
              <a:chOff x="6444145" y="1701124"/>
              <a:chExt cx="1280626" cy="802839"/>
            </a:xfrm>
            <a:solidFill>
              <a:schemeClr val="tx2"/>
            </a:solidFill>
          </p:grpSpPr>
          <p:grpSp>
            <p:nvGrpSpPr>
              <p:cNvPr id="345" name="Group 344">
                <a:extLst>
                  <a:ext uri="{FF2B5EF4-FFF2-40B4-BE49-F238E27FC236}">
                    <a16:creationId xmlns:a16="http://schemas.microsoft.com/office/drawing/2014/main" id="{FF3734FE-657E-4D1E-B365-DF24B830E2AB}"/>
                  </a:ext>
                </a:extLst>
              </p:cNvPr>
              <p:cNvGrpSpPr/>
              <p:nvPr/>
            </p:nvGrpSpPr>
            <p:grpSpPr>
              <a:xfrm>
                <a:off x="6444145" y="2041258"/>
                <a:ext cx="1280626" cy="462705"/>
                <a:chOff x="6799745" y="2065165"/>
                <a:chExt cx="1280626" cy="462705"/>
              </a:xfrm>
              <a:grpFill/>
            </p:grpSpPr>
            <p:sp>
              <p:nvSpPr>
                <p:cNvPr id="352" name="Rectangle: Rounded Corners 351">
                  <a:extLst>
                    <a:ext uri="{FF2B5EF4-FFF2-40B4-BE49-F238E27FC236}">
                      <a16:creationId xmlns:a16="http://schemas.microsoft.com/office/drawing/2014/main" id="{AA8992C3-2808-417F-B800-F24411360E1A}"/>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4" name="Rectangle: Rounded Corners 353">
                  <a:extLst>
                    <a:ext uri="{FF2B5EF4-FFF2-40B4-BE49-F238E27FC236}">
                      <a16:creationId xmlns:a16="http://schemas.microsoft.com/office/drawing/2014/main" id="{4EA2B3F3-116B-4D7D-82C0-0DA9D3780BBA}"/>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6" name="Group 345">
                <a:extLst>
                  <a:ext uri="{FF2B5EF4-FFF2-40B4-BE49-F238E27FC236}">
                    <a16:creationId xmlns:a16="http://schemas.microsoft.com/office/drawing/2014/main" id="{BADA8109-BB41-4555-B452-E241E53E1834}"/>
                  </a:ext>
                </a:extLst>
              </p:cNvPr>
              <p:cNvGrpSpPr/>
              <p:nvPr/>
            </p:nvGrpSpPr>
            <p:grpSpPr>
              <a:xfrm>
                <a:off x="6691732" y="1701124"/>
                <a:ext cx="956368" cy="458033"/>
                <a:chOff x="7044558" y="1563201"/>
                <a:chExt cx="964127" cy="461749"/>
              </a:xfrm>
              <a:grpFill/>
            </p:grpSpPr>
            <p:sp>
              <p:nvSpPr>
                <p:cNvPr id="348" name="Rectangle: Rounded Corners 347">
                  <a:extLst>
                    <a:ext uri="{FF2B5EF4-FFF2-40B4-BE49-F238E27FC236}">
                      <a16:creationId xmlns:a16="http://schemas.microsoft.com/office/drawing/2014/main" id="{107AF7E0-85DE-46F9-91ED-9F5701CA5F4E}"/>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9" name="Rectangle: Rounded Corners 348">
                  <a:extLst>
                    <a:ext uri="{FF2B5EF4-FFF2-40B4-BE49-F238E27FC236}">
                      <a16:creationId xmlns:a16="http://schemas.microsoft.com/office/drawing/2014/main" id="{5B8C775A-2DA8-4F1B-9206-926E29E0539A}"/>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364" name="TextBox 363">
              <a:extLst>
                <a:ext uri="{FF2B5EF4-FFF2-40B4-BE49-F238E27FC236}">
                  <a16:creationId xmlns:a16="http://schemas.microsoft.com/office/drawing/2014/main" id="{F399CACB-EC23-904A-95B3-D16E2936EA6C}"/>
                </a:ext>
              </a:extLst>
            </p:cNvPr>
            <p:cNvSpPr txBox="1"/>
            <p:nvPr/>
          </p:nvSpPr>
          <p:spPr>
            <a:xfrm>
              <a:off x="9874058" y="2468010"/>
              <a:ext cx="1073372" cy="492443"/>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grpSp>
      <p:sp>
        <p:nvSpPr>
          <p:cNvPr id="424" name="Rectangle: Rounded Corners 692">
            <a:extLst>
              <a:ext uri="{FF2B5EF4-FFF2-40B4-BE49-F238E27FC236}">
                <a16:creationId xmlns:a16="http://schemas.microsoft.com/office/drawing/2014/main" id="{748B6CF4-3D5E-F049-8EBB-1A0A8E881346}"/>
              </a:ext>
            </a:extLst>
          </p:cNvPr>
          <p:cNvSpPr/>
          <p:nvPr/>
        </p:nvSpPr>
        <p:spPr>
          <a:xfrm>
            <a:off x="6265639" y="2349456"/>
            <a:ext cx="1160821" cy="235053"/>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1"/>
                </a:solidFill>
              </a:rPr>
              <a:t>mid haul / backhaul</a:t>
            </a:r>
          </a:p>
        </p:txBody>
      </p:sp>
      <p:grpSp>
        <p:nvGrpSpPr>
          <p:cNvPr id="230" name="Group 229">
            <a:extLst>
              <a:ext uri="{FF2B5EF4-FFF2-40B4-BE49-F238E27FC236}">
                <a16:creationId xmlns:a16="http://schemas.microsoft.com/office/drawing/2014/main" id="{0CA0FCD7-7B63-834E-94A1-B5A8E16DD0D0}"/>
              </a:ext>
            </a:extLst>
          </p:cNvPr>
          <p:cNvGrpSpPr/>
          <p:nvPr/>
        </p:nvGrpSpPr>
        <p:grpSpPr>
          <a:xfrm>
            <a:off x="6045558" y="2674944"/>
            <a:ext cx="249333" cy="249334"/>
            <a:chOff x="7547191" y="1198589"/>
            <a:chExt cx="507244" cy="507245"/>
          </a:xfrm>
        </p:grpSpPr>
        <p:sp>
          <p:nvSpPr>
            <p:cNvPr id="231" name="Oval 230">
              <a:extLst>
                <a:ext uri="{FF2B5EF4-FFF2-40B4-BE49-F238E27FC236}">
                  <a16:creationId xmlns:a16="http://schemas.microsoft.com/office/drawing/2014/main" id="{8641D129-1937-E341-BFA5-3407BF76B764}"/>
                </a:ext>
              </a:extLst>
            </p:cNvPr>
            <p:cNvSpPr/>
            <p:nvPr/>
          </p:nvSpPr>
          <p:spPr>
            <a:xfrm>
              <a:off x="7547191" y="1198589"/>
              <a:ext cx="507244" cy="50724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2" name="Freeform 594">
              <a:extLst>
                <a:ext uri="{FF2B5EF4-FFF2-40B4-BE49-F238E27FC236}">
                  <a16:creationId xmlns:a16="http://schemas.microsoft.com/office/drawing/2014/main" id="{BD68E019-9295-234C-8B44-9E0561B75047}"/>
                </a:ext>
              </a:extLst>
            </p:cNvPr>
            <p:cNvSpPr>
              <a:spLocks noChangeAspect="1" noEditPoints="1"/>
            </p:cNvSpPr>
            <p:nvPr/>
          </p:nvSpPr>
          <p:spPr bwMode="auto">
            <a:xfrm>
              <a:off x="7570067" y="1235080"/>
              <a:ext cx="461491"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2" name="Straight Arrow Connector 11">
            <a:extLst>
              <a:ext uri="{FF2B5EF4-FFF2-40B4-BE49-F238E27FC236}">
                <a16:creationId xmlns:a16="http://schemas.microsoft.com/office/drawing/2014/main" id="{66C04B17-0409-1742-B58E-AFE3B33B9B42}"/>
              </a:ext>
            </a:extLst>
          </p:cNvPr>
          <p:cNvCxnSpPr/>
          <p:nvPr/>
        </p:nvCxnSpPr>
        <p:spPr>
          <a:xfrm>
            <a:off x="2867380" y="1760432"/>
            <a:ext cx="2583314" cy="0"/>
          </a:xfrm>
          <a:prstGeom prst="straightConnector1">
            <a:avLst/>
          </a:prstGeom>
          <a:ln>
            <a:solidFill>
              <a:schemeClr val="bg1"/>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259" name="Rectangle 258">
            <a:extLst>
              <a:ext uri="{FF2B5EF4-FFF2-40B4-BE49-F238E27FC236}">
                <a16:creationId xmlns:a16="http://schemas.microsoft.com/office/drawing/2014/main" id="{33EED605-AECB-E840-B472-066EE3B8522F}"/>
              </a:ext>
            </a:extLst>
          </p:cNvPr>
          <p:cNvSpPr/>
          <p:nvPr/>
        </p:nvSpPr>
        <p:spPr>
          <a:xfrm>
            <a:off x="3233501" y="1669364"/>
            <a:ext cx="1803137" cy="20574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iscoSansTT Light" panose="020B0503020201020303" pitchFamily="34" charset="0"/>
                <a:cs typeface="CiscoSansTT Light" panose="020B0503020201020303" pitchFamily="34" charset="0"/>
              </a:rPr>
              <a:t>open APIs (data-model driven)</a:t>
            </a:r>
          </a:p>
        </p:txBody>
      </p:sp>
      <p:cxnSp>
        <p:nvCxnSpPr>
          <p:cNvPr id="355" name="Straight Arrow Connector 354">
            <a:extLst>
              <a:ext uri="{FF2B5EF4-FFF2-40B4-BE49-F238E27FC236}">
                <a16:creationId xmlns:a16="http://schemas.microsoft.com/office/drawing/2014/main" id="{E2A689B3-8CB2-5F41-9619-FED87CE7D0D8}"/>
              </a:ext>
            </a:extLst>
          </p:cNvPr>
          <p:cNvCxnSpPr>
            <a:cxnSpLocks/>
          </p:cNvCxnSpPr>
          <p:nvPr/>
        </p:nvCxnSpPr>
        <p:spPr>
          <a:xfrm>
            <a:off x="5520173" y="1760432"/>
            <a:ext cx="2273538" cy="0"/>
          </a:xfrm>
          <a:prstGeom prst="straightConnector1">
            <a:avLst/>
          </a:prstGeom>
          <a:ln>
            <a:solidFill>
              <a:schemeClr val="accent4"/>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379" name="Rectangle 378">
            <a:extLst>
              <a:ext uri="{FF2B5EF4-FFF2-40B4-BE49-F238E27FC236}">
                <a16:creationId xmlns:a16="http://schemas.microsoft.com/office/drawing/2014/main" id="{449F6B65-5BBB-FD43-97D2-5F2E84E7BC68}"/>
              </a:ext>
            </a:extLst>
          </p:cNvPr>
          <p:cNvSpPr/>
          <p:nvPr/>
        </p:nvSpPr>
        <p:spPr>
          <a:xfrm>
            <a:off x="6018859" y="1648964"/>
            <a:ext cx="1548836" cy="20574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accent4"/>
                </a:solidFill>
                <a:latin typeface="CiscoSansTT Light" panose="020B0503020201020303" pitchFamily="34" charset="0"/>
                <a:cs typeface="CiscoSansTT Light" panose="020B0503020201020303" pitchFamily="34" charset="0"/>
              </a:rPr>
              <a:t>Crosswork Data Gateway</a:t>
            </a:r>
          </a:p>
        </p:txBody>
      </p:sp>
      <p:pic>
        <p:nvPicPr>
          <p:cNvPr id="240" name="Picture 239">
            <a:extLst>
              <a:ext uri="{FF2B5EF4-FFF2-40B4-BE49-F238E27FC236}">
                <a16:creationId xmlns:a16="http://schemas.microsoft.com/office/drawing/2014/main" id="{668CB763-D489-4D41-9050-C0F9E3C1A6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70674" y="1544147"/>
            <a:ext cx="274320" cy="274320"/>
          </a:xfrm>
          <a:prstGeom prst="rect">
            <a:avLst/>
          </a:prstGeom>
        </p:spPr>
      </p:pic>
      <p:grpSp>
        <p:nvGrpSpPr>
          <p:cNvPr id="250" name="Group 249">
            <a:extLst>
              <a:ext uri="{FF2B5EF4-FFF2-40B4-BE49-F238E27FC236}">
                <a16:creationId xmlns:a16="http://schemas.microsoft.com/office/drawing/2014/main" id="{53CE3F2C-0ACC-5349-820A-F34CCBC5AC90}"/>
              </a:ext>
            </a:extLst>
          </p:cNvPr>
          <p:cNvGrpSpPr/>
          <p:nvPr/>
        </p:nvGrpSpPr>
        <p:grpSpPr>
          <a:xfrm>
            <a:off x="2209257" y="1795817"/>
            <a:ext cx="695018" cy="577285"/>
            <a:chOff x="1053576" y="845943"/>
            <a:chExt cx="695017" cy="977038"/>
          </a:xfrm>
        </p:grpSpPr>
        <p:sp>
          <p:nvSpPr>
            <p:cNvPr id="251" name="Arc 250">
              <a:extLst>
                <a:ext uri="{FF2B5EF4-FFF2-40B4-BE49-F238E27FC236}">
                  <a16:creationId xmlns:a16="http://schemas.microsoft.com/office/drawing/2014/main" id="{46CFFC50-9B5E-3B48-AA7D-52B7206BB22D}"/>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2" name="Straight Connector 251">
              <a:extLst>
                <a:ext uri="{FF2B5EF4-FFF2-40B4-BE49-F238E27FC236}">
                  <a16:creationId xmlns:a16="http://schemas.microsoft.com/office/drawing/2014/main" id="{8C91830B-1810-1043-89C7-0510E43ACDFF}"/>
                </a:ext>
              </a:extLst>
            </p:cNvPr>
            <p:cNvCxnSpPr>
              <a:cxnSpLocks/>
              <a:endCxn id="251"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47185B00-2404-5B47-BE4C-5A5A74FC0E87}"/>
                </a:ext>
              </a:extLst>
            </p:cNvPr>
            <p:cNvCxnSpPr>
              <a:cxnSpLocks/>
              <a:stCxn id="251" idx="0"/>
            </p:cNvCxnSpPr>
            <p:nvPr/>
          </p:nvCxnSpPr>
          <p:spPr>
            <a:xfrm>
              <a:off x="1170844" y="1822266"/>
              <a:ext cx="577749" cy="71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55" name="Group 254">
            <a:extLst>
              <a:ext uri="{FF2B5EF4-FFF2-40B4-BE49-F238E27FC236}">
                <a16:creationId xmlns:a16="http://schemas.microsoft.com/office/drawing/2014/main" id="{A3B16555-6254-BC41-A3F9-EF4AEB196E49}"/>
              </a:ext>
            </a:extLst>
          </p:cNvPr>
          <p:cNvGrpSpPr/>
          <p:nvPr/>
        </p:nvGrpSpPr>
        <p:grpSpPr>
          <a:xfrm>
            <a:off x="2553251" y="1744168"/>
            <a:ext cx="343076" cy="576863"/>
            <a:chOff x="1053576" y="845943"/>
            <a:chExt cx="343076" cy="976323"/>
          </a:xfrm>
        </p:grpSpPr>
        <p:sp>
          <p:nvSpPr>
            <p:cNvPr id="256" name="Arc 255">
              <a:extLst>
                <a:ext uri="{FF2B5EF4-FFF2-40B4-BE49-F238E27FC236}">
                  <a16:creationId xmlns:a16="http://schemas.microsoft.com/office/drawing/2014/main" id="{A31AA554-7F99-6543-90FF-B840147C30E3}"/>
                </a:ext>
              </a:extLst>
            </p:cNvPr>
            <p:cNvSpPr/>
            <p:nvPr/>
          </p:nvSpPr>
          <p:spPr>
            <a:xfrm rot="10800000">
              <a:off x="1053577" y="1587731"/>
              <a:ext cx="234534" cy="234535"/>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7" name="Straight Connector 256">
              <a:extLst>
                <a:ext uri="{FF2B5EF4-FFF2-40B4-BE49-F238E27FC236}">
                  <a16:creationId xmlns:a16="http://schemas.microsoft.com/office/drawing/2014/main" id="{4D3F6E6E-5E15-5544-896A-3B7DDC19F920}"/>
                </a:ext>
              </a:extLst>
            </p:cNvPr>
            <p:cNvCxnSpPr>
              <a:cxnSpLocks/>
              <a:endCxn id="256"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EF6D4E5F-205E-1E45-9A7C-D6914C07F956}"/>
                </a:ext>
              </a:extLst>
            </p:cNvPr>
            <p:cNvCxnSpPr>
              <a:cxnSpLocks/>
              <a:stCxn id="256" idx="0"/>
            </p:cNvCxnSpPr>
            <p:nvPr/>
          </p:nvCxnSpPr>
          <p:spPr>
            <a:xfrm>
              <a:off x="1170844" y="1822265"/>
              <a:ext cx="225808"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2987BB8E-B0D7-0345-BAE3-70CB1A16901C}"/>
              </a:ext>
            </a:extLst>
          </p:cNvPr>
          <p:cNvGrpSpPr/>
          <p:nvPr/>
        </p:nvGrpSpPr>
        <p:grpSpPr>
          <a:xfrm>
            <a:off x="2416577" y="1541399"/>
            <a:ext cx="274320" cy="274320"/>
            <a:chOff x="2756962" y="2123379"/>
            <a:chExt cx="365760" cy="365760"/>
          </a:xfrm>
        </p:grpSpPr>
        <p:sp>
          <p:nvSpPr>
            <p:cNvPr id="10" name="Oval 9">
              <a:extLst>
                <a:ext uri="{FF2B5EF4-FFF2-40B4-BE49-F238E27FC236}">
                  <a16:creationId xmlns:a16="http://schemas.microsoft.com/office/drawing/2014/main" id="{CA7F1075-C349-0A4B-8F79-C53A0AF54E96}"/>
                </a:ext>
              </a:extLst>
            </p:cNvPr>
            <p:cNvSpPr>
              <a:spLocks noChangeAspect="1"/>
            </p:cNvSpPr>
            <p:nvPr/>
          </p:nvSpPr>
          <p:spPr>
            <a:xfrm>
              <a:off x="2756962" y="2123379"/>
              <a:ext cx="365760" cy="36576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FAC061C4-B6BB-724D-80D7-43FFCF54FA1A}"/>
                </a:ext>
              </a:extLst>
            </p:cNvPr>
            <p:cNvPicPr>
              <a:picLocks noChangeAspect="1"/>
            </p:cNvPicPr>
            <p:nvPr/>
          </p:nvPicPr>
          <p:blipFill>
            <a:blip r:embed="rId9"/>
            <a:stretch>
              <a:fillRect/>
            </a:stretch>
          </p:blipFill>
          <p:spPr>
            <a:xfrm>
              <a:off x="2808884" y="2174522"/>
              <a:ext cx="274320" cy="274320"/>
            </a:xfrm>
            <a:prstGeom prst="rect">
              <a:avLst/>
            </a:prstGeom>
          </p:spPr>
        </p:pic>
      </p:grpSp>
      <p:sp>
        <p:nvSpPr>
          <p:cNvPr id="17" name="TextBox 16">
            <a:extLst>
              <a:ext uri="{FF2B5EF4-FFF2-40B4-BE49-F238E27FC236}">
                <a16:creationId xmlns:a16="http://schemas.microsoft.com/office/drawing/2014/main" id="{1D148AFD-09DB-C049-9E99-D1E27B365513}"/>
              </a:ext>
            </a:extLst>
          </p:cNvPr>
          <p:cNvSpPr txBox="1"/>
          <p:nvPr/>
        </p:nvSpPr>
        <p:spPr>
          <a:xfrm>
            <a:off x="7756425" y="4237796"/>
            <a:ext cx="588598" cy="352142"/>
          </a:xfrm>
          <a:prstGeom prst="roundRect">
            <a:avLst>
              <a:gd name="adj" fmla="val 48467"/>
            </a:avLst>
          </a:prstGeom>
          <a:solidFill>
            <a:schemeClr val="accent1"/>
          </a:solidFill>
          <a:ln w="31750">
            <a:solidFill>
              <a:schemeClr val="accent1">
                <a:lumMod val="40000"/>
                <a:lumOff val="60000"/>
              </a:schemeClr>
            </a:solidFill>
          </a:ln>
        </p:spPr>
        <p:txBody>
          <a:bodyPr wrap="none" lIns="34290" rIns="34290" rtlCol="0" anchor="ctr">
            <a:spAutoFit/>
          </a:bodyPr>
          <a:lstStyle/>
          <a:p>
            <a:pPr algn="ctr"/>
            <a:r>
              <a:rPr lang="en-US" sz="1050" b="1" dirty="0">
                <a:solidFill>
                  <a:schemeClr val="bg2"/>
                </a:solidFill>
                <a:latin typeface="CiscoSansTT" panose="020B0503020201020303" pitchFamily="34" charset="0"/>
                <a:cs typeface="CiscoSansTT" panose="020B0503020201020303" pitchFamily="34" charset="0"/>
              </a:rPr>
              <a:t>400GE</a:t>
            </a:r>
          </a:p>
        </p:txBody>
      </p:sp>
      <p:pic>
        <p:nvPicPr>
          <p:cNvPr id="263" name="Picture 262">
            <a:extLst>
              <a:ext uri="{FF2B5EF4-FFF2-40B4-BE49-F238E27FC236}">
                <a16:creationId xmlns:a16="http://schemas.microsoft.com/office/drawing/2014/main" id="{0DBBC980-4055-1842-B6F1-B969A195A64A}"/>
              </a:ext>
            </a:extLst>
          </p:cNvPr>
          <p:cNvPicPr>
            <a:picLocks noChangeAspect="1"/>
          </p:cNvPicPr>
          <p:nvPr/>
        </p:nvPicPr>
        <p:blipFill>
          <a:blip r:embed="rId10"/>
          <a:stretch>
            <a:fillRect/>
          </a:stretch>
        </p:blipFill>
        <p:spPr>
          <a:xfrm>
            <a:off x="8009581" y="2311994"/>
            <a:ext cx="287936" cy="287936"/>
          </a:xfrm>
          <a:prstGeom prst="rect">
            <a:avLst/>
          </a:prstGeom>
        </p:spPr>
      </p:pic>
      <p:sp>
        <p:nvSpPr>
          <p:cNvPr id="265" name="Teardrop 264">
            <a:extLst>
              <a:ext uri="{FF2B5EF4-FFF2-40B4-BE49-F238E27FC236}">
                <a16:creationId xmlns:a16="http://schemas.microsoft.com/office/drawing/2014/main" id="{9BB8AD04-EF51-9E40-ACB6-90FD95145D4D}"/>
              </a:ext>
            </a:extLst>
          </p:cNvPr>
          <p:cNvSpPr>
            <a:spLocks noChangeAspect="1"/>
          </p:cNvSpPr>
          <p:nvPr/>
        </p:nvSpPr>
        <p:spPr>
          <a:xfrm rot="2427077">
            <a:off x="7702215" y="208918"/>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96" name="Teardrop 295">
            <a:extLst>
              <a:ext uri="{FF2B5EF4-FFF2-40B4-BE49-F238E27FC236}">
                <a16:creationId xmlns:a16="http://schemas.microsoft.com/office/drawing/2014/main" id="{2C7A9FEF-CF23-6F4C-A293-517139ECA561}"/>
              </a:ext>
            </a:extLst>
          </p:cNvPr>
          <p:cNvSpPr>
            <a:spLocks noChangeAspect="1"/>
          </p:cNvSpPr>
          <p:nvPr/>
        </p:nvSpPr>
        <p:spPr>
          <a:xfrm rot="2582071">
            <a:off x="7771752" y="2398402"/>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98" name="TextBox 297">
            <a:extLst>
              <a:ext uri="{FF2B5EF4-FFF2-40B4-BE49-F238E27FC236}">
                <a16:creationId xmlns:a16="http://schemas.microsoft.com/office/drawing/2014/main" id="{1F13F092-5B0A-C24D-B299-6175B69F2067}"/>
              </a:ext>
            </a:extLst>
          </p:cNvPr>
          <p:cNvSpPr txBox="1"/>
          <p:nvPr/>
        </p:nvSpPr>
        <p:spPr>
          <a:xfrm>
            <a:off x="1538000" y="4237596"/>
            <a:ext cx="830305" cy="352142"/>
          </a:xfrm>
          <a:prstGeom prst="roundRect">
            <a:avLst>
              <a:gd name="adj" fmla="val 48467"/>
            </a:avLst>
          </a:prstGeom>
          <a:solidFill>
            <a:schemeClr val="accent1"/>
          </a:solidFill>
          <a:ln w="31750">
            <a:solidFill>
              <a:schemeClr val="accent1">
                <a:lumMod val="40000"/>
                <a:lumOff val="60000"/>
              </a:schemeClr>
            </a:solidFill>
          </a:ln>
        </p:spPr>
        <p:txBody>
          <a:bodyPr wrap="none" lIns="34290" rIns="34290" rtlCol="0" anchor="ctr">
            <a:spAutoFit/>
          </a:bodyPr>
          <a:lstStyle/>
          <a:p>
            <a:pPr algn="ctr"/>
            <a:r>
              <a:rPr lang="en-US" sz="1050" b="1" dirty="0">
                <a:solidFill>
                  <a:schemeClr val="bg2"/>
                </a:solidFill>
                <a:latin typeface="CiscoSansTT" panose="020B0503020201020303" pitchFamily="34" charset="0"/>
                <a:cs typeface="CiscoSansTT" panose="020B0503020201020303" pitchFamily="34" charset="0"/>
              </a:rPr>
              <a:t>10/100 GE</a:t>
            </a:r>
          </a:p>
        </p:txBody>
      </p:sp>
      <p:sp>
        <p:nvSpPr>
          <p:cNvPr id="9" name="TextBox 8">
            <a:extLst>
              <a:ext uri="{FF2B5EF4-FFF2-40B4-BE49-F238E27FC236}">
                <a16:creationId xmlns:a16="http://schemas.microsoft.com/office/drawing/2014/main" id="{2E67ADD7-848E-C24C-9566-2115E9C5813C}"/>
              </a:ext>
            </a:extLst>
          </p:cNvPr>
          <p:cNvSpPr txBox="1"/>
          <p:nvPr/>
        </p:nvSpPr>
        <p:spPr>
          <a:xfrm>
            <a:off x="7884006" y="143843"/>
            <a:ext cx="322524" cy="369332"/>
          </a:xfrm>
          <a:prstGeom prst="rect">
            <a:avLst/>
          </a:prstGeom>
          <a:noFill/>
        </p:spPr>
        <p:txBody>
          <a:bodyPr wrap="none" rtlCol="0">
            <a:spAutoFit/>
          </a:bodyPr>
          <a:lstStyle/>
          <a:p>
            <a:r>
              <a:rPr lang="en-US" dirty="0">
                <a:latin typeface="+mn-lt"/>
              </a:rPr>
              <a:t>=</a:t>
            </a:r>
          </a:p>
        </p:txBody>
      </p:sp>
      <p:sp>
        <p:nvSpPr>
          <p:cNvPr id="305" name="TextBox 304">
            <a:extLst>
              <a:ext uri="{FF2B5EF4-FFF2-40B4-BE49-F238E27FC236}">
                <a16:creationId xmlns:a16="http://schemas.microsoft.com/office/drawing/2014/main" id="{01A2BBC0-F989-4D43-B25A-CDAFB895A5D3}"/>
              </a:ext>
            </a:extLst>
          </p:cNvPr>
          <p:cNvSpPr txBox="1"/>
          <p:nvPr/>
        </p:nvSpPr>
        <p:spPr>
          <a:xfrm>
            <a:off x="8081092" y="121520"/>
            <a:ext cx="1024639" cy="369332"/>
          </a:xfrm>
          <a:prstGeom prst="rect">
            <a:avLst/>
          </a:prstGeom>
          <a:noFill/>
        </p:spPr>
        <p:txBody>
          <a:bodyPr wrap="none" rtlCol="0">
            <a:spAutoFit/>
          </a:bodyPr>
          <a:lstStyle/>
          <a:p>
            <a:r>
              <a:rPr lang="en-US" sz="900" dirty="0">
                <a:latin typeface="CiscoSansTT Light" panose="020B0503020201020303" pitchFamily="34" charset="0"/>
                <a:cs typeface="CiscoSansTT Light" panose="020B0503020201020303" pitchFamily="34" charset="0"/>
              </a:rPr>
              <a:t>new releases or</a:t>
            </a:r>
          </a:p>
          <a:p>
            <a:r>
              <a:rPr lang="en-US" sz="900" dirty="0">
                <a:latin typeface="CiscoSansTT Light" panose="020B0503020201020303" pitchFamily="34" charset="0"/>
                <a:cs typeface="CiscoSansTT Light" panose="020B0503020201020303" pitchFamily="34" charset="0"/>
              </a:rPr>
              <a:t>major updates</a:t>
            </a:r>
          </a:p>
        </p:txBody>
      </p:sp>
      <p:sp>
        <p:nvSpPr>
          <p:cNvPr id="264" name="Teardrop 263">
            <a:extLst>
              <a:ext uri="{FF2B5EF4-FFF2-40B4-BE49-F238E27FC236}">
                <a16:creationId xmlns:a16="http://schemas.microsoft.com/office/drawing/2014/main" id="{BE468752-3212-E24D-B3F4-7D516DA25E87}"/>
              </a:ext>
            </a:extLst>
          </p:cNvPr>
          <p:cNvSpPr>
            <a:spLocks noChangeAspect="1"/>
          </p:cNvSpPr>
          <p:nvPr/>
        </p:nvSpPr>
        <p:spPr>
          <a:xfrm rot="17553607" flipH="1">
            <a:off x="7300694" y="1245770"/>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97" name="Teardrop 296">
            <a:extLst>
              <a:ext uri="{FF2B5EF4-FFF2-40B4-BE49-F238E27FC236}">
                <a16:creationId xmlns:a16="http://schemas.microsoft.com/office/drawing/2014/main" id="{696296DC-679F-6449-92D2-9EE8CF598938}"/>
              </a:ext>
            </a:extLst>
          </p:cNvPr>
          <p:cNvSpPr>
            <a:spLocks noChangeAspect="1"/>
          </p:cNvSpPr>
          <p:nvPr/>
        </p:nvSpPr>
        <p:spPr>
          <a:xfrm rot="8035617" flipH="1">
            <a:off x="3182104" y="4670151"/>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304" name="Teardrop 303">
            <a:extLst>
              <a:ext uri="{FF2B5EF4-FFF2-40B4-BE49-F238E27FC236}">
                <a16:creationId xmlns:a16="http://schemas.microsoft.com/office/drawing/2014/main" id="{CDB74C08-4745-A34B-BF65-6162E5CB856D}"/>
              </a:ext>
            </a:extLst>
          </p:cNvPr>
          <p:cNvSpPr>
            <a:spLocks noChangeAspect="1"/>
          </p:cNvSpPr>
          <p:nvPr/>
        </p:nvSpPr>
        <p:spPr>
          <a:xfrm rot="2427077">
            <a:off x="481441" y="3717347"/>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340" name="Teardrop 339">
            <a:extLst>
              <a:ext uri="{FF2B5EF4-FFF2-40B4-BE49-F238E27FC236}">
                <a16:creationId xmlns:a16="http://schemas.microsoft.com/office/drawing/2014/main" id="{B5F89624-6458-5845-88EE-3AC32388447D}"/>
              </a:ext>
            </a:extLst>
          </p:cNvPr>
          <p:cNvSpPr>
            <a:spLocks noChangeAspect="1"/>
          </p:cNvSpPr>
          <p:nvPr/>
        </p:nvSpPr>
        <p:spPr>
          <a:xfrm rot="7792982" flipH="1">
            <a:off x="7349548" y="4679596"/>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62" name="TextBox 261">
            <a:extLst>
              <a:ext uri="{FF2B5EF4-FFF2-40B4-BE49-F238E27FC236}">
                <a16:creationId xmlns:a16="http://schemas.microsoft.com/office/drawing/2014/main" id="{B27253F9-338C-D54B-A4F2-786D40E544DE}"/>
              </a:ext>
            </a:extLst>
          </p:cNvPr>
          <p:cNvSpPr txBox="1"/>
          <p:nvPr/>
        </p:nvSpPr>
        <p:spPr>
          <a:xfrm>
            <a:off x="3415528" y="4231848"/>
            <a:ext cx="830305" cy="352142"/>
          </a:xfrm>
          <a:prstGeom prst="roundRect">
            <a:avLst>
              <a:gd name="adj" fmla="val 48467"/>
            </a:avLst>
          </a:prstGeom>
          <a:solidFill>
            <a:schemeClr val="accent1"/>
          </a:solidFill>
          <a:ln w="31750">
            <a:solidFill>
              <a:schemeClr val="accent1">
                <a:lumMod val="40000"/>
                <a:lumOff val="60000"/>
              </a:schemeClr>
            </a:solidFill>
          </a:ln>
        </p:spPr>
        <p:txBody>
          <a:bodyPr wrap="none" lIns="34290" rIns="34290" rtlCol="0" anchor="ctr">
            <a:spAutoFit/>
          </a:bodyPr>
          <a:lstStyle/>
          <a:p>
            <a:pPr algn="ctr"/>
            <a:r>
              <a:rPr lang="en-US" sz="1050" b="1" dirty="0">
                <a:solidFill>
                  <a:schemeClr val="bg2"/>
                </a:solidFill>
                <a:latin typeface="CiscoSansTT" panose="020B0503020201020303" pitchFamily="34" charset="0"/>
                <a:cs typeface="CiscoSansTT" panose="020B0503020201020303" pitchFamily="34" charset="0"/>
              </a:rPr>
              <a:t>10/100 GE</a:t>
            </a:r>
          </a:p>
        </p:txBody>
      </p:sp>
      <p:sp>
        <p:nvSpPr>
          <p:cNvPr id="266" name="Teardrop 265">
            <a:extLst>
              <a:ext uri="{FF2B5EF4-FFF2-40B4-BE49-F238E27FC236}">
                <a16:creationId xmlns:a16="http://schemas.microsoft.com/office/drawing/2014/main" id="{FE144589-D744-5F4A-B204-579F0F495637}"/>
              </a:ext>
            </a:extLst>
          </p:cNvPr>
          <p:cNvSpPr>
            <a:spLocks noChangeAspect="1"/>
          </p:cNvSpPr>
          <p:nvPr/>
        </p:nvSpPr>
        <p:spPr>
          <a:xfrm rot="8035617" flipH="1">
            <a:off x="1300481" y="4670151"/>
            <a:ext cx="139865" cy="137160"/>
          </a:xfrm>
          <a:prstGeom prst="teardrop">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268" name="TextBox 267">
            <a:extLst>
              <a:ext uri="{FF2B5EF4-FFF2-40B4-BE49-F238E27FC236}">
                <a16:creationId xmlns:a16="http://schemas.microsoft.com/office/drawing/2014/main" id="{0DBA005B-477E-074E-BBE6-15CC0006FF94}"/>
              </a:ext>
            </a:extLst>
          </p:cNvPr>
          <p:cNvSpPr txBox="1"/>
          <p:nvPr/>
        </p:nvSpPr>
        <p:spPr>
          <a:xfrm>
            <a:off x="5378318" y="4233342"/>
            <a:ext cx="625955" cy="352142"/>
          </a:xfrm>
          <a:prstGeom prst="roundRect">
            <a:avLst>
              <a:gd name="adj" fmla="val 48467"/>
            </a:avLst>
          </a:prstGeom>
          <a:solidFill>
            <a:schemeClr val="accent1"/>
          </a:solidFill>
          <a:ln w="31750">
            <a:solidFill>
              <a:schemeClr val="accent1">
                <a:lumMod val="40000"/>
                <a:lumOff val="60000"/>
              </a:schemeClr>
            </a:solidFill>
          </a:ln>
        </p:spPr>
        <p:txBody>
          <a:bodyPr wrap="none" lIns="34290" rIns="34290" rtlCol="0" anchor="ctr">
            <a:spAutoFit/>
          </a:bodyPr>
          <a:lstStyle/>
          <a:p>
            <a:pPr algn="ctr"/>
            <a:r>
              <a:rPr lang="en-US" sz="1050" b="1" dirty="0">
                <a:solidFill>
                  <a:schemeClr val="bg2"/>
                </a:solidFill>
                <a:latin typeface="CiscoSansTT" panose="020B0503020201020303" pitchFamily="34" charset="0"/>
                <a:cs typeface="CiscoSansTT" panose="020B0503020201020303" pitchFamily="34" charset="0"/>
              </a:rPr>
              <a:t>100 GE</a:t>
            </a:r>
          </a:p>
        </p:txBody>
      </p:sp>
    </p:spTree>
    <p:extLst>
      <p:ext uri="{BB962C8B-B14F-4D97-AF65-F5344CB8AC3E}">
        <p14:creationId xmlns:p14="http://schemas.microsoft.com/office/powerpoint/2010/main" val="404885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repeatCount="indefinite" grpId="0" nodeType="withEffect">
                                  <p:stCondLst>
                                    <p:cond delay="0"/>
                                  </p:stCondLst>
                                  <p:endCondLst>
                                    <p:cond evt="onNext" delay="0">
                                      <p:tgtEl>
                                        <p:sldTgt/>
                                      </p:tgtEl>
                                    </p:cond>
                                  </p:endCondLst>
                                  <p:childTnLst>
                                    <p:animClr clrSpc="rgb" dir="cw">
                                      <p:cBhvr override="childStyle">
                                        <p:cTn id="6" dur="2000" fill="hold"/>
                                        <p:tgtEl>
                                          <p:spTgt spid="264"/>
                                        </p:tgtEl>
                                        <p:attrNameLst>
                                          <p:attrName>style.color</p:attrName>
                                        </p:attrNameLst>
                                      </p:cBhvr>
                                      <p:to>
                                        <a:schemeClr val="folHlink"/>
                                      </p:to>
                                    </p:animClr>
                                    <p:animClr clrSpc="rgb" dir="cw">
                                      <p:cBhvr>
                                        <p:cTn id="7" dur="2000" fill="hold"/>
                                        <p:tgtEl>
                                          <p:spTgt spid="264"/>
                                        </p:tgtEl>
                                        <p:attrNameLst>
                                          <p:attrName>fillcolor</p:attrName>
                                        </p:attrNameLst>
                                      </p:cBhvr>
                                      <p:to>
                                        <a:schemeClr val="folHlink"/>
                                      </p:to>
                                    </p:animClr>
                                    <p:set>
                                      <p:cBhvr>
                                        <p:cTn id="8" dur="2000" fill="hold"/>
                                        <p:tgtEl>
                                          <p:spTgt spid="264"/>
                                        </p:tgtEl>
                                        <p:attrNameLst>
                                          <p:attrName>fill.type</p:attrName>
                                        </p:attrNameLst>
                                      </p:cBhvr>
                                      <p:to>
                                        <p:strVal val="solid"/>
                                      </p:to>
                                    </p:set>
                                    <p:set>
                                      <p:cBhvr>
                                        <p:cTn id="9" dur="2000" fill="hold"/>
                                        <p:tgtEl>
                                          <p:spTgt spid="264"/>
                                        </p:tgtEl>
                                        <p:attrNameLst>
                                          <p:attrName>fill.on</p:attrName>
                                        </p:attrNameLst>
                                      </p:cBhvr>
                                      <p:to>
                                        <p:strVal val="true"/>
                                      </p:to>
                                    </p:set>
                                  </p:childTnLst>
                                </p:cTn>
                              </p:par>
                              <p:par>
                                <p:cTn id="10" presetID="19" presetClass="emph" presetSubtype="0" repeatCount="indefinite" grpId="0" nodeType="withEffect">
                                  <p:stCondLst>
                                    <p:cond delay="0"/>
                                  </p:stCondLst>
                                  <p:endCondLst>
                                    <p:cond evt="onNext" delay="0">
                                      <p:tgtEl>
                                        <p:sldTgt/>
                                      </p:tgtEl>
                                    </p:cond>
                                  </p:endCondLst>
                                  <p:childTnLst>
                                    <p:animClr clrSpc="rgb" dir="cw">
                                      <p:cBhvr override="childStyle">
                                        <p:cTn id="11" dur="2000" fill="hold"/>
                                        <p:tgtEl>
                                          <p:spTgt spid="297"/>
                                        </p:tgtEl>
                                        <p:attrNameLst>
                                          <p:attrName>style.color</p:attrName>
                                        </p:attrNameLst>
                                      </p:cBhvr>
                                      <p:to>
                                        <a:schemeClr val="folHlink"/>
                                      </p:to>
                                    </p:animClr>
                                    <p:animClr clrSpc="rgb" dir="cw">
                                      <p:cBhvr>
                                        <p:cTn id="12" dur="2000" fill="hold"/>
                                        <p:tgtEl>
                                          <p:spTgt spid="297"/>
                                        </p:tgtEl>
                                        <p:attrNameLst>
                                          <p:attrName>fillcolor</p:attrName>
                                        </p:attrNameLst>
                                      </p:cBhvr>
                                      <p:to>
                                        <a:schemeClr val="folHlink"/>
                                      </p:to>
                                    </p:animClr>
                                    <p:set>
                                      <p:cBhvr>
                                        <p:cTn id="13" dur="2000" fill="hold"/>
                                        <p:tgtEl>
                                          <p:spTgt spid="297"/>
                                        </p:tgtEl>
                                        <p:attrNameLst>
                                          <p:attrName>fill.type</p:attrName>
                                        </p:attrNameLst>
                                      </p:cBhvr>
                                      <p:to>
                                        <p:strVal val="solid"/>
                                      </p:to>
                                    </p:set>
                                    <p:set>
                                      <p:cBhvr>
                                        <p:cTn id="14" dur="2000" fill="hold"/>
                                        <p:tgtEl>
                                          <p:spTgt spid="297"/>
                                        </p:tgtEl>
                                        <p:attrNameLst>
                                          <p:attrName>fill.on</p:attrName>
                                        </p:attrNameLst>
                                      </p:cBhvr>
                                      <p:to>
                                        <p:strVal val="true"/>
                                      </p:to>
                                    </p:set>
                                  </p:childTnLst>
                                </p:cTn>
                              </p:par>
                              <p:par>
                                <p:cTn id="15" presetID="19" presetClass="emph" presetSubtype="0" repeatCount="indefinite" grpId="0" nodeType="withEffect">
                                  <p:stCondLst>
                                    <p:cond delay="0"/>
                                  </p:stCondLst>
                                  <p:endCondLst>
                                    <p:cond evt="onNext" delay="0">
                                      <p:tgtEl>
                                        <p:sldTgt/>
                                      </p:tgtEl>
                                    </p:cond>
                                  </p:endCondLst>
                                  <p:childTnLst>
                                    <p:animClr clrSpc="rgb" dir="cw">
                                      <p:cBhvr override="childStyle">
                                        <p:cTn id="16" dur="2000" fill="hold"/>
                                        <p:tgtEl>
                                          <p:spTgt spid="340"/>
                                        </p:tgtEl>
                                        <p:attrNameLst>
                                          <p:attrName>style.color</p:attrName>
                                        </p:attrNameLst>
                                      </p:cBhvr>
                                      <p:to>
                                        <a:schemeClr val="folHlink"/>
                                      </p:to>
                                    </p:animClr>
                                    <p:animClr clrSpc="rgb" dir="cw">
                                      <p:cBhvr>
                                        <p:cTn id="17" dur="2000" fill="hold"/>
                                        <p:tgtEl>
                                          <p:spTgt spid="340"/>
                                        </p:tgtEl>
                                        <p:attrNameLst>
                                          <p:attrName>fillcolor</p:attrName>
                                        </p:attrNameLst>
                                      </p:cBhvr>
                                      <p:to>
                                        <a:schemeClr val="folHlink"/>
                                      </p:to>
                                    </p:animClr>
                                    <p:set>
                                      <p:cBhvr>
                                        <p:cTn id="18" dur="2000" fill="hold"/>
                                        <p:tgtEl>
                                          <p:spTgt spid="340"/>
                                        </p:tgtEl>
                                        <p:attrNameLst>
                                          <p:attrName>fill.type</p:attrName>
                                        </p:attrNameLst>
                                      </p:cBhvr>
                                      <p:to>
                                        <p:strVal val="solid"/>
                                      </p:to>
                                    </p:set>
                                    <p:set>
                                      <p:cBhvr>
                                        <p:cTn id="19" dur="2000" fill="hold"/>
                                        <p:tgtEl>
                                          <p:spTgt spid="340"/>
                                        </p:tgtEl>
                                        <p:attrNameLst>
                                          <p:attrName>fill.on</p:attrName>
                                        </p:attrNameLst>
                                      </p:cBhvr>
                                      <p:to>
                                        <p:strVal val="true"/>
                                      </p:to>
                                    </p:set>
                                  </p:childTnLst>
                                </p:cTn>
                              </p:par>
                              <p:par>
                                <p:cTn id="20" presetID="19" presetClass="emph" presetSubtype="0" repeatCount="indefinite" fill="hold" grpId="0" nodeType="withEffect">
                                  <p:stCondLst>
                                    <p:cond delay="0"/>
                                  </p:stCondLst>
                                  <p:endCondLst>
                                    <p:cond evt="onNext" delay="0">
                                      <p:tgtEl>
                                        <p:sldTgt/>
                                      </p:tgtEl>
                                    </p:cond>
                                  </p:endCondLst>
                                  <p:childTnLst>
                                    <p:animClr clrSpc="rgb" dir="cw">
                                      <p:cBhvr override="childStyle">
                                        <p:cTn id="21" dur="2000" fill="hold"/>
                                        <p:tgtEl>
                                          <p:spTgt spid="265"/>
                                        </p:tgtEl>
                                        <p:attrNameLst>
                                          <p:attrName>style.color</p:attrName>
                                        </p:attrNameLst>
                                      </p:cBhvr>
                                      <p:to>
                                        <a:schemeClr val="bg2"/>
                                      </p:to>
                                    </p:animClr>
                                    <p:animClr clrSpc="rgb" dir="cw">
                                      <p:cBhvr>
                                        <p:cTn id="22" dur="2000" fill="hold"/>
                                        <p:tgtEl>
                                          <p:spTgt spid="265"/>
                                        </p:tgtEl>
                                        <p:attrNameLst>
                                          <p:attrName>fillcolor</p:attrName>
                                        </p:attrNameLst>
                                      </p:cBhvr>
                                      <p:to>
                                        <a:schemeClr val="bg2"/>
                                      </p:to>
                                    </p:animClr>
                                    <p:set>
                                      <p:cBhvr>
                                        <p:cTn id="23" dur="2000" fill="hold"/>
                                        <p:tgtEl>
                                          <p:spTgt spid="265"/>
                                        </p:tgtEl>
                                        <p:attrNameLst>
                                          <p:attrName>fill.type</p:attrName>
                                        </p:attrNameLst>
                                      </p:cBhvr>
                                      <p:to>
                                        <p:strVal val="solid"/>
                                      </p:to>
                                    </p:set>
                                    <p:set>
                                      <p:cBhvr>
                                        <p:cTn id="24" dur="2000" fill="hold"/>
                                        <p:tgtEl>
                                          <p:spTgt spid="265"/>
                                        </p:tgtEl>
                                        <p:attrNameLst>
                                          <p:attrName>fill.on</p:attrName>
                                        </p:attrNameLst>
                                      </p:cBhvr>
                                      <p:to>
                                        <p:strVal val="true"/>
                                      </p:to>
                                    </p:set>
                                  </p:childTnLst>
                                </p:cTn>
                              </p:par>
                              <p:par>
                                <p:cTn id="25" presetID="1" presetClass="emph" presetSubtype="2" repeatCount="indefinite" fill="hold" nodeType="withEffect">
                                  <p:stCondLst>
                                    <p:cond delay="0"/>
                                  </p:stCondLst>
                                  <p:endCondLst>
                                    <p:cond evt="onNext" delay="0">
                                      <p:tgtEl>
                                        <p:sldTgt/>
                                      </p:tgtEl>
                                    </p:cond>
                                  </p:endCondLst>
                                  <p:childTnLst>
                                    <p:animClr clrSpc="rgb" dir="cw">
                                      <p:cBhvr>
                                        <p:cTn id="26" dur="2000" fill="hold"/>
                                        <p:tgtEl>
                                          <p:spTgt spid="296"/>
                                        </p:tgtEl>
                                        <p:attrNameLst>
                                          <p:attrName>fillcolor</p:attrName>
                                        </p:attrNameLst>
                                      </p:cBhvr>
                                      <p:to>
                                        <a:srgbClr val="CCD2D6"/>
                                      </p:to>
                                    </p:animClr>
                                    <p:set>
                                      <p:cBhvr>
                                        <p:cTn id="27" dur="2000" fill="hold"/>
                                        <p:tgtEl>
                                          <p:spTgt spid="296"/>
                                        </p:tgtEl>
                                        <p:attrNameLst>
                                          <p:attrName>fill.type</p:attrName>
                                        </p:attrNameLst>
                                      </p:cBhvr>
                                      <p:to>
                                        <p:strVal val="solid"/>
                                      </p:to>
                                    </p:set>
                                    <p:set>
                                      <p:cBhvr>
                                        <p:cTn id="28" dur="2000" fill="hold"/>
                                        <p:tgtEl>
                                          <p:spTgt spid="296"/>
                                        </p:tgtEl>
                                        <p:attrNameLst>
                                          <p:attrName>fill.on</p:attrName>
                                        </p:attrNameLst>
                                      </p:cBhvr>
                                      <p:to>
                                        <p:strVal val="true"/>
                                      </p:to>
                                    </p:set>
                                  </p:childTnLst>
                                </p:cTn>
                              </p:par>
                              <p:par>
                                <p:cTn id="29" presetID="1" presetClass="emph" presetSubtype="2" repeatCount="indefinite" fill="hold" nodeType="withEffect">
                                  <p:stCondLst>
                                    <p:cond delay="0"/>
                                  </p:stCondLst>
                                  <p:endCondLst>
                                    <p:cond evt="onNext" delay="0">
                                      <p:tgtEl>
                                        <p:sldTgt/>
                                      </p:tgtEl>
                                    </p:cond>
                                  </p:endCondLst>
                                  <p:childTnLst>
                                    <p:animClr clrSpc="rgb" dir="cw">
                                      <p:cBhvr>
                                        <p:cTn id="30" dur="2000" fill="hold"/>
                                        <p:tgtEl>
                                          <p:spTgt spid="304"/>
                                        </p:tgtEl>
                                        <p:attrNameLst>
                                          <p:attrName>fillcolor</p:attrName>
                                        </p:attrNameLst>
                                      </p:cBhvr>
                                      <p:to>
                                        <a:srgbClr val="F2F2F2"/>
                                      </p:to>
                                    </p:animClr>
                                    <p:set>
                                      <p:cBhvr>
                                        <p:cTn id="31" dur="2000" fill="hold"/>
                                        <p:tgtEl>
                                          <p:spTgt spid="304"/>
                                        </p:tgtEl>
                                        <p:attrNameLst>
                                          <p:attrName>fill.type</p:attrName>
                                        </p:attrNameLst>
                                      </p:cBhvr>
                                      <p:to>
                                        <p:strVal val="solid"/>
                                      </p:to>
                                    </p:set>
                                    <p:set>
                                      <p:cBhvr>
                                        <p:cTn id="32" dur="2000" fill="hold"/>
                                        <p:tgtEl>
                                          <p:spTgt spid="304"/>
                                        </p:tgtEl>
                                        <p:attrNameLst>
                                          <p:attrName>fill.on</p:attrName>
                                        </p:attrNameLst>
                                      </p:cBhvr>
                                      <p:to>
                                        <p:strVal val="true"/>
                                      </p:to>
                                    </p:set>
                                  </p:childTnLst>
                                </p:cTn>
                              </p:par>
                              <p:par>
                                <p:cTn id="33" presetID="19" presetClass="emph" presetSubtype="0" repeatCount="indefinite" grpId="0" nodeType="withEffect">
                                  <p:stCondLst>
                                    <p:cond delay="0"/>
                                  </p:stCondLst>
                                  <p:endCondLst>
                                    <p:cond evt="onNext" delay="0">
                                      <p:tgtEl>
                                        <p:sldTgt/>
                                      </p:tgtEl>
                                    </p:cond>
                                  </p:endCondLst>
                                  <p:childTnLst>
                                    <p:animClr clrSpc="rgb" dir="cw">
                                      <p:cBhvr override="childStyle">
                                        <p:cTn id="34" dur="2000" fill="hold"/>
                                        <p:tgtEl>
                                          <p:spTgt spid="266"/>
                                        </p:tgtEl>
                                        <p:attrNameLst>
                                          <p:attrName>style.color</p:attrName>
                                        </p:attrNameLst>
                                      </p:cBhvr>
                                      <p:to>
                                        <a:schemeClr val="folHlink"/>
                                      </p:to>
                                    </p:animClr>
                                    <p:animClr clrSpc="rgb" dir="cw">
                                      <p:cBhvr>
                                        <p:cTn id="35" dur="2000" fill="hold"/>
                                        <p:tgtEl>
                                          <p:spTgt spid="266"/>
                                        </p:tgtEl>
                                        <p:attrNameLst>
                                          <p:attrName>fillcolor</p:attrName>
                                        </p:attrNameLst>
                                      </p:cBhvr>
                                      <p:to>
                                        <a:schemeClr val="folHlink"/>
                                      </p:to>
                                    </p:animClr>
                                    <p:set>
                                      <p:cBhvr>
                                        <p:cTn id="36" dur="2000" fill="hold"/>
                                        <p:tgtEl>
                                          <p:spTgt spid="266"/>
                                        </p:tgtEl>
                                        <p:attrNameLst>
                                          <p:attrName>fill.type</p:attrName>
                                        </p:attrNameLst>
                                      </p:cBhvr>
                                      <p:to>
                                        <p:strVal val="solid"/>
                                      </p:to>
                                    </p:set>
                                    <p:set>
                                      <p:cBhvr>
                                        <p:cTn id="37" dur="2000" fill="hold"/>
                                        <p:tgtEl>
                                          <p:spTgt spid="26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5" grpId="0" animBg="1"/>
      <p:bldP spid="264" grpId="0" animBg="1"/>
      <p:bldP spid="297" grpId="0" animBg="1"/>
      <p:bldP spid="340" grpId="0" animBg="1"/>
      <p:bldP spid="266" grpId="0" animBg="1"/>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cxnSpLocks/>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grpSp>
        <p:nvGrpSpPr>
          <p:cNvPr id="517" name="Group 516">
            <a:extLst>
              <a:ext uri="{FF2B5EF4-FFF2-40B4-BE49-F238E27FC236}">
                <a16:creationId xmlns:a16="http://schemas.microsoft.com/office/drawing/2014/main" id="{AAF83F7C-1F84-426A-98CA-8749868AE096}"/>
              </a:ext>
            </a:extLst>
          </p:cNvPr>
          <p:cNvGrpSpPr/>
          <p:nvPr/>
        </p:nvGrpSpPr>
        <p:grpSpPr>
          <a:xfrm>
            <a:off x="4300546" y="2585931"/>
            <a:ext cx="126471" cy="126472"/>
            <a:chOff x="4083776" y="2552776"/>
            <a:chExt cx="529090" cy="529088"/>
          </a:xfrm>
        </p:grpSpPr>
        <p:sp>
          <p:nvSpPr>
            <p:cNvPr id="518" name="Oval 517">
              <a:extLst>
                <a:ext uri="{FF2B5EF4-FFF2-40B4-BE49-F238E27FC236}">
                  <a16:creationId xmlns:a16="http://schemas.microsoft.com/office/drawing/2014/main" id="{0C3FCB1E-390F-4D86-8CC3-E31AE330099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9" name="Freeform: Shape 298">
              <a:extLst>
                <a:ext uri="{FF2B5EF4-FFF2-40B4-BE49-F238E27FC236}">
                  <a16:creationId xmlns:a16="http://schemas.microsoft.com/office/drawing/2014/main" id="{6C5D6AB6-ED04-4F9E-B0D1-95E2898FE9F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0" name="Freeform: Shape 299">
              <a:extLst>
                <a:ext uri="{FF2B5EF4-FFF2-40B4-BE49-F238E27FC236}">
                  <a16:creationId xmlns:a16="http://schemas.microsoft.com/office/drawing/2014/main" id="{95FC254E-9C03-4B4C-BA49-7E66029731C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1" name="Freeform: Shape 301">
              <a:extLst>
                <a:ext uri="{FF2B5EF4-FFF2-40B4-BE49-F238E27FC236}">
                  <a16:creationId xmlns:a16="http://schemas.microsoft.com/office/drawing/2014/main" id="{243A588E-6FF7-4120-93AA-C95176DB8B6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2" name="Freeform: Shape 302">
              <a:extLst>
                <a:ext uri="{FF2B5EF4-FFF2-40B4-BE49-F238E27FC236}">
                  <a16:creationId xmlns:a16="http://schemas.microsoft.com/office/drawing/2014/main" id="{F821E9F3-5D5F-45B4-8074-A2382AF4786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23" name="Group 522">
            <a:extLst>
              <a:ext uri="{FF2B5EF4-FFF2-40B4-BE49-F238E27FC236}">
                <a16:creationId xmlns:a16="http://schemas.microsoft.com/office/drawing/2014/main" id="{9A5F1433-A9A4-4A8C-8F61-8C95C8096951}"/>
              </a:ext>
            </a:extLst>
          </p:cNvPr>
          <p:cNvGrpSpPr/>
          <p:nvPr/>
        </p:nvGrpSpPr>
        <p:grpSpPr>
          <a:xfrm>
            <a:off x="5383490" y="1829081"/>
            <a:ext cx="126471" cy="126472"/>
            <a:chOff x="4083776" y="2552776"/>
            <a:chExt cx="529090" cy="529088"/>
          </a:xfrm>
        </p:grpSpPr>
        <p:sp>
          <p:nvSpPr>
            <p:cNvPr id="524" name="Oval 523">
              <a:extLst>
                <a:ext uri="{FF2B5EF4-FFF2-40B4-BE49-F238E27FC236}">
                  <a16:creationId xmlns:a16="http://schemas.microsoft.com/office/drawing/2014/main" id="{B746A967-0794-4B38-A8E8-857E0D8291C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5" name="Freeform: Shape 298">
              <a:extLst>
                <a:ext uri="{FF2B5EF4-FFF2-40B4-BE49-F238E27FC236}">
                  <a16:creationId xmlns:a16="http://schemas.microsoft.com/office/drawing/2014/main" id="{74C22AF5-FCD9-4D48-8BE3-3D1A8658E48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6" name="Freeform: Shape 299">
              <a:extLst>
                <a:ext uri="{FF2B5EF4-FFF2-40B4-BE49-F238E27FC236}">
                  <a16:creationId xmlns:a16="http://schemas.microsoft.com/office/drawing/2014/main" id="{F3D04718-E595-4B60-9478-3A58707DD27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301">
              <a:extLst>
                <a:ext uri="{FF2B5EF4-FFF2-40B4-BE49-F238E27FC236}">
                  <a16:creationId xmlns:a16="http://schemas.microsoft.com/office/drawing/2014/main" id="{BB3B365E-2B28-46CA-A2B7-93DB37EE04B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2">
              <a:extLst>
                <a:ext uri="{FF2B5EF4-FFF2-40B4-BE49-F238E27FC236}">
                  <a16:creationId xmlns:a16="http://schemas.microsoft.com/office/drawing/2014/main" id="{5FB5D19E-E4D1-4D13-90F9-4D2FEBD60E3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5" name="Group 554">
            <a:extLst>
              <a:ext uri="{FF2B5EF4-FFF2-40B4-BE49-F238E27FC236}">
                <a16:creationId xmlns:a16="http://schemas.microsoft.com/office/drawing/2014/main" id="{50897546-5CBE-48FA-B9EB-887A95D0C24A}"/>
              </a:ext>
            </a:extLst>
          </p:cNvPr>
          <p:cNvGrpSpPr/>
          <p:nvPr/>
        </p:nvGrpSpPr>
        <p:grpSpPr>
          <a:xfrm>
            <a:off x="3755369" y="1626575"/>
            <a:ext cx="126471" cy="126472"/>
            <a:chOff x="4083776" y="2552776"/>
            <a:chExt cx="529090" cy="529088"/>
          </a:xfrm>
        </p:grpSpPr>
        <p:sp>
          <p:nvSpPr>
            <p:cNvPr id="556" name="Oval 555">
              <a:extLst>
                <a:ext uri="{FF2B5EF4-FFF2-40B4-BE49-F238E27FC236}">
                  <a16:creationId xmlns:a16="http://schemas.microsoft.com/office/drawing/2014/main" id="{AE0DBB18-CC7E-4284-A4EF-446C428817B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7" name="Freeform: Shape 298">
              <a:extLst>
                <a:ext uri="{FF2B5EF4-FFF2-40B4-BE49-F238E27FC236}">
                  <a16:creationId xmlns:a16="http://schemas.microsoft.com/office/drawing/2014/main" id="{F0A46EFF-4A10-4AFD-A70A-B229C3D40ED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8" name="Freeform: Shape 299">
              <a:extLst>
                <a:ext uri="{FF2B5EF4-FFF2-40B4-BE49-F238E27FC236}">
                  <a16:creationId xmlns:a16="http://schemas.microsoft.com/office/drawing/2014/main" id="{4CDD9B3F-59C6-4D45-B124-60D38E5C5E8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9" name="Freeform: Shape 301">
              <a:extLst>
                <a:ext uri="{FF2B5EF4-FFF2-40B4-BE49-F238E27FC236}">
                  <a16:creationId xmlns:a16="http://schemas.microsoft.com/office/drawing/2014/main" id="{24A5DD8A-2C60-42DC-874E-7691154C476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0" name="Freeform: Shape 302">
              <a:extLst>
                <a:ext uri="{FF2B5EF4-FFF2-40B4-BE49-F238E27FC236}">
                  <a16:creationId xmlns:a16="http://schemas.microsoft.com/office/drawing/2014/main" id="{521DCD37-12C7-4FEF-97CB-991BA3BA5F4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61" name="Straight Connector 560">
            <a:extLst>
              <a:ext uri="{FF2B5EF4-FFF2-40B4-BE49-F238E27FC236}">
                <a16:creationId xmlns:a16="http://schemas.microsoft.com/office/drawing/2014/main" id="{8C8583EF-6531-43C0-9C93-D20ADC6E3D84}"/>
              </a:ext>
            </a:extLst>
          </p:cNvPr>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62" name="Group 561">
            <a:extLst>
              <a:ext uri="{FF2B5EF4-FFF2-40B4-BE49-F238E27FC236}">
                <a16:creationId xmlns:a16="http://schemas.microsoft.com/office/drawing/2014/main" id="{3986F618-2DDC-4274-AF8E-13A669371784}"/>
              </a:ext>
            </a:extLst>
          </p:cNvPr>
          <p:cNvGrpSpPr/>
          <p:nvPr/>
        </p:nvGrpSpPr>
        <p:grpSpPr>
          <a:xfrm>
            <a:off x="3913211" y="3005058"/>
            <a:ext cx="126471" cy="126472"/>
            <a:chOff x="4083776" y="2552776"/>
            <a:chExt cx="529090" cy="529088"/>
          </a:xfrm>
        </p:grpSpPr>
        <p:sp>
          <p:nvSpPr>
            <p:cNvPr id="563" name="Oval 562">
              <a:extLst>
                <a:ext uri="{FF2B5EF4-FFF2-40B4-BE49-F238E27FC236}">
                  <a16:creationId xmlns:a16="http://schemas.microsoft.com/office/drawing/2014/main" id="{AF3EDB35-625E-4585-8994-CA807383E1F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4" name="Freeform: Shape 298">
              <a:extLst>
                <a:ext uri="{FF2B5EF4-FFF2-40B4-BE49-F238E27FC236}">
                  <a16:creationId xmlns:a16="http://schemas.microsoft.com/office/drawing/2014/main" id="{DB9FE75E-876D-4A5B-AE62-9D2222C4B54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5" name="Freeform: Shape 299">
              <a:extLst>
                <a:ext uri="{FF2B5EF4-FFF2-40B4-BE49-F238E27FC236}">
                  <a16:creationId xmlns:a16="http://schemas.microsoft.com/office/drawing/2014/main" id="{3CA45C41-8104-4F1B-9118-35CA4752854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6" name="Freeform: Shape 301">
              <a:extLst>
                <a:ext uri="{FF2B5EF4-FFF2-40B4-BE49-F238E27FC236}">
                  <a16:creationId xmlns:a16="http://schemas.microsoft.com/office/drawing/2014/main" id="{779664C7-0B9E-416E-BBA5-4206314A799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7" name="Freeform: Shape 302">
              <a:extLst>
                <a:ext uri="{FF2B5EF4-FFF2-40B4-BE49-F238E27FC236}">
                  <a16:creationId xmlns:a16="http://schemas.microsoft.com/office/drawing/2014/main" id="{F39B8ACF-815F-41C6-A6CD-450CFFB96FA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4" name="Group 573">
            <a:extLst>
              <a:ext uri="{FF2B5EF4-FFF2-40B4-BE49-F238E27FC236}">
                <a16:creationId xmlns:a16="http://schemas.microsoft.com/office/drawing/2014/main" id="{029164C5-972C-4E52-A9B6-DFEAF67F6108}"/>
              </a:ext>
            </a:extLst>
          </p:cNvPr>
          <p:cNvGrpSpPr/>
          <p:nvPr/>
        </p:nvGrpSpPr>
        <p:grpSpPr>
          <a:xfrm>
            <a:off x="5000978" y="2704482"/>
            <a:ext cx="126471" cy="126472"/>
            <a:chOff x="4083776" y="2552776"/>
            <a:chExt cx="529090" cy="529088"/>
          </a:xfrm>
        </p:grpSpPr>
        <p:sp>
          <p:nvSpPr>
            <p:cNvPr id="575" name="Oval 574">
              <a:extLst>
                <a:ext uri="{FF2B5EF4-FFF2-40B4-BE49-F238E27FC236}">
                  <a16:creationId xmlns:a16="http://schemas.microsoft.com/office/drawing/2014/main" id="{2A5D38A9-1C79-432A-A76A-C09725A962D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6" name="Freeform: Shape 298">
              <a:extLst>
                <a:ext uri="{FF2B5EF4-FFF2-40B4-BE49-F238E27FC236}">
                  <a16:creationId xmlns:a16="http://schemas.microsoft.com/office/drawing/2014/main" id="{FFD8C878-44BD-4A02-A1B6-1184468E432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299">
              <a:extLst>
                <a:ext uri="{FF2B5EF4-FFF2-40B4-BE49-F238E27FC236}">
                  <a16:creationId xmlns:a16="http://schemas.microsoft.com/office/drawing/2014/main" id="{869EA615-CDFD-4BA7-BEDD-A9C2A27734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1">
              <a:extLst>
                <a:ext uri="{FF2B5EF4-FFF2-40B4-BE49-F238E27FC236}">
                  <a16:creationId xmlns:a16="http://schemas.microsoft.com/office/drawing/2014/main" id="{AF2A4B79-4404-43CE-9B42-925CFD30FF9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9" name="Freeform: Shape 302">
              <a:extLst>
                <a:ext uri="{FF2B5EF4-FFF2-40B4-BE49-F238E27FC236}">
                  <a16:creationId xmlns:a16="http://schemas.microsoft.com/office/drawing/2014/main" id="{0D1288B0-3A66-4CB3-95F3-6DB3DBA8A9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80" name="Group 579">
            <a:extLst>
              <a:ext uri="{FF2B5EF4-FFF2-40B4-BE49-F238E27FC236}">
                <a16:creationId xmlns:a16="http://schemas.microsoft.com/office/drawing/2014/main" id="{6B0EF575-BD0D-4157-BCAF-3B5DB8B32565}"/>
              </a:ext>
            </a:extLst>
          </p:cNvPr>
          <p:cNvGrpSpPr/>
          <p:nvPr/>
        </p:nvGrpSpPr>
        <p:grpSpPr>
          <a:xfrm>
            <a:off x="4384163" y="3915417"/>
            <a:ext cx="126471" cy="126472"/>
            <a:chOff x="4083776" y="2552776"/>
            <a:chExt cx="529090" cy="529088"/>
          </a:xfrm>
        </p:grpSpPr>
        <p:sp>
          <p:nvSpPr>
            <p:cNvPr id="581" name="Oval 580">
              <a:extLst>
                <a:ext uri="{FF2B5EF4-FFF2-40B4-BE49-F238E27FC236}">
                  <a16:creationId xmlns:a16="http://schemas.microsoft.com/office/drawing/2014/main" id="{80E0DB98-C569-46AF-B566-17BD9EFC538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158FF281-E6CA-45E1-A08E-64B72378B87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45F8EE5A-7DAA-4CFF-B4CA-C3612D27AA8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D59653FA-FE33-43F6-9C8E-8D7DA0F1AD7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D9C1AE02-5688-4B0E-941E-260140FDDD3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86" name="Straight Connector 585">
            <a:extLst>
              <a:ext uri="{FF2B5EF4-FFF2-40B4-BE49-F238E27FC236}">
                <a16:creationId xmlns:a16="http://schemas.microsoft.com/office/drawing/2014/main" id="{79AFACCA-7FBD-4CAF-8C24-4CE6DF0BEB4F}"/>
              </a:ext>
            </a:extLst>
          </p:cNvPr>
          <p:cNvCxnSpPr>
            <a:stCxn id="581" idx="0"/>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87" name="Group 586">
            <a:extLst>
              <a:ext uri="{FF2B5EF4-FFF2-40B4-BE49-F238E27FC236}">
                <a16:creationId xmlns:a16="http://schemas.microsoft.com/office/drawing/2014/main" id="{048A14F8-CC8C-4862-8FF4-D184C3CE1B7B}"/>
              </a:ext>
            </a:extLst>
          </p:cNvPr>
          <p:cNvGrpSpPr/>
          <p:nvPr/>
        </p:nvGrpSpPr>
        <p:grpSpPr>
          <a:xfrm>
            <a:off x="5216393" y="180330"/>
            <a:ext cx="126471" cy="126472"/>
            <a:chOff x="4083776" y="2552776"/>
            <a:chExt cx="529090" cy="529088"/>
          </a:xfrm>
        </p:grpSpPr>
        <p:sp>
          <p:nvSpPr>
            <p:cNvPr id="588" name="Oval 587">
              <a:extLst>
                <a:ext uri="{FF2B5EF4-FFF2-40B4-BE49-F238E27FC236}">
                  <a16:creationId xmlns:a16="http://schemas.microsoft.com/office/drawing/2014/main" id="{7C1C72AC-6F16-44A5-9EC8-35DF3E87565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73E4F3F4-0DE7-4F13-A78E-49EB1468F07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19ECEA8E-E4CA-4FB9-8847-A4C2EE3CC24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7099275C-4643-4B03-9AB4-CE97154B1BF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5D46ECD0-48BC-4B70-82E5-B61CBC984AA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94" name="Straight Connector 593">
            <a:extLst>
              <a:ext uri="{FF2B5EF4-FFF2-40B4-BE49-F238E27FC236}">
                <a16:creationId xmlns:a16="http://schemas.microsoft.com/office/drawing/2014/main" id="{D3F46787-8D63-46F7-8E80-0FA320580BAC}"/>
              </a:ext>
            </a:extLst>
          </p:cNvPr>
          <p:cNvCxnSpPr>
            <a:cxnSpLocks/>
            <a:stCxn id="588" idx="4"/>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95" name="Group 594">
            <a:extLst>
              <a:ext uri="{FF2B5EF4-FFF2-40B4-BE49-F238E27FC236}">
                <a16:creationId xmlns:a16="http://schemas.microsoft.com/office/drawing/2014/main" id="{183B74A5-4703-4302-8FC5-3A225F1BEE20}"/>
              </a:ext>
            </a:extLst>
          </p:cNvPr>
          <p:cNvGrpSpPr/>
          <p:nvPr/>
        </p:nvGrpSpPr>
        <p:grpSpPr>
          <a:xfrm>
            <a:off x="4860701" y="3142917"/>
            <a:ext cx="126471" cy="126472"/>
            <a:chOff x="4083776" y="2552776"/>
            <a:chExt cx="529090" cy="529088"/>
          </a:xfrm>
        </p:grpSpPr>
        <p:sp>
          <p:nvSpPr>
            <p:cNvPr id="596" name="Oval 595">
              <a:extLst>
                <a:ext uri="{FF2B5EF4-FFF2-40B4-BE49-F238E27FC236}">
                  <a16:creationId xmlns:a16="http://schemas.microsoft.com/office/drawing/2014/main" id="{CAD04011-13A9-481D-9082-452710A7BE0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7" name="Freeform: Shape 298">
              <a:extLst>
                <a:ext uri="{FF2B5EF4-FFF2-40B4-BE49-F238E27FC236}">
                  <a16:creationId xmlns:a16="http://schemas.microsoft.com/office/drawing/2014/main" id="{293A2A72-75CF-4CAD-B7C4-210980207B9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8" name="Freeform: Shape 299">
              <a:extLst>
                <a:ext uri="{FF2B5EF4-FFF2-40B4-BE49-F238E27FC236}">
                  <a16:creationId xmlns:a16="http://schemas.microsoft.com/office/drawing/2014/main" id="{2308C3A0-ECEB-420F-8254-5C422428567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9" name="Freeform: Shape 301">
              <a:extLst>
                <a:ext uri="{FF2B5EF4-FFF2-40B4-BE49-F238E27FC236}">
                  <a16:creationId xmlns:a16="http://schemas.microsoft.com/office/drawing/2014/main" id="{904D6CE0-D38D-4F12-9CB3-03DE5F57DCD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0" name="Freeform: Shape 302">
              <a:extLst>
                <a:ext uri="{FF2B5EF4-FFF2-40B4-BE49-F238E27FC236}">
                  <a16:creationId xmlns:a16="http://schemas.microsoft.com/office/drawing/2014/main" id="{49578165-4066-4087-B8B8-1355E6A074C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01" name="Group 600">
            <a:extLst>
              <a:ext uri="{FF2B5EF4-FFF2-40B4-BE49-F238E27FC236}">
                <a16:creationId xmlns:a16="http://schemas.microsoft.com/office/drawing/2014/main" id="{CD01AB0E-0581-4E75-9800-EC1926536F5E}"/>
              </a:ext>
            </a:extLst>
          </p:cNvPr>
          <p:cNvGrpSpPr/>
          <p:nvPr/>
        </p:nvGrpSpPr>
        <p:grpSpPr>
          <a:xfrm>
            <a:off x="5179988" y="2356023"/>
            <a:ext cx="126471" cy="126472"/>
            <a:chOff x="4083776" y="2552776"/>
            <a:chExt cx="529090" cy="529088"/>
          </a:xfrm>
        </p:grpSpPr>
        <p:sp>
          <p:nvSpPr>
            <p:cNvPr id="602" name="Oval 601">
              <a:extLst>
                <a:ext uri="{FF2B5EF4-FFF2-40B4-BE49-F238E27FC236}">
                  <a16:creationId xmlns:a16="http://schemas.microsoft.com/office/drawing/2014/main" id="{0253371F-AEDE-4D8C-8EAE-77BEF593CD2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3" name="Freeform: Shape 298">
              <a:extLst>
                <a:ext uri="{FF2B5EF4-FFF2-40B4-BE49-F238E27FC236}">
                  <a16:creationId xmlns:a16="http://schemas.microsoft.com/office/drawing/2014/main" id="{84402633-92E2-4F5D-8AE0-C39A6BB149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299">
              <a:extLst>
                <a:ext uri="{FF2B5EF4-FFF2-40B4-BE49-F238E27FC236}">
                  <a16:creationId xmlns:a16="http://schemas.microsoft.com/office/drawing/2014/main" id="{BCF3C520-31F6-4D37-A085-8E7D3DCB314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5" name="Freeform: Shape 301">
              <a:extLst>
                <a:ext uri="{FF2B5EF4-FFF2-40B4-BE49-F238E27FC236}">
                  <a16:creationId xmlns:a16="http://schemas.microsoft.com/office/drawing/2014/main" id="{F879DC3D-F6D9-48A6-A974-DB8275CA57C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6" name="Freeform: Shape 302">
              <a:extLst>
                <a:ext uri="{FF2B5EF4-FFF2-40B4-BE49-F238E27FC236}">
                  <a16:creationId xmlns:a16="http://schemas.microsoft.com/office/drawing/2014/main" id="{0C081416-E814-4684-9A13-C302332A53F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07" name="Group 606">
            <a:extLst>
              <a:ext uri="{FF2B5EF4-FFF2-40B4-BE49-F238E27FC236}">
                <a16:creationId xmlns:a16="http://schemas.microsoft.com/office/drawing/2014/main" id="{BABE62B4-FF5B-407E-B6E9-90BCC142279B}"/>
              </a:ext>
            </a:extLst>
          </p:cNvPr>
          <p:cNvGrpSpPr/>
          <p:nvPr/>
        </p:nvGrpSpPr>
        <p:grpSpPr>
          <a:xfrm>
            <a:off x="4741276" y="478860"/>
            <a:ext cx="126471" cy="126472"/>
            <a:chOff x="4083776" y="2552776"/>
            <a:chExt cx="529090" cy="529088"/>
          </a:xfrm>
        </p:grpSpPr>
        <p:sp>
          <p:nvSpPr>
            <p:cNvPr id="608" name="Oval 607">
              <a:extLst>
                <a:ext uri="{FF2B5EF4-FFF2-40B4-BE49-F238E27FC236}">
                  <a16:creationId xmlns:a16="http://schemas.microsoft.com/office/drawing/2014/main" id="{8EB19DE8-B2D2-4D46-BAAF-1699D02F2D1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9" name="Freeform: Shape 298">
              <a:extLst>
                <a:ext uri="{FF2B5EF4-FFF2-40B4-BE49-F238E27FC236}">
                  <a16:creationId xmlns:a16="http://schemas.microsoft.com/office/drawing/2014/main" id="{BF21CE0E-48C3-41D8-BE95-44E2E612BA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0" name="Freeform: Shape 299">
              <a:extLst>
                <a:ext uri="{FF2B5EF4-FFF2-40B4-BE49-F238E27FC236}">
                  <a16:creationId xmlns:a16="http://schemas.microsoft.com/office/drawing/2014/main" id="{14446926-823F-4DBF-A102-B8953D4411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1" name="Freeform: Shape 301">
              <a:extLst>
                <a:ext uri="{FF2B5EF4-FFF2-40B4-BE49-F238E27FC236}">
                  <a16:creationId xmlns:a16="http://schemas.microsoft.com/office/drawing/2014/main" id="{6883D572-7134-4C81-B04E-3813862D1E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2" name="Freeform: Shape 302">
              <a:extLst>
                <a:ext uri="{FF2B5EF4-FFF2-40B4-BE49-F238E27FC236}">
                  <a16:creationId xmlns:a16="http://schemas.microsoft.com/office/drawing/2014/main" id="{CF473272-46CA-493A-A06B-EAEB14A048A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14" name="Group 613">
            <a:extLst>
              <a:ext uri="{FF2B5EF4-FFF2-40B4-BE49-F238E27FC236}">
                <a16:creationId xmlns:a16="http://schemas.microsoft.com/office/drawing/2014/main" id="{9D622F13-DCBC-4BF0-B0E8-334A0BA49768}"/>
              </a:ext>
            </a:extLst>
          </p:cNvPr>
          <p:cNvGrpSpPr/>
          <p:nvPr/>
        </p:nvGrpSpPr>
        <p:grpSpPr>
          <a:xfrm>
            <a:off x="4533161" y="3279429"/>
            <a:ext cx="126471" cy="126472"/>
            <a:chOff x="4083776" y="2552776"/>
            <a:chExt cx="529090" cy="529088"/>
          </a:xfrm>
        </p:grpSpPr>
        <p:sp>
          <p:nvSpPr>
            <p:cNvPr id="615" name="Oval 614">
              <a:extLst>
                <a:ext uri="{FF2B5EF4-FFF2-40B4-BE49-F238E27FC236}">
                  <a16:creationId xmlns:a16="http://schemas.microsoft.com/office/drawing/2014/main" id="{EC35E229-0A6F-4B1D-A837-DDB4EE8FA7D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16" name="Freeform: Shape 298">
              <a:extLst>
                <a:ext uri="{FF2B5EF4-FFF2-40B4-BE49-F238E27FC236}">
                  <a16:creationId xmlns:a16="http://schemas.microsoft.com/office/drawing/2014/main" id="{C1CB8319-7C6E-4F54-A5C4-5DC4CA5D073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7" name="Freeform: Shape 299">
              <a:extLst>
                <a:ext uri="{FF2B5EF4-FFF2-40B4-BE49-F238E27FC236}">
                  <a16:creationId xmlns:a16="http://schemas.microsoft.com/office/drawing/2014/main" id="{12C8C66E-00E6-4B24-8B26-DD0C3779884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8" name="Freeform: Shape 301">
              <a:extLst>
                <a:ext uri="{FF2B5EF4-FFF2-40B4-BE49-F238E27FC236}">
                  <a16:creationId xmlns:a16="http://schemas.microsoft.com/office/drawing/2014/main" id="{EE13E6ED-9290-4130-8775-EC34BC54ED5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9" name="Freeform: Shape 302">
              <a:extLst>
                <a:ext uri="{FF2B5EF4-FFF2-40B4-BE49-F238E27FC236}">
                  <a16:creationId xmlns:a16="http://schemas.microsoft.com/office/drawing/2014/main" id="{0CD97AD3-611F-45E9-827D-0DDA85C3605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2" name="Group 411">
            <a:extLst>
              <a:ext uri="{FF2B5EF4-FFF2-40B4-BE49-F238E27FC236}">
                <a16:creationId xmlns:a16="http://schemas.microsoft.com/office/drawing/2014/main" id="{F6A49DDE-279D-4F2E-9D23-743272A6728E}"/>
              </a:ext>
            </a:extLst>
          </p:cNvPr>
          <p:cNvGrpSpPr/>
          <p:nvPr/>
        </p:nvGrpSpPr>
        <p:grpSpPr>
          <a:xfrm>
            <a:off x="7012003" y="2921001"/>
            <a:ext cx="126471" cy="126472"/>
            <a:chOff x="4083776" y="2552776"/>
            <a:chExt cx="529090" cy="529088"/>
          </a:xfrm>
        </p:grpSpPr>
        <p:sp>
          <p:nvSpPr>
            <p:cNvPr id="467" name="Oval 466">
              <a:extLst>
                <a:ext uri="{FF2B5EF4-FFF2-40B4-BE49-F238E27FC236}">
                  <a16:creationId xmlns:a16="http://schemas.microsoft.com/office/drawing/2014/main" id="{04AC452E-06E6-4BE6-9BE2-D81124C93D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8" name="Freeform: Shape 298">
              <a:extLst>
                <a:ext uri="{FF2B5EF4-FFF2-40B4-BE49-F238E27FC236}">
                  <a16:creationId xmlns:a16="http://schemas.microsoft.com/office/drawing/2014/main" id="{CE961A46-0C91-4906-9532-A491C2A7472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9" name="Freeform: Shape 299">
              <a:extLst>
                <a:ext uri="{FF2B5EF4-FFF2-40B4-BE49-F238E27FC236}">
                  <a16:creationId xmlns:a16="http://schemas.microsoft.com/office/drawing/2014/main" id="{75D35CA9-C4A8-4752-B2A4-231D627139D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0" name="Freeform: Shape 301">
              <a:extLst>
                <a:ext uri="{FF2B5EF4-FFF2-40B4-BE49-F238E27FC236}">
                  <a16:creationId xmlns:a16="http://schemas.microsoft.com/office/drawing/2014/main" id="{F37D6BF8-91C7-4A8D-B76F-46D19E59722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1" name="Freeform: Shape 302">
              <a:extLst>
                <a:ext uri="{FF2B5EF4-FFF2-40B4-BE49-F238E27FC236}">
                  <a16:creationId xmlns:a16="http://schemas.microsoft.com/office/drawing/2014/main" id="{7C6E93CE-8487-463A-8D85-9842C088D72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2" name="Group 471">
            <a:extLst>
              <a:ext uri="{FF2B5EF4-FFF2-40B4-BE49-F238E27FC236}">
                <a16:creationId xmlns:a16="http://schemas.microsoft.com/office/drawing/2014/main" id="{9E94D12E-154A-438B-B601-333F6AEE8AC9}"/>
              </a:ext>
            </a:extLst>
          </p:cNvPr>
          <p:cNvGrpSpPr/>
          <p:nvPr/>
        </p:nvGrpSpPr>
        <p:grpSpPr>
          <a:xfrm>
            <a:off x="5641282" y="3342665"/>
            <a:ext cx="126471" cy="126472"/>
            <a:chOff x="4083776" y="2552776"/>
            <a:chExt cx="529090" cy="529088"/>
          </a:xfrm>
        </p:grpSpPr>
        <p:sp>
          <p:nvSpPr>
            <p:cNvPr id="479" name="Oval 478">
              <a:extLst>
                <a:ext uri="{FF2B5EF4-FFF2-40B4-BE49-F238E27FC236}">
                  <a16:creationId xmlns:a16="http://schemas.microsoft.com/office/drawing/2014/main" id="{AC29873F-6C93-4E02-83A9-2AEA33DDD69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6" name="Freeform: Shape 298">
              <a:extLst>
                <a:ext uri="{FF2B5EF4-FFF2-40B4-BE49-F238E27FC236}">
                  <a16:creationId xmlns:a16="http://schemas.microsoft.com/office/drawing/2014/main" id="{853C30C8-9496-4219-B3AD-4869943F745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7" name="Freeform: Shape 299">
              <a:extLst>
                <a:ext uri="{FF2B5EF4-FFF2-40B4-BE49-F238E27FC236}">
                  <a16:creationId xmlns:a16="http://schemas.microsoft.com/office/drawing/2014/main" id="{5F97FC9B-89DF-4E8D-9C4F-A4C90080B32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8" name="Freeform: Shape 301">
              <a:extLst>
                <a:ext uri="{FF2B5EF4-FFF2-40B4-BE49-F238E27FC236}">
                  <a16:creationId xmlns:a16="http://schemas.microsoft.com/office/drawing/2014/main" id="{094BC437-82D4-433E-9880-C1087B95497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9" name="Freeform: Shape 302">
              <a:extLst>
                <a:ext uri="{FF2B5EF4-FFF2-40B4-BE49-F238E27FC236}">
                  <a16:creationId xmlns:a16="http://schemas.microsoft.com/office/drawing/2014/main" id="{A3F24B0A-75F0-47C3-BAE4-9F83994623D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90" name="Group 489">
            <a:extLst>
              <a:ext uri="{FF2B5EF4-FFF2-40B4-BE49-F238E27FC236}">
                <a16:creationId xmlns:a16="http://schemas.microsoft.com/office/drawing/2014/main" id="{EE68275A-BC27-4473-9971-0B557D9C1505}"/>
              </a:ext>
            </a:extLst>
          </p:cNvPr>
          <p:cNvGrpSpPr/>
          <p:nvPr/>
        </p:nvGrpSpPr>
        <p:grpSpPr>
          <a:xfrm>
            <a:off x="6985006" y="3696788"/>
            <a:ext cx="126471" cy="126472"/>
            <a:chOff x="4083776" y="2552776"/>
            <a:chExt cx="529090" cy="529088"/>
          </a:xfrm>
        </p:grpSpPr>
        <p:sp>
          <p:nvSpPr>
            <p:cNvPr id="491" name="Oval 490">
              <a:extLst>
                <a:ext uri="{FF2B5EF4-FFF2-40B4-BE49-F238E27FC236}">
                  <a16:creationId xmlns:a16="http://schemas.microsoft.com/office/drawing/2014/main" id="{785D4E80-4A46-417C-94F9-6BD8D9292FA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2" name="Freeform: Shape 298">
              <a:extLst>
                <a:ext uri="{FF2B5EF4-FFF2-40B4-BE49-F238E27FC236}">
                  <a16:creationId xmlns:a16="http://schemas.microsoft.com/office/drawing/2014/main" id="{4C59A303-583A-470A-8179-F93952BC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3" name="Freeform: Shape 299">
              <a:extLst>
                <a:ext uri="{FF2B5EF4-FFF2-40B4-BE49-F238E27FC236}">
                  <a16:creationId xmlns:a16="http://schemas.microsoft.com/office/drawing/2014/main" id="{15C7C858-E0DF-44DB-B424-2CB290CEC28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5" name="Freeform: Shape 301">
              <a:extLst>
                <a:ext uri="{FF2B5EF4-FFF2-40B4-BE49-F238E27FC236}">
                  <a16:creationId xmlns:a16="http://schemas.microsoft.com/office/drawing/2014/main" id="{FD941A1C-D11A-45AC-9939-1C9D720F0CD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302">
              <a:extLst>
                <a:ext uri="{FF2B5EF4-FFF2-40B4-BE49-F238E27FC236}">
                  <a16:creationId xmlns:a16="http://schemas.microsoft.com/office/drawing/2014/main" id="{27F6167C-578D-4A9D-9FF0-17066C2B0D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99" name="Group 498">
            <a:extLst>
              <a:ext uri="{FF2B5EF4-FFF2-40B4-BE49-F238E27FC236}">
                <a16:creationId xmlns:a16="http://schemas.microsoft.com/office/drawing/2014/main" id="{61530FDE-FB21-4747-9132-1F31AC270054}"/>
              </a:ext>
            </a:extLst>
          </p:cNvPr>
          <p:cNvGrpSpPr/>
          <p:nvPr/>
        </p:nvGrpSpPr>
        <p:grpSpPr>
          <a:xfrm>
            <a:off x="7246802" y="3447485"/>
            <a:ext cx="304786" cy="304788"/>
            <a:chOff x="4083769" y="2552776"/>
            <a:chExt cx="529089" cy="529089"/>
          </a:xfrm>
        </p:grpSpPr>
        <p:sp>
          <p:nvSpPr>
            <p:cNvPr id="501" name="Oval 500">
              <a:extLst>
                <a:ext uri="{FF2B5EF4-FFF2-40B4-BE49-F238E27FC236}">
                  <a16:creationId xmlns:a16="http://schemas.microsoft.com/office/drawing/2014/main" id="{D1AD9947-36A7-4381-AC9A-FDD20B42E8A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03" name="Freeform: Shape 298">
              <a:extLst>
                <a:ext uri="{FF2B5EF4-FFF2-40B4-BE49-F238E27FC236}">
                  <a16:creationId xmlns:a16="http://schemas.microsoft.com/office/drawing/2014/main" id="{C7A02F1F-BE8C-4F8A-82AE-890F18BE727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5" name="Freeform: Shape 299">
              <a:extLst>
                <a:ext uri="{FF2B5EF4-FFF2-40B4-BE49-F238E27FC236}">
                  <a16:creationId xmlns:a16="http://schemas.microsoft.com/office/drawing/2014/main" id="{8C28F0C0-C953-4E34-8300-9075D722572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7" name="Freeform: Shape 301">
              <a:extLst>
                <a:ext uri="{FF2B5EF4-FFF2-40B4-BE49-F238E27FC236}">
                  <a16:creationId xmlns:a16="http://schemas.microsoft.com/office/drawing/2014/main" id="{86838440-02F8-444E-A3AD-36C37811CD8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9" name="Freeform: Shape 302">
              <a:extLst>
                <a:ext uri="{FF2B5EF4-FFF2-40B4-BE49-F238E27FC236}">
                  <a16:creationId xmlns:a16="http://schemas.microsoft.com/office/drawing/2014/main" id="{DF00EB01-09CE-4A69-BA17-A3C323C7826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0" name="Group 509">
            <a:extLst>
              <a:ext uri="{FF2B5EF4-FFF2-40B4-BE49-F238E27FC236}">
                <a16:creationId xmlns:a16="http://schemas.microsoft.com/office/drawing/2014/main" id="{7E8FB9A6-4169-471A-B4FE-6A31EF0819EE}"/>
              </a:ext>
            </a:extLst>
          </p:cNvPr>
          <p:cNvGrpSpPr/>
          <p:nvPr/>
        </p:nvGrpSpPr>
        <p:grpSpPr>
          <a:xfrm>
            <a:off x="6469475" y="3682639"/>
            <a:ext cx="126471" cy="126472"/>
            <a:chOff x="4083776" y="2552776"/>
            <a:chExt cx="529090" cy="529088"/>
          </a:xfrm>
        </p:grpSpPr>
        <p:sp>
          <p:nvSpPr>
            <p:cNvPr id="511" name="Oval 510">
              <a:extLst>
                <a:ext uri="{FF2B5EF4-FFF2-40B4-BE49-F238E27FC236}">
                  <a16:creationId xmlns:a16="http://schemas.microsoft.com/office/drawing/2014/main" id="{AD440B3F-87FF-4DBA-9740-FEDE1E23F56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2" name="Freeform: Shape 298">
              <a:extLst>
                <a:ext uri="{FF2B5EF4-FFF2-40B4-BE49-F238E27FC236}">
                  <a16:creationId xmlns:a16="http://schemas.microsoft.com/office/drawing/2014/main" id="{C09173F2-45DF-4447-B98C-FD7ED6D7EE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3" name="Freeform: Shape 299">
              <a:extLst>
                <a:ext uri="{FF2B5EF4-FFF2-40B4-BE49-F238E27FC236}">
                  <a16:creationId xmlns:a16="http://schemas.microsoft.com/office/drawing/2014/main" id="{4C62AEC9-3487-4FCB-89D8-FD65DC42E56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4" name="Freeform: Shape 301">
              <a:extLst>
                <a:ext uri="{FF2B5EF4-FFF2-40B4-BE49-F238E27FC236}">
                  <a16:creationId xmlns:a16="http://schemas.microsoft.com/office/drawing/2014/main" id="{FB3576DC-0167-4299-BC63-A61A793FFED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5" name="Freeform: Shape 302">
              <a:extLst>
                <a:ext uri="{FF2B5EF4-FFF2-40B4-BE49-F238E27FC236}">
                  <a16:creationId xmlns:a16="http://schemas.microsoft.com/office/drawing/2014/main" id="{72C41E12-E3D1-4754-8330-91A895A74A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29" name="Group 528">
            <a:extLst>
              <a:ext uri="{FF2B5EF4-FFF2-40B4-BE49-F238E27FC236}">
                <a16:creationId xmlns:a16="http://schemas.microsoft.com/office/drawing/2014/main" id="{57D02CB9-F9BA-43B5-AC50-A45BAC650AB7}"/>
              </a:ext>
            </a:extLst>
          </p:cNvPr>
          <p:cNvGrpSpPr/>
          <p:nvPr/>
        </p:nvGrpSpPr>
        <p:grpSpPr>
          <a:xfrm>
            <a:off x="6192617" y="3660665"/>
            <a:ext cx="126471" cy="126472"/>
            <a:chOff x="4083776" y="2552776"/>
            <a:chExt cx="529090" cy="529088"/>
          </a:xfrm>
        </p:grpSpPr>
        <p:sp>
          <p:nvSpPr>
            <p:cNvPr id="530" name="Oval 529">
              <a:extLst>
                <a:ext uri="{FF2B5EF4-FFF2-40B4-BE49-F238E27FC236}">
                  <a16:creationId xmlns:a16="http://schemas.microsoft.com/office/drawing/2014/main" id="{141EADD6-1A78-4BE5-94A6-137C8D9F0A6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1" name="Freeform: Shape 298">
              <a:extLst>
                <a:ext uri="{FF2B5EF4-FFF2-40B4-BE49-F238E27FC236}">
                  <a16:creationId xmlns:a16="http://schemas.microsoft.com/office/drawing/2014/main" id="{5C32BEF5-58C4-43D3-A9A1-AC8670F5AA0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2" name="Freeform: Shape 299">
              <a:extLst>
                <a:ext uri="{FF2B5EF4-FFF2-40B4-BE49-F238E27FC236}">
                  <a16:creationId xmlns:a16="http://schemas.microsoft.com/office/drawing/2014/main" id="{957D370A-D97B-4F3E-9EC8-5CB37E49D8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301">
              <a:extLst>
                <a:ext uri="{FF2B5EF4-FFF2-40B4-BE49-F238E27FC236}">
                  <a16:creationId xmlns:a16="http://schemas.microsoft.com/office/drawing/2014/main" id="{9CFAE5CB-9177-41B6-8FA1-D7857F13C58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2">
              <a:extLst>
                <a:ext uri="{FF2B5EF4-FFF2-40B4-BE49-F238E27FC236}">
                  <a16:creationId xmlns:a16="http://schemas.microsoft.com/office/drawing/2014/main" id="{0E8121F3-5012-4525-AD6D-C8578288C5C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35" name="Straight Connector 534">
            <a:extLst>
              <a:ext uri="{FF2B5EF4-FFF2-40B4-BE49-F238E27FC236}">
                <a16:creationId xmlns:a16="http://schemas.microsoft.com/office/drawing/2014/main" id="{4C14E0F8-9686-4F7C-A6FA-8402B23A06FB}"/>
              </a:ext>
            </a:extLst>
          </p:cNvPr>
          <p:cNvCxnSpPr>
            <a:endCxn id="479" idx="1"/>
          </p:cNvCxnSpPr>
          <p:nvPr/>
        </p:nvCxnSpPr>
        <p:spPr>
          <a:xfrm flipV="1">
            <a:off x="5331821" y="3361186"/>
            <a:ext cx="327982" cy="149931"/>
          </a:xfrm>
          <a:prstGeom prst="line">
            <a:avLst/>
          </a:prstGeom>
        </p:spPr>
        <p:style>
          <a:lnRef idx="1">
            <a:schemeClr val="accent6"/>
          </a:lnRef>
          <a:fillRef idx="0">
            <a:schemeClr val="accent6"/>
          </a:fillRef>
          <a:effectRef idx="0">
            <a:schemeClr val="accent6"/>
          </a:effectRef>
          <a:fontRef idx="minor">
            <a:schemeClr val="tx1"/>
          </a:fontRef>
        </p:style>
      </p:cxnSp>
      <p:cxnSp>
        <p:nvCxnSpPr>
          <p:cNvPr id="536" name="Straight Connector 535">
            <a:extLst>
              <a:ext uri="{FF2B5EF4-FFF2-40B4-BE49-F238E27FC236}">
                <a16:creationId xmlns:a16="http://schemas.microsoft.com/office/drawing/2014/main" id="{9DBF2BC3-0314-43ED-AE0F-B7EB2CBE2B3F}"/>
              </a:ext>
            </a:extLst>
          </p:cNvPr>
          <p:cNvCxnSpPr>
            <a:stCxn id="479" idx="6"/>
            <a:endCxn id="530" idx="2"/>
          </p:cNvCxnSpPr>
          <p:nvPr/>
        </p:nvCxnSpPr>
        <p:spPr>
          <a:xfrm>
            <a:off x="5767753" y="3405901"/>
            <a:ext cx="424864" cy="318000"/>
          </a:xfrm>
          <a:prstGeom prst="line">
            <a:avLst/>
          </a:prstGeom>
        </p:spPr>
        <p:style>
          <a:lnRef idx="1">
            <a:schemeClr val="accent6"/>
          </a:lnRef>
          <a:fillRef idx="0">
            <a:schemeClr val="accent6"/>
          </a:fillRef>
          <a:effectRef idx="0">
            <a:schemeClr val="accent6"/>
          </a:effectRef>
          <a:fontRef idx="minor">
            <a:schemeClr val="tx1"/>
          </a:fontRef>
        </p:style>
      </p:cxnSp>
      <p:cxnSp>
        <p:nvCxnSpPr>
          <p:cNvPr id="537" name="Straight Connector 536">
            <a:extLst>
              <a:ext uri="{FF2B5EF4-FFF2-40B4-BE49-F238E27FC236}">
                <a16:creationId xmlns:a16="http://schemas.microsoft.com/office/drawing/2014/main" id="{06798315-7D25-46FC-BC3C-E73BD8FEBB61}"/>
              </a:ext>
            </a:extLst>
          </p:cNvPr>
          <p:cNvCxnSpPr>
            <a:stCxn id="530" idx="6"/>
          </p:cNvCxnSpPr>
          <p:nvPr/>
        </p:nvCxnSpPr>
        <p:spPr>
          <a:xfrm>
            <a:off x="6319088" y="3723901"/>
            <a:ext cx="83883" cy="17052"/>
          </a:xfrm>
          <a:prstGeom prst="line">
            <a:avLst/>
          </a:prstGeom>
        </p:spPr>
        <p:style>
          <a:lnRef idx="1">
            <a:schemeClr val="accent6"/>
          </a:lnRef>
          <a:fillRef idx="0">
            <a:schemeClr val="accent6"/>
          </a:fillRef>
          <a:effectRef idx="0">
            <a:schemeClr val="accent6"/>
          </a:effectRef>
          <a:fontRef idx="minor">
            <a:schemeClr val="tx1"/>
          </a:fontRef>
        </p:style>
      </p:cxnSp>
      <p:cxnSp>
        <p:nvCxnSpPr>
          <p:cNvPr id="538" name="Straight Connector 537">
            <a:extLst>
              <a:ext uri="{FF2B5EF4-FFF2-40B4-BE49-F238E27FC236}">
                <a16:creationId xmlns:a16="http://schemas.microsoft.com/office/drawing/2014/main" id="{42823785-6FAE-4B4B-8796-B5E5F7481C41}"/>
              </a:ext>
            </a:extLst>
          </p:cNvPr>
          <p:cNvCxnSpPr>
            <a:cxnSpLocks/>
          </p:cNvCxnSpPr>
          <p:nvPr/>
        </p:nvCxnSpPr>
        <p:spPr>
          <a:xfrm flipV="1">
            <a:off x="6402971" y="3540874"/>
            <a:ext cx="112009" cy="199304"/>
          </a:xfrm>
          <a:prstGeom prst="line">
            <a:avLst/>
          </a:prstGeom>
        </p:spPr>
        <p:style>
          <a:lnRef idx="1">
            <a:schemeClr val="accent6"/>
          </a:lnRef>
          <a:fillRef idx="0">
            <a:schemeClr val="accent6"/>
          </a:fillRef>
          <a:effectRef idx="0">
            <a:schemeClr val="accent6"/>
          </a:effectRef>
          <a:fontRef idx="minor">
            <a:schemeClr val="tx1"/>
          </a:fontRef>
        </p:style>
      </p:cxnSp>
      <p:cxnSp>
        <p:nvCxnSpPr>
          <p:cNvPr id="539" name="Straight Connector 538">
            <a:extLst>
              <a:ext uri="{FF2B5EF4-FFF2-40B4-BE49-F238E27FC236}">
                <a16:creationId xmlns:a16="http://schemas.microsoft.com/office/drawing/2014/main" id="{46F0BD73-79C4-4EF7-A7D6-30A193F7A5A1}"/>
              </a:ext>
            </a:extLst>
          </p:cNvPr>
          <p:cNvCxnSpPr/>
          <p:nvPr/>
        </p:nvCxnSpPr>
        <p:spPr>
          <a:xfrm>
            <a:off x="6520766" y="3541793"/>
            <a:ext cx="36035" cy="15360"/>
          </a:xfrm>
          <a:prstGeom prst="line">
            <a:avLst/>
          </a:prstGeom>
        </p:spPr>
        <p:style>
          <a:lnRef idx="1">
            <a:schemeClr val="accent6"/>
          </a:lnRef>
          <a:fillRef idx="0">
            <a:schemeClr val="accent6"/>
          </a:fillRef>
          <a:effectRef idx="0">
            <a:schemeClr val="accent6"/>
          </a:effectRef>
          <a:fontRef idx="minor">
            <a:schemeClr val="tx1"/>
          </a:fontRef>
        </p:style>
      </p:cxnSp>
      <p:cxnSp>
        <p:nvCxnSpPr>
          <p:cNvPr id="540" name="Straight Connector 539">
            <a:extLst>
              <a:ext uri="{FF2B5EF4-FFF2-40B4-BE49-F238E27FC236}">
                <a16:creationId xmlns:a16="http://schemas.microsoft.com/office/drawing/2014/main" id="{CC72C743-03A2-4C44-9178-A3BFC9FA8D47}"/>
              </a:ext>
            </a:extLst>
          </p:cNvPr>
          <p:cNvCxnSpPr>
            <a:endCxn id="512" idx="9"/>
          </p:cNvCxnSpPr>
          <p:nvPr/>
        </p:nvCxnSpPr>
        <p:spPr>
          <a:xfrm flipH="1">
            <a:off x="6528465" y="3562233"/>
            <a:ext cx="30175" cy="139594"/>
          </a:xfrm>
          <a:prstGeom prst="line">
            <a:avLst/>
          </a:prstGeom>
        </p:spPr>
        <p:style>
          <a:lnRef idx="1">
            <a:schemeClr val="accent6"/>
          </a:lnRef>
          <a:fillRef idx="0">
            <a:schemeClr val="accent6"/>
          </a:fillRef>
          <a:effectRef idx="0">
            <a:schemeClr val="accent6"/>
          </a:effectRef>
          <a:fontRef idx="minor">
            <a:schemeClr val="tx1"/>
          </a:fontRef>
        </p:style>
      </p:cxnSp>
      <p:cxnSp>
        <p:nvCxnSpPr>
          <p:cNvPr id="541" name="Straight Connector 540">
            <a:extLst>
              <a:ext uri="{FF2B5EF4-FFF2-40B4-BE49-F238E27FC236}">
                <a16:creationId xmlns:a16="http://schemas.microsoft.com/office/drawing/2014/main" id="{CB891DD3-CB6F-44ED-9153-C4D95114FCD8}"/>
              </a:ext>
            </a:extLst>
          </p:cNvPr>
          <p:cNvCxnSpPr>
            <a:stCxn id="511" idx="5"/>
          </p:cNvCxnSpPr>
          <p:nvPr/>
        </p:nvCxnSpPr>
        <p:spPr>
          <a:xfrm>
            <a:off x="6577425" y="3790590"/>
            <a:ext cx="503509" cy="205793"/>
          </a:xfrm>
          <a:prstGeom prst="line">
            <a:avLst/>
          </a:prstGeom>
        </p:spPr>
        <p:style>
          <a:lnRef idx="1">
            <a:schemeClr val="accent6"/>
          </a:lnRef>
          <a:fillRef idx="0">
            <a:schemeClr val="accent6"/>
          </a:fillRef>
          <a:effectRef idx="0">
            <a:schemeClr val="accent6"/>
          </a:effectRef>
          <a:fontRef idx="minor">
            <a:schemeClr val="tx1"/>
          </a:fontRef>
        </p:style>
      </p:cxnSp>
      <p:cxnSp>
        <p:nvCxnSpPr>
          <p:cNvPr id="542" name="Straight Connector 541">
            <a:extLst>
              <a:ext uri="{FF2B5EF4-FFF2-40B4-BE49-F238E27FC236}">
                <a16:creationId xmlns:a16="http://schemas.microsoft.com/office/drawing/2014/main" id="{7AE56047-94A4-4127-BABE-A0E2ECE2D1F1}"/>
              </a:ext>
            </a:extLst>
          </p:cNvPr>
          <p:cNvCxnSpPr>
            <a:endCxn id="491" idx="5"/>
          </p:cNvCxnSpPr>
          <p:nvPr/>
        </p:nvCxnSpPr>
        <p:spPr>
          <a:xfrm flipV="1">
            <a:off x="7069538" y="3804739"/>
            <a:ext cx="23418" cy="179612"/>
          </a:xfrm>
          <a:prstGeom prst="line">
            <a:avLst/>
          </a:prstGeom>
        </p:spPr>
        <p:style>
          <a:lnRef idx="1">
            <a:schemeClr val="accent6"/>
          </a:lnRef>
          <a:fillRef idx="0">
            <a:schemeClr val="accent6"/>
          </a:fillRef>
          <a:effectRef idx="0">
            <a:schemeClr val="accent6"/>
          </a:effectRef>
          <a:fontRef idx="minor">
            <a:schemeClr val="tx1"/>
          </a:fontRef>
        </p:style>
      </p:cxnSp>
      <p:cxnSp>
        <p:nvCxnSpPr>
          <p:cNvPr id="543" name="Straight Connector 542">
            <a:extLst>
              <a:ext uri="{FF2B5EF4-FFF2-40B4-BE49-F238E27FC236}">
                <a16:creationId xmlns:a16="http://schemas.microsoft.com/office/drawing/2014/main" id="{1A1FE562-4A56-4BE3-A5D9-13890DCF4152}"/>
              </a:ext>
            </a:extLst>
          </p:cNvPr>
          <p:cNvCxnSpPr>
            <a:stCxn id="491" idx="6"/>
            <a:endCxn id="501" idx="3"/>
          </p:cNvCxnSpPr>
          <p:nvPr/>
        </p:nvCxnSpPr>
        <p:spPr>
          <a:xfrm flipV="1">
            <a:off x="7111477" y="3707638"/>
            <a:ext cx="179960" cy="52386"/>
          </a:xfrm>
          <a:prstGeom prst="line">
            <a:avLst/>
          </a:prstGeom>
        </p:spPr>
        <p:style>
          <a:lnRef idx="1">
            <a:schemeClr val="accent6"/>
          </a:lnRef>
          <a:fillRef idx="0">
            <a:schemeClr val="accent6"/>
          </a:fillRef>
          <a:effectRef idx="0">
            <a:schemeClr val="accent6"/>
          </a:effectRef>
          <a:fontRef idx="minor">
            <a:schemeClr val="tx1"/>
          </a:fontRef>
        </p:style>
      </p:cxnSp>
      <p:cxnSp>
        <p:nvCxnSpPr>
          <p:cNvPr id="544" name="Straight Connector 543">
            <a:extLst>
              <a:ext uri="{FF2B5EF4-FFF2-40B4-BE49-F238E27FC236}">
                <a16:creationId xmlns:a16="http://schemas.microsoft.com/office/drawing/2014/main" id="{D3D79428-BF12-4119-B304-F303151E44A5}"/>
              </a:ext>
            </a:extLst>
          </p:cNvPr>
          <p:cNvCxnSpPr>
            <a:stCxn id="467" idx="4"/>
            <a:endCxn id="501" idx="0"/>
          </p:cNvCxnSpPr>
          <p:nvPr/>
        </p:nvCxnSpPr>
        <p:spPr>
          <a:xfrm>
            <a:off x="7075239" y="3047473"/>
            <a:ext cx="323956" cy="400012"/>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99605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5287967" y="-704"/>
            <a:ext cx="1116823" cy="49708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hlinkClick r:id="" action="ppaction://noaction"/>
          </p:cNvPr>
          <p:cNvSpPr txBox="1"/>
          <p:nvPr/>
        </p:nvSpPr>
        <p:spPr>
          <a:xfrm>
            <a:off x="59298" y="115864"/>
            <a:ext cx="1535424" cy="253916"/>
          </a:xfrm>
          <a:prstGeom prst="rect">
            <a:avLst/>
          </a:prstGeom>
          <a:noFill/>
        </p:spPr>
        <p:txBody>
          <a:bodyPr wrap="square" rtlCol="0">
            <a:spAutoFit/>
          </a:bodyPr>
          <a:lstStyle>
            <a:defPPr>
              <a:defRPr lang="en-US"/>
            </a:defPPr>
            <a:lvl1pPr algn="ctr" defTabSz="457200" fontAlgn="base">
              <a:spcBef>
                <a:spcPct val="0"/>
              </a:spcBef>
              <a:spcAft>
                <a:spcPct val="0"/>
              </a:spcAft>
              <a:defRPr sz="1050" b="1">
                <a:solidFill>
                  <a:srgbClr val="FFFFFF">
                    <a:lumMod val="50000"/>
                  </a:srgbClr>
                </a:solidFill>
                <a:latin typeface="CiscoSansTT ExtraLight"/>
                <a:ea typeface="CiscoSansTT Light" charset="0"/>
                <a:cs typeface="CiscoSansTT Light" charset="0"/>
              </a:defRPr>
            </a:lvl1pPr>
          </a:lstStyle>
          <a:p>
            <a:r>
              <a:rPr lang="en-US" dirty="0"/>
              <a:t>SP Validated Designs</a:t>
            </a:r>
          </a:p>
        </p:txBody>
      </p:sp>
      <p:sp>
        <p:nvSpPr>
          <p:cNvPr id="16" name="TextBox 15">
            <a:hlinkClick r:id="" action="ppaction://noaction"/>
          </p:cNvPr>
          <p:cNvSpPr txBox="1"/>
          <p:nvPr/>
        </p:nvSpPr>
        <p:spPr>
          <a:xfrm>
            <a:off x="1678914" y="138399"/>
            <a:ext cx="1885380" cy="253916"/>
          </a:xfrm>
          <a:prstGeom prst="rect">
            <a:avLst/>
          </a:prstGeom>
          <a:noFill/>
        </p:spPr>
        <p:txBody>
          <a:bodyPr wrap="square" rtlCol="0">
            <a:spAutoFit/>
          </a:bodyPr>
          <a:lstStyle>
            <a:defPPr>
              <a:defRPr lang="en-US"/>
            </a:defPPr>
            <a:lvl1pPr algn="ctr" defTabSz="457200" fontAlgn="base">
              <a:spcBef>
                <a:spcPct val="0"/>
              </a:spcBef>
              <a:spcAft>
                <a:spcPct val="0"/>
              </a:spcAft>
              <a:defRPr sz="1050" b="1">
                <a:solidFill>
                  <a:srgbClr val="FFFFFF">
                    <a:lumMod val="50000"/>
                  </a:srgbClr>
                </a:solidFill>
                <a:latin typeface="CiscoSansTT ExtraLight"/>
                <a:ea typeface="CiscoSansTT Light" charset="0"/>
                <a:cs typeface="CiscoSansTT Light" charset="0"/>
              </a:defRPr>
            </a:lvl1pPr>
          </a:lstStyle>
          <a:p>
            <a:r>
              <a:rPr lang="en-US" dirty="0"/>
              <a:t>Peering Fabric</a:t>
            </a:r>
          </a:p>
        </p:txBody>
      </p:sp>
      <p:sp>
        <p:nvSpPr>
          <p:cNvPr id="17" name="TextBox 16">
            <a:hlinkClick r:id="" action="ppaction://noaction"/>
          </p:cNvPr>
          <p:cNvSpPr txBox="1"/>
          <p:nvPr/>
        </p:nvSpPr>
        <p:spPr>
          <a:xfrm>
            <a:off x="3813917" y="138399"/>
            <a:ext cx="1224427" cy="253916"/>
          </a:xfrm>
          <a:prstGeom prst="rect">
            <a:avLst/>
          </a:prstGeom>
          <a:noFill/>
        </p:spPr>
        <p:txBody>
          <a:bodyPr wrap="square" rtlCol="0">
            <a:spAutoFit/>
          </a:bodyPr>
          <a:lstStyle>
            <a:defPPr>
              <a:defRPr lang="en-US"/>
            </a:defPPr>
            <a:lvl1pPr algn="ctr" defTabSz="457200" fontAlgn="base">
              <a:spcBef>
                <a:spcPct val="0"/>
              </a:spcBef>
              <a:spcAft>
                <a:spcPct val="0"/>
              </a:spcAft>
              <a:defRPr sz="1050" b="1">
                <a:solidFill>
                  <a:srgbClr val="FFFFFF">
                    <a:lumMod val="50000"/>
                  </a:srgbClr>
                </a:solidFill>
                <a:latin typeface="CiscoSansTT ExtraLight"/>
                <a:ea typeface="CiscoSansTT Light" charset="0"/>
                <a:cs typeface="CiscoSansTT Light" charset="0"/>
              </a:defRPr>
            </a:lvl1pPr>
          </a:lstStyle>
          <a:p>
            <a:r>
              <a:rPr lang="en-US" dirty="0"/>
              <a:t>Value Proposition</a:t>
            </a:r>
          </a:p>
        </p:txBody>
      </p:sp>
      <p:sp>
        <p:nvSpPr>
          <p:cNvPr id="18" name="TextBox 17">
            <a:hlinkClick r:id="" action="ppaction://noaction"/>
          </p:cNvPr>
          <p:cNvSpPr txBox="1"/>
          <p:nvPr/>
        </p:nvSpPr>
        <p:spPr>
          <a:xfrm>
            <a:off x="5272184" y="138399"/>
            <a:ext cx="1076350" cy="253916"/>
          </a:xfrm>
          <a:prstGeom prst="rect">
            <a:avLst/>
          </a:prstGeom>
          <a:noFill/>
        </p:spPr>
        <p:txBody>
          <a:bodyPr wrap="square" rtlCol="0">
            <a:spAutoFit/>
          </a:bodyPr>
          <a:lstStyle>
            <a:defPPr>
              <a:defRPr lang="en-US"/>
            </a:defPPr>
            <a:lvl1pPr algn="ctr" defTabSz="457200" fontAlgn="base">
              <a:spcBef>
                <a:spcPct val="0"/>
              </a:spcBef>
              <a:spcAft>
                <a:spcPct val="0"/>
              </a:spcAft>
              <a:defRPr sz="1050" b="1">
                <a:solidFill>
                  <a:srgbClr val="FFFFFF"/>
                </a:solidFill>
                <a:latin typeface="CiscoSansTT ExtraLight"/>
                <a:ea typeface="CiscoSansTT Light" charset="0"/>
                <a:cs typeface="CiscoSansTT Light" charset="0"/>
              </a:defRPr>
            </a:lvl1pPr>
          </a:lstStyle>
          <a:p>
            <a:r>
              <a:rPr lang="en-US" dirty="0"/>
              <a:t>How to Sell</a:t>
            </a:r>
          </a:p>
        </p:txBody>
      </p:sp>
      <p:sp>
        <p:nvSpPr>
          <p:cNvPr id="19" name="TextBox 18">
            <a:hlinkClick r:id="" action="ppaction://noaction"/>
          </p:cNvPr>
          <p:cNvSpPr txBox="1"/>
          <p:nvPr/>
        </p:nvSpPr>
        <p:spPr>
          <a:xfrm>
            <a:off x="7940507" y="133444"/>
            <a:ext cx="920817" cy="253916"/>
          </a:xfrm>
          <a:prstGeom prst="rect">
            <a:avLst/>
          </a:prstGeom>
          <a:noFill/>
        </p:spPr>
        <p:txBody>
          <a:bodyPr wrap="square" rtlCol="0">
            <a:spAutoFit/>
          </a:bodyPr>
          <a:lstStyle/>
          <a:p>
            <a:pPr algn="ctr" defTabSz="457200" fontAlgn="base">
              <a:spcBef>
                <a:spcPct val="0"/>
              </a:spcBef>
              <a:spcAft>
                <a:spcPct val="0"/>
              </a:spcAft>
            </a:pPr>
            <a:r>
              <a:rPr lang="en-US" sz="1050" b="1" dirty="0">
                <a:solidFill>
                  <a:srgbClr val="FFFFFF">
                    <a:lumMod val="50000"/>
                  </a:srgbClr>
                </a:solidFill>
                <a:latin typeface="CiscoSansTT ExtraLight"/>
                <a:ea typeface="CiscoSansTT Light" charset="0"/>
                <a:cs typeface="CiscoSansTT Light" charset="0"/>
              </a:rPr>
              <a:t>Resources</a:t>
            </a:r>
          </a:p>
        </p:txBody>
      </p:sp>
      <p:sp>
        <p:nvSpPr>
          <p:cNvPr id="20" name="Rectangle 19"/>
          <p:cNvSpPr/>
          <p:nvPr/>
        </p:nvSpPr>
        <p:spPr>
          <a:xfrm>
            <a:off x="0" y="497090"/>
            <a:ext cx="9143999" cy="97604"/>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256" name="TextBox 255">
            <a:hlinkClick r:id="" action="ppaction://noaction"/>
          </p:cNvPr>
          <p:cNvSpPr txBox="1"/>
          <p:nvPr/>
        </p:nvSpPr>
        <p:spPr>
          <a:xfrm>
            <a:off x="6271948" y="14959"/>
            <a:ext cx="1807877" cy="415498"/>
          </a:xfrm>
          <a:prstGeom prst="rect">
            <a:avLst/>
          </a:prstGeom>
          <a:noFill/>
        </p:spPr>
        <p:txBody>
          <a:bodyPr wrap="square" rtlCol="0">
            <a:spAutoFit/>
          </a:bodyPr>
          <a:lstStyle/>
          <a:p>
            <a:pPr algn="ctr" defTabSz="457200" fontAlgn="base">
              <a:spcBef>
                <a:spcPct val="0"/>
              </a:spcBef>
              <a:spcAft>
                <a:spcPct val="0"/>
              </a:spcAft>
            </a:pPr>
            <a:r>
              <a:rPr lang="en-US" sz="1050" b="1" dirty="0">
                <a:solidFill>
                  <a:srgbClr val="FFFFFF">
                    <a:lumMod val="50000"/>
                  </a:srgbClr>
                </a:solidFill>
                <a:latin typeface="CiscoSansTT ExtraLight"/>
                <a:ea typeface="CiscoSansTT Light" charset="0"/>
                <a:cs typeface="CiscoSansTT Light" charset="0"/>
              </a:rPr>
              <a:t>Competitive </a:t>
            </a:r>
          </a:p>
          <a:p>
            <a:pPr algn="ctr" defTabSz="457200" fontAlgn="base">
              <a:spcBef>
                <a:spcPct val="0"/>
              </a:spcBef>
              <a:spcAft>
                <a:spcPct val="0"/>
              </a:spcAft>
            </a:pPr>
            <a:r>
              <a:rPr lang="en-US" sz="1050" b="1" dirty="0">
                <a:solidFill>
                  <a:srgbClr val="FFFFFF">
                    <a:lumMod val="50000"/>
                  </a:srgbClr>
                </a:solidFill>
                <a:latin typeface="CiscoSansTT ExtraLight"/>
                <a:ea typeface="CiscoSansTT Light" charset="0"/>
                <a:cs typeface="CiscoSansTT Light" charset="0"/>
              </a:rPr>
              <a:t>Differentiation</a:t>
            </a:r>
          </a:p>
        </p:txBody>
      </p:sp>
      <p:pic>
        <p:nvPicPr>
          <p:cNvPr id="257" name="Picture 256"/>
          <p:cNvPicPr>
            <a:picLocks noChangeAspect="1"/>
          </p:cNvPicPr>
          <p:nvPr/>
        </p:nvPicPr>
        <p:blipFill>
          <a:blip r:embed="rId3"/>
          <a:stretch>
            <a:fillRect/>
          </a:stretch>
        </p:blipFill>
        <p:spPr>
          <a:xfrm>
            <a:off x="-358389" y="4131733"/>
            <a:ext cx="1555814" cy="1166860"/>
          </a:xfrm>
          <a:prstGeom prst="rect">
            <a:avLst/>
          </a:prstGeom>
        </p:spPr>
      </p:pic>
      <p:sp>
        <p:nvSpPr>
          <p:cNvPr id="48" name="Title 1"/>
          <p:cNvSpPr txBox="1">
            <a:spLocks/>
          </p:cNvSpPr>
          <p:nvPr/>
        </p:nvSpPr>
        <p:spPr bwMode="auto">
          <a:xfrm>
            <a:off x="419518" y="722227"/>
            <a:ext cx="8263792" cy="2519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b="0" i="0" kern="1200">
                <a:solidFill>
                  <a:schemeClr val="tx2"/>
                </a:solidFill>
                <a:latin typeface="Calibri Regular" charset="0"/>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400" b="1">
                <a:solidFill>
                  <a:schemeClr val="accent1"/>
                </a:solidFill>
                <a:latin typeface="CiscoSansTT" charset="0"/>
                <a:ea typeface="CiscoSansTT" charset="0"/>
                <a:cs typeface="CiscoSansTT" charset="0"/>
                <a:sym typeface="Arial" pitchFamily="34" charset="0"/>
              </a:rPr>
              <a:t>Selling Points</a:t>
            </a:r>
            <a:endParaRPr lang="en-US" sz="1400" b="1">
              <a:solidFill>
                <a:schemeClr val="accent1"/>
              </a:solidFill>
              <a:latin typeface="CiscoSansTT" charset="0"/>
              <a:ea typeface="CiscoSansTT" charset="0"/>
              <a:cs typeface="CiscoSansTT" charset="0"/>
            </a:endParaRPr>
          </a:p>
          <a:p>
            <a:pPr marL="742950" lvl="1" indent="-285750">
              <a:buFont typeface="Arial" charset="0"/>
              <a:buChar char="•"/>
            </a:pPr>
            <a:endParaRPr lang="en-US" sz="1800">
              <a:latin typeface="Calibri" charset="0"/>
              <a:ea typeface="Calibri" charset="0"/>
              <a:cs typeface="Calibri" charset="0"/>
            </a:endParaRPr>
          </a:p>
          <a:p>
            <a:pPr marL="742950" lvl="1" indent="-285750">
              <a:buFont typeface="Arial" charset="0"/>
              <a:buChar char="•"/>
            </a:pPr>
            <a:endParaRPr lang="en-US" sz="1800">
              <a:latin typeface="Calibri" charset="0"/>
              <a:ea typeface="Calibri" charset="0"/>
              <a:cs typeface="Calibri" charset="0"/>
            </a:endParaRPr>
          </a:p>
          <a:p>
            <a:endParaRPr lang="en-US" sz="1800">
              <a:latin typeface="Calibri" charset="0"/>
              <a:ea typeface="Calibri" charset="0"/>
              <a:cs typeface="Calibri" charset="0"/>
            </a:endParaRPr>
          </a:p>
          <a:p>
            <a:pPr marL="742950" lvl="1" indent="-285750">
              <a:buFont typeface="Arial" charset="0"/>
              <a:buChar char="•"/>
            </a:pPr>
            <a:endParaRPr lang="en-US" sz="1800">
              <a:latin typeface="Calibri" charset="0"/>
              <a:ea typeface="Calibri" charset="0"/>
              <a:cs typeface="Calibri" charset="0"/>
            </a:endParaRPr>
          </a:p>
          <a:p>
            <a:br>
              <a:rPr lang="en-US" sz="4400"/>
            </a:br>
            <a:endParaRPr lang="en-US"/>
          </a:p>
        </p:txBody>
      </p:sp>
      <p:sp>
        <p:nvSpPr>
          <p:cNvPr id="98" name="Rectangle 97"/>
          <p:cNvSpPr>
            <a:spLocks noChangeAspect="1"/>
          </p:cNvSpPr>
          <p:nvPr/>
        </p:nvSpPr>
        <p:spPr>
          <a:xfrm>
            <a:off x="3757910" y="974185"/>
            <a:ext cx="1589185" cy="1589185"/>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99" name="Rounded Rectangle 98"/>
          <p:cNvSpPr/>
          <p:nvPr/>
        </p:nvSpPr>
        <p:spPr>
          <a:xfrm>
            <a:off x="4625411" y="1663016"/>
            <a:ext cx="425404" cy="422707"/>
          </a:xfrm>
          <a:prstGeom prst="roundRect">
            <a:avLst>
              <a:gd name="adj" fmla="val 9456"/>
            </a:avLst>
          </a:prstGeom>
          <a:solidFill>
            <a:srgbClr val="005073"/>
          </a:solid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5073"/>
              </a:solidFill>
              <a:effectLst/>
              <a:uLnTx/>
              <a:uFillTx/>
              <a:latin typeface="CiscoSansTT ExtraLight"/>
              <a:ea typeface=""/>
              <a:cs typeface=""/>
            </a:endParaRPr>
          </a:p>
        </p:txBody>
      </p:sp>
      <p:sp>
        <p:nvSpPr>
          <p:cNvPr id="100" name="Rounded Rectangle 99"/>
          <p:cNvSpPr/>
          <p:nvPr/>
        </p:nvSpPr>
        <p:spPr>
          <a:xfrm>
            <a:off x="4076771" y="1325826"/>
            <a:ext cx="425404" cy="759898"/>
          </a:xfrm>
          <a:prstGeom prst="roundRect">
            <a:avLst>
              <a:gd name="adj" fmla="val 9502"/>
            </a:avLst>
          </a:prstGeom>
          <a:solidFill>
            <a:srgbClr val="00BCEB"/>
          </a:solid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5073"/>
              </a:solidFill>
              <a:effectLst/>
              <a:uLnTx/>
              <a:uFillTx/>
              <a:latin typeface="CiscoSansTT ExtraLight"/>
              <a:ea typeface=""/>
              <a:cs typeface=""/>
            </a:endParaRPr>
          </a:p>
        </p:txBody>
      </p:sp>
      <p:sp>
        <p:nvSpPr>
          <p:cNvPr id="101" name="Rectangle 100"/>
          <p:cNvSpPr>
            <a:spLocks noChangeAspect="1"/>
          </p:cNvSpPr>
          <p:nvPr/>
        </p:nvSpPr>
        <p:spPr>
          <a:xfrm>
            <a:off x="494542" y="974185"/>
            <a:ext cx="1589185" cy="1589185"/>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102" name="Rectangle 101"/>
          <p:cNvSpPr>
            <a:spLocks noChangeAspect="1"/>
          </p:cNvSpPr>
          <p:nvPr/>
        </p:nvSpPr>
        <p:spPr>
          <a:xfrm>
            <a:off x="494542" y="2594543"/>
            <a:ext cx="1589185" cy="1589185"/>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103" name="Rectangle 102"/>
          <p:cNvSpPr>
            <a:spLocks noChangeAspect="1"/>
          </p:cNvSpPr>
          <p:nvPr/>
        </p:nvSpPr>
        <p:spPr>
          <a:xfrm>
            <a:off x="2126226" y="974185"/>
            <a:ext cx="1589185" cy="1589185"/>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104" name="Rectangle 103"/>
          <p:cNvSpPr>
            <a:spLocks noChangeAspect="1"/>
          </p:cNvSpPr>
          <p:nvPr/>
        </p:nvSpPr>
        <p:spPr>
          <a:xfrm>
            <a:off x="2126226" y="2594543"/>
            <a:ext cx="1589185" cy="1589185"/>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105" name="Rectangle 104"/>
          <p:cNvSpPr>
            <a:spLocks noChangeAspect="1"/>
          </p:cNvSpPr>
          <p:nvPr/>
        </p:nvSpPr>
        <p:spPr>
          <a:xfrm>
            <a:off x="3757910" y="2594543"/>
            <a:ext cx="1589185" cy="1589185"/>
          </a:xfrm>
          <a:prstGeom prst="rect">
            <a:avLst/>
          </a:prstGeom>
          <a:solidFill>
            <a:srgbClr val="FFFFFF">
              <a:lumMod val="85000"/>
            </a:srgbClr>
          </a:solidFill>
          <a:ln w="25400" cap="flat" cmpd="sng" algn="ctr">
            <a:noFill/>
            <a:prstDash val="solid"/>
          </a:ln>
          <a:effectLst/>
        </p:spPr>
        <p:txBody>
          <a:bodyPr rtlCol="0" anchor="ctr"/>
          <a:lstStyle/>
          <a:p>
            <a:pPr algn="ctr" defTabSz="457200" fontAlgn="base">
              <a:spcBef>
                <a:spcPct val="0"/>
              </a:spcBef>
              <a:spcAft>
                <a:spcPct val="0"/>
              </a:spcAft>
            </a:pPr>
            <a:endParaRPr lang="en-US" sz="1800" kern="0" dirty="0">
              <a:solidFill>
                <a:srgbClr val="005073"/>
              </a:solidFill>
              <a:latin typeface="CiscoSansTT ExtraLight"/>
              <a:ea typeface=""/>
              <a:cs typeface=""/>
            </a:endParaRPr>
          </a:p>
        </p:txBody>
      </p:sp>
      <p:sp>
        <p:nvSpPr>
          <p:cNvPr id="106" name="Rectangle 105"/>
          <p:cNvSpPr>
            <a:spLocks noChangeAspect="1"/>
          </p:cNvSpPr>
          <p:nvPr/>
        </p:nvSpPr>
        <p:spPr>
          <a:xfrm>
            <a:off x="5389594" y="2594543"/>
            <a:ext cx="1589185" cy="1589185"/>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107" name="Rectangle 106"/>
          <p:cNvSpPr>
            <a:spLocks noChangeAspect="1"/>
          </p:cNvSpPr>
          <p:nvPr/>
        </p:nvSpPr>
        <p:spPr>
          <a:xfrm>
            <a:off x="5387059" y="974185"/>
            <a:ext cx="1589185" cy="1589185"/>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108" name="TextBox 107"/>
          <p:cNvSpPr txBox="1"/>
          <p:nvPr/>
        </p:nvSpPr>
        <p:spPr>
          <a:xfrm>
            <a:off x="4075943" y="1448954"/>
            <a:ext cx="419724" cy="246221"/>
          </a:xfrm>
          <a:prstGeom prst="rect">
            <a:avLst/>
          </a:prstGeom>
          <a:noFill/>
        </p:spPr>
        <p:txBody>
          <a:bodyPr wrap="square" lIns="0" tIns="0" rIns="0" bIns="0" rtlCol="0">
            <a:spAutoFit/>
          </a:bodyPr>
          <a:lstStyle/>
          <a:p>
            <a:pPr algn="ctr" defTabSz="457200" fontAlgn="base">
              <a:spcBef>
                <a:spcPct val="0"/>
              </a:spcBef>
              <a:spcAft>
                <a:spcPct val="0"/>
              </a:spcAft>
            </a:pPr>
            <a:r>
              <a:rPr lang="en-US" sz="800" b="1" dirty="0">
                <a:solidFill>
                  <a:srgbClr val="005073"/>
                </a:solidFill>
                <a:latin typeface="CiscoSansTT ExtraLight"/>
                <a:ea typeface="ＭＳ Ｐゴシック" charset="0"/>
                <a:cs typeface="ＭＳ Ｐゴシック" charset="0"/>
              </a:rPr>
              <a:t>W/G</a:t>
            </a:r>
          </a:p>
          <a:p>
            <a:pPr algn="ctr" defTabSz="457200" fontAlgn="base">
              <a:spcBef>
                <a:spcPct val="0"/>
              </a:spcBef>
              <a:spcAft>
                <a:spcPct val="0"/>
              </a:spcAft>
            </a:pPr>
            <a:r>
              <a:rPr lang="en-US" sz="800" b="1" dirty="0">
                <a:solidFill>
                  <a:srgbClr val="005073"/>
                </a:solidFill>
                <a:latin typeface="CiscoSansTT ExtraLight"/>
                <a:ea typeface="ＭＳ Ｐゴシック" charset="0"/>
                <a:cs typeface="ＭＳ Ｐゴシック" charset="0"/>
              </a:rPr>
              <a:t>Space</a:t>
            </a:r>
          </a:p>
        </p:txBody>
      </p:sp>
      <p:sp>
        <p:nvSpPr>
          <p:cNvPr id="109" name="TextBox 108"/>
          <p:cNvSpPr txBox="1"/>
          <p:nvPr/>
        </p:nvSpPr>
        <p:spPr>
          <a:xfrm>
            <a:off x="4624172" y="1674422"/>
            <a:ext cx="419724" cy="415498"/>
          </a:xfrm>
          <a:prstGeom prst="rect">
            <a:avLst/>
          </a:prstGeom>
          <a:noFill/>
        </p:spPr>
        <p:txBody>
          <a:bodyPr wrap="square" lIns="0" tIns="0" rIns="0" bIns="0" rtlCol="0">
            <a:spAutoFit/>
          </a:bodyPr>
          <a:lstStyle/>
          <a:p>
            <a:pPr algn="ctr" defTabSz="457200" fontAlgn="base">
              <a:spcBef>
                <a:spcPct val="0"/>
              </a:spcBef>
              <a:spcAft>
                <a:spcPct val="0"/>
              </a:spcAft>
            </a:pPr>
            <a:r>
              <a:rPr lang="en-US" sz="900" b="1" dirty="0">
                <a:solidFill>
                  <a:schemeClr val="bg1"/>
                </a:solidFill>
                <a:latin typeface="CiscoSansTT ExtraLight"/>
                <a:ea typeface="ＭＳ Ｐゴシック" charset="0"/>
                <a:cs typeface="ＭＳ Ｐゴシック" charset="0"/>
              </a:rPr>
              <a:t>W/G</a:t>
            </a:r>
          </a:p>
          <a:p>
            <a:pPr algn="ctr" defTabSz="457200" fontAlgn="base">
              <a:spcBef>
                <a:spcPct val="0"/>
              </a:spcBef>
              <a:spcAft>
                <a:spcPct val="0"/>
              </a:spcAft>
            </a:pPr>
            <a:r>
              <a:rPr lang="en-US" sz="800" b="1" dirty="0">
                <a:solidFill>
                  <a:schemeClr val="bg1"/>
                </a:solidFill>
                <a:latin typeface="CiscoSansTT ExtraLight"/>
                <a:ea typeface="ＭＳ Ｐゴシック" charset="0"/>
                <a:cs typeface="ＭＳ Ｐゴシック" charset="0"/>
              </a:rPr>
              <a:t>Space</a:t>
            </a:r>
            <a:endParaRPr lang="en-US" sz="900" b="1" dirty="0">
              <a:solidFill>
                <a:schemeClr val="bg1"/>
              </a:solidFill>
              <a:latin typeface="CiscoSansTT ExtraLight"/>
              <a:ea typeface="ＭＳ Ｐゴシック" charset="0"/>
              <a:cs typeface="ＭＳ Ｐゴシック" charset="0"/>
            </a:endParaRPr>
          </a:p>
          <a:p>
            <a:pPr algn="ctr" defTabSz="457200" fontAlgn="base">
              <a:spcBef>
                <a:spcPct val="0"/>
              </a:spcBef>
              <a:spcAft>
                <a:spcPct val="0"/>
              </a:spcAft>
            </a:pPr>
            <a:endParaRPr lang="en-US" sz="900" b="1" dirty="0">
              <a:solidFill>
                <a:schemeClr val="bg1"/>
              </a:solidFill>
              <a:latin typeface="CiscoSansTT ExtraLight"/>
              <a:ea typeface="ＭＳ Ｐゴシック" charset="0"/>
              <a:cs typeface="ＭＳ Ｐゴシック" charset="0"/>
            </a:endParaRPr>
          </a:p>
        </p:txBody>
      </p:sp>
      <p:sp>
        <p:nvSpPr>
          <p:cNvPr id="110" name="TextBox 109"/>
          <p:cNvSpPr txBox="1"/>
          <p:nvPr/>
        </p:nvSpPr>
        <p:spPr>
          <a:xfrm>
            <a:off x="4476163" y="1295566"/>
            <a:ext cx="694185" cy="400110"/>
          </a:xfrm>
          <a:prstGeom prst="rect">
            <a:avLst/>
          </a:prstGeom>
          <a:noFill/>
        </p:spPr>
        <p:txBody>
          <a:bodyPr wrap="square" rtlCol="0">
            <a:spAutoFit/>
          </a:bodyPr>
          <a:lstStyle/>
          <a:p>
            <a:pPr algn="ctr" defTabSz="457200" fontAlgn="base">
              <a:spcBef>
                <a:spcPct val="0"/>
              </a:spcBef>
              <a:spcAft>
                <a:spcPct val="0"/>
              </a:spcAft>
            </a:pPr>
            <a:r>
              <a:rPr lang="en-US" sz="1000">
                <a:solidFill>
                  <a:srgbClr val="282828"/>
                </a:solidFill>
                <a:latin typeface="CiscoSansTT ExtraLight"/>
                <a:ea typeface="ＭＳ Ｐゴシック" charset="0"/>
                <a:cs typeface="ＭＳ Ｐゴシック" charset="0"/>
              </a:rPr>
              <a:t>NCS 5500</a:t>
            </a:r>
            <a:endParaRPr lang="en-US" sz="1000" dirty="0">
              <a:solidFill>
                <a:srgbClr val="282828"/>
              </a:solidFill>
              <a:latin typeface="CiscoSansTT ExtraLight"/>
              <a:ea typeface="ＭＳ Ｐゴシック" charset="0"/>
              <a:cs typeface="ＭＳ Ｐゴシック" charset="0"/>
            </a:endParaRPr>
          </a:p>
        </p:txBody>
      </p:sp>
      <p:sp>
        <p:nvSpPr>
          <p:cNvPr id="111" name="TextBox 110"/>
          <p:cNvSpPr txBox="1"/>
          <p:nvPr/>
        </p:nvSpPr>
        <p:spPr>
          <a:xfrm>
            <a:off x="3970783" y="1080745"/>
            <a:ext cx="622092" cy="246221"/>
          </a:xfrm>
          <a:prstGeom prst="rect">
            <a:avLst/>
          </a:prstGeom>
          <a:noFill/>
        </p:spPr>
        <p:txBody>
          <a:bodyPr wrap="square" rtlCol="0">
            <a:spAutoFit/>
          </a:bodyPr>
          <a:lstStyle/>
          <a:p>
            <a:pPr algn="ctr" defTabSz="457200" fontAlgn="base">
              <a:spcBef>
                <a:spcPct val="0"/>
              </a:spcBef>
              <a:spcAft>
                <a:spcPct val="0"/>
              </a:spcAft>
            </a:pPr>
            <a:r>
              <a:rPr lang="en-US" sz="1000" dirty="0">
                <a:solidFill>
                  <a:srgbClr val="282828"/>
                </a:solidFill>
                <a:latin typeface="CiscoSansTT ExtraLight"/>
                <a:ea typeface="ＭＳ Ｐゴシック" charset="0"/>
                <a:cs typeface="ＭＳ Ｐゴシック" charset="0"/>
              </a:rPr>
              <a:t>Existing</a:t>
            </a:r>
          </a:p>
        </p:txBody>
      </p:sp>
      <p:sp>
        <p:nvSpPr>
          <p:cNvPr id="112" name="Rectangle 111"/>
          <p:cNvSpPr/>
          <p:nvPr/>
        </p:nvSpPr>
        <p:spPr>
          <a:xfrm>
            <a:off x="493924" y="3695365"/>
            <a:ext cx="1589184" cy="430887"/>
          </a:xfrm>
          <a:prstGeom prst="rect">
            <a:avLst/>
          </a:prstGeom>
        </p:spPr>
        <p:txBody>
          <a:bodyPr wrap="square">
            <a:spAutoFit/>
          </a:bodyPr>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New level of Security</a:t>
            </a:r>
          </a:p>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Focus</a:t>
            </a:r>
          </a:p>
        </p:txBody>
      </p:sp>
      <p:sp>
        <p:nvSpPr>
          <p:cNvPr id="113" name="Rectangle 112"/>
          <p:cNvSpPr/>
          <p:nvPr/>
        </p:nvSpPr>
        <p:spPr>
          <a:xfrm>
            <a:off x="2076600" y="2088495"/>
            <a:ext cx="1695186" cy="430887"/>
          </a:xfrm>
          <a:prstGeom prst="rect">
            <a:avLst/>
          </a:prstGeom>
        </p:spPr>
        <p:txBody>
          <a:bodyPr wrap="square">
            <a:spAutoFit/>
          </a:bodyPr>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Faster Time to Revenue with Automation</a:t>
            </a:r>
          </a:p>
        </p:txBody>
      </p:sp>
      <p:sp>
        <p:nvSpPr>
          <p:cNvPr id="114" name="Rectangle 113"/>
          <p:cNvSpPr/>
          <p:nvPr/>
        </p:nvSpPr>
        <p:spPr>
          <a:xfrm>
            <a:off x="2140677" y="3710658"/>
            <a:ext cx="1574733" cy="430887"/>
          </a:xfrm>
          <a:prstGeom prst="rect">
            <a:avLst/>
          </a:prstGeom>
        </p:spPr>
        <p:txBody>
          <a:bodyPr wrap="square">
            <a:spAutoFit/>
          </a:bodyPr>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Improved Customer </a:t>
            </a:r>
          </a:p>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Experience</a:t>
            </a:r>
          </a:p>
        </p:txBody>
      </p:sp>
      <p:sp>
        <p:nvSpPr>
          <p:cNvPr id="115" name="Rectangle 114"/>
          <p:cNvSpPr/>
          <p:nvPr/>
        </p:nvSpPr>
        <p:spPr>
          <a:xfrm>
            <a:off x="3880700" y="3701140"/>
            <a:ext cx="1350050" cy="261610"/>
          </a:xfrm>
          <a:prstGeom prst="rect">
            <a:avLst/>
          </a:prstGeom>
        </p:spPr>
        <p:txBody>
          <a:bodyPr wrap="none">
            <a:spAutoFit/>
          </a:bodyPr>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Fast Convergence</a:t>
            </a:r>
          </a:p>
        </p:txBody>
      </p:sp>
      <p:grpSp>
        <p:nvGrpSpPr>
          <p:cNvPr id="116" name="Group 115"/>
          <p:cNvGrpSpPr/>
          <p:nvPr/>
        </p:nvGrpSpPr>
        <p:grpSpPr>
          <a:xfrm>
            <a:off x="4075943" y="2709375"/>
            <a:ext cx="843603" cy="843603"/>
            <a:chOff x="5938818" y="2083461"/>
            <a:chExt cx="647980" cy="647980"/>
          </a:xfrm>
        </p:grpSpPr>
        <p:sp>
          <p:nvSpPr>
            <p:cNvPr id="117" name="Oval 705"/>
            <p:cNvSpPr>
              <a:spLocks noChangeArrowheads="1"/>
            </p:cNvSpPr>
            <p:nvPr/>
          </p:nvSpPr>
          <p:spPr bwMode="auto">
            <a:xfrm>
              <a:off x="5938818" y="2083461"/>
              <a:ext cx="647980" cy="647980"/>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18" name="Freeform 706"/>
            <p:cNvSpPr>
              <a:spLocks/>
            </p:cNvSpPr>
            <p:nvPr/>
          </p:nvSpPr>
          <p:spPr bwMode="auto">
            <a:xfrm>
              <a:off x="6132812" y="2437450"/>
              <a:ext cx="443986" cy="293991"/>
            </a:xfrm>
            <a:custGeom>
              <a:avLst/>
              <a:gdLst>
                <a:gd name="T0" fmla="*/ 170 w 188"/>
                <a:gd name="T1" fmla="*/ 0 h 124"/>
                <a:gd name="T2" fmla="*/ 170 w 188"/>
                <a:gd name="T3" fmla="*/ 2 h 124"/>
                <a:gd name="T4" fmla="*/ 168 w 188"/>
                <a:gd name="T5" fmla="*/ 8 h 124"/>
                <a:gd name="T6" fmla="*/ 161 w 188"/>
                <a:gd name="T7" fmla="*/ 12 h 124"/>
                <a:gd name="T8" fmla="*/ 154 w 188"/>
                <a:gd name="T9" fmla="*/ 9 h 124"/>
                <a:gd name="T10" fmla="*/ 149 w 188"/>
                <a:gd name="T11" fmla="*/ 4 h 124"/>
                <a:gd name="T12" fmla="*/ 131 w 188"/>
                <a:gd name="T13" fmla="*/ 51 h 124"/>
                <a:gd name="T14" fmla="*/ 68 w 188"/>
                <a:gd name="T15" fmla="*/ 88 h 124"/>
                <a:gd name="T16" fmla="*/ 55 w 188"/>
                <a:gd name="T17" fmla="*/ 89 h 124"/>
                <a:gd name="T18" fmla="*/ 0 w 188"/>
                <a:gd name="T19" fmla="*/ 72 h 124"/>
                <a:gd name="T20" fmla="*/ 54 w 188"/>
                <a:gd name="T21" fmla="*/ 124 h 124"/>
                <a:gd name="T22" fmla="*/ 55 w 188"/>
                <a:gd name="T23" fmla="*/ 124 h 124"/>
                <a:gd name="T24" fmla="*/ 188 w 188"/>
                <a:gd name="T25" fmla="*/ 18 h 124"/>
                <a:gd name="T26" fmla="*/ 170 w 188"/>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24">
                  <a:moveTo>
                    <a:pt x="170" y="0"/>
                  </a:moveTo>
                  <a:cubicBezTo>
                    <a:pt x="170" y="0"/>
                    <a:pt x="170" y="1"/>
                    <a:pt x="170" y="2"/>
                  </a:cubicBezTo>
                  <a:cubicBezTo>
                    <a:pt x="170" y="4"/>
                    <a:pt x="170" y="7"/>
                    <a:pt x="168" y="8"/>
                  </a:cubicBezTo>
                  <a:cubicBezTo>
                    <a:pt x="166" y="10"/>
                    <a:pt x="164" y="12"/>
                    <a:pt x="161" y="12"/>
                  </a:cubicBezTo>
                  <a:cubicBezTo>
                    <a:pt x="158" y="12"/>
                    <a:pt x="156" y="11"/>
                    <a:pt x="154" y="9"/>
                  </a:cubicBezTo>
                  <a:cubicBezTo>
                    <a:pt x="149" y="4"/>
                    <a:pt x="149" y="4"/>
                    <a:pt x="149" y="4"/>
                  </a:cubicBezTo>
                  <a:cubicBezTo>
                    <a:pt x="148" y="21"/>
                    <a:pt x="141" y="38"/>
                    <a:pt x="131" y="51"/>
                  </a:cubicBezTo>
                  <a:cubicBezTo>
                    <a:pt x="116" y="72"/>
                    <a:pt x="93" y="85"/>
                    <a:pt x="68" y="88"/>
                  </a:cubicBezTo>
                  <a:cubicBezTo>
                    <a:pt x="64" y="89"/>
                    <a:pt x="60" y="89"/>
                    <a:pt x="55" y="89"/>
                  </a:cubicBezTo>
                  <a:cubicBezTo>
                    <a:pt x="35" y="89"/>
                    <a:pt x="16" y="83"/>
                    <a:pt x="0" y="72"/>
                  </a:cubicBezTo>
                  <a:cubicBezTo>
                    <a:pt x="54" y="124"/>
                    <a:pt x="54" y="124"/>
                    <a:pt x="54" y="124"/>
                  </a:cubicBezTo>
                  <a:cubicBezTo>
                    <a:pt x="54" y="124"/>
                    <a:pt x="55" y="124"/>
                    <a:pt x="55" y="124"/>
                  </a:cubicBezTo>
                  <a:cubicBezTo>
                    <a:pt x="120" y="124"/>
                    <a:pt x="175" y="79"/>
                    <a:pt x="188" y="18"/>
                  </a:cubicBezTo>
                  <a:cubicBezTo>
                    <a:pt x="170" y="0"/>
                    <a:pt x="170" y="0"/>
                    <a:pt x="170" y="0"/>
                  </a:cubicBezTo>
                </a:path>
              </a:pathLst>
            </a:custGeom>
            <a:solidFill>
              <a:srgbClr val="003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19" name="Freeform 707"/>
            <p:cNvSpPr>
              <a:spLocks/>
            </p:cNvSpPr>
            <p:nvPr/>
          </p:nvSpPr>
          <p:spPr bwMode="auto">
            <a:xfrm>
              <a:off x="5987816" y="2156459"/>
              <a:ext cx="484985" cy="283991"/>
            </a:xfrm>
            <a:custGeom>
              <a:avLst/>
              <a:gdLst>
                <a:gd name="T0" fmla="*/ 25 w 205"/>
                <a:gd name="T1" fmla="*/ 119 h 120"/>
                <a:gd name="T2" fmla="*/ 25 w 205"/>
                <a:gd name="T3" fmla="*/ 119 h 120"/>
                <a:gd name="T4" fmla="*/ 26 w 205"/>
                <a:gd name="T5" fmla="*/ 119 h 120"/>
                <a:gd name="T6" fmla="*/ 26 w 205"/>
                <a:gd name="T7" fmla="*/ 119 h 120"/>
                <a:gd name="T8" fmla="*/ 27 w 205"/>
                <a:gd name="T9" fmla="*/ 119 h 120"/>
                <a:gd name="T10" fmla="*/ 27 w 205"/>
                <a:gd name="T11" fmla="*/ 120 h 120"/>
                <a:gd name="T12" fmla="*/ 27 w 205"/>
                <a:gd name="T13" fmla="*/ 120 h 120"/>
                <a:gd name="T14" fmla="*/ 27 w 205"/>
                <a:gd name="T15" fmla="*/ 120 h 120"/>
                <a:gd name="T16" fmla="*/ 28 w 205"/>
                <a:gd name="T17" fmla="*/ 120 h 120"/>
                <a:gd name="T18" fmla="*/ 28 w 205"/>
                <a:gd name="T19" fmla="*/ 120 h 120"/>
                <a:gd name="T20" fmla="*/ 28 w 205"/>
                <a:gd name="T21" fmla="*/ 120 h 120"/>
                <a:gd name="T22" fmla="*/ 28 w 205"/>
                <a:gd name="T23" fmla="*/ 120 h 120"/>
                <a:gd name="T24" fmla="*/ 30 w 205"/>
                <a:gd name="T25" fmla="*/ 120 h 120"/>
                <a:gd name="T26" fmla="*/ 30 w 205"/>
                <a:gd name="T27" fmla="*/ 120 h 120"/>
                <a:gd name="T28" fmla="*/ 31 w 205"/>
                <a:gd name="T29" fmla="*/ 120 h 120"/>
                <a:gd name="T30" fmla="*/ 31 w 205"/>
                <a:gd name="T31" fmla="*/ 120 h 120"/>
                <a:gd name="T32" fmla="*/ 32 w 205"/>
                <a:gd name="T33" fmla="*/ 120 h 120"/>
                <a:gd name="T34" fmla="*/ 32 w 205"/>
                <a:gd name="T35" fmla="*/ 120 h 120"/>
                <a:gd name="T36" fmla="*/ 32 w 205"/>
                <a:gd name="T37" fmla="*/ 120 h 120"/>
                <a:gd name="T38" fmla="*/ 33 w 205"/>
                <a:gd name="T39" fmla="*/ 120 h 120"/>
                <a:gd name="T40" fmla="*/ 33 w 205"/>
                <a:gd name="T41" fmla="*/ 120 h 120"/>
                <a:gd name="T42" fmla="*/ 33 w 205"/>
                <a:gd name="T43" fmla="*/ 120 h 120"/>
                <a:gd name="T44" fmla="*/ 34 w 205"/>
                <a:gd name="T45" fmla="*/ 119 h 120"/>
                <a:gd name="T46" fmla="*/ 34 w 205"/>
                <a:gd name="T47" fmla="*/ 119 h 120"/>
                <a:gd name="T48" fmla="*/ 34 w 205"/>
                <a:gd name="T49" fmla="*/ 119 h 120"/>
                <a:gd name="T50" fmla="*/ 35 w 205"/>
                <a:gd name="T51" fmla="*/ 119 h 120"/>
                <a:gd name="T52" fmla="*/ 35 w 205"/>
                <a:gd name="T53" fmla="*/ 119 h 120"/>
                <a:gd name="T54" fmla="*/ 36 w 205"/>
                <a:gd name="T55" fmla="*/ 118 h 120"/>
                <a:gd name="T56" fmla="*/ 36 w 205"/>
                <a:gd name="T57" fmla="*/ 118 h 120"/>
                <a:gd name="T58" fmla="*/ 36 w 205"/>
                <a:gd name="T59" fmla="*/ 118 h 120"/>
                <a:gd name="T60" fmla="*/ 36 w 205"/>
                <a:gd name="T61" fmla="*/ 118 h 120"/>
                <a:gd name="T62" fmla="*/ 57 w 205"/>
                <a:gd name="T63" fmla="*/ 97 h 120"/>
                <a:gd name="T64" fmla="*/ 57 w 205"/>
                <a:gd name="T65" fmla="*/ 85 h 120"/>
                <a:gd name="T66" fmla="*/ 45 w 205"/>
                <a:gd name="T67" fmla="*/ 85 h 120"/>
                <a:gd name="T68" fmla="*/ 39 w 205"/>
                <a:gd name="T69" fmla="*/ 90 h 120"/>
                <a:gd name="T70" fmla="*/ 53 w 205"/>
                <a:gd name="T71" fmla="*/ 53 h 120"/>
                <a:gd name="T72" fmla="*/ 104 w 205"/>
                <a:gd name="T73" fmla="*/ 24 h 120"/>
                <a:gd name="T74" fmla="*/ 186 w 205"/>
                <a:gd name="T75" fmla="*/ 74 h 120"/>
                <a:gd name="T76" fmla="*/ 198 w 205"/>
                <a:gd name="T77" fmla="*/ 79 h 120"/>
                <a:gd name="T78" fmla="*/ 203 w 205"/>
                <a:gd name="T79" fmla="*/ 68 h 120"/>
                <a:gd name="T80" fmla="*/ 101 w 205"/>
                <a:gd name="T81" fmla="*/ 6 h 120"/>
                <a:gd name="T82" fmla="*/ 39 w 205"/>
                <a:gd name="T83" fmla="*/ 43 h 120"/>
                <a:gd name="T84" fmla="*/ 21 w 205"/>
                <a:gd name="T85" fmla="*/ 89 h 120"/>
                <a:gd name="T86" fmla="*/ 16 w 205"/>
                <a:gd name="T87" fmla="*/ 84 h 120"/>
                <a:gd name="T88" fmla="*/ 3 w 205"/>
                <a:gd name="T89" fmla="*/ 84 h 120"/>
                <a:gd name="T90" fmla="*/ 3 w 205"/>
                <a:gd name="T91" fmla="*/ 97 h 120"/>
                <a:gd name="T92" fmla="*/ 24 w 205"/>
                <a:gd name="T93" fmla="*/ 117 h 120"/>
                <a:gd name="T94" fmla="*/ 24 w 205"/>
                <a:gd name="T95" fmla="*/ 118 h 120"/>
                <a:gd name="T96" fmla="*/ 25 w 205"/>
                <a:gd name="T97" fmla="*/ 118 h 120"/>
                <a:gd name="T98" fmla="*/ 25 w 205"/>
                <a:gd name="T9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5" h="120">
                  <a:moveTo>
                    <a:pt x="25" y="119"/>
                  </a:moveTo>
                  <a:cubicBezTo>
                    <a:pt x="25" y="119"/>
                    <a:pt x="25" y="119"/>
                    <a:pt x="25" y="119"/>
                  </a:cubicBezTo>
                  <a:cubicBezTo>
                    <a:pt x="26" y="119"/>
                    <a:pt x="26" y="119"/>
                    <a:pt x="26" y="119"/>
                  </a:cubicBezTo>
                  <a:cubicBezTo>
                    <a:pt x="26" y="119"/>
                    <a:pt x="26" y="119"/>
                    <a:pt x="26" y="119"/>
                  </a:cubicBezTo>
                  <a:cubicBezTo>
                    <a:pt x="27" y="119"/>
                    <a:pt x="27" y="119"/>
                    <a:pt x="27" y="119"/>
                  </a:cubicBezTo>
                  <a:cubicBezTo>
                    <a:pt x="27" y="120"/>
                    <a:pt x="27" y="120"/>
                    <a:pt x="27" y="120"/>
                  </a:cubicBezTo>
                  <a:cubicBezTo>
                    <a:pt x="27" y="120"/>
                    <a:pt x="27" y="120"/>
                    <a:pt x="27" y="120"/>
                  </a:cubicBezTo>
                  <a:cubicBezTo>
                    <a:pt x="27" y="120"/>
                    <a:pt x="27" y="120"/>
                    <a:pt x="27" y="120"/>
                  </a:cubicBezTo>
                  <a:cubicBezTo>
                    <a:pt x="28" y="120"/>
                    <a:pt x="28" y="120"/>
                    <a:pt x="28" y="120"/>
                  </a:cubicBezTo>
                  <a:cubicBezTo>
                    <a:pt x="28" y="120"/>
                    <a:pt x="28" y="120"/>
                    <a:pt x="28" y="120"/>
                  </a:cubicBezTo>
                  <a:cubicBezTo>
                    <a:pt x="28" y="120"/>
                    <a:pt x="28" y="120"/>
                    <a:pt x="28" y="120"/>
                  </a:cubicBezTo>
                  <a:cubicBezTo>
                    <a:pt x="28" y="120"/>
                    <a:pt x="28" y="120"/>
                    <a:pt x="28" y="120"/>
                  </a:cubicBezTo>
                  <a:cubicBezTo>
                    <a:pt x="29" y="120"/>
                    <a:pt x="30" y="120"/>
                    <a:pt x="30" y="120"/>
                  </a:cubicBezTo>
                  <a:cubicBezTo>
                    <a:pt x="30" y="120"/>
                    <a:pt x="30" y="120"/>
                    <a:pt x="30" y="120"/>
                  </a:cubicBezTo>
                  <a:cubicBezTo>
                    <a:pt x="30" y="120"/>
                    <a:pt x="31" y="120"/>
                    <a:pt x="31" y="120"/>
                  </a:cubicBezTo>
                  <a:cubicBezTo>
                    <a:pt x="31" y="120"/>
                    <a:pt x="31" y="120"/>
                    <a:pt x="31" y="120"/>
                  </a:cubicBezTo>
                  <a:cubicBezTo>
                    <a:pt x="32" y="120"/>
                    <a:pt x="32" y="120"/>
                    <a:pt x="32" y="120"/>
                  </a:cubicBezTo>
                  <a:cubicBezTo>
                    <a:pt x="32" y="120"/>
                    <a:pt x="32" y="120"/>
                    <a:pt x="32" y="120"/>
                  </a:cubicBezTo>
                  <a:cubicBezTo>
                    <a:pt x="32" y="120"/>
                    <a:pt x="32" y="120"/>
                    <a:pt x="32" y="120"/>
                  </a:cubicBezTo>
                  <a:cubicBezTo>
                    <a:pt x="33" y="120"/>
                    <a:pt x="33" y="120"/>
                    <a:pt x="33" y="120"/>
                  </a:cubicBezTo>
                  <a:cubicBezTo>
                    <a:pt x="33" y="120"/>
                    <a:pt x="33" y="120"/>
                    <a:pt x="33" y="120"/>
                  </a:cubicBezTo>
                  <a:cubicBezTo>
                    <a:pt x="33" y="120"/>
                    <a:pt x="33" y="120"/>
                    <a:pt x="33" y="120"/>
                  </a:cubicBezTo>
                  <a:cubicBezTo>
                    <a:pt x="34" y="119"/>
                    <a:pt x="34" y="119"/>
                    <a:pt x="34" y="119"/>
                  </a:cubicBezTo>
                  <a:cubicBezTo>
                    <a:pt x="34" y="119"/>
                    <a:pt x="34" y="119"/>
                    <a:pt x="34" y="119"/>
                  </a:cubicBezTo>
                  <a:cubicBezTo>
                    <a:pt x="34" y="119"/>
                    <a:pt x="34" y="119"/>
                    <a:pt x="34" y="119"/>
                  </a:cubicBezTo>
                  <a:cubicBezTo>
                    <a:pt x="35" y="119"/>
                    <a:pt x="35" y="119"/>
                    <a:pt x="35" y="119"/>
                  </a:cubicBezTo>
                  <a:cubicBezTo>
                    <a:pt x="35" y="119"/>
                    <a:pt x="35" y="119"/>
                    <a:pt x="35" y="119"/>
                  </a:cubicBezTo>
                  <a:cubicBezTo>
                    <a:pt x="36" y="118"/>
                    <a:pt x="36" y="118"/>
                    <a:pt x="36" y="118"/>
                  </a:cubicBezTo>
                  <a:cubicBezTo>
                    <a:pt x="36" y="118"/>
                    <a:pt x="36" y="118"/>
                    <a:pt x="36" y="118"/>
                  </a:cubicBezTo>
                  <a:cubicBezTo>
                    <a:pt x="36" y="118"/>
                    <a:pt x="36" y="118"/>
                    <a:pt x="36" y="118"/>
                  </a:cubicBezTo>
                  <a:cubicBezTo>
                    <a:pt x="36" y="118"/>
                    <a:pt x="36" y="118"/>
                    <a:pt x="36" y="118"/>
                  </a:cubicBezTo>
                  <a:cubicBezTo>
                    <a:pt x="57" y="97"/>
                    <a:pt x="57" y="97"/>
                    <a:pt x="57" y="97"/>
                  </a:cubicBezTo>
                  <a:cubicBezTo>
                    <a:pt x="61" y="94"/>
                    <a:pt x="61" y="88"/>
                    <a:pt x="57" y="85"/>
                  </a:cubicBezTo>
                  <a:cubicBezTo>
                    <a:pt x="54" y="81"/>
                    <a:pt x="48" y="81"/>
                    <a:pt x="45" y="85"/>
                  </a:cubicBezTo>
                  <a:cubicBezTo>
                    <a:pt x="39" y="90"/>
                    <a:pt x="39" y="90"/>
                    <a:pt x="39" y="90"/>
                  </a:cubicBezTo>
                  <a:cubicBezTo>
                    <a:pt x="40" y="77"/>
                    <a:pt x="45" y="64"/>
                    <a:pt x="53" y="53"/>
                  </a:cubicBezTo>
                  <a:cubicBezTo>
                    <a:pt x="66" y="37"/>
                    <a:pt x="84" y="27"/>
                    <a:pt x="104" y="24"/>
                  </a:cubicBezTo>
                  <a:cubicBezTo>
                    <a:pt x="139" y="19"/>
                    <a:pt x="174" y="40"/>
                    <a:pt x="186" y="74"/>
                  </a:cubicBezTo>
                  <a:cubicBezTo>
                    <a:pt x="188" y="78"/>
                    <a:pt x="193" y="81"/>
                    <a:pt x="198" y="79"/>
                  </a:cubicBezTo>
                  <a:cubicBezTo>
                    <a:pt x="202" y="77"/>
                    <a:pt x="205" y="72"/>
                    <a:pt x="203" y="68"/>
                  </a:cubicBezTo>
                  <a:cubicBezTo>
                    <a:pt x="188" y="26"/>
                    <a:pt x="145" y="0"/>
                    <a:pt x="101" y="6"/>
                  </a:cubicBezTo>
                  <a:cubicBezTo>
                    <a:pt x="76" y="10"/>
                    <a:pt x="54" y="23"/>
                    <a:pt x="39" y="43"/>
                  </a:cubicBezTo>
                  <a:cubicBezTo>
                    <a:pt x="29" y="57"/>
                    <a:pt x="23" y="73"/>
                    <a:pt x="21" y="89"/>
                  </a:cubicBezTo>
                  <a:cubicBezTo>
                    <a:pt x="16" y="84"/>
                    <a:pt x="16" y="84"/>
                    <a:pt x="16" y="84"/>
                  </a:cubicBezTo>
                  <a:cubicBezTo>
                    <a:pt x="13" y="81"/>
                    <a:pt x="7" y="81"/>
                    <a:pt x="3" y="84"/>
                  </a:cubicBezTo>
                  <a:cubicBezTo>
                    <a:pt x="0" y="88"/>
                    <a:pt x="0" y="93"/>
                    <a:pt x="3" y="97"/>
                  </a:cubicBezTo>
                  <a:cubicBezTo>
                    <a:pt x="24" y="117"/>
                    <a:pt x="24" y="117"/>
                    <a:pt x="24" y="117"/>
                  </a:cubicBezTo>
                  <a:cubicBezTo>
                    <a:pt x="24" y="118"/>
                    <a:pt x="24" y="118"/>
                    <a:pt x="24" y="118"/>
                  </a:cubicBezTo>
                  <a:cubicBezTo>
                    <a:pt x="25" y="118"/>
                    <a:pt x="25" y="118"/>
                    <a:pt x="25" y="118"/>
                  </a:cubicBezTo>
                  <a:cubicBezTo>
                    <a:pt x="25" y="119"/>
                    <a:pt x="25" y="119"/>
                    <a:pt x="25" y="1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0" name="Freeform 708"/>
            <p:cNvSpPr>
              <a:spLocks noEditPoints="1"/>
            </p:cNvSpPr>
            <p:nvPr/>
          </p:nvSpPr>
          <p:spPr bwMode="auto">
            <a:xfrm>
              <a:off x="5987816" y="2154459"/>
              <a:ext cx="484985" cy="287991"/>
            </a:xfrm>
            <a:custGeom>
              <a:avLst/>
              <a:gdLst>
                <a:gd name="T0" fmla="*/ 28 w 205"/>
                <a:gd name="T1" fmla="*/ 122 h 122"/>
                <a:gd name="T2" fmla="*/ 27 w 205"/>
                <a:gd name="T3" fmla="*/ 121 h 122"/>
                <a:gd name="T4" fmla="*/ 27 w 205"/>
                <a:gd name="T5" fmla="*/ 121 h 122"/>
                <a:gd name="T6" fmla="*/ 26 w 205"/>
                <a:gd name="T7" fmla="*/ 121 h 122"/>
                <a:gd name="T8" fmla="*/ 25 w 205"/>
                <a:gd name="T9" fmla="*/ 120 h 122"/>
                <a:gd name="T10" fmla="*/ 24 w 205"/>
                <a:gd name="T11" fmla="*/ 120 h 122"/>
                <a:gd name="T12" fmla="*/ 23 w 205"/>
                <a:gd name="T13" fmla="*/ 119 h 122"/>
                <a:gd name="T14" fmla="*/ 0 w 205"/>
                <a:gd name="T15" fmla="*/ 92 h 122"/>
                <a:gd name="T16" fmla="*/ 10 w 205"/>
                <a:gd name="T17" fmla="*/ 82 h 122"/>
                <a:gd name="T18" fmla="*/ 20 w 205"/>
                <a:gd name="T19" fmla="*/ 89 h 122"/>
                <a:gd name="T20" fmla="*/ 101 w 205"/>
                <a:gd name="T21" fmla="*/ 7 h 122"/>
                <a:gd name="T22" fmla="*/ 198 w 205"/>
                <a:gd name="T23" fmla="*/ 81 h 122"/>
                <a:gd name="T24" fmla="*/ 186 w 205"/>
                <a:gd name="T25" fmla="*/ 75 h 122"/>
                <a:gd name="T26" fmla="*/ 54 w 205"/>
                <a:gd name="T27" fmla="*/ 55 h 122"/>
                <a:gd name="T28" fmla="*/ 44 w 205"/>
                <a:gd name="T29" fmla="*/ 85 h 122"/>
                <a:gd name="T30" fmla="*/ 51 w 205"/>
                <a:gd name="T31" fmla="*/ 82 h 122"/>
                <a:gd name="T32" fmla="*/ 58 w 205"/>
                <a:gd name="T33" fmla="*/ 99 h 122"/>
                <a:gd name="T34" fmla="*/ 36 w 205"/>
                <a:gd name="T35" fmla="*/ 120 h 122"/>
                <a:gd name="T36" fmla="*/ 36 w 205"/>
                <a:gd name="T37" fmla="*/ 120 h 122"/>
                <a:gd name="T38" fmla="*/ 35 w 205"/>
                <a:gd name="T39" fmla="*/ 121 h 122"/>
                <a:gd name="T40" fmla="*/ 34 w 205"/>
                <a:gd name="T41" fmla="*/ 121 h 122"/>
                <a:gd name="T42" fmla="*/ 33 w 205"/>
                <a:gd name="T43" fmla="*/ 121 h 122"/>
                <a:gd name="T44" fmla="*/ 33 w 205"/>
                <a:gd name="T45" fmla="*/ 121 h 122"/>
                <a:gd name="T46" fmla="*/ 32 w 205"/>
                <a:gd name="T47" fmla="*/ 122 h 122"/>
                <a:gd name="T48" fmla="*/ 30 w 205"/>
                <a:gd name="T49" fmla="*/ 122 h 122"/>
                <a:gd name="T50" fmla="*/ 28 w 205"/>
                <a:gd name="T51" fmla="*/ 120 h 122"/>
                <a:gd name="T52" fmla="*/ 29 w 205"/>
                <a:gd name="T53" fmla="*/ 120 h 122"/>
                <a:gd name="T54" fmla="*/ 31 w 205"/>
                <a:gd name="T55" fmla="*/ 120 h 122"/>
                <a:gd name="T56" fmla="*/ 32 w 205"/>
                <a:gd name="T57" fmla="*/ 120 h 122"/>
                <a:gd name="T58" fmla="*/ 33 w 205"/>
                <a:gd name="T59" fmla="*/ 120 h 122"/>
                <a:gd name="T60" fmla="*/ 33 w 205"/>
                <a:gd name="T61" fmla="*/ 120 h 122"/>
                <a:gd name="T62" fmla="*/ 34 w 205"/>
                <a:gd name="T63" fmla="*/ 119 h 122"/>
                <a:gd name="T64" fmla="*/ 35 w 205"/>
                <a:gd name="T65" fmla="*/ 119 h 122"/>
                <a:gd name="T66" fmla="*/ 35 w 205"/>
                <a:gd name="T67" fmla="*/ 119 h 122"/>
                <a:gd name="T68" fmla="*/ 36 w 205"/>
                <a:gd name="T69" fmla="*/ 118 h 122"/>
                <a:gd name="T70" fmla="*/ 57 w 205"/>
                <a:gd name="T71" fmla="*/ 86 h 122"/>
                <a:gd name="T72" fmla="*/ 51 w 205"/>
                <a:gd name="T73" fmla="*/ 84 h 122"/>
                <a:gd name="T74" fmla="*/ 38 w 205"/>
                <a:gd name="T75" fmla="*/ 93 h 122"/>
                <a:gd name="T76" fmla="*/ 53 w 205"/>
                <a:gd name="T77" fmla="*/ 54 h 122"/>
                <a:gd name="T78" fmla="*/ 187 w 205"/>
                <a:gd name="T79" fmla="*/ 74 h 122"/>
                <a:gd name="T80" fmla="*/ 198 w 205"/>
                <a:gd name="T81" fmla="*/ 79 h 122"/>
                <a:gd name="T82" fmla="*/ 101 w 205"/>
                <a:gd name="T83" fmla="*/ 8 h 122"/>
                <a:gd name="T84" fmla="*/ 21 w 205"/>
                <a:gd name="T85" fmla="*/ 90 h 122"/>
                <a:gd name="T86" fmla="*/ 16 w 205"/>
                <a:gd name="T87" fmla="*/ 86 h 122"/>
                <a:gd name="T88" fmla="*/ 10 w 205"/>
                <a:gd name="T89" fmla="*/ 83 h 122"/>
                <a:gd name="T90" fmla="*/ 1 w 205"/>
                <a:gd name="T91" fmla="*/ 92 h 122"/>
                <a:gd name="T92" fmla="*/ 24 w 205"/>
                <a:gd name="T93" fmla="*/ 118 h 122"/>
                <a:gd name="T94" fmla="*/ 25 w 205"/>
                <a:gd name="T95" fmla="*/ 119 h 122"/>
                <a:gd name="T96" fmla="*/ 25 w 205"/>
                <a:gd name="T97" fmla="*/ 119 h 122"/>
                <a:gd name="T98" fmla="*/ 26 w 205"/>
                <a:gd name="T99" fmla="*/ 120 h 122"/>
                <a:gd name="T100" fmla="*/ 27 w 205"/>
                <a:gd name="T101" fmla="*/ 120 h 122"/>
                <a:gd name="T102" fmla="*/ 28 w 205"/>
                <a:gd name="T103" fmla="*/ 120 h 122"/>
                <a:gd name="T104" fmla="*/ 28 w 205"/>
                <a:gd name="T105"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122">
                  <a:moveTo>
                    <a:pt x="30" y="122"/>
                  </a:moveTo>
                  <a:cubicBezTo>
                    <a:pt x="29" y="122"/>
                    <a:pt x="29" y="122"/>
                    <a:pt x="28" y="122"/>
                  </a:cubicBezTo>
                  <a:cubicBezTo>
                    <a:pt x="28" y="122"/>
                    <a:pt x="28" y="122"/>
                    <a:pt x="28" y="122"/>
                  </a:cubicBezTo>
                  <a:cubicBezTo>
                    <a:pt x="27" y="121"/>
                    <a:pt x="27" y="121"/>
                    <a:pt x="27" y="121"/>
                  </a:cubicBezTo>
                  <a:cubicBezTo>
                    <a:pt x="27" y="121"/>
                    <a:pt x="27" y="121"/>
                    <a:pt x="27" y="121"/>
                  </a:cubicBezTo>
                  <a:cubicBezTo>
                    <a:pt x="27" y="121"/>
                    <a:pt x="27" y="121"/>
                    <a:pt x="27" y="121"/>
                  </a:cubicBezTo>
                  <a:cubicBezTo>
                    <a:pt x="26" y="121"/>
                    <a:pt x="26" y="121"/>
                    <a:pt x="26" y="121"/>
                  </a:cubicBezTo>
                  <a:cubicBezTo>
                    <a:pt x="26" y="121"/>
                    <a:pt x="26" y="121"/>
                    <a:pt x="26" y="121"/>
                  </a:cubicBezTo>
                  <a:cubicBezTo>
                    <a:pt x="25" y="121"/>
                    <a:pt x="25" y="121"/>
                    <a:pt x="25" y="121"/>
                  </a:cubicBezTo>
                  <a:cubicBezTo>
                    <a:pt x="25" y="120"/>
                    <a:pt x="25" y="120"/>
                    <a:pt x="25" y="120"/>
                  </a:cubicBezTo>
                  <a:cubicBezTo>
                    <a:pt x="25" y="120"/>
                    <a:pt x="25" y="120"/>
                    <a:pt x="25" y="120"/>
                  </a:cubicBezTo>
                  <a:cubicBezTo>
                    <a:pt x="24" y="120"/>
                    <a:pt x="24" y="120"/>
                    <a:pt x="24" y="120"/>
                  </a:cubicBezTo>
                  <a:cubicBezTo>
                    <a:pt x="24" y="120"/>
                    <a:pt x="24" y="120"/>
                    <a:pt x="24" y="120"/>
                  </a:cubicBezTo>
                  <a:cubicBezTo>
                    <a:pt x="23" y="119"/>
                    <a:pt x="23" y="119"/>
                    <a:pt x="23" y="119"/>
                  </a:cubicBezTo>
                  <a:cubicBezTo>
                    <a:pt x="3" y="98"/>
                    <a:pt x="3" y="98"/>
                    <a:pt x="3" y="98"/>
                  </a:cubicBezTo>
                  <a:cubicBezTo>
                    <a:pt x="1" y="96"/>
                    <a:pt x="0" y="94"/>
                    <a:pt x="0" y="92"/>
                  </a:cubicBezTo>
                  <a:cubicBezTo>
                    <a:pt x="0" y="89"/>
                    <a:pt x="1" y="87"/>
                    <a:pt x="3" y="85"/>
                  </a:cubicBezTo>
                  <a:cubicBezTo>
                    <a:pt x="5" y="83"/>
                    <a:pt x="7" y="82"/>
                    <a:pt x="10" y="82"/>
                  </a:cubicBezTo>
                  <a:cubicBezTo>
                    <a:pt x="12" y="82"/>
                    <a:pt x="15" y="83"/>
                    <a:pt x="16" y="85"/>
                  </a:cubicBezTo>
                  <a:cubicBezTo>
                    <a:pt x="20" y="89"/>
                    <a:pt x="20" y="89"/>
                    <a:pt x="20" y="89"/>
                  </a:cubicBezTo>
                  <a:cubicBezTo>
                    <a:pt x="22" y="72"/>
                    <a:pt x="29" y="57"/>
                    <a:pt x="39" y="43"/>
                  </a:cubicBezTo>
                  <a:cubicBezTo>
                    <a:pt x="54" y="23"/>
                    <a:pt x="76" y="10"/>
                    <a:pt x="101" y="7"/>
                  </a:cubicBezTo>
                  <a:cubicBezTo>
                    <a:pt x="146" y="0"/>
                    <a:pt x="189" y="26"/>
                    <a:pt x="204" y="68"/>
                  </a:cubicBezTo>
                  <a:cubicBezTo>
                    <a:pt x="205" y="73"/>
                    <a:pt x="203" y="79"/>
                    <a:pt x="198" y="81"/>
                  </a:cubicBezTo>
                  <a:cubicBezTo>
                    <a:pt x="196" y="81"/>
                    <a:pt x="193" y="81"/>
                    <a:pt x="191" y="80"/>
                  </a:cubicBezTo>
                  <a:cubicBezTo>
                    <a:pt x="188" y="79"/>
                    <a:pt x="187" y="77"/>
                    <a:pt x="186" y="75"/>
                  </a:cubicBezTo>
                  <a:cubicBezTo>
                    <a:pt x="174" y="41"/>
                    <a:pt x="139" y="20"/>
                    <a:pt x="104" y="25"/>
                  </a:cubicBezTo>
                  <a:cubicBezTo>
                    <a:pt x="84" y="28"/>
                    <a:pt x="66" y="39"/>
                    <a:pt x="54" y="55"/>
                  </a:cubicBezTo>
                  <a:cubicBezTo>
                    <a:pt x="46" y="65"/>
                    <a:pt x="41" y="77"/>
                    <a:pt x="40" y="90"/>
                  </a:cubicBezTo>
                  <a:cubicBezTo>
                    <a:pt x="44" y="85"/>
                    <a:pt x="44" y="85"/>
                    <a:pt x="44" y="85"/>
                  </a:cubicBezTo>
                  <a:cubicBezTo>
                    <a:pt x="46" y="83"/>
                    <a:pt x="48" y="82"/>
                    <a:pt x="51" y="82"/>
                  </a:cubicBezTo>
                  <a:cubicBezTo>
                    <a:pt x="51" y="82"/>
                    <a:pt x="51" y="82"/>
                    <a:pt x="51" y="82"/>
                  </a:cubicBezTo>
                  <a:cubicBezTo>
                    <a:pt x="53" y="82"/>
                    <a:pt x="56" y="83"/>
                    <a:pt x="58" y="85"/>
                  </a:cubicBezTo>
                  <a:cubicBezTo>
                    <a:pt x="61" y="89"/>
                    <a:pt x="61" y="95"/>
                    <a:pt x="58" y="99"/>
                  </a:cubicBezTo>
                  <a:cubicBezTo>
                    <a:pt x="37" y="119"/>
                    <a:pt x="37" y="119"/>
                    <a:pt x="37" y="119"/>
                  </a:cubicBezTo>
                  <a:cubicBezTo>
                    <a:pt x="36" y="120"/>
                    <a:pt x="36" y="120"/>
                    <a:pt x="36" y="120"/>
                  </a:cubicBezTo>
                  <a:cubicBezTo>
                    <a:pt x="36" y="120"/>
                    <a:pt x="36" y="120"/>
                    <a:pt x="36" y="120"/>
                  </a:cubicBezTo>
                  <a:cubicBezTo>
                    <a:pt x="36" y="120"/>
                    <a:pt x="36" y="120"/>
                    <a:pt x="36" y="120"/>
                  </a:cubicBezTo>
                  <a:cubicBezTo>
                    <a:pt x="35" y="120"/>
                    <a:pt x="35" y="120"/>
                    <a:pt x="35" y="120"/>
                  </a:cubicBezTo>
                  <a:cubicBezTo>
                    <a:pt x="35" y="121"/>
                    <a:pt x="35" y="121"/>
                    <a:pt x="35" y="121"/>
                  </a:cubicBezTo>
                  <a:cubicBezTo>
                    <a:pt x="34" y="121"/>
                    <a:pt x="34" y="121"/>
                    <a:pt x="34" y="121"/>
                  </a:cubicBezTo>
                  <a:cubicBezTo>
                    <a:pt x="34" y="121"/>
                    <a:pt x="34" y="121"/>
                    <a:pt x="34" y="121"/>
                  </a:cubicBezTo>
                  <a:cubicBezTo>
                    <a:pt x="33" y="121"/>
                    <a:pt x="33" y="121"/>
                    <a:pt x="33" y="121"/>
                  </a:cubicBezTo>
                  <a:cubicBezTo>
                    <a:pt x="33" y="121"/>
                    <a:pt x="33" y="121"/>
                    <a:pt x="33" y="121"/>
                  </a:cubicBezTo>
                  <a:cubicBezTo>
                    <a:pt x="33" y="121"/>
                    <a:pt x="33" y="121"/>
                    <a:pt x="33" y="121"/>
                  </a:cubicBezTo>
                  <a:cubicBezTo>
                    <a:pt x="33" y="121"/>
                    <a:pt x="33" y="121"/>
                    <a:pt x="33" y="121"/>
                  </a:cubicBezTo>
                  <a:cubicBezTo>
                    <a:pt x="32" y="122"/>
                    <a:pt x="32" y="122"/>
                    <a:pt x="32" y="122"/>
                  </a:cubicBezTo>
                  <a:cubicBezTo>
                    <a:pt x="32" y="122"/>
                    <a:pt x="32" y="122"/>
                    <a:pt x="32" y="122"/>
                  </a:cubicBezTo>
                  <a:cubicBezTo>
                    <a:pt x="31" y="122"/>
                    <a:pt x="31" y="122"/>
                    <a:pt x="31" y="122"/>
                  </a:cubicBezTo>
                  <a:cubicBezTo>
                    <a:pt x="31" y="122"/>
                    <a:pt x="30" y="122"/>
                    <a:pt x="30" y="122"/>
                  </a:cubicBezTo>
                  <a:moveTo>
                    <a:pt x="28" y="120"/>
                  </a:moveTo>
                  <a:cubicBezTo>
                    <a:pt x="28" y="120"/>
                    <a:pt x="28" y="120"/>
                    <a:pt x="28" y="120"/>
                  </a:cubicBezTo>
                  <a:cubicBezTo>
                    <a:pt x="28" y="121"/>
                    <a:pt x="28" y="121"/>
                    <a:pt x="28" y="121"/>
                  </a:cubicBezTo>
                  <a:cubicBezTo>
                    <a:pt x="29" y="120"/>
                    <a:pt x="29" y="120"/>
                    <a:pt x="29" y="120"/>
                  </a:cubicBezTo>
                  <a:cubicBezTo>
                    <a:pt x="29" y="121"/>
                    <a:pt x="30" y="121"/>
                    <a:pt x="30" y="121"/>
                  </a:cubicBezTo>
                  <a:cubicBezTo>
                    <a:pt x="30" y="121"/>
                    <a:pt x="31" y="121"/>
                    <a:pt x="31" y="120"/>
                  </a:cubicBezTo>
                  <a:cubicBezTo>
                    <a:pt x="31" y="120"/>
                    <a:pt x="31" y="120"/>
                    <a:pt x="31" y="120"/>
                  </a:cubicBezTo>
                  <a:cubicBezTo>
                    <a:pt x="32" y="120"/>
                    <a:pt x="32" y="120"/>
                    <a:pt x="32" y="120"/>
                  </a:cubicBezTo>
                  <a:cubicBezTo>
                    <a:pt x="32" y="120"/>
                    <a:pt x="32" y="120"/>
                    <a:pt x="32" y="120"/>
                  </a:cubicBezTo>
                  <a:cubicBezTo>
                    <a:pt x="33" y="120"/>
                    <a:pt x="33" y="120"/>
                    <a:pt x="33" y="120"/>
                  </a:cubicBezTo>
                  <a:cubicBezTo>
                    <a:pt x="33" y="120"/>
                    <a:pt x="33" y="120"/>
                    <a:pt x="33" y="120"/>
                  </a:cubicBezTo>
                  <a:cubicBezTo>
                    <a:pt x="33" y="120"/>
                    <a:pt x="33" y="120"/>
                    <a:pt x="33" y="120"/>
                  </a:cubicBezTo>
                  <a:cubicBezTo>
                    <a:pt x="34" y="120"/>
                    <a:pt x="34" y="120"/>
                    <a:pt x="34" y="120"/>
                  </a:cubicBezTo>
                  <a:cubicBezTo>
                    <a:pt x="34" y="119"/>
                    <a:pt x="34" y="119"/>
                    <a:pt x="34" y="119"/>
                  </a:cubicBezTo>
                  <a:cubicBezTo>
                    <a:pt x="34" y="119"/>
                    <a:pt x="34" y="119"/>
                    <a:pt x="34" y="119"/>
                  </a:cubicBezTo>
                  <a:cubicBezTo>
                    <a:pt x="35" y="119"/>
                    <a:pt x="35" y="119"/>
                    <a:pt x="35" y="119"/>
                  </a:cubicBezTo>
                  <a:cubicBezTo>
                    <a:pt x="35" y="119"/>
                    <a:pt x="35" y="119"/>
                    <a:pt x="35" y="119"/>
                  </a:cubicBezTo>
                  <a:cubicBezTo>
                    <a:pt x="35" y="119"/>
                    <a:pt x="35" y="119"/>
                    <a:pt x="35" y="119"/>
                  </a:cubicBezTo>
                  <a:cubicBezTo>
                    <a:pt x="36" y="118"/>
                    <a:pt x="36" y="118"/>
                    <a:pt x="36" y="118"/>
                  </a:cubicBezTo>
                  <a:cubicBezTo>
                    <a:pt x="36" y="118"/>
                    <a:pt x="36" y="118"/>
                    <a:pt x="36" y="118"/>
                  </a:cubicBezTo>
                  <a:cubicBezTo>
                    <a:pt x="57" y="98"/>
                    <a:pt x="57" y="98"/>
                    <a:pt x="57" y="98"/>
                  </a:cubicBezTo>
                  <a:cubicBezTo>
                    <a:pt x="60" y="95"/>
                    <a:pt x="60" y="89"/>
                    <a:pt x="57" y="86"/>
                  </a:cubicBezTo>
                  <a:cubicBezTo>
                    <a:pt x="55" y="85"/>
                    <a:pt x="53" y="84"/>
                    <a:pt x="51" y="84"/>
                  </a:cubicBezTo>
                  <a:cubicBezTo>
                    <a:pt x="51" y="84"/>
                    <a:pt x="51" y="84"/>
                    <a:pt x="51" y="84"/>
                  </a:cubicBezTo>
                  <a:cubicBezTo>
                    <a:pt x="49" y="84"/>
                    <a:pt x="47" y="84"/>
                    <a:pt x="45" y="86"/>
                  </a:cubicBezTo>
                  <a:cubicBezTo>
                    <a:pt x="38" y="93"/>
                    <a:pt x="38" y="93"/>
                    <a:pt x="38" y="93"/>
                  </a:cubicBezTo>
                  <a:cubicBezTo>
                    <a:pt x="38" y="91"/>
                    <a:pt x="38" y="91"/>
                    <a:pt x="38" y="91"/>
                  </a:cubicBezTo>
                  <a:cubicBezTo>
                    <a:pt x="40" y="78"/>
                    <a:pt x="45" y="65"/>
                    <a:pt x="53" y="54"/>
                  </a:cubicBezTo>
                  <a:cubicBezTo>
                    <a:pt x="65" y="38"/>
                    <a:pt x="83" y="27"/>
                    <a:pt x="104" y="24"/>
                  </a:cubicBezTo>
                  <a:cubicBezTo>
                    <a:pt x="140" y="19"/>
                    <a:pt x="175" y="40"/>
                    <a:pt x="187" y="74"/>
                  </a:cubicBezTo>
                  <a:cubicBezTo>
                    <a:pt x="188" y="76"/>
                    <a:pt x="189" y="78"/>
                    <a:pt x="191" y="79"/>
                  </a:cubicBezTo>
                  <a:cubicBezTo>
                    <a:pt x="193" y="80"/>
                    <a:pt x="195" y="80"/>
                    <a:pt x="198" y="79"/>
                  </a:cubicBezTo>
                  <a:cubicBezTo>
                    <a:pt x="202" y="78"/>
                    <a:pt x="204" y="73"/>
                    <a:pt x="202" y="69"/>
                  </a:cubicBezTo>
                  <a:cubicBezTo>
                    <a:pt x="188" y="27"/>
                    <a:pt x="145" y="2"/>
                    <a:pt x="101" y="8"/>
                  </a:cubicBezTo>
                  <a:cubicBezTo>
                    <a:pt x="77" y="11"/>
                    <a:pt x="55" y="24"/>
                    <a:pt x="40" y="44"/>
                  </a:cubicBezTo>
                  <a:cubicBezTo>
                    <a:pt x="30" y="58"/>
                    <a:pt x="23" y="74"/>
                    <a:pt x="21" y="90"/>
                  </a:cubicBezTo>
                  <a:cubicBezTo>
                    <a:pt x="21" y="92"/>
                    <a:pt x="21" y="92"/>
                    <a:pt x="21" y="92"/>
                  </a:cubicBezTo>
                  <a:cubicBezTo>
                    <a:pt x="16" y="86"/>
                    <a:pt x="16" y="86"/>
                    <a:pt x="16" y="86"/>
                  </a:cubicBezTo>
                  <a:cubicBezTo>
                    <a:pt x="14" y="84"/>
                    <a:pt x="12" y="83"/>
                    <a:pt x="10" y="83"/>
                  </a:cubicBezTo>
                  <a:cubicBezTo>
                    <a:pt x="10" y="83"/>
                    <a:pt x="10" y="83"/>
                    <a:pt x="10" y="83"/>
                  </a:cubicBezTo>
                  <a:cubicBezTo>
                    <a:pt x="7" y="83"/>
                    <a:pt x="5" y="84"/>
                    <a:pt x="4" y="86"/>
                  </a:cubicBezTo>
                  <a:cubicBezTo>
                    <a:pt x="2" y="87"/>
                    <a:pt x="1" y="89"/>
                    <a:pt x="1" y="92"/>
                  </a:cubicBezTo>
                  <a:cubicBezTo>
                    <a:pt x="1" y="94"/>
                    <a:pt x="2" y="96"/>
                    <a:pt x="4" y="97"/>
                  </a:cubicBezTo>
                  <a:cubicBezTo>
                    <a:pt x="24" y="118"/>
                    <a:pt x="24" y="118"/>
                    <a:pt x="24" y="118"/>
                  </a:cubicBezTo>
                  <a:cubicBezTo>
                    <a:pt x="25" y="119"/>
                    <a:pt x="25" y="119"/>
                    <a:pt x="25" y="119"/>
                  </a:cubicBezTo>
                  <a:cubicBezTo>
                    <a:pt x="25" y="119"/>
                    <a:pt x="25" y="119"/>
                    <a:pt x="25" y="119"/>
                  </a:cubicBezTo>
                  <a:cubicBezTo>
                    <a:pt x="25" y="119"/>
                    <a:pt x="25" y="119"/>
                    <a:pt x="25" y="119"/>
                  </a:cubicBezTo>
                  <a:cubicBezTo>
                    <a:pt x="25" y="119"/>
                    <a:pt x="25" y="119"/>
                    <a:pt x="25" y="119"/>
                  </a:cubicBezTo>
                  <a:cubicBezTo>
                    <a:pt x="26" y="119"/>
                    <a:pt x="26" y="119"/>
                    <a:pt x="26" y="119"/>
                  </a:cubicBezTo>
                  <a:cubicBezTo>
                    <a:pt x="26" y="120"/>
                    <a:pt x="26" y="120"/>
                    <a:pt x="26" y="120"/>
                  </a:cubicBezTo>
                  <a:cubicBezTo>
                    <a:pt x="26" y="120"/>
                    <a:pt x="26" y="120"/>
                    <a:pt x="26" y="120"/>
                  </a:cubicBezTo>
                  <a:cubicBezTo>
                    <a:pt x="27" y="120"/>
                    <a:pt x="27" y="120"/>
                    <a:pt x="27" y="120"/>
                  </a:cubicBezTo>
                  <a:cubicBezTo>
                    <a:pt x="27" y="120"/>
                    <a:pt x="27" y="120"/>
                    <a:pt x="27" y="120"/>
                  </a:cubicBezTo>
                  <a:cubicBezTo>
                    <a:pt x="28" y="120"/>
                    <a:pt x="28" y="120"/>
                    <a:pt x="28" y="120"/>
                  </a:cubicBezTo>
                  <a:cubicBezTo>
                    <a:pt x="28" y="121"/>
                    <a:pt x="28" y="121"/>
                    <a:pt x="28" y="121"/>
                  </a:cubicBezTo>
                  <a:cubicBezTo>
                    <a:pt x="28" y="120"/>
                    <a:pt x="28" y="120"/>
                    <a:pt x="28" y="12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1" name="Freeform 709"/>
            <p:cNvSpPr>
              <a:spLocks/>
            </p:cNvSpPr>
            <p:nvPr/>
          </p:nvSpPr>
          <p:spPr bwMode="auto">
            <a:xfrm>
              <a:off x="6172810" y="2243456"/>
              <a:ext cx="112997" cy="262992"/>
            </a:xfrm>
            <a:custGeom>
              <a:avLst/>
              <a:gdLst>
                <a:gd name="T0" fmla="*/ 39 w 48"/>
                <a:gd name="T1" fmla="*/ 0 h 111"/>
                <a:gd name="T2" fmla="*/ 30 w 48"/>
                <a:gd name="T3" fmla="*/ 9 h 111"/>
                <a:gd name="T4" fmla="*/ 30 w 48"/>
                <a:gd name="T5" fmla="*/ 69 h 111"/>
                <a:gd name="T6" fmla="*/ 4 w 48"/>
                <a:gd name="T7" fmla="*/ 96 h 111"/>
                <a:gd name="T8" fmla="*/ 4 w 48"/>
                <a:gd name="T9" fmla="*/ 108 h 111"/>
                <a:gd name="T10" fmla="*/ 10 w 48"/>
                <a:gd name="T11" fmla="*/ 111 h 111"/>
                <a:gd name="T12" fmla="*/ 16 w 48"/>
                <a:gd name="T13" fmla="*/ 108 h 111"/>
                <a:gd name="T14" fmla="*/ 45 w 48"/>
                <a:gd name="T15" fmla="*/ 79 h 111"/>
                <a:gd name="T16" fmla="*/ 48 w 48"/>
                <a:gd name="T17" fmla="*/ 70 h 111"/>
                <a:gd name="T18" fmla="*/ 48 w 48"/>
                <a:gd name="T19" fmla="*/ 9 h 111"/>
                <a:gd name="T20" fmla="*/ 39 w 48"/>
                <a:gd name="T2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11">
                  <a:moveTo>
                    <a:pt x="39" y="0"/>
                  </a:moveTo>
                  <a:cubicBezTo>
                    <a:pt x="34" y="0"/>
                    <a:pt x="30" y="4"/>
                    <a:pt x="30" y="9"/>
                  </a:cubicBezTo>
                  <a:cubicBezTo>
                    <a:pt x="30" y="69"/>
                    <a:pt x="30" y="69"/>
                    <a:pt x="30" y="69"/>
                  </a:cubicBezTo>
                  <a:cubicBezTo>
                    <a:pt x="4" y="96"/>
                    <a:pt x="4" y="96"/>
                    <a:pt x="4" y="96"/>
                  </a:cubicBezTo>
                  <a:cubicBezTo>
                    <a:pt x="0" y="99"/>
                    <a:pt x="0" y="105"/>
                    <a:pt x="4" y="108"/>
                  </a:cubicBezTo>
                  <a:cubicBezTo>
                    <a:pt x="5" y="110"/>
                    <a:pt x="8" y="111"/>
                    <a:pt x="10" y="111"/>
                  </a:cubicBezTo>
                  <a:cubicBezTo>
                    <a:pt x="12" y="111"/>
                    <a:pt x="14" y="110"/>
                    <a:pt x="16" y="108"/>
                  </a:cubicBezTo>
                  <a:cubicBezTo>
                    <a:pt x="45" y="79"/>
                    <a:pt x="45" y="79"/>
                    <a:pt x="45" y="79"/>
                  </a:cubicBezTo>
                  <a:cubicBezTo>
                    <a:pt x="48" y="77"/>
                    <a:pt x="48" y="73"/>
                    <a:pt x="48" y="70"/>
                  </a:cubicBezTo>
                  <a:cubicBezTo>
                    <a:pt x="48" y="9"/>
                    <a:pt x="48" y="9"/>
                    <a:pt x="48" y="9"/>
                  </a:cubicBezTo>
                  <a:cubicBezTo>
                    <a:pt x="48" y="4"/>
                    <a:pt x="44" y="0"/>
                    <a:pt x="3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2" name="Freeform 710"/>
            <p:cNvSpPr>
              <a:spLocks noEditPoints="1"/>
            </p:cNvSpPr>
            <p:nvPr/>
          </p:nvSpPr>
          <p:spPr bwMode="auto">
            <a:xfrm>
              <a:off x="6169810" y="2241456"/>
              <a:ext cx="118996" cy="264992"/>
            </a:xfrm>
            <a:custGeom>
              <a:avLst/>
              <a:gdLst>
                <a:gd name="T0" fmla="*/ 11 w 50"/>
                <a:gd name="T1" fmla="*/ 112 h 112"/>
                <a:gd name="T2" fmla="*/ 4 w 50"/>
                <a:gd name="T3" fmla="*/ 110 h 112"/>
                <a:gd name="T4" fmla="*/ 4 w 50"/>
                <a:gd name="T5" fmla="*/ 96 h 112"/>
                <a:gd name="T6" fmla="*/ 30 w 50"/>
                <a:gd name="T7" fmla="*/ 70 h 112"/>
                <a:gd name="T8" fmla="*/ 30 w 50"/>
                <a:gd name="T9" fmla="*/ 10 h 112"/>
                <a:gd name="T10" fmla="*/ 40 w 50"/>
                <a:gd name="T11" fmla="*/ 0 h 112"/>
                <a:gd name="T12" fmla="*/ 49 w 50"/>
                <a:gd name="T13" fmla="*/ 10 h 112"/>
                <a:gd name="T14" fmla="*/ 49 w 50"/>
                <a:gd name="T15" fmla="*/ 71 h 112"/>
                <a:gd name="T16" fmla="*/ 47 w 50"/>
                <a:gd name="T17" fmla="*/ 80 h 112"/>
                <a:gd name="T18" fmla="*/ 18 w 50"/>
                <a:gd name="T19" fmla="*/ 110 h 112"/>
                <a:gd name="T20" fmla="*/ 11 w 50"/>
                <a:gd name="T21" fmla="*/ 112 h 112"/>
                <a:gd name="T22" fmla="*/ 40 w 50"/>
                <a:gd name="T23" fmla="*/ 2 h 112"/>
                <a:gd name="T24" fmla="*/ 31 w 50"/>
                <a:gd name="T25" fmla="*/ 10 h 112"/>
                <a:gd name="T26" fmla="*/ 31 w 50"/>
                <a:gd name="T27" fmla="*/ 71 h 112"/>
                <a:gd name="T28" fmla="*/ 5 w 50"/>
                <a:gd name="T29" fmla="*/ 97 h 112"/>
                <a:gd name="T30" fmla="*/ 5 w 50"/>
                <a:gd name="T31" fmla="*/ 109 h 112"/>
                <a:gd name="T32" fmla="*/ 11 w 50"/>
                <a:gd name="T33" fmla="*/ 111 h 112"/>
                <a:gd name="T34" fmla="*/ 17 w 50"/>
                <a:gd name="T35" fmla="*/ 109 h 112"/>
                <a:gd name="T36" fmla="*/ 46 w 50"/>
                <a:gd name="T37" fmla="*/ 80 h 112"/>
                <a:gd name="T38" fmla="*/ 48 w 50"/>
                <a:gd name="T39" fmla="*/ 72 h 112"/>
                <a:gd name="T40" fmla="*/ 48 w 50"/>
                <a:gd name="T41" fmla="*/ 71 h 112"/>
                <a:gd name="T42" fmla="*/ 48 w 50"/>
                <a:gd name="T43" fmla="*/ 10 h 112"/>
                <a:gd name="T44" fmla="*/ 40 w 50"/>
                <a:gd name="T45" fmla="*/ 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112">
                  <a:moveTo>
                    <a:pt x="11" y="112"/>
                  </a:moveTo>
                  <a:cubicBezTo>
                    <a:pt x="8" y="112"/>
                    <a:pt x="6" y="112"/>
                    <a:pt x="4" y="110"/>
                  </a:cubicBezTo>
                  <a:cubicBezTo>
                    <a:pt x="0" y="106"/>
                    <a:pt x="0" y="100"/>
                    <a:pt x="4" y="96"/>
                  </a:cubicBezTo>
                  <a:cubicBezTo>
                    <a:pt x="30" y="70"/>
                    <a:pt x="30" y="70"/>
                    <a:pt x="30" y="70"/>
                  </a:cubicBezTo>
                  <a:cubicBezTo>
                    <a:pt x="30" y="10"/>
                    <a:pt x="30" y="10"/>
                    <a:pt x="30" y="10"/>
                  </a:cubicBezTo>
                  <a:cubicBezTo>
                    <a:pt x="30" y="5"/>
                    <a:pt x="34" y="0"/>
                    <a:pt x="40" y="0"/>
                  </a:cubicBezTo>
                  <a:cubicBezTo>
                    <a:pt x="45" y="0"/>
                    <a:pt x="49" y="5"/>
                    <a:pt x="49" y="10"/>
                  </a:cubicBezTo>
                  <a:cubicBezTo>
                    <a:pt x="49" y="71"/>
                    <a:pt x="49" y="71"/>
                    <a:pt x="49" y="71"/>
                  </a:cubicBezTo>
                  <a:cubicBezTo>
                    <a:pt x="50" y="75"/>
                    <a:pt x="49" y="78"/>
                    <a:pt x="47" y="80"/>
                  </a:cubicBezTo>
                  <a:cubicBezTo>
                    <a:pt x="18" y="110"/>
                    <a:pt x="18" y="110"/>
                    <a:pt x="18" y="110"/>
                  </a:cubicBezTo>
                  <a:cubicBezTo>
                    <a:pt x="16" y="112"/>
                    <a:pt x="13" y="112"/>
                    <a:pt x="11" y="112"/>
                  </a:cubicBezTo>
                  <a:moveTo>
                    <a:pt x="40" y="2"/>
                  </a:moveTo>
                  <a:cubicBezTo>
                    <a:pt x="35" y="2"/>
                    <a:pt x="31" y="5"/>
                    <a:pt x="31" y="10"/>
                  </a:cubicBezTo>
                  <a:cubicBezTo>
                    <a:pt x="31" y="71"/>
                    <a:pt x="31" y="71"/>
                    <a:pt x="31" y="71"/>
                  </a:cubicBezTo>
                  <a:cubicBezTo>
                    <a:pt x="5" y="97"/>
                    <a:pt x="5" y="97"/>
                    <a:pt x="5" y="97"/>
                  </a:cubicBezTo>
                  <a:cubicBezTo>
                    <a:pt x="2" y="100"/>
                    <a:pt x="2" y="106"/>
                    <a:pt x="5" y="109"/>
                  </a:cubicBezTo>
                  <a:cubicBezTo>
                    <a:pt x="7" y="110"/>
                    <a:pt x="9" y="111"/>
                    <a:pt x="11" y="111"/>
                  </a:cubicBezTo>
                  <a:cubicBezTo>
                    <a:pt x="13" y="111"/>
                    <a:pt x="15" y="110"/>
                    <a:pt x="17" y="109"/>
                  </a:cubicBezTo>
                  <a:cubicBezTo>
                    <a:pt x="46" y="80"/>
                    <a:pt x="46" y="80"/>
                    <a:pt x="46" y="80"/>
                  </a:cubicBezTo>
                  <a:cubicBezTo>
                    <a:pt x="48" y="77"/>
                    <a:pt x="49" y="74"/>
                    <a:pt x="48" y="72"/>
                  </a:cubicBezTo>
                  <a:cubicBezTo>
                    <a:pt x="48" y="71"/>
                    <a:pt x="48" y="71"/>
                    <a:pt x="48" y="71"/>
                  </a:cubicBezTo>
                  <a:cubicBezTo>
                    <a:pt x="48" y="10"/>
                    <a:pt x="48" y="10"/>
                    <a:pt x="48" y="10"/>
                  </a:cubicBezTo>
                  <a:cubicBezTo>
                    <a:pt x="48" y="5"/>
                    <a:pt x="44" y="2"/>
                    <a:pt x="40"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3" name="Freeform 711"/>
            <p:cNvSpPr>
              <a:spLocks/>
            </p:cNvSpPr>
            <p:nvPr/>
          </p:nvSpPr>
          <p:spPr bwMode="auto">
            <a:xfrm>
              <a:off x="6049814" y="2376452"/>
              <a:ext cx="486985" cy="271992"/>
            </a:xfrm>
            <a:custGeom>
              <a:avLst/>
              <a:gdLst>
                <a:gd name="T0" fmla="*/ 202 w 206"/>
                <a:gd name="T1" fmla="*/ 21 h 115"/>
                <a:gd name="T2" fmla="*/ 181 w 206"/>
                <a:gd name="T3" fmla="*/ 3 h 115"/>
                <a:gd name="T4" fmla="*/ 175 w 206"/>
                <a:gd name="T5" fmla="*/ 0 h 115"/>
                <a:gd name="T6" fmla="*/ 174 w 206"/>
                <a:gd name="T7" fmla="*/ 0 h 115"/>
                <a:gd name="T8" fmla="*/ 174 w 206"/>
                <a:gd name="T9" fmla="*/ 0 h 115"/>
                <a:gd name="T10" fmla="*/ 168 w 206"/>
                <a:gd name="T11" fmla="*/ 3 h 115"/>
                <a:gd name="T12" fmla="*/ 148 w 206"/>
                <a:gd name="T13" fmla="*/ 24 h 115"/>
                <a:gd name="T14" fmla="*/ 149 w 206"/>
                <a:gd name="T15" fmla="*/ 37 h 115"/>
                <a:gd name="T16" fmla="*/ 155 w 206"/>
                <a:gd name="T17" fmla="*/ 39 h 115"/>
                <a:gd name="T18" fmla="*/ 161 w 206"/>
                <a:gd name="T19" fmla="*/ 36 h 115"/>
                <a:gd name="T20" fmla="*/ 166 w 206"/>
                <a:gd name="T21" fmla="*/ 31 h 115"/>
                <a:gd name="T22" fmla="*/ 151 w 206"/>
                <a:gd name="T23" fmla="*/ 66 h 115"/>
                <a:gd name="T24" fmla="*/ 101 w 206"/>
                <a:gd name="T25" fmla="*/ 96 h 115"/>
                <a:gd name="T26" fmla="*/ 18 w 206"/>
                <a:gd name="T27" fmla="*/ 46 h 115"/>
                <a:gd name="T28" fmla="*/ 7 w 206"/>
                <a:gd name="T29" fmla="*/ 41 h 115"/>
                <a:gd name="T30" fmla="*/ 1 w 206"/>
                <a:gd name="T31" fmla="*/ 52 h 115"/>
                <a:gd name="T32" fmla="*/ 90 w 206"/>
                <a:gd name="T33" fmla="*/ 115 h 115"/>
                <a:gd name="T34" fmla="*/ 103 w 206"/>
                <a:gd name="T35" fmla="*/ 114 h 115"/>
                <a:gd name="T36" fmla="*/ 165 w 206"/>
                <a:gd name="T37" fmla="*/ 77 h 115"/>
                <a:gd name="T38" fmla="*/ 184 w 206"/>
                <a:gd name="T39" fmla="*/ 29 h 115"/>
                <a:gd name="T40" fmla="*/ 190 w 206"/>
                <a:gd name="T41" fmla="*/ 35 h 115"/>
                <a:gd name="T42" fmla="*/ 196 w 206"/>
                <a:gd name="T43" fmla="*/ 37 h 115"/>
                <a:gd name="T44" fmla="*/ 202 w 206"/>
                <a:gd name="T45" fmla="*/ 34 h 115"/>
                <a:gd name="T46" fmla="*/ 202 w 206"/>
                <a:gd name="T47"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5">
                  <a:moveTo>
                    <a:pt x="202" y="21"/>
                  </a:moveTo>
                  <a:cubicBezTo>
                    <a:pt x="181" y="3"/>
                    <a:pt x="181" y="3"/>
                    <a:pt x="181" y="3"/>
                  </a:cubicBezTo>
                  <a:cubicBezTo>
                    <a:pt x="180" y="1"/>
                    <a:pt x="177" y="0"/>
                    <a:pt x="175" y="0"/>
                  </a:cubicBezTo>
                  <a:cubicBezTo>
                    <a:pt x="174" y="0"/>
                    <a:pt x="174" y="0"/>
                    <a:pt x="174" y="0"/>
                  </a:cubicBezTo>
                  <a:cubicBezTo>
                    <a:pt x="174" y="0"/>
                    <a:pt x="174" y="0"/>
                    <a:pt x="174" y="0"/>
                  </a:cubicBezTo>
                  <a:cubicBezTo>
                    <a:pt x="172" y="0"/>
                    <a:pt x="169" y="1"/>
                    <a:pt x="168" y="3"/>
                  </a:cubicBezTo>
                  <a:cubicBezTo>
                    <a:pt x="148" y="24"/>
                    <a:pt x="148" y="24"/>
                    <a:pt x="148" y="24"/>
                  </a:cubicBezTo>
                  <a:cubicBezTo>
                    <a:pt x="145" y="28"/>
                    <a:pt x="145" y="33"/>
                    <a:pt x="149" y="37"/>
                  </a:cubicBezTo>
                  <a:cubicBezTo>
                    <a:pt x="150" y="38"/>
                    <a:pt x="153" y="39"/>
                    <a:pt x="155" y="39"/>
                  </a:cubicBezTo>
                  <a:cubicBezTo>
                    <a:pt x="157" y="39"/>
                    <a:pt x="160" y="38"/>
                    <a:pt x="161" y="36"/>
                  </a:cubicBezTo>
                  <a:cubicBezTo>
                    <a:pt x="166" y="31"/>
                    <a:pt x="166" y="31"/>
                    <a:pt x="166" y="31"/>
                  </a:cubicBezTo>
                  <a:cubicBezTo>
                    <a:pt x="164" y="44"/>
                    <a:pt x="159" y="56"/>
                    <a:pt x="151" y="66"/>
                  </a:cubicBezTo>
                  <a:cubicBezTo>
                    <a:pt x="139" y="83"/>
                    <a:pt x="121" y="93"/>
                    <a:pt x="101" y="96"/>
                  </a:cubicBezTo>
                  <a:cubicBezTo>
                    <a:pt x="65" y="101"/>
                    <a:pt x="30" y="80"/>
                    <a:pt x="18" y="46"/>
                  </a:cubicBezTo>
                  <a:cubicBezTo>
                    <a:pt x="17" y="42"/>
                    <a:pt x="11" y="39"/>
                    <a:pt x="7" y="41"/>
                  </a:cubicBezTo>
                  <a:cubicBezTo>
                    <a:pt x="2" y="43"/>
                    <a:pt x="0" y="48"/>
                    <a:pt x="1" y="52"/>
                  </a:cubicBezTo>
                  <a:cubicBezTo>
                    <a:pt x="15" y="90"/>
                    <a:pt x="51" y="115"/>
                    <a:pt x="90" y="115"/>
                  </a:cubicBezTo>
                  <a:cubicBezTo>
                    <a:pt x="94" y="115"/>
                    <a:pt x="99" y="114"/>
                    <a:pt x="103" y="114"/>
                  </a:cubicBezTo>
                  <a:cubicBezTo>
                    <a:pt x="128" y="110"/>
                    <a:pt x="150" y="97"/>
                    <a:pt x="165" y="77"/>
                  </a:cubicBezTo>
                  <a:cubicBezTo>
                    <a:pt x="176" y="63"/>
                    <a:pt x="182" y="46"/>
                    <a:pt x="184" y="29"/>
                  </a:cubicBezTo>
                  <a:cubicBezTo>
                    <a:pt x="190" y="35"/>
                    <a:pt x="190" y="35"/>
                    <a:pt x="190" y="35"/>
                  </a:cubicBezTo>
                  <a:cubicBezTo>
                    <a:pt x="192" y="36"/>
                    <a:pt x="194" y="37"/>
                    <a:pt x="196" y="37"/>
                  </a:cubicBezTo>
                  <a:cubicBezTo>
                    <a:pt x="198" y="37"/>
                    <a:pt x="201" y="36"/>
                    <a:pt x="202" y="34"/>
                  </a:cubicBezTo>
                  <a:cubicBezTo>
                    <a:pt x="206" y="30"/>
                    <a:pt x="205" y="25"/>
                    <a:pt x="202"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4" name="Freeform 712"/>
            <p:cNvSpPr>
              <a:spLocks noEditPoints="1"/>
            </p:cNvSpPr>
            <p:nvPr/>
          </p:nvSpPr>
          <p:spPr bwMode="auto">
            <a:xfrm>
              <a:off x="6047814" y="2374452"/>
              <a:ext cx="486985" cy="273992"/>
            </a:xfrm>
            <a:custGeom>
              <a:avLst/>
              <a:gdLst>
                <a:gd name="T0" fmla="*/ 91 w 206"/>
                <a:gd name="T1" fmla="*/ 116 h 116"/>
                <a:gd name="T2" fmla="*/ 2 w 206"/>
                <a:gd name="T3" fmla="*/ 53 h 116"/>
                <a:gd name="T4" fmla="*/ 8 w 206"/>
                <a:gd name="T5" fmla="*/ 41 h 116"/>
                <a:gd name="T6" fmla="*/ 15 w 206"/>
                <a:gd name="T7" fmla="*/ 42 h 116"/>
                <a:gd name="T8" fmla="*/ 20 w 206"/>
                <a:gd name="T9" fmla="*/ 47 h 116"/>
                <a:gd name="T10" fmla="*/ 102 w 206"/>
                <a:gd name="T11" fmla="*/ 96 h 116"/>
                <a:gd name="T12" fmla="*/ 152 w 206"/>
                <a:gd name="T13" fmla="*/ 67 h 116"/>
                <a:gd name="T14" fmla="*/ 166 w 206"/>
                <a:gd name="T15" fmla="*/ 34 h 116"/>
                <a:gd name="T16" fmla="*/ 163 w 206"/>
                <a:gd name="T17" fmla="*/ 37 h 116"/>
                <a:gd name="T18" fmla="*/ 156 w 206"/>
                <a:gd name="T19" fmla="*/ 41 h 116"/>
                <a:gd name="T20" fmla="*/ 149 w 206"/>
                <a:gd name="T21" fmla="*/ 38 h 116"/>
                <a:gd name="T22" fmla="*/ 146 w 206"/>
                <a:gd name="T23" fmla="*/ 32 h 116"/>
                <a:gd name="T24" fmla="*/ 149 w 206"/>
                <a:gd name="T25" fmla="*/ 25 h 116"/>
                <a:gd name="T26" fmla="*/ 168 w 206"/>
                <a:gd name="T27" fmla="*/ 3 h 116"/>
                <a:gd name="T28" fmla="*/ 175 w 206"/>
                <a:gd name="T29" fmla="*/ 0 h 116"/>
                <a:gd name="T30" fmla="*/ 175 w 206"/>
                <a:gd name="T31" fmla="*/ 0 h 116"/>
                <a:gd name="T32" fmla="*/ 176 w 206"/>
                <a:gd name="T33" fmla="*/ 0 h 116"/>
                <a:gd name="T34" fmla="*/ 183 w 206"/>
                <a:gd name="T35" fmla="*/ 4 h 116"/>
                <a:gd name="T36" fmla="*/ 203 w 206"/>
                <a:gd name="T37" fmla="*/ 22 h 116"/>
                <a:gd name="T38" fmla="*/ 206 w 206"/>
                <a:gd name="T39" fmla="*/ 29 h 116"/>
                <a:gd name="T40" fmla="*/ 204 w 206"/>
                <a:gd name="T41" fmla="*/ 35 h 116"/>
                <a:gd name="T42" fmla="*/ 197 w 206"/>
                <a:gd name="T43" fmla="*/ 39 h 116"/>
                <a:gd name="T44" fmla="*/ 190 w 206"/>
                <a:gd name="T45" fmla="*/ 36 h 116"/>
                <a:gd name="T46" fmla="*/ 185 w 206"/>
                <a:gd name="T47" fmla="*/ 31 h 116"/>
                <a:gd name="T48" fmla="*/ 167 w 206"/>
                <a:gd name="T49" fmla="*/ 78 h 116"/>
                <a:gd name="T50" fmla="*/ 104 w 206"/>
                <a:gd name="T51" fmla="*/ 115 h 116"/>
                <a:gd name="T52" fmla="*/ 91 w 206"/>
                <a:gd name="T53" fmla="*/ 116 h 116"/>
                <a:gd name="T54" fmla="*/ 11 w 206"/>
                <a:gd name="T55" fmla="*/ 42 h 116"/>
                <a:gd name="T56" fmla="*/ 8 w 206"/>
                <a:gd name="T57" fmla="*/ 42 h 116"/>
                <a:gd name="T58" fmla="*/ 3 w 206"/>
                <a:gd name="T59" fmla="*/ 53 h 116"/>
                <a:gd name="T60" fmla="*/ 91 w 206"/>
                <a:gd name="T61" fmla="*/ 115 h 116"/>
                <a:gd name="T62" fmla="*/ 104 w 206"/>
                <a:gd name="T63" fmla="*/ 114 h 116"/>
                <a:gd name="T64" fmla="*/ 166 w 206"/>
                <a:gd name="T65" fmla="*/ 78 h 116"/>
                <a:gd name="T66" fmla="*/ 184 w 206"/>
                <a:gd name="T67" fmla="*/ 30 h 116"/>
                <a:gd name="T68" fmla="*/ 184 w 206"/>
                <a:gd name="T69" fmla="*/ 29 h 116"/>
                <a:gd name="T70" fmla="*/ 191 w 206"/>
                <a:gd name="T71" fmla="*/ 35 h 116"/>
                <a:gd name="T72" fmla="*/ 197 w 206"/>
                <a:gd name="T73" fmla="*/ 37 h 116"/>
                <a:gd name="T74" fmla="*/ 203 w 206"/>
                <a:gd name="T75" fmla="*/ 35 h 116"/>
                <a:gd name="T76" fmla="*/ 205 w 206"/>
                <a:gd name="T77" fmla="*/ 29 h 116"/>
                <a:gd name="T78" fmla="*/ 202 w 206"/>
                <a:gd name="T79" fmla="*/ 23 h 116"/>
                <a:gd name="T80" fmla="*/ 182 w 206"/>
                <a:gd name="T81" fmla="*/ 4 h 116"/>
                <a:gd name="T82" fmla="*/ 176 w 206"/>
                <a:gd name="T83" fmla="*/ 1 h 116"/>
                <a:gd name="T84" fmla="*/ 175 w 206"/>
                <a:gd name="T85" fmla="*/ 1 h 116"/>
                <a:gd name="T86" fmla="*/ 175 w 206"/>
                <a:gd name="T87" fmla="*/ 1 h 116"/>
                <a:gd name="T88" fmla="*/ 169 w 206"/>
                <a:gd name="T89" fmla="*/ 4 h 116"/>
                <a:gd name="T90" fmla="*/ 150 w 206"/>
                <a:gd name="T91" fmla="*/ 26 h 116"/>
                <a:gd name="T92" fmla="*/ 147 w 206"/>
                <a:gd name="T93" fmla="*/ 32 h 116"/>
                <a:gd name="T94" fmla="*/ 150 w 206"/>
                <a:gd name="T95" fmla="*/ 37 h 116"/>
                <a:gd name="T96" fmla="*/ 156 w 206"/>
                <a:gd name="T97" fmla="*/ 39 h 116"/>
                <a:gd name="T98" fmla="*/ 162 w 206"/>
                <a:gd name="T99" fmla="*/ 37 h 116"/>
                <a:gd name="T100" fmla="*/ 168 w 206"/>
                <a:gd name="T101" fmla="*/ 30 h 116"/>
                <a:gd name="T102" fmla="*/ 167 w 206"/>
                <a:gd name="T103" fmla="*/ 32 h 116"/>
                <a:gd name="T104" fmla="*/ 153 w 206"/>
                <a:gd name="T105" fmla="*/ 68 h 116"/>
                <a:gd name="T106" fmla="*/ 102 w 206"/>
                <a:gd name="T107" fmla="*/ 98 h 116"/>
                <a:gd name="T108" fmla="*/ 19 w 206"/>
                <a:gd name="T109" fmla="*/ 47 h 116"/>
                <a:gd name="T110" fmla="*/ 14 w 206"/>
                <a:gd name="T111" fmla="*/ 43 h 116"/>
                <a:gd name="T112" fmla="*/ 11 w 206"/>
                <a:gd name="T113"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6" h="116">
                  <a:moveTo>
                    <a:pt x="91" y="116"/>
                  </a:moveTo>
                  <a:cubicBezTo>
                    <a:pt x="51" y="116"/>
                    <a:pt x="15" y="91"/>
                    <a:pt x="2" y="53"/>
                  </a:cubicBezTo>
                  <a:cubicBezTo>
                    <a:pt x="0" y="49"/>
                    <a:pt x="3" y="43"/>
                    <a:pt x="8" y="41"/>
                  </a:cubicBezTo>
                  <a:cubicBezTo>
                    <a:pt x="10" y="40"/>
                    <a:pt x="13" y="41"/>
                    <a:pt x="15" y="42"/>
                  </a:cubicBezTo>
                  <a:cubicBezTo>
                    <a:pt x="17" y="43"/>
                    <a:pt x="19" y="45"/>
                    <a:pt x="20" y="47"/>
                  </a:cubicBezTo>
                  <a:cubicBezTo>
                    <a:pt x="32" y="81"/>
                    <a:pt x="66" y="101"/>
                    <a:pt x="102" y="96"/>
                  </a:cubicBezTo>
                  <a:cubicBezTo>
                    <a:pt x="122" y="94"/>
                    <a:pt x="139" y="83"/>
                    <a:pt x="152" y="67"/>
                  </a:cubicBezTo>
                  <a:cubicBezTo>
                    <a:pt x="159" y="57"/>
                    <a:pt x="164" y="46"/>
                    <a:pt x="166" y="34"/>
                  </a:cubicBezTo>
                  <a:cubicBezTo>
                    <a:pt x="163" y="37"/>
                    <a:pt x="163" y="37"/>
                    <a:pt x="163" y="37"/>
                  </a:cubicBezTo>
                  <a:cubicBezTo>
                    <a:pt x="161" y="39"/>
                    <a:pt x="158" y="41"/>
                    <a:pt x="156" y="41"/>
                  </a:cubicBezTo>
                  <a:cubicBezTo>
                    <a:pt x="153" y="41"/>
                    <a:pt x="151" y="40"/>
                    <a:pt x="149" y="38"/>
                  </a:cubicBezTo>
                  <a:cubicBezTo>
                    <a:pt x="147" y="36"/>
                    <a:pt x="146" y="34"/>
                    <a:pt x="146" y="32"/>
                  </a:cubicBezTo>
                  <a:cubicBezTo>
                    <a:pt x="146" y="29"/>
                    <a:pt x="147" y="27"/>
                    <a:pt x="149" y="25"/>
                  </a:cubicBezTo>
                  <a:cubicBezTo>
                    <a:pt x="168" y="3"/>
                    <a:pt x="168" y="3"/>
                    <a:pt x="168" y="3"/>
                  </a:cubicBezTo>
                  <a:cubicBezTo>
                    <a:pt x="170" y="1"/>
                    <a:pt x="172" y="0"/>
                    <a:pt x="175" y="0"/>
                  </a:cubicBezTo>
                  <a:cubicBezTo>
                    <a:pt x="175" y="0"/>
                    <a:pt x="175" y="0"/>
                    <a:pt x="175" y="0"/>
                  </a:cubicBezTo>
                  <a:cubicBezTo>
                    <a:pt x="176" y="0"/>
                    <a:pt x="176" y="0"/>
                    <a:pt x="176" y="0"/>
                  </a:cubicBezTo>
                  <a:cubicBezTo>
                    <a:pt x="179" y="0"/>
                    <a:pt x="181" y="1"/>
                    <a:pt x="183" y="4"/>
                  </a:cubicBezTo>
                  <a:cubicBezTo>
                    <a:pt x="203" y="22"/>
                    <a:pt x="203" y="22"/>
                    <a:pt x="203" y="22"/>
                  </a:cubicBezTo>
                  <a:cubicBezTo>
                    <a:pt x="205" y="24"/>
                    <a:pt x="206" y="26"/>
                    <a:pt x="206" y="29"/>
                  </a:cubicBezTo>
                  <a:cubicBezTo>
                    <a:pt x="206" y="31"/>
                    <a:pt x="206" y="34"/>
                    <a:pt x="204" y="35"/>
                  </a:cubicBezTo>
                  <a:cubicBezTo>
                    <a:pt x="202" y="37"/>
                    <a:pt x="200" y="39"/>
                    <a:pt x="197" y="39"/>
                  </a:cubicBezTo>
                  <a:cubicBezTo>
                    <a:pt x="194" y="39"/>
                    <a:pt x="192" y="38"/>
                    <a:pt x="190" y="36"/>
                  </a:cubicBezTo>
                  <a:cubicBezTo>
                    <a:pt x="185" y="31"/>
                    <a:pt x="185" y="31"/>
                    <a:pt x="185" y="31"/>
                  </a:cubicBezTo>
                  <a:cubicBezTo>
                    <a:pt x="184" y="48"/>
                    <a:pt x="177" y="65"/>
                    <a:pt x="167" y="78"/>
                  </a:cubicBezTo>
                  <a:cubicBezTo>
                    <a:pt x="152" y="99"/>
                    <a:pt x="129" y="112"/>
                    <a:pt x="104" y="115"/>
                  </a:cubicBezTo>
                  <a:cubicBezTo>
                    <a:pt x="100" y="116"/>
                    <a:pt x="96" y="116"/>
                    <a:pt x="91" y="116"/>
                  </a:cubicBezTo>
                  <a:moveTo>
                    <a:pt x="11" y="42"/>
                  </a:moveTo>
                  <a:cubicBezTo>
                    <a:pt x="10" y="42"/>
                    <a:pt x="9" y="42"/>
                    <a:pt x="8" y="42"/>
                  </a:cubicBezTo>
                  <a:cubicBezTo>
                    <a:pt x="4" y="44"/>
                    <a:pt x="2" y="49"/>
                    <a:pt x="3" y="53"/>
                  </a:cubicBezTo>
                  <a:cubicBezTo>
                    <a:pt x="16" y="90"/>
                    <a:pt x="52" y="115"/>
                    <a:pt x="91" y="115"/>
                  </a:cubicBezTo>
                  <a:cubicBezTo>
                    <a:pt x="95" y="115"/>
                    <a:pt x="100" y="115"/>
                    <a:pt x="104" y="114"/>
                  </a:cubicBezTo>
                  <a:cubicBezTo>
                    <a:pt x="129" y="111"/>
                    <a:pt x="151" y="98"/>
                    <a:pt x="166" y="78"/>
                  </a:cubicBezTo>
                  <a:cubicBezTo>
                    <a:pt x="176" y="64"/>
                    <a:pt x="183" y="47"/>
                    <a:pt x="184" y="30"/>
                  </a:cubicBezTo>
                  <a:cubicBezTo>
                    <a:pt x="184" y="29"/>
                    <a:pt x="184" y="29"/>
                    <a:pt x="184" y="29"/>
                  </a:cubicBezTo>
                  <a:cubicBezTo>
                    <a:pt x="191" y="35"/>
                    <a:pt x="191" y="35"/>
                    <a:pt x="191" y="35"/>
                  </a:cubicBezTo>
                  <a:cubicBezTo>
                    <a:pt x="193" y="37"/>
                    <a:pt x="195" y="37"/>
                    <a:pt x="197" y="37"/>
                  </a:cubicBezTo>
                  <a:cubicBezTo>
                    <a:pt x="199" y="37"/>
                    <a:pt x="201" y="36"/>
                    <a:pt x="203" y="35"/>
                  </a:cubicBezTo>
                  <a:cubicBezTo>
                    <a:pt x="204" y="33"/>
                    <a:pt x="205" y="31"/>
                    <a:pt x="205" y="29"/>
                  </a:cubicBezTo>
                  <a:cubicBezTo>
                    <a:pt x="205" y="26"/>
                    <a:pt x="204" y="24"/>
                    <a:pt x="202" y="23"/>
                  </a:cubicBezTo>
                  <a:cubicBezTo>
                    <a:pt x="182" y="4"/>
                    <a:pt x="182" y="4"/>
                    <a:pt x="182" y="4"/>
                  </a:cubicBezTo>
                  <a:cubicBezTo>
                    <a:pt x="180" y="2"/>
                    <a:pt x="178" y="1"/>
                    <a:pt x="176" y="1"/>
                  </a:cubicBezTo>
                  <a:cubicBezTo>
                    <a:pt x="175" y="1"/>
                    <a:pt x="175" y="1"/>
                    <a:pt x="175" y="1"/>
                  </a:cubicBezTo>
                  <a:cubicBezTo>
                    <a:pt x="175" y="1"/>
                    <a:pt x="175" y="1"/>
                    <a:pt x="175" y="1"/>
                  </a:cubicBezTo>
                  <a:cubicBezTo>
                    <a:pt x="173" y="1"/>
                    <a:pt x="171" y="2"/>
                    <a:pt x="169" y="4"/>
                  </a:cubicBezTo>
                  <a:cubicBezTo>
                    <a:pt x="150" y="26"/>
                    <a:pt x="150" y="26"/>
                    <a:pt x="150" y="26"/>
                  </a:cubicBezTo>
                  <a:cubicBezTo>
                    <a:pt x="148" y="27"/>
                    <a:pt x="147" y="29"/>
                    <a:pt x="147" y="32"/>
                  </a:cubicBezTo>
                  <a:cubicBezTo>
                    <a:pt x="148" y="34"/>
                    <a:pt x="149" y="36"/>
                    <a:pt x="150" y="37"/>
                  </a:cubicBezTo>
                  <a:cubicBezTo>
                    <a:pt x="152" y="39"/>
                    <a:pt x="154" y="39"/>
                    <a:pt x="156" y="39"/>
                  </a:cubicBezTo>
                  <a:cubicBezTo>
                    <a:pt x="158" y="39"/>
                    <a:pt x="160" y="38"/>
                    <a:pt x="162" y="37"/>
                  </a:cubicBezTo>
                  <a:cubicBezTo>
                    <a:pt x="168" y="30"/>
                    <a:pt x="168" y="30"/>
                    <a:pt x="168" y="30"/>
                  </a:cubicBezTo>
                  <a:cubicBezTo>
                    <a:pt x="167" y="32"/>
                    <a:pt x="167" y="32"/>
                    <a:pt x="167" y="32"/>
                  </a:cubicBezTo>
                  <a:cubicBezTo>
                    <a:pt x="165" y="45"/>
                    <a:pt x="160" y="57"/>
                    <a:pt x="153" y="68"/>
                  </a:cubicBezTo>
                  <a:cubicBezTo>
                    <a:pt x="140" y="84"/>
                    <a:pt x="122" y="95"/>
                    <a:pt x="102" y="98"/>
                  </a:cubicBezTo>
                  <a:cubicBezTo>
                    <a:pt x="66" y="103"/>
                    <a:pt x="31" y="82"/>
                    <a:pt x="19" y="47"/>
                  </a:cubicBezTo>
                  <a:cubicBezTo>
                    <a:pt x="18" y="45"/>
                    <a:pt x="16" y="44"/>
                    <a:pt x="14" y="43"/>
                  </a:cubicBezTo>
                  <a:cubicBezTo>
                    <a:pt x="13" y="42"/>
                    <a:pt x="12" y="42"/>
                    <a:pt x="11" y="4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5" name="Freeform 713"/>
            <p:cNvSpPr>
              <a:spLocks/>
            </p:cNvSpPr>
            <p:nvPr/>
          </p:nvSpPr>
          <p:spPr bwMode="auto">
            <a:xfrm>
              <a:off x="6030815" y="2156459"/>
              <a:ext cx="441986" cy="283991"/>
            </a:xfrm>
            <a:custGeom>
              <a:avLst/>
              <a:gdLst>
                <a:gd name="T0" fmla="*/ 12 w 187"/>
                <a:gd name="T1" fmla="*/ 120 h 120"/>
                <a:gd name="T2" fmla="*/ 3 w 187"/>
                <a:gd name="T3" fmla="*/ 113 h 120"/>
                <a:gd name="T4" fmla="*/ 21 w 187"/>
                <a:gd name="T5" fmla="*/ 43 h 120"/>
                <a:gd name="T6" fmla="*/ 83 w 187"/>
                <a:gd name="T7" fmla="*/ 6 h 120"/>
                <a:gd name="T8" fmla="*/ 185 w 187"/>
                <a:gd name="T9" fmla="*/ 68 h 120"/>
                <a:gd name="T10" fmla="*/ 180 w 187"/>
                <a:gd name="T11" fmla="*/ 79 h 120"/>
                <a:gd name="T12" fmla="*/ 168 w 187"/>
                <a:gd name="T13" fmla="*/ 74 h 120"/>
                <a:gd name="T14" fmla="*/ 86 w 187"/>
                <a:gd name="T15" fmla="*/ 24 h 120"/>
                <a:gd name="T16" fmla="*/ 35 w 187"/>
                <a:gd name="T17" fmla="*/ 53 h 120"/>
                <a:gd name="T18" fmla="*/ 21 w 187"/>
                <a:gd name="T19" fmla="*/ 110 h 120"/>
                <a:gd name="T20" fmla="*/ 13 w 187"/>
                <a:gd name="T21" fmla="*/ 120 h 120"/>
                <a:gd name="T22" fmla="*/ 12 w 187"/>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120">
                  <a:moveTo>
                    <a:pt x="12" y="120"/>
                  </a:moveTo>
                  <a:cubicBezTo>
                    <a:pt x="8" y="120"/>
                    <a:pt x="4" y="117"/>
                    <a:pt x="3" y="113"/>
                  </a:cubicBezTo>
                  <a:cubicBezTo>
                    <a:pt x="0" y="88"/>
                    <a:pt x="6" y="63"/>
                    <a:pt x="21" y="43"/>
                  </a:cubicBezTo>
                  <a:cubicBezTo>
                    <a:pt x="36" y="23"/>
                    <a:pt x="58" y="10"/>
                    <a:pt x="83" y="6"/>
                  </a:cubicBezTo>
                  <a:cubicBezTo>
                    <a:pt x="127" y="0"/>
                    <a:pt x="170" y="26"/>
                    <a:pt x="185" y="68"/>
                  </a:cubicBezTo>
                  <a:cubicBezTo>
                    <a:pt x="187" y="72"/>
                    <a:pt x="184" y="77"/>
                    <a:pt x="180" y="79"/>
                  </a:cubicBezTo>
                  <a:cubicBezTo>
                    <a:pt x="175" y="81"/>
                    <a:pt x="170" y="78"/>
                    <a:pt x="168" y="74"/>
                  </a:cubicBezTo>
                  <a:cubicBezTo>
                    <a:pt x="156" y="40"/>
                    <a:pt x="121" y="19"/>
                    <a:pt x="86" y="24"/>
                  </a:cubicBezTo>
                  <a:cubicBezTo>
                    <a:pt x="66" y="27"/>
                    <a:pt x="48" y="37"/>
                    <a:pt x="35" y="53"/>
                  </a:cubicBezTo>
                  <a:cubicBezTo>
                    <a:pt x="23" y="70"/>
                    <a:pt x="18" y="90"/>
                    <a:pt x="21" y="110"/>
                  </a:cubicBezTo>
                  <a:cubicBezTo>
                    <a:pt x="22" y="115"/>
                    <a:pt x="18" y="119"/>
                    <a:pt x="13" y="120"/>
                  </a:cubicBezTo>
                  <a:cubicBezTo>
                    <a:pt x="13" y="120"/>
                    <a:pt x="13" y="120"/>
                    <a:pt x="12" y="12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6" name="Freeform 714"/>
            <p:cNvSpPr>
              <a:spLocks/>
            </p:cNvSpPr>
            <p:nvPr/>
          </p:nvSpPr>
          <p:spPr bwMode="auto">
            <a:xfrm>
              <a:off x="6049814" y="2374452"/>
              <a:ext cx="450986" cy="273992"/>
            </a:xfrm>
            <a:custGeom>
              <a:avLst/>
              <a:gdLst>
                <a:gd name="T0" fmla="*/ 90 w 191"/>
                <a:gd name="T1" fmla="*/ 116 h 116"/>
                <a:gd name="T2" fmla="*/ 1 w 191"/>
                <a:gd name="T3" fmla="*/ 53 h 116"/>
                <a:gd name="T4" fmla="*/ 7 w 191"/>
                <a:gd name="T5" fmla="*/ 42 h 116"/>
                <a:gd name="T6" fmla="*/ 18 w 191"/>
                <a:gd name="T7" fmla="*/ 47 h 116"/>
                <a:gd name="T8" fmla="*/ 101 w 191"/>
                <a:gd name="T9" fmla="*/ 97 h 116"/>
                <a:gd name="T10" fmla="*/ 166 w 191"/>
                <a:gd name="T11" fmla="*/ 11 h 116"/>
                <a:gd name="T12" fmla="*/ 173 w 191"/>
                <a:gd name="T13" fmla="*/ 1 h 116"/>
                <a:gd name="T14" fmla="*/ 183 w 191"/>
                <a:gd name="T15" fmla="*/ 8 h 116"/>
                <a:gd name="T16" fmla="*/ 103 w 191"/>
                <a:gd name="T17" fmla="*/ 115 h 116"/>
                <a:gd name="T18" fmla="*/ 90 w 191"/>
                <a:gd name="T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116">
                  <a:moveTo>
                    <a:pt x="90" y="116"/>
                  </a:moveTo>
                  <a:cubicBezTo>
                    <a:pt x="51" y="116"/>
                    <a:pt x="15" y="91"/>
                    <a:pt x="1" y="53"/>
                  </a:cubicBezTo>
                  <a:cubicBezTo>
                    <a:pt x="0" y="49"/>
                    <a:pt x="2" y="44"/>
                    <a:pt x="7" y="42"/>
                  </a:cubicBezTo>
                  <a:cubicBezTo>
                    <a:pt x="11" y="40"/>
                    <a:pt x="17" y="43"/>
                    <a:pt x="18" y="47"/>
                  </a:cubicBezTo>
                  <a:cubicBezTo>
                    <a:pt x="30" y="81"/>
                    <a:pt x="65" y="102"/>
                    <a:pt x="101" y="97"/>
                  </a:cubicBezTo>
                  <a:cubicBezTo>
                    <a:pt x="142" y="91"/>
                    <a:pt x="172" y="52"/>
                    <a:pt x="166" y="11"/>
                  </a:cubicBezTo>
                  <a:cubicBezTo>
                    <a:pt x="165" y="6"/>
                    <a:pt x="168" y="1"/>
                    <a:pt x="173" y="1"/>
                  </a:cubicBezTo>
                  <a:cubicBezTo>
                    <a:pt x="178" y="0"/>
                    <a:pt x="183" y="3"/>
                    <a:pt x="183" y="8"/>
                  </a:cubicBezTo>
                  <a:cubicBezTo>
                    <a:pt x="191" y="60"/>
                    <a:pt x="155" y="107"/>
                    <a:pt x="103" y="115"/>
                  </a:cubicBezTo>
                  <a:cubicBezTo>
                    <a:pt x="99" y="115"/>
                    <a:pt x="94" y="116"/>
                    <a:pt x="90" y="116"/>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7" name="Freeform 715"/>
            <p:cNvSpPr>
              <a:spLocks/>
            </p:cNvSpPr>
            <p:nvPr/>
          </p:nvSpPr>
          <p:spPr bwMode="auto">
            <a:xfrm>
              <a:off x="6243808" y="2246456"/>
              <a:ext cx="39999" cy="160995"/>
            </a:xfrm>
            <a:custGeom>
              <a:avLst/>
              <a:gdLst>
                <a:gd name="T0" fmla="*/ 9 w 17"/>
                <a:gd name="T1" fmla="*/ 0 h 68"/>
                <a:gd name="T2" fmla="*/ 0 w 17"/>
                <a:gd name="T3" fmla="*/ 8 h 68"/>
                <a:gd name="T4" fmla="*/ 0 w 17"/>
                <a:gd name="T5" fmla="*/ 68 h 68"/>
                <a:gd name="T6" fmla="*/ 3 w 17"/>
                <a:gd name="T7" fmla="*/ 65 h 68"/>
                <a:gd name="T8" fmla="*/ 9 w 17"/>
                <a:gd name="T9" fmla="*/ 63 h 68"/>
                <a:gd name="T10" fmla="*/ 15 w 17"/>
                <a:gd name="T11" fmla="*/ 65 h 68"/>
                <a:gd name="T12" fmla="*/ 17 w 17"/>
                <a:gd name="T13" fmla="*/ 68 h 68"/>
                <a:gd name="T14" fmla="*/ 17 w 17"/>
                <a:gd name="T15" fmla="*/ 8 h 68"/>
                <a:gd name="T16" fmla="*/ 9 w 17"/>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8">
                  <a:moveTo>
                    <a:pt x="9" y="0"/>
                  </a:moveTo>
                  <a:cubicBezTo>
                    <a:pt x="4" y="0"/>
                    <a:pt x="0" y="3"/>
                    <a:pt x="0" y="8"/>
                  </a:cubicBezTo>
                  <a:cubicBezTo>
                    <a:pt x="0" y="68"/>
                    <a:pt x="0" y="68"/>
                    <a:pt x="0" y="68"/>
                  </a:cubicBezTo>
                  <a:cubicBezTo>
                    <a:pt x="3" y="65"/>
                    <a:pt x="3" y="65"/>
                    <a:pt x="3" y="65"/>
                  </a:cubicBezTo>
                  <a:cubicBezTo>
                    <a:pt x="5" y="64"/>
                    <a:pt x="7" y="63"/>
                    <a:pt x="9" y="63"/>
                  </a:cubicBezTo>
                  <a:cubicBezTo>
                    <a:pt x="11" y="63"/>
                    <a:pt x="14" y="64"/>
                    <a:pt x="15" y="65"/>
                  </a:cubicBezTo>
                  <a:cubicBezTo>
                    <a:pt x="16" y="66"/>
                    <a:pt x="17" y="67"/>
                    <a:pt x="17" y="68"/>
                  </a:cubicBezTo>
                  <a:cubicBezTo>
                    <a:pt x="17" y="8"/>
                    <a:pt x="17" y="8"/>
                    <a:pt x="17" y="8"/>
                  </a:cubicBezTo>
                  <a:cubicBezTo>
                    <a:pt x="17" y="3"/>
                    <a:pt x="13" y="0"/>
                    <a:pt x="9" y="0"/>
                  </a:cubicBezTo>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8" name="Freeform 716"/>
            <p:cNvSpPr>
              <a:spLocks/>
            </p:cNvSpPr>
            <p:nvPr/>
          </p:nvSpPr>
          <p:spPr bwMode="auto">
            <a:xfrm>
              <a:off x="6243808" y="2243456"/>
              <a:ext cx="41999" cy="165995"/>
            </a:xfrm>
            <a:custGeom>
              <a:avLst/>
              <a:gdLst>
                <a:gd name="T0" fmla="*/ 9 w 18"/>
                <a:gd name="T1" fmla="*/ 0 h 70"/>
                <a:gd name="T2" fmla="*/ 9 w 18"/>
                <a:gd name="T3" fmla="*/ 0 h 70"/>
                <a:gd name="T4" fmla="*/ 0 w 18"/>
                <a:gd name="T5" fmla="*/ 9 h 70"/>
                <a:gd name="T6" fmla="*/ 0 w 18"/>
                <a:gd name="T7" fmla="*/ 69 h 70"/>
                <a:gd name="T8" fmla="*/ 0 w 18"/>
                <a:gd name="T9" fmla="*/ 69 h 70"/>
                <a:gd name="T10" fmla="*/ 0 w 18"/>
                <a:gd name="T11" fmla="*/ 9 h 70"/>
                <a:gd name="T12" fmla="*/ 9 w 18"/>
                <a:gd name="T13" fmla="*/ 1 h 70"/>
                <a:gd name="T14" fmla="*/ 17 w 18"/>
                <a:gd name="T15" fmla="*/ 9 h 70"/>
                <a:gd name="T16" fmla="*/ 17 w 18"/>
                <a:gd name="T17" fmla="*/ 69 h 70"/>
                <a:gd name="T18" fmla="*/ 18 w 18"/>
                <a:gd name="T19" fmla="*/ 70 h 70"/>
                <a:gd name="T20" fmla="*/ 18 w 18"/>
                <a:gd name="T21" fmla="*/ 9 h 70"/>
                <a:gd name="T22" fmla="*/ 9 w 18"/>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70">
                  <a:moveTo>
                    <a:pt x="9" y="0"/>
                  </a:moveTo>
                  <a:cubicBezTo>
                    <a:pt x="9" y="0"/>
                    <a:pt x="9" y="0"/>
                    <a:pt x="9" y="0"/>
                  </a:cubicBezTo>
                  <a:cubicBezTo>
                    <a:pt x="4" y="0"/>
                    <a:pt x="0" y="4"/>
                    <a:pt x="0" y="9"/>
                  </a:cubicBezTo>
                  <a:cubicBezTo>
                    <a:pt x="0" y="69"/>
                    <a:pt x="0" y="69"/>
                    <a:pt x="0" y="69"/>
                  </a:cubicBezTo>
                  <a:cubicBezTo>
                    <a:pt x="0" y="69"/>
                    <a:pt x="0" y="69"/>
                    <a:pt x="0" y="69"/>
                  </a:cubicBezTo>
                  <a:cubicBezTo>
                    <a:pt x="0" y="9"/>
                    <a:pt x="0" y="9"/>
                    <a:pt x="0" y="9"/>
                  </a:cubicBezTo>
                  <a:cubicBezTo>
                    <a:pt x="0" y="4"/>
                    <a:pt x="4" y="1"/>
                    <a:pt x="9" y="1"/>
                  </a:cubicBezTo>
                  <a:cubicBezTo>
                    <a:pt x="13" y="1"/>
                    <a:pt x="17" y="4"/>
                    <a:pt x="17" y="9"/>
                  </a:cubicBezTo>
                  <a:cubicBezTo>
                    <a:pt x="17" y="69"/>
                    <a:pt x="17" y="69"/>
                    <a:pt x="17" y="69"/>
                  </a:cubicBezTo>
                  <a:cubicBezTo>
                    <a:pt x="17" y="69"/>
                    <a:pt x="17" y="70"/>
                    <a:pt x="18" y="70"/>
                  </a:cubicBezTo>
                  <a:cubicBezTo>
                    <a:pt x="18" y="9"/>
                    <a:pt x="18" y="9"/>
                    <a:pt x="18" y="9"/>
                  </a:cubicBezTo>
                  <a:cubicBezTo>
                    <a:pt x="18" y="4"/>
                    <a:pt x="14" y="0"/>
                    <a:pt x="9" y="0"/>
                  </a:cubicBezTo>
                </a:path>
              </a:pathLst>
            </a:custGeom>
            <a:solidFill>
              <a:srgbClr val="0036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29" name="Freeform 717"/>
            <p:cNvSpPr>
              <a:spLocks/>
            </p:cNvSpPr>
            <p:nvPr/>
          </p:nvSpPr>
          <p:spPr bwMode="auto">
            <a:xfrm>
              <a:off x="6174810" y="2409451"/>
              <a:ext cx="98997" cy="94997"/>
            </a:xfrm>
            <a:custGeom>
              <a:avLst/>
              <a:gdLst>
                <a:gd name="T0" fmla="*/ 29 w 42"/>
                <a:gd name="T1" fmla="*/ 0 h 40"/>
                <a:gd name="T2" fmla="*/ 3 w 42"/>
                <a:gd name="T3" fmla="*/ 26 h 40"/>
                <a:gd name="T4" fmla="*/ 3 w 42"/>
                <a:gd name="T5" fmla="*/ 38 h 40"/>
                <a:gd name="T6" fmla="*/ 9 w 42"/>
                <a:gd name="T7" fmla="*/ 40 h 40"/>
                <a:gd name="T8" fmla="*/ 15 w 42"/>
                <a:gd name="T9" fmla="*/ 38 h 40"/>
                <a:gd name="T10" fmla="*/ 42 w 42"/>
                <a:gd name="T11" fmla="*/ 11 h 40"/>
                <a:gd name="T12" fmla="*/ 38 w 42"/>
                <a:gd name="T13" fmla="*/ 12 h 40"/>
                <a:gd name="T14" fmla="*/ 29 w 42"/>
                <a:gd name="T15" fmla="*/ 3 h 40"/>
                <a:gd name="T16" fmla="*/ 29 w 42"/>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0">
                  <a:moveTo>
                    <a:pt x="29" y="0"/>
                  </a:moveTo>
                  <a:cubicBezTo>
                    <a:pt x="3" y="26"/>
                    <a:pt x="3" y="26"/>
                    <a:pt x="3" y="26"/>
                  </a:cubicBezTo>
                  <a:cubicBezTo>
                    <a:pt x="0" y="29"/>
                    <a:pt x="0" y="35"/>
                    <a:pt x="3" y="38"/>
                  </a:cubicBezTo>
                  <a:cubicBezTo>
                    <a:pt x="5" y="39"/>
                    <a:pt x="7" y="40"/>
                    <a:pt x="9" y="40"/>
                  </a:cubicBezTo>
                  <a:cubicBezTo>
                    <a:pt x="11" y="40"/>
                    <a:pt x="13" y="39"/>
                    <a:pt x="15" y="38"/>
                  </a:cubicBezTo>
                  <a:cubicBezTo>
                    <a:pt x="42" y="11"/>
                    <a:pt x="42" y="11"/>
                    <a:pt x="42" y="11"/>
                  </a:cubicBezTo>
                  <a:cubicBezTo>
                    <a:pt x="41" y="11"/>
                    <a:pt x="39" y="12"/>
                    <a:pt x="38" y="12"/>
                  </a:cubicBezTo>
                  <a:cubicBezTo>
                    <a:pt x="33" y="12"/>
                    <a:pt x="29" y="8"/>
                    <a:pt x="29" y="3"/>
                  </a:cubicBezTo>
                  <a:cubicBezTo>
                    <a:pt x="29" y="0"/>
                    <a:pt x="29" y="0"/>
                    <a:pt x="29" y="0"/>
                  </a:cubicBezTo>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0" name="Freeform 718"/>
            <p:cNvSpPr>
              <a:spLocks/>
            </p:cNvSpPr>
            <p:nvPr/>
          </p:nvSpPr>
          <p:spPr bwMode="auto">
            <a:xfrm>
              <a:off x="6172810" y="2407451"/>
              <a:ext cx="112997" cy="98997"/>
            </a:xfrm>
            <a:custGeom>
              <a:avLst/>
              <a:gdLst>
                <a:gd name="T0" fmla="*/ 30 w 48"/>
                <a:gd name="T1" fmla="*/ 0 h 42"/>
                <a:gd name="T2" fmla="*/ 4 w 48"/>
                <a:gd name="T3" fmla="*/ 27 h 42"/>
                <a:gd name="T4" fmla="*/ 4 w 48"/>
                <a:gd name="T5" fmla="*/ 39 h 42"/>
                <a:gd name="T6" fmla="*/ 10 w 48"/>
                <a:gd name="T7" fmla="*/ 42 h 42"/>
                <a:gd name="T8" fmla="*/ 16 w 48"/>
                <a:gd name="T9" fmla="*/ 39 h 42"/>
                <a:gd name="T10" fmla="*/ 45 w 48"/>
                <a:gd name="T11" fmla="*/ 10 h 42"/>
                <a:gd name="T12" fmla="*/ 48 w 48"/>
                <a:gd name="T13" fmla="*/ 1 h 42"/>
                <a:gd name="T14" fmla="*/ 48 w 48"/>
                <a:gd name="T15" fmla="*/ 4 h 42"/>
                <a:gd name="T16" fmla="*/ 43 w 48"/>
                <a:gd name="T17" fmla="*/ 12 h 42"/>
                <a:gd name="T18" fmla="*/ 16 w 48"/>
                <a:gd name="T19" fmla="*/ 39 h 42"/>
                <a:gd name="T20" fmla="*/ 10 w 48"/>
                <a:gd name="T21" fmla="*/ 41 h 42"/>
                <a:gd name="T22" fmla="*/ 4 w 48"/>
                <a:gd name="T23" fmla="*/ 39 h 42"/>
                <a:gd name="T24" fmla="*/ 4 w 48"/>
                <a:gd name="T25" fmla="*/ 27 h 42"/>
                <a:gd name="T26" fmla="*/ 30 w 48"/>
                <a:gd name="T27" fmla="*/ 1 h 42"/>
                <a:gd name="T28" fmla="*/ 30 w 48"/>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2">
                  <a:moveTo>
                    <a:pt x="30" y="0"/>
                  </a:moveTo>
                  <a:cubicBezTo>
                    <a:pt x="4" y="27"/>
                    <a:pt x="4" y="27"/>
                    <a:pt x="4" y="27"/>
                  </a:cubicBezTo>
                  <a:cubicBezTo>
                    <a:pt x="0" y="30"/>
                    <a:pt x="0" y="36"/>
                    <a:pt x="4" y="39"/>
                  </a:cubicBezTo>
                  <a:cubicBezTo>
                    <a:pt x="5" y="41"/>
                    <a:pt x="8" y="42"/>
                    <a:pt x="10" y="42"/>
                  </a:cubicBezTo>
                  <a:cubicBezTo>
                    <a:pt x="12" y="42"/>
                    <a:pt x="14" y="41"/>
                    <a:pt x="16" y="39"/>
                  </a:cubicBezTo>
                  <a:cubicBezTo>
                    <a:pt x="45" y="10"/>
                    <a:pt x="45" y="10"/>
                    <a:pt x="45" y="10"/>
                  </a:cubicBezTo>
                  <a:cubicBezTo>
                    <a:pt x="48" y="8"/>
                    <a:pt x="48" y="4"/>
                    <a:pt x="48" y="1"/>
                  </a:cubicBezTo>
                  <a:cubicBezTo>
                    <a:pt x="48" y="4"/>
                    <a:pt x="48" y="4"/>
                    <a:pt x="48" y="4"/>
                  </a:cubicBezTo>
                  <a:cubicBezTo>
                    <a:pt x="48" y="7"/>
                    <a:pt x="46" y="10"/>
                    <a:pt x="43" y="12"/>
                  </a:cubicBezTo>
                  <a:cubicBezTo>
                    <a:pt x="16" y="39"/>
                    <a:pt x="16" y="39"/>
                    <a:pt x="16" y="39"/>
                  </a:cubicBezTo>
                  <a:cubicBezTo>
                    <a:pt x="14" y="40"/>
                    <a:pt x="12" y="41"/>
                    <a:pt x="10" y="41"/>
                  </a:cubicBezTo>
                  <a:cubicBezTo>
                    <a:pt x="8" y="41"/>
                    <a:pt x="6" y="40"/>
                    <a:pt x="4" y="39"/>
                  </a:cubicBezTo>
                  <a:cubicBezTo>
                    <a:pt x="1" y="36"/>
                    <a:pt x="1" y="30"/>
                    <a:pt x="4" y="27"/>
                  </a:cubicBezTo>
                  <a:cubicBezTo>
                    <a:pt x="30" y="1"/>
                    <a:pt x="30" y="1"/>
                    <a:pt x="30" y="1"/>
                  </a:cubicBezTo>
                  <a:cubicBezTo>
                    <a:pt x="30" y="0"/>
                    <a:pt x="30" y="0"/>
                    <a:pt x="30" y="0"/>
                  </a:cubicBezTo>
                </a:path>
              </a:pathLst>
            </a:custGeom>
            <a:solidFill>
              <a:srgbClr val="0036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1" name="Freeform 719"/>
            <p:cNvSpPr>
              <a:spLocks/>
            </p:cNvSpPr>
            <p:nvPr/>
          </p:nvSpPr>
          <p:spPr bwMode="auto">
            <a:xfrm>
              <a:off x="6243808" y="2395452"/>
              <a:ext cx="41999" cy="41999"/>
            </a:xfrm>
            <a:custGeom>
              <a:avLst/>
              <a:gdLst>
                <a:gd name="T0" fmla="*/ 9 w 18"/>
                <a:gd name="T1" fmla="*/ 0 h 18"/>
                <a:gd name="T2" fmla="*/ 3 w 18"/>
                <a:gd name="T3" fmla="*/ 2 h 18"/>
                <a:gd name="T4" fmla="*/ 0 w 18"/>
                <a:gd name="T5" fmla="*/ 5 h 18"/>
                <a:gd name="T6" fmla="*/ 0 w 18"/>
                <a:gd name="T7" fmla="*/ 6 h 18"/>
                <a:gd name="T8" fmla="*/ 0 w 18"/>
                <a:gd name="T9" fmla="*/ 6 h 18"/>
                <a:gd name="T10" fmla="*/ 0 w 18"/>
                <a:gd name="T11" fmla="*/ 9 h 18"/>
                <a:gd name="T12" fmla="*/ 9 w 18"/>
                <a:gd name="T13" fmla="*/ 18 h 18"/>
                <a:gd name="T14" fmla="*/ 13 w 18"/>
                <a:gd name="T15" fmla="*/ 17 h 18"/>
                <a:gd name="T16" fmla="*/ 15 w 18"/>
                <a:gd name="T17" fmla="*/ 15 h 18"/>
                <a:gd name="T18" fmla="*/ 17 w 18"/>
                <a:gd name="T19" fmla="*/ 7 h 18"/>
                <a:gd name="T20" fmla="*/ 17 w 18"/>
                <a:gd name="T21" fmla="*/ 6 h 18"/>
                <a:gd name="T22" fmla="*/ 17 w 18"/>
                <a:gd name="T23" fmla="*/ 5 h 18"/>
                <a:gd name="T24" fmla="*/ 15 w 18"/>
                <a:gd name="T25" fmla="*/ 2 h 18"/>
                <a:gd name="T26" fmla="*/ 9 w 18"/>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8">
                  <a:moveTo>
                    <a:pt x="9" y="0"/>
                  </a:moveTo>
                  <a:cubicBezTo>
                    <a:pt x="7" y="0"/>
                    <a:pt x="5" y="1"/>
                    <a:pt x="3" y="2"/>
                  </a:cubicBezTo>
                  <a:cubicBezTo>
                    <a:pt x="0" y="5"/>
                    <a:pt x="0" y="5"/>
                    <a:pt x="0" y="5"/>
                  </a:cubicBezTo>
                  <a:cubicBezTo>
                    <a:pt x="0" y="6"/>
                    <a:pt x="0" y="6"/>
                    <a:pt x="0" y="6"/>
                  </a:cubicBezTo>
                  <a:cubicBezTo>
                    <a:pt x="0" y="6"/>
                    <a:pt x="0" y="6"/>
                    <a:pt x="0" y="6"/>
                  </a:cubicBezTo>
                  <a:cubicBezTo>
                    <a:pt x="0" y="9"/>
                    <a:pt x="0" y="9"/>
                    <a:pt x="0" y="9"/>
                  </a:cubicBezTo>
                  <a:cubicBezTo>
                    <a:pt x="0" y="14"/>
                    <a:pt x="4" y="18"/>
                    <a:pt x="9" y="18"/>
                  </a:cubicBezTo>
                  <a:cubicBezTo>
                    <a:pt x="10" y="18"/>
                    <a:pt x="12" y="17"/>
                    <a:pt x="13" y="17"/>
                  </a:cubicBezTo>
                  <a:cubicBezTo>
                    <a:pt x="15" y="15"/>
                    <a:pt x="15" y="15"/>
                    <a:pt x="15" y="15"/>
                  </a:cubicBezTo>
                  <a:cubicBezTo>
                    <a:pt x="17" y="12"/>
                    <a:pt x="18" y="9"/>
                    <a:pt x="17" y="7"/>
                  </a:cubicBezTo>
                  <a:cubicBezTo>
                    <a:pt x="17" y="6"/>
                    <a:pt x="17" y="6"/>
                    <a:pt x="17" y="6"/>
                  </a:cubicBezTo>
                  <a:cubicBezTo>
                    <a:pt x="17" y="5"/>
                    <a:pt x="17" y="5"/>
                    <a:pt x="17" y="5"/>
                  </a:cubicBezTo>
                  <a:cubicBezTo>
                    <a:pt x="17" y="4"/>
                    <a:pt x="16" y="3"/>
                    <a:pt x="15" y="2"/>
                  </a:cubicBezTo>
                  <a:cubicBezTo>
                    <a:pt x="14" y="1"/>
                    <a:pt x="11" y="0"/>
                    <a:pt x="9" y="0"/>
                  </a:cubicBezTo>
                </a:path>
              </a:pathLst>
            </a:custGeom>
            <a:solidFill>
              <a:srgbClr val="F57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2" name="Freeform 720"/>
            <p:cNvSpPr>
              <a:spLocks noEditPoints="1"/>
            </p:cNvSpPr>
            <p:nvPr/>
          </p:nvSpPr>
          <p:spPr bwMode="auto">
            <a:xfrm>
              <a:off x="6243808" y="2407451"/>
              <a:ext cx="41999" cy="27999"/>
            </a:xfrm>
            <a:custGeom>
              <a:avLst/>
              <a:gdLst>
                <a:gd name="T0" fmla="*/ 17 w 18"/>
                <a:gd name="T1" fmla="*/ 0 h 12"/>
                <a:gd name="T2" fmla="*/ 17 w 18"/>
                <a:gd name="T3" fmla="*/ 1 h 12"/>
                <a:gd name="T4" fmla="*/ 17 w 18"/>
                <a:gd name="T5" fmla="*/ 2 h 12"/>
                <a:gd name="T6" fmla="*/ 15 w 18"/>
                <a:gd name="T7" fmla="*/ 10 h 12"/>
                <a:gd name="T8" fmla="*/ 13 w 18"/>
                <a:gd name="T9" fmla="*/ 12 h 12"/>
                <a:gd name="T10" fmla="*/ 18 w 18"/>
                <a:gd name="T11" fmla="*/ 4 h 12"/>
                <a:gd name="T12" fmla="*/ 18 w 18"/>
                <a:gd name="T13" fmla="*/ 1 h 12"/>
                <a:gd name="T14" fmla="*/ 17 w 18"/>
                <a:gd name="T15" fmla="*/ 0 h 12"/>
                <a:gd name="T16" fmla="*/ 0 w 18"/>
                <a:gd name="T17" fmla="*/ 0 h 12"/>
                <a:gd name="T18" fmla="*/ 0 w 18"/>
                <a:gd name="T19" fmla="*/ 0 h 12"/>
                <a:gd name="T20" fmla="*/ 0 w 18"/>
                <a:gd name="T21" fmla="*/ 1 h 12"/>
                <a:gd name="T22" fmla="*/ 0 w 18"/>
                <a:gd name="T23" fmla="*/ 1 h 12"/>
                <a:gd name="T24" fmla="*/ 0 w 18"/>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2">
                  <a:moveTo>
                    <a:pt x="17" y="0"/>
                  </a:moveTo>
                  <a:cubicBezTo>
                    <a:pt x="17" y="1"/>
                    <a:pt x="17" y="1"/>
                    <a:pt x="17" y="1"/>
                  </a:cubicBezTo>
                  <a:cubicBezTo>
                    <a:pt x="17" y="2"/>
                    <a:pt x="17" y="2"/>
                    <a:pt x="17" y="2"/>
                  </a:cubicBezTo>
                  <a:cubicBezTo>
                    <a:pt x="18" y="4"/>
                    <a:pt x="17" y="7"/>
                    <a:pt x="15" y="10"/>
                  </a:cubicBezTo>
                  <a:cubicBezTo>
                    <a:pt x="13" y="12"/>
                    <a:pt x="13" y="12"/>
                    <a:pt x="13" y="12"/>
                  </a:cubicBezTo>
                  <a:cubicBezTo>
                    <a:pt x="16" y="10"/>
                    <a:pt x="18" y="7"/>
                    <a:pt x="18" y="4"/>
                  </a:cubicBezTo>
                  <a:cubicBezTo>
                    <a:pt x="18" y="1"/>
                    <a:pt x="18" y="1"/>
                    <a:pt x="18" y="1"/>
                  </a:cubicBezTo>
                  <a:cubicBezTo>
                    <a:pt x="17" y="1"/>
                    <a:pt x="17" y="0"/>
                    <a:pt x="17" y="0"/>
                  </a:cubicBezTo>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0024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3" name="Freeform 721"/>
            <p:cNvSpPr>
              <a:spLocks/>
            </p:cNvSpPr>
            <p:nvPr/>
          </p:nvSpPr>
          <p:spPr bwMode="auto">
            <a:xfrm>
              <a:off x="5990816" y="2350453"/>
              <a:ext cx="48999" cy="77998"/>
            </a:xfrm>
            <a:custGeom>
              <a:avLst/>
              <a:gdLst>
                <a:gd name="T0" fmla="*/ 9 w 21"/>
                <a:gd name="T1" fmla="*/ 0 h 33"/>
                <a:gd name="T2" fmla="*/ 9 w 21"/>
                <a:gd name="T3" fmla="*/ 0 h 33"/>
                <a:gd name="T4" fmla="*/ 3 w 21"/>
                <a:gd name="T5" fmla="*/ 3 h 33"/>
                <a:gd name="T6" fmla="*/ 0 w 21"/>
                <a:gd name="T7" fmla="*/ 9 h 33"/>
                <a:gd name="T8" fmla="*/ 3 w 21"/>
                <a:gd name="T9" fmla="*/ 14 h 33"/>
                <a:gd name="T10" fmla="*/ 21 w 21"/>
                <a:gd name="T11" fmla="*/ 33 h 33"/>
                <a:gd name="T12" fmla="*/ 20 w 21"/>
                <a:gd name="T13" fmla="*/ 31 h 33"/>
                <a:gd name="T14" fmla="*/ 20 w 21"/>
                <a:gd name="T15" fmla="*/ 8 h 33"/>
                <a:gd name="T16" fmla="*/ 15 w 21"/>
                <a:gd name="T17" fmla="*/ 3 h 33"/>
                <a:gd name="T18" fmla="*/ 9 w 21"/>
                <a:gd name="T1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3">
                  <a:moveTo>
                    <a:pt x="9" y="0"/>
                  </a:moveTo>
                  <a:cubicBezTo>
                    <a:pt x="9" y="0"/>
                    <a:pt x="9" y="0"/>
                    <a:pt x="9" y="0"/>
                  </a:cubicBezTo>
                  <a:cubicBezTo>
                    <a:pt x="6" y="0"/>
                    <a:pt x="4" y="1"/>
                    <a:pt x="3" y="3"/>
                  </a:cubicBezTo>
                  <a:cubicBezTo>
                    <a:pt x="1" y="4"/>
                    <a:pt x="0" y="6"/>
                    <a:pt x="0" y="9"/>
                  </a:cubicBezTo>
                  <a:cubicBezTo>
                    <a:pt x="0" y="11"/>
                    <a:pt x="1" y="13"/>
                    <a:pt x="3" y="14"/>
                  </a:cubicBezTo>
                  <a:cubicBezTo>
                    <a:pt x="21" y="33"/>
                    <a:pt x="21" y="33"/>
                    <a:pt x="21" y="33"/>
                  </a:cubicBezTo>
                  <a:cubicBezTo>
                    <a:pt x="21" y="32"/>
                    <a:pt x="20" y="31"/>
                    <a:pt x="20" y="31"/>
                  </a:cubicBezTo>
                  <a:cubicBezTo>
                    <a:pt x="19" y="23"/>
                    <a:pt x="19" y="15"/>
                    <a:pt x="20" y="8"/>
                  </a:cubicBezTo>
                  <a:cubicBezTo>
                    <a:pt x="15" y="3"/>
                    <a:pt x="15" y="3"/>
                    <a:pt x="15" y="3"/>
                  </a:cubicBezTo>
                  <a:cubicBezTo>
                    <a:pt x="13" y="1"/>
                    <a:pt x="11" y="0"/>
                    <a:pt x="9"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4" name="Freeform 722"/>
            <p:cNvSpPr>
              <a:spLocks/>
            </p:cNvSpPr>
            <p:nvPr/>
          </p:nvSpPr>
          <p:spPr bwMode="auto">
            <a:xfrm>
              <a:off x="5990816" y="2350453"/>
              <a:ext cx="53998" cy="82997"/>
            </a:xfrm>
            <a:custGeom>
              <a:avLst/>
              <a:gdLst>
                <a:gd name="T0" fmla="*/ 9 w 23"/>
                <a:gd name="T1" fmla="*/ 0 h 35"/>
                <a:gd name="T2" fmla="*/ 9 w 23"/>
                <a:gd name="T3" fmla="*/ 0 h 35"/>
                <a:gd name="T4" fmla="*/ 2 w 23"/>
                <a:gd name="T5" fmla="*/ 2 h 35"/>
                <a:gd name="T6" fmla="*/ 0 w 23"/>
                <a:gd name="T7" fmla="*/ 8 h 35"/>
                <a:gd name="T8" fmla="*/ 0 w 23"/>
                <a:gd name="T9" fmla="*/ 9 h 35"/>
                <a:gd name="T10" fmla="*/ 2 w 23"/>
                <a:gd name="T11" fmla="*/ 15 h 35"/>
                <a:gd name="T12" fmla="*/ 23 w 23"/>
                <a:gd name="T13" fmla="*/ 35 h 35"/>
                <a:gd name="T14" fmla="*/ 21 w 23"/>
                <a:gd name="T15" fmla="*/ 33 h 35"/>
                <a:gd name="T16" fmla="*/ 3 w 23"/>
                <a:gd name="T17" fmla="*/ 14 h 35"/>
                <a:gd name="T18" fmla="*/ 0 w 23"/>
                <a:gd name="T19" fmla="*/ 9 h 35"/>
                <a:gd name="T20" fmla="*/ 3 w 23"/>
                <a:gd name="T21" fmla="*/ 3 h 35"/>
                <a:gd name="T22" fmla="*/ 9 w 23"/>
                <a:gd name="T23" fmla="*/ 0 h 35"/>
                <a:gd name="T24" fmla="*/ 9 w 23"/>
                <a:gd name="T25" fmla="*/ 0 h 35"/>
                <a:gd name="T26" fmla="*/ 15 w 23"/>
                <a:gd name="T27" fmla="*/ 3 h 35"/>
                <a:gd name="T28" fmla="*/ 20 w 23"/>
                <a:gd name="T29" fmla="*/ 8 h 35"/>
                <a:gd name="T30" fmla="*/ 20 w 23"/>
                <a:gd name="T31" fmla="*/ 7 h 35"/>
                <a:gd name="T32" fmla="*/ 15 w 23"/>
                <a:gd name="T33" fmla="*/ 2 h 35"/>
                <a:gd name="T34" fmla="*/ 9 w 23"/>
                <a:gd name="T3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35">
                  <a:moveTo>
                    <a:pt x="9" y="0"/>
                  </a:moveTo>
                  <a:cubicBezTo>
                    <a:pt x="9" y="0"/>
                    <a:pt x="9" y="0"/>
                    <a:pt x="9" y="0"/>
                  </a:cubicBezTo>
                  <a:cubicBezTo>
                    <a:pt x="6" y="0"/>
                    <a:pt x="4" y="1"/>
                    <a:pt x="2" y="2"/>
                  </a:cubicBezTo>
                  <a:cubicBezTo>
                    <a:pt x="1" y="4"/>
                    <a:pt x="0" y="6"/>
                    <a:pt x="0" y="8"/>
                  </a:cubicBezTo>
                  <a:cubicBezTo>
                    <a:pt x="0" y="9"/>
                    <a:pt x="0" y="9"/>
                    <a:pt x="0" y="9"/>
                  </a:cubicBezTo>
                  <a:cubicBezTo>
                    <a:pt x="0" y="11"/>
                    <a:pt x="1" y="13"/>
                    <a:pt x="2" y="15"/>
                  </a:cubicBezTo>
                  <a:cubicBezTo>
                    <a:pt x="23" y="35"/>
                    <a:pt x="23" y="35"/>
                    <a:pt x="23" y="35"/>
                  </a:cubicBezTo>
                  <a:cubicBezTo>
                    <a:pt x="22" y="35"/>
                    <a:pt x="21" y="34"/>
                    <a:pt x="21" y="33"/>
                  </a:cubicBezTo>
                  <a:cubicBezTo>
                    <a:pt x="3" y="14"/>
                    <a:pt x="3" y="14"/>
                    <a:pt x="3" y="14"/>
                  </a:cubicBezTo>
                  <a:cubicBezTo>
                    <a:pt x="1" y="13"/>
                    <a:pt x="0" y="11"/>
                    <a:pt x="0" y="9"/>
                  </a:cubicBezTo>
                  <a:cubicBezTo>
                    <a:pt x="0" y="6"/>
                    <a:pt x="1" y="4"/>
                    <a:pt x="3" y="3"/>
                  </a:cubicBezTo>
                  <a:cubicBezTo>
                    <a:pt x="4" y="1"/>
                    <a:pt x="6" y="0"/>
                    <a:pt x="9" y="0"/>
                  </a:cubicBezTo>
                  <a:cubicBezTo>
                    <a:pt x="9" y="0"/>
                    <a:pt x="9" y="0"/>
                    <a:pt x="9" y="0"/>
                  </a:cubicBezTo>
                  <a:cubicBezTo>
                    <a:pt x="11" y="0"/>
                    <a:pt x="13" y="1"/>
                    <a:pt x="15" y="3"/>
                  </a:cubicBezTo>
                  <a:cubicBezTo>
                    <a:pt x="20" y="8"/>
                    <a:pt x="20" y="8"/>
                    <a:pt x="20" y="8"/>
                  </a:cubicBezTo>
                  <a:cubicBezTo>
                    <a:pt x="20" y="8"/>
                    <a:pt x="20" y="8"/>
                    <a:pt x="20" y="7"/>
                  </a:cubicBezTo>
                  <a:cubicBezTo>
                    <a:pt x="15" y="2"/>
                    <a:pt x="15" y="2"/>
                    <a:pt x="15" y="2"/>
                  </a:cubicBezTo>
                  <a:cubicBezTo>
                    <a:pt x="13" y="1"/>
                    <a:pt x="11" y="0"/>
                    <a:pt x="9" y="0"/>
                  </a:cubicBezTo>
                </a:path>
              </a:pathLst>
            </a:custGeom>
            <a:solidFill>
              <a:srgbClr val="003B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5" name="Freeform 723"/>
            <p:cNvSpPr>
              <a:spLocks/>
            </p:cNvSpPr>
            <p:nvPr/>
          </p:nvSpPr>
          <p:spPr bwMode="auto">
            <a:xfrm>
              <a:off x="6035815" y="2366452"/>
              <a:ext cx="22999" cy="66998"/>
            </a:xfrm>
            <a:custGeom>
              <a:avLst/>
              <a:gdLst>
                <a:gd name="T0" fmla="*/ 1 w 10"/>
                <a:gd name="T1" fmla="*/ 0 h 28"/>
                <a:gd name="T2" fmla="*/ 1 w 10"/>
                <a:gd name="T3" fmla="*/ 1 h 28"/>
                <a:gd name="T4" fmla="*/ 1 w 10"/>
                <a:gd name="T5" fmla="*/ 24 h 28"/>
                <a:gd name="T6" fmla="*/ 2 w 10"/>
                <a:gd name="T7" fmla="*/ 26 h 28"/>
                <a:gd name="T8" fmla="*/ 4 w 10"/>
                <a:gd name="T9" fmla="*/ 28 h 28"/>
                <a:gd name="T10" fmla="*/ 4 w 10"/>
                <a:gd name="T11" fmla="*/ 28 h 28"/>
                <a:gd name="T12" fmla="*/ 4 w 10"/>
                <a:gd name="T13" fmla="*/ 16 h 28"/>
                <a:gd name="T14" fmla="*/ 10 w 10"/>
                <a:gd name="T15" fmla="*/ 10 h 28"/>
                <a:gd name="T16" fmla="*/ 1 w 10"/>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8">
                  <a:moveTo>
                    <a:pt x="1" y="0"/>
                  </a:moveTo>
                  <a:cubicBezTo>
                    <a:pt x="1" y="1"/>
                    <a:pt x="1" y="1"/>
                    <a:pt x="1" y="1"/>
                  </a:cubicBezTo>
                  <a:cubicBezTo>
                    <a:pt x="0" y="8"/>
                    <a:pt x="0" y="16"/>
                    <a:pt x="1" y="24"/>
                  </a:cubicBezTo>
                  <a:cubicBezTo>
                    <a:pt x="1" y="24"/>
                    <a:pt x="2" y="25"/>
                    <a:pt x="2" y="26"/>
                  </a:cubicBezTo>
                  <a:cubicBezTo>
                    <a:pt x="2" y="27"/>
                    <a:pt x="3" y="28"/>
                    <a:pt x="4" y="28"/>
                  </a:cubicBezTo>
                  <a:cubicBezTo>
                    <a:pt x="4" y="28"/>
                    <a:pt x="4" y="28"/>
                    <a:pt x="4" y="28"/>
                  </a:cubicBezTo>
                  <a:cubicBezTo>
                    <a:pt x="0" y="25"/>
                    <a:pt x="0" y="19"/>
                    <a:pt x="4" y="16"/>
                  </a:cubicBezTo>
                  <a:cubicBezTo>
                    <a:pt x="10" y="10"/>
                    <a:pt x="10" y="10"/>
                    <a:pt x="10" y="10"/>
                  </a:cubicBezTo>
                  <a:cubicBezTo>
                    <a:pt x="1" y="0"/>
                    <a:pt x="1" y="0"/>
                    <a:pt x="1"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6" name="Freeform 724"/>
            <p:cNvSpPr>
              <a:spLocks/>
            </p:cNvSpPr>
            <p:nvPr/>
          </p:nvSpPr>
          <p:spPr bwMode="auto">
            <a:xfrm>
              <a:off x="6077813" y="2352453"/>
              <a:ext cx="51998" cy="75998"/>
            </a:xfrm>
            <a:custGeom>
              <a:avLst/>
              <a:gdLst>
                <a:gd name="T0" fmla="*/ 13 w 22"/>
                <a:gd name="T1" fmla="*/ 0 h 32"/>
                <a:gd name="T2" fmla="*/ 13 w 22"/>
                <a:gd name="T3" fmla="*/ 0 h 32"/>
                <a:gd name="T4" fmla="*/ 7 w 22"/>
                <a:gd name="T5" fmla="*/ 2 h 32"/>
                <a:gd name="T6" fmla="*/ 1 w 22"/>
                <a:gd name="T7" fmla="*/ 8 h 32"/>
                <a:gd name="T8" fmla="*/ 1 w 22"/>
                <a:gd name="T9" fmla="*/ 27 h 32"/>
                <a:gd name="T10" fmla="*/ 1 w 22"/>
                <a:gd name="T11" fmla="*/ 28 h 32"/>
                <a:gd name="T12" fmla="*/ 1 w 22"/>
                <a:gd name="T13" fmla="*/ 28 h 32"/>
                <a:gd name="T14" fmla="*/ 0 w 22"/>
                <a:gd name="T15" fmla="*/ 32 h 32"/>
                <a:gd name="T16" fmla="*/ 19 w 22"/>
                <a:gd name="T17" fmla="*/ 14 h 32"/>
                <a:gd name="T18" fmla="*/ 19 w 22"/>
                <a:gd name="T19" fmla="*/ 2 h 32"/>
                <a:gd name="T20" fmla="*/ 13 w 2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2">
                  <a:moveTo>
                    <a:pt x="13" y="0"/>
                  </a:moveTo>
                  <a:cubicBezTo>
                    <a:pt x="13" y="0"/>
                    <a:pt x="13" y="0"/>
                    <a:pt x="13" y="0"/>
                  </a:cubicBezTo>
                  <a:cubicBezTo>
                    <a:pt x="11" y="0"/>
                    <a:pt x="9" y="0"/>
                    <a:pt x="7" y="2"/>
                  </a:cubicBezTo>
                  <a:cubicBezTo>
                    <a:pt x="1" y="8"/>
                    <a:pt x="1" y="8"/>
                    <a:pt x="1" y="8"/>
                  </a:cubicBezTo>
                  <a:cubicBezTo>
                    <a:pt x="0" y="14"/>
                    <a:pt x="0" y="21"/>
                    <a:pt x="1" y="27"/>
                  </a:cubicBezTo>
                  <a:cubicBezTo>
                    <a:pt x="1" y="27"/>
                    <a:pt x="1" y="28"/>
                    <a:pt x="1" y="28"/>
                  </a:cubicBezTo>
                  <a:cubicBezTo>
                    <a:pt x="1" y="28"/>
                    <a:pt x="1" y="28"/>
                    <a:pt x="1" y="28"/>
                  </a:cubicBezTo>
                  <a:cubicBezTo>
                    <a:pt x="1" y="30"/>
                    <a:pt x="1" y="31"/>
                    <a:pt x="0" y="32"/>
                  </a:cubicBezTo>
                  <a:cubicBezTo>
                    <a:pt x="19" y="14"/>
                    <a:pt x="19" y="14"/>
                    <a:pt x="19" y="14"/>
                  </a:cubicBezTo>
                  <a:cubicBezTo>
                    <a:pt x="22" y="11"/>
                    <a:pt x="22" y="5"/>
                    <a:pt x="19" y="2"/>
                  </a:cubicBezTo>
                  <a:cubicBezTo>
                    <a:pt x="17" y="1"/>
                    <a:pt x="15" y="0"/>
                    <a:pt x="13"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7" name="Freeform 725"/>
            <p:cNvSpPr>
              <a:spLocks noEditPoints="1"/>
            </p:cNvSpPr>
            <p:nvPr/>
          </p:nvSpPr>
          <p:spPr bwMode="auto">
            <a:xfrm>
              <a:off x="6047814" y="2350453"/>
              <a:ext cx="84997" cy="89997"/>
            </a:xfrm>
            <a:custGeom>
              <a:avLst/>
              <a:gdLst>
                <a:gd name="T0" fmla="*/ 2 w 36"/>
                <a:gd name="T1" fmla="*/ 38 h 38"/>
                <a:gd name="T2" fmla="*/ 2 w 36"/>
                <a:gd name="T3" fmla="*/ 38 h 38"/>
                <a:gd name="T4" fmla="*/ 2 w 36"/>
                <a:gd name="T5" fmla="*/ 38 h 38"/>
                <a:gd name="T6" fmla="*/ 0 w 36"/>
                <a:gd name="T7" fmla="*/ 36 h 38"/>
                <a:gd name="T8" fmla="*/ 2 w 36"/>
                <a:gd name="T9" fmla="*/ 38 h 38"/>
                <a:gd name="T10" fmla="*/ 2 w 36"/>
                <a:gd name="T11" fmla="*/ 38 h 38"/>
                <a:gd name="T12" fmla="*/ 2 w 36"/>
                <a:gd name="T13" fmla="*/ 38 h 38"/>
                <a:gd name="T14" fmla="*/ 2 w 36"/>
                <a:gd name="T15" fmla="*/ 38 h 38"/>
                <a:gd name="T16" fmla="*/ 2 w 36"/>
                <a:gd name="T17" fmla="*/ 38 h 38"/>
                <a:gd name="T18" fmla="*/ 2 w 36"/>
                <a:gd name="T19" fmla="*/ 38 h 38"/>
                <a:gd name="T20" fmla="*/ 2 w 36"/>
                <a:gd name="T21" fmla="*/ 37 h 38"/>
                <a:gd name="T22" fmla="*/ 2 w 36"/>
                <a:gd name="T23" fmla="*/ 37 h 38"/>
                <a:gd name="T24" fmla="*/ 0 w 36"/>
                <a:gd name="T25" fmla="*/ 37 h 38"/>
                <a:gd name="T26" fmla="*/ 0 w 36"/>
                <a:gd name="T27" fmla="*/ 37 h 38"/>
                <a:gd name="T28" fmla="*/ 0 w 36"/>
                <a:gd name="T29" fmla="*/ 37 h 38"/>
                <a:gd name="T30" fmla="*/ 0 w 36"/>
                <a:gd name="T31" fmla="*/ 37 h 38"/>
                <a:gd name="T32" fmla="*/ 0 w 36"/>
                <a:gd name="T33" fmla="*/ 37 h 38"/>
                <a:gd name="T34" fmla="*/ 0 w 36"/>
                <a:gd name="T35" fmla="*/ 36 h 38"/>
                <a:gd name="T36" fmla="*/ 0 w 36"/>
                <a:gd name="T37" fmla="*/ 36 h 38"/>
                <a:gd name="T38" fmla="*/ 0 w 36"/>
                <a:gd name="T39" fmla="*/ 36 h 38"/>
                <a:gd name="T40" fmla="*/ 0 w 36"/>
                <a:gd name="T41" fmla="*/ 36 h 38"/>
                <a:gd name="T42" fmla="*/ 26 w 36"/>
                <a:gd name="T43" fmla="*/ 0 h 38"/>
                <a:gd name="T44" fmla="*/ 20 w 36"/>
                <a:gd name="T45" fmla="*/ 3 h 38"/>
                <a:gd name="T46" fmla="*/ 14 w 36"/>
                <a:gd name="T47" fmla="*/ 8 h 38"/>
                <a:gd name="T48" fmla="*/ 14 w 36"/>
                <a:gd name="T49" fmla="*/ 9 h 38"/>
                <a:gd name="T50" fmla="*/ 20 w 36"/>
                <a:gd name="T51" fmla="*/ 3 h 38"/>
                <a:gd name="T52" fmla="*/ 26 w 36"/>
                <a:gd name="T53" fmla="*/ 1 h 38"/>
                <a:gd name="T54" fmla="*/ 26 w 36"/>
                <a:gd name="T55" fmla="*/ 1 h 38"/>
                <a:gd name="T56" fmla="*/ 32 w 36"/>
                <a:gd name="T57" fmla="*/ 3 h 38"/>
                <a:gd name="T58" fmla="*/ 32 w 36"/>
                <a:gd name="T59" fmla="*/ 15 h 38"/>
                <a:gd name="T60" fmla="*/ 13 w 36"/>
                <a:gd name="T61" fmla="*/ 33 h 38"/>
                <a:gd name="T62" fmla="*/ 11 w 36"/>
                <a:gd name="T63" fmla="*/ 36 h 38"/>
                <a:gd name="T64" fmla="*/ 6 w 36"/>
                <a:gd name="T65" fmla="*/ 38 h 38"/>
                <a:gd name="T66" fmla="*/ 6 w 36"/>
                <a:gd name="T67" fmla="*/ 38 h 38"/>
                <a:gd name="T68" fmla="*/ 6 w 36"/>
                <a:gd name="T69" fmla="*/ 38 h 38"/>
                <a:gd name="T70" fmla="*/ 5 w 36"/>
                <a:gd name="T71" fmla="*/ 38 h 38"/>
                <a:gd name="T72" fmla="*/ 11 w 36"/>
                <a:gd name="T73" fmla="*/ 36 h 38"/>
                <a:gd name="T74" fmla="*/ 32 w 36"/>
                <a:gd name="T75" fmla="*/ 15 h 38"/>
                <a:gd name="T76" fmla="*/ 32 w 36"/>
                <a:gd name="T77" fmla="*/ 3 h 38"/>
                <a:gd name="T78" fmla="*/ 26 w 36"/>
                <a:gd name="T7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38">
                  <a:moveTo>
                    <a:pt x="2" y="38"/>
                  </a:moveTo>
                  <a:cubicBezTo>
                    <a:pt x="2" y="38"/>
                    <a:pt x="2" y="38"/>
                    <a:pt x="2" y="38"/>
                  </a:cubicBezTo>
                  <a:cubicBezTo>
                    <a:pt x="2" y="38"/>
                    <a:pt x="2" y="38"/>
                    <a:pt x="2" y="38"/>
                  </a:cubicBezTo>
                  <a:moveTo>
                    <a:pt x="0" y="36"/>
                  </a:moveTo>
                  <a:cubicBezTo>
                    <a:pt x="0" y="37"/>
                    <a:pt x="1" y="37"/>
                    <a:pt x="2" y="38"/>
                  </a:cubicBezTo>
                  <a:cubicBezTo>
                    <a:pt x="2" y="38"/>
                    <a:pt x="2" y="38"/>
                    <a:pt x="2" y="38"/>
                  </a:cubicBezTo>
                  <a:cubicBezTo>
                    <a:pt x="2" y="38"/>
                    <a:pt x="2" y="38"/>
                    <a:pt x="2" y="38"/>
                  </a:cubicBezTo>
                  <a:cubicBezTo>
                    <a:pt x="2" y="38"/>
                    <a:pt x="2" y="38"/>
                    <a:pt x="2" y="38"/>
                  </a:cubicBezTo>
                  <a:cubicBezTo>
                    <a:pt x="2" y="38"/>
                    <a:pt x="2" y="38"/>
                    <a:pt x="2" y="38"/>
                  </a:cubicBezTo>
                  <a:cubicBezTo>
                    <a:pt x="2" y="38"/>
                    <a:pt x="2" y="38"/>
                    <a:pt x="2" y="38"/>
                  </a:cubicBezTo>
                  <a:cubicBezTo>
                    <a:pt x="2" y="37"/>
                    <a:pt x="2" y="37"/>
                    <a:pt x="2" y="37"/>
                  </a:cubicBezTo>
                  <a:cubicBezTo>
                    <a:pt x="2" y="37"/>
                    <a:pt x="2" y="37"/>
                    <a:pt x="2" y="37"/>
                  </a:cubicBezTo>
                  <a:cubicBezTo>
                    <a:pt x="1" y="37"/>
                    <a:pt x="1" y="37"/>
                    <a:pt x="0" y="37"/>
                  </a:cubicBezTo>
                  <a:cubicBezTo>
                    <a:pt x="0" y="37"/>
                    <a:pt x="0" y="37"/>
                    <a:pt x="0" y="37"/>
                  </a:cubicBezTo>
                  <a:cubicBezTo>
                    <a:pt x="0" y="37"/>
                    <a:pt x="0" y="37"/>
                    <a:pt x="0" y="37"/>
                  </a:cubicBezTo>
                  <a:cubicBezTo>
                    <a:pt x="0" y="37"/>
                    <a:pt x="0" y="37"/>
                    <a:pt x="0" y="37"/>
                  </a:cubicBezTo>
                  <a:cubicBezTo>
                    <a:pt x="0" y="37"/>
                    <a:pt x="0" y="37"/>
                    <a:pt x="0" y="37"/>
                  </a:cubicBezTo>
                  <a:cubicBezTo>
                    <a:pt x="0" y="37"/>
                    <a:pt x="0" y="36"/>
                    <a:pt x="0" y="36"/>
                  </a:cubicBezTo>
                  <a:moveTo>
                    <a:pt x="0" y="36"/>
                  </a:moveTo>
                  <a:cubicBezTo>
                    <a:pt x="0" y="36"/>
                    <a:pt x="0" y="36"/>
                    <a:pt x="0" y="36"/>
                  </a:cubicBezTo>
                  <a:cubicBezTo>
                    <a:pt x="0" y="36"/>
                    <a:pt x="0" y="36"/>
                    <a:pt x="0" y="36"/>
                  </a:cubicBezTo>
                  <a:moveTo>
                    <a:pt x="26" y="0"/>
                  </a:moveTo>
                  <a:cubicBezTo>
                    <a:pt x="24" y="0"/>
                    <a:pt x="21" y="1"/>
                    <a:pt x="20" y="3"/>
                  </a:cubicBezTo>
                  <a:cubicBezTo>
                    <a:pt x="14" y="8"/>
                    <a:pt x="14" y="8"/>
                    <a:pt x="14" y="8"/>
                  </a:cubicBezTo>
                  <a:cubicBezTo>
                    <a:pt x="14" y="9"/>
                    <a:pt x="14" y="9"/>
                    <a:pt x="14" y="9"/>
                  </a:cubicBezTo>
                  <a:cubicBezTo>
                    <a:pt x="20" y="3"/>
                    <a:pt x="20" y="3"/>
                    <a:pt x="20" y="3"/>
                  </a:cubicBezTo>
                  <a:cubicBezTo>
                    <a:pt x="22" y="1"/>
                    <a:pt x="24" y="1"/>
                    <a:pt x="26" y="1"/>
                  </a:cubicBezTo>
                  <a:cubicBezTo>
                    <a:pt x="26" y="1"/>
                    <a:pt x="26" y="1"/>
                    <a:pt x="26" y="1"/>
                  </a:cubicBezTo>
                  <a:cubicBezTo>
                    <a:pt x="28" y="1"/>
                    <a:pt x="30" y="2"/>
                    <a:pt x="32" y="3"/>
                  </a:cubicBezTo>
                  <a:cubicBezTo>
                    <a:pt x="35" y="6"/>
                    <a:pt x="35" y="12"/>
                    <a:pt x="32" y="15"/>
                  </a:cubicBezTo>
                  <a:cubicBezTo>
                    <a:pt x="13" y="33"/>
                    <a:pt x="13" y="33"/>
                    <a:pt x="13" y="33"/>
                  </a:cubicBezTo>
                  <a:cubicBezTo>
                    <a:pt x="13" y="34"/>
                    <a:pt x="12" y="35"/>
                    <a:pt x="11" y="36"/>
                  </a:cubicBezTo>
                  <a:cubicBezTo>
                    <a:pt x="10" y="37"/>
                    <a:pt x="8" y="38"/>
                    <a:pt x="6" y="38"/>
                  </a:cubicBezTo>
                  <a:cubicBezTo>
                    <a:pt x="6" y="38"/>
                    <a:pt x="6" y="38"/>
                    <a:pt x="6" y="38"/>
                  </a:cubicBezTo>
                  <a:cubicBezTo>
                    <a:pt x="6" y="38"/>
                    <a:pt x="6" y="38"/>
                    <a:pt x="6" y="38"/>
                  </a:cubicBezTo>
                  <a:cubicBezTo>
                    <a:pt x="6" y="38"/>
                    <a:pt x="6" y="38"/>
                    <a:pt x="5" y="38"/>
                  </a:cubicBezTo>
                  <a:cubicBezTo>
                    <a:pt x="7" y="38"/>
                    <a:pt x="10" y="37"/>
                    <a:pt x="11" y="36"/>
                  </a:cubicBezTo>
                  <a:cubicBezTo>
                    <a:pt x="32" y="15"/>
                    <a:pt x="32" y="15"/>
                    <a:pt x="32" y="15"/>
                  </a:cubicBezTo>
                  <a:cubicBezTo>
                    <a:pt x="36" y="12"/>
                    <a:pt x="36" y="6"/>
                    <a:pt x="32" y="3"/>
                  </a:cubicBezTo>
                  <a:cubicBezTo>
                    <a:pt x="30" y="1"/>
                    <a:pt x="28" y="0"/>
                    <a:pt x="26" y="0"/>
                  </a:cubicBezTo>
                </a:path>
              </a:pathLst>
            </a:custGeom>
            <a:solidFill>
              <a:srgbClr val="003B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8" name="Freeform 726"/>
            <p:cNvSpPr>
              <a:spLocks noEditPoints="1"/>
            </p:cNvSpPr>
            <p:nvPr/>
          </p:nvSpPr>
          <p:spPr bwMode="auto">
            <a:xfrm>
              <a:off x="6044814" y="2369452"/>
              <a:ext cx="35999" cy="70998"/>
            </a:xfrm>
            <a:custGeom>
              <a:avLst/>
              <a:gdLst>
                <a:gd name="T0" fmla="*/ 7 w 15"/>
                <a:gd name="T1" fmla="*/ 30 h 30"/>
                <a:gd name="T2" fmla="*/ 7 w 15"/>
                <a:gd name="T3" fmla="*/ 30 h 30"/>
                <a:gd name="T4" fmla="*/ 7 w 15"/>
                <a:gd name="T5" fmla="*/ 30 h 30"/>
                <a:gd name="T6" fmla="*/ 7 w 15"/>
                <a:gd name="T7" fmla="*/ 30 h 30"/>
                <a:gd name="T8" fmla="*/ 3 w 15"/>
                <a:gd name="T9" fmla="*/ 30 h 30"/>
                <a:gd name="T10" fmla="*/ 3 w 15"/>
                <a:gd name="T11" fmla="*/ 30 h 30"/>
                <a:gd name="T12" fmla="*/ 3 w 15"/>
                <a:gd name="T13" fmla="*/ 30 h 30"/>
                <a:gd name="T14" fmla="*/ 3 w 15"/>
                <a:gd name="T15" fmla="*/ 30 h 30"/>
                <a:gd name="T16" fmla="*/ 6 w 15"/>
                <a:gd name="T17" fmla="*/ 30 h 30"/>
                <a:gd name="T18" fmla="*/ 3 w 15"/>
                <a:gd name="T19" fmla="*/ 30 h 30"/>
                <a:gd name="T20" fmla="*/ 3 w 15"/>
                <a:gd name="T21" fmla="*/ 30 h 30"/>
                <a:gd name="T22" fmla="*/ 3 w 15"/>
                <a:gd name="T23" fmla="*/ 30 h 30"/>
                <a:gd name="T24" fmla="*/ 3 w 15"/>
                <a:gd name="T25" fmla="*/ 30 h 30"/>
                <a:gd name="T26" fmla="*/ 3 w 15"/>
                <a:gd name="T27" fmla="*/ 30 h 30"/>
                <a:gd name="T28" fmla="*/ 3 w 15"/>
                <a:gd name="T29" fmla="*/ 30 h 30"/>
                <a:gd name="T30" fmla="*/ 3 w 15"/>
                <a:gd name="T31" fmla="*/ 30 h 30"/>
                <a:gd name="T32" fmla="*/ 3 w 15"/>
                <a:gd name="T33" fmla="*/ 29 h 30"/>
                <a:gd name="T34" fmla="*/ 3 w 15"/>
                <a:gd name="T35" fmla="*/ 29 h 30"/>
                <a:gd name="T36" fmla="*/ 3 w 15"/>
                <a:gd name="T37" fmla="*/ 29 h 30"/>
                <a:gd name="T38" fmla="*/ 1 w 15"/>
                <a:gd name="T39" fmla="*/ 29 h 30"/>
                <a:gd name="T40" fmla="*/ 1 w 15"/>
                <a:gd name="T41" fmla="*/ 29 h 30"/>
                <a:gd name="T42" fmla="*/ 1 w 15"/>
                <a:gd name="T43" fmla="*/ 29 h 30"/>
                <a:gd name="T44" fmla="*/ 1 w 15"/>
                <a:gd name="T45" fmla="*/ 29 h 30"/>
                <a:gd name="T46" fmla="*/ 1 w 15"/>
                <a:gd name="T47" fmla="*/ 29 h 30"/>
                <a:gd name="T48" fmla="*/ 1 w 15"/>
                <a:gd name="T49" fmla="*/ 29 h 30"/>
                <a:gd name="T50" fmla="*/ 0 w 15"/>
                <a:gd name="T51" fmla="*/ 27 h 30"/>
                <a:gd name="T52" fmla="*/ 0 w 15"/>
                <a:gd name="T53" fmla="*/ 28 h 30"/>
                <a:gd name="T54" fmla="*/ 1 w 15"/>
                <a:gd name="T55" fmla="*/ 28 h 30"/>
                <a:gd name="T56" fmla="*/ 1 w 15"/>
                <a:gd name="T57" fmla="*/ 28 h 30"/>
                <a:gd name="T58" fmla="*/ 1 w 15"/>
                <a:gd name="T59" fmla="*/ 28 h 30"/>
                <a:gd name="T60" fmla="*/ 1 w 15"/>
                <a:gd name="T61" fmla="*/ 29 h 30"/>
                <a:gd name="T62" fmla="*/ 0 w 15"/>
                <a:gd name="T63" fmla="*/ 28 h 30"/>
                <a:gd name="T64" fmla="*/ 0 w 15"/>
                <a:gd name="T65" fmla="*/ 27 h 30"/>
                <a:gd name="T66" fmla="*/ 15 w 15"/>
                <a:gd name="T67" fmla="*/ 0 h 30"/>
                <a:gd name="T68" fmla="*/ 6 w 15"/>
                <a:gd name="T69" fmla="*/ 9 h 30"/>
                <a:gd name="T70" fmla="*/ 12 w 15"/>
                <a:gd name="T71" fmla="*/ 15 h 30"/>
                <a:gd name="T72" fmla="*/ 15 w 15"/>
                <a:gd name="T73" fmla="*/ 20 h 30"/>
                <a:gd name="T74" fmla="*/ 15 w 15"/>
                <a:gd name="T75" fmla="*/ 1 h 30"/>
                <a:gd name="T76" fmla="*/ 15 w 15"/>
                <a:gd name="T7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 h="30">
                  <a:moveTo>
                    <a:pt x="7" y="30"/>
                  </a:moveTo>
                  <a:cubicBezTo>
                    <a:pt x="7" y="30"/>
                    <a:pt x="7" y="30"/>
                    <a:pt x="7" y="30"/>
                  </a:cubicBezTo>
                  <a:cubicBezTo>
                    <a:pt x="7" y="30"/>
                    <a:pt x="7" y="30"/>
                    <a:pt x="7" y="30"/>
                  </a:cubicBezTo>
                  <a:cubicBezTo>
                    <a:pt x="7" y="30"/>
                    <a:pt x="7" y="30"/>
                    <a:pt x="7" y="30"/>
                  </a:cubicBezTo>
                  <a:moveTo>
                    <a:pt x="3" y="30"/>
                  </a:moveTo>
                  <a:cubicBezTo>
                    <a:pt x="3" y="30"/>
                    <a:pt x="3" y="30"/>
                    <a:pt x="3" y="30"/>
                  </a:cubicBezTo>
                  <a:cubicBezTo>
                    <a:pt x="3" y="30"/>
                    <a:pt x="3" y="30"/>
                    <a:pt x="3" y="30"/>
                  </a:cubicBezTo>
                  <a:cubicBezTo>
                    <a:pt x="3" y="30"/>
                    <a:pt x="3" y="30"/>
                    <a:pt x="3" y="30"/>
                  </a:cubicBezTo>
                  <a:cubicBezTo>
                    <a:pt x="4" y="30"/>
                    <a:pt x="5" y="30"/>
                    <a:pt x="6" y="30"/>
                  </a:cubicBezTo>
                  <a:cubicBezTo>
                    <a:pt x="5" y="30"/>
                    <a:pt x="4" y="30"/>
                    <a:pt x="3" y="30"/>
                  </a:cubicBezTo>
                  <a:moveTo>
                    <a:pt x="3" y="30"/>
                  </a:moveTo>
                  <a:cubicBezTo>
                    <a:pt x="3" y="30"/>
                    <a:pt x="3" y="30"/>
                    <a:pt x="3" y="30"/>
                  </a:cubicBezTo>
                  <a:cubicBezTo>
                    <a:pt x="3" y="30"/>
                    <a:pt x="3" y="30"/>
                    <a:pt x="3" y="30"/>
                  </a:cubicBezTo>
                  <a:moveTo>
                    <a:pt x="3" y="30"/>
                  </a:moveTo>
                  <a:cubicBezTo>
                    <a:pt x="3" y="30"/>
                    <a:pt x="3" y="30"/>
                    <a:pt x="3" y="30"/>
                  </a:cubicBezTo>
                  <a:cubicBezTo>
                    <a:pt x="3" y="30"/>
                    <a:pt x="3" y="30"/>
                    <a:pt x="3" y="30"/>
                  </a:cubicBezTo>
                  <a:moveTo>
                    <a:pt x="3" y="29"/>
                  </a:moveTo>
                  <a:cubicBezTo>
                    <a:pt x="3" y="29"/>
                    <a:pt x="3" y="29"/>
                    <a:pt x="3" y="29"/>
                  </a:cubicBezTo>
                  <a:cubicBezTo>
                    <a:pt x="3" y="29"/>
                    <a:pt x="3" y="29"/>
                    <a:pt x="3" y="29"/>
                  </a:cubicBezTo>
                  <a:moveTo>
                    <a:pt x="1" y="29"/>
                  </a:moveTo>
                  <a:cubicBezTo>
                    <a:pt x="1" y="29"/>
                    <a:pt x="1" y="29"/>
                    <a:pt x="1" y="29"/>
                  </a:cubicBezTo>
                  <a:cubicBezTo>
                    <a:pt x="1" y="29"/>
                    <a:pt x="1" y="29"/>
                    <a:pt x="1" y="29"/>
                  </a:cubicBezTo>
                  <a:moveTo>
                    <a:pt x="1" y="29"/>
                  </a:moveTo>
                  <a:cubicBezTo>
                    <a:pt x="1" y="29"/>
                    <a:pt x="1" y="29"/>
                    <a:pt x="1" y="29"/>
                  </a:cubicBezTo>
                  <a:cubicBezTo>
                    <a:pt x="1" y="29"/>
                    <a:pt x="1" y="29"/>
                    <a:pt x="1" y="29"/>
                  </a:cubicBezTo>
                  <a:moveTo>
                    <a:pt x="0" y="27"/>
                  </a:moveTo>
                  <a:cubicBezTo>
                    <a:pt x="0" y="27"/>
                    <a:pt x="0" y="28"/>
                    <a:pt x="0" y="28"/>
                  </a:cubicBezTo>
                  <a:cubicBezTo>
                    <a:pt x="0" y="28"/>
                    <a:pt x="0" y="28"/>
                    <a:pt x="1" y="28"/>
                  </a:cubicBezTo>
                  <a:cubicBezTo>
                    <a:pt x="1" y="28"/>
                    <a:pt x="1" y="28"/>
                    <a:pt x="1" y="28"/>
                  </a:cubicBezTo>
                  <a:cubicBezTo>
                    <a:pt x="1" y="28"/>
                    <a:pt x="1" y="28"/>
                    <a:pt x="1" y="28"/>
                  </a:cubicBezTo>
                  <a:cubicBezTo>
                    <a:pt x="1" y="28"/>
                    <a:pt x="1" y="29"/>
                    <a:pt x="1" y="29"/>
                  </a:cubicBezTo>
                  <a:cubicBezTo>
                    <a:pt x="1" y="28"/>
                    <a:pt x="0" y="28"/>
                    <a:pt x="0" y="28"/>
                  </a:cubicBezTo>
                  <a:cubicBezTo>
                    <a:pt x="0" y="27"/>
                    <a:pt x="0" y="27"/>
                    <a:pt x="0" y="27"/>
                  </a:cubicBezTo>
                  <a:moveTo>
                    <a:pt x="15" y="0"/>
                  </a:moveTo>
                  <a:cubicBezTo>
                    <a:pt x="6" y="9"/>
                    <a:pt x="6" y="9"/>
                    <a:pt x="6" y="9"/>
                  </a:cubicBezTo>
                  <a:cubicBezTo>
                    <a:pt x="12" y="15"/>
                    <a:pt x="12" y="15"/>
                    <a:pt x="12" y="15"/>
                  </a:cubicBezTo>
                  <a:cubicBezTo>
                    <a:pt x="14" y="16"/>
                    <a:pt x="15" y="18"/>
                    <a:pt x="15" y="20"/>
                  </a:cubicBezTo>
                  <a:cubicBezTo>
                    <a:pt x="14" y="14"/>
                    <a:pt x="14" y="7"/>
                    <a:pt x="15" y="1"/>
                  </a:cubicBezTo>
                  <a:cubicBezTo>
                    <a:pt x="15" y="1"/>
                    <a:pt x="15" y="1"/>
                    <a:pt x="15"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39" name="Freeform 727"/>
            <p:cNvSpPr>
              <a:spLocks/>
            </p:cNvSpPr>
            <p:nvPr/>
          </p:nvSpPr>
          <p:spPr bwMode="auto">
            <a:xfrm>
              <a:off x="6077813" y="2416451"/>
              <a:ext cx="3000" cy="12000"/>
            </a:xfrm>
            <a:custGeom>
              <a:avLst/>
              <a:gdLst>
                <a:gd name="T0" fmla="*/ 1 w 1"/>
                <a:gd name="T1" fmla="*/ 0 h 5"/>
                <a:gd name="T2" fmla="*/ 1 w 1"/>
                <a:gd name="T3" fmla="*/ 0 h 5"/>
                <a:gd name="T4" fmla="*/ 0 w 1"/>
                <a:gd name="T5" fmla="*/ 5 h 5"/>
                <a:gd name="T6" fmla="*/ 0 w 1"/>
                <a:gd name="T7" fmla="*/ 5 h 5"/>
                <a:gd name="T8" fmla="*/ 1 w 1"/>
                <a:gd name="T9" fmla="*/ 1 h 5"/>
                <a:gd name="T10" fmla="*/ 1 w 1"/>
                <a:gd name="T11" fmla="*/ 1 h 5"/>
                <a:gd name="T12" fmla="*/ 1 w 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0"/>
                  </a:moveTo>
                  <a:cubicBezTo>
                    <a:pt x="1" y="0"/>
                    <a:pt x="1" y="0"/>
                    <a:pt x="1" y="0"/>
                  </a:cubicBezTo>
                  <a:cubicBezTo>
                    <a:pt x="1" y="2"/>
                    <a:pt x="1" y="3"/>
                    <a:pt x="0" y="5"/>
                  </a:cubicBezTo>
                  <a:cubicBezTo>
                    <a:pt x="0" y="5"/>
                    <a:pt x="0" y="5"/>
                    <a:pt x="0" y="5"/>
                  </a:cubicBezTo>
                  <a:cubicBezTo>
                    <a:pt x="1" y="4"/>
                    <a:pt x="1" y="3"/>
                    <a:pt x="1" y="1"/>
                  </a:cubicBezTo>
                  <a:cubicBezTo>
                    <a:pt x="1" y="1"/>
                    <a:pt x="1" y="1"/>
                    <a:pt x="1" y="1"/>
                  </a:cubicBezTo>
                  <a:cubicBezTo>
                    <a:pt x="1" y="1"/>
                    <a:pt x="1" y="0"/>
                    <a:pt x="1"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0" name="Freeform 728"/>
            <p:cNvSpPr>
              <a:spLocks noEditPoints="1"/>
            </p:cNvSpPr>
            <p:nvPr/>
          </p:nvSpPr>
          <p:spPr bwMode="auto">
            <a:xfrm>
              <a:off x="6047814" y="2428451"/>
              <a:ext cx="29999" cy="12000"/>
            </a:xfrm>
            <a:custGeom>
              <a:avLst/>
              <a:gdLst>
                <a:gd name="T0" fmla="*/ 5 w 13"/>
                <a:gd name="T1" fmla="*/ 5 h 5"/>
                <a:gd name="T2" fmla="*/ 5 w 13"/>
                <a:gd name="T3" fmla="*/ 5 h 5"/>
                <a:gd name="T4" fmla="*/ 5 w 13"/>
                <a:gd name="T5" fmla="*/ 5 h 5"/>
                <a:gd name="T6" fmla="*/ 5 w 13"/>
                <a:gd name="T7" fmla="*/ 5 h 5"/>
                <a:gd name="T8" fmla="*/ 6 w 13"/>
                <a:gd name="T9" fmla="*/ 5 h 5"/>
                <a:gd name="T10" fmla="*/ 5 w 13"/>
                <a:gd name="T11" fmla="*/ 5 h 5"/>
                <a:gd name="T12" fmla="*/ 5 w 13"/>
                <a:gd name="T13" fmla="*/ 5 h 5"/>
                <a:gd name="T14" fmla="*/ 6 w 13"/>
                <a:gd name="T15" fmla="*/ 5 h 5"/>
                <a:gd name="T16" fmla="*/ 2 w 13"/>
                <a:gd name="T17" fmla="*/ 5 h 5"/>
                <a:gd name="T18" fmla="*/ 2 w 13"/>
                <a:gd name="T19" fmla="*/ 5 h 5"/>
                <a:gd name="T20" fmla="*/ 2 w 13"/>
                <a:gd name="T21" fmla="*/ 5 h 5"/>
                <a:gd name="T22" fmla="*/ 2 w 13"/>
                <a:gd name="T23" fmla="*/ 5 h 5"/>
                <a:gd name="T24" fmla="*/ 2 w 13"/>
                <a:gd name="T25" fmla="*/ 5 h 5"/>
                <a:gd name="T26" fmla="*/ 2 w 13"/>
                <a:gd name="T27" fmla="*/ 5 h 5"/>
                <a:gd name="T28" fmla="*/ 2 w 13"/>
                <a:gd name="T29" fmla="*/ 4 h 5"/>
                <a:gd name="T30" fmla="*/ 2 w 13"/>
                <a:gd name="T31" fmla="*/ 5 h 5"/>
                <a:gd name="T32" fmla="*/ 2 w 13"/>
                <a:gd name="T33" fmla="*/ 4 h 5"/>
                <a:gd name="T34" fmla="*/ 0 w 13"/>
                <a:gd name="T35" fmla="*/ 4 h 5"/>
                <a:gd name="T36" fmla="*/ 2 w 13"/>
                <a:gd name="T37" fmla="*/ 4 h 5"/>
                <a:gd name="T38" fmla="*/ 0 w 13"/>
                <a:gd name="T39" fmla="*/ 4 h 5"/>
                <a:gd name="T40" fmla="*/ 0 w 13"/>
                <a:gd name="T41" fmla="*/ 4 h 5"/>
                <a:gd name="T42" fmla="*/ 0 w 13"/>
                <a:gd name="T43" fmla="*/ 4 h 5"/>
                <a:gd name="T44" fmla="*/ 0 w 13"/>
                <a:gd name="T45" fmla="*/ 4 h 5"/>
                <a:gd name="T46" fmla="*/ 0 w 13"/>
                <a:gd name="T47" fmla="*/ 4 h 5"/>
                <a:gd name="T48" fmla="*/ 0 w 13"/>
                <a:gd name="T49" fmla="*/ 4 h 5"/>
                <a:gd name="T50" fmla="*/ 0 w 13"/>
                <a:gd name="T51" fmla="*/ 4 h 5"/>
                <a:gd name="T52" fmla="*/ 13 w 13"/>
                <a:gd name="T53" fmla="*/ 0 h 5"/>
                <a:gd name="T54" fmla="*/ 13 w 13"/>
                <a:gd name="T55" fmla="*/ 0 h 5"/>
                <a:gd name="T56" fmla="*/ 6 w 13"/>
                <a:gd name="T57" fmla="*/ 5 h 5"/>
                <a:gd name="T58" fmla="*/ 11 w 13"/>
                <a:gd name="T59" fmla="*/ 3 h 5"/>
                <a:gd name="T60" fmla="*/ 13 w 13"/>
                <a:gd name="T6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 h="5">
                  <a:moveTo>
                    <a:pt x="5" y="5"/>
                  </a:moveTo>
                  <a:cubicBezTo>
                    <a:pt x="5" y="5"/>
                    <a:pt x="5" y="5"/>
                    <a:pt x="5" y="5"/>
                  </a:cubicBezTo>
                  <a:cubicBezTo>
                    <a:pt x="5" y="5"/>
                    <a:pt x="5" y="5"/>
                    <a:pt x="5" y="5"/>
                  </a:cubicBezTo>
                  <a:cubicBezTo>
                    <a:pt x="5" y="5"/>
                    <a:pt x="5" y="5"/>
                    <a:pt x="5" y="5"/>
                  </a:cubicBezTo>
                  <a:moveTo>
                    <a:pt x="6" y="5"/>
                  </a:moveTo>
                  <a:cubicBezTo>
                    <a:pt x="6" y="5"/>
                    <a:pt x="6" y="5"/>
                    <a:pt x="5" y="5"/>
                  </a:cubicBezTo>
                  <a:cubicBezTo>
                    <a:pt x="5" y="5"/>
                    <a:pt x="5" y="5"/>
                    <a:pt x="5" y="5"/>
                  </a:cubicBezTo>
                  <a:cubicBezTo>
                    <a:pt x="6" y="5"/>
                    <a:pt x="6" y="5"/>
                    <a:pt x="6" y="5"/>
                  </a:cubicBezTo>
                  <a:moveTo>
                    <a:pt x="2" y="5"/>
                  </a:moveTo>
                  <a:cubicBezTo>
                    <a:pt x="2" y="5"/>
                    <a:pt x="2" y="5"/>
                    <a:pt x="2" y="5"/>
                  </a:cubicBezTo>
                  <a:cubicBezTo>
                    <a:pt x="2" y="5"/>
                    <a:pt x="2" y="5"/>
                    <a:pt x="2" y="5"/>
                  </a:cubicBezTo>
                  <a:moveTo>
                    <a:pt x="2" y="5"/>
                  </a:moveTo>
                  <a:cubicBezTo>
                    <a:pt x="2" y="5"/>
                    <a:pt x="2" y="5"/>
                    <a:pt x="2" y="5"/>
                  </a:cubicBezTo>
                  <a:cubicBezTo>
                    <a:pt x="2" y="5"/>
                    <a:pt x="2" y="5"/>
                    <a:pt x="2" y="5"/>
                  </a:cubicBezTo>
                  <a:moveTo>
                    <a:pt x="2" y="4"/>
                  </a:moveTo>
                  <a:cubicBezTo>
                    <a:pt x="2" y="4"/>
                    <a:pt x="2" y="4"/>
                    <a:pt x="2" y="5"/>
                  </a:cubicBezTo>
                  <a:cubicBezTo>
                    <a:pt x="2" y="4"/>
                    <a:pt x="2" y="4"/>
                    <a:pt x="2" y="4"/>
                  </a:cubicBezTo>
                  <a:moveTo>
                    <a:pt x="0" y="4"/>
                  </a:moveTo>
                  <a:cubicBezTo>
                    <a:pt x="1" y="4"/>
                    <a:pt x="1" y="4"/>
                    <a:pt x="2" y="4"/>
                  </a:cubicBezTo>
                  <a:cubicBezTo>
                    <a:pt x="1" y="4"/>
                    <a:pt x="1" y="4"/>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13" y="0"/>
                  </a:moveTo>
                  <a:cubicBezTo>
                    <a:pt x="13" y="0"/>
                    <a:pt x="13" y="0"/>
                    <a:pt x="13" y="0"/>
                  </a:cubicBezTo>
                  <a:cubicBezTo>
                    <a:pt x="12" y="3"/>
                    <a:pt x="10" y="5"/>
                    <a:pt x="6" y="5"/>
                  </a:cubicBezTo>
                  <a:cubicBezTo>
                    <a:pt x="8" y="5"/>
                    <a:pt x="10" y="4"/>
                    <a:pt x="11" y="3"/>
                  </a:cubicBezTo>
                  <a:cubicBezTo>
                    <a:pt x="12" y="2"/>
                    <a:pt x="13" y="1"/>
                    <a:pt x="13" y="0"/>
                  </a:cubicBezTo>
                </a:path>
              </a:pathLst>
            </a:custGeom>
            <a:solidFill>
              <a:srgbClr val="002B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1" name="Freeform 729"/>
            <p:cNvSpPr>
              <a:spLocks/>
            </p:cNvSpPr>
            <p:nvPr/>
          </p:nvSpPr>
          <p:spPr bwMode="auto">
            <a:xfrm>
              <a:off x="6035815" y="2390452"/>
              <a:ext cx="44999" cy="49998"/>
            </a:xfrm>
            <a:custGeom>
              <a:avLst/>
              <a:gdLst>
                <a:gd name="T0" fmla="*/ 10 w 19"/>
                <a:gd name="T1" fmla="*/ 0 h 21"/>
                <a:gd name="T2" fmla="*/ 4 w 19"/>
                <a:gd name="T3" fmla="*/ 6 h 21"/>
                <a:gd name="T4" fmla="*/ 4 w 19"/>
                <a:gd name="T5" fmla="*/ 18 h 21"/>
                <a:gd name="T6" fmla="*/ 4 w 19"/>
                <a:gd name="T7" fmla="*/ 19 h 21"/>
                <a:gd name="T8" fmla="*/ 5 w 19"/>
                <a:gd name="T9" fmla="*/ 20 h 21"/>
                <a:gd name="T10" fmla="*/ 5 w 19"/>
                <a:gd name="T11" fmla="*/ 20 h 21"/>
                <a:gd name="T12" fmla="*/ 5 w 19"/>
                <a:gd name="T13" fmla="*/ 20 h 21"/>
                <a:gd name="T14" fmla="*/ 5 w 19"/>
                <a:gd name="T15" fmla="*/ 20 h 21"/>
                <a:gd name="T16" fmla="*/ 5 w 19"/>
                <a:gd name="T17" fmla="*/ 20 h 21"/>
                <a:gd name="T18" fmla="*/ 7 w 19"/>
                <a:gd name="T19" fmla="*/ 20 h 21"/>
                <a:gd name="T20" fmla="*/ 7 w 19"/>
                <a:gd name="T21" fmla="*/ 20 h 21"/>
                <a:gd name="T22" fmla="*/ 7 w 19"/>
                <a:gd name="T23" fmla="*/ 21 h 21"/>
                <a:gd name="T24" fmla="*/ 7 w 19"/>
                <a:gd name="T25" fmla="*/ 21 h 21"/>
                <a:gd name="T26" fmla="*/ 7 w 19"/>
                <a:gd name="T27" fmla="*/ 21 h 21"/>
                <a:gd name="T28" fmla="*/ 7 w 19"/>
                <a:gd name="T29" fmla="*/ 21 h 21"/>
                <a:gd name="T30" fmla="*/ 7 w 19"/>
                <a:gd name="T31" fmla="*/ 21 h 21"/>
                <a:gd name="T32" fmla="*/ 10 w 19"/>
                <a:gd name="T33" fmla="*/ 21 h 21"/>
                <a:gd name="T34" fmla="*/ 10 w 19"/>
                <a:gd name="T35" fmla="*/ 21 h 21"/>
                <a:gd name="T36" fmla="*/ 10 w 19"/>
                <a:gd name="T37" fmla="*/ 21 h 21"/>
                <a:gd name="T38" fmla="*/ 10 w 19"/>
                <a:gd name="T39" fmla="*/ 21 h 21"/>
                <a:gd name="T40" fmla="*/ 11 w 19"/>
                <a:gd name="T41" fmla="*/ 21 h 21"/>
                <a:gd name="T42" fmla="*/ 11 w 19"/>
                <a:gd name="T43" fmla="*/ 21 h 21"/>
                <a:gd name="T44" fmla="*/ 18 w 19"/>
                <a:gd name="T45" fmla="*/ 16 h 21"/>
                <a:gd name="T46" fmla="*/ 19 w 19"/>
                <a:gd name="T47" fmla="*/ 11 h 21"/>
                <a:gd name="T48" fmla="*/ 19 w 19"/>
                <a:gd name="T49" fmla="*/ 11 h 21"/>
                <a:gd name="T50" fmla="*/ 16 w 19"/>
                <a:gd name="T51" fmla="*/ 6 h 21"/>
                <a:gd name="T52" fmla="*/ 10 w 19"/>
                <a:gd name="T5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21">
                  <a:moveTo>
                    <a:pt x="10" y="0"/>
                  </a:moveTo>
                  <a:cubicBezTo>
                    <a:pt x="4" y="6"/>
                    <a:pt x="4" y="6"/>
                    <a:pt x="4" y="6"/>
                  </a:cubicBezTo>
                  <a:cubicBezTo>
                    <a:pt x="0" y="9"/>
                    <a:pt x="0" y="15"/>
                    <a:pt x="4" y="18"/>
                  </a:cubicBezTo>
                  <a:cubicBezTo>
                    <a:pt x="4" y="19"/>
                    <a:pt x="4" y="19"/>
                    <a:pt x="4" y="19"/>
                  </a:cubicBezTo>
                  <a:cubicBezTo>
                    <a:pt x="4" y="19"/>
                    <a:pt x="5" y="19"/>
                    <a:pt x="5" y="20"/>
                  </a:cubicBezTo>
                  <a:cubicBezTo>
                    <a:pt x="5" y="20"/>
                    <a:pt x="5" y="20"/>
                    <a:pt x="5" y="20"/>
                  </a:cubicBezTo>
                  <a:cubicBezTo>
                    <a:pt x="5" y="20"/>
                    <a:pt x="5" y="20"/>
                    <a:pt x="5" y="20"/>
                  </a:cubicBezTo>
                  <a:cubicBezTo>
                    <a:pt x="5" y="20"/>
                    <a:pt x="5" y="20"/>
                    <a:pt x="5" y="20"/>
                  </a:cubicBezTo>
                  <a:cubicBezTo>
                    <a:pt x="5" y="20"/>
                    <a:pt x="5" y="20"/>
                    <a:pt x="5" y="20"/>
                  </a:cubicBezTo>
                  <a:cubicBezTo>
                    <a:pt x="6" y="20"/>
                    <a:pt x="6" y="20"/>
                    <a:pt x="7" y="20"/>
                  </a:cubicBezTo>
                  <a:cubicBezTo>
                    <a:pt x="7" y="20"/>
                    <a:pt x="7" y="20"/>
                    <a:pt x="7" y="20"/>
                  </a:cubicBezTo>
                  <a:cubicBezTo>
                    <a:pt x="7" y="20"/>
                    <a:pt x="7" y="20"/>
                    <a:pt x="7" y="21"/>
                  </a:cubicBezTo>
                  <a:cubicBezTo>
                    <a:pt x="7" y="21"/>
                    <a:pt x="7" y="21"/>
                    <a:pt x="7" y="21"/>
                  </a:cubicBezTo>
                  <a:cubicBezTo>
                    <a:pt x="7" y="21"/>
                    <a:pt x="7" y="21"/>
                    <a:pt x="7" y="21"/>
                  </a:cubicBezTo>
                  <a:cubicBezTo>
                    <a:pt x="7" y="21"/>
                    <a:pt x="7" y="21"/>
                    <a:pt x="7" y="21"/>
                  </a:cubicBezTo>
                  <a:cubicBezTo>
                    <a:pt x="7" y="21"/>
                    <a:pt x="7" y="21"/>
                    <a:pt x="7" y="21"/>
                  </a:cubicBezTo>
                  <a:cubicBezTo>
                    <a:pt x="8" y="21"/>
                    <a:pt x="9" y="21"/>
                    <a:pt x="10" y="21"/>
                  </a:cubicBezTo>
                  <a:cubicBezTo>
                    <a:pt x="10" y="21"/>
                    <a:pt x="10" y="21"/>
                    <a:pt x="10" y="21"/>
                  </a:cubicBezTo>
                  <a:cubicBezTo>
                    <a:pt x="10" y="21"/>
                    <a:pt x="10" y="21"/>
                    <a:pt x="10" y="21"/>
                  </a:cubicBezTo>
                  <a:cubicBezTo>
                    <a:pt x="10" y="21"/>
                    <a:pt x="10" y="21"/>
                    <a:pt x="10" y="21"/>
                  </a:cubicBezTo>
                  <a:cubicBezTo>
                    <a:pt x="11" y="21"/>
                    <a:pt x="11" y="21"/>
                    <a:pt x="11" y="21"/>
                  </a:cubicBezTo>
                  <a:cubicBezTo>
                    <a:pt x="11" y="21"/>
                    <a:pt x="11" y="21"/>
                    <a:pt x="11" y="21"/>
                  </a:cubicBezTo>
                  <a:cubicBezTo>
                    <a:pt x="15" y="21"/>
                    <a:pt x="17" y="19"/>
                    <a:pt x="18" y="16"/>
                  </a:cubicBezTo>
                  <a:cubicBezTo>
                    <a:pt x="19" y="14"/>
                    <a:pt x="19" y="13"/>
                    <a:pt x="19" y="11"/>
                  </a:cubicBezTo>
                  <a:cubicBezTo>
                    <a:pt x="19" y="11"/>
                    <a:pt x="19" y="11"/>
                    <a:pt x="19" y="11"/>
                  </a:cubicBezTo>
                  <a:cubicBezTo>
                    <a:pt x="19" y="9"/>
                    <a:pt x="18" y="7"/>
                    <a:pt x="16" y="6"/>
                  </a:cubicBezTo>
                  <a:cubicBezTo>
                    <a:pt x="10" y="0"/>
                    <a:pt x="10" y="0"/>
                    <a:pt x="10" y="0"/>
                  </a:cubicBezTo>
                </a:path>
              </a:pathLst>
            </a:custGeom>
            <a:solidFill>
              <a:srgbClr val="0064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2" name="Freeform 730"/>
            <p:cNvSpPr>
              <a:spLocks/>
            </p:cNvSpPr>
            <p:nvPr/>
          </p:nvSpPr>
          <p:spPr bwMode="auto">
            <a:xfrm>
              <a:off x="6482801" y="2388452"/>
              <a:ext cx="48999" cy="72998"/>
            </a:xfrm>
            <a:custGeom>
              <a:avLst/>
              <a:gdLst>
                <a:gd name="T0" fmla="*/ 0 w 21"/>
                <a:gd name="T1" fmla="*/ 0 h 31"/>
                <a:gd name="T2" fmla="*/ 0 w 21"/>
                <a:gd name="T3" fmla="*/ 2 h 31"/>
                <a:gd name="T4" fmla="*/ 1 w 21"/>
                <a:gd name="T5" fmla="*/ 23 h 31"/>
                <a:gd name="T6" fmla="*/ 7 w 21"/>
                <a:gd name="T7" fmla="*/ 29 h 31"/>
                <a:gd name="T8" fmla="*/ 13 w 21"/>
                <a:gd name="T9" fmla="*/ 31 h 31"/>
                <a:gd name="T10" fmla="*/ 19 w 21"/>
                <a:gd name="T11" fmla="*/ 29 h 31"/>
                <a:gd name="T12" fmla="*/ 21 w 21"/>
                <a:gd name="T13" fmla="*/ 23 h 31"/>
                <a:gd name="T14" fmla="*/ 18 w 21"/>
                <a:gd name="T15" fmla="*/ 17 h 31"/>
                <a:gd name="T16" fmla="*/ 0 w 21"/>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1">
                  <a:moveTo>
                    <a:pt x="0" y="0"/>
                  </a:moveTo>
                  <a:cubicBezTo>
                    <a:pt x="0" y="1"/>
                    <a:pt x="0" y="1"/>
                    <a:pt x="0" y="2"/>
                  </a:cubicBezTo>
                  <a:cubicBezTo>
                    <a:pt x="1" y="9"/>
                    <a:pt x="1" y="16"/>
                    <a:pt x="1" y="23"/>
                  </a:cubicBezTo>
                  <a:cubicBezTo>
                    <a:pt x="7" y="29"/>
                    <a:pt x="7" y="29"/>
                    <a:pt x="7" y="29"/>
                  </a:cubicBezTo>
                  <a:cubicBezTo>
                    <a:pt x="9" y="31"/>
                    <a:pt x="11" y="31"/>
                    <a:pt x="13" y="31"/>
                  </a:cubicBezTo>
                  <a:cubicBezTo>
                    <a:pt x="15" y="31"/>
                    <a:pt x="17" y="30"/>
                    <a:pt x="19" y="29"/>
                  </a:cubicBezTo>
                  <a:cubicBezTo>
                    <a:pt x="20" y="27"/>
                    <a:pt x="21" y="25"/>
                    <a:pt x="21" y="23"/>
                  </a:cubicBezTo>
                  <a:cubicBezTo>
                    <a:pt x="21" y="20"/>
                    <a:pt x="20" y="18"/>
                    <a:pt x="18" y="17"/>
                  </a:cubicBezTo>
                  <a:cubicBezTo>
                    <a:pt x="0" y="0"/>
                    <a:pt x="0" y="0"/>
                    <a:pt x="0"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3" name="Freeform 731"/>
            <p:cNvSpPr>
              <a:spLocks/>
            </p:cNvSpPr>
            <p:nvPr/>
          </p:nvSpPr>
          <p:spPr bwMode="auto">
            <a:xfrm>
              <a:off x="6477801" y="2383452"/>
              <a:ext cx="58998" cy="79998"/>
            </a:xfrm>
            <a:custGeom>
              <a:avLst/>
              <a:gdLst>
                <a:gd name="T0" fmla="*/ 0 w 25"/>
                <a:gd name="T1" fmla="*/ 0 h 34"/>
                <a:gd name="T2" fmla="*/ 2 w 25"/>
                <a:gd name="T3" fmla="*/ 2 h 34"/>
                <a:gd name="T4" fmla="*/ 20 w 25"/>
                <a:gd name="T5" fmla="*/ 19 h 34"/>
                <a:gd name="T6" fmla="*/ 23 w 25"/>
                <a:gd name="T7" fmla="*/ 25 h 34"/>
                <a:gd name="T8" fmla="*/ 21 w 25"/>
                <a:gd name="T9" fmla="*/ 31 h 34"/>
                <a:gd name="T10" fmla="*/ 15 w 25"/>
                <a:gd name="T11" fmla="*/ 33 h 34"/>
                <a:gd name="T12" fmla="*/ 9 w 25"/>
                <a:gd name="T13" fmla="*/ 31 h 34"/>
                <a:gd name="T14" fmla="*/ 3 w 25"/>
                <a:gd name="T15" fmla="*/ 25 h 34"/>
                <a:gd name="T16" fmla="*/ 3 w 25"/>
                <a:gd name="T17" fmla="*/ 26 h 34"/>
                <a:gd name="T18" fmla="*/ 9 w 25"/>
                <a:gd name="T19" fmla="*/ 32 h 34"/>
                <a:gd name="T20" fmla="*/ 15 w 25"/>
                <a:gd name="T21" fmla="*/ 34 h 34"/>
                <a:gd name="T22" fmla="*/ 15 w 25"/>
                <a:gd name="T23" fmla="*/ 34 h 34"/>
                <a:gd name="T24" fmla="*/ 21 w 25"/>
                <a:gd name="T25" fmla="*/ 31 h 34"/>
                <a:gd name="T26" fmla="*/ 21 w 25"/>
                <a:gd name="T27" fmla="*/ 18 h 34"/>
                <a:gd name="T28" fmla="*/ 0 w 25"/>
                <a:gd name="T2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34">
                  <a:moveTo>
                    <a:pt x="0" y="0"/>
                  </a:moveTo>
                  <a:cubicBezTo>
                    <a:pt x="1" y="1"/>
                    <a:pt x="1" y="1"/>
                    <a:pt x="2" y="2"/>
                  </a:cubicBezTo>
                  <a:cubicBezTo>
                    <a:pt x="20" y="19"/>
                    <a:pt x="20" y="19"/>
                    <a:pt x="20" y="19"/>
                  </a:cubicBezTo>
                  <a:cubicBezTo>
                    <a:pt x="22" y="20"/>
                    <a:pt x="23" y="22"/>
                    <a:pt x="23" y="25"/>
                  </a:cubicBezTo>
                  <a:cubicBezTo>
                    <a:pt x="23" y="27"/>
                    <a:pt x="22" y="29"/>
                    <a:pt x="21" y="31"/>
                  </a:cubicBezTo>
                  <a:cubicBezTo>
                    <a:pt x="19" y="32"/>
                    <a:pt x="17" y="33"/>
                    <a:pt x="15" y="33"/>
                  </a:cubicBezTo>
                  <a:cubicBezTo>
                    <a:pt x="13" y="33"/>
                    <a:pt x="11" y="33"/>
                    <a:pt x="9" y="31"/>
                  </a:cubicBezTo>
                  <a:cubicBezTo>
                    <a:pt x="3" y="25"/>
                    <a:pt x="3" y="25"/>
                    <a:pt x="3" y="25"/>
                  </a:cubicBezTo>
                  <a:cubicBezTo>
                    <a:pt x="3" y="26"/>
                    <a:pt x="3" y="26"/>
                    <a:pt x="3" y="26"/>
                  </a:cubicBezTo>
                  <a:cubicBezTo>
                    <a:pt x="9" y="32"/>
                    <a:pt x="9" y="32"/>
                    <a:pt x="9" y="32"/>
                  </a:cubicBezTo>
                  <a:cubicBezTo>
                    <a:pt x="11" y="33"/>
                    <a:pt x="13" y="34"/>
                    <a:pt x="15" y="34"/>
                  </a:cubicBezTo>
                  <a:cubicBezTo>
                    <a:pt x="15" y="34"/>
                    <a:pt x="15" y="34"/>
                    <a:pt x="15" y="34"/>
                  </a:cubicBezTo>
                  <a:cubicBezTo>
                    <a:pt x="17" y="34"/>
                    <a:pt x="20" y="33"/>
                    <a:pt x="21" y="31"/>
                  </a:cubicBezTo>
                  <a:cubicBezTo>
                    <a:pt x="25" y="27"/>
                    <a:pt x="24" y="22"/>
                    <a:pt x="21" y="18"/>
                  </a:cubicBezTo>
                  <a:cubicBezTo>
                    <a:pt x="0" y="0"/>
                    <a:pt x="0" y="0"/>
                    <a:pt x="0" y="0"/>
                  </a:cubicBezTo>
                </a:path>
              </a:pathLst>
            </a:custGeom>
            <a:solidFill>
              <a:srgbClr val="003B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4" name="Freeform 732"/>
            <p:cNvSpPr>
              <a:spLocks/>
            </p:cNvSpPr>
            <p:nvPr/>
          </p:nvSpPr>
          <p:spPr bwMode="auto">
            <a:xfrm>
              <a:off x="6463801" y="2381452"/>
              <a:ext cx="20999" cy="62998"/>
            </a:xfrm>
            <a:custGeom>
              <a:avLst/>
              <a:gdLst>
                <a:gd name="T0" fmla="*/ 5 w 9"/>
                <a:gd name="T1" fmla="*/ 0 h 27"/>
                <a:gd name="T2" fmla="*/ 8 w 9"/>
                <a:gd name="T3" fmla="*/ 6 h 27"/>
                <a:gd name="T4" fmla="*/ 8 w 9"/>
                <a:gd name="T5" fmla="*/ 7 h 27"/>
                <a:gd name="T6" fmla="*/ 6 w 9"/>
                <a:gd name="T7" fmla="*/ 12 h 27"/>
                <a:gd name="T8" fmla="*/ 0 w 9"/>
                <a:gd name="T9" fmla="*/ 19 h 27"/>
                <a:gd name="T10" fmla="*/ 9 w 9"/>
                <a:gd name="T11" fmla="*/ 27 h 27"/>
                <a:gd name="T12" fmla="*/ 9 w 9"/>
                <a:gd name="T13" fmla="*/ 26 h 27"/>
                <a:gd name="T14" fmla="*/ 8 w 9"/>
                <a:gd name="T15" fmla="*/ 5 h 27"/>
                <a:gd name="T16" fmla="*/ 8 w 9"/>
                <a:gd name="T17" fmla="*/ 3 h 27"/>
                <a:gd name="T18" fmla="*/ 6 w 9"/>
                <a:gd name="T19" fmla="*/ 1 h 27"/>
                <a:gd name="T20" fmla="*/ 5 w 9"/>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27">
                  <a:moveTo>
                    <a:pt x="5" y="0"/>
                  </a:moveTo>
                  <a:cubicBezTo>
                    <a:pt x="7" y="2"/>
                    <a:pt x="8" y="4"/>
                    <a:pt x="8" y="6"/>
                  </a:cubicBezTo>
                  <a:cubicBezTo>
                    <a:pt x="8" y="7"/>
                    <a:pt x="8" y="7"/>
                    <a:pt x="8" y="7"/>
                  </a:cubicBezTo>
                  <a:cubicBezTo>
                    <a:pt x="8" y="9"/>
                    <a:pt x="7" y="11"/>
                    <a:pt x="6" y="12"/>
                  </a:cubicBezTo>
                  <a:cubicBezTo>
                    <a:pt x="0" y="19"/>
                    <a:pt x="0" y="19"/>
                    <a:pt x="0" y="19"/>
                  </a:cubicBezTo>
                  <a:cubicBezTo>
                    <a:pt x="9" y="27"/>
                    <a:pt x="9" y="27"/>
                    <a:pt x="9" y="27"/>
                  </a:cubicBezTo>
                  <a:cubicBezTo>
                    <a:pt x="9" y="27"/>
                    <a:pt x="9" y="27"/>
                    <a:pt x="9" y="26"/>
                  </a:cubicBezTo>
                  <a:cubicBezTo>
                    <a:pt x="9" y="19"/>
                    <a:pt x="9" y="12"/>
                    <a:pt x="8" y="5"/>
                  </a:cubicBezTo>
                  <a:cubicBezTo>
                    <a:pt x="8" y="4"/>
                    <a:pt x="8" y="4"/>
                    <a:pt x="8" y="3"/>
                  </a:cubicBezTo>
                  <a:cubicBezTo>
                    <a:pt x="7" y="2"/>
                    <a:pt x="7" y="2"/>
                    <a:pt x="6" y="1"/>
                  </a:cubicBezTo>
                  <a:cubicBezTo>
                    <a:pt x="5" y="0"/>
                    <a:pt x="5" y="0"/>
                    <a:pt x="5"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5" name="Freeform 733"/>
            <p:cNvSpPr>
              <a:spLocks/>
            </p:cNvSpPr>
            <p:nvPr/>
          </p:nvSpPr>
          <p:spPr bwMode="auto">
            <a:xfrm>
              <a:off x="6394804" y="2388452"/>
              <a:ext cx="49998" cy="77998"/>
            </a:xfrm>
            <a:custGeom>
              <a:avLst/>
              <a:gdLst>
                <a:gd name="T0" fmla="*/ 20 w 21"/>
                <a:gd name="T1" fmla="*/ 0 h 33"/>
                <a:gd name="T2" fmla="*/ 3 w 21"/>
                <a:gd name="T3" fmla="*/ 20 h 33"/>
                <a:gd name="T4" fmla="*/ 0 w 21"/>
                <a:gd name="T5" fmla="*/ 26 h 33"/>
                <a:gd name="T6" fmla="*/ 3 w 21"/>
                <a:gd name="T7" fmla="*/ 31 h 33"/>
                <a:gd name="T8" fmla="*/ 9 w 21"/>
                <a:gd name="T9" fmla="*/ 33 h 33"/>
                <a:gd name="T10" fmla="*/ 15 w 21"/>
                <a:gd name="T11" fmla="*/ 31 h 33"/>
                <a:gd name="T12" fmla="*/ 20 w 21"/>
                <a:gd name="T13" fmla="*/ 25 h 33"/>
                <a:gd name="T14" fmla="*/ 20 w 21"/>
                <a:gd name="T15" fmla="*/ 6 h 33"/>
                <a:gd name="T16" fmla="*/ 19 w 21"/>
                <a:gd name="T17" fmla="*/ 4 h 33"/>
                <a:gd name="T18" fmla="*/ 19 w 21"/>
                <a:gd name="T19" fmla="*/ 3 h 33"/>
                <a:gd name="T20" fmla="*/ 20 w 21"/>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3">
                  <a:moveTo>
                    <a:pt x="20" y="0"/>
                  </a:moveTo>
                  <a:cubicBezTo>
                    <a:pt x="3" y="20"/>
                    <a:pt x="3" y="20"/>
                    <a:pt x="3" y="20"/>
                  </a:cubicBezTo>
                  <a:cubicBezTo>
                    <a:pt x="1" y="21"/>
                    <a:pt x="0" y="23"/>
                    <a:pt x="0" y="26"/>
                  </a:cubicBezTo>
                  <a:cubicBezTo>
                    <a:pt x="1" y="28"/>
                    <a:pt x="2" y="30"/>
                    <a:pt x="3" y="31"/>
                  </a:cubicBezTo>
                  <a:cubicBezTo>
                    <a:pt x="5" y="33"/>
                    <a:pt x="7" y="33"/>
                    <a:pt x="9" y="33"/>
                  </a:cubicBezTo>
                  <a:cubicBezTo>
                    <a:pt x="11" y="33"/>
                    <a:pt x="13" y="32"/>
                    <a:pt x="15" y="31"/>
                  </a:cubicBezTo>
                  <a:cubicBezTo>
                    <a:pt x="20" y="25"/>
                    <a:pt x="20" y="25"/>
                    <a:pt x="20" y="25"/>
                  </a:cubicBezTo>
                  <a:cubicBezTo>
                    <a:pt x="21" y="19"/>
                    <a:pt x="21" y="13"/>
                    <a:pt x="20" y="6"/>
                  </a:cubicBezTo>
                  <a:cubicBezTo>
                    <a:pt x="20" y="6"/>
                    <a:pt x="19" y="5"/>
                    <a:pt x="19" y="4"/>
                  </a:cubicBezTo>
                  <a:cubicBezTo>
                    <a:pt x="19" y="3"/>
                    <a:pt x="19" y="3"/>
                    <a:pt x="19" y="3"/>
                  </a:cubicBezTo>
                  <a:cubicBezTo>
                    <a:pt x="19" y="2"/>
                    <a:pt x="20" y="1"/>
                    <a:pt x="20"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6" name="Freeform 734"/>
            <p:cNvSpPr>
              <a:spLocks/>
            </p:cNvSpPr>
            <p:nvPr/>
          </p:nvSpPr>
          <p:spPr bwMode="auto">
            <a:xfrm>
              <a:off x="6392804" y="2376452"/>
              <a:ext cx="67998" cy="91997"/>
            </a:xfrm>
            <a:custGeom>
              <a:avLst/>
              <a:gdLst>
                <a:gd name="T0" fmla="*/ 29 w 29"/>
                <a:gd name="T1" fmla="*/ 0 h 39"/>
                <a:gd name="T2" fmla="*/ 29 w 29"/>
                <a:gd name="T3" fmla="*/ 0 h 39"/>
                <a:gd name="T4" fmla="*/ 23 w 29"/>
                <a:gd name="T5" fmla="*/ 3 h 39"/>
                <a:gd name="T6" fmla="*/ 3 w 29"/>
                <a:gd name="T7" fmla="*/ 24 h 39"/>
                <a:gd name="T8" fmla="*/ 4 w 29"/>
                <a:gd name="T9" fmla="*/ 37 h 39"/>
                <a:gd name="T10" fmla="*/ 10 w 29"/>
                <a:gd name="T11" fmla="*/ 39 h 39"/>
                <a:gd name="T12" fmla="*/ 16 w 29"/>
                <a:gd name="T13" fmla="*/ 36 h 39"/>
                <a:gd name="T14" fmla="*/ 21 w 29"/>
                <a:gd name="T15" fmla="*/ 31 h 39"/>
                <a:gd name="T16" fmla="*/ 21 w 29"/>
                <a:gd name="T17" fmla="*/ 30 h 39"/>
                <a:gd name="T18" fmla="*/ 16 w 29"/>
                <a:gd name="T19" fmla="*/ 36 h 39"/>
                <a:gd name="T20" fmla="*/ 10 w 29"/>
                <a:gd name="T21" fmla="*/ 38 h 39"/>
                <a:gd name="T22" fmla="*/ 4 w 29"/>
                <a:gd name="T23" fmla="*/ 36 h 39"/>
                <a:gd name="T24" fmla="*/ 1 w 29"/>
                <a:gd name="T25" fmla="*/ 31 h 39"/>
                <a:gd name="T26" fmla="*/ 4 w 29"/>
                <a:gd name="T27" fmla="*/ 25 h 39"/>
                <a:gd name="T28" fmla="*/ 21 w 29"/>
                <a:gd name="T29" fmla="*/ 5 h 39"/>
                <a:gd name="T30" fmla="*/ 23 w 29"/>
                <a:gd name="T31" fmla="*/ 3 h 39"/>
                <a:gd name="T32" fmla="*/ 29 w 29"/>
                <a:gd name="T33" fmla="*/ 0 h 39"/>
                <a:gd name="T34" fmla="*/ 29 w 29"/>
                <a:gd name="T35" fmla="*/ 0 h 39"/>
                <a:gd name="T36" fmla="*/ 29 w 29"/>
                <a:gd name="T37" fmla="*/ 0 h 39"/>
                <a:gd name="T38" fmla="*/ 29 w 29"/>
                <a:gd name="T39" fmla="*/ 0 h 39"/>
                <a:gd name="T40" fmla="*/ 29 w 29"/>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9">
                  <a:moveTo>
                    <a:pt x="29" y="0"/>
                  </a:moveTo>
                  <a:cubicBezTo>
                    <a:pt x="29" y="0"/>
                    <a:pt x="29" y="0"/>
                    <a:pt x="29" y="0"/>
                  </a:cubicBezTo>
                  <a:cubicBezTo>
                    <a:pt x="27" y="0"/>
                    <a:pt x="24" y="1"/>
                    <a:pt x="23" y="3"/>
                  </a:cubicBezTo>
                  <a:cubicBezTo>
                    <a:pt x="3" y="24"/>
                    <a:pt x="3" y="24"/>
                    <a:pt x="3" y="24"/>
                  </a:cubicBezTo>
                  <a:cubicBezTo>
                    <a:pt x="0" y="28"/>
                    <a:pt x="0" y="33"/>
                    <a:pt x="4" y="37"/>
                  </a:cubicBezTo>
                  <a:cubicBezTo>
                    <a:pt x="5" y="38"/>
                    <a:pt x="8" y="39"/>
                    <a:pt x="10" y="39"/>
                  </a:cubicBezTo>
                  <a:cubicBezTo>
                    <a:pt x="12" y="39"/>
                    <a:pt x="15" y="38"/>
                    <a:pt x="16" y="36"/>
                  </a:cubicBezTo>
                  <a:cubicBezTo>
                    <a:pt x="21" y="31"/>
                    <a:pt x="21" y="31"/>
                    <a:pt x="21" y="31"/>
                  </a:cubicBezTo>
                  <a:cubicBezTo>
                    <a:pt x="21" y="31"/>
                    <a:pt x="21" y="31"/>
                    <a:pt x="21" y="30"/>
                  </a:cubicBezTo>
                  <a:cubicBezTo>
                    <a:pt x="16" y="36"/>
                    <a:pt x="16" y="36"/>
                    <a:pt x="16" y="36"/>
                  </a:cubicBezTo>
                  <a:cubicBezTo>
                    <a:pt x="14" y="37"/>
                    <a:pt x="12" y="38"/>
                    <a:pt x="10" y="38"/>
                  </a:cubicBezTo>
                  <a:cubicBezTo>
                    <a:pt x="8" y="38"/>
                    <a:pt x="6" y="38"/>
                    <a:pt x="4" y="36"/>
                  </a:cubicBezTo>
                  <a:cubicBezTo>
                    <a:pt x="3" y="35"/>
                    <a:pt x="2" y="33"/>
                    <a:pt x="1" y="31"/>
                  </a:cubicBezTo>
                  <a:cubicBezTo>
                    <a:pt x="1" y="28"/>
                    <a:pt x="2" y="26"/>
                    <a:pt x="4" y="25"/>
                  </a:cubicBezTo>
                  <a:cubicBezTo>
                    <a:pt x="21" y="5"/>
                    <a:pt x="21" y="5"/>
                    <a:pt x="21" y="5"/>
                  </a:cubicBezTo>
                  <a:cubicBezTo>
                    <a:pt x="21" y="4"/>
                    <a:pt x="22" y="3"/>
                    <a:pt x="23" y="3"/>
                  </a:cubicBezTo>
                  <a:cubicBezTo>
                    <a:pt x="24" y="1"/>
                    <a:pt x="27" y="0"/>
                    <a:pt x="29" y="0"/>
                  </a:cubicBezTo>
                  <a:cubicBezTo>
                    <a:pt x="29" y="0"/>
                    <a:pt x="29" y="0"/>
                    <a:pt x="29" y="0"/>
                  </a:cubicBezTo>
                  <a:cubicBezTo>
                    <a:pt x="29" y="0"/>
                    <a:pt x="29" y="0"/>
                    <a:pt x="29" y="0"/>
                  </a:cubicBezTo>
                  <a:cubicBezTo>
                    <a:pt x="29" y="0"/>
                    <a:pt x="29" y="0"/>
                    <a:pt x="29" y="0"/>
                  </a:cubicBezTo>
                  <a:cubicBezTo>
                    <a:pt x="29" y="0"/>
                    <a:pt x="29" y="0"/>
                    <a:pt x="29" y="0"/>
                  </a:cubicBezTo>
                </a:path>
              </a:pathLst>
            </a:custGeom>
            <a:solidFill>
              <a:srgbClr val="003B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7" name="Freeform 735"/>
            <p:cNvSpPr>
              <a:spLocks noEditPoints="1"/>
            </p:cNvSpPr>
            <p:nvPr/>
          </p:nvSpPr>
          <p:spPr bwMode="auto">
            <a:xfrm>
              <a:off x="6441802" y="2376452"/>
              <a:ext cx="32999" cy="72998"/>
            </a:xfrm>
            <a:custGeom>
              <a:avLst/>
              <a:gdLst>
                <a:gd name="T0" fmla="*/ 0 w 14"/>
                <a:gd name="T1" fmla="*/ 11 h 31"/>
                <a:gd name="T2" fmla="*/ 0 w 14"/>
                <a:gd name="T3" fmla="*/ 30 h 31"/>
                <a:gd name="T4" fmla="*/ 0 w 14"/>
                <a:gd name="T5" fmla="*/ 31 h 31"/>
                <a:gd name="T6" fmla="*/ 9 w 14"/>
                <a:gd name="T7" fmla="*/ 21 h 31"/>
                <a:gd name="T8" fmla="*/ 2 w 14"/>
                <a:gd name="T9" fmla="*/ 15 h 31"/>
                <a:gd name="T10" fmla="*/ 0 w 14"/>
                <a:gd name="T11" fmla="*/ 11 h 31"/>
                <a:gd name="T12" fmla="*/ 8 w 14"/>
                <a:gd name="T13" fmla="*/ 0 h 31"/>
                <a:gd name="T14" fmla="*/ 8 w 14"/>
                <a:gd name="T15" fmla="*/ 0 h 31"/>
                <a:gd name="T16" fmla="*/ 14 w 14"/>
                <a:gd name="T17" fmla="*/ 2 h 31"/>
                <a:gd name="T18" fmla="*/ 14 w 14"/>
                <a:gd name="T19" fmla="*/ 2 h 31"/>
                <a:gd name="T20" fmla="*/ 14 w 14"/>
                <a:gd name="T21" fmla="*/ 2 h 31"/>
                <a:gd name="T22" fmla="*/ 8 w 14"/>
                <a:gd name="T23" fmla="*/ 0 h 31"/>
                <a:gd name="T24" fmla="*/ 8 w 14"/>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1">
                  <a:moveTo>
                    <a:pt x="0" y="11"/>
                  </a:moveTo>
                  <a:cubicBezTo>
                    <a:pt x="1" y="18"/>
                    <a:pt x="1" y="24"/>
                    <a:pt x="0" y="30"/>
                  </a:cubicBezTo>
                  <a:cubicBezTo>
                    <a:pt x="0" y="31"/>
                    <a:pt x="0" y="31"/>
                    <a:pt x="0" y="31"/>
                  </a:cubicBezTo>
                  <a:cubicBezTo>
                    <a:pt x="9" y="21"/>
                    <a:pt x="9" y="21"/>
                    <a:pt x="9" y="21"/>
                  </a:cubicBezTo>
                  <a:cubicBezTo>
                    <a:pt x="2" y="15"/>
                    <a:pt x="2" y="15"/>
                    <a:pt x="2" y="15"/>
                  </a:cubicBezTo>
                  <a:cubicBezTo>
                    <a:pt x="1" y="14"/>
                    <a:pt x="0" y="13"/>
                    <a:pt x="0" y="11"/>
                  </a:cubicBezTo>
                  <a:moveTo>
                    <a:pt x="8" y="0"/>
                  </a:moveTo>
                  <a:cubicBezTo>
                    <a:pt x="8" y="0"/>
                    <a:pt x="8" y="0"/>
                    <a:pt x="8" y="0"/>
                  </a:cubicBezTo>
                  <a:cubicBezTo>
                    <a:pt x="10" y="0"/>
                    <a:pt x="13" y="0"/>
                    <a:pt x="14" y="2"/>
                  </a:cubicBezTo>
                  <a:cubicBezTo>
                    <a:pt x="14" y="2"/>
                    <a:pt x="14" y="2"/>
                    <a:pt x="14" y="2"/>
                  </a:cubicBezTo>
                  <a:cubicBezTo>
                    <a:pt x="14" y="2"/>
                    <a:pt x="14" y="2"/>
                    <a:pt x="14" y="2"/>
                  </a:cubicBezTo>
                  <a:cubicBezTo>
                    <a:pt x="13" y="0"/>
                    <a:pt x="11" y="0"/>
                    <a:pt x="8" y="0"/>
                  </a:cubicBezTo>
                  <a:cubicBezTo>
                    <a:pt x="8" y="0"/>
                    <a:pt x="8" y="0"/>
                    <a:pt x="8"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8" name="Freeform 736"/>
            <p:cNvSpPr>
              <a:spLocks/>
            </p:cNvSpPr>
            <p:nvPr/>
          </p:nvSpPr>
          <p:spPr bwMode="auto">
            <a:xfrm>
              <a:off x="6439802" y="2388452"/>
              <a:ext cx="2000" cy="14000"/>
            </a:xfrm>
            <a:custGeom>
              <a:avLst/>
              <a:gdLst>
                <a:gd name="T0" fmla="*/ 1 w 1"/>
                <a:gd name="T1" fmla="*/ 0 h 6"/>
                <a:gd name="T2" fmla="*/ 1 w 1"/>
                <a:gd name="T3" fmla="*/ 0 h 6"/>
                <a:gd name="T4" fmla="*/ 0 w 1"/>
                <a:gd name="T5" fmla="*/ 3 h 6"/>
                <a:gd name="T6" fmla="*/ 0 w 1"/>
                <a:gd name="T7" fmla="*/ 4 h 6"/>
                <a:gd name="T8" fmla="*/ 1 w 1"/>
                <a:gd name="T9" fmla="*/ 6 h 6"/>
                <a:gd name="T10" fmla="*/ 1 w 1"/>
                <a:gd name="T11" fmla="*/ 5 h 6"/>
                <a:gd name="T12" fmla="*/ 1 w 1"/>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 h="6">
                  <a:moveTo>
                    <a:pt x="1" y="0"/>
                  </a:moveTo>
                  <a:cubicBezTo>
                    <a:pt x="1" y="0"/>
                    <a:pt x="1" y="0"/>
                    <a:pt x="1" y="0"/>
                  </a:cubicBezTo>
                  <a:cubicBezTo>
                    <a:pt x="1" y="1"/>
                    <a:pt x="0" y="2"/>
                    <a:pt x="0" y="3"/>
                  </a:cubicBezTo>
                  <a:cubicBezTo>
                    <a:pt x="0" y="4"/>
                    <a:pt x="0" y="4"/>
                    <a:pt x="0" y="4"/>
                  </a:cubicBezTo>
                  <a:cubicBezTo>
                    <a:pt x="0" y="5"/>
                    <a:pt x="1" y="6"/>
                    <a:pt x="1" y="6"/>
                  </a:cubicBezTo>
                  <a:cubicBezTo>
                    <a:pt x="1" y="6"/>
                    <a:pt x="1" y="5"/>
                    <a:pt x="1" y="5"/>
                  </a:cubicBezTo>
                  <a:cubicBezTo>
                    <a:pt x="0" y="3"/>
                    <a:pt x="1" y="1"/>
                    <a:pt x="1"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49" name="Freeform 737"/>
            <p:cNvSpPr>
              <a:spLocks/>
            </p:cNvSpPr>
            <p:nvPr/>
          </p:nvSpPr>
          <p:spPr bwMode="auto">
            <a:xfrm>
              <a:off x="6441802" y="2376452"/>
              <a:ext cx="18999" cy="12000"/>
            </a:xfrm>
            <a:custGeom>
              <a:avLst/>
              <a:gdLst>
                <a:gd name="T0" fmla="*/ 8 w 8"/>
                <a:gd name="T1" fmla="*/ 0 h 5"/>
                <a:gd name="T2" fmla="*/ 2 w 8"/>
                <a:gd name="T3" fmla="*/ 3 h 5"/>
                <a:gd name="T4" fmla="*/ 0 w 8"/>
                <a:gd name="T5" fmla="*/ 5 h 5"/>
                <a:gd name="T6" fmla="*/ 0 w 8"/>
                <a:gd name="T7" fmla="*/ 5 h 5"/>
                <a:gd name="T8" fmla="*/ 7 w 8"/>
                <a:gd name="T9" fmla="*/ 0 h 5"/>
                <a:gd name="T10" fmla="*/ 8 w 8"/>
                <a:gd name="T11" fmla="*/ 0 h 5"/>
                <a:gd name="T12" fmla="*/ 8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8" y="0"/>
                  </a:moveTo>
                  <a:cubicBezTo>
                    <a:pt x="6" y="0"/>
                    <a:pt x="3" y="1"/>
                    <a:pt x="2" y="3"/>
                  </a:cubicBezTo>
                  <a:cubicBezTo>
                    <a:pt x="1" y="3"/>
                    <a:pt x="0" y="4"/>
                    <a:pt x="0" y="5"/>
                  </a:cubicBezTo>
                  <a:cubicBezTo>
                    <a:pt x="0" y="5"/>
                    <a:pt x="0" y="5"/>
                    <a:pt x="0" y="5"/>
                  </a:cubicBezTo>
                  <a:cubicBezTo>
                    <a:pt x="1" y="2"/>
                    <a:pt x="4" y="0"/>
                    <a:pt x="7" y="0"/>
                  </a:cubicBezTo>
                  <a:cubicBezTo>
                    <a:pt x="8" y="0"/>
                    <a:pt x="8" y="0"/>
                    <a:pt x="8" y="0"/>
                  </a:cubicBezTo>
                  <a:cubicBezTo>
                    <a:pt x="8" y="0"/>
                    <a:pt x="8" y="0"/>
                    <a:pt x="8" y="0"/>
                  </a:cubicBezTo>
                </a:path>
              </a:pathLst>
            </a:custGeom>
            <a:solidFill>
              <a:srgbClr val="002B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50" name="Freeform 738"/>
            <p:cNvSpPr>
              <a:spLocks/>
            </p:cNvSpPr>
            <p:nvPr/>
          </p:nvSpPr>
          <p:spPr bwMode="auto">
            <a:xfrm>
              <a:off x="6439802" y="2376452"/>
              <a:ext cx="42999" cy="49998"/>
            </a:xfrm>
            <a:custGeom>
              <a:avLst/>
              <a:gdLst>
                <a:gd name="T0" fmla="*/ 9 w 18"/>
                <a:gd name="T1" fmla="*/ 0 h 21"/>
                <a:gd name="T2" fmla="*/ 8 w 18"/>
                <a:gd name="T3" fmla="*/ 0 h 21"/>
                <a:gd name="T4" fmla="*/ 1 w 18"/>
                <a:gd name="T5" fmla="*/ 5 h 21"/>
                <a:gd name="T6" fmla="*/ 1 w 18"/>
                <a:gd name="T7" fmla="*/ 10 h 21"/>
                <a:gd name="T8" fmla="*/ 1 w 18"/>
                <a:gd name="T9" fmla="*/ 11 h 21"/>
                <a:gd name="T10" fmla="*/ 3 w 18"/>
                <a:gd name="T11" fmla="*/ 15 h 21"/>
                <a:gd name="T12" fmla="*/ 10 w 18"/>
                <a:gd name="T13" fmla="*/ 21 h 21"/>
                <a:gd name="T14" fmla="*/ 16 w 18"/>
                <a:gd name="T15" fmla="*/ 14 h 21"/>
                <a:gd name="T16" fmla="*/ 18 w 18"/>
                <a:gd name="T17" fmla="*/ 9 h 21"/>
                <a:gd name="T18" fmla="*/ 18 w 18"/>
                <a:gd name="T19" fmla="*/ 8 h 21"/>
                <a:gd name="T20" fmla="*/ 15 w 18"/>
                <a:gd name="T21" fmla="*/ 2 h 21"/>
                <a:gd name="T22" fmla="*/ 15 w 18"/>
                <a:gd name="T23" fmla="*/ 2 h 21"/>
                <a:gd name="T24" fmla="*/ 9 w 18"/>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1">
                  <a:moveTo>
                    <a:pt x="9" y="0"/>
                  </a:moveTo>
                  <a:cubicBezTo>
                    <a:pt x="9" y="0"/>
                    <a:pt x="9" y="0"/>
                    <a:pt x="8" y="0"/>
                  </a:cubicBezTo>
                  <a:cubicBezTo>
                    <a:pt x="5" y="0"/>
                    <a:pt x="2" y="2"/>
                    <a:pt x="1" y="5"/>
                  </a:cubicBezTo>
                  <a:cubicBezTo>
                    <a:pt x="1" y="6"/>
                    <a:pt x="0" y="8"/>
                    <a:pt x="1" y="10"/>
                  </a:cubicBezTo>
                  <a:cubicBezTo>
                    <a:pt x="1" y="10"/>
                    <a:pt x="1" y="11"/>
                    <a:pt x="1" y="11"/>
                  </a:cubicBezTo>
                  <a:cubicBezTo>
                    <a:pt x="1" y="13"/>
                    <a:pt x="2" y="14"/>
                    <a:pt x="3" y="15"/>
                  </a:cubicBezTo>
                  <a:cubicBezTo>
                    <a:pt x="10" y="21"/>
                    <a:pt x="10" y="21"/>
                    <a:pt x="10" y="21"/>
                  </a:cubicBezTo>
                  <a:cubicBezTo>
                    <a:pt x="16" y="14"/>
                    <a:pt x="16" y="14"/>
                    <a:pt x="16" y="14"/>
                  </a:cubicBezTo>
                  <a:cubicBezTo>
                    <a:pt x="17" y="13"/>
                    <a:pt x="18" y="11"/>
                    <a:pt x="18" y="9"/>
                  </a:cubicBezTo>
                  <a:cubicBezTo>
                    <a:pt x="18" y="8"/>
                    <a:pt x="18" y="8"/>
                    <a:pt x="18" y="8"/>
                  </a:cubicBezTo>
                  <a:cubicBezTo>
                    <a:pt x="18" y="6"/>
                    <a:pt x="17" y="4"/>
                    <a:pt x="15" y="2"/>
                  </a:cubicBezTo>
                  <a:cubicBezTo>
                    <a:pt x="15" y="2"/>
                    <a:pt x="15" y="2"/>
                    <a:pt x="15" y="2"/>
                  </a:cubicBezTo>
                  <a:cubicBezTo>
                    <a:pt x="14" y="0"/>
                    <a:pt x="11" y="0"/>
                    <a:pt x="9" y="0"/>
                  </a:cubicBezTo>
                </a:path>
              </a:pathLst>
            </a:custGeom>
            <a:solidFill>
              <a:srgbClr val="0064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grpSp>
      <p:sp>
        <p:nvSpPr>
          <p:cNvPr id="151" name="Rectangle 150"/>
          <p:cNvSpPr/>
          <p:nvPr/>
        </p:nvSpPr>
        <p:spPr>
          <a:xfrm>
            <a:off x="5387058" y="2108673"/>
            <a:ext cx="1589186" cy="430887"/>
          </a:xfrm>
          <a:prstGeom prst="rect">
            <a:avLst/>
          </a:prstGeom>
        </p:spPr>
        <p:txBody>
          <a:bodyPr wrap="square">
            <a:spAutoFit/>
          </a:bodyPr>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Scalable Capacity &amp;</a:t>
            </a:r>
          </a:p>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Investment Protection </a:t>
            </a:r>
          </a:p>
        </p:txBody>
      </p:sp>
      <p:sp>
        <p:nvSpPr>
          <p:cNvPr id="152" name="Rectangle 151"/>
          <p:cNvSpPr/>
          <p:nvPr/>
        </p:nvSpPr>
        <p:spPr>
          <a:xfrm>
            <a:off x="3757291" y="2105195"/>
            <a:ext cx="1587888" cy="430887"/>
          </a:xfrm>
          <a:prstGeom prst="rect">
            <a:avLst/>
          </a:prstGeom>
        </p:spPr>
        <p:txBody>
          <a:bodyPr wrap="square">
            <a:spAutoFit/>
          </a:bodyPr>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Power, Space </a:t>
            </a:r>
          </a:p>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amp; Cooling Savings</a:t>
            </a:r>
          </a:p>
        </p:txBody>
      </p:sp>
      <p:cxnSp>
        <p:nvCxnSpPr>
          <p:cNvPr id="153" name="Straight Connector 152"/>
          <p:cNvCxnSpPr/>
          <p:nvPr/>
        </p:nvCxnSpPr>
        <p:spPr>
          <a:xfrm>
            <a:off x="3970783" y="2109530"/>
            <a:ext cx="1163204" cy="0"/>
          </a:xfrm>
          <a:prstGeom prst="line">
            <a:avLst/>
          </a:prstGeom>
          <a:noFill/>
          <a:ln w="9525" cap="flat" cmpd="sng" algn="ctr">
            <a:solidFill>
              <a:srgbClr val="282828">
                <a:lumMod val="50000"/>
                <a:lumOff val="50000"/>
              </a:srgbClr>
            </a:solidFill>
            <a:prstDash val="solid"/>
          </a:ln>
          <a:effectLst/>
        </p:spPr>
      </p:cxnSp>
      <p:pic>
        <p:nvPicPr>
          <p:cNvPr id="154" name="Picture 15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9878" y="1133678"/>
            <a:ext cx="865343" cy="882298"/>
          </a:xfrm>
          <a:prstGeom prst="rect">
            <a:avLst/>
          </a:prstGeom>
        </p:spPr>
      </p:pic>
      <p:sp>
        <p:nvSpPr>
          <p:cNvPr id="155" name="Rectangle 154"/>
          <p:cNvSpPr/>
          <p:nvPr/>
        </p:nvSpPr>
        <p:spPr>
          <a:xfrm>
            <a:off x="493924" y="2162740"/>
            <a:ext cx="1589184" cy="261610"/>
          </a:xfrm>
          <a:prstGeom prst="rect">
            <a:avLst/>
          </a:prstGeom>
        </p:spPr>
        <p:txBody>
          <a:bodyPr wrap="square">
            <a:spAutoFit/>
          </a:bodyPr>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Validated Design</a:t>
            </a:r>
          </a:p>
        </p:txBody>
      </p:sp>
      <p:pic>
        <p:nvPicPr>
          <p:cNvPr id="156" name="Picture 15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71239" y="1130459"/>
            <a:ext cx="846945" cy="845460"/>
          </a:xfrm>
          <a:prstGeom prst="rect">
            <a:avLst/>
          </a:prstGeom>
        </p:spPr>
      </p:pic>
      <p:pic>
        <p:nvPicPr>
          <p:cNvPr id="157" name="Picture 15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72368" y="2698950"/>
            <a:ext cx="894440" cy="894440"/>
          </a:xfrm>
          <a:prstGeom prst="rect">
            <a:avLst/>
          </a:prstGeom>
        </p:spPr>
      </p:pic>
      <p:sp>
        <p:nvSpPr>
          <p:cNvPr id="158" name="Rectangle 157"/>
          <p:cNvSpPr/>
          <p:nvPr/>
        </p:nvSpPr>
        <p:spPr>
          <a:xfrm>
            <a:off x="5387058" y="3708770"/>
            <a:ext cx="1599426" cy="430887"/>
          </a:xfrm>
          <a:prstGeom prst="rect">
            <a:avLst/>
          </a:prstGeom>
        </p:spPr>
        <p:txBody>
          <a:bodyPr wrap="square">
            <a:spAutoFit/>
          </a:bodyPr>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CAPEX Efficiencies</a:t>
            </a:r>
          </a:p>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With Segment Routing</a:t>
            </a:r>
          </a:p>
        </p:txBody>
      </p:sp>
      <p:pic>
        <p:nvPicPr>
          <p:cNvPr id="159" name="Picture 2" descr="ttps://www.tetherfi.com/wp-content/uploads/2013/11/enhanced-customer-icon-small.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390475" y="2705539"/>
            <a:ext cx="897415" cy="897415"/>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4" descr="mage result for efficiency icon"/>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773722" y="2685393"/>
            <a:ext cx="876386" cy="876386"/>
          </a:xfrm>
          <a:prstGeom prst="rect">
            <a:avLst/>
          </a:prstGeom>
          <a:noFill/>
          <a:extLst>
            <a:ext uri="{909E8E84-426E-40DD-AFC4-6F175D3DCCD1}">
              <a14:hiddenFill xmlns:a14="http://schemas.microsoft.com/office/drawing/2010/main">
                <a:solidFill>
                  <a:srgbClr val="FFFFFF"/>
                </a:solidFill>
              </a14:hiddenFill>
            </a:ext>
          </a:extLst>
        </p:spPr>
      </p:pic>
      <p:sp>
        <p:nvSpPr>
          <p:cNvPr id="161" name="Rectangle 160"/>
          <p:cNvSpPr>
            <a:spLocks noChangeAspect="1"/>
          </p:cNvSpPr>
          <p:nvPr/>
        </p:nvSpPr>
        <p:spPr>
          <a:xfrm>
            <a:off x="7034236" y="2594543"/>
            <a:ext cx="1589185" cy="1589185"/>
          </a:xfrm>
          <a:prstGeom prst="rect">
            <a:avLst/>
          </a:prstGeom>
          <a:solidFill>
            <a:srgbClr val="FFFFFF">
              <a:lumMod val="85000"/>
            </a:srgbClr>
          </a:solidFill>
          <a:ln w="25400" cap="flat" cmpd="sng" algn="ctr">
            <a:noFill/>
            <a:prstDash val="solid"/>
          </a:ln>
          <a:effectLst/>
        </p:spPr>
        <p:txBody>
          <a:bodyPr rtlCol="0" anchor="b"/>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Higher Reliability Through</a:t>
            </a:r>
          </a:p>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Failure Isolation</a:t>
            </a:r>
            <a:endParaRPr lang="en-US" sz="3200" b="1" dirty="0">
              <a:solidFill>
                <a:schemeClr val="accent6">
                  <a:lumMod val="75000"/>
                </a:schemeClr>
              </a:solidFill>
              <a:latin typeface="CiscoSansTT ExtraLight"/>
              <a:ea typeface="ＭＳ Ｐゴシック" charset="0"/>
              <a:cs typeface="ＭＳ Ｐゴシック" charset="0"/>
            </a:endParaRPr>
          </a:p>
        </p:txBody>
      </p:sp>
      <p:grpSp>
        <p:nvGrpSpPr>
          <p:cNvPr id="162" name="Group 161"/>
          <p:cNvGrpSpPr/>
          <p:nvPr/>
        </p:nvGrpSpPr>
        <p:grpSpPr>
          <a:xfrm>
            <a:off x="7407009" y="2778699"/>
            <a:ext cx="843638" cy="862899"/>
            <a:chOff x="4170535" y="2985391"/>
            <a:chExt cx="656981" cy="671980"/>
          </a:xfrm>
        </p:grpSpPr>
        <p:sp>
          <p:nvSpPr>
            <p:cNvPr id="163" name="Oval 245"/>
            <p:cNvSpPr>
              <a:spLocks noChangeArrowheads="1"/>
            </p:cNvSpPr>
            <p:nvPr/>
          </p:nvSpPr>
          <p:spPr bwMode="auto">
            <a:xfrm>
              <a:off x="4170535" y="3006391"/>
              <a:ext cx="647980" cy="650980"/>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64" name="Freeform 246"/>
            <p:cNvSpPr>
              <a:spLocks/>
            </p:cNvSpPr>
            <p:nvPr/>
          </p:nvSpPr>
          <p:spPr bwMode="auto">
            <a:xfrm>
              <a:off x="4640521" y="3165386"/>
              <a:ext cx="179995" cy="455986"/>
            </a:xfrm>
            <a:custGeom>
              <a:avLst/>
              <a:gdLst>
                <a:gd name="T0" fmla="*/ 56 w 76"/>
                <a:gd name="T1" fmla="*/ 0 h 193"/>
                <a:gd name="T2" fmla="*/ 56 w 76"/>
                <a:gd name="T3" fmla="*/ 0 h 193"/>
                <a:gd name="T4" fmla="*/ 75 w 76"/>
                <a:gd name="T5" fmla="*/ 71 h 193"/>
                <a:gd name="T6" fmla="*/ 0 w 76"/>
                <a:gd name="T7" fmla="*/ 193 h 193"/>
                <a:gd name="T8" fmla="*/ 76 w 76"/>
                <a:gd name="T9" fmla="*/ 70 h 193"/>
                <a:gd name="T10" fmla="*/ 56 w 76"/>
                <a:gd name="T11" fmla="*/ 0 h 193"/>
              </a:gdLst>
              <a:ahLst/>
              <a:cxnLst>
                <a:cxn ang="0">
                  <a:pos x="T0" y="T1"/>
                </a:cxn>
                <a:cxn ang="0">
                  <a:pos x="T2" y="T3"/>
                </a:cxn>
                <a:cxn ang="0">
                  <a:pos x="T4" y="T5"/>
                </a:cxn>
                <a:cxn ang="0">
                  <a:pos x="T6" y="T7"/>
                </a:cxn>
                <a:cxn ang="0">
                  <a:pos x="T8" y="T9"/>
                </a:cxn>
                <a:cxn ang="0">
                  <a:pos x="T10" y="T11"/>
                </a:cxn>
              </a:cxnLst>
              <a:rect l="0" t="0" r="r" b="b"/>
              <a:pathLst>
                <a:path w="76" h="193">
                  <a:moveTo>
                    <a:pt x="56" y="0"/>
                  </a:moveTo>
                  <a:cubicBezTo>
                    <a:pt x="56" y="0"/>
                    <a:pt x="56" y="0"/>
                    <a:pt x="56" y="0"/>
                  </a:cubicBezTo>
                  <a:cubicBezTo>
                    <a:pt x="68" y="21"/>
                    <a:pt x="75" y="45"/>
                    <a:pt x="75" y="71"/>
                  </a:cubicBezTo>
                  <a:cubicBezTo>
                    <a:pt x="75" y="124"/>
                    <a:pt x="45" y="170"/>
                    <a:pt x="0" y="193"/>
                  </a:cubicBezTo>
                  <a:cubicBezTo>
                    <a:pt x="45" y="170"/>
                    <a:pt x="76" y="124"/>
                    <a:pt x="76" y="70"/>
                  </a:cubicBezTo>
                  <a:cubicBezTo>
                    <a:pt x="76" y="44"/>
                    <a:pt x="69" y="20"/>
                    <a:pt x="56" y="0"/>
                  </a:cubicBezTo>
                </a:path>
              </a:pathLst>
            </a:custGeom>
            <a:solidFill>
              <a:srgbClr val="A7A5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65" name="Freeform 247"/>
            <p:cNvSpPr>
              <a:spLocks/>
            </p:cNvSpPr>
            <p:nvPr/>
          </p:nvSpPr>
          <p:spPr bwMode="auto">
            <a:xfrm>
              <a:off x="4440527" y="3165386"/>
              <a:ext cx="377988" cy="488985"/>
            </a:xfrm>
            <a:custGeom>
              <a:avLst/>
              <a:gdLst>
                <a:gd name="T0" fmla="*/ 141 w 160"/>
                <a:gd name="T1" fmla="*/ 0 h 207"/>
                <a:gd name="T2" fmla="*/ 47 w 160"/>
                <a:gd name="T3" fmla="*/ 141 h 207"/>
                <a:gd name="T4" fmla="*/ 47 w 160"/>
                <a:gd name="T5" fmla="*/ 141 h 207"/>
                <a:gd name="T6" fmla="*/ 47 w 160"/>
                <a:gd name="T7" fmla="*/ 141 h 207"/>
                <a:gd name="T8" fmla="*/ 47 w 160"/>
                <a:gd name="T9" fmla="*/ 141 h 207"/>
                <a:gd name="T10" fmla="*/ 47 w 160"/>
                <a:gd name="T11" fmla="*/ 141 h 207"/>
                <a:gd name="T12" fmla="*/ 47 w 160"/>
                <a:gd name="T13" fmla="*/ 141 h 207"/>
                <a:gd name="T14" fmla="*/ 47 w 160"/>
                <a:gd name="T15" fmla="*/ 142 h 207"/>
                <a:gd name="T16" fmla="*/ 47 w 160"/>
                <a:gd name="T17" fmla="*/ 142 h 207"/>
                <a:gd name="T18" fmla="*/ 47 w 160"/>
                <a:gd name="T19" fmla="*/ 142 h 207"/>
                <a:gd name="T20" fmla="*/ 47 w 160"/>
                <a:gd name="T21" fmla="*/ 142 h 207"/>
                <a:gd name="T22" fmla="*/ 47 w 160"/>
                <a:gd name="T23" fmla="*/ 142 h 207"/>
                <a:gd name="T24" fmla="*/ 46 w 160"/>
                <a:gd name="T25" fmla="*/ 142 h 207"/>
                <a:gd name="T26" fmla="*/ 46 w 160"/>
                <a:gd name="T27" fmla="*/ 142 h 207"/>
                <a:gd name="T28" fmla="*/ 46 w 160"/>
                <a:gd name="T29" fmla="*/ 142 h 207"/>
                <a:gd name="T30" fmla="*/ 46 w 160"/>
                <a:gd name="T31" fmla="*/ 142 h 207"/>
                <a:gd name="T32" fmla="*/ 46 w 160"/>
                <a:gd name="T33" fmla="*/ 142 h 207"/>
                <a:gd name="T34" fmla="*/ 46 w 160"/>
                <a:gd name="T35" fmla="*/ 143 h 207"/>
                <a:gd name="T36" fmla="*/ 46 w 160"/>
                <a:gd name="T37" fmla="*/ 143 h 207"/>
                <a:gd name="T38" fmla="*/ 34 w 160"/>
                <a:gd name="T39" fmla="*/ 152 h 207"/>
                <a:gd name="T40" fmla="*/ 20 w 160"/>
                <a:gd name="T41" fmla="*/ 156 h 207"/>
                <a:gd name="T42" fmla="*/ 20 w 160"/>
                <a:gd name="T43" fmla="*/ 156 h 207"/>
                <a:gd name="T44" fmla="*/ 20 w 160"/>
                <a:gd name="T45" fmla="*/ 156 h 207"/>
                <a:gd name="T46" fmla="*/ 5 w 160"/>
                <a:gd name="T47" fmla="*/ 152 h 207"/>
                <a:gd name="T48" fmla="*/ 0 w 160"/>
                <a:gd name="T49" fmla="*/ 149 h 207"/>
                <a:gd name="T50" fmla="*/ 38 w 160"/>
                <a:gd name="T51" fmla="*/ 207 h 207"/>
                <a:gd name="T52" fmla="*/ 85 w 160"/>
                <a:gd name="T53" fmla="*/ 193 h 207"/>
                <a:gd name="T54" fmla="*/ 160 w 160"/>
                <a:gd name="T55" fmla="*/ 71 h 207"/>
                <a:gd name="T56" fmla="*/ 141 w 160"/>
                <a:gd name="T57"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207">
                  <a:moveTo>
                    <a:pt x="141" y="0"/>
                  </a:moveTo>
                  <a:cubicBezTo>
                    <a:pt x="47" y="141"/>
                    <a:pt x="47" y="141"/>
                    <a:pt x="47" y="141"/>
                  </a:cubicBezTo>
                  <a:cubicBezTo>
                    <a:pt x="47" y="141"/>
                    <a:pt x="47" y="141"/>
                    <a:pt x="47" y="141"/>
                  </a:cubicBezTo>
                  <a:cubicBezTo>
                    <a:pt x="47" y="141"/>
                    <a:pt x="47" y="141"/>
                    <a:pt x="47" y="141"/>
                  </a:cubicBezTo>
                  <a:cubicBezTo>
                    <a:pt x="47" y="141"/>
                    <a:pt x="47" y="141"/>
                    <a:pt x="47" y="141"/>
                  </a:cubicBezTo>
                  <a:cubicBezTo>
                    <a:pt x="47" y="141"/>
                    <a:pt x="47" y="141"/>
                    <a:pt x="47" y="141"/>
                  </a:cubicBezTo>
                  <a:cubicBezTo>
                    <a:pt x="47" y="141"/>
                    <a:pt x="47" y="141"/>
                    <a:pt x="47" y="141"/>
                  </a:cubicBezTo>
                  <a:cubicBezTo>
                    <a:pt x="47" y="141"/>
                    <a:pt x="47" y="141"/>
                    <a:pt x="47" y="142"/>
                  </a:cubicBezTo>
                  <a:cubicBezTo>
                    <a:pt x="47" y="142"/>
                    <a:pt x="47" y="142"/>
                    <a:pt x="47" y="142"/>
                  </a:cubicBezTo>
                  <a:cubicBezTo>
                    <a:pt x="47" y="142"/>
                    <a:pt x="47" y="142"/>
                    <a:pt x="47" y="142"/>
                  </a:cubicBezTo>
                  <a:cubicBezTo>
                    <a:pt x="47" y="142"/>
                    <a:pt x="47" y="142"/>
                    <a:pt x="47" y="142"/>
                  </a:cubicBezTo>
                  <a:cubicBezTo>
                    <a:pt x="47" y="142"/>
                    <a:pt x="47" y="142"/>
                    <a:pt x="47" y="142"/>
                  </a:cubicBezTo>
                  <a:cubicBezTo>
                    <a:pt x="47" y="142"/>
                    <a:pt x="46" y="142"/>
                    <a:pt x="46" y="142"/>
                  </a:cubicBezTo>
                  <a:cubicBezTo>
                    <a:pt x="46" y="142"/>
                    <a:pt x="46" y="142"/>
                    <a:pt x="46" y="142"/>
                  </a:cubicBezTo>
                  <a:cubicBezTo>
                    <a:pt x="46" y="142"/>
                    <a:pt x="46" y="142"/>
                    <a:pt x="46" y="142"/>
                  </a:cubicBezTo>
                  <a:cubicBezTo>
                    <a:pt x="46" y="142"/>
                    <a:pt x="46" y="142"/>
                    <a:pt x="46" y="142"/>
                  </a:cubicBezTo>
                  <a:cubicBezTo>
                    <a:pt x="46" y="142"/>
                    <a:pt x="46" y="142"/>
                    <a:pt x="46" y="142"/>
                  </a:cubicBezTo>
                  <a:cubicBezTo>
                    <a:pt x="46" y="143"/>
                    <a:pt x="46" y="143"/>
                    <a:pt x="46" y="143"/>
                  </a:cubicBezTo>
                  <a:cubicBezTo>
                    <a:pt x="46" y="143"/>
                    <a:pt x="46" y="143"/>
                    <a:pt x="46" y="143"/>
                  </a:cubicBezTo>
                  <a:cubicBezTo>
                    <a:pt x="43" y="147"/>
                    <a:pt x="39" y="150"/>
                    <a:pt x="34" y="152"/>
                  </a:cubicBezTo>
                  <a:cubicBezTo>
                    <a:pt x="30" y="154"/>
                    <a:pt x="25" y="156"/>
                    <a:pt x="20" y="156"/>
                  </a:cubicBezTo>
                  <a:cubicBezTo>
                    <a:pt x="20" y="156"/>
                    <a:pt x="20" y="156"/>
                    <a:pt x="20" y="156"/>
                  </a:cubicBezTo>
                  <a:cubicBezTo>
                    <a:pt x="20" y="156"/>
                    <a:pt x="20" y="156"/>
                    <a:pt x="20" y="156"/>
                  </a:cubicBezTo>
                  <a:cubicBezTo>
                    <a:pt x="15" y="156"/>
                    <a:pt x="10" y="154"/>
                    <a:pt x="5" y="152"/>
                  </a:cubicBezTo>
                  <a:cubicBezTo>
                    <a:pt x="4" y="151"/>
                    <a:pt x="2" y="150"/>
                    <a:pt x="0" y="149"/>
                  </a:cubicBezTo>
                  <a:cubicBezTo>
                    <a:pt x="38" y="207"/>
                    <a:pt x="38" y="207"/>
                    <a:pt x="38" y="207"/>
                  </a:cubicBezTo>
                  <a:cubicBezTo>
                    <a:pt x="55" y="205"/>
                    <a:pt x="71" y="200"/>
                    <a:pt x="85" y="193"/>
                  </a:cubicBezTo>
                  <a:cubicBezTo>
                    <a:pt x="130" y="170"/>
                    <a:pt x="160" y="124"/>
                    <a:pt x="160" y="71"/>
                  </a:cubicBezTo>
                  <a:cubicBezTo>
                    <a:pt x="160" y="45"/>
                    <a:pt x="153" y="21"/>
                    <a:pt x="141" y="0"/>
                  </a:cubicBezTo>
                </a:path>
              </a:pathLst>
            </a:custGeom>
            <a:solidFill>
              <a:srgbClr val="0034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66" name="Freeform 248"/>
            <p:cNvSpPr>
              <a:spLocks/>
            </p:cNvSpPr>
            <p:nvPr/>
          </p:nvSpPr>
          <p:spPr bwMode="auto">
            <a:xfrm>
              <a:off x="4257533" y="2985391"/>
              <a:ext cx="569983" cy="548983"/>
            </a:xfrm>
            <a:custGeom>
              <a:avLst/>
              <a:gdLst>
                <a:gd name="T0" fmla="*/ 222 w 241"/>
                <a:gd name="T1" fmla="*/ 11 h 232"/>
                <a:gd name="T2" fmla="*/ 175 w 241"/>
                <a:gd name="T3" fmla="*/ 20 h 232"/>
                <a:gd name="T4" fmla="*/ 97 w 241"/>
                <a:gd name="T5" fmla="*/ 138 h 232"/>
                <a:gd name="T6" fmla="*/ 65 w 241"/>
                <a:gd name="T7" fmla="*/ 91 h 232"/>
                <a:gd name="T8" fmla="*/ 19 w 241"/>
                <a:gd name="T9" fmla="*/ 82 h 232"/>
                <a:gd name="T10" fmla="*/ 10 w 241"/>
                <a:gd name="T11" fmla="*/ 128 h 232"/>
                <a:gd name="T12" fmla="*/ 69 w 241"/>
                <a:gd name="T13" fmla="*/ 217 h 232"/>
                <a:gd name="T14" fmla="*/ 83 w 241"/>
                <a:gd name="T15" fmla="*/ 228 h 232"/>
                <a:gd name="T16" fmla="*/ 95 w 241"/>
                <a:gd name="T17" fmla="*/ 231 h 232"/>
                <a:gd name="T18" fmla="*/ 95 w 241"/>
                <a:gd name="T19" fmla="*/ 231 h 232"/>
                <a:gd name="T20" fmla="*/ 96 w 241"/>
                <a:gd name="T21" fmla="*/ 232 h 232"/>
                <a:gd name="T22" fmla="*/ 97 w 241"/>
                <a:gd name="T23" fmla="*/ 232 h 232"/>
                <a:gd name="T24" fmla="*/ 97 w 241"/>
                <a:gd name="T25" fmla="*/ 232 h 232"/>
                <a:gd name="T26" fmla="*/ 98 w 241"/>
                <a:gd name="T27" fmla="*/ 231 h 232"/>
                <a:gd name="T28" fmla="*/ 99 w 241"/>
                <a:gd name="T29" fmla="*/ 231 h 232"/>
                <a:gd name="T30" fmla="*/ 111 w 241"/>
                <a:gd name="T31" fmla="*/ 228 h 232"/>
                <a:gd name="T32" fmla="*/ 124 w 241"/>
                <a:gd name="T33" fmla="*/ 217 h 232"/>
                <a:gd name="T34" fmla="*/ 231 w 241"/>
                <a:gd name="T35" fmla="*/ 57 h 232"/>
                <a:gd name="T36" fmla="*/ 222 w 241"/>
                <a:gd name="T37" fmla="*/ 1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1" h="232">
                  <a:moveTo>
                    <a:pt x="222" y="11"/>
                  </a:moveTo>
                  <a:cubicBezTo>
                    <a:pt x="206" y="0"/>
                    <a:pt x="186" y="5"/>
                    <a:pt x="175" y="20"/>
                  </a:cubicBezTo>
                  <a:cubicBezTo>
                    <a:pt x="97" y="138"/>
                    <a:pt x="97" y="138"/>
                    <a:pt x="97" y="138"/>
                  </a:cubicBezTo>
                  <a:cubicBezTo>
                    <a:pt x="65" y="91"/>
                    <a:pt x="65" y="91"/>
                    <a:pt x="65" y="91"/>
                  </a:cubicBezTo>
                  <a:cubicBezTo>
                    <a:pt x="55" y="76"/>
                    <a:pt x="35" y="72"/>
                    <a:pt x="19" y="82"/>
                  </a:cubicBezTo>
                  <a:cubicBezTo>
                    <a:pt x="4" y="92"/>
                    <a:pt x="0" y="113"/>
                    <a:pt x="10" y="128"/>
                  </a:cubicBezTo>
                  <a:cubicBezTo>
                    <a:pt x="69" y="217"/>
                    <a:pt x="69" y="217"/>
                    <a:pt x="69" y="217"/>
                  </a:cubicBezTo>
                  <a:cubicBezTo>
                    <a:pt x="73" y="222"/>
                    <a:pt x="77" y="226"/>
                    <a:pt x="83" y="228"/>
                  </a:cubicBezTo>
                  <a:cubicBezTo>
                    <a:pt x="87" y="230"/>
                    <a:pt x="91" y="231"/>
                    <a:pt x="95" y="231"/>
                  </a:cubicBezTo>
                  <a:cubicBezTo>
                    <a:pt x="95" y="231"/>
                    <a:pt x="95" y="231"/>
                    <a:pt x="95" y="231"/>
                  </a:cubicBezTo>
                  <a:cubicBezTo>
                    <a:pt x="95" y="231"/>
                    <a:pt x="96" y="232"/>
                    <a:pt x="96" y="232"/>
                  </a:cubicBezTo>
                  <a:cubicBezTo>
                    <a:pt x="97" y="232"/>
                    <a:pt x="97" y="232"/>
                    <a:pt x="97" y="232"/>
                  </a:cubicBezTo>
                  <a:cubicBezTo>
                    <a:pt x="97" y="232"/>
                    <a:pt x="97" y="232"/>
                    <a:pt x="97" y="232"/>
                  </a:cubicBezTo>
                  <a:cubicBezTo>
                    <a:pt x="98" y="232"/>
                    <a:pt x="98" y="231"/>
                    <a:pt x="98" y="231"/>
                  </a:cubicBezTo>
                  <a:cubicBezTo>
                    <a:pt x="99" y="231"/>
                    <a:pt x="99" y="231"/>
                    <a:pt x="99" y="231"/>
                  </a:cubicBezTo>
                  <a:cubicBezTo>
                    <a:pt x="103" y="231"/>
                    <a:pt x="107" y="230"/>
                    <a:pt x="111" y="228"/>
                  </a:cubicBezTo>
                  <a:cubicBezTo>
                    <a:pt x="116" y="226"/>
                    <a:pt x="121" y="222"/>
                    <a:pt x="124" y="217"/>
                  </a:cubicBezTo>
                  <a:cubicBezTo>
                    <a:pt x="231" y="57"/>
                    <a:pt x="231" y="57"/>
                    <a:pt x="231" y="57"/>
                  </a:cubicBezTo>
                  <a:cubicBezTo>
                    <a:pt x="241" y="41"/>
                    <a:pt x="237" y="21"/>
                    <a:pt x="222"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67" name="Freeform 249"/>
            <p:cNvSpPr>
              <a:spLocks noEditPoints="1"/>
            </p:cNvSpPr>
            <p:nvPr/>
          </p:nvSpPr>
          <p:spPr bwMode="auto">
            <a:xfrm>
              <a:off x="4671520" y="2997391"/>
              <a:ext cx="143996" cy="77998"/>
            </a:xfrm>
            <a:custGeom>
              <a:avLst/>
              <a:gdLst>
                <a:gd name="T0" fmla="*/ 1 w 61"/>
                <a:gd name="T1" fmla="*/ 14 h 33"/>
                <a:gd name="T2" fmla="*/ 0 w 61"/>
                <a:gd name="T3" fmla="*/ 15 h 33"/>
                <a:gd name="T4" fmla="*/ 0 w 61"/>
                <a:gd name="T5" fmla="*/ 15 h 33"/>
                <a:gd name="T6" fmla="*/ 1 w 61"/>
                <a:gd name="T7" fmla="*/ 14 h 33"/>
                <a:gd name="T8" fmla="*/ 1 w 61"/>
                <a:gd name="T9" fmla="*/ 14 h 33"/>
                <a:gd name="T10" fmla="*/ 1 w 61"/>
                <a:gd name="T11" fmla="*/ 14 h 33"/>
                <a:gd name="T12" fmla="*/ 1 w 61"/>
                <a:gd name="T13" fmla="*/ 14 h 33"/>
                <a:gd name="T14" fmla="*/ 28 w 61"/>
                <a:gd name="T15" fmla="*/ 0 h 33"/>
                <a:gd name="T16" fmla="*/ 47 w 61"/>
                <a:gd name="T17" fmla="*/ 6 h 33"/>
                <a:gd name="T18" fmla="*/ 61 w 61"/>
                <a:gd name="T19" fmla="*/ 33 h 33"/>
                <a:gd name="T20" fmla="*/ 47 w 61"/>
                <a:gd name="T21" fmla="*/ 6 h 33"/>
                <a:gd name="T22" fmla="*/ 28 w 61"/>
                <a:gd name="T23" fmla="*/ 0 h 33"/>
                <a:gd name="T24" fmla="*/ 28 w 61"/>
                <a:gd name="T25" fmla="*/ 0 h 33"/>
                <a:gd name="T26" fmla="*/ 28 w 61"/>
                <a:gd name="T27" fmla="*/ 0 h 33"/>
                <a:gd name="T28" fmla="*/ 28 w 61"/>
                <a:gd name="T29" fmla="*/ 0 h 33"/>
                <a:gd name="T30" fmla="*/ 28 w 61"/>
                <a:gd name="T3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33">
                  <a:moveTo>
                    <a:pt x="1" y="14"/>
                  </a:moveTo>
                  <a:cubicBezTo>
                    <a:pt x="1" y="14"/>
                    <a:pt x="1" y="14"/>
                    <a:pt x="0" y="15"/>
                  </a:cubicBezTo>
                  <a:cubicBezTo>
                    <a:pt x="0" y="15"/>
                    <a:pt x="0" y="15"/>
                    <a:pt x="0" y="15"/>
                  </a:cubicBezTo>
                  <a:cubicBezTo>
                    <a:pt x="1" y="14"/>
                    <a:pt x="1" y="14"/>
                    <a:pt x="1" y="14"/>
                  </a:cubicBezTo>
                  <a:moveTo>
                    <a:pt x="1" y="14"/>
                  </a:moveTo>
                  <a:cubicBezTo>
                    <a:pt x="1" y="14"/>
                    <a:pt x="1" y="14"/>
                    <a:pt x="1" y="14"/>
                  </a:cubicBezTo>
                  <a:cubicBezTo>
                    <a:pt x="1" y="14"/>
                    <a:pt x="1" y="14"/>
                    <a:pt x="1" y="14"/>
                  </a:cubicBezTo>
                  <a:moveTo>
                    <a:pt x="28" y="0"/>
                  </a:moveTo>
                  <a:cubicBezTo>
                    <a:pt x="35" y="0"/>
                    <a:pt x="41" y="2"/>
                    <a:pt x="47" y="6"/>
                  </a:cubicBezTo>
                  <a:cubicBezTo>
                    <a:pt x="56" y="12"/>
                    <a:pt x="61" y="23"/>
                    <a:pt x="61" y="33"/>
                  </a:cubicBezTo>
                  <a:cubicBezTo>
                    <a:pt x="61" y="23"/>
                    <a:pt x="56" y="12"/>
                    <a:pt x="47" y="6"/>
                  </a:cubicBezTo>
                  <a:cubicBezTo>
                    <a:pt x="41" y="2"/>
                    <a:pt x="35" y="0"/>
                    <a:pt x="28" y="0"/>
                  </a:cubicBezTo>
                  <a:moveTo>
                    <a:pt x="28" y="0"/>
                  </a:moveTo>
                  <a:cubicBezTo>
                    <a:pt x="28" y="0"/>
                    <a:pt x="28" y="0"/>
                    <a:pt x="28" y="0"/>
                  </a:cubicBezTo>
                  <a:cubicBezTo>
                    <a:pt x="28" y="0"/>
                    <a:pt x="28" y="0"/>
                    <a:pt x="28" y="0"/>
                  </a:cubicBezTo>
                  <a:cubicBezTo>
                    <a:pt x="28" y="0"/>
                    <a:pt x="28" y="0"/>
                    <a:pt x="28" y="0"/>
                  </a:cubicBezTo>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68" name="Freeform 250"/>
            <p:cNvSpPr>
              <a:spLocks noEditPoints="1"/>
            </p:cNvSpPr>
            <p:nvPr/>
          </p:nvSpPr>
          <p:spPr bwMode="auto">
            <a:xfrm>
              <a:off x="4520525" y="3498376"/>
              <a:ext cx="30999" cy="25999"/>
            </a:xfrm>
            <a:custGeom>
              <a:avLst/>
              <a:gdLst>
                <a:gd name="T0" fmla="*/ 12 w 13"/>
                <a:gd name="T1" fmla="*/ 2 h 11"/>
                <a:gd name="T2" fmla="*/ 1 w 13"/>
                <a:gd name="T3" fmla="*/ 11 h 11"/>
                <a:gd name="T4" fmla="*/ 0 w 13"/>
                <a:gd name="T5" fmla="*/ 11 h 11"/>
                <a:gd name="T6" fmla="*/ 12 w 13"/>
                <a:gd name="T7" fmla="*/ 2 h 11"/>
                <a:gd name="T8" fmla="*/ 12 w 13"/>
                <a:gd name="T9" fmla="*/ 1 h 11"/>
                <a:gd name="T10" fmla="*/ 12 w 13"/>
                <a:gd name="T11" fmla="*/ 2 h 11"/>
                <a:gd name="T12" fmla="*/ 12 w 13"/>
                <a:gd name="T13" fmla="*/ 1 h 11"/>
                <a:gd name="T14" fmla="*/ 12 w 13"/>
                <a:gd name="T15" fmla="*/ 1 h 11"/>
                <a:gd name="T16" fmla="*/ 12 w 13"/>
                <a:gd name="T17" fmla="*/ 1 h 11"/>
                <a:gd name="T18" fmla="*/ 12 w 13"/>
                <a:gd name="T19" fmla="*/ 1 h 11"/>
                <a:gd name="T20" fmla="*/ 12 w 13"/>
                <a:gd name="T21" fmla="*/ 1 h 11"/>
                <a:gd name="T22" fmla="*/ 12 w 13"/>
                <a:gd name="T23" fmla="*/ 1 h 11"/>
                <a:gd name="T24" fmla="*/ 12 w 13"/>
                <a:gd name="T25" fmla="*/ 1 h 11"/>
                <a:gd name="T26" fmla="*/ 13 w 13"/>
                <a:gd name="T27" fmla="*/ 1 h 11"/>
                <a:gd name="T28" fmla="*/ 13 w 13"/>
                <a:gd name="T29" fmla="*/ 1 h 11"/>
                <a:gd name="T30" fmla="*/ 13 w 13"/>
                <a:gd name="T31" fmla="*/ 1 h 11"/>
                <a:gd name="T32" fmla="*/ 13 w 13"/>
                <a:gd name="T33" fmla="*/ 1 h 11"/>
                <a:gd name="T34" fmla="*/ 13 w 13"/>
                <a:gd name="T35" fmla="*/ 1 h 11"/>
                <a:gd name="T36" fmla="*/ 13 w 13"/>
                <a:gd name="T37" fmla="*/ 1 h 11"/>
                <a:gd name="T38" fmla="*/ 13 w 13"/>
                <a:gd name="T39" fmla="*/ 0 h 11"/>
                <a:gd name="T40" fmla="*/ 13 w 13"/>
                <a:gd name="T41" fmla="*/ 1 h 11"/>
                <a:gd name="T42" fmla="*/ 13 w 13"/>
                <a:gd name="T43" fmla="*/ 0 h 11"/>
                <a:gd name="T44" fmla="*/ 13 w 13"/>
                <a:gd name="T45" fmla="*/ 0 h 11"/>
                <a:gd name="T46" fmla="*/ 13 w 13"/>
                <a:gd name="T47" fmla="*/ 0 h 11"/>
                <a:gd name="T48" fmla="*/ 13 w 13"/>
                <a:gd name="T49" fmla="*/ 0 h 11"/>
                <a:gd name="T50" fmla="*/ 13 w 13"/>
                <a:gd name="T51" fmla="*/ 0 h 11"/>
                <a:gd name="T52" fmla="*/ 13 w 13"/>
                <a:gd name="T53" fmla="*/ 0 h 11"/>
                <a:gd name="T54" fmla="*/ 13 w 13"/>
                <a:gd name="T5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1">
                  <a:moveTo>
                    <a:pt x="12" y="2"/>
                  </a:moveTo>
                  <a:cubicBezTo>
                    <a:pt x="9" y="6"/>
                    <a:pt x="5" y="9"/>
                    <a:pt x="1" y="11"/>
                  </a:cubicBezTo>
                  <a:cubicBezTo>
                    <a:pt x="0" y="11"/>
                    <a:pt x="0" y="11"/>
                    <a:pt x="0" y="11"/>
                  </a:cubicBezTo>
                  <a:cubicBezTo>
                    <a:pt x="5" y="9"/>
                    <a:pt x="9" y="6"/>
                    <a:pt x="12" y="2"/>
                  </a:cubicBezTo>
                  <a:moveTo>
                    <a:pt x="12" y="1"/>
                  </a:moveTo>
                  <a:cubicBezTo>
                    <a:pt x="12" y="2"/>
                    <a:pt x="12" y="2"/>
                    <a:pt x="12" y="2"/>
                  </a:cubicBezTo>
                  <a:cubicBezTo>
                    <a:pt x="12" y="2"/>
                    <a:pt x="12" y="2"/>
                    <a:pt x="12" y="1"/>
                  </a:cubicBezTo>
                  <a:moveTo>
                    <a:pt x="12" y="1"/>
                  </a:moveTo>
                  <a:cubicBezTo>
                    <a:pt x="12" y="1"/>
                    <a:pt x="12" y="1"/>
                    <a:pt x="12" y="1"/>
                  </a:cubicBezTo>
                  <a:cubicBezTo>
                    <a:pt x="12" y="1"/>
                    <a:pt x="12" y="1"/>
                    <a:pt x="12" y="1"/>
                  </a:cubicBezTo>
                  <a:moveTo>
                    <a:pt x="12" y="1"/>
                  </a:moveTo>
                  <a:cubicBezTo>
                    <a:pt x="12" y="1"/>
                    <a:pt x="12" y="1"/>
                    <a:pt x="12" y="1"/>
                  </a:cubicBezTo>
                  <a:cubicBezTo>
                    <a:pt x="12" y="1"/>
                    <a:pt x="12" y="1"/>
                    <a:pt x="12" y="1"/>
                  </a:cubicBezTo>
                  <a:moveTo>
                    <a:pt x="13" y="1"/>
                  </a:moveTo>
                  <a:cubicBezTo>
                    <a:pt x="13" y="1"/>
                    <a:pt x="13" y="1"/>
                    <a:pt x="13" y="1"/>
                  </a:cubicBezTo>
                  <a:cubicBezTo>
                    <a:pt x="13" y="1"/>
                    <a:pt x="13" y="1"/>
                    <a:pt x="13" y="1"/>
                  </a:cubicBezTo>
                  <a:moveTo>
                    <a:pt x="13" y="1"/>
                  </a:moveTo>
                  <a:cubicBezTo>
                    <a:pt x="13" y="1"/>
                    <a:pt x="13" y="1"/>
                    <a:pt x="13" y="1"/>
                  </a:cubicBezTo>
                  <a:cubicBezTo>
                    <a:pt x="13" y="1"/>
                    <a:pt x="13" y="1"/>
                    <a:pt x="13" y="1"/>
                  </a:cubicBezTo>
                  <a:moveTo>
                    <a:pt x="13" y="0"/>
                  </a:moveTo>
                  <a:cubicBezTo>
                    <a:pt x="13" y="0"/>
                    <a:pt x="13" y="0"/>
                    <a:pt x="13" y="1"/>
                  </a:cubicBezTo>
                  <a:cubicBezTo>
                    <a:pt x="13" y="0"/>
                    <a:pt x="13" y="0"/>
                    <a:pt x="13" y="0"/>
                  </a:cubicBezTo>
                  <a:moveTo>
                    <a:pt x="13" y="0"/>
                  </a:moveTo>
                  <a:cubicBezTo>
                    <a:pt x="13" y="0"/>
                    <a:pt x="13" y="0"/>
                    <a:pt x="13" y="0"/>
                  </a:cubicBezTo>
                  <a:cubicBezTo>
                    <a:pt x="13" y="0"/>
                    <a:pt x="13" y="0"/>
                    <a:pt x="13" y="0"/>
                  </a:cubicBezTo>
                  <a:moveTo>
                    <a:pt x="13" y="0"/>
                  </a:moveTo>
                  <a:cubicBezTo>
                    <a:pt x="13" y="0"/>
                    <a:pt x="13" y="0"/>
                    <a:pt x="13" y="0"/>
                  </a:cubicBezTo>
                  <a:cubicBezTo>
                    <a:pt x="13" y="0"/>
                    <a:pt x="13" y="0"/>
                    <a:pt x="13" y="0"/>
                  </a:cubicBezTo>
                </a:path>
              </a:pathLst>
            </a:custGeom>
            <a:solidFill>
              <a:srgbClr val="0023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69" name="Freeform 251"/>
            <p:cNvSpPr>
              <a:spLocks/>
            </p:cNvSpPr>
            <p:nvPr/>
          </p:nvSpPr>
          <p:spPr bwMode="auto">
            <a:xfrm>
              <a:off x="4487526" y="2997391"/>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70" name="Freeform 252"/>
            <p:cNvSpPr>
              <a:spLocks/>
            </p:cNvSpPr>
            <p:nvPr/>
          </p:nvSpPr>
          <p:spPr bwMode="auto">
            <a:xfrm>
              <a:off x="4451527" y="3524375"/>
              <a:ext cx="35999" cy="10000"/>
            </a:xfrm>
            <a:custGeom>
              <a:avLst/>
              <a:gdLst>
                <a:gd name="T0" fmla="*/ 0 w 15"/>
                <a:gd name="T1" fmla="*/ 0 h 4"/>
                <a:gd name="T2" fmla="*/ 15 w 15"/>
                <a:gd name="T3" fmla="*/ 4 h 4"/>
                <a:gd name="T4" fmla="*/ 15 w 15"/>
                <a:gd name="T5" fmla="*/ 4 h 4"/>
                <a:gd name="T6" fmla="*/ 13 w 15"/>
                <a:gd name="T7" fmla="*/ 3 h 4"/>
                <a:gd name="T8" fmla="*/ 13 w 15"/>
                <a:gd name="T9" fmla="*/ 3 h 4"/>
                <a:gd name="T10" fmla="*/ 13 w 15"/>
                <a:gd name="T11" fmla="*/ 3 h 4"/>
                <a:gd name="T12" fmla="*/ 12 w 15"/>
                <a:gd name="T13" fmla="*/ 3 h 4"/>
                <a:gd name="T14" fmla="*/ 1 w 15"/>
                <a:gd name="T15" fmla="*/ 1 h 4"/>
                <a:gd name="T16" fmla="*/ 0 w 1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4">
                  <a:moveTo>
                    <a:pt x="0" y="0"/>
                  </a:moveTo>
                  <a:cubicBezTo>
                    <a:pt x="5" y="2"/>
                    <a:pt x="10" y="4"/>
                    <a:pt x="15" y="4"/>
                  </a:cubicBezTo>
                  <a:cubicBezTo>
                    <a:pt x="15" y="4"/>
                    <a:pt x="15" y="4"/>
                    <a:pt x="15" y="4"/>
                  </a:cubicBezTo>
                  <a:cubicBezTo>
                    <a:pt x="14" y="4"/>
                    <a:pt x="14" y="4"/>
                    <a:pt x="13" y="3"/>
                  </a:cubicBezTo>
                  <a:cubicBezTo>
                    <a:pt x="13" y="3"/>
                    <a:pt x="13" y="3"/>
                    <a:pt x="13" y="3"/>
                  </a:cubicBezTo>
                  <a:cubicBezTo>
                    <a:pt x="13" y="3"/>
                    <a:pt x="13" y="3"/>
                    <a:pt x="13" y="3"/>
                  </a:cubicBezTo>
                  <a:cubicBezTo>
                    <a:pt x="13" y="3"/>
                    <a:pt x="13" y="3"/>
                    <a:pt x="12" y="3"/>
                  </a:cubicBezTo>
                  <a:cubicBezTo>
                    <a:pt x="9" y="3"/>
                    <a:pt x="5" y="2"/>
                    <a:pt x="1" y="1"/>
                  </a:cubicBezTo>
                  <a:cubicBezTo>
                    <a:pt x="1" y="0"/>
                    <a:pt x="1" y="0"/>
                    <a:pt x="0" y="0"/>
                  </a:cubicBezTo>
                </a:path>
              </a:pathLst>
            </a:custGeom>
            <a:solidFill>
              <a:srgbClr val="0023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71" name="Freeform 253"/>
            <p:cNvSpPr>
              <a:spLocks noEditPoints="1"/>
            </p:cNvSpPr>
            <p:nvPr/>
          </p:nvSpPr>
          <p:spPr bwMode="auto">
            <a:xfrm>
              <a:off x="4454527" y="3527375"/>
              <a:ext cx="27999" cy="4000"/>
            </a:xfrm>
            <a:custGeom>
              <a:avLst/>
              <a:gdLst>
                <a:gd name="T0" fmla="*/ 12 w 12"/>
                <a:gd name="T1" fmla="*/ 2 h 2"/>
                <a:gd name="T2" fmla="*/ 12 w 12"/>
                <a:gd name="T3" fmla="*/ 2 h 2"/>
                <a:gd name="T4" fmla="*/ 12 w 12"/>
                <a:gd name="T5" fmla="*/ 2 h 2"/>
                <a:gd name="T6" fmla="*/ 12 w 12"/>
                <a:gd name="T7" fmla="*/ 2 h 2"/>
                <a:gd name="T8" fmla="*/ 0 w 12"/>
                <a:gd name="T9" fmla="*/ 0 h 2"/>
                <a:gd name="T10" fmla="*/ 11 w 12"/>
                <a:gd name="T11" fmla="*/ 2 h 2"/>
                <a:gd name="T12" fmla="*/ 0 w 1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2" h="2">
                  <a:moveTo>
                    <a:pt x="12" y="2"/>
                  </a:moveTo>
                  <a:cubicBezTo>
                    <a:pt x="12" y="2"/>
                    <a:pt x="12" y="2"/>
                    <a:pt x="12" y="2"/>
                  </a:cubicBezTo>
                  <a:cubicBezTo>
                    <a:pt x="12" y="2"/>
                    <a:pt x="12" y="2"/>
                    <a:pt x="12" y="2"/>
                  </a:cubicBezTo>
                  <a:cubicBezTo>
                    <a:pt x="12" y="2"/>
                    <a:pt x="12" y="2"/>
                    <a:pt x="12" y="2"/>
                  </a:cubicBezTo>
                  <a:moveTo>
                    <a:pt x="0" y="0"/>
                  </a:moveTo>
                  <a:cubicBezTo>
                    <a:pt x="4" y="1"/>
                    <a:pt x="8" y="2"/>
                    <a:pt x="11" y="2"/>
                  </a:cubicBezTo>
                  <a:cubicBezTo>
                    <a:pt x="7" y="2"/>
                    <a:pt x="4" y="1"/>
                    <a:pt x="0" y="0"/>
                  </a:cubicBezTo>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72" name="Freeform 254"/>
            <p:cNvSpPr>
              <a:spLocks noEditPoints="1"/>
            </p:cNvSpPr>
            <p:nvPr/>
          </p:nvSpPr>
          <p:spPr bwMode="auto">
            <a:xfrm>
              <a:off x="4421528" y="3262383"/>
              <a:ext cx="65998" cy="254992"/>
            </a:xfrm>
            <a:custGeom>
              <a:avLst/>
              <a:gdLst>
                <a:gd name="T0" fmla="*/ 4 w 28"/>
                <a:gd name="T1" fmla="*/ 104 h 108"/>
                <a:gd name="T2" fmla="*/ 8 w 28"/>
                <a:gd name="T3" fmla="*/ 108 h 108"/>
                <a:gd name="T4" fmla="*/ 8 w 28"/>
                <a:gd name="T5" fmla="*/ 108 h 108"/>
                <a:gd name="T6" fmla="*/ 4 w 28"/>
                <a:gd name="T7" fmla="*/ 104 h 108"/>
                <a:gd name="T8" fmla="*/ 3 w 28"/>
                <a:gd name="T9" fmla="*/ 104 h 108"/>
                <a:gd name="T10" fmla="*/ 3 w 28"/>
                <a:gd name="T11" fmla="*/ 104 h 108"/>
                <a:gd name="T12" fmla="*/ 3 w 28"/>
                <a:gd name="T13" fmla="*/ 104 h 108"/>
                <a:gd name="T14" fmla="*/ 3 w 28"/>
                <a:gd name="T15" fmla="*/ 104 h 108"/>
                <a:gd name="T16" fmla="*/ 3 w 28"/>
                <a:gd name="T17" fmla="*/ 104 h 108"/>
                <a:gd name="T18" fmla="*/ 3 w 28"/>
                <a:gd name="T19" fmla="*/ 104 h 108"/>
                <a:gd name="T20" fmla="*/ 3 w 28"/>
                <a:gd name="T21" fmla="*/ 104 h 108"/>
                <a:gd name="T22" fmla="*/ 3 w 28"/>
                <a:gd name="T23" fmla="*/ 104 h 108"/>
                <a:gd name="T24" fmla="*/ 3 w 28"/>
                <a:gd name="T25" fmla="*/ 104 h 108"/>
                <a:gd name="T26" fmla="*/ 3 w 28"/>
                <a:gd name="T27" fmla="*/ 103 h 108"/>
                <a:gd name="T28" fmla="*/ 3 w 28"/>
                <a:gd name="T29" fmla="*/ 103 h 108"/>
                <a:gd name="T30" fmla="*/ 3 w 28"/>
                <a:gd name="T31" fmla="*/ 103 h 108"/>
                <a:gd name="T32" fmla="*/ 3 w 28"/>
                <a:gd name="T33" fmla="*/ 103 h 108"/>
                <a:gd name="T34" fmla="*/ 3 w 28"/>
                <a:gd name="T35" fmla="*/ 103 h 108"/>
                <a:gd name="T36" fmla="*/ 3 w 28"/>
                <a:gd name="T37" fmla="*/ 103 h 108"/>
                <a:gd name="T38" fmla="*/ 3 w 28"/>
                <a:gd name="T39" fmla="*/ 103 h 108"/>
                <a:gd name="T40" fmla="*/ 3 w 28"/>
                <a:gd name="T41" fmla="*/ 103 h 108"/>
                <a:gd name="T42" fmla="*/ 3 w 28"/>
                <a:gd name="T43" fmla="*/ 103 h 108"/>
                <a:gd name="T44" fmla="*/ 2 w 28"/>
                <a:gd name="T45" fmla="*/ 103 h 108"/>
                <a:gd name="T46" fmla="*/ 2 w 28"/>
                <a:gd name="T47" fmla="*/ 103 h 108"/>
                <a:gd name="T48" fmla="*/ 2 w 28"/>
                <a:gd name="T49" fmla="*/ 103 h 108"/>
                <a:gd name="T50" fmla="*/ 1 w 28"/>
                <a:gd name="T51" fmla="*/ 100 h 108"/>
                <a:gd name="T52" fmla="*/ 1 w 28"/>
                <a:gd name="T53" fmla="*/ 100 h 108"/>
                <a:gd name="T54" fmla="*/ 1 w 28"/>
                <a:gd name="T55" fmla="*/ 100 h 108"/>
                <a:gd name="T56" fmla="*/ 0 w 28"/>
                <a:gd name="T57" fmla="*/ 100 h 108"/>
                <a:gd name="T58" fmla="*/ 0 w 28"/>
                <a:gd name="T59" fmla="*/ 100 h 108"/>
                <a:gd name="T60" fmla="*/ 0 w 28"/>
                <a:gd name="T61" fmla="*/ 100 h 108"/>
                <a:gd name="T62" fmla="*/ 0 w 28"/>
                <a:gd name="T63" fmla="*/ 100 h 108"/>
                <a:gd name="T64" fmla="*/ 0 w 28"/>
                <a:gd name="T65" fmla="*/ 100 h 108"/>
                <a:gd name="T66" fmla="*/ 0 w 28"/>
                <a:gd name="T67" fmla="*/ 100 h 108"/>
                <a:gd name="T68" fmla="*/ 13 w 28"/>
                <a:gd name="T69" fmla="*/ 0 h 108"/>
                <a:gd name="T70" fmla="*/ 28 w 28"/>
                <a:gd name="T71" fmla="*/ 21 h 108"/>
                <a:gd name="T72" fmla="*/ 13 w 28"/>
                <a:gd name="T7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108">
                  <a:moveTo>
                    <a:pt x="4" y="104"/>
                  </a:moveTo>
                  <a:cubicBezTo>
                    <a:pt x="5" y="106"/>
                    <a:pt x="7" y="107"/>
                    <a:pt x="8" y="108"/>
                  </a:cubicBezTo>
                  <a:cubicBezTo>
                    <a:pt x="8" y="108"/>
                    <a:pt x="8" y="108"/>
                    <a:pt x="8" y="108"/>
                  </a:cubicBezTo>
                  <a:cubicBezTo>
                    <a:pt x="7" y="107"/>
                    <a:pt x="5" y="106"/>
                    <a:pt x="4" y="104"/>
                  </a:cubicBezTo>
                  <a:moveTo>
                    <a:pt x="3" y="104"/>
                  </a:moveTo>
                  <a:cubicBezTo>
                    <a:pt x="3" y="104"/>
                    <a:pt x="3" y="104"/>
                    <a:pt x="3" y="104"/>
                  </a:cubicBezTo>
                  <a:cubicBezTo>
                    <a:pt x="3" y="104"/>
                    <a:pt x="3" y="104"/>
                    <a:pt x="3" y="104"/>
                  </a:cubicBezTo>
                  <a:moveTo>
                    <a:pt x="3" y="104"/>
                  </a:moveTo>
                  <a:cubicBezTo>
                    <a:pt x="3" y="104"/>
                    <a:pt x="3" y="104"/>
                    <a:pt x="3" y="104"/>
                  </a:cubicBezTo>
                  <a:cubicBezTo>
                    <a:pt x="3" y="104"/>
                    <a:pt x="3" y="104"/>
                    <a:pt x="3" y="104"/>
                  </a:cubicBezTo>
                  <a:moveTo>
                    <a:pt x="3" y="104"/>
                  </a:moveTo>
                  <a:cubicBezTo>
                    <a:pt x="3" y="104"/>
                    <a:pt x="3" y="104"/>
                    <a:pt x="3" y="104"/>
                  </a:cubicBezTo>
                  <a:cubicBezTo>
                    <a:pt x="3" y="104"/>
                    <a:pt x="3" y="104"/>
                    <a:pt x="3" y="104"/>
                  </a:cubicBezTo>
                  <a:moveTo>
                    <a:pt x="3" y="103"/>
                  </a:moveTo>
                  <a:cubicBezTo>
                    <a:pt x="3" y="103"/>
                    <a:pt x="3" y="103"/>
                    <a:pt x="3" y="103"/>
                  </a:cubicBezTo>
                  <a:cubicBezTo>
                    <a:pt x="3" y="103"/>
                    <a:pt x="3" y="103"/>
                    <a:pt x="3" y="103"/>
                  </a:cubicBezTo>
                  <a:moveTo>
                    <a:pt x="3" y="103"/>
                  </a:moveTo>
                  <a:cubicBezTo>
                    <a:pt x="3" y="103"/>
                    <a:pt x="3" y="103"/>
                    <a:pt x="3" y="103"/>
                  </a:cubicBezTo>
                  <a:cubicBezTo>
                    <a:pt x="3" y="103"/>
                    <a:pt x="3" y="103"/>
                    <a:pt x="3" y="103"/>
                  </a:cubicBezTo>
                  <a:moveTo>
                    <a:pt x="3" y="103"/>
                  </a:moveTo>
                  <a:cubicBezTo>
                    <a:pt x="3" y="103"/>
                    <a:pt x="3" y="103"/>
                    <a:pt x="3" y="103"/>
                  </a:cubicBezTo>
                  <a:cubicBezTo>
                    <a:pt x="3" y="103"/>
                    <a:pt x="3" y="103"/>
                    <a:pt x="3" y="103"/>
                  </a:cubicBezTo>
                  <a:moveTo>
                    <a:pt x="2" y="103"/>
                  </a:moveTo>
                  <a:cubicBezTo>
                    <a:pt x="2" y="103"/>
                    <a:pt x="2" y="103"/>
                    <a:pt x="2" y="103"/>
                  </a:cubicBezTo>
                  <a:cubicBezTo>
                    <a:pt x="2" y="103"/>
                    <a:pt x="2" y="103"/>
                    <a:pt x="2" y="103"/>
                  </a:cubicBezTo>
                  <a:moveTo>
                    <a:pt x="1" y="100"/>
                  </a:moveTo>
                  <a:cubicBezTo>
                    <a:pt x="1" y="100"/>
                    <a:pt x="1" y="100"/>
                    <a:pt x="1" y="100"/>
                  </a:cubicBezTo>
                  <a:cubicBezTo>
                    <a:pt x="1" y="100"/>
                    <a:pt x="1" y="100"/>
                    <a:pt x="1" y="100"/>
                  </a:cubicBezTo>
                  <a:moveTo>
                    <a:pt x="0" y="100"/>
                  </a:moveTo>
                  <a:cubicBezTo>
                    <a:pt x="0" y="100"/>
                    <a:pt x="0" y="100"/>
                    <a:pt x="0" y="100"/>
                  </a:cubicBezTo>
                  <a:cubicBezTo>
                    <a:pt x="0" y="100"/>
                    <a:pt x="0" y="100"/>
                    <a:pt x="0" y="100"/>
                  </a:cubicBezTo>
                  <a:moveTo>
                    <a:pt x="0" y="100"/>
                  </a:moveTo>
                  <a:cubicBezTo>
                    <a:pt x="0" y="100"/>
                    <a:pt x="0" y="100"/>
                    <a:pt x="0" y="100"/>
                  </a:cubicBezTo>
                  <a:cubicBezTo>
                    <a:pt x="0" y="100"/>
                    <a:pt x="0" y="100"/>
                    <a:pt x="0" y="100"/>
                  </a:cubicBezTo>
                  <a:moveTo>
                    <a:pt x="13" y="0"/>
                  </a:moveTo>
                  <a:cubicBezTo>
                    <a:pt x="28" y="21"/>
                    <a:pt x="28" y="21"/>
                    <a:pt x="28" y="21"/>
                  </a:cubicBezTo>
                  <a:cubicBezTo>
                    <a:pt x="13" y="0"/>
                    <a:pt x="13" y="0"/>
                    <a:pt x="13" y="0"/>
                  </a:cubicBezTo>
                </a:path>
              </a:pathLst>
            </a:custGeom>
            <a:solidFill>
              <a:srgbClr val="0036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73" name="Freeform 255"/>
            <p:cNvSpPr>
              <a:spLocks/>
            </p:cNvSpPr>
            <p:nvPr/>
          </p:nvSpPr>
          <p:spPr bwMode="auto">
            <a:xfrm>
              <a:off x="4440527" y="3517375"/>
              <a:ext cx="11000" cy="7000"/>
            </a:xfrm>
            <a:custGeom>
              <a:avLst/>
              <a:gdLst>
                <a:gd name="T0" fmla="*/ 0 w 5"/>
                <a:gd name="T1" fmla="*/ 0 h 3"/>
                <a:gd name="T2" fmla="*/ 0 w 5"/>
                <a:gd name="T3" fmla="*/ 0 h 3"/>
                <a:gd name="T4" fmla="*/ 5 w 5"/>
                <a:gd name="T5" fmla="*/ 3 h 3"/>
                <a:gd name="T6" fmla="*/ 5 w 5"/>
                <a:gd name="T7" fmla="*/ 3 h 3"/>
                <a:gd name="T8" fmla="*/ 0 w 5"/>
                <a:gd name="T9" fmla="*/ 0 h 3"/>
              </a:gdLst>
              <a:ahLst/>
              <a:cxnLst>
                <a:cxn ang="0">
                  <a:pos x="T0" y="T1"/>
                </a:cxn>
                <a:cxn ang="0">
                  <a:pos x="T2" y="T3"/>
                </a:cxn>
                <a:cxn ang="0">
                  <a:pos x="T4" y="T5"/>
                </a:cxn>
                <a:cxn ang="0">
                  <a:pos x="T6" y="T7"/>
                </a:cxn>
                <a:cxn ang="0">
                  <a:pos x="T8" y="T9"/>
                </a:cxn>
              </a:cxnLst>
              <a:rect l="0" t="0" r="r" b="b"/>
              <a:pathLst>
                <a:path w="5" h="3">
                  <a:moveTo>
                    <a:pt x="0" y="0"/>
                  </a:moveTo>
                  <a:cubicBezTo>
                    <a:pt x="0" y="0"/>
                    <a:pt x="0" y="0"/>
                    <a:pt x="0" y="0"/>
                  </a:cubicBezTo>
                  <a:cubicBezTo>
                    <a:pt x="2" y="1"/>
                    <a:pt x="4" y="2"/>
                    <a:pt x="5" y="3"/>
                  </a:cubicBezTo>
                  <a:cubicBezTo>
                    <a:pt x="5" y="3"/>
                    <a:pt x="5" y="3"/>
                    <a:pt x="5" y="3"/>
                  </a:cubicBezTo>
                  <a:cubicBezTo>
                    <a:pt x="3" y="2"/>
                    <a:pt x="2" y="1"/>
                    <a:pt x="0" y="0"/>
                  </a:cubicBezTo>
                </a:path>
              </a:pathLst>
            </a:custGeom>
            <a:solidFill>
              <a:srgbClr val="0023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74" name="Freeform 256"/>
            <p:cNvSpPr>
              <a:spLocks/>
            </p:cNvSpPr>
            <p:nvPr/>
          </p:nvSpPr>
          <p:spPr bwMode="auto">
            <a:xfrm>
              <a:off x="4269532" y="3165386"/>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75" name="Freeform 257"/>
            <p:cNvSpPr>
              <a:spLocks/>
            </p:cNvSpPr>
            <p:nvPr/>
          </p:nvSpPr>
          <p:spPr bwMode="auto">
            <a:xfrm>
              <a:off x="4487526" y="3524375"/>
              <a:ext cx="32999" cy="10000"/>
            </a:xfrm>
            <a:custGeom>
              <a:avLst/>
              <a:gdLst>
                <a:gd name="T0" fmla="*/ 14 w 14"/>
                <a:gd name="T1" fmla="*/ 0 h 4"/>
                <a:gd name="T2" fmla="*/ 14 w 14"/>
                <a:gd name="T3" fmla="*/ 1 h 4"/>
                <a:gd name="T4" fmla="*/ 2 w 14"/>
                <a:gd name="T5" fmla="*/ 3 h 4"/>
                <a:gd name="T6" fmla="*/ 2 w 14"/>
                <a:gd name="T7" fmla="*/ 3 h 4"/>
                <a:gd name="T8" fmla="*/ 1 w 14"/>
                <a:gd name="T9" fmla="*/ 3 h 4"/>
                <a:gd name="T10" fmla="*/ 1 w 14"/>
                <a:gd name="T11" fmla="*/ 3 h 4"/>
                <a:gd name="T12" fmla="*/ 0 w 14"/>
                <a:gd name="T13" fmla="*/ 4 h 4"/>
                <a:gd name="T14" fmla="*/ 0 w 14"/>
                <a:gd name="T15" fmla="*/ 4 h 4"/>
                <a:gd name="T16" fmla="*/ 14 w 1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4">
                  <a:moveTo>
                    <a:pt x="14" y="0"/>
                  </a:moveTo>
                  <a:cubicBezTo>
                    <a:pt x="14" y="0"/>
                    <a:pt x="14" y="0"/>
                    <a:pt x="14" y="1"/>
                  </a:cubicBezTo>
                  <a:cubicBezTo>
                    <a:pt x="10" y="2"/>
                    <a:pt x="6" y="3"/>
                    <a:pt x="2" y="3"/>
                  </a:cubicBezTo>
                  <a:cubicBezTo>
                    <a:pt x="2" y="3"/>
                    <a:pt x="2" y="3"/>
                    <a:pt x="2" y="3"/>
                  </a:cubicBezTo>
                  <a:cubicBezTo>
                    <a:pt x="1" y="3"/>
                    <a:pt x="1" y="3"/>
                    <a:pt x="1" y="3"/>
                  </a:cubicBezTo>
                  <a:cubicBezTo>
                    <a:pt x="1" y="3"/>
                    <a:pt x="1" y="3"/>
                    <a:pt x="1" y="3"/>
                  </a:cubicBezTo>
                  <a:cubicBezTo>
                    <a:pt x="1" y="4"/>
                    <a:pt x="0" y="4"/>
                    <a:pt x="0" y="4"/>
                  </a:cubicBezTo>
                  <a:cubicBezTo>
                    <a:pt x="0" y="4"/>
                    <a:pt x="0" y="4"/>
                    <a:pt x="0" y="4"/>
                  </a:cubicBezTo>
                  <a:cubicBezTo>
                    <a:pt x="5" y="4"/>
                    <a:pt x="10" y="2"/>
                    <a:pt x="14" y="0"/>
                  </a:cubicBezTo>
                </a:path>
              </a:pathLst>
            </a:custGeom>
            <a:solidFill>
              <a:srgbClr val="0023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76" name="Freeform 258"/>
            <p:cNvSpPr>
              <a:spLocks noEditPoints="1"/>
            </p:cNvSpPr>
            <p:nvPr/>
          </p:nvSpPr>
          <p:spPr bwMode="auto">
            <a:xfrm>
              <a:off x="4489526" y="3527375"/>
              <a:ext cx="30999" cy="4000"/>
            </a:xfrm>
            <a:custGeom>
              <a:avLst/>
              <a:gdLst>
                <a:gd name="T0" fmla="*/ 1 w 13"/>
                <a:gd name="T1" fmla="*/ 2 h 2"/>
                <a:gd name="T2" fmla="*/ 0 w 13"/>
                <a:gd name="T3" fmla="*/ 2 h 2"/>
                <a:gd name="T4" fmla="*/ 0 w 13"/>
                <a:gd name="T5" fmla="*/ 2 h 2"/>
                <a:gd name="T6" fmla="*/ 1 w 13"/>
                <a:gd name="T7" fmla="*/ 2 h 2"/>
                <a:gd name="T8" fmla="*/ 13 w 13"/>
                <a:gd name="T9" fmla="*/ 0 h 2"/>
                <a:gd name="T10" fmla="*/ 1 w 13"/>
                <a:gd name="T11" fmla="*/ 2 h 2"/>
                <a:gd name="T12" fmla="*/ 13 w 1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3" h="2">
                  <a:moveTo>
                    <a:pt x="1" y="2"/>
                  </a:moveTo>
                  <a:cubicBezTo>
                    <a:pt x="0" y="2"/>
                    <a:pt x="0" y="2"/>
                    <a:pt x="0" y="2"/>
                  </a:cubicBezTo>
                  <a:cubicBezTo>
                    <a:pt x="0" y="2"/>
                    <a:pt x="0" y="2"/>
                    <a:pt x="0" y="2"/>
                  </a:cubicBezTo>
                  <a:cubicBezTo>
                    <a:pt x="1" y="2"/>
                    <a:pt x="1" y="2"/>
                    <a:pt x="1" y="2"/>
                  </a:cubicBezTo>
                  <a:moveTo>
                    <a:pt x="13" y="0"/>
                  </a:moveTo>
                  <a:cubicBezTo>
                    <a:pt x="9" y="1"/>
                    <a:pt x="5" y="2"/>
                    <a:pt x="1" y="2"/>
                  </a:cubicBezTo>
                  <a:cubicBezTo>
                    <a:pt x="5" y="2"/>
                    <a:pt x="9" y="1"/>
                    <a:pt x="13" y="0"/>
                  </a:cubicBezTo>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77" name="Freeform 259"/>
            <p:cNvSpPr>
              <a:spLocks noEditPoints="1"/>
            </p:cNvSpPr>
            <p:nvPr/>
          </p:nvSpPr>
          <p:spPr bwMode="auto">
            <a:xfrm>
              <a:off x="4451527" y="3524375"/>
              <a:ext cx="70998" cy="10000"/>
            </a:xfrm>
            <a:custGeom>
              <a:avLst/>
              <a:gdLst>
                <a:gd name="T0" fmla="*/ 16 w 30"/>
                <a:gd name="T1" fmla="*/ 3 h 4"/>
                <a:gd name="T2" fmla="*/ 15 w 30"/>
                <a:gd name="T3" fmla="*/ 4 h 4"/>
                <a:gd name="T4" fmla="*/ 15 w 30"/>
                <a:gd name="T5" fmla="*/ 4 h 4"/>
                <a:gd name="T6" fmla="*/ 14 w 30"/>
                <a:gd name="T7" fmla="*/ 4 h 4"/>
                <a:gd name="T8" fmla="*/ 13 w 30"/>
                <a:gd name="T9" fmla="*/ 3 h 4"/>
                <a:gd name="T10" fmla="*/ 15 w 30"/>
                <a:gd name="T11" fmla="*/ 4 h 4"/>
                <a:gd name="T12" fmla="*/ 16 w 30"/>
                <a:gd name="T13" fmla="*/ 3 h 4"/>
                <a:gd name="T14" fmla="*/ 17 w 30"/>
                <a:gd name="T15" fmla="*/ 3 h 4"/>
                <a:gd name="T16" fmla="*/ 17 w 30"/>
                <a:gd name="T17" fmla="*/ 3 h 4"/>
                <a:gd name="T18" fmla="*/ 17 w 30"/>
                <a:gd name="T19" fmla="*/ 3 h 4"/>
                <a:gd name="T20" fmla="*/ 17 w 30"/>
                <a:gd name="T21" fmla="*/ 3 h 4"/>
                <a:gd name="T22" fmla="*/ 12 w 30"/>
                <a:gd name="T23" fmla="*/ 3 h 4"/>
                <a:gd name="T24" fmla="*/ 13 w 30"/>
                <a:gd name="T25" fmla="*/ 3 h 4"/>
                <a:gd name="T26" fmla="*/ 13 w 30"/>
                <a:gd name="T27" fmla="*/ 3 h 4"/>
                <a:gd name="T28" fmla="*/ 12 w 30"/>
                <a:gd name="T29" fmla="*/ 3 h 4"/>
                <a:gd name="T30" fmla="*/ 0 w 30"/>
                <a:gd name="T31" fmla="*/ 0 h 4"/>
                <a:gd name="T32" fmla="*/ 0 w 30"/>
                <a:gd name="T33" fmla="*/ 0 h 4"/>
                <a:gd name="T34" fmla="*/ 1 w 30"/>
                <a:gd name="T35" fmla="*/ 1 h 4"/>
                <a:gd name="T36" fmla="*/ 1 w 30"/>
                <a:gd name="T37" fmla="*/ 0 h 4"/>
                <a:gd name="T38" fmla="*/ 0 w 30"/>
                <a:gd name="T39" fmla="*/ 0 h 4"/>
                <a:gd name="T40" fmla="*/ 30 w 30"/>
                <a:gd name="T41" fmla="*/ 0 h 4"/>
                <a:gd name="T42" fmla="*/ 29 w 30"/>
                <a:gd name="T43" fmla="*/ 0 h 4"/>
                <a:gd name="T44" fmla="*/ 29 w 30"/>
                <a:gd name="T45" fmla="*/ 1 h 4"/>
                <a:gd name="T46" fmla="*/ 29 w 30"/>
                <a:gd name="T47" fmla="*/ 0 h 4"/>
                <a:gd name="T48" fmla="*/ 30 w 30"/>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4">
                  <a:moveTo>
                    <a:pt x="16" y="3"/>
                  </a:moveTo>
                  <a:cubicBezTo>
                    <a:pt x="16" y="3"/>
                    <a:pt x="16" y="4"/>
                    <a:pt x="15" y="4"/>
                  </a:cubicBezTo>
                  <a:cubicBezTo>
                    <a:pt x="15" y="4"/>
                    <a:pt x="15" y="4"/>
                    <a:pt x="15" y="4"/>
                  </a:cubicBezTo>
                  <a:cubicBezTo>
                    <a:pt x="14" y="4"/>
                    <a:pt x="14" y="4"/>
                    <a:pt x="14" y="4"/>
                  </a:cubicBezTo>
                  <a:cubicBezTo>
                    <a:pt x="14" y="4"/>
                    <a:pt x="13" y="3"/>
                    <a:pt x="13" y="3"/>
                  </a:cubicBezTo>
                  <a:cubicBezTo>
                    <a:pt x="14" y="4"/>
                    <a:pt x="14" y="4"/>
                    <a:pt x="15" y="4"/>
                  </a:cubicBezTo>
                  <a:cubicBezTo>
                    <a:pt x="15" y="4"/>
                    <a:pt x="16" y="4"/>
                    <a:pt x="16" y="3"/>
                  </a:cubicBezTo>
                  <a:moveTo>
                    <a:pt x="17" y="3"/>
                  </a:moveTo>
                  <a:cubicBezTo>
                    <a:pt x="17" y="3"/>
                    <a:pt x="17" y="3"/>
                    <a:pt x="17" y="3"/>
                  </a:cubicBezTo>
                  <a:cubicBezTo>
                    <a:pt x="17" y="3"/>
                    <a:pt x="17" y="3"/>
                    <a:pt x="17" y="3"/>
                  </a:cubicBezTo>
                  <a:cubicBezTo>
                    <a:pt x="17" y="3"/>
                    <a:pt x="17" y="3"/>
                    <a:pt x="17" y="3"/>
                  </a:cubicBezTo>
                  <a:moveTo>
                    <a:pt x="12" y="3"/>
                  </a:moveTo>
                  <a:cubicBezTo>
                    <a:pt x="13" y="3"/>
                    <a:pt x="13" y="3"/>
                    <a:pt x="13" y="3"/>
                  </a:cubicBezTo>
                  <a:cubicBezTo>
                    <a:pt x="13" y="3"/>
                    <a:pt x="13" y="3"/>
                    <a:pt x="13" y="3"/>
                  </a:cubicBezTo>
                  <a:cubicBezTo>
                    <a:pt x="13" y="3"/>
                    <a:pt x="13" y="3"/>
                    <a:pt x="12" y="3"/>
                  </a:cubicBezTo>
                  <a:moveTo>
                    <a:pt x="0" y="0"/>
                  </a:moveTo>
                  <a:cubicBezTo>
                    <a:pt x="0" y="0"/>
                    <a:pt x="0" y="0"/>
                    <a:pt x="0" y="0"/>
                  </a:cubicBezTo>
                  <a:cubicBezTo>
                    <a:pt x="1" y="0"/>
                    <a:pt x="1" y="0"/>
                    <a:pt x="1" y="1"/>
                  </a:cubicBezTo>
                  <a:cubicBezTo>
                    <a:pt x="1" y="0"/>
                    <a:pt x="1" y="0"/>
                    <a:pt x="1" y="0"/>
                  </a:cubicBezTo>
                  <a:cubicBezTo>
                    <a:pt x="0" y="0"/>
                    <a:pt x="0" y="0"/>
                    <a:pt x="0" y="0"/>
                  </a:cubicBezTo>
                  <a:moveTo>
                    <a:pt x="30" y="0"/>
                  </a:moveTo>
                  <a:cubicBezTo>
                    <a:pt x="29" y="0"/>
                    <a:pt x="29" y="0"/>
                    <a:pt x="29" y="0"/>
                  </a:cubicBezTo>
                  <a:cubicBezTo>
                    <a:pt x="29" y="0"/>
                    <a:pt x="29" y="0"/>
                    <a:pt x="29" y="1"/>
                  </a:cubicBezTo>
                  <a:cubicBezTo>
                    <a:pt x="29" y="0"/>
                    <a:pt x="29" y="0"/>
                    <a:pt x="29" y="0"/>
                  </a:cubicBezTo>
                  <a:cubicBezTo>
                    <a:pt x="29" y="0"/>
                    <a:pt x="29" y="0"/>
                    <a:pt x="30" y="0"/>
                  </a:cubicBezTo>
                </a:path>
              </a:pathLst>
            </a:custGeom>
            <a:solidFill>
              <a:srgbClr val="0017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sp>
          <p:nvSpPr>
            <p:cNvPr id="178" name="Freeform 260"/>
            <p:cNvSpPr>
              <a:spLocks/>
            </p:cNvSpPr>
            <p:nvPr/>
          </p:nvSpPr>
          <p:spPr bwMode="auto">
            <a:xfrm>
              <a:off x="4397528" y="3311381"/>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F57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a:solidFill>
                  <a:srgbClr val="282828"/>
                </a:solidFill>
                <a:ea typeface="ＭＳ Ｐゴシック" charset="0"/>
                <a:cs typeface="ＭＳ Ｐゴシック" charset="0"/>
              </a:endParaRPr>
            </a:p>
          </p:txBody>
        </p:sp>
      </p:grpSp>
      <p:sp>
        <p:nvSpPr>
          <p:cNvPr id="179" name="Rectangle 178"/>
          <p:cNvSpPr>
            <a:spLocks noChangeAspect="1"/>
          </p:cNvSpPr>
          <p:nvPr/>
        </p:nvSpPr>
        <p:spPr>
          <a:xfrm>
            <a:off x="7034236" y="974857"/>
            <a:ext cx="1589185" cy="1589185"/>
          </a:xfrm>
          <a:prstGeom prst="rect">
            <a:avLst/>
          </a:prstGeom>
          <a:solidFill>
            <a:srgbClr val="FFFFFF">
              <a:lumMod val="85000"/>
            </a:srgbClr>
          </a:solidFill>
          <a:ln w="25400" cap="flat" cmpd="sng" algn="ctr">
            <a:noFill/>
            <a:prstDash val="solid"/>
          </a:ln>
          <a:effectLst/>
        </p:spPr>
        <p:txBody>
          <a:bodyPr rtlCol="0" anchor="b"/>
          <a:lstStyle/>
          <a:p>
            <a:pPr algn="ctr" defTabSz="457200" fontAlgn="base">
              <a:spcBef>
                <a:spcPct val="0"/>
              </a:spcBef>
              <a:spcAft>
                <a:spcPct val="0"/>
              </a:spcAft>
            </a:pPr>
            <a:r>
              <a:rPr lang="en-US" sz="1100" b="1" dirty="0">
                <a:solidFill>
                  <a:schemeClr val="accent6">
                    <a:lumMod val="75000"/>
                  </a:schemeClr>
                </a:solidFill>
                <a:latin typeface="CiscoSansTT ExtraLight"/>
                <a:ea typeface="ＭＳ Ｐゴシック" charset="0"/>
                <a:cs typeface="ＭＳ Ｐゴシック" charset="0"/>
              </a:rPr>
              <a:t>Telemetry Enabled Granular Visibility</a:t>
            </a:r>
            <a:endParaRPr lang="en-US" sz="3200" b="1" dirty="0">
              <a:solidFill>
                <a:schemeClr val="accent6">
                  <a:lumMod val="75000"/>
                </a:schemeClr>
              </a:solidFill>
              <a:latin typeface="CiscoSansTT ExtraLight"/>
              <a:ea typeface="ＭＳ Ｐゴシック" charset="0"/>
              <a:cs typeface="ＭＳ Ｐゴシック" charset="0"/>
            </a:endParaRPr>
          </a:p>
        </p:txBody>
      </p:sp>
      <p:pic>
        <p:nvPicPr>
          <p:cNvPr id="180" name="Picture 17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381570" y="1081170"/>
            <a:ext cx="894516" cy="894516"/>
          </a:xfrm>
          <a:prstGeom prst="rect">
            <a:avLst/>
          </a:prstGeom>
        </p:spPr>
      </p:pic>
      <p:pic>
        <p:nvPicPr>
          <p:cNvPr id="181" name="Picture 180"/>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499421" y="1127204"/>
            <a:ext cx="886130" cy="886130"/>
          </a:xfrm>
          <a:prstGeom prst="rect">
            <a:avLst/>
          </a:prstGeom>
        </p:spPr>
      </p:pic>
    </p:spTree>
    <p:extLst>
      <p:ext uri="{BB962C8B-B14F-4D97-AF65-F5344CB8AC3E}">
        <p14:creationId xmlns:p14="http://schemas.microsoft.com/office/powerpoint/2010/main" val="954035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160C1-677C-4674-8FC1-585E03F795BB}"/>
              </a:ext>
            </a:extLst>
          </p:cNvPr>
          <p:cNvSpPr>
            <a:spLocks noGrp="1"/>
          </p:cNvSpPr>
          <p:nvPr>
            <p:ph type="title"/>
          </p:nvPr>
        </p:nvSpPr>
        <p:spPr/>
        <p:txBody>
          <a:bodyPr/>
          <a:lstStyle/>
          <a:p>
            <a:endParaRPr lang="en-GB" dirty="0"/>
          </a:p>
        </p:txBody>
      </p:sp>
      <p:pic>
        <p:nvPicPr>
          <p:cNvPr id="4" name="Content Placeholder 3">
            <a:extLst>
              <a:ext uri="{FF2B5EF4-FFF2-40B4-BE49-F238E27FC236}">
                <a16:creationId xmlns:a16="http://schemas.microsoft.com/office/drawing/2014/main" id="{E5599499-36E8-45AA-A4FC-1C61C77316B7}"/>
              </a:ext>
            </a:extLst>
          </p:cNvPr>
          <p:cNvPicPr>
            <a:picLocks noGrp="1" noChangeAspect="1"/>
          </p:cNvPicPr>
          <p:nvPr>
            <p:ph sz="quarter" idx="11"/>
          </p:nvPr>
        </p:nvPicPr>
        <p:blipFill rotWithShape="1">
          <a:blip r:embed="rId2"/>
          <a:srcRect l="5785" t="4344" r="1187" b="4858"/>
          <a:stretch/>
        </p:blipFill>
        <p:spPr>
          <a:xfrm>
            <a:off x="4293989" y="984379"/>
            <a:ext cx="4572000" cy="3630706"/>
          </a:xfrm>
          <a:prstGeom prst="rect">
            <a:avLst/>
          </a:prstGeom>
        </p:spPr>
      </p:pic>
    </p:spTree>
    <p:extLst>
      <p:ext uri="{BB962C8B-B14F-4D97-AF65-F5344CB8AC3E}">
        <p14:creationId xmlns:p14="http://schemas.microsoft.com/office/powerpoint/2010/main" val="292569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43DCA-0611-4627-9D03-D66D832F9F09}"/>
              </a:ext>
            </a:extLst>
          </p:cNvPr>
          <p:cNvSpPr>
            <a:spLocks noGrp="1"/>
          </p:cNvSpPr>
          <p:nvPr>
            <p:ph type="title"/>
          </p:nvPr>
        </p:nvSpPr>
        <p:spPr/>
        <p:txBody>
          <a:bodyPr/>
          <a:lstStyle/>
          <a:p>
            <a:r>
              <a:rPr lang="en-ZA" dirty="0"/>
              <a:t>Fibre Layout of </a:t>
            </a:r>
            <a:r>
              <a:rPr lang="en-ZA" dirty="0" err="1"/>
              <a:t>Ethiotel</a:t>
            </a:r>
            <a:endParaRPr lang="en-GB" dirty="0"/>
          </a:p>
        </p:txBody>
      </p:sp>
      <p:pic>
        <p:nvPicPr>
          <p:cNvPr id="4" name="Content Placeholder 3">
            <a:extLst>
              <a:ext uri="{FF2B5EF4-FFF2-40B4-BE49-F238E27FC236}">
                <a16:creationId xmlns:a16="http://schemas.microsoft.com/office/drawing/2014/main" id="{F3691738-EAE8-4628-91A7-97935895783C}"/>
              </a:ext>
            </a:extLst>
          </p:cNvPr>
          <p:cNvPicPr>
            <a:picLocks noGrp="1" noChangeAspect="1"/>
          </p:cNvPicPr>
          <p:nvPr>
            <p:ph sz="quarter" idx="11"/>
          </p:nvPr>
        </p:nvPicPr>
        <p:blipFill>
          <a:blip r:embed="rId3"/>
          <a:stretch>
            <a:fillRect/>
          </a:stretch>
        </p:blipFill>
        <p:spPr>
          <a:xfrm>
            <a:off x="1713004" y="1124287"/>
            <a:ext cx="5717992" cy="3398837"/>
          </a:xfrm>
          <a:prstGeom prst="rect">
            <a:avLst/>
          </a:prstGeom>
        </p:spPr>
      </p:pic>
    </p:spTree>
    <p:extLst>
      <p:ext uri="{BB962C8B-B14F-4D97-AF65-F5344CB8AC3E}">
        <p14:creationId xmlns:p14="http://schemas.microsoft.com/office/powerpoint/2010/main" val="307370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313257" y="32278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02091" y="2135212"/>
            <a:ext cx="807854"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e</a:t>
            </a:r>
            <a:r>
              <a:rPr lang="en-ZA" sz="700" dirty="0">
                <a:solidFill>
                  <a:srgbClr val="0D274D"/>
                </a:solidFill>
                <a:latin typeface="CiscoSansTT ExtraLight"/>
              </a:rPr>
              <a:t> </a:t>
            </a:r>
            <a:r>
              <a:rPr lang="en-ZA" sz="700" dirty="0" err="1">
                <a:solidFill>
                  <a:srgbClr val="0D274D"/>
                </a:solidFill>
                <a:latin typeface="CiscoSansTT ExtraLight"/>
              </a:rPr>
              <a:t>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cxnSpLocks/>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a:solidFill>
                  <a:srgbClr val="0D274D"/>
                </a:solidFill>
                <a:latin typeface="CiscoSansTT ExtraLight"/>
              </a:rPr>
              <a:t>Debre </a:t>
            </a:r>
            <a:r>
              <a:rPr lang="en-GB" sz="700" dirty="0" err="1">
                <a:solidFill>
                  <a:srgbClr val="0D274D"/>
                </a:solidFill>
                <a:latin typeface="CiscoSansTT ExtraLight"/>
              </a:rPr>
              <a:t>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
        <p:nvSpPr>
          <p:cNvPr id="505" name="Rectangle 504">
            <a:extLst>
              <a:ext uri="{FF2B5EF4-FFF2-40B4-BE49-F238E27FC236}">
                <a16:creationId xmlns:a16="http://schemas.microsoft.com/office/drawing/2014/main" id="{44243B6A-42DB-4323-92AB-8634C06321C6}"/>
              </a:ext>
            </a:extLst>
          </p:cNvPr>
          <p:cNvSpPr/>
          <p:nvPr/>
        </p:nvSpPr>
        <p:spPr>
          <a:xfrm>
            <a:off x="5435877" y="33365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Wukro</a:t>
            </a:r>
            <a:endParaRPr lang="en-GB" sz="700" dirty="0">
              <a:solidFill>
                <a:srgbClr val="0D274D"/>
              </a:solidFill>
              <a:latin typeface="CiscoSansTT ExtraLight"/>
            </a:endParaRPr>
          </a:p>
        </p:txBody>
      </p:sp>
      <p:grpSp>
        <p:nvGrpSpPr>
          <p:cNvPr id="486" name="Group 485">
            <a:extLst>
              <a:ext uri="{FF2B5EF4-FFF2-40B4-BE49-F238E27FC236}">
                <a16:creationId xmlns:a16="http://schemas.microsoft.com/office/drawing/2014/main" id="{328145CC-FA14-4362-955E-6AA9BCDD527B}"/>
              </a:ext>
            </a:extLst>
          </p:cNvPr>
          <p:cNvGrpSpPr/>
          <p:nvPr/>
        </p:nvGrpSpPr>
        <p:grpSpPr>
          <a:xfrm>
            <a:off x="6468413" y="2507912"/>
            <a:ext cx="126471" cy="126472"/>
            <a:chOff x="4083776" y="2552776"/>
            <a:chExt cx="529090" cy="529088"/>
          </a:xfrm>
        </p:grpSpPr>
        <p:sp>
          <p:nvSpPr>
            <p:cNvPr id="487" name="Oval 486">
              <a:extLst>
                <a:ext uri="{FF2B5EF4-FFF2-40B4-BE49-F238E27FC236}">
                  <a16:creationId xmlns:a16="http://schemas.microsoft.com/office/drawing/2014/main" id="{B227A780-77C3-4592-8FA9-B45F0C73AE9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8" name="Freeform: Shape 298">
              <a:extLst>
                <a:ext uri="{FF2B5EF4-FFF2-40B4-BE49-F238E27FC236}">
                  <a16:creationId xmlns:a16="http://schemas.microsoft.com/office/drawing/2014/main" id="{DCF2CFE5-2A69-498A-823A-A7322E3812B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9" name="Freeform: Shape 299">
              <a:extLst>
                <a:ext uri="{FF2B5EF4-FFF2-40B4-BE49-F238E27FC236}">
                  <a16:creationId xmlns:a16="http://schemas.microsoft.com/office/drawing/2014/main" id="{BF4747E3-73BB-48B0-B7F6-E55F23AFBC1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0" name="Freeform: Shape 301">
              <a:extLst>
                <a:ext uri="{FF2B5EF4-FFF2-40B4-BE49-F238E27FC236}">
                  <a16:creationId xmlns:a16="http://schemas.microsoft.com/office/drawing/2014/main" id="{A3D453EF-CC71-4238-A22D-FFB756EA407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1" name="Freeform: Shape 302">
              <a:extLst>
                <a:ext uri="{FF2B5EF4-FFF2-40B4-BE49-F238E27FC236}">
                  <a16:creationId xmlns:a16="http://schemas.microsoft.com/office/drawing/2014/main" id="{C0F9F87C-959C-4CCA-9A41-A0853BEFDA0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92" name="Group 491">
            <a:extLst>
              <a:ext uri="{FF2B5EF4-FFF2-40B4-BE49-F238E27FC236}">
                <a16:creationId xmlns:a16="http://schemas.microsoft.com/office/drawing/2014/main" id="{C27D1459-E2AF-4BB1-BA16-31B537463477}"/>
              </a:ext>
            </a:extLst>
          </p:cNvPr>
          <p:cNvGrpSpPr/>
          <p:nvPr/>
        </p:nvGrpSpPr>
        <p:grpSpPr>
          <a:xfrm>
            <a:off x="6680042" y="2444676"/>
            <a:ext cx="126471" cy="126472"/>
            <a:chOff x="4083776" y="2552776"/>
            <a:chExt cx="529090" cy="529088"/>
          </a:xfrm>
        </p:grpSpPr>
        <p:sp>
          <p:nvSpPr>
            <p:cNvPr id="523" name="Oval 522">
              <a:extLst>
                <a:ext uri="{FF2B5EF4-FFF2-40B4-BE49-F238E27FC236}">
                  <a16:creationId xmlns:a16="http://schemas.microsoft.com/office/drawing/2014/main" id="{96C59D34-E153-4338-8A8D-598B65E0190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4" name="Freeform: Shape 298">
              <a:extLst>
                <a:ext uri="{FF2B5EF4-FFF2-40B4-BE49-F238E27FC236}">
                  <a16:creationId xmlns:a16="http://schemas.microsoft.com/office/drawing/2014/main" id="{0AE5C6B5-36F7-4E72-8EC1-1D1930DA144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5" name="Freeform: Shape 299">
              <a:extLst>
                <a:ext uri="{FF2B5EF4-FFF2-40B4-BE49-F238E27FC236}">
                  <a16:creationId xmlns:a16="http://schemas.microsoft.com/office/drawing/2014/main" id="{38A7FEF2-0BDF-47AB-BED6-7919216E161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6" name="Freeform: Shape 301">
              <a:extLst>
                <a:ext uri="{FF2B5EF4-FFF2-40B4-BE49-F238E27FC236}">
                  <a16:creationId xmlns:a16="http://schemas.microsoft.com/office/drawing/2014/main" id="{E5AE25F9-E14B-4AC7-BC3C-272FF7A18EE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302">
              <a:extLst>
                <a:ext uri="{FF2B5EF4-FFF2-40B4-BE49-F238E27FC236}">
                  <a16:creationId xmlns:a16="http://schemas.microsoft.com/office/drawing/2014/main" id="{C974D5EA-5BC8-41E8-B59F-3FAC8788D06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28" name="Group 527">
            <a:extLst>
              <a:ext uri="{FF2B5EF4-FFF2-40B4-BE49-F238E27FC236}">
                <a16:creationId xmlns:a16="http://schemas.microsoft.com/office/drawing/2014/main" id="{C764712A-628A-4E8D-9C03-77F6309CE216}"/>
              </a:ext>
            </a:extLst>
          </p:cNvPr>
          <p:cNvGrpSpPr/>
          <p:nvPr/>
        </p:nvGrpSpPr>
        <p:grpSpPr>
          <a:xfrm>
            <a:off x="7012003" y="2921001"/>
            <a:ext cx="126471" cy="126472"/>
            <a:chOff x="4083776" y="2552776"/>
            <a:chExt cx="529090" cy="529088"/>
          </a:xfrm>
        </p:grpSpPr>
        <p:sp>
          <p:nvSpPr>
            <p:cNvPr id="529" name="Oval 528">
              <a:extLst>
                <a:ext uri="{FF2B5EF4-FFF2-40B4-BE49-F238E27FC236}">
                  <a16:creationId xmlns:a16="http://schemas.microsoft.com/office/drawing/2014/main" id="{32092452-F3B6-4191-9F52-5A0E5A463B9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7" name="Freeform: Shape 298">
              <a:extLst>
                <a:ext uri="{FF2B5EF4-FFF2-40B4-BE49-F238E27FC236}">
                  <a16:creationId xmlns:a16="http://schemas.microsoft.com/office/drawing/2014/main" id="{0BBA4145-FB37-4F79-80F9-528AC756EE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8" name="Freeform: Shape 299">
              <a:extLst>
                <a:ext uri="{FF2B5EF4-FFF2-40B4-BE49-F238E27FC236}">
                  <a16:creationId xmlns:a16="http://schemas.microsoft.com/office/drawing/2014/main" id="{DB5504A0-BB35-4BD5-985E-11F6A24A75B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9" name="Freeform: Shape 301">
              <a:extLst>
                <a:ext uri="{FF2B5EF4-FFF2-40B4-BE49-F238E27FC236}">
                  <a16:creationId xmlns:a16="http://schemas.microsoft.com/office/drawing/2014/main" id="{5E51BBA5-6C4B-40A3-BB01-FF4E25160C0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0" name="Freeform: Shape 302">
              <a:extLst>
                <a:ext uri="{FF2B5EF4-FFF2-40B4-BE49-F238E27FC236}">
                  <a16:creationId xmlns:a16="http://schemas.microsoft.com/office/drawing/2014/main" id="{337A2B0E-E813-45BF-A5D7-6BB8010A9D3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41" name="Straight Connector 540">
            <a:extLst>
              <a:ext uri="{FF2B5EF4-FFF2-40B4-BE49-F238E27FC236}">
                <a16:creationId xmlns:a16="http://schemas.microsoft.com/office/drawing/2014/main" id="{F851B5C2-0A3C-4051-A000-477941491C4C}"/>
              </a:ext>
            </a:extLst>
          </p:cNvPr>
          <p:cNvCxnSpPr>
            <a:endCxn id="487" idx="2"/>
          </p:cNvCxnSpPr>
          <p:nvPr/>
        </p:nvCxnSpPr>
        <p:spPr>
          <a:xfrm>
            <a:off x="6440153" y="2549533"/>
            <a:ext cx="28261" cy="216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42" name="Straight Connector 541">
            <a:extLst>
              <a:ext uri="{FF2B5EF4-FFF2-40B4-BE49-F238E27FC236}">
                <a16:creationId xmlns:a16="http://schemas.microsoft.com/office/drawing/2014/main" id="{0CE7AF41-C32F-4F32-A628-A256EDB34D25}"/>
              </a:ext>
            </a:extLst>
          </p:cNvPr>
          <p:cNvCxnSpPr>
            <a:stCxn id="487" idx="6"/>
            <a:endCxn id="523" idx="3"/>
          </p:cNvCxnSpPr>
          <p:nvPr/>
        </p:nvCxnSpPr>
        <p:spPr>
          <a:xfrm flipV="1">
            <a:off x="6594885" y="2552627"/>
            <a:ext cx="103678" cy="18521"/>
          </a:xfrm>
          <a:prstGeom prst="line">
            <a:avLst/>
          </a:prstGeom>
        </p:spPr>
        <p:style>
          <a:lnRef idx="1">
            <a:schemeClr val="accent6"/>
          </a:lnRef>
          <a:fillRef idx="0">
            <a:schemeClr val="accent6"/>
          </a:fillRef>
          <a:effectRef idx="0">
            <a:schemeClr val="accent6"/>
          </a:effectRef>
          <a:fontRef idx="minor">
            <a:schemeClr val="tx1"/>
          </a:fontRef>
        </p:style>
      </p:cxnSp>
      <p:cxnSp>
        <p:nvCxnSpPr>
          <p:cNvPr id="543" name="Straight Connector 542">
            <a:extLst>
              <a:ext uri="{FF2B5EF4-FFF2-40B4-BE49-F238E27FC236}">
                <a16:creationId xmlns:a16="http://schemas.microsoft.com/office/drawing/2014/main" id="{A0FF7EB2-E9E4-49F4-8EE1-CCDCDC850ACE}"/>
              </a:ext>
            </a:extLst>
          </p:cNvPr>
          <p:cNvCxnSpPr>
            <a:stCxn id="523" idx="6"/>
            <a:endCxn id="529" idx="0"/>
          </p:cNvCxnSpPr>
          <p:nvPr/>
        </p:nvCxnSpPr>
        <p:spPr>
          <a:xfrm>
            <a:off x="6806513" y="2507912"/>
            <a:ext cx="268726" cy="413089"/>
          </a:xfrm>
          <a:prstGeom prst="line">
            <a:avLst/>
          </a:prstGeom>
        </p:spPr>
        <p:style>
          <a:lnRef idx="1">
            <a:schemeClr val="accent6"/>
          </a:lnRef>
          <a:fillRef idx="0">
            <a:schemeClr val="accent6"/>
          </a:fillRef>
          <a:effectRef idx="0">
            <a:schemeClr val="accent6"/>
          </a:effectRef>
          <a:fontRef idx="minor">
            <a:schemeClr val="tx1"/>
          </a:fontRef>
        </p:style>
      </p:cxnSp>
      <p:grpSp>
        <p:nvGrpSpPr>
          <p:cNvPr id="544" name="Group 543">
            <a:extLst>
              <a:ext uri="{FF2B5EF4-FFF2-40B4-BE49-F238E27FC236}">
                <a16:creationId xmlns:a16="http://schemas.microsoft.com/office/drawing/2014/main" id="{717A8AC1-A172-4D16-B736-9A5CE3061C8D}"/>
              </a:ext>
            </a:extLst>
          </p:cNvPr>
          <p:cNvGrpSpPr/>
          <p:nvPr/>
        </p:nvGrpSpPr>
        <p:grpSpPr>
          <a:xfrm>
            <a:off x="6985006" y="3696788"/>
            <a:ext cx="126471" cy="126472"/>
            <a:chOff x="4083776" y="2552776"/>
            <a:chExt cx="529090" cy="529088"/>
          </a:xfrm>
        </p:grpSpPr>
        <p:sp>
          <p:nvSpPr>
            <p:cNvPr id="593" name="Oval 592">
              <a:extLst>
                <a:ext uri="{FF2B5EF4-FFF2-40B4-BE49-F238E27FC236}">
                  <a16:creationId xmlns:a16="http://schemas.microsoft.com/office/drawing/2014/main" id="{2B9E965C-FE9B-4FD1-9AAA-E7FCF235CF9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4" name="Freeform: Shape 298">
              <a:extLst>
                <a:ext uri="{FF2B5EF4-FFF2-40B4-BE49-F238E27FC236}">
                  <a16:creationId xmlns:a16="http://schemas.microsoft.com/office/drawing/2014/main" id="{D5731D23-2AF7-49F8-993D-1015792E66C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5" name="Freeform: Shape 299">
              <a:extLst>
                <a:ext uri="{FF2B5EF4-FFF2-40B4-BE49-F238E27FC236}">
                  <a16:creationId xmlns:a16="http://schemas.microsoft.com/office/drawing/2014/main" id="{624E0869-07D7-4152-B03E-B55B8CB52AB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6" name="Freeform: Shape 301">
              <a:extLst>
                <a:ext uri="{FF2B5EF4-FFF2-40B4-BE49-F238E27FC236}">
                  <a16:creationId xmlns:a16="http://schemas.microsoft.com/office/drawing/2014/main" id="{3890D73C-7A23-42D0-A1B8-945A911E679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7" name="Freeform: Shape 302">
              <a:extLst>
                <a:ext uri="{FF2B5EF4-FFF2-40B4-BE49-F238E27FC236}">
                  <a16:creationId xmlns:a16="http://schemas.microsoft.com/office/drawing/2014/main" id="{A5501636-E3B6-4169-BD5B-BC661F7124C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8" name="Group 597">
            <a:extLst>
              <a:ext uri="{FF2B5EF4-FFF2-40B4-BE49-F238E27FC236}">
                <a16:creationId xmlns:a16="http://schemas.microsoft.com/office/drawing/2014/main" id="{7B47F4A4-887F-4B4C-AD03-BF182A56E6D9}"/>
              </a:ext>
            </a:extLst>
          </p:cNvPr>
          <p:cNvGrpSpPr/>
          <p:nvPr/>
        </p:nvGrpSpPr>
        <p:grpSpPr>
          <a:xfrm>
            <a:off x="7246802" y="3447485"/>
            <a:ext cx="304786" cy="304788"/>
            <a:chOff x="4083769" y="2552776"/>
            <a:chExt cx="529089" cy="529089"/>
          </a:xfrm>
        </p:grpSpPr>
        <p:sp>
          <p:nvSpPr>
            <p:cNvPr id="606" name="Oval 605">
              <a:extLst>
                <a:ext uri="{FF2B5EF4-FFF2-40B4-BE49-F238E27FC236}">
                  <a16:creationId xmlns:a16="http://schemas.microsoft.com/office/drawing/2014/main" id="{C7979425-8BBF-4D53-AC19-E2686E0285B2}"/>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7" name="Freeform: Shape 298">
              <a:extLst>
                <a:ext uri="{FF2B5EF4-FFF2-40B4-BE49-F238E27FC236}">
                  <a16:creationId xmlns:a16="http://schemas.microsoft.com/office/drawing/2014/main" id="{3F54AFB4-27BA-4C5F-B718-C2F1AE82BC6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8" name="Freeform: Shape 299">
              <a:extLst>
                <a:ext uri="{FF2B5EF4-FFF2-40B4-BE49-F238E27FC236}">
                  <a16:creationId xmlns:a16="http://schemas.microsoft.com/office/drawing/2014/main" id="{5D626602-650D-4E16-BE35-33E3C56B667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9" name="Freeform: Shape 301">
              <a:extLst>
                <a:ext uri="{FF2B5EF4-FFF2-40B4-BE49-F238E27FC236}">
                  <a16:creationId xmlns:a16="http://schemas.microsoft.com/office/drawing/2014/main" id="{0898055E-73DC-4F26-8657-219E3D917D4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0" name="Freeform: Shape 302">
              <a:extLst>
                <a:ext uri="{FF2B5EF4-FFF2-40B4-BE49-F238E27FC236}">
                  <a16:creationId xmlns:a16="http://schemas.microsoft.com/office/drawing/2014/main" id="{CE3BD877-E6F1-4488-9D09-7B1CE1F302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11" name="Group 610">
            <a:extLst>
              <a:ext uri="{FF2B5EF4-FFF2-40B4-BE49-F238E27FC236}">
                <a16:creationId xmlns:a16="http://schemas.microsoft.com/office/drawing/2014/main" id="{486FED17-60B5-4976-8DF8-5C440B10740E}"/>
              </a:ext>
            </a:extLst>
          </p:cNvPr>
          <p:cNvGrpSpPr/>
          <p:nvPr/>
        </p:nvGrpSpPr>
        <p:grpSpPr>
          <a:xfrm>
            <a:off x="6469475" y="3682639"/>
            <a:ext cx="126471" cy="126472"/>
            <a:chOff x="4083776" y="2552776"/>
            <a:chExt cx="529090" cy="529088"/>
          </a:xfrm>
        </p:grpSpPr>
        <p:sp>
          <p:nvSpPr>
            <p:cNvPr id="612" name="Oval 611">
              <a:extLst>
                <a:ext uri="{FF2B5EF4-FFF2-40B4-BE49-F238E27FC236}">
                  <a16:creationId xmlns:a16="http://schemas.microsoft.com/office/drawing/2014/main" id="{BA340076-5B12-4DC1-9DD7-E8054B98AE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13" name="Freeform: Shape 298">
              <a:extLst>
                <a:ext uri="{FF2B5EF4-FFF2-40B4-BE49-F238E27FC236}">
                  <a16:creationId xmlns:a16="http://schemas.microsoft.com/office/drawing/2014/main" id="{53E5BF97-DA05-4054-A6A5-215F4D934C5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4" name="Freeform: Shape 299">
              <a:extLst>
                <a:ext uri="{FF2B5EF4-FFF2-40B4-BE49-F238E27FC236}">
                  <a16:creationId xmlns:a16="http://schemas.microsoft.com/office/drawing/2014/main" id="{B138D73E-A43C-4842-9470-00FE95CB4C7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5" name="Freeform: Shape 301">
              <a:extLst>
                <a:ext uri="{FF2B5EF4-FFF2-40B4-BE49-F238E27FC236}">
                  <a16:creationId xmlns:a16="http://schemas.microsoft.com/office/drawing/2014/main" id="{734E5881-8AD4-465E-AF4C-F32DE41CD6F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6" name="Freeform: Shape 302">
              <a:extLst>
                <a:ext uri="{FF2B5EF4-FFF2-40B4-BE49-F238E27FC236}">
                  <a16:creationId xmlns:a16="http://schemas.microsoft.com/office/drawing/2014/main" id="{9DD58ED7-4E55-41B2-830A-E0E9ACACC9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17" name="Group 616">
            <a:extLst>
              <a:ext uri="{FF2B5EF4-FFF2-40B4-BE49-F238E27FC236}">
                <a16:creationId xmlns:a16="http://schemas.microsoft.com/office/drawing/2014/main" id="{D840E2A8-4689-473E-9417-5827BCDCE616}"/>
              </a:ext>
            </a:extLst>
          </p:cNvPr>
          <p:cNvGrpSpPr/>
          <p:nvPr/>
        </p:nvGrpSpPr>
        <p:grpSpPr>
          <a:xfrm>
            <a:off x="6192617" y="3660665"/>
            <a:ext cx="126471" cy="126472"/>
            <a:chOff x="4083776" y="2552776"/>
            <a:chExt cx="529090" cy="529088"/>
          </a:xfrm>
        </p:grpSpPr>
        <p:sp>
          <p:nvSpPr>
            <p:cNvPr id="618" name="Oval 617">
              <a:extLst>
                <a:ext uri="{FF2B5EF4-FFF2-40B4-BE49-F238E27FC236}">
                  <a16:creationId xmlns:a16="http://schemas.microsoft.com/office/drawing/2014/main" id="{BFFF6101-7315-4FFD-BFB7-4259C6F9340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19" name="Freeform: Shape 298">
              <a:extLst>
                <a:ext uri="{FF2B5EF4-FFF2-40B4-BE49-F238E27FC236}">
                  <a16:creationId xmlns:a16="http://schemas.microsoft.com/office/drawing/2014/main" id="{839F81B0-F744-4B95-BDCF-B7A633E69A5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0" name="Freeform: Shape 299">
              <a:extLst>
                <a:ext uri="{FF2B5EF4-FFF2-40B4-BE49-F238E27FC236}">
                  <a16:creationId xmlns:a16="http://schemas.microsoft.com/office/drawing/2014/main" id="{A8BBF543-4FEE-4A99-B8B0-E8FF616E99C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1" name="Freeform: Shape 301">
              <a:extLst>
                <a:ext uri="{FF2B5EF4-FFF2-40B4-BE49-F238E27FC236}">
                  <a16:creationId xmlns:a16="http://schemas.microsoft.com/office/drawing/2014/main" id="{7C8094BD-97CA-4912-94FF-0DA8A73AE22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2" name="Freeform: Shape 302">
              <a:extLst>
                <a:ext uri="{FF2B5EF4-FFF2-40B4-BE49-F238E27FC236}">
                  <a16:creationId xmlns:a16="http://schemas.microsoft.com/office/drawing/2014/main" id="{64DE4E92-3B7B-40B9-8355-171A3159B06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623" name="Straight Connector 622">
            <a:extLst>
              <a:ext uri="{FF2B5EF4-FFF2-40B4-BE49-F238E27FC236}">
                <a16:creationId xmlns:a16="http://schemas.microsoft.com/office/drawing/2014/main" id="{8E863F8D-7C30-4185-8FF1-672B18F799DE}"/>
              </a:ext>
            </a:extLst>
          </p:cNvPr>
          <p:cNvCxnSpPr/>
          <p:nvPr/>
        </p:nvCxnSpPr>
        <p:spPr>
          <a:xfrm flipV="1">
            <a:off x="5331821" y="3361186"/>
            <a:ext cx="327982" cy="149931"/>
          </a:xfrm>
          <a:prstGeom prst="line">
            <a:avLst/>
          </a:prstGeom>
        </p:spPr>
        <p:style>
          <a:lnRef idx="1">
            <a:schemeClr val="accent6"/>
          </a:lnRef>
          <a:fillRef idx="0">
            <a:schemeClr val="accent6"/>
          </a:fillRef>
          <a:effectRef idx="0">
            <a:schemeClr val="accent6"/>
          </a:effectRef>
          <a:fontRef idx="minor">
            <a:schemeClr val="tx1"/>
          </a:fontRef>
        </p:style>
      </p:cxnSp>
      <p:cxnSp>
        <p:nvCxnSpPr>
          <p:cNvPr id="624" name="Straight Connector 623">
            <a:extLst>
              <a:ext uri="{FF2B5EF4-FFF2-40B4-BE49-F238E27FC236}">
                <a16:creationId xmlns:a16="http://schemas.microsoft.com/office/drawing/2014/main" id="{13A27C9A-F9C3-4030-AC51-EE6E430EC83B}"/>
              </a:ext>
            </a:extLst>
          </p:cNvPr>
          <p:cNvCxnSpPr>
            <a:endCxn id="618" idx="2"/>
          </p:cNvCxnSpPr>
          <p:nvPr/>
        </p:nvCxnSpPr>
        <p:spPr>
          <a:xfrm>
            <a:off x="5767753" y="3405901"/>
            <a:ext cx="424864" cy="318000"/>
          </a:xfrm>
          <a:prstGeom prst="line">
            <a:avLst/>
          </a:prstGeom>
        </p:spPr>
        <p:style>
          <a:lnRef idx="1">
            <a:schemeClr val="accent6"/>
          </a:lnRef>
          <a:fillRef idx="0">
            <a:schemeClr val="accent6"/>
          </a:fillRef>
          <a:effectRef idx="0">
            <a:schemeClr val="accent6"/>
          </a:effectRef>
          <a:fontRef idx="minor">
            <a:schemeClr val="tx1"/>
          </a:fontRef>
        </p:style>
      </p:cxnSp>
      <p:cxnSp>
        <p:nvCxnSpPr>
          <p:cNvPr id="625" name="Straight Connector 624">
            <a:extLst>
              <a:ext uri="{FF2B5EF4-FFF2-40B4-BE49-F238E27FC236}">
                <a16:creationId xmlns:a16="http://schemas.microsoft.com/office/drawing/2014/main" id="{4B390A0B-6EDA-4823-B061-9879F0C2DD60}"/>
              </a:ext>
            </a:extLst>
          </p:cNvPr>
          <p:cNvCxnSpPr>
            <a:stCxn id="618" idx="6"/>
          </p:cNvCxnSpPr>
          <p:nvPr/>
        </p:nvCxnSpPr>
        <p:spPr>
          <a:xfrm>
            <a:off x="6319088" y="3723901"/>
            <a:ext cx="83883" cy="17052"/>
          </a:xfrm>
          <a:prstGeom prst="line">
            <a:avLst/>
          </a:prstGeom>
        </p:spPr>
        <p:style>
          <a:lnRef idx="1">
            <a:schemeClr val="accent6"/>
          </a:lnRef>
          <a:fillRef idx="0">
            <a:schemeClr val="accent6"/>
          </a:fillRef>
          <a:effectRef idx="0">
            <a:schemeClr val="accent6"/>
          </a:effectRef>
          <a:fontRef idx="minor">
            <a:schemeClr val="tx1"/>
          </a:fontRef>
        </p:style>
      </p:cxnSp>
      <p:cxnSp>
        <p:nvCxnSpPr>
          <p:cNvPr id="626" name="Straight Connector 625">
            <a:extLst>
              <a:ext uri="{FF2B5EF4-FFF2-40B4-BE49-F238E27FC236}">
                <a16:creationId xmlns:a16="http://schemas.microsoft.com/office/drawing/2014/main" id="{CDE29293-C4D6-4908-90C3-DC9E18D76373}"/>
              </a:ext>
            </a:extLst>
          </p:cNvPr>
          <p:cNvCxnSpPr>
            <a:cxnSpLocks/>
          </p:cNvCxnSpPr>
          <p:nvPr/>
        </p:nvCxnSpPr>
        <p:spPr>
          <a:xfrm flipV="1">
            <a:off x="6402971" y="3540874"/>
            <a:ext cx="112009" cy="199304"/>
          </a:xfrm>
          <a:prstGeom prst="line">
            <a:avLst/>
          </a:prstGeom>
        </p:spPr>
        <p:style>
          <a:lnRef idx="1">
            <a:schemeClr val="accent6"/>
          </a:lnRef>
          <a:fillRef idx="0">
            <a:schemeClr val="accent6"/>
          </a:fillRef>
          <a:effectRef idx="0">
            <a:schemeClr val="accent6"/>
          </a:effectRef>
          <a:fontRef idx="minor">
            <a:schemeClr val="tx1"/>
          </a:fontRef>
        </p:style>
      </p:cxnSp>
      <p:cxnSp>
        <p:nvCxnSpPr>
          <p:cNvPr id="627" name="Straight Connector 626">
            <a:extLst>
              <a:ext uri="{FF2B5EF4-FFF2-40B4-BE49-F238E27FC236}">
                <a16:creationId xmlns:a16="http://schemas.microsoft.com/office/drawing/2014/main" id="{7A901EA7-D49A-4B0D-9784-ED8C3D314240}"/>
              </a:ext>
            </a:extLst>
          </p:cNvPr>
          <p:cNvCxnSpPr/>
          <p:nvPr/>
        </p:nvCxnSpPr>
        <p:spPr>
          <a:xfrm>
            <a:off x="6520766" y="3541793"/>
            <a:ext cx="36035" cy="15360"/>
          </a:xfrm>
          <a:prstGeom prst="line">
            <a:avLst/>
          </a:prstGeom>
        </p:spPr>
        <p:style>
          <a:lnRef idx="1">
            <a:schemeClr val="accent6"/>
          </a:lnRef>
          <a:fillRef idx="0">
            <a:schemeClr val="accent6"/>
          </a:fillRef>
          <a:effectRef idx="0">
            <a:schemeClr val="accent6"/>
          </a:effectRef>
          <a:fontRef idx="minor">
            <a:schemeClr val="tx1"/>
          </a:fontRef>
        </p:style>
      </p:cxnSp>
      <p:cxnSp>
        <p:nvCxnSpPr>
          <p:cNvPr id="628" name="Straight Connector 627">
            <a:extLst>
              <a:ext uri="{FF2B5EF4-FFF2-40B4-BE49-F238E27FC236}">
                <a16:creationId xmlns:a16="http://schemas.microsoft.com/office/drawing/2014/main" id="{34EA624E-0664-4B61-B3EC-2B79758CB5D1}"/>
              </a:ext>
            </a:extLst>
          </p:cNvPr>
          <p:cNvCxnSpPr>
            <a:endCxn id="613" idx="9"/>
          </p:cNvCxnSpPr>
          <p:nvPr/>
        </p:nvCxnSpPr>
        <p:spPr>
          <a:xfrm flipH="1">
            <a:off x="6528465" y="3562233"/>
            <a:ext cx="30175" cy="139594"/>
          </a:xfrm>
          <a:prstGeom prst="line">
            <a:avLst/>
          </a:prstGeom>
        </p:spPr>
        <p:style>
          <a:lnRef idx="1">
            <a:schemeClr val="accent6"/>
          </a:lnRef>
          <a:fillRef idx="0">
            <a:schemeClr val="accent6"/>
          </a:fillRef>
          <a:effectRef idx="0">
            <a:schemeClr val="accent6"/>
          </a:effectRef>
          <a:fontRef idx="minor">
            <a:schemeClr val="tx1"/>
          </a:fontRef>
        </p:style>
      </p:cxnSp>
      <p:cxnSp>
        <p:nvCxnSpPr>
          <p:cNvPr id="629" name="Straight Connector 628">
            <a:extLst>
              <a:ext uri="{FF2B5EF4-FFF2-40B4-BE49-F238E27FC236}">
                <a16:creationId xmlns:a16="http://schemas.microsoft.com/office/drawing/2014/main" id="{76FAFFFE-B406-4256-A1EA-1427947728D1}"/>
              </a:ext>
            </a:extLst>
          </p:cNvPr>
          <p:cNvCxnSpPr>
            <a:stCxn id="612" idx="5"/>
          </p:cNvCxnSpPr>
          <p:nvPr/>
        </p:nvCxnSpPr>
        <p:spPr>
          <a:xfrm>
            <a:off x="6577425" y="3790590"/>
            <a:ext cx="503509" cy="205793"/>
          </a:xfrm>
          <a:prstGeom prst="line">
            <a:avLst/>
          </a:prstGeom>
        </p:spPr>
        <p:style>
          <a:lnRef idx="1">
            <a:schemeClr val="accent6"/>
          </a:lnRef>
          <a:fillRef idx="0">
            <a:schemeClr val="accent6"/>
          </a:fillRef>
          <a:effectRef idx="0">
            <a:schemeClr val="accent6"/>
          </a:effectRef>
          <a:fontRef idx="minor">
            <a:schemeClr val="tx1"/>
          </a:fontRef>
        </p:style>
      </p:cxnSp>
      <p:cxnSp>
        <p:nvCxnSpPr>
          <p:cNvPr id="630" name="Straight Connector 629">
            <a:extLst>
              <a:ext uri="{FF2B5EF4-FFF2-40B4-BE49-F238E27FC236}">
                <a16:creationId xmlns:a16="http://schemas.microsoft.com/office/drawing/2014/main" id="{2A6772FE-044E-4C12-A156-862447AA0B6D}"/>
              </a:ext>
            </a:extLst>
          </p:cNvPr>
          <p:cNvCxnSpPr>
            <a:endCxn id="593" idx="5"/>
          </p:cNvCxnSpPr>
          <p:nvPr/>
        </p:nvCxnSpPr>
        <p:spPr>
          <a:xfrm flipV="1">
            <a:off x="7069538" y="3804739"/>
            <a:ext cx="23418" cy="179612"/>
          </a:xfrm>
          <a:prstGeom prst="line">
            <a:avLst/>
          </a:prstGeom>
        </p:spPr>
        <p:style>
          <a:lnRef idx="1">
            <a:schemeClr val="accent6"/>
          </a:lnRef>
          <a:fillRef idx="0">
            <a:schemeClr val="accent6"/>
          </a:fillRef>
          <a:effectRef idx="0">
            <a:schemeClr val="accent6"/>
          </a:effectRef>
          <a:fontRef idx="minor">
            <a:schemeClr val="tx1"/>
          </a:fontRef>
        </p:style>
      </p:cxnSp>
      <p:cxnSp>
        <p:nvCxnSpPr>
          <p:cNvPr id="631" name="Straight Connector 630">
            <a:extLst>
              <a:ext uri="{FF2B5EF4-FFF2-40B4-BE49-F238E27FC236}">
                <a16:creationId xmlns:a16="http://schemas.microsoft.com/office/drawing/2014/main" id="{0339B3EE-90F7-4147-AE3C-966D9BE196BB}"/>
              </a:ext>
            </a:extLst>
          </p:cNvPr>
          <p:cNvCxnSpPr>
            <a:stCxn id="593" idx="6"/>
            <a:endCxn id="606" idx="3"/>
          </p:cNvCxnSpPr>
          <p:nvPr/>
        </p:nvCxnSpPr>
        <p:spPr>
          <a:xfrm flipV="1">
            <a:off x="7111477" y="3707638"/>
            <a:ext cx="179960" cy="52386"/>
          </a:xfrm>
          <a:prstGeom prst="line">
            <a:avLst/>
          </a:prstGeom>
        </p:spPr>
        <p:style>
          <a:lnRef idx="1">
            <a:schemeClr val="accent6"/>
          </a:lnRef>
          <a:fillRef idx="0">
            <a:schemeClr val="accent6"/>
          </a:fillRef>
          <a:effectRef idx="0">
            <a:schemeClr val="accent6"/>
          </a:effectRef>
          <a:fontRef idx="minor">
            <a:schemeClr val="tx1"/>
          </a:fontRef>
        </p:style>
      </p:cxnSp>
      <p:cxnSp>
        <p:nvCxnSpPr>
          <p:cNvPr id="632" name="Straight Connector 631">
            <a:extLst>
              <a:ext uri="{FF2B5EF4-FFF2-40B4-BE49-F238E27FC236}">
                <a16:creationId xmlns:a16="http://schemas.microsoft.com/office/drawing/2014/main" id="{D09EE671-8841-46DD-BE81-27EC95A3D388}"/>
              </a:ext>
            </a:extLst>
          </p:cNvPr>
          <p:cNvCxnSpPr>
            <a:stCxn id="529" idx="4"/>
            <a:endCxn id="606" idx="0"/>
          </p:cNvCxnSpPr>
          <p:nvPr/>
        </p:nvCxnSpPr>
        <p:spPr>
          <a:xfrm>
            <a:off x="7075239" y="3047473"/>
            <a:ext cx="323956" cy="400012"/>
          </a:xfrm>
          <a:prstGeom prst="line">
            <a:avLst/>
          </a:prstGeom>
        </p:spPr>
        <p:style>
          <a:lnRef idx="1">
            <a:schemeClr val="accent6"/>
          </a:lnRef>
          <a:fillRef idx="0">
            <a:schemeClr val="accent6"/>
          </a:fillRef>
          <a:effectRef idx="0">
            <a:schemeClr val="accent6"/>
          </a:effectRef>
          <a:fontRef idx="minor">
            <a:schemeClr val="tx1"/>
          </a:fontRef>
        </p:style>
      </p:cxnSp>
      <p:grpSp>
        <p:nvGrpSpPr>
          <p:cNvPr id="633" name="Group 632">
            <a:extLst>
              <a:ext uri="{FF2B5EF4-FFF2-40B4-BE49-F238E27FC236}">
                <a16:creationId xmlns:a16="http://schemas.microsoft.com/office/drawing/2014/main" id="{562A0EF3-73AC-4858-9776-550BB384D2E9}"/>
              </a:ext>
            </a:extLst>
          </p:cNvPr>
          <p:cNvGrpSpPr/>
          <p:nvPr/>
        </p:nvGrpSpPr>
        <p:grpSpPr>
          <a:xfrm>
            <a:off x="5641282" y="3342665"/>
            <a:ext cx="126471" cy="126472"/>
            <a:chOff x="4083776" y="2552776"/>
            <a:chExt cx="529090" cy="529088"/>
          </a:xfrm>
        </p:grpSpPr>
        <p:sp>
          <p:nvSpPr>
            <p:cNvPr id="634" name="Oval 633">
              <a:extLst>
                <a:ext uri="{FF2B5EF4-FFF2-40B4-BE49-F238E27FC236}">
                  <a16:creationId xmlns:a16="http://schemas.microsoft.com/office/drawing/2014/main" id="{3A3BF27F-8B38-4908-934A-8B92C0B0C04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35" name="Freeform: Shape 298">
              <a:extLst>
                <a:ext uri="{FF2B5EF4-FFF2-40B4-BE49-F238E27FC236}">
                  <a16:creationId xmlns:a16="http://schemas.microsoft.com/office/drawing/2014/main" id="{C4BC056E-2F7F-4B7E-ABA3-69C9C06F670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36" name="Freeform: Shape 299">
              <a:extLst>
                <a:ext uri="{FF2B5EF4-FFF2-40B4-BE49-F238E27FC236}">
                  <a16:creationId xmlns:a16="http://schemas.microsoft.com/office/drawing/2014/main" id="{31BD2CE9-253B-418D-BD2D-9D5F821CCC0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37" name="Freeform: Shape 301">
              <a:extLst>
                <a:ext uri="{FF2B5EF4-FFF2-40B4-BE49-F238E27FC236}">
                  <a16:creationId xmlns:a16="http://schemas.microsoft.com/office/drawing/2014/main" id="{E5ED8D4C-0A91-4F8F-9EFA-9D775399749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38" name="Freeform: Shape 302">
              <a:extLst>
                <a:ext uri="{FF2B5EF4-FFF2-40B4-BE49-F238E27FC236}">
                  <a16:creationId xmlns:a16="http://schemas.microsoft.com/office/drawing/2014/main" id="{EB9589F0-B20D-4619-8D40-9461C1FB85E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39" name="Rectangle 638">
            <a:extLst>
              <a:ext uri="{FF2B5EF4-FFF2-40B4-BE49-F238E27FC236}">
                <a16:creationId xmlns:a16="http://schemas.microsoft.com/office/drawing/2014/main" id="{7515A515-8DF8-4838-ADCB-774BBB56E7E9}"/>
              </a:ext>
            </a:extLst>
          </p:cNvPr>
          <p:cNvSpPr/>
          <p:nvPr/>
        </p:nvSpPr>
        <p:spPr>
          <a:xfrm>
            <a:off x="5821669" y="335194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nir</a:t>
            </a:r>
            <a:endParaRPr lang="en-GB" sz="700" dirty="0">
              <a:solidFill>
                <a:srgbClr val="0D274D"/>
              </a:solidFill>
              <a:latin typeface="CiscoSansTT ExtraLight"/>
            </a:endParaRPr>
          </a:p>
        </p:txBody>
      </p:sp>
      <p:sp>
        <p:nvSpPr>
          <p:cNvPr id="640" name="Rectangle 639">
            <a:extLst>
              <a:ext uri="{FF2B5EF4-FFF2-40B4-BE49-F238E27FC236}">
                <a16:creationId xmlns:a16="http://schemas.microsoft.com/office/drawing/2014/main" id="{51C0DFF2-EAB7-4ECF-8CC8-E7D10F5542C3}"/>
              </a:ext>
            </a:extLst>
          </p:cNvPr>
          <p:cNvSpPr/>
          <p:nvPr/>
        </p:nvSpPr>
        <p:spPr>
          <a:xfrm>
            <a:off x="5913067" y="381713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Raaso</a:t>
            </a:r>
            <a:endParaRPr lang="en-GB" sz="700" dirty="0">
              <a:solidFill>
                <a:srgbClr val="0D274D"/>
              </a:solidFill>
              <a:latin typeface="CiscoSansTT ExtraLight"/>
            </a:endParaRPr>
          </a:p>
        </p:txBody>
      </p:sp>
      <p:sp>
        <p:nvSpPr>
          <p:cNvPr id="641" name="Rectangle 640">
            <a:extLst>
              <a:ext uri="{FF2B5EF4-FFF2-40B4-BE49-F238E27FC236}">
                <a16:creationId xmlns:a16="http://schemas.microsoft.com/office/drawing/2014/main" id="{880EA1E7-FDAD-4122-B358-7DA594EF3F68}"/>
              </a:ext>
            </a:extLst>
          </p:cNvPr>
          <p:cNvSpPr/>
          <p:nvPr/>
        </p:nvSpPr>
        <p:spPr>
          <a:xfrm>
            <a:off x="6403944" y="3571313"/>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Imi</a:t>
            </a:r>
            <a:endParaRPr lang="en-GB" sz="700" dirty="0">
              <a:solidFill>
                <a:srgbClr val="0D274D"/>
              </a:solidFill>
              <a:latin typeface="CiscoSansTT ExtraLight"/>
            </a:endParaRPr>
          </a:p>
        </p:txBody>
      </p:sp>
      <p:sp>
        <p:nvSpPr>
          <p:cNvPr id="642" name="Rectangle 641">
            <a:extLst>
              <a:ext uri="{FF2B5EF4-FFF2-40B4-BE49-F238E27FC236}">
                <a16:creationId xmlns:a16="http://schemas.microsoft.com/office/drawing/2014/main" id="{D16927E5-0423-4ECC-BFD3-0644A0C1E3C3}"/>
              </a:ext>
            </a:extLst>
          </p:cNvPr>
          <p:cNvSpPr/>
          <p:nvPr/>
        </p:nvSpPr>
        <p:spPr>
          <a:xfrm>
            <a:off x="6973585" y="383321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anan</a:t>
            </a:r>
            <a:endParaRPr lang="en-GB" sz="700" dirty="0">
              <a:solidFill>
                <a:srgbClr val="0D274D"/>
              </a:solidFill>
              <a:latin typeface="CiscoSansTT ExtraLight"/>
            </a:endParaRPr>
          </a:p>
        </p:txBody>
      </p:sp>
    </p:spTree>
    <p:extLst>
      <p:ext uri="{BB962C8B-B14F-4D97-AF65-F5344CB8AC3E}">
        <p14:creationId xmlns:p14="http://schemas.microsoft.com/office/powerpoint/2010/main" val="381780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13CBDD-BF33-4908-9C11-36AA2D340447}"/>
              </a:ext>
            </a:extLst>
          </p:cNvPr>
          <p:cNvPicPr>
            <a:picLocks noChangeAspect="1"/>
          </p:cNvPicPr>
          <p:nvPr/>
        </p:nvPicPr>
        <p:blipFill rotWithShape="1">
          <a:blip r:embed="rId3"/>
          <a:srcRect l="6792" r="14122"/>
          <a:stretch/>
        </p:blipFill>
        <p:spPr>
          <a:xfrm>
            <a:off x="2324100" y="0"/>
            <a:ext cx="6819901" cy="5143500"/>
          </a:xfrm>
          <a:prstGeom prst="rect">
            <a:avLst/>
          </a:prstGeom>
        </p:spPr>
      </p:pic>
      <p:grpSp>
        <p:nvGrpSpPr>
          <p:cNvPr id="523" name="Group 522">
            <a:extLst>
              <a:ext uri="{FF2B5EF4-FFF2-40B4-BE49-F238E27FC236}">
                <a16:creationId xmlns:a16="http://schemas.microsoft.com/office/drawing/2014/main" id="{F72B5C90-146D-4F8E-8D0F-3991F84ABC1D}"/>
              </a:ext>
            </a:extLst>
          </p:cNvPr>
          <p:cNvGrpSpPr/>
          <p:nvPr/>
        </p:nvGrpSpPr>
        <p:grpSpPr>
          <a:xfrm>
            <a:off x="7072090" y="1432648"/>
            <a:ext cx="288000" cy="288000"/>
            <a:chOff x="4083769" y="2552776"/>
            <a:chExt cx="529089" cy="529089"/>
          </a:xfrm>
        </p:grpSpPr>
        <p:sp>
          <p:nvSpPr>
            <p:cNvPr id="524" name="Oval 523">
              <a:extLst>
                <a:ext uri="{FF2B5EF4-FFF2-40B4-BE49-F238E27FC236}">
                  <a16:creationId xmlns:a16="http://schemas.microsoft.com/office/drawing/2014/main" id="{2856A80A-F843-4302-A3CC-E81429564893}"/>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5" name="Freeform: Shape 298">
              <a:extLst>
                <a:ext uri="{FF2B5EF4-FFF2-40B4-BE49-F238E27FC236}">
                  <a16:creationId xmlns:a16="http://schemas.microsoft.com/office/drawing/2014/main" id="{B686C3FC-723C-49D7-8A3B-4D949F544E2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6" name="Freeform: Shape 299">
              <a:extLst>
                <a:ext uri="{FF2B5EF4-FFF2-40B4-BE49-F238E27FC236}">
                  <a16:creationId xmlns:a16="http://schemas.microsoft.com/office/drawing/2014/main" id="{7454E7F3-F898-4966-8E7F-FE37B957A8A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301">
              <a:extLst>
                <a:ext uri="{FF2B5EF4-FFF2-40B4-BE49-F238E27FC236}">
                  <a16:creationId xmlns:a16="http://schemas.microsoft.com/office/drawing/2014/main" id="{3095BA0A-0FEF-4236-ADCF-BD2760E2CEF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2">
              <a:extLst>
                <a:ext uri="{FF2B5EF4-FFF2-40B4-BE49-F238E27FC236}">
                  <a16:creationId xmlns:a16="http://schemas.microsoft.com/office/drawing/2014/main" id="{C246A571-CCE7-4DAA-98A4-A5F77CA5827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9" name="Rectangle 528">
            <a:extLst>
              <a:ext uri="{FF2B5EF4-FFF2-40B4-BE49-F238E27FC236}">
                <a16:creationId xmlns:a16="http://schemas.microsoft.com/office/drawing/2014/main" id="{70F091D2-3452-49D0-BA17-81DE1E9B9FA1}"/>
              </a:ext>
            </a:extLst>
          </p:cNvPr>
          <p:cNvSpPr/>
          <p:nvPr/>
        </p:nvSpPr>
        <p:spPr>
          <a:xfrm>
            <a:off x="7386039" y="1426431"/>
            <a:ext cx="1216025"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Addis Core Site</a:t>
            </a:r>
          </a:p>
        </p:txBody>
      </p:sp>
      <p:sp>
        <p:nvSpPr>
          <p:cNvPr id="543" name="Rectangle 542">
            <a:extLst>
              <a:ext uri="{FF2B5EF4-FFF2-40B4-BE49-F238E27FC236}">
                <a16:creationId xmlns:a16="http://schemas.microsoft.com/office/drawing/2014/main" id="{D5FA4414-210C-4010-8E3D-D21FDF0E759D}"/>
              </a:ext>
            </a:extLst>
          </p:cNvPr>
          <p:cNvSpPr/>
          <p:nvPr/>
        </p:nvSpPr>
        <p:spPr>
          <a:xfrm>
            <a:off x="6457154" y="4419567"/>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rPr>
              <a:t>Akaki Kality</a:t>
            </a:r>
            <a:endParaRPr lang="en-GB" sz="700" dirty="0">
              <a:solidFill>
                <a:srgbClr val="0D274D"/>
              </a:solidFill>
              <a:latin typeface="CiscoSansTT ExtraLight"/>
            </a:endParaRPr>
          </a:p>
        </p:txBody>
      </p:sp>
      <p:sp>
        <p:nvSpPr>
          <p:cNvPr id="619" name="Rectangle 618">
            <a:extLst>
              <a:ext uri="{FF2B5EF4-FFF2-40B4-BE49-F238E27FC236}">
                <a16:creationId xmlns:a16="http://schemas.microsoft.com/office/drawing/2014/main" id="{D58555A4-6739-4639-ABEB-5A4AFB6AD672}"/>
              </a:ext>
            </a:extLst>
          </p:cNvPr>
          <p:cNvSpPr/>
          <p:nvPr/>
        </p:nvSpPr>
        <p:spPr>
          <a:xfrm>
            <a:off x="5562045" y="3329907"/>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a:solidFill>
                  <a:srgbClr val="0D274D"/>
                </a:solidFill>
              </a:rPr>
              <a:t>Nefas Silk</a:t>
            </a:r>
            <a:endParaRPr lang="en-GB" sz="700" dirty="0">
              <a:solidFill>
                <a:srgbClr val="0D274D"/>
              </a:solidFill>
              <a:latin typeface="CiscoSansTT ExtraLight"/>
            </a:endParaRPr>
          </a:p>
        </p:txBody>
      </p:sp>
      <p:sp>
        <p:nvSpPr>
          <p:cNvPr id="626" name="Rectangle 625">
            <a:extLst>
              <a:ext uri="{FF2B5EF4-FFF2-40B4-BE49-F238E27FC236}">
                <a16:creationId xmlns:a16="http://schemas.microsoft.com/office/drawing/2014/main" id="{FD0DC7EB-4B3F-4D83-8E60-7AC4DC9717F3}"/>
              </a:ext>
            </a:extLst>
          </p:cNvPr>
          <p:cNvSpPr/>
          <p:nvPr/>
        </p:nvSpPr>
        <p:spPr>
          <a:xfrm>
            <a:off x="4863646" y="2698590"/>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rPr>
              <a:t>Kolfe Keranio</a:t>
            </a:r>
            <a:endParaRPr lang="en-GB" sz="700" dirty="0">
              <a:solidFill>
                <a:srgbClr val="0D274D"/>
              </a:solidFill>
              <a:latin typeface="CiscoSansTT ExtraLight"/>
            </a:endParaRPr>
          </a:p>
        </p:txBody>
      </p:sp>
      <p:sp>
        <p:nvSpPr>
          <p:cNvPr id="633" name="Rectangle 632">
            <a:extLst>
              <a:ext uri="{FF2B5EF4-FFF2-40B4-BE49-F238E27FC236}">
                <a16:creationId xmlns:a16="http://schemas.microsoft.com/office/drawing/2014/main" id="{FDEDDEBD-262D-461A-BE0D-CFFF8837A444}"/>
              </a:ext>
            </a:extLst>
          </p:cNvPr>
          <p:cNvSpPr/>
          <p:nvPr/>
        </p:nvSpPr>
        <p:spPr>
          <a:xfrm>
            <a:off x="5953942" y="1411988"/>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rPr>
              <a:t>Gulele</a:t>
            </a:r>
            <a:endParaRPr lang="en-GB" sz="700" dirty="0">
              <a:solidFill>
                <a:srgbClr val="0D274D"/>
              </a:solidFill>
              <a:latin typeface="CiscoSansTT ExtraLight"/>
            </a:endParaRPr>
          </a:p>
        </p:txBody>
      </p:sp>
      <p:sp>
        <p:nvSpPr>
          <p:cNvPr id="640" name="Rectangle 639">
            <a:extLst>
              <a:ext uri="{FF2B5EF4-FFF2-40B4-BE49-F238E27FC236}">
                <a16:creationId xmlns:a16="http://schemas.microsoft.com/office/drawing/2014/main" id="{E98A1A2C-2C9D-45DC-8E5A-FD1570C19108}"/>
              </a:ext>
            </a:extLst>
          </p:cNvPr>
          <p:cNvSpPr/>
          <p:nvPr/>
        </p:nvSpPr>
        <p:spPr>
          <a:xfrm>
            <a:off x="5614686" y="2335863"/>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rPr>
              <a:t>Lideta</a:t>
            </a:r>
            <a:endParaRPr lang="en-GB" sz="700" dirty="0">
              <a:solidFill>
                <a:srgbClr val="0D274D"/>
              </a:solidFill>
              <a:latin typeface="CiscoSansTT ExtraLight"/>
            </a:endParaRPr>
          </a:p>
        </p:txBody>
      </p:sp>
      <p:sp>
        <p:nvSpPr>
          <p:cNvPr id="647" name="Rectangle 646">
            <a:extLst>
              <a:ext uri="{FF2B5EF4-FFF2-40B4-BE49-F238E27FC236}">
                <a16:creationId xmlns:a16="http://schemas.microsoft.com/office/drawing/2014/main" id="{37DBE479-E31C-434A-8A85-7190E8E20897}"/>
              </a:ext>
            </a:extLst>
          </p:cNvPr>
          <p:cNvSpPr/>
          <p:nvPr/>
        </p:nvSpPr>
        <p:spPr>
          <a:xfrm>
            <a:off x="6322270" y="2625190"/>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rPr>
              <a:t>Kirkos</a:t>
            </a:r>
            <a:endParaRPr lang="en-GB" sz="700" dirty="0">
              <a:solidFill>
                <a:srgbClr val="0D274D"/>
              </a:solidFill>
              <a:latin typeface="CiscoSansTT ExtraLight"/>
            </a:endParaRPr>
          </a:p>
        </p:txBody>
      </p:sp>
      <p:sp>
        <p:nvSpPr>
          <p:cNvPr id="662" name="Rectangle 661">
            <a:extLst>
              <a:ext uri="{FF2B5EF4-FFF2-40B4-BE49-F238E27FC236}">
                <a16:creationId xmlns:a16="http://schemas.microsoft.com/office/drawing/2014/main" id="{CA3BF321-A463-4672-AF16-BD6FDD60619E}"/>
              </a:ext>
            </a:extLst>
          </p:cNvPr>
          <p:cNvSpPr/>
          <p:nvPr/>
        </p:nvSpPr>
        <p:spPr>
          <a:xfrm>
            <a:off x="6158525" y="2002454"/>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rPr>
              <a:t>Arada</a:t>
            </a:r>
            <a:endParaRPr lang="en-GB" sz="700" dirty="0">
              <a:solidFill>
                <a:srgbClr val="0D274D"/>
              </a:solidFill>
              <a:latin typeface="CiscoSansTT ExtraLight"/>
            </a:endParaRPr>
          </a:p>
        </p:txBody>
      </p:sp>
      <p:sp>
        <p:nvSpPr>
          <p:cNvPr id="669" name="Rectangle 668">
            <a:extLst>
              <a:ext uri="{FF2B5EF4-FFF2-40B4-BE49-F238E27FC236}">
                <a16:creationId xmlns:a16="http://schemas.microsoft.com/office/drawing/2014/main" id="{25F09BEC-6DA4-4A07-A18F-C803747AEB95}"/>
              </a:ext>
            </a:extLst>
          </p:cNvPr>
          <p:cNvSpPr/>
          <p:nvPr/>
        </p:nvSpPr>
        <p:spPr>
          <a:xfrm>
            <a:off x="4428093" y="1908279"/>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a:solidFill>
                  <a:srgbClr val="0D274D"/>
                </a:solidFill>
              </a:rPr>
              <a:t>KETEMA</a:t>
            </a:r>
            <a:endParaRPr lang="en-GB" sz="700" dirty="0">
              <a:solidFill>
                <a:srgbClr val="0D274D"/>
              </a:solidFill>
              <a:latin typeface="CiscoSansTT ExtraLight"/>
            </a:endParaRPr>
          </a:p>
        </p:txBody>
      </p:sp>
      <p:sp>
        <p:nvSpPr>
          <p:cNvPr id="676" name="Rectangle 675">
            <a:extLst>
              <a:ext uri="{FF2B5EF4-FFF2-40B4-BE49-F238E27FC236}">
                <a16:creationId xmlns:a16="http://schemas.microsoft.com/office/drawing/2014/main" id="{84DB6493-CE35-4375-B2F9-0579AFB9F7E3}"/>
              </a:ext>
            </a:extLst>
          </p:cNvPr>
          <p:cNvSpPr/>
          <p:nvPr/>
        </p:nvSpPr>
        <p:spPr>
          <a:xfrm>
            <a:off x="7945717" y="2123029"/>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rPr>
              <a:t>Yeka</a:t>
            </a:r>
            <a:endParaRPr lang="en-GB" sz="700" dirty="0">
              <a:solidFill>
                <a:srgbClr val="0D274D"/>
              </a:solidFill>
              <a:latin typeface="CiscoSansTT ExtraLight"/>
            </a:endParaRPr>
          </a:p>
        </p:txBody>
      </p:sp>
      <p:sp>
        <p:nvSpPr>
          <p:cNvPr id="683" name="Rectangle 682">
            <a:extLst>
              <a:ext uri="{FF2B5EF4-FFF2-40B4-BE49-F238E27FC236}">
                <a16:creationId xmlns:a16="http://schemas.microsoft.com/office/drawing/2014/main" id="{D98E2652-6E03-4276-9D37-1D1A55E0FFA4}"/>
              </a:ext>
            </a:extLst>
          </p:cNvPr>
          <p:cNvSpPr/>
          <p:nvPr/>
        </p:nvSpPr>
        <p:spPr>
          <a:xfrm>
            <a:off x="7522186" y="2460530"/>
            <a:ext cx="749425" cy="12267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a:solidFill>
                  <a:srgbClr val="0D274D"/>
                </a:solidFill>
              </a:rPr>
              <a:t>Bole</a:t>
            </a:r>
            <a:endParaRPr lang="en-GB" sz="700" dirty="0">
              <a:solidFill>
                <a:srgbClr val="0D274D"/>
              </a:solidFill>
              <a:latin typeface="CiscoSansTT ExtraLight"/>
            </a:endParaRPr>
          </a:p>
        </p:txBody>
      </p:sp>
      <p:sp>
        <p:nvSpPr>
          <p:cNvPr id="27" name="TextBox 26">
            <a:extLst>
              <a:ext uri="{FF2B5EF4-FFF2-40B4-BE49-F238E27FC236}">
                <a16:creationId xmlns:a16="http://schemas.microsoft.com/office/drawing/2014/main" id="{E61DC39C-45B2-404F-B1F4-CE6795B287DA}"/>
              </a:ext>
            </a:extLst>
          </p:cNvPr>
          <p:cNvSpPr txBox="1"/>
          <p:nvPr/>
        </p:nvSpPr>
        <p:spPr>
          <a:xfrm>
            <a:off x="97033" y="4030851"/>
            <a:ext cx="2110032" cy="646331"/>
          </a:xfrm>
          <a:prstGeom prst="rect">
            <a:avLst/>
          </a:prstGeom>
          <a:noFill/>
        </p:spPr>
        <p:txBody>
          <a:bodyPr wrap="square" rtlCol="0">
            <a:spAutoFit/>
          </a:bodyPr>
          <a:lstStyle/>
          <a:p>
            <a:r>
              <a:rPr lang="en-ZA" dirty="0">
                <a:latin typeface="+mn-lt"/>
              </a:rPr>
              <a:t>Rollout for Addis in Year 0, Q1</a:t>
            </a:r>
            <a:endParaRPr lang="en-GB" dirty="0">
              <a:latin typeface="+mn-lt"/>
            </a:endParaRPr>
          </a:p>
        </p:txBody>
      </p:sp>
      <p:grpSp>
        <p:nvGrpSpPr>
          <p:cNvPr id="684" name="Group 683">
            <a:extLst>
              <a:ext uri="{FF2B5EF4-FFF2-40B4-BE49-F238E27FC236}">
                <a16:creationId xmlns:a16="http://schemas.microsoft.com/office/drawing/2014/main" id="{02FF41C3-4C48-4815-ACE9-A23DC636F01D}"/>
              </a:ext>
            </a:extLst>
          </p:cNvPr>
          <p:cNvGrpSpPr/>
          <p:nvPr/>
        </p:nvGrpSpPr>
        <p:grpSpPr>
          <a:xfrm>
            <a:off x="4529769" y="2627216"/>
            <a:ext cx="252000" cy="252000"/>
            <a:chOff x="4083769" y="2552776"/>
            <a:chExt cx="529089" cy="529089"/>
          </a:xfrm>
        </p:grpSpPr>
        <p:sp>
          <p:nvSpPr>
            <p:cNvPr id="685" name="Oval 684">
              <a:extLst>
                <a:ext uri="{FF2B5EF4-FFF2-40B4-BE49-F238E27FC236}">
                  <a16:creationId xmlns:a16="http://schemas.microsoft.com/office/drawing/2014/main" id="{F4845DE9-B5BA-4A10-955A-65CAD76C990C}"/>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86" name="Freeform: Shape 298">
              <a:extLst>
                <a:ext uri="{FF2B5EF4-FFF2-40B4-BE49-F238E27FC236}">
                  <a16:creationId xmlns:a16="http://schemas.microsoft.com/office/drawing/2014/main" id="{18E8DFD8-A2AC-4340-B63A-A1B224EF77C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7" name="Freeform: Shape 299">
              <a:extLst>
                <a:ext uri="{FF2B5EF4-FFF2-40B4-BE49-F238E27FC236}">
                  <a16:creationId xmlns:a16="http://schemas.microsoft.com/office/drawing/2014/main" id="{01254892-E87A-42DB-A2EE-651C4E78DC4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8" name="Freeform: Shape 301">
              <a:extLst>
                <a:ext uri="{FF2B5EF4-FFF2-40B4-BE49-F238E27FC236}">
                  <a16:creationId xmlns:a16="http://schemas.microsoft.com/office/drawing/2014/main" id="{DD54C4D8-432E-49BC-83C8-C654E7FC19C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9" name="Freeform: Shape 302">
              <a:extLst>
                <a:ext uri="{FF2B5EF4-FFF2-40B4-BE49-F238E27FC236}">
                  <a16:creationId xmlns:a16="http://schemas.microsoft.com/office/drawing/2014/main" id="{9C019497-310B-41D4-9CED-C536D93B16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90" name="Group 689">
            <a:extLst>
              <a:ext uri="{FF2B5EF4-FFF2-40B4-BE49-F238E27FC236}">
                <a16:creationId xmlns:a16="http://schemas.microsoft.com/office/drawing/2014/main" id="{4AEC7D2D-AACC-4BE5-92EC-D523AA5FFF36}"/>
              </a:ext>
            </a:extLst>
          </p:cNvPr>
          <p:cNvGrpSpPr/>
          <p:nvPr/>
        </p:nvGrpSpPr>
        <p:grpSpPr>
          <a:xfrm>
            <a:off x="5257746" y="3264932"/>
            <a:ext cx="252000" cy="252000"/>
            <a:chOff x="4083769" y="2552776"/>
            <a:chExt cx="529089" cy="529089"/>
          </a:xfrm>
        </p:grpSpPr>
        <p:sp>
          <p:nvSpPr>
            <p:cNvPr id="691" name="Oval 690">
              <a:extLst>
                <a:ext uri="{FF2B5EF4-FFF2-40B4-BE49-F238E27FC236}">
                  <a16:creationId xmlns:a16="http://schemas.microsoft.com/office/drawing/2014/main" id="{E1AB573B-3FCA-4550-B6A7-A33C52099BC5}"/>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92" name="Freeform: Shape 298">
              <a:extLst>
                <a:ext uri="{FF2B5EF4-FFF2-40B4-BE49-F238E27FC236}">
                  <a16:creationId xmlns:a16="http://schemas.microsoft.com/office/drawing/2014/main" id="{4FFC2D6B-B0C5-4B66-BABB-3DEC9B4238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93" name="Freeform: Shape 299">
              <a:extLst>
                <a:ext uri="{FF2B5EF4-FFF2-40B4-BE49-F238E27FC236}">
                  <a16:creationId xmlns:a16="http://schemas.microsoft.com/office/drawing/2014/main" id="{35929E3E-751E-49A5-8C05-41AF91DE353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94" name="Freeform: Shape 301">
              <a:extLst>
                <a:ext uri="{FF2B5EF4-FFF2-40B4-BE49-F238E27FC236}">
                  <a16:creationId xmlns:a16="http://schemas.microsoft.com/office/drawing/2014/main" id="{86DDEF3C-82B2-4C12-8570-3EDC26F10A7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95" name="Freeform: Shape 302">
              <a:extLst>
                <a:ext uri="{FF2B5EF4-FFF2-40B4-BE49-F238E27FC236}">
                  <a16:creationId xmlns:a16="http://schemas.microsoft.com/office/drawing/2014/main" id="{528A2B67-018D-4F74-97EC-5B329DECA4B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96" name="Group 695">
            <a:extLst>
              <a:ext uri="{FF2B5EF4-FFF2-40B4-BE49-F238E27FC236}">
                <a16:creationId xmlns:a16="http://schemas.microsoft.com/office/drawing/2014/main" id="{EB1C4CF5-B671-4CEA-B8C0-DBE4A4BED365}"/>
              </a:ext>
            </a:extLst>
          </p:cNvPr>
          <p:cNvGrpSpPr/>
          <p:nvPr/>
        </p:nvGrpSpPr>
        <p:grpSpPr>
          <a:xfrm>
            <a:off x="6026949" y="2562162"/>
            <a:ext cx="252000" cy="252000"/>
            <a:chOff x="4083769" y="2552776"/>
            <a:chExt cx="529089" cy="529089"/>
          </a:xfrm>
        </p:grpSpPr>
        <p:sp>
          <p:nvSpPr>
            <p:cNvPr id="697" name="Oval 696">
              <a:extLst>
                <a:ext uri="{FF2B5EF4-FFF2-40B4-BE49-F238E27FC236}">
                  <a16:creationId xmlns:a16="http://schemas.microsoft.com/office/drawing/2014/main" id="{3011CFEF-82D2-413E-81EE-7F56F70605D6}"/>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98" name="Freeform: Shape 298">
              <a:extLst>
                <a:ext uri="{FF2B5EF4-FFF2-40B4-BE49-F238E27FC236}">
                  <a16:creationId xmlns:a16="http://schemas.microsoft.com/office/drawing/2014/main" id="{969F9509-0511-4BF9-A430-86A38B65FCD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99" name="Freeform: Shape 299">
              <a:extLst>
                <a:ext uri="{FF2B5EF4-FFF2-40B4-BE49-F238E27FC236}">
                  <a16:creationId xmlns:a16="http://schemas.microsoft.com/office/drawing/2014/main" id="{F057E01A-0FA7-4DB5-9C60-345863BB9C8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00" name="Freeform: Shape 301">
              <a:extLst>
                <a:ext uri="{FF2B5EF4-FFF2-40B4-BE49-F238E27FC236}">
                  <a16:creationId xmlns:a16="http://schemas.microsoft.com/office/drawing/2014/main" id="{D133AEAA-F9AA-498D-A61B-172D2AD0BA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01" name="Freeform: Shape 302">
              <a:extLst>
                <a:ext uri="{FF2B5EF4-FFF2-40B4-BE49-F238E27FC236}">
                  <a16:creationId xmlns:a16="http://schemas.microsoft.com/office/drawing/2014/main" id="{8FB02DCB-E644-4315-89CB-14A77E4D1E6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702" name="Group 701">
            <a:extLst>
              <a:ext uri="{FF2B5EF4-FFF2-40B4-BE49-F238E27FC236}">
                <a16:creationId xmlns:a16="http://schemas.microsoft.com/office/drawing/2014/main" id="{3D8443E8-29A2-4F62-852B-596ACC6C2AE8}"/>
              </a:ext>
            </a:extLst>
          </p:cNvPr>
          <p:cNvGrpSpPr/>
          <p:nvPr/>
        </p:nvGrpSpPr>
        <p:grpSpPr>
          <a:xfrm>
            <a:off x="5329637" y="2262420"/>
            <a:ext cx="252000" cy="252000"/>
            <a:chOff x="4083769" y="2552776"/>
            <a:chExt cx="529089" cy="529089"/>
          </a:xfrm>
        </p:grpSpPr>
        <p:sp>
          <p:nvSpPr>
            <p:cNvPr id="703" name="Oval 702">
              <a:extLst>
                <a:ext uri="{FF2B5EF4-FFF2-40B4-BE49-F238E27FC236}">
                  <a16:creationId xmlns:a16="http://schemas.microsoft.com/office/drawing/2014/main" id="{2559307E-1328-4884-818D-63205F095AC2}"/>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704" name="Freeform: Shape 298">
              <a:extLst>
                <a:ext uri="{FF2B5EF4-FFF2-40B4-BE49-F238E27FC236}">
                  <a16:creationId xmlns:a16="http://schemas.microsoft.com/office/drawing/2014/main" id="{D2ED9389-6CAE-4E2B-8A64-FFE21494B3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05" name="Freeform: Shape 299">
              <a:extLst>
                <a:ext uri="{FF2B5EF4-FFF2-40B4-BE49-F238E27FC236}">
                  <a16:creationId xmlns:a16="http://schemas.microsoft.com/office/drawing/2014/main" id="{544DF044-F0D8-4DE5-948C-6B99EA14020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06" name="Freeform: Shape 301">
              <a:extLst>
                <a:ext uri="{FF2B5EF4-FFF2-40B4-BE49-F238E27FC236}">
                  <a16:creationId xmlns:a16="http://schemas.microsoft.com/office/drawing/2014/main" id="{0C01F109-CBF1-4637-9BF0-E72BF8E3265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07" name="Freeform: Shape 302">
              <a:extLst>
                <a:ext uri="{FF2B5EF4-FFF2-40B4-BE49-F238E27FC236}">
                  <a16:creationId xmlns:a16="http://schemas.microsoft.com/office/drawing/2014/main" id="{BDA61B24-8A82-49D0-B0D2-434352995AF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708" name="Group 707">
            <a:extLst>
              <a:ext uri="{FF2B5EF4-FFF2-40B4-BE49-F238E27FC236}">
                <a16:creationId xmlns:a16="http://schemas.microsoft.com/office/drawing/2014/main" id="{DC430BAA-F9BF-4AD2-9FE0-6B62B71B73DF}"/>
              </a:ext>
            </a:extLst>
          </p:cNvPr>
          <p:cNvGrpSpPr/>
          <p:nvPr/>
        </p:nvGrpSpPr>
        <p:grpSpPr>
          <a:xfrm>
            <a:off x="5868755" y="1931356"/>
            <a:ext cx="252000" cy="252000"/>
            <a:chOff x="4083769" y="2552776"/>
            <a:chExt cx="529089" cy="529089"/>
          </a:xfrm>
        </p:grpSpPr>
        <p:sp>
          <p:nvSpPr>
            <p:cNvPr id="709" name="Oval 708">
              <a:extLst>
                <a:ext uri="{FF2B5EF4-FFF2-40B4-BE49-F238E27FC236}">
                  <a16:creationId xmlns:a16="http://schemas.microsoft.com/office/drawing/2014/main" id="{FF7C565D-8358-4BDD-9D3B-9DC2FA870AFD}"/>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710" name="Freeform: Shape 298">
              <a:extLst>
                <a:ext uri="{FF2B5EF4-FFF2-40B4-BE49-F238E27FC236}">
                  <a16:creationId xmlns:a16="http://schemas.microsoft.com/office/drawing/2014/main" id="{86DE3535-EE90-430F-B5F3-625394D5806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11" name="Freeform: Shape 299">
              <a:extLst>
                <a:ext uri="{FF2B5EF4-FFF2-40B4-BE49-F238E27FC236}">
                  <a16:creationId xmlns:a16="http://schemas.microsoft.com/office/drawing/2014/main" id="{F57BB634-7837-43D2-ACAB-9E5CBAA4AD4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12" name="Freeform: Shape 301">
              <a:extLst>
                <a:ext uri="{FF2B5EF4-FFF2-40B4-BE49-F238E27FC236}">
                  <a16:creationId xmlns:a16="http://schemas.microsoft.com/office/drawing/2014/main" id="{C25F11C8-0037-4397-B26E-C4590A5B426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13" name="Freeform: Shape 302">
              <a:extLst>
                <a:ext uri="{FF2B5EF4-FFF2-40B4-BE49-F238E27FC236}">
                  <a16:creationId xmlns:a16="http://schemas.microsoft.com/office/drawing/2014/main" id="{7C430981-E936-4EB0-8AD6-F47EE55BF9E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714" name="Group 713">
            <a:extLst>
              <a:ext uri="{FF2B5EF4-FFF2-40B4-BE49-F238E27FC236}">
                <a16:creationId xmlns:a16="http://schemas.microsoft.com/office/drawing/2014/main" id="{BF981ADD-A53A-461C-9185-6349A5DCE675}"/>
              </a:ext>
            </a:extLst>
          </p:cNvPr>
          <p:cNvGrpSpPr/>
          <p:nvPr/>
        </p:nvGrpSpPr>
        <p:grpSpPr>
          <a:xfrm>
            <a:off x="5646436" y="1352679"/>
            <a:ext cx="252000" cy="252000"/>
            <a:chOff x="4083769" y="2552776"/>
            <a:chExt cx="529089" cy="529089"/>
          </a:xfrm>
        </p:grpSpPr>
        <p:sp>
          <p:nvSpPr>
            <p:cNvPr id="715" name="Oval 714">
              <a:extLst>
                <a:ext uri="{FF2B5EF4-FFF2-40B4-BE49-F238E27FC236}">
                  <a16:creationId xmlns:a16="http://schemas.microsoft.com/office/drawing/2014/main" id="{43A89820-0F60-4E4C-86DF-74D09BAD2A1D}"/>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716" name="Freeform: Shape 298">
              <a:extLst>
                <a:ext uri="{FF2B5EF4-FFF2-40B4-BE49-F238E27FC236}">
                  <a16:creationId xmlns:a16="http://schemas.microsoft.com/office/drawing/2014/main" id="{4E887EE2-B71F-4580-B2FB-2F64EAA418E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17" name="Freeform: Shape 299">
              <a:extLst>
                <a:ext uri="{FF2B5EF4-FFF2-40B4-BE49-F238E27FC236}">
                  <a16:creationId xmlns:a16="http://schemas.microsoft.com/office/drawing/2014/main" id="{8149B0DE-33EA-48C6-B8BB-0B1347879C4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18" name="Freeform: Shape 301">
              <a:extLst>
                <a:ext uri="{FF2B5EF4-FFF2-40B4-BE49-F238E27FC236}">
                  <a16:creationId xmlns:a16="http://schemas.microsoft.com/office/drawing/2014/main" id="{4719DF79-5F9D-42F6-9B38-1AB7D09677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19" name="Freeform: Shape 302">
              <a:extLst>
                <a:ext uri="{FF2B5EF4-FFF2-40B4-BE49-F238E27FC236}">
                  <a16:creationId xmlns:a16="http://schemas.microsoft.com/office/drawing/2014/main" id="{C7BF4698-1251-4CE1-9746-5D0E2F4F30D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720" name="Group 719">
            <a:extLst>
              <a:ext uri="{FF2B5EF4-FFF2-40B4-BE49-F238E27FC236}">
                <a16:creationId xmlns:a16="http://schemas.microsoft.com/office/drawing/2014/main" id="{026074AE-A546-4C11-9505-983D972C91A4}"/>
              </a:ext>
            </a:extLst>
          </p:cNvPr>
          <p:cNvGrpSpPr/>
          <p:nvPr/>
        </p:nvGrpSpPr>
        <p:grpSpPr>
          <a:xfrm>
            <a:off x="7640261" y="2055365"/>
            <a:ext cx="252000" cy="252000"/>
            <a:chOff x="4083769" y="2552776"/>
            <a:chExt cx="529089" cy="529089"/>
          </a:xfrm>
        </p:grpSpPr>
        <p:sp>
          <p:nvSpPr>
            <p:cNvPr id="721" name="Oval 720">
              <a:extLst>
                <a:ext uri="{FF2B5EF4-FFF2-40B4-BE49-F238E27FC236}">
                  <a16:creationId xmlns:a16="http://schemas.microsoft.com/office/drawing/2014/main" id="{30C0B2F4-E7F9-4219-A339-FB3ACCF32A74}"/>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722" name="Freeform: Shape 298">
              <a:extLst>
                <a:ext uri="{FF2B5EF4-FFF2-40B4-BE49-F238E27FC236}">
                  <a16:creationId xmlns:a16="http://schemas.microsoft.com/office/drawing/2014/main" id="{0CC3AFBD-CC7F-4A5E-BE09-C149716E621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23" name="Freeform: Shape 299">
              <a:extLst>
                <a:ext uri="{FF2B5EF4-FFF2-40B4-BE49-F238E27FC236}">
                  <a16:creationId xmlns:a16="http://schemas.microsoft.com/office/drawing/2014/main" id="{E5A760B7-D83D-4C63-B783-FEFC7B9CD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24" name="Freeform: Shape 301">
              <a:extLst>
                <a:ext uri="{FF2B5EF4-FFF2-40B4-BE49-F238E27FC236}">
                  <a16:creationId xmlns:a16="http://schemas.microsoft.com/office/drawing/2014/main" id="{5A408F20-0E97-4C27-9862-72D98E59610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25" name="Freeform: Shape 302">
              <a:extLst>
                <a:ext uri="{FF2B5EF4-FFF2-40B4-BE49-F238E27FC236}">
                  <a16:creationId xmlns:a16="http://schemas.microsoft.com/office/drawing/2014/main" id="{12E787D4-99DE-41EF-B477-9A9AEE68C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726" name="Group 725">
            <a:extLst>
              <a:ext uri="{FF2B5EF4-FFF2-40B4-BE49-F238E27FC236}">
                <a16:creationId xmlns:a16="http://schemas.microsoft.com/office/drawing/2014/main" id="{A40210D8-1804-4DD1-AA8D-A5098AEE9058}"/>
              </a:ext>
            </a:extLst>
          </p:cNvPr>
          <p:cNvGrpSpPr/>
          <p:nvPr/>
        </p:nvGrpSpPr>
        <p:grpSpPr>
          <a:xfrm>
            <a:off x="7227749" y="2396037"/>
            <a:ext cx="252000" cy="252000"/>
            <a:chOff x="4083769" y="2552776"/>
            <a:chExt cx="529089" cy="529089"/>
          </a:xfrm>
        </p:grpSpPr>
        <p:sp>
          <p:nvSpPr>
            <p:cNvPr id="727" name="Oval 726">
              <a:extLst>
                <a:ext uri="{FF2B5EF4-FFF2-40B4-BE49-F238E27FC236}">
                  <a16:creationId xmlns:a16="http://schemas.microsoft.com/office/drawing/2014/main" id="{B857F937-6BDB-45AA-AFFE-7F620B521646}"/>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728" name="Freeform: Shape 298">
              <a:extLst>
                <a:ext uri="{FF2B5EF4-FFF2-40B4-BE49-F238E27FC236}">
                  <a16:creationId xmlns:a16="http://schemas.microsoft.com/office/drawing/2014/main" id="{273D9F2E-4746-4C0E-BA03-553FFF5DFBB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29" name="Freeform: Shape 299">
              <a:extLst>
                <a:ext uri="{FF2B5EF4-FFF2-40B4-BE49-F238E27FC236}">
                  <a16:creationId xmlns:a16="http://schemas.microsoft.com/office/drawing/2014/main" id="{F28055CA-E002-4F08-878F-4F6D20DBBA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30" name="Freeform: Shape 301">
              <a:extLst>
                <a:ext uri="{FF2B5EF4-FFF2-40B4-BE49-F238E27FC236}">
                  <a16:creationId xmlns:a16="http://schemas.microsoft.com/office/drawing/2014/main" id="{982A62C9-C829-439D-ACDC-828D7767B48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31" name="Freeform: Shape 302">
              <a:extLst>
                <a:ext uri="{FF2B5EF4-FFF2-40B4-BE49-F238E27FC236}">
                  <a16:creationId xmlns:a16="http://schemas.microsoft.com/office/drawing/2014/main" id="{B348E15F-484D-458C-90FC-76246D6D74E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732" name="Group 731">
            <a:extLst>
              <a:ext uri="{FF2B5EF4-FFF2-40B4-BE49-F238E27FC236}">
                <a16:creationId xmlns:a16="http://schemas.microsoft.com/office/drawing/2014/main" id="{14C91EE3-693D-40CF-8A05-F523E153067F}"/>
              </a:ext>
            </a:extLst>
          </p:cNvPr>
          <p:cNvGrpSpPr/>
          <p:nvPr/>
        </p:nvGrpSpPr>
        <p:grpSpPr>
          <a:xfrm>
            <a:off x="6151698" y="4354017"/>
            <a:ext cx="252000" cy="252000"/>
            <a:chOff x="4083769" y="2552776"/>
            <a:chExt cx="529089" cy="529089"/>
          </a:xfrm>
        </p:grpSpPr>
        <p:sp>
          <p:nvSpPr>
            <p:cNvPr id="733" name="Oval 732">
              <a:extLst>
                <a:ext uri="{FF2B5EF4-FFF2-40B4-BE49-F238E27FC236}">
                  <a16:creationId xmlns:a16="http://schemas.microsoft.com/office/drawing/2014/main" id="{339D9581-7BD2-487E-BA02-81BF618361FC}"/>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734" name="Freeform: Shape 298">
              <a:extLst>
                <a:ext uri="{FF2B5EF4-FFF2-40B4-BE49-F238E27FC236}">
                  <a16:creationId xmlns:a16="http://schemas.microsoft.com/office/drawing/2014/main" id="{49924C1E-A87E-46B4-A8BE-52B34D3B050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35" name="Freeform: Shape 299">
              <a:extLst>
                <a:ext uri="{FF2B5EF4-FFF2-40B4-BE49-F238E27FC236}">
                  <a16:creationId xmlns:a16="http://schemas.microsoft.com/office/drawing/2014/main" id="{8D8D9786-058B-47BA-BCFC-5BBAA9683ED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36" name="Freeform: Shape 301">
              <a:extLst>
                <a:ext uri="{FF2B5EF4-FFF2-40B4-BE49-F238E27FC236}">
                  <a16:creationId xmlns:a16="http://schemas.microsoft.com/office/drawing/2014/main" id="{1BDF5212-5F5C-426F-88FC-C2882DA7E56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37" name="Freeform: Shape 302">
              <a:extLst>
                <a:ext uri="{FF2B5EF4-FFF2-40B4-BE49-F238E27FC236}">
                  <a16:creationId xmlns:a16="http://schemas.microsoft.com/office/drawing/2014/main" id="{2C80C357-2954-4C19-8ADC-1B336F1B124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738" name="Group 737">
            <a:extLst>
              <a:ext uri="{FF2B5EF4-FFF2-40B4-BE49-F238E27FC236}">
                <a16:creationId xmlns:a16="http://schemas.microsoft.com/office/drawing/2014/main" id="{5D1D6A77-850D-4AC1-BDF5-6F113562AD91}"/>
              </a:ext>
            </a:extLst>
          </p:cNvPr>
          <p:cNvGrpSpPr/>
          <p:nvPr/>
        </p:nvGrpSpPr>
        <p:grpSpPr>
          <a:xfrm>
            <a:off x="5192284" y="1844448"/>
            <a:ext cx="252000" cy="252000"/>
            <a:chOff x="4083769" y="2552776"/>
            <a:chExt cx="529089" cy="529089"/>
          </a:xfrm>
        </p:grpSpPr>
        <p:sp>
          <p:nvSpPr>
            <p:cNvPr id="739" name="Oval 738">
              <a:extLst>
                <a:ext uri="{FF2B5EF4-FFF2-40B4-BE49-F238E27FC236}">
                  <a16:creationId xmlns:a16="http://schemas.microsoft.com/office/drawing/2014/main" id="{9F999569-6555-4D1F-860D-A925314EDC95}"/>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740" name="Freeform: Shape 298">
              <a:extLst>
                <a:ext uri="{FF2B5EF4-FFF2-40B4-BE49-F238E27FC236}">
                  <a16:creationId xmlns:a16="http://schemas.microsoft.com/office/drawing/2014/main" id="{2F0A0047-6051-4B7A-9BEB-B0B83D34FF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41" name="Freeform: Shape 299">
              <a:extLst>
                <a:ext uri="{FF2B5EF4-FFF2-40B4-BE49-F238E27FC236}">
                  <a16:creationId xmlns:a16="http://schemas.microsoft.com/office/drawing/2014/main" id="{2C8421F4-458D-4F22-8C0B-CDE8A48BEE7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42" name="Freeform: Shape 301">
              <a:extLst>
                <a:ext uri="{FF2B5EF4-FFF2-40B4-BE49-F238E27FC236}">
                  <a16:creationId xmlns:a16="http://schemas.microsoft.com/office/drawing/2014/main" id="{F12CDEF2-CA33-4921-84CE-769FB39E23A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743" name="Freeform: Shape 302">
              <a:extLst>
                <a:ext uri="{FF2B5EF4-FFF2-40B4-BE49-F238E27FC236}">
                  <a16:creationId xmlns:a16="http://schemas.microsoft.com/office/drawing/2014/main" id="{330F9C98-9FE9-46D4-8BF9-1B272E3A639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17" name="Group 116">
            <a:extLst>
              <a:ext uri="{FF2B5EF4-FFF2-40B4-BE49-F238E27FC236}">
                <a16:creationId xmlns:a16="http://schemas.microsoft.com/office/drawing/2014/main" id="{7274B89E-2EB6-4866-9DFF-5C8874D4958F}"/>
              </a:ext>
            </a:extLst>
          </p:cNvPr>
          <p:cNvGrpSpPr/>
          <p:nvPr/>
        </p:nvGrpSpPr>
        <p:grpSpPr>
          <a:xfrm>
            <a:off x="7090090" y="1753773"/>
            <a:ext cx="252000" cy="252000"/>
            <a:chOff x="4083769" y="2552776"/>
            <a:chExt cx="529089" cy="529089"/>
          </a:xfrm>
        </p:grpSpPr>
        <p:sp>
          <p:nvSpPr>
            <p:cNvPr id="118" name="Oval 117">
              <a:extLst>
                <a:ext uri="{FF2B5EF4-FFF2-40B4-BE49-F238E27FC236}">
                  <a16:creationId xmlns:a16="http://schemas.microsoft.com/office/drawing/2014/main" id="{0E802F63-3D9B-4337-A220-04ABB161A5CC}"/>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9" name="Freeform: Shape 298">
              <a:extLst>
                <a:ext uri="{FF2B5EF4-FFF2-40B4-BE49-F238E27FC236}">
                  <a16:creationId xmlns:a16="http://schemas.microsoft.com/office/drawing/2014/main" id="{9609D699-7F52-4863-B184-5AF8C8E2D54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0" name="Freeform: Shape 299">
              <a:extLst>
                <a:ext uri="{FF2B5EF4-FFF2-40B4-BE49-F238E27FC236}">
                  <a16:creationId xmlns:a16="http://schemas.microsoft.com/office/drawing/2014/main" id="{8B1221B1-77E8-41A0-A7BA-3FE7EEC78C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1" name="Freeform: Shape 301">
              <a:extLst>
                <a:ext uri="{FF2B5EF4-FFF2-40B4-BE49-F238E27FC236}">
                  <a16:creationId xmlns:a16="http://schemas.microsoft.com/office/drawing/2014/main" id="{BA029337-25B6-4DEB-9A26-6C84DFC7ED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58" name="Freeform: Shape 302">
              <a:extLst>
                <a:ext uri="{FF2B5EF4-FFF2-40B4-BE49-F238E27FC236}">
                  <a16:creationId xmlns:a16="http://schemas.microsoft.com/office/drawing/2014/main" id="{60A09CF3-2D17-49AF-8763-50A0838E60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163" name="Rectangle 162">
            <a:extLst>
              <a:ext uri="{FF2B5EF4-FFF2-40B4-BE49-F238E27FC236}">
                <a16:creationId xmlns:a16="http://schemas.microsoft.com/office/drawing/2014/main" id="{35752304-2D69-45DD-95B9-334C9348D4F8}"/>
              </a:ext>
            </a:extLst>
          </p:cNvPr>
          <p:cNvSpPr/>
          <p:nvPr/>
        </p:nvSpPr>
        <p:spPr>
          <a:xfrm>
            <a:off x="7371869" y="1741463"/>
            <a:ext cx="1528878"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Addis Pre-</a:t>
            </a:r>
            <a:r>
              <a:rPr lang="en-GB" sz="1050" dirty="0" err="1">
                <a:solidFill>
                  <a:srgbClr val="000000"/>
                </a:solidFill>
                <a:latin typeface="Calibri" panose="020F0502020204030204" pitchFamily="34" charset="0"/>
              </a:rPr>
              <a:t>Agg</a:t>
            </a:r>
            <a:r>
              <a:rPr lang="en-GB" sz="1050" dirty="0">
                <a:solidFill>
                  <a:srgbClr val="000000"/>
                </a:solidFill>
                <a:latin typeface="Calibri" panose="020F0502020204030204" pitchFamily="34" charset="0"/>
              </a:rPr>
              <a:t>/</a:t>
            </a:r>
            <a:r>
              <a:rPr lang="en-GB" sz="1050" dirty="0" err="1">
                <a:solidFill>
                  <a:srgbClr val="000000"/>
                </a:solidFill>
                <a:latin typeface="Calibri" panose="020F0502020204030204" pitchFamily="34" charset="0"/>
              </a:rPr>
              <a:t>Agg</a:t>
            </a:r>
            <a:r>
              <a:rPr lang="en-GB" sz="1050" dirty="0">
                <a:solidFill>
                  <a:srgbClr val="000000"/>
                </a:solidFill>
                <a:latin typeface="Calibri" panose="020F0502020204030204" pitchFamily="34" charset="0"/>
              </a:rPr>
              <a:t> Site</a:t>
            </a:r>
          </a:p>
        </p:txBody>
      </p:sp>
      <p:cxnSp>
        <p:nvCxnSpPr>
          <p:cNvPr id="4" name="Straight Connector 3">
            <a:extLst>
              <a:ext uri="{FF2B5EF4-FFF2-40B4-BE49-F238E27FC236}">
                <a16:creationId xmlns:a16="http://schemas.microsoft.com/office/drawing/2014/main" id="{D6C6E131-E7A8-43EC-BEEF-FF389BB4C18C}"/>
              </a:ext>
            </a:extLst>
          </p:cNvPr>
          <p:cNvCxnSpPr>
            <a:stCxn id="715" idx="6"/>
            <a:endCxn id="118" idx="2"/>
          </p:cNvCxnSpPr>
          <p:nvPr/>
        </p:nvCxnSpPr>
        <p:spPr>
          <a:xfrm>
            <a:off x="5898436" y="1478679"/>
            <a:ext cx="1191654" cy="401094"/>
          </a:xfrm>
          <a:prstGeom prst="line">
            <a:avLst/>
          </a:prstGeom>
          <a:ln>
            <a:prstDash val="dash"/>
          </a:ln>
        </p:spPr>
        <p:style>
          <a:lnRef idx="2">
            <a:schemeClr val="accent4"/>
          </a:lnRef>
          <a:fillRef idx="0">
            <a:schemeClr val="accent4"/>
          </a:fillRef>
          <a:effectRef idx="1">
            <a:schemeClr val="accent4"/>
          </a:effectRef>
          <a:fontRef idx="minor">
            <a:schemeClr val="tx1"/>
          </a:fontRef>
        </p:style>
      </p:cxnSp>
      <p:cxnSp>
        <p:nvCxnSpPr>
          <p:cNvPr id="6" name="Straight Connector 5">
            <a:extLst>
              <a:ext uri="{FF2B5EF4-FFF2-40B4-BE49-F238E27FC236}">
                <a16:creationId xmlns:a16="http://schemas.microsoft.com/office/drawing/2014/main" id="{D940ABAB-D4AE-4390-AD77-18D9BEA13D3E}"/>
              </a:ext>
            </a:extLst>
          </p:cNvPr>
          <p:cNvCxnSpPr>
            <a:stCxn id="739" idx="6"/>
            <a:endCxn id="118" idx="2"/>
          </p:cNvCxnSpPr>
          <p:nvPr/>
        </p:nvCxnSpPr>
        <p:spPr>
          <a:xfrm flipV="1">
            <a:off x="5444284" y="1879773"/>
            <a:ext cx="1645806" cy="90675"/>
          </a:xfrm>
          <a:prstGeom prst="line">
            <a:avLst/>
          </a:prstGeom>
          <a:ln>
            <a:prstDash val="dash"/>
          </a:ln>
        </p:spPr>
        <p:style>
          <a:lnRef idx="2">
            <a:schemeClr val="accent4"/>
          </a:lnRef>
          <a:fillRef idx="0">
            <a:schemeClr val="accent4"/>
          </a:fillRef>
          <a:effectRef idx="1">
            <a:schemeClr val="accent4"/>
          </a:effectRef>
          <a:fontRef idx="minor">
            <a:schemeClr val="tx1"/>
          </a:fontRef>
        </p:style>
      </p:cxnSp>
      <p:cxnSp>
        <p:nvCxnSpPr>
          <p:cNvPr id="8" name="Straight Connector 7">
            <a:extLst>
              <a:ext uri="{FF2B5EF4-FFF2-40B4-BE49-F238E27FC236}">
                <a16:creationId xmlns:a16="http://schemas.microsoft.com/office/drawing/2014/main" id="{B7C8DA66-EFE0-4813-A2A1-94EC7B4F86FB}"/>
              </a:ext>
            </a:extLst>
          </p:cNvPr>
          <p:cNvCxnSpPr>
            <a:stCxn id="709" idx="6"/>
            <a:endCxn id="118" idx="2"/>
          </p:cNvCxnSpPr>
          <p:nvPr/>
        </p:nvCxnSpPr>
        <p:spPr>
          <a:xfrm flipV="1">
            <a:off x="6120755" y="1879773"/>
            <a:ext cx="969335" cy="1775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08DC4C-3001-4185-A3F3-37B461DB6000}"/>
              </a:ext>
            </a:extLst>
          </p:cNvPr>
          <p:cNvCxnSpPr>
            <a:cxnSpLocks/>
            <a:stCxn id="703" idx="6"/>
            <a:endCxn id="118" idx="3"/>
          </p:cNvCxnSpPr>
          <p:nvPr/>
        </p:nvCxnSpPr>
        <p:spPr>
          <a:xfrm flipV="1">
            <a:off x="5581637" y="1968868"/>
            <a:ext cx="1545358" cy="419552"/>
          </a:xfrm>
          <a:prstGeom prst="line">
            <a:avLst/>
          </a:prstGeom>
          <a:ln>
            <a:prstDash val="dash"/>
          </a:ln>
        </p:spPr>
        <p:style>
          <a:lnRef idx="2">
            <a:schemeClr val="accent4"/>
          </a:lnRef>
          <a:fillRef idx="0">
            <a:schemeClr val="accent4"/>
          </a:fillRef>
          <a:effectRef idx="1">
            <a:schemeClr val="accent4"/>
          </a:effectRef>
          <a:fontRef idx="minor">
            <a:schemeClr val="tx1"/>
          </a:fontRef>
        </p:style>
      </p:cxnSp>
      <p:cxnSp>
        <p:nvCxnSpPr>
          <p:cNvPr id="12" name="Straight Connector 11">
            <a:extLst>
              <a:ext uri="{FF2B5EF4-FFF2-40B4-BE49-F238E27FC236}">
                <a16:creationId xmlns:a16="http://schemas.microsoft.com/office/drawing/2014/main" id="{77E59907-FD1F-4AA8-9AEA-1869DF91A217}"/>
              </a:ext>
            </a:extLst>
          </p:cNvPr>
          <p:cNvCxnSpPr>
            <a:stCxn id="685" idx="7"/>
            <a:endCxn id="118" idx="3"/>
          </p:cNvCxnSpPr>
          <p:nvPr/>
        </p:nvCxnSpPr>
        <p:spPr>
          <a:xfrm flipV="1">
            <a:off x="4744864" y="1968868"/>
            <a:ext cx="2382131" cy="695253"/>
          </a:xfrm>
          <a:prstGeom prst="line">
            <a:avLst/>
          </a:prstGeom>
          <a:ln>
            <a:prstDash val="dash"/>
          </a:ln>
        </p:spPr>
        <p:style>
          <a:lnRef idx="2">
            <a:schemeClr val="accent4"/>
          </a:lnRef>
          <a:fillRef idx="0">
            <a:schemeClr val="accent4"/>
          </a:fillRef>
          <a:effectRef idx="1">
            <a:schemeClr val="accent4"/>
          </a:effectRef>
          <a:fontRef idx="minor">
            <a:schemeClr val="tx1"/>
          </a:fontRef>
        </p:style>
      </p:cxnSp>
      <p:cxnSp>
        <p:nvCxnSpPr>
          <p:cNvPr id="15" name="Straight Connector 14">
            <a:extLst>
              <a:ext uri="{FF2B5EF4-FFF2-40B4-BE49-F238E27FC236}">
                <a16:creationId xmlns:a16="http://schemas.microsoft.com/office/drawing/2014/main" id="{FA08942E-13B2-48D6-8A8F-27E40C7AD43E}"/>
              </a:ext>
            </a:extLst>
          </p:cNvPr>
          <p:cNvCxnSpPr>
            <a:stCxn id="697" idx="7"/>
            <a:endCxn id="118" idx="3"/>
          </p:cNvCxnSpPr>
          <p:nvPr/>
        </p:nvCxnSpPr>
        <p:spPr>
          <a:xfrm flipV="1">
            <a:off x="6242044" y="1968868"/>
            <a:ext cx="884951" cy="630199"/>
          </a:xfrm>
          <a:prstGeom prst="line">
            <a:avLst/>
          </a:prstGeom>
          <a:ln>
            <a:prstDash val="dash"/>
          </a:ln>
        </p:spPr>
        <p:style>
          <a:lnRef idx="2">
            <a:schemeClr val="accent4"/>
          </a:lnRef>
          <a:fillRef idx="0">
            <a:schemeClr val="accent4"/>
          </a:fillRef>
          <a:effectRef idx="1">
            <a:schemeClr val="accent4"/>
          </a:effectRef>
          <a:fontRef idx="minor">
            <a:schemeClr val="tx1"/>
          </a:fontRef>
        </p:style>
      </p:cxnSp>
      <p:cxnSp>
        <p:nvCxnSpPr>
          <p:cNvPr id="17" name="Straight Connector 16">
            <a:extLst>
              <a:ext uri="{FF2B5EF4-FFF2-40B4-BE49-F238E27FC236}">
                <a16:creationId xmlns:a16="http://schemas.microsoft.com/office/drawing/2014/main" id="{A0C74555-912C-48A4-AC50-A64393D134AA}"/>
              </a:ext>
            </a:extLst>
          </p:cNvPr>
          <p:cNvCxnSpPr>
            <a:cxnSpLocks/>
            <a:stCxn id="691" idx="7"/>
            <a:endCxn id="118" idx="3"/>
          </p:cNvCxnSpPr>
          <p:nvPr/>
        </p:nvCxnSpPr>
        <p:spPr>
          <a:xfrm flipV="1">
            <a:off x="5472841" y="1968868"/>
            <a:ext cx="1654154" cy="1332969"/>
          </a:xfrm>
          <a:prstGeom prst="line">
            <a:avLst/>
          </a:prstGeom>
          <a:ln>
            <a:prstDash val="dash"/>
          </a:ln>
        </p:spPr>
        <p:style>
          <a:lnRef idx="2">
            <a:schemeClr val="accent4"/>
          </a:lnRef>
          <a:fillRef idx="0">
            <a:schemeClr val="accent4"/>
          </a:fillRef>
          <a:effectRef idx="1">
            <a:schemeClr val="accent4"/>
          </a:effectRef>
          <a:fontRef idx="minor">
            <a:schemeClr val="tx1"/>
          </a:fontRef>
        </p:style>
      </p:cxnSp>
      <p:cxnSp>
        <p:nvCxnSpPr>
          <p:cNvPr id="21" name="Straight Connector 20">
            <a:extLst>
              <a:ext uri="{FF2B5EF4-FFF2-40B4-BE49-F238E27FC236}">
                <a16:creationId xmlns:a16="http://schemas.microsoft.com/office/drawing/2014/main" id="{6964B61B-F5D6-44A9-8572-B7AABC032DB7}"/>
              </a:ext>
            </a:extLst>
          </p:cNvPr>
          <p:cNvCxnSpPr>
            <a:stCxn id="733" idx="0"/>
            <a:endCxn id="118" idx="4"/>
          </p:cNvCxnSpPr>
          <p:nvPr/>
        </p:nvCxnSpPr>
        <p:spPr>
          <a:xfrm flipV="1">
            <a:off x="6277698" y="2005773"/>
            <a:ext cx="938392" cy="2348244"/>
          </a:xfrm>
          <a:prstGeom prst="line">
            <a:avLst/>
          </a:prstGeom>
          <a:ln>
            <a:prstDash val="dash"/>
          </a:ln>
        </p:spPr>
        <p:style>
          <a:lnRef idx="2">
            <a:schemeClr val="accent4"/>
          </a:lnRef>
          <a:fillRef idx="0">
            <a:schemeClr val="accent4"/>
          </a:fillRef>
          <a:effectRef idx="1">
            <a:schemeClr val="accent4"/>
          </a:effectRef>
          <a:fontRef idx="minor">
            <a:schemeClr val="tx1"/>
          </a:fontRef>
        </p:style>
      </p:cxnSp>
      <p:cxnSp>
        <p:nvCxnSpPr>
          <p:cNvPr id="26" name="Straight Connector 25">
            <a:extLst>
              <a:ext uri="{FF2B5EF4-FFF2-40B4-BE49-F238E27FC236}">
                <a16:creationId xmlns:a16="http://schemas.microsoft.com/office/drawing/2014/main" id="{C372EFE0-CA22-4F31-A046-8B7DE10D96DE}"/>
              </a:ext>
            </a:extLst>
          </p:cNvPr>
          <p:cNvCxnSpPr>
            <a:stCxn id="727" idx="0"/>
            <a:endCxn id="118" idx="4"/>
          </p:cNvCxnSpPr>
          <p:nvPr/>
        </p:nvCxnSpPr>
        <p:spPr>
          <a:xfrm flipH="1" flipV="1">
            <a:off x="7216090" y="2005773"/>
            <a:ext cx="137659" cy="390264"/>
          </a:xfrm>
          <a:prstGeom prst="line">
            <a:avLst/>
          </a:prstGeom>
          <a:ln>
            <a:prstDash val="dash"/>
          </a:ln>
        </p:spPr>
        <p:style>
          <a:lnRef idx="2">
            <a:schemeClr val="accent4"/>
          </a:lnRef>
          <a:fillRef idx="0">
            <a:schemeClr val="accent4"/>
          </a:fillRef>
          <a:effectRef idx="1">
            <a:schemeClr val="accent4"/>
          </a:effectRef>
          <a:fontRef idx="minor">
            <a:schemeClr val="tx1"/>
          </a:fontRef>
        </p:style>
      </p:cxnSp>
      <p:cxnSp>
        <p:nvCxnSpPr>
          <p:cNvPr id="29" name="Straight Connector 28">
            <a:extLst>
              <a:ext uri="{FF2B5EF4-FFF2-40B4-BE49-F238E27FC236}">
                <a16:creationId xmlns:a16="http://schemas.microsoft.com/office/drawing/2014/main" id="{809DD627-AFAA-43DF-9AD2-CA0C288E19EB}"/>
              </a:ext>
            </a:extLst>
          </p:cNvPr>
          <p:cNvCxnSpPr>
            <a:stCxn id="721" idx="2"/>
          </p:cNvCxnSpPr>
          <p:nvPr/>
        </p:nvCxnSpPr>
        <p:spPr>
          <a:xfrm flipH="1" flipV="1">
            <a:off x="7216090" y="2005774"/>
            <a:ext cx="424171" cy="175591"/>
          </a:xfrm>
          <a:prstGeom prst="line">
            <a:avLst/>
          </a:prstGeom>
          <a:ln>
            <a:prstDash val="dash"/>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287743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ED865-F59E-489F-A9F5-5B488E8C02F7}"/>
              </a:ext>
            </a:extLst>
          </p:cNvPr>
          <p:cNvSpPr>
            <a:spLocks noGrp="1"/>
          </p:cNvSpPr>
          <p:nvPr>
            <p:ph type="title"/>
          </p:nvPr>
        </p:nvSpPr>
        <p:spPr/>
        <p:txBody>
          <a:bodyPr/>
          <a:lstStyle/>
          <a:p>
            <a:r>
              <a:rPr lang="en-ZA" dirty="0"/>
              <a:t>Sanity Check Against Population Density</a:t>
            </a:r>
            <a:endParaRPr lang="en-GB" dirty="0"/>
          </a:p>
        </p:txBody>
      </p:sp>
      <p:sp>
        <p:nvSpPr>
          <p:cNvPr id="3" name="Content Placeholder 2">
            <a:extLst>
              <a:ext uri="{FF2B5EF4-FFF2-40B4-BE49-F238E27FC236}">
                <a16:creationId xmlns:a16="http://schemas.microsoft.com/office/drawing/2014/main" id="{B9016126-0340-4CA0-A217-1C022730D907}"/>
              </a:ext>
            </a:extLst>
          </p:cNvPr>
          <p:cNvSpPr>
            <a:spLocks noGrp="1"/>
          </p:cNvSpPr>
          <p:nvPr>
            <p:ph sz="quarter" idx="11"/>
          </p:nvPr>
        </p:nvSpPr>
        <p:spPr/>
        <p:txBody>
          <a:bodyPr/>
          <a:lstStyle/>
          <a:p>
            <a:r>
              <a:rPr lang="en-ZA" dirty="0"/>
              <a:t>Ethiopia is very low in terms of population density and has many rural nodes</a:t>
            </a:r>
          </a:p>
          <a:p>
            <a:r>
              <a:rPr lang="en-ZA" dirty="0"/>
              <a:t>Graph of the population density and the location of sites was checked for sanity</a:t>
            </a:r>
          </a:p>
          <a:p>
            <a:endParaRPr lang="en-ZA" dirty="0"/>
          </a:p>
          <a:p>
            <a:endParaRPr lang="en-GB" dirty="0"/>
          </a:p>
        </p:txBody>
      </p:sp>
    </p:spTree>
    <p:extLst>
      <p:ext uri="{BB962C8B-B14F-4D97-AF65-F5344CB8AC3E}">
        <p14:creationId xmlns:p14="http://schemas.microsoft.com/office/powerpoint/2010/main" val="1414307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7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grpSp>
        <p:nvGrpSpPr>
          <p:cNvPr id="517" name="Group 516">
            <a:extLst>
              <a:ext uri="{FF2B5EF4-FFF2-40B4-BE49-F238E27FC236}">
                <a16:creationId xmlns:a16="http://schemas.microsoft.com/office/drawing/2014/main" id="{AAF83F7C-1F84-426A-98CA-8749868AE096}"/>
              </a:ext>
            </a:extLst>
          </p:cNvPr>
          <p:cNvGrpSpPr/>
          <p:nvPr/>
        </p:nvGrpSpPr>
        <p:grpSpPr>
          <a:xfrm>
            <a:off x="4300546" y="2585931"/>
            <a:ext cx="126471" cy="126472"/>
            <a:chOff x="4083776" y="2552776"/>
            <a:chExt cx="529090" cy="529088"/>
          </a:xfrm>
        </p:grpSpPr>
        <p:sp>
          <p:nvSpPr>
            <p:cNvPr id="518" name="Oval 517">
              <a:extLst>
                <a:ext uri="{FF2B5EF4-FFF2-40B4-BE49-F238E27FC236}">
                  <a16:creationId xmlns:a16="http://schemas.microsoft.com/office/drawing/2014/main" id="{0C3FCB1E-390F-4D86-8CC3-E31AE330099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9" name="Freeform: Shape 298">
              <a:extLst>
                <a:ext uri="{FF2B5EF4-FFF2-40B4-BE49-F238E27FC236}">
                  <a16:creationId xmlns:a16="http://schemas.microsoft.com/office/drawing/2014/main" id="{6C5D6AB6-ED04-4F9E-B0D1-95E2898FE9F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0" name="Freeform: Shape 299">
              <a:extLst>
                <a:ext uri="{FF2B5EF4-FFF2-40B4-BE49-F238E27FC236}">
                  <a16:creationId xmlns:a16="http://schemas.microsoft.com/office/drawing/2014/main" id="{95FC254E-9C03-4B4C-BA49-7E66029731C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1" name="Freeform: Shape 301">
              <a:extLst>
                <a:ext uri="{FF2B5EF4-FFF2-40B4-BE49-F238E27FC236}">
                  <a16:creationId xmlns:a16="http://schemas.microsoft.com/office/drawing/2014/main" id="{243A588E-6FF7-4120-93AA-C95176DB8B6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2" name="Freeform: Shape 302">
              <a:extLst>
                <a:ext uri="{FF2B5EF4-FFF2-40B4-BE49-F238E27FC236}">
                  <a16:creationId xmlns:a16="http://schemas.microsoft.com/office/drawing/2014/main" id="{F821E9F3-5D5F-45B4-8074-A2382AF4786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23" name="Group 522">
            <a:extLst>
              <a:ext uri="{FF2B5EF4-FFF2-40B4-BE49-F238E27FC236}">
                <a16:creationId xmlns:a16="http://schemas.microsoft.com/office/drawing/2014/main" id="{9A5F1433-A9A4-4A8C-8F61-8C95C8096951}"/>
              </a:ext>
            </a:extLst>
          </p:cNvPr>
          <p:cNvGrpSpPr/>
          <p:nvPr/>
        </p:nvGrpSpPr>
        <p:grpSpPr>
          <a:xfrm>
            <a:off x="5383490" y="1829081"/>
            <a:ext cx="126471" cy="126472"/>
            <a:chOff x="4083776" y="2552776"/>
            <a:chExt cx="529090" cy="529088"/>
          </a:xfrm>
        </p:grpSpPr>
        <p:sp>
          <p:nvSpPr>
            <p:cNvPr id="524" name="Oval 523">
              <a:extLst>
                <a:ext uri="{FF2B5EF4-FFF2-40B4-BE49-F238E27FC236}">
                  <a16:creationId xmlns:a16="http://schemas.microsoft.com/office/drawing/2014/main" id="{B746A967-0794-4B38-A8E8-857E0D8291C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5" name="Freeform: Shape 298">
              <a:extLst>
                <a:ext uri="{FF2B5EF4-FFF2-40B4-BE49-F238E27FC236}">
                  <a16:creationId xmlns:a16="http://schemas.microsoft.com/office/drawing/2014/main" id="{74C22AF5-FCD9-4D48-8BE3-3D1A8658E48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6" name="Freeform: Shape 299">
              <a:extLst>
                <a:ext uri="{FF2B5EF4-FFF2-40B4-BE49-F238E27FC236}">
                  <a16:creationId xmlns:a16="http://schemas.microsoft.com/office/drawing/2014/main" id="{F3D04718-E595-4B60-9478-3A58707DD27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301">
              <a:extLst>
                <a:ext uri="{FF2B5EF4-FFF2-40B4-BE49-F238E27FC236}">
                  <a16:creationId xmlns:a16="http://schemas.microsoft.com/office/drawing/2014/main" id="{BB3B365E-2B28-46CA-A2B7-93DB37EE04B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2">
              <a:extLst>
                <a:ext uri="{FF2B5EF4-FFF2-40B4-BE49-F238E27FC236}">
                  <a16:creationId xmlns:a16="http://schemas.microsoft.com/office/drawing/2014/main" id="{5FB5D19E-E4D1-4D13-90F9-4D2FEBD60E3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5" name="Group 554">
            <a:extLst>
              <a:ext uri="{FF2B5EF4-FFF2-40B4-BE49-F238E27FC236}">
                <a16:creationId xmlns:a16="http://schemas.microsoft.com/office/drawing/2014/main" id="{50897546-5CBE-48FA-B9EB-887A95D0C24A}"/>
              </a:ext>
            </a:extLst>
          </p:cNvPr>
          <p:cNvGrpSpPr/>
          <p:nvPr/>
        </p:nvGrpSpPr>
        <p:grpSpPr>
          <a:xfrm>
            <a:off x="3755369" y="1626575"/>
            <a:ext cx="126471" cy="126472"/>
            <a:chOff x="4083776" y="2552776"/>
            <a:chExt cx="529090" cy="529088"/>
          </a:xfrm>
        </p:grpSpPr>
        <p:sp>
          <p:nvSpPr>
            <p:cNvPr id="556" name="Oval 555">
              <a:extLst>
                <a:ext uri="{FF2B5EF4-FFF2-40B4-BE49-F238E27FC236}">
                  <a16:creationId xmlns:a16="http://schemas.microsoft.com/office/drawing/2014/main" id="{AE0DBB18-CC7E-4284-A4EF-446C428817B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7" name="Freeform: Shape 298">
              <a:extLst>
                <a:ext uri="{FF2B5EF4-FFF2-40B4-BE49-F238E27FC236}">
                  <a16:creationId xmlns:a16="http://schemas.microsoft.com/office/drawing/2014/main" id="{F0A46EFF-4A10-4AFD-A70A-B229C3D40ED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8" name="Freeform: Shape 299">
              <a:extLst>
                <a:ext uri="{FF2B5EF4-FFF2-40B4-BE49-F238E27FC236}">
                  <a16:creationId xmlns:a16="http://schemas.microsoft.com/office/drawing/2014/main" id="{4CDD9B3F-59C6-4D45-B124-60D38E5C5E8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9" name="Freeform: Shape 301">
              <a:extLst>
                <a:ext uri="{FF2B5EF4-FFF2-40B4-BE49-F238E27FC236}">
                  <a16:creationId xmlns:a16="http://schemas.microsoft.com/office/drawing/2014/main" id="{24A5DD8A-2C60-42DC-874E-7691154C476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0" name="Freeform: Shape 302">
              <a:extLst>
                <a:ext uri="{FF2B5EF4-FFF2-40B4-BE49-F238E27FC236}">
                  <a16:creationId xmlns:a16="http://schemas.microsoft.com/office/drawing/2014/main" id="{521DCD37-12C7-4FEF-97CB-991BA3BA5F4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61" name="Straight Connector 560">
            <a:extLst>
              <a:ext uri="{FF2B5EF4-FFF2-40B4-BE49-F238E27FC236}">
                <a16:creationId xmlns:a16="http://schemas.microsoft.com/office/drawing/2014/main" id="{8C8583EF-6531-43C0-9C93-D20ADC6E3D84}"/>
              </a:ext>
            </a:extLst>
          </p:cNvPr>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62" name="Group 561">
            <a:extLst>
              <a:ext uri="{FF2B5EF4-FFF2-40B4-BE49-F238E27FC236}">
                <a16:creationId xmlns:a16="http://schemas.microsoft.com/office/drawing/2014/main" id="{3986F618-2DDC-4274-AF8E-13A669371784}"/>
              </a:ext>
            </a:extLst>
          </p:cNvPr>
          <p:cNvGrpSpPr/>
          <p:nvPr/>
        </p:nvGrpSpPr>
        <p:grpSpPr>
          <a:xfrm>
            <a:off x="3913211" y="3005058"/>
            <a:ext cx="126471" cy="126472"/>
            <a:chOff x="4083776" y="2552776"/>
            <a:chExt cx="529090" cy="529088"/>
          </a:xfrm>
        </p:grpSpPr>
        <p:sp>
          <p:nvSpPr>
            <p:cNvPr id="563" name="Oval 562">
              <a:extLst>
                <a:ext uri="{FF2B5EF4-FFF2-40B4-BE49-F238E27FC236}">
                  <a16:creationId xmlns:a16="http://schemas.microsoft.com/office/drawing/2014/main" id="{AF3EDB35-625E-4585-8994-CA807383E1F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4" name="Freeform: Shape 298">
              <a:extLst>
                <a:ext uri="{FF2B5EF4-FFF2-40B4-BE49-F238E27FC236}">
                  <a16:creationId xmlns:a16="http://schemas.microsoft.com/office/drawing/2014/main" id="{DB9FE75E-876D-4A5B-AE62-9D2222C4B54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5" name="Freeform: Shape 299">
              <a:extLst>
                <a:ext uri="{FF2B5EF4-FFF2-40B4-BE49-F238E27FC236}">
                  <a16:creationId xmlns:a16="http://schemas.microsoft.com/office/drawing/2014/main" id="{3CA45C41-8104-4F1B-9118-35CA4752854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6" name="Freeform: Shape 301">
              <a:extLst>
                <a:ext uri="{FF2B5EF4-FFF2-40B4-BE49-F238E27FC236}">
                  <a16:creationId xmlns:a16="http://schemas.microsoft.com/office/drawing/2014/main" id="{779664C7-0B9E-416E-BBA5-4206314A799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7" name="Freeform: Shape 302">
              <a:extLst>
                <a:ext uri="{FF2B5EF4-FFF2-40B4-BE49-F238E27FC236}">
                  <a16:creationId xmlns:a16="http://schemas.microsoft.com/office/drawing/2014/main" id="{F39B8ACF-815F-41C6-A6CD-450CFFB96FA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4" name="Group 573">
            <a:extLst>
              <a:ext uri="{FF2B5EF4-FFF2-40B4-BE49-F238E27FC236}">
                <a16:creationId xmlns:a16="http://schemas.microsoft.com/office/drawing/2014/main" id="{029164C5-972C-4E52-A9B6-DFEAF67F6108}"/>
              </a:ext>
            </a:extLst>
          </p:cNvPr>
          <p:cNvGrpSpPr/>
          <p:nvPr/>
        </p:nvGrpSpPr>
        <p:grpSpPr>
          <a:xfrm>
            <a:off x="5000978" y="2704482"/>
            <a:ext cx="126471" cy="126472"/>
            <a:chOff x="4083776" y="2552776"/>
            <a:chExt cx="529090" cy="529088"/>
          </a:xfrm>
        </p:grpSpPr>
        <p:sp>
          <p:nvSpPr>
            <p:cNvPr id="575" name="Oval 574">
              <a:extLst>
                <a:ext uri="{FF2B5EF4-FFF2-40B4-BE49-F238E27FC236}">
                  <a16:creationId xmlns:a16="http://schemas.microsoft.com/office/drawing/2014/main" id="{2A5D38A9-1C79-432A-A76A-C09725A962D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6" name="Freeform: Shape 298">
              <a:extLst>
                <a:ext uri="{FF2B5EF4-FFF2-40B4-BE49-F238E27FC236}">
                  <a16:creationId xmlns:a16="http://schemas.microsoft.com/office/drawing/2014/main" id="{FFD8C878-44BD-4A02-A1B6-1184468E432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299">
              <a:extLst>
                <a:ext uri="{FF2B5EF4-FFF2-40B4-BE49-F238E27FC236}">
                  <a16:creationId xmlns:a16="http://schemas.microsoft.com/office/drawing/2014/main" id="{869EA615-CDFD-4BA7-BEDD-A9C2A27734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1">
              <a:extLst>
                <a:ext uri="{FF2B5EF4-FFF2-40B4-BE49-F238E27FC236}">
                  <a16:creationId xmlns:a16="http://schemas.microsoft.com/office/drawing/2014/main" id="{AF2A4B79-4404-43CE-9B42-925CFD30FF9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9" name="Freeform: Shape 302">
              <a:extLst>
                <a:ext uri="{FF2B5EF4-FFF2-40B4-BE49-F238E27FC236}">
                  <a16:creationId xmlns:a16="http://schemas.microsoft.com/office/drawing/2014/main" id="{0D1288B0-3A66-4CB3-95F3-6DB3DBA8A9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80" name="Group 579">
            <a:extLst>
              <a:ext uri="{FF2B5EF4-FFF2-40B4-BE49-F238E27FC236}">
                <a16:creationId xmlns:a16="http://schemas.microsoft.com/office/drawing/2014/main" id="{6B0EF575-BD0D-4157-BCAF-3B5DB8B32565}"/>
              </a:ext>
            </a:extLst>
          </p:cNvPr>
          <p:cNvGrpSpPr/>
          <p:nvPr/>
        </p:nvGrpSpPr>
        <p:grpSpPr>
          <a:xfrm>
            <a:off x="4384163" y="3915417"/>
            <a:ext cx="126471" cy="126472"/>
            <a:chOff x="4083776" y="2552776"/>
            <a:chExt cx="529090" cy="529088"/>
          </a:xfrm>
        </p:grpSpPr>
        <p:sp>
          <p:nvSpPr>
            <p:cNvPr id="581" name="Oval 580">
              <a:extLst>
                <a:ext uri="{FF2B5EF4-FFF2-40B4-BE49-F238E27FC236}">
                  <a16:creationId xmlns:a16="http://schemas.microsoft.com/office/drawing/2014/main" id="{80E0DB98-C569-46AF-B566-17BD9EFC538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158FF281-E6CA-45E1-A08E-64B72378B87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45F8EE5A-7DAA-4CFF-B4CA-C3612D27AA8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D59653FA-FE33-43F6-9C8E-8D7DA0F1AD7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D9C1AE02-5688-4B0E-941E-260140FDDD3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86" name="Straight Connector 585">
            <a:extLst>
              <a:ext uri="{FF2B5EF4-FFF2-40B4-BE49-F238E27FC236}">
                <a16:creationId xmlns:a16="http://schemas.microsoft.com/office/drawing/2014/main" id="{79AFACCA-7FBD-4CAF-8C24-4CE6DF0BEB4F}"/>
              </a:ext>
            </a:extLst>
          </p:cNvPr>
          <p:cNvCxnSpPr>
            <a:stCxn id="581" idx="0"/>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87" name="Group 586">
            <a:extLst>
              <a:ext uri="{FF2B5EF4-FFF2-40B4-BE49-F238E27FC236}">
                <a16:creationId xmlns:a16="http://schemas.microsoft.com/office/drawing/2014/main" id="{048A14F8-CC8C-4862-8FF4-D184C3CE1B7B}"/>
              </a:ext>
            </a:extLst>
          </p:cNvPr>
          <p:cNvGrpSpPr/>
          <p:nvPr/>
        </p:nvGrpSpPr>
        <p:grpSpPr>
          <a:xfrm>
            <a:off x="5216393" y="180330"/>
            <a:ext cx="126471" cy="126472"/>
            <a:chOff x="4083776" y="2552776"/>
            <a:chExt cx="529090" cy="529088"/>
          </a:xfrm>
        </p:grpSpPr>
        <p:sp>
          <p:nvSpPr>
            <p:cNvPr id="588" name="Oval 587">
              <a:extLst>
                <a:ext uri="{FF2B5EF4-FFF2-40B4-BE49-F238E27FC236}">
                  <a16:creationId xmlns:a16="http://schemas.microsoft.com/office/drawing/2014/main" id="{7C1C72AC-6F16-44A5-9EC8-35DF3E87565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73E4F3F4-0DE7-4F13-A78E-49EB1468F07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19ECEA8E-E4CA-4FB9-8847-A4C2EE3CC24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7099275C-4643-4B03-9AB4-CE97154B1BF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5D46ECD0-48BC-4B70-82E5-B61CBC984AA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594" name="Straight Connector 593">
            <a:extLst>
              <a:ext uri="{FF2B5EF4-FFF2-40B4-BE49-F238E27FC236}">
                <a16:creationId xmlns:a16="http://schemas.microsoft.com/office/drawing/2014/main" id="{D3F46787-8D63-46F7-8E80-0FA320580BAC}"/>
              </a:ext>
            </a:extLst>
          </p:cNvPr>
          <p:cNvCxnSpPr>
            <a:stCxn id="588" idx="4"/>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95" name="Group 594">
            <a:extLst>
              <a:ext uri="{FF2B5EF4-FFF2-40B4-BE49-F238E27FC236}">
                <a16:creationId xmlns:a16="http://schemas.microsoft.com/office/drawing/2014/main" id="{183B74A5-4703-4302-8FC5-3A225F1BEE20}"/>
              </a:ext>
            </a:extLst>
          </p:cNvPr>
          <p:cNvGrpSpPr/>
          <p:nvPr/>
        </p:nvGrpSpPr>
        <p:grpSpPr>
          <a:xfrm>
            <a:off x="4860701" y="3142917"/>
            <a:ext cx="126471" cy="126472"/>
            <a:chOff x="4083776" y="2552776"/>
            <a:chExt cx="529090" cy="529088"/>
          </a:xfrm>
        </p:grpSpPr>
        <p:sp>
          <p:nvSpPr>
            <p:cNvPr id="596" name="Oval 595">
              <a:extLst>
                <a:ext uri="{FF2B5EF4-FFF2-40B4-BE49-F238E27FC236}">
                  <a16:creationId xmlns:a16="http://schemas.microsoft.com/office/drawing/2014/main" id="{CAD04011-13A9-481D-9082-452710A7BE0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7" name="Freeform: Shape 298">
              <a:extLst>
                <a:ext uri="{FF2B5EF4-FFF2-40B4-BE49-F238E27FC236}">
                  <a16:creationId xmlns:a16="http://schemas.microsoft.com/office/drawing/2014/main" id="{293A2A72-75CF-4CAD-B7C4-210980207B9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8" name="Freeform: Shape 299">
              <a:extLst>
                <a:ext uri="{FF2B5EF4-FFF2-40B4-BE49-F238E27FC236}">
                  <a16:creationId xmlns:a16="http://schemas.microsoft.com/office/drawing/2014/main" id="{2308C3A0-ECEB-420F-8254-5C422428567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9" name="Freeform: Shape 301">
              <a:extLst>
                <a:ext uri="{FF2B5EF4-FFF2-40B4-BE49-F238E27FC236}">
                  <a16:creationId xmlns:a16="http://schemas.microsoft.com/office/drawing/2014/main" id="{904D6CE0-D38D-4F12-9CB3-03DE5F57DCD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0" name="Freeform: Shape 302">
              <a:extLst>
                <a:ext uri="{FF2B5EF4-FFF2-40B4-BE49-F238E27FC236}">
                  <a16:creationId xmlns:a16="http://schemas.microsoft.com/office/drawing/2014/main" id="{49578165-4066-4087-B8B8-1355E6A074C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01" name="Group 600">
            <a:extLst>
              <a:ext uri="{FF2B5EF4-FFF2-40B4-BE49-F238E27FC236}">
                <a16:creationId xmlns:a16="http://schemas.microsoft.com/office/drawing/2014/main" id="{CD01AB0E-0581-4E75-9800-EC1926536F5E}"/>
              </a:ext>
            </a:extLst>
          </p:cNvPr>
          <p:cNvGrpSpPr/>
          <p:nvPr/>
        </p:nvGrpSpPr>
        <p:grpSpPr>
          <a:xfrm>
            <a:off x="5179988" y="2356023"/>
            <a:ext cx="126471" cy="126472"/>
            <a:chOff x="4083776" y="2552776"/>
            <a:chExt cx="529090" cy="529088"/>
          </a:xfrm>
        </p:grpSpPr>
        <p:sp>
          <p:nvSpPr>
            <p:cNvPr id="602" name="Oval 601">
              <a:extLst>
                <a:ext uri="{FF2B5EF4-FFF2-40B4-BE49-F238E27FC236}">
                  <a16:creationId xmlns:a16="http://schemas.microsoft.com/office/drawing/2014/main" id="{0253371F-AEDE-4D8C-8EAE-77BEF593CD2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3" name="Freeform: Shape 298">
              <a:extLst>
                <a:ext uri="{FF2B5EF4-FFF2-40B4-BE49-F238E27FC236}">
                  <a16:creationId xmlns:a16="http://schemas.microsoft.com/office/drawing/2014/main" id="{84402633-92E2-4F5D-8AE0-C39A6BB149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299">
              <a:extLst>
                <a:ext uri="{FF2B5EF4-FFF2-40B4-BE49-F238E27FC236}">
                  <a16:creationId xmlns:a16="http://schemas.microsoft.com/office/drawing/2014/main" id="{BCF3C520-31F6-4D37-A085-8E7D3DCB314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5" name="Freeform: Shape 301">
              <a:extLst>
                <a:ext uri="{FF2B5EF4-FFF2-40B4-BE49-F238E27FC236}">
                  <a16:creationId xmlns:a16="http://schemas.microsoft.com/office/drawing/2014/main" id="{F879DC3D-F6D9-48A6-A974-DB8275CA57C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6" name="Freeform: Shape 302">
              <a:extLst>
                <a:ext uri="{FF2B5EF4-FFF2-40B4-BE49-F238E27FC236}">
                  <a16:creationId xmlns:a16="http://schemas.microsoft.com/office/drawing/2014/main" id="{0C081416-E814-4684-9A13-C302332A53F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07" name="Group 606">
            <a:extLst>
              <a:ext uri="{FF2B5EF4-FFF2-40B4-BE49-F238E27FC236}">
                <a16:creationId xmlns:a16="http://schemas.microsoft.com/office/drawing/2014/main" id="{BABE62B4-FF5B-407E-B6E9-90BCC142279B}"/>
              </a:ext>
            </a:extLst>
          </p:cNvPr>
          <p:cNvGrpSpPr/>
          <p:nvPr/>
        </p:nvGrpSpPr>
        <p:grpSpPr>
          <a:xfrm>
            <a:off x="4741276" y="478860"/>
            <a:ext cx="126471" cy="126472"/>
            <a:chOff x="4083776" y="2552776"/>
            <a:chExt cx="529090" cy="529088"/>
          </a:xfrm>
        </p:grpSpPr>
        <p:sp>
          <p:nvSpPr>
            <p:cNvPr id="608" name="Oval 607">
              <a:extLst>
                <a:ext uri="{FF2B5EF4-FFF2-40B4-BE49-F238E27FC236}">
                  <a16:creationId xmlns:a16="http://schemas.microsoft.com/office/drawing/2014/main" id="{8EB19DE8-B2D2-4D46-BAAF-1699D02F2D1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9" name="Freeform: Shape 298">
              <a:extLst>
                <a:ext uri="{FF2B5EF4-FFF2-40B4-BE49-F238E27FC236}">
                  <a16:creationId xmlns:a16="http://schemas.microsoft.com/office/drawing/2014/main" id="{BF21CE0E-48C3-41D8-BE95-44E2E612BA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0" name="Freeform: Shape 299">
              <a:extLst>
                <a:ext uri="{FF2B5EF4-FFF2-40B4-BE49-F238E27FC236}">
                  <a16:creationId xmlns:a16="http://schemas.microsoft.com/office/drawing/2014/main" id="{14446926-823F-4DBF-A102-B8953D4411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1" name="Freeform: Shape 301">
              <a:extLst>
                <a:ext uri="{FF2B5EF4-FFF2-40B4-BE49-F238E27FC236}">
                  <a16:creationId xmlns:a16="http://schemas.microsoft.com/office/drawing/2014/main" id="{6883D572-7134-4C81-B04E-3813862D1E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2" name="Freeform: Shape 302">
              <a:extLst>
                <a:ext uri="{FF2B5EF4-FFF2-40B4-BE49-F238E27FC236}">
                  <a16:creationId xmlns:a16="http://schemas.microsoft.com/office/drawing/2014/main" id="{CF473272-46CA-493A-A06B-EAEB14A048A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8" name="Group 467">
            <a:extLst>
              <a:ext uri="{FF2B5EF4-FFF2-40B4-BE49-F238E27FC236}">
                <a16:creationId xmlns:a16="http://schemas.microsoft.com/office/drawing/2014/main" id="{6F60DC8B-4D33-4591-AE50-6DC0C9EDAEA1}"/>
              </a:ext>
            </a:extLst>
          </p:cNvPr>
          <p:cNvGrpSpPr/>
          <p:nvPr/>
        </p:nvGrpSpPr>
        <p:grpSpPr>
          <a:xfrm>
            <a:off x="4533161" y="3279429"/>
            <a:ext cx="126471" cy="126472"/>
            <a:chOff x="4083776" y="2552776"/>
            <a:chExt cx="529090" cy="529088"/>
          </a:xfrm>
        </p:grpSpPr>
        <p:sp>
          <p:nvSpPr>
            <p:cNvPr id="469" name="Oval 468">
              <a:extLst>
                <a:ext uri="{FF2B5EF4-FFF2-40B4-BE49-F238E27FC236}">
                  <a16:creationId xmlns:a16="http://schemas.microsoft.com/office/drawing/2014/main" id="{1FE0B7D6-7E82-47A3-81D9-7F0E5B04CE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0" name="Freeform: Shape 298">
              <a:extLst>
                <a:ext uri="{FF2B5EF4-FFF2-40B4-BE49-F238E27FC236}">
                  <a16:creationId xmlns:a16="http://schemas.microsoft.com/office/drawing/2014/main" id="{A0A2C6DE-87A0-4826-9AA4-F3D86FF605D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1" name="Freeform: Shape 299">
              <a:extLst>
                <a:ext uri="{FF2B5EF4-FFF2-40B4-BE49-F238E27FC236}">
                  <a16:creationId xmlns:a16="http://schemas.microsoft.com/office/drawing/2014/main" id="{7B7C7483-5420-4EC5-8A64-8D77A09D370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2" name="Freeform: Shape 301">
              <a:extLst>
                <a:ext uri="{FF2B5EF4-FFF2-40B4-BE49-F238E27FC236}">
                  <a16:creationId xmlns:a16="http://schemas.microsoft.com/office/drawing/2014/main" id="{CD781309-4596-4F9E-8703-188BA57213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9" name="Freeform: Shape 302">
              <a:extLst>
                <a:ext uri="{FF2B5EF4-FFF2-40B4-BE49-F238E27FC236}">
                  <a16:creationId xmlns:a16="http://schemas.microsoft.com/office/drawing/2014/main" id="{EFD6E249-8431-4747-985C-E6A1A7EF4AF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 name="Group 1">
            <a:extLst>
              <a:ext uri="{FF2B5EF4-FFF2-40B4-BE49-F238E27FC236}">
                <a16:creationId xmlns:a16="http://schemas.microsoft.com/office/drawing/2014/main" id="{6C0C700F-1044-40C6-A473-027DD2961724}"/>
              </a:ext>
            </a:extLst>
          </p:cNvPr>
          <p:cNvGrpSpPr/>
          <p:nvPr/>
        </p:nvGrpSpPr>
        <p:grpSpPr>
          <a:xfrm>
            <a:off x="90338" y="304844"/>
            <a:ext cx="2227335" cy="3397420"/>
            <a:chOff x="90338" y="304844"/>
            <a:chExt cx="2227335" cy="3397420"/>
          </a:xfrm>
        </p:grpSpPr>
        <p:grpSp>
          <p:nvGrpSpPr>
            <p:cNvPr id="487" name="Group 486">
              <a:extLst>
                <a:ext uri="{FF2B5EF4-FFF2-40B4-BE49-F238E27FC236}">
                  <a16:creationId xmlns:a16="http://schemas.microsoft.com/office/drawing/2014/main" id="{FCD1F236-4C73-4E89-A3DD-9D172DCA3B00}"/>
                </a:ext>
              </a:extLst>
            </p:cNvPr>
            <p:cNvGrpSpPr/>
            <p:nvPr/>
          </p:nvGrpSpPr>
          <p:grpSpPr>
            <a:xfrm>
              <a:off x="93692" y="337116"/>
              <a:ext cx="304786" cy="304788"/>
              <a:chOff x="4083769" y="2552776"/>
              <a:chExt cx="529089" cy="529089"/>
            </a:xfrm>
          </p:grpSpPr>
          <p:sp>
            <p:nvSpPr>
              <p:cNvPr id="538" name="Oval 537">
                <a:extLst>
                  <a:ext uri="{FF2B5EF4-FFF2-40B4-BE49-F238E27FC236}">
                    <a16:creationId xmlns:a16="http://schemas.microsoft.com/office/drawing/2014/main" id="{D625BC4C-4736-44F9-B3A1-4EFD041F41EB}"/>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9" name="Freeform: Shape 298">
                <a:extLst>
                  <a:ext uri="{FF2B5EF4-FFF2-40B4-BE49-F238E27FC236}">
                    <a16:creationId xmlns:a16="http://schemas.microsoft.com/office/drawing/2014/main" id="{3FCECA30-2399-4578-9D97-6A5E2D5C81C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0" name="Freeform: Shape 299">
                <a:extLst>
                  <a:ext uri="{FF2B5EF4-FFF2-40B4-BE49-F238E27FC236}">
                    <a16:creationId xmlns:a16="http://schemas.microsoft.com/office/drawing/2014/main" id="{F3891BB7-34AE-4C55-8767-814AC38364A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1" name="Freeform: Shape 301">
                <a:extLst>
                  <a:ext uri="{FF2B5EF4-FFF2-40B4-BE49-F238E27FC236}">
                    <a16:creationId xmlns:a16="http://schemas.microsoft.com/office/drawing/2014/main" id="{2554BED6-20A2-4FEC-9DF5-31C99D36065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2" name="Freeform: Shape 302">
                <a:extLst>
                  <a:ext uri="{FF2B5EF4-FFF2-40B4-BE49-F238E27FC236}">
                    <a16:creationId xmlns:a16="http://schemas.microsoft.com/office/drawing/2014/main" id="{D4869D51-FA4F-4FDA-994F-ECFDDAE5697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88" name="TextBox 487">
              <a:extLst>
                <a:ext uri="{FF2B5EF4-FFF2-40B4-BE49-F238E27FC236}">
                  <a16:creationId xmlns:a16="http://schemas.microsoft.com/office/drawing/2014/main" id="{831384A4-E8A9-41EB-9E3C-FF701DB90BFB}"/>
                </a:ext>
              </a:extLst>
            </p:cNvPr>
            <p:cNvSpPr txBox="1"/>
            <p:nvPr/>
          </p:nvSpPr>
          <p:spPr>
            <a:xfrm>
              <a:off x="400160" y="304844"/>
              <a:ext cx="1160895" cy="369332"/>
            </a:xfrm>
            <a:prstGeom prst="rect">
              <a:avLst/>
            </a:prstGeom>
            <a:noFill/>
          </p:spPr>
          <p:txBody>
            <a:bodyPr wrap="none" rtlCol="0">
              <a:spAutoFit/>
            </a:bodyPr>
            <a:lstStyle/>
            <a:p>
              <a:pPr defTabSz="457189"/>
              <a:r>
                <a:rPr lang="en-ZA" dirty="0">
                  <a:solidFill>
                    <a:srgbClr val="282828"/>
                  </a:solidFill>
                  <a:latin typeface="CiscoSansTT ExtraLight"/>
                </a:rPr>
                <a:t>Core Site</a:t>
              </a:r>
            </a:p>
          </p:txBody>
        </p:sp>
        <p:grpSp>
          <p:nvGrpSpPr>
            <p:cNvPr id="489" name="Group 488">
              <a:extLst>
                <a:ext uri="{FF2B5EF4-FFF2-40B4-BE49-F238E27FC236}">
                  <a16:creationId xmlns:a16="http://schemas.microsoft.com/office/drawing/2014/main" id="{6F42F27E-BA03-4A5F-B467-F573F5B7C82F}"/>
                </a:ext>
              </a:extLst>
            </p:cNvPr>
            <p:cNvGrpSpPr/>
            <p:nvPr/>
          </p:nvGrpSpPr>
          <p:grpSpPr>
            <a:xfrm>
              <a:off x="93692" y="776476"/>
              <a:ext cx="304786" cy="304788"/>
              <a:chOff x="4083769" y="2552776"/>
              <a:chExt cx="529089" cy="529089"/>
            </a:xfrm>
          </p:grpSpPr>
          <p:sp>
            <p:nvSpPr>
              <p:cNvPr id="533" name="Oval 532">
                <a:extLst>
                  <a:ext uri="{FF2B5EF4-FFF2-40B4-BE49-F238E27FC236}">
                    <a16:creationId xmlns:a16="http://schemas.microsoft.com/office/drawing/2014/main" id="{8909728E-55AA-447A-BDF0-FA7885D2375A}"/>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4" name="Freeform: Shape 298">
                <a:extLst>
                  <a:ext uri="{FF2B5EF4-FFF2-40B4-BE49-F238E27FC236}">
                    <a16:creationId xmlns:a16="http://schemas.microsoft.com/office/drawing/2014/main" id="{2E73A905-7DCA-40BC-914B-94FAB57FD1F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299">
                <a:extLst>
                  <a:ext uri="{FF2B5EF4-FFF2-40B4-BE49-F238E27FC236}">
                    <a16:creationId xmlns:a16="http://schemas.microsoft.com/office/drawing/2014/main" id="{A9F52A42-D552-4E31-8A9E-46FB2A57FFF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6" name="Freeform: Shape 301">
                <a:extLst>
                  <a:ext uri="{FF2B5EF4-FFF2-40B4-BE49-F238E27FC236}">
                    <a16:creationId xmlns:a16="http://schemas.microsoft.com/office/drawing/2014/main" id="{17B398D1-6301-48D2-A0A5-6A1916B5D65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7" name="Freeform: Shape 302">
                <a:extLst>
                  <a:ext uri="{FF2B5EF4-FFF2-40B4-BE49-F238E27FC236}">
                    <a16:creationId xmlns:a16="http://schemas.microsoft.com/office/drawing/2014/main" id="{32726C1B-87A1-4291-BDD0-6A29B9C9521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90" name="TextBox 489">
              <a:extLst>
                <a:ext uri="{FF2B5EF4-FFF2-40B4-BE49-F238E27FC236}">
                  <a16:creationId xmlns:a16="http://schemas.microsoft.com/office/drawing/2014/main" id="{776012C4-5AA0-4BA8-9F5B-6B31C23C9882}"/>
                </a:ext>
              </a:extLst>
            </p:cNvPr>
            <p:cNvSpPr txBox="1"/>
            <p:nvPr/>
          </p:nvSpPr>
          <p:spPr>
            <a:xfrm>
              <a:off x="400160" y="737428"/>
              <a:ext cx="1917513" cy="369332"/>
            </a:xfrm>
            <a:prstGeom prst="rect">
              <a:avLst/>
            </a:prstGeom>
            <a:noFill/>
          </p:spPr>
          <p:txBody>
            <a:bodyPr wrap="none" rtlCol="0">
              <a:spAutoFit/>
            </a:bodyPr>
            <a:lstStyle/>
            <a:p>
              <a:pPr defTabSz="457189"/>
              <a:r>
                <a:rPr lang="en-ZA" dirty="0">
                  <a:solidFill>
                    <a:srgbClr val="282828"/>
                  </a:solidFill>
                  <a:latin typeface="CiscoSansTT ExtraLight"/>
                </a:rPr>
                <a:t>Aggregation Site</a:t>
              </a:r>
            </a:p>
          </p:txBody>
        </p:sp>
        <p:grpSp>
          <p:nvGrpSpPr>
            <p:cNvPr id="491" name="Group 490">
              <a:extLst>
                <a:ext uri="{FF2B5EF4-FFF2-40B4-BE49-F238E27FC236}">
                  <a16:creationId xmlns:a16="http://schemas.microsoft.com/office/drawing/2014/main" id="{AD06303A-8908-4A76-A33D-350AD745334E}"/>
                </a:ext>
              </a:extLst>
            </p:cNvPr>
            <p:cNvGrpSpPr/>
            <p:nvPr/>
          </p:nvGrpSpPr>
          <p:grpSpPr>
            <a:xfrm>
              <a:off x="93692" y="1215836"/>
              <a:ext cx="304786" cy="304788"/>
              <a:chOff x="4083769" y="2552776"/>
              <a:chExt cx="529089" cy="529089"/>
            </a:xfrm>
          </p:grpSpPr>
          <p:sp>
            <p:nvSpPr>
              <p:cNvPr id="515" name="Oval 514">
                <a:extLst>
                  <a:ext uri="{FF2B5EF4-FFF2-40B4-BE49-F238E27FC236}">
                    <a16:creationId xmlns:a16="http://schemas.microsoft.com/office/drawing/2014/main" id="{2B403230-0262-4E15-A0E0-5D81F43C25FF}"/>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9" name="Freeform: Shape 298">
                <a:extLst>
                  <a:ext uri="{FF2B5EF4-FFF2-40B4-BE49-F238E27FC236}">
                    <a16:creationId xmlns:a16="http://schemas.microsoft.com/office/drawing/2014/main" id="{A026C449-2EBD-47CF-AC21-CEC7D03ACA3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0" name="Freeform: Shape 299">
                <a:extLst>
                  <a:ext uri="{FF2B5EF4-FFF2-40B4-BE49-F238E27FC236}">
                    <a16:creationId xmlns:a16="http://schemas.microsoft.com/office/drawing/2014/main" id="{C9849976-4E06-4192-BE82-642CB43D77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1" name="Freeform: Shape 301">
                <a:extLst>
                  <a:ext uri="{FF2B5EF4-FFF2-40B4-BE49-F238E27FC236}">
                    <a16:creationId xmlns:a16="http://schemas.microsoft.com/office/drawing/2014/main" id="{0FDA3DED-BD01-4B4D-A99C-62F3EE8CADE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2" name="Freeform: Shape 302">
                <a:extLst>
                  <a:ext uri="{FF2B5EF4-FFF2-40B4-BE49-F238E27FC236}">
                    <a16:creationId xmlns:a16="http://schemas.microsoft.com/office/drawing/2014/main" id="{FB0B0530-D05A-4338-A01B-1768D197E56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92" name="TextBox 491">
              <a:extLst>
                <a:ext uri="{FF2B5EF4-FFF2-40B4-BE49-F238E27FC236}">
                  <a16:creationId xmlns:a16="http://schemas.microsoft.com/office/drawing/2014/main" id="{0EAABB4B-8099-41F3-B727-8664BF186295}"/>
                </a:ext>
              </a:extLst>
            </p:cNvPr>
            <p:cNvSpPr txBox="1"/>
            <p:nvPr/>
          </p:nvSpPr>
          <p:spPr>
            <a:xfrm>
              <a:off x="400160" y="1170012"/>
              <a:ext cx="1552028" cy="369332"/>
            </a:xfrm>
            <a:prstGeom prst="rect">
              <a:avLst/>
            </a:prstGeom>
            <a:noFill/>
          </p:spPr>
          <p:txBody>
            <a:bodyPr wrap="none" rtlCol="0">
              <a:spAutoFit/>
            </a:bodyPr>
            <a:lstStyle/>
            <a:p>
              <a:pPr defTabSz="457189"/>
              <a:r>
                <a:rPr lang="en-ZA" dirty="0">
                  <a:solidFill>
                    <a:srgbClr val="282828"/>
                  </a:solidFill>
                  <a:latin typeface="CiscoSansTT ExtraLight"/>
                </a:rPr>
                <a:t>Pre-</a:t>
              </a:r>
              <a:r>
                <a:rPr lang="en-ZA" dirty="0" err="1">
                  <a:solidFill>
                    <a:srgbClr val="282828"/>
                  </a:solidFill>
                  <a:latin typeface="CiscoSansTT ExtraLight"/>
                </a:rPr>
                <a:t>Agg</a:t>
              </a:r>
              <a:r>
                <a:rPr lang="en-ZA" dirty="0">
                  <a:solidFill>
                    <a:srgbClr val="282828"/>
                  </a:solidFill>
                  <a:latin typeface="CiscoSansTT ExtraLight"/>
                </a:rPr>
                <a:t> Site</a:t>
              </a:r>
            </a:p>
          </p:txBody>
        </p:sp>
        <p:grpSp>
          <p:nvGrpSpPr>
            <p:cNvPr id="493" name="Group 492">
              <a:extLst>
                <a:ext uri="{FF2B5EF4-FFF2-40B4-BE49-F238E27FC236}">
                  <a16:creationId xmlns:a16="http://schemas.microsoft.com/office/drawing/2014/main" id="{38CC44FB-46DE-4091-B452-5B623D4D97AB}"/>
                </a:ext>
              </a:extLst>
            </p:cNvPr>
            <p:cNvGrpSpPr/>
            <p:nvPr/>
          </p:nvGrpSpPr>
          <p:grpSpPr>
            <a:xfrm>
              <a:off x="90338" y="2101266"/>
              <a:ext cx="311495" cy="311498"/>
              <a:chOff x="4083769" y="2552776"/>
              <a:chExt cx="529089" cy="529089"/>
            </a:xfrm>
          </p:grpSpPr>
          <p:sp>
            <p:nvSpPr>
              <p:cNvPr id="510" name="Oval 509">
                <a:extLst>
                  <a:ext uri="{FF2B5EF4-FFF2-40B4-BE49-F238E27FC236}">
                    <a16:creationId xmlns:a16="http://schemas.microsoft.com/office/drawing/2014/main" id="{86BF7743-8E81-4C83-BB1C-CF15B5F082F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1" name="Freeform: Shape 298">
                <a:extLst>
                  <a:ext uri="{FF2B5EF4-FFF2-40B4-BE49-F238E27FC236}">
                    <a16:creationId xmlns:a16="http://schemas.microsoft.com/office/drawing/2014/main" id="{51BAF8C3-4C48-4742-9AC8-16F184A6527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2" name="Freeform: Shape 299">
                <a:extLst>
                  <a:ext uri="{FF2B5EF4-FFF2-40B4-BE49-F238E27FC236}">
                    <a16:creationId xmlns:a16="http://schemas.microsoft.com/office/drawing/2014/main" id="{EC4554C2-C9CA-4FA2-8E22-F9E652A4A7E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3" name="Freeform: Shape 301">
                <a:extLst>
                  <a:ext uri="{FF2B5EF4-FFF2-40B4-BE49-F238E27FC236}">
                    <a16:creationId xmlns:a16="http://schemas.microsoft.com/office/drawing/2014/main" id="{D1C31465-1352-4135-9504-FD36D8B50A6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4" name="Freeform: Shape 302">
                <a:extLst>
                  <a:ext uri="{FF2B5EF4-FFF2-40B4-BE49-F238E27FC236}">
                    <a16:creationId xmlns:a16="http://schemas.microsoft.com/office/drawing/2014/main" id="{B67DFC21-E13F-4BE5-A3DD-BA325FFBAD3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95" name="TextBox 494">
              <a:extLst>
                <a:ext uri="{FF2B5EF4-FFF2-40B4-BE49-F238E27FC236}">
                  <a16:creationId xmlns:a16="http://schemas.microsoft.com/office/drawing/2014/main" id="{27020ADF-1418-4C6A-9E96-83E31307B123}"/>
                </a:ext>
              </a:extLst>
            </p:cNvPr>
            <p:cNvSpPr txBox="1"/>
            <p:nvPr/>
          </p:nvSpPr>
          <p:spPr>
            <a:xfrm>
              <a:off x="400160" y="2035180"/>
              <a:ext cx="1447832" cy="369332"/>
            </a:xfrm>
            <a:prstGeom prst="rect">
              <a:avLst/>
            </a:prstGeom>
            <a:noFill/>
          </p:spPr>
          <p:txBody>
            <a:bodyPr wrap="none" rtlCol="0">
              <a:spAutoFit/>
            </a:bodyPr>
            <a:lstStyle/>
            <a:p>
              <a:pPr defTabSz="457189"/>
              <a:r>
                <a:rPr lang="en-ZA" dirty="0">
                  <a:solidFill>
                    <a:srgbClr val="282828"/>
                  </a:solidFill>
                  <a:latin typeface="CiscoSansTT ExtraLight"/>
                </a:rPr>
                <a:t>Peering Site</a:t>
              </a:r>
            </a:p>
          </p:txBody>
        </p:sp>
        <p:grpSp>
          <p:nvGrpSpPr>
            <p:cNvPr id="497" name="Group 496">
              <a:extLst>
                <a:ext uri="{FF2B5EF4-FFF2-40B4-BE49-F238E27FC236}">
                  <a16:creationId xmlns:a16="http://schemas.microsoft.com/office/drawing/2014/main" id="{4ABF309B-4101-44CA-8D71-7CA897D922F5}"/>
                </a:ext>
              </a:extLst>
            </p:cNvPr>
            <p:cNvGrpSpPr/>
            <p:nvPr/>
          </p:nvGrpSpPr>
          <p:grpSpPr>
            <a:xfrm>
              <a:off x="90338" y="1655196"/>
              <a:ext cx="311495" cy="311498"/>
              <a:chOff x="4083769" y="2552776"/>
              <a:chExt cx="529089" cy="529089"/>
            </a:xfrm>
          </p:grpSpPr>
          <p:sp>
            <p:nvSpPr>
              <p:cNvPr id="501" name="Oval 500">
                <a:extLst>
                  <a:ext uri="{FF2B5EF4-FFF2-40B4-BE49-F238E27FC236}">
                    <a16:creationId xmlns:a16="http://schemas.microsoft.com/office/drawing/2014/main" id="{F0CC9B06-C193-44C1-A86E-A4B7BA015701}"/>
                  </a:ext>
                </a:extLst>
              </p:cNvPr>
              <p:cNvSpPr/>
              <p:nvPr/>
            </p:nvSpPr>
            <p:spPr>
              <a:xfrm>
                <a:off x="4083769" y="2552776"/>
                <a:ext cx="529089" cy="52908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03" name="Freeform: Shape 298">
                <a:extLst>
                  <a:ext uri="{FF2B5EF4-FFF2-40B4-BE49-F238E27FC236}">
                    <a16:creationId xmlns:a16="http://schemas.microsoft.com/office/drawing/2014/main" id="{4A3D967F-940D-4C70-B24C-4C9396D391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5" name="Freeform: Shape 299">
                <a:extLst>
                  <a:ext uri="{FF2B5EF4-FFF2-40B4-BE49-F238E27FC236}">
                    <a16:creationId xmlns:a16="http://schemas.microsoft.com/office/drawing/2014/main" id="{FCFDFEB4-6BE3-4E22-A1FB-F86D22D9CBB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7" name="Freeform: Shape 301">
                <a:extLst>
                  <a:ext uri="{FF2B5EF4-FFF2-40B4-BE49-F238E27FC236}">
                    <a16:creationId xmlns:a16="http://schemas.microsoft.com/office/drawing/2014/main" id="{D7C51814-F0BB-4BDA-AF90-C7F9494AF4E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9" name="Freeform: Shape 302">
                <a:extLst>
                  <a:ext uri="{FF2B5EF4-FFF2-40B4-BE49-F238E27FC236}">
                    <a16:creationId xmlns:a16="http://schemas.microsoft.com/office/drawing/2014/main" id="{2D0F89EB-D0A2-4768-BBF1-63978EC67C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99" name="TextBox 498">
              <a:extLst>
                <a:ext uri="{FF2B5EF4-FFF2-40B4-BE49-F238E27FC236}">
                  <a16:creationId xmlns:a16="http://schemas.microsoft.com/office/drawing/2014/main" id="{C3A781D8-CA65-441E-BE8A-A5AD7BE16DB8}"/>
                </a:ext>
              </a:extLst>
            </p:cNvPr>
            <p:cNvSpPr txBox="1"/>
            <p:nvPr/>
          </p:nvSpPr>
          <p:spPr>
            <a:xfrm>
              <a:off x="400160" y="1602596"/>
              <a:ext cx="1415772" cy="369332"/>
            </a:xfrm>
            <a:prstGeom prst="rect">
              <a:avLst/>
            </a:prstGeom>
            <a:noFill/>
          </p:spPr>
          <p:txBody>
            <a:bodyPr wrap="none" rtlCol="0">
              <a:spAutoFit/>
            </a:bodyPr>
            <a:lstStyle/>
            <a:p>
              <a:pPr defTabSz="457189"/>
              <a:r>
                <a:rPr lang="en-ZA" dirty="0">
                  <a:solidFill>
                    <a:srgbClr val="282828"/>
                  </a:solidFill>
                  <a:latin typeface="CiscoSansTT ExtraLight"/>
                </a:rPr>
                <a:t>Access Site</a:t>
              </a:r>
            </a:p>
          </p:txBody>
        </p:sp>
        <p:sp>
          <p:nvSpPr>
            <p:cNvPr id="571" name="TextBox 570">
              <a:extLst>
                <a:ext uri="{FF2B5EF4-FFF2-40B4-BE49-F238E27FC236}">
                  <a16:creationId xmlns:a16="http://schemas.microsoft.com/office/drawing/2014/main" id="{1B0CD030-716A-4244-925A-7BC86FAC3B4A}"/>
                </a:ext>
              </a:extLst>
            </p:cNvPr>
            <p:cNvSpPr txBox="1"/>
            <p:nvPr/>
          </p:nvSpPr>
          <p:spPr>
            <a:xfrm>
              <a:off x="400160" y="2467764"/>
              <a:ext cx="1412566" cy="369332"/>
            </a:xfrm>
            <a:prstGeom prst="rect">
              <a:avLst/>
            </a:prstGeom>
            <a:noFill/>
          </p:spPr>
          <p:txBody>
            <a:bodyPr wrap="none" rtlCol="0">
              <a:spAutoFit/>
            </a:bodyPr>
            <a:lstStyle/>
            <a:p>
              <a:pPr defTabSz="457189"/>
              <a:r>
                <a:rPr lang="en-ZA" dirty="0">
                  <a:solidFill>
                    <a:srgbClr val="282828"/>
                  </a:solidFill>
                  <a:latin typeface="CiscoSansTT ExtraLight"/>
                </a:rPr>
                <a:t>National DC</a:t>
              </a:r>
            </a:p>
          </p:txBody>
        </p:sp>
        <p:sp>
          <p:nvSpPr>
            <p:cNvPr id="661" name="TextBox 660">
              <a:extLst>
                <a:ext uri="{FF2B5EF4-FFF2-40B4-BE49-F238E27FC236}">
                  <a16:creationId xmlns:a16="http://schemas.microsoft.com/office/drawing/2014/main" id="{031A06BF-4DE3-400F-AF86-6795471F7AB0}"/>
                </a:ext>
              </a:extLst>
            </p:cNvPr>
            <p:cNvSpPr txBox="1"/>
            <p:nvPr/>
          </p:nvSpPr>
          <p:spPr>
            <a:xfrm>
              <a:off x="400160" y="2900348"/>
              <a:ext cx="1468672" cy="369332"/>
            </a:xfrm>
            <a:prstGeom prst="rect">
              <a:avLst/>
            </a:prstGeom>
            <a:noFill/>
          </p:spPr>
          <p:txBody>
            <a:bodyPr wrap="none" rtlCol="0">
              <a:spAutoFit/>
            </a:bodyPr>
            <a:lstStyle/>
            <a:p>
              <a:pPr defTabSz="457189"/>
              <a:r>
                <a:rPr lang="en-ZA" dirty="0">
                  <a:solidFill>
                    <a:srgbClr val="282828"/>
                  </a:solidFill>
                  <a:latin typeface="CiscoSansTT ExtraLight"/>
                </a:rPr>
                <a:t>Regional DC</a:t>
              </a:r>
            </a:p>
          </p:txBody>
        </p:sp>
        <p:sp>
          <p:nvSpPr>
            <p:cNvPr id="669" name="TextBox 668">
              <a:extLst>
                <a:ext uri="{FF2B5EF4-FFF2-40B4-BE49-F238E27FC236}">
                  <a16:creationId xmlns:a16="http://schemas.microsoft.com/office/drawing/2014/main" id="{1284EC5E-1B21-46A0-A3F5-8924E325E8E8}"/>
                </a:ext>
              </a:extLst>
            </p:cNvPr>
            <p:cNvSpPr txBox="1"/>
            <p:nvPr/>
          </p:nvSpPr>
          <p:spPr>
            <a:xfrm>
              <a:off x="400160" y="3332932"/>
              <a:ext cx="1067921" cy="369332"/>
            </a:xfrm>
            <a:prstGeom prst="rect">
              <a:avLst/>
            </a:prstGeom>
            <a:noFill/>
          </p:spPr>
          <p:txBody>
            <a:bodyPr wrap="none" rtlCol="0">
              <a:spAutoFit/>
            </a:bodyPr>
            <a:lstStyle/>
            <a:p>
              <a:pPr defTabSz="457189"/>
              <a:r>
                <a:rPr lang="en-ZA" dirty="0">
                  <a:solidFill>
                    <a:srgbClr val="282828"/>
                  </a:solidFill>
                  <a:latin typeface="CiscoSansTT ExtraLight"/>
                </a:rPr>
                <a:t>MEC DC</a:t>
              </a:r>
            </a:p>
          </p:txBody>
        </p:sp>
        <p:grpSp>
          <p:nvGrpSpPr>
            <p:cNvPr id="551" name="Group 550">
              <a:extLst>
                <a:ext uri="{FF2B5EF4-FFF2-40B4-BE49-F238E27FC236}">
                  <a16:creationId xmlns:a16="http://schemas.microsoft.com/office/drawing/2014/main" id="{B302BD92-C455-4EC0-9D47-47425AAFE98A}"/>
                </a:ext>
              </a:extLst>
            </p:cNvPr>
            <p:cNvGrpSpPr/>
            <p:nvPr/>
          </p:nvGrpSpPr>
          <p:grpSpPr>
            <a:xfrm>
              <a:off x="131974" y="2547336"/>
              <a:ext cx="228222" cy="280447"/>
              <a:chOff x="5491466" y="2617008"/>
              <a:chExt cx="228222" cy="409591"/>
            </a:xfrm>
          </p:grpSpPr>
          <p:sp>
            <p:nvSpPr>
              <p:cNvPr id="552" name="Freeform 195">
                <a:extLst>
                  <a:ext uri="{FF2B5EF4-FFF2-40B4-BE49-F238E27FC236}">
                    <a16:creationId xmlns:a16="http://schemas.microsoft.com/office/drawing/2014/main" id="{431191C4-5E0E-4B94-9C81-E3DFE355100C}"/>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3">
                  <a:lumMod val="75000"/>
                </a:schemeClr>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3" name="Line 196">
                <a:extLst>
                  <a:ext uri="{FF2B5EF4-FFF2-40B4-BE49-F238E27FC236}">
                    <a16:creationId xmlns:a16="http://schemas.microsoft.com/office/drawing/2014/main" id="{90403EF2-FBA9-46E7-BE6A-F9491FF4CE85}"/>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4" name="Line 197">
                <a:extLst>
                  <a:ext uri="{FF2B5EF4-FFF2-40B4-BE49-F238E27FC236}">
                    <a16:creationId xmlns:a16="http://schemas.microsoft.com/office/drawing/2014/main" id="{4519C7D8-00F2-4BEB-A3B3-4A86F5101550}"/>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8" name="Line 198">
                <a:extLst>
                  <a:ext uri="{FF2B5EF4-FFF2-40B4-BE49-F238E27FC236}">
                    <a16:creationId xmlns:a16="http://schemas.microsoft.com/office/drawing/2014/main" id="{5DEF0343-D676-4040-9D79-AEF059A6A97E}"/>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9" name="Line 199">
                <a:extLst>
                  <a:ext uri="{FF2B5EF4-FFF2-40B4-BE49-F238E27FC236}">
                    <a16:creationId xmlns:a16="http://schemas.microsoft.com/office/drawing/2014/main" id="{06565683-2A9A-49CD-B58B-C5F59D9EFBB9}"/>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70" name="Line 200">
                <a:extLst>
                  <a:ext uri="{FF2B5EF4-FFF2-40B4-BE49-F238E27FC236}">
                    <a16:creationId xmlns:a16="http://schemas.microsoft.com/office/drawing/2014/main" id="{CFBD7323-A83D-4FDB-A252-477574B5E37A}"/>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654" name="Group 653">
              <a:extLst>
                <a:ext uri="{FF2B5EF4-FFF2-40B4-BE49-F238E27FC236}">
                  <a16:creationId xmlns:a16="http://schemas.microsoft.com/office/drawing/2014/main" id="{96433158-9039-48EB-B67E-824772856732}"/>
                </a:ext>
              </a:extLst>
            </p:cNvPr>
            <p:cNvGrpSpPr/>
            <p:nvPr/>
          </p:nvGrpSpPr>
          <p:grpSpPr>
            <a:xfrm>
              <a:off x="131974" y="2962355"/>
              <a:ext cx="228222" cy="280447"/>
              <a:chOff x="5491466" y="2617008"/>
              <a:chExt cx="228222" cy="409591"/>
            </a:xfrm>
          </p:grpSpPr>
          <p:sp>
            <p:nvSpPr>
              <p:cNvPr id="655" name="Freeform 195">
                <a:extLst>
                  <a:ext uri="{FF2B5EF4-FFF2-40B4-BE49-F238E27FC236}">
                    <a16:creationId xmlns:a16="http://schemas.microsoft.com/office/drawing/2014/main" id="{23D7BBC9-E928-4683-9FC5-16D1783C7FED}"/>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6" name="Line 196">
                <a:extLst>
                  <a:ext uri="{FF2B5EF4-FFF2-40B4-BE49-F238E27FC236}">
                    <a16:creationId xmlns:a16="http://schemas.microsoft.com/office/drawing/2014/main" id="{23C47C98-1E0F-43FF-A998-516DC42515B1}"/>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7" name="Line 197">
                <a:extLst>
                  <a:ext uri="{FF2B5EF4-FFF2-40B4-BE49-F238E27FC236}">
                    <a16:creationId xmlns:a16="http://schemas.microsoft.com/office/drawing/2014/main" id="{DB462424-2311-4443-BBFE-2B86563491D6}"/>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8" name="Line 198">
                <a:extLst>
                  <a:ext uri="{FF2B5EF4-FFF2-40B4-BE49-F238E27FC236}">
                    <a16:creationId xmlns:a16="http://schemas.microsoft.com/office/drawing/2014/main" id="{5FAB82D8-5C2B-4A4F-BB00-431CFFDA754D}"/>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9" name="Line 199">
                <a:extLst>
                  <a:ext uri="{FF2B5EF4-FFF2-40B4-BE49-F238E27FC236}">
                    <a16:creationId xmlns:a16="http://schemas.microsoft.com/office/drawing/2014/main" id="{AD6B7021-A22D-4E99-A737-61276488918C}"/>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0" name="Line 200">
                <a:extLst>
                  <a:ext uri="{FF2B5EF4-FFF2-40B4-BE49-F238E27FC236}">
                    <a16:creationId xmlns:a16="http://schemas.microsoft.com/office/drawing/2014/main" id="{A3331860-934B-4D0C-809F-BD7E8853D447}"/>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662" name="Group 661">
              <a:extLst>
                <a:ext uri="{FF2B5EF4-FFF2-40B4-BE49-F238E27FC236}">
                  <a16:creationId xmlns:a16="http://schemas.microsoft.com/office/drawing/2014/main" id="{770DE473-F714-49FE-9D95-E9F39DB68543}"/>
                </a:ext>
              </a:extLst>
            </p:cNvPr>
            <p:cNvGrpSpPr/>
            <p:nvPr/>
          </p:nvGrpSpPr>
          <p:grpSpPr>
            <a:xfrm>
              <a:off x="131974" y="3377375"/>
              <a:ext cx="228222" cy="280447"/>
              <a:chOff x="5491466" y="2617008"/>
              <a:chExt cx="228222" cy="409591"/>
            </a:xfrm>
          </p:grpSpPr>
          <p:sp>
            <p:nvSpPr>
              <p:cNvPr id="663" name="Freeform 195">
                <a:extLst>
                  <a:ext uri="{FF2B5EF4-FFF2-40B4-BE49-F238E27FC236}">
                    <a16:creationId xmlns:a16="http://schemas.microsoft.com/office/drawing/2014/main" id="{4D056C23-0BC2-48A6-9F84-57522E624C55}"/>
                  </a:ext>
                </a:extLst>
              </p:cNvPr>
              <p:cNvSpPr>
                <a:spLocks/>
              </p:cNvSpPr>
              <p:nvPr/>
            </p:nvSpPr>
            <p:spPr bwMode="auto">
              <a:xfrm>
                <a:off x="5491466" y="2617008"/>
                <a:ext cx="228222" cy="40959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4" name="Line 196">
                <a:extLst>
                  <a:ext uri="{FF2B5EF4-FFF2-40B4-BE49-F238E27FC236}">
                    <a16:creationId xmlns:a16="http://schemas.microsoft.com/office/drawing/2014/main" id="{A3B5E959-BD46-42D2-A6EA-BDC11333DE57}"/>
                  </a:ext>
                </a:extLst>
              </p:cNvPr>
              <p:cNvSpPr>
                <a:spLocks noChangeShapeType="1"/>
              </p:cNvSpPr>
              <p:nvPr/>
            </p:nvSpPr>
            <p:spPr bwMode="auto">
              <a:xfrm>
                <a:off x="5548899" y="268351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5" name="Line 197">
                <a:extLst>
                  <a:ext uri="{FF2B5EF4-FFF2-40B4-BE49-F238E27FC236}">
                    <a16:creationId xmlns:a16="http://schemas.microsoft.com/office/drawing/2014/main" id="{72A69D11-5FF5-4C2C-A741-79911F09AD41}"/>
                  </a:ext>
                </a:extLst>
              </p:cNvPr>
              <p:cNvSpPr>
                <a:spLocks noChangeShapeType="1"/>
              </p:cNvSpPr>
              <p:nvPr/>
            </p:nvSpPr>
            <p:spPr bwMode="auto">
              <a:xfrm>
                <a:off x="5548899" y="2748500"/>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6" name="Line 198">
                <a:extLst>
                  <a:ext uri="{FF2B5EF4-FFF2-40B4-BE49-F238E27FC236}">
                    <a16:creationId xmlns:a16="http://schemas.microsoft.com/office/drawing/2014/main" id="{AA206A69-AD4B-4291-B46F-26619CFC44CF}"/>
                  </a:ext>
                </a:extLst>
              </p:cNvPr>
              <p:cNvSpPr>
                <a:spLocks noChangeShapeType="1"/>
              </p:cNvSpPr>
              <p:nvPr/>
            </p:nvSpPr>
            <p:spPr bwMode="auto">
              <a:xfrm>
                <a:off x="5548899" y="2816514"/>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7" name="Line 199">
                <a:extLst>
                  <a:ext uri="{FF2B5EF4-FFF2-40B4-BE49-F238E27FC236}">
                    <a16:creationId xmlns:a16="http://schemas.microsoft.com/office/drawing/2014/main" id="{AA31B6DD-80B5-4A37-937C-599DF10378EC}"/>
                  </a:ext>
                </a:extLst>
              </p:cNvPr>
              <p:cNvSpPr>
                <a:spLocks noChangeShapeType="1"/>
              </p:cNvSpPr>
              <p:nvPr/>
            </p:nvSpPr>
            <p:spPr bwMode="auto">
              <a:xfrm>
                <a:off x="5548899" y="2883015"/>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8" name="Line 200">
                <a:extLst>
                  <a:ext uri="{FF2B5EF4-FFF2-40B4-BE49-F238E27FC236}">
                    <a16:creationId xmlns:a16="http://schemas.microsoft.com/office/drawing/2014/main" id="{CDE98A59-322A-4FA1-81BA-77A27CC9E72D}"/>
                  </a:ext>
                </a:extLst>
              </p:cNvPr>
              <p:cNvSpPr>
                <a:spLocks noChangeShapeType="1"/>
              </p:cNvSpPr>
              <p:nvPr/>
            </p:nvSpPr>
            <p:spPr bwMode="auto">
              <a:xfrm>
                <a:off x="5548899" y="2949517"/>
                <a:ext cx="113355" cy="0"/>
              </a:xfrm>
              <a:prstGeom prst="line">
                <a:avLst/>
              </a:prstGeom>
              <a:noFill/>
              <a:ln w="20638"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Tree>
    <p:extLst>
      <p:ext uri="{BB962C8B-B14F-4D97-AF65-F5344CB8AC3E}">
        <p14:creationId xmlns:p14="http://schemas.microsoft.com/office/powerpoint/2010/main" val="3840590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BD63E-60A8-4A16-A1AE-5FAA04E66064}"/>
              </a:ext>
            </a:extLst>
          </p:cNvPr>
          <p:cNvSpPr>
            <a:spLocks noGrp="1"/>
          </p:cNvSpPr>
          <p:nvPr>
            <p:ph type="title"/>
          </p:nvPr>
        </p:nvSpPr>
        <p:spPr/>
        <p:txBody>
          <a:bodyPr/>
          <a:lstStyle/>
          <a:p>
            <a:r>
              <a:rPr lang="en-ZA" dirty="0"/>
              <a:t>Access Sample</a:t>
            </a:r>
            <a:endParaRPr lang="en-GB" dirty="0"/>
          </a:p>
        </p:txBody>
      </p:sp>
      <p:sp>
        <p:nvSpPr>
          <p:cNvPr id="3" name="Content Placeholder 2">
            <a:extLst>
              <a:ext uri="{FF2B5EF4-FFF2-40B4-BE49-F238E27FC236}">
                <a16:creationId xmlns:a16="http://schemas.microsoft.com/office/drawing/2014/main" id="{18BE2B6E-9921-4941-823B-261CA04D02D8}"/>
              </a:ext>
            </a:extLst>
          </p:cNvPr>
          <p:cNvSpPr>
            <a:spLocks noGrp="1"/>
          </p:cNvSpPr>
          <p:nvPr>
            <p:ph sz="quarter" idx="11"/>
          </p:nvPr>
        </p:nvSpPr>
        <p:spPr/>
        <p:txBody>
          <a:bodyPr/>
          <a:lstStyle/>
          <a:p>
            <a:r>
              <a:rPr lang="en-ZA" dirty="0"/>
              <a:t>Access Sites are NCS-540, model differs depending on the size of site.</a:t>
            </a:r>
          </a:p>
          <a:p>
            <a:r>
              <a:rPr lang="en-ZA" dirty="0"/>
              <a:t>NCS have CPRI and </a:t>
            </a:r>
            <a:r>
              <a:rPr lang="en-ZA" dirty="0" err="1"/>
              <a:t>eCPRI</a:t>
            </a:r>
            <a:r>
              <a:rPr lang="en-ZA" dirty="0"/>
              <a:t> support for the connectivity and management of the radio.</a:t>
            </a:r>
          </a:p>
          <a:p>
            <a:r>
              <a:rPr lang="en-ZA" dirty="0"/>
              <a:t>NCS also support via DCO the direct transmission over dark fibre to the aggregation sites. </a:t>
            </a:r>
          </a:p>
          <a:p>
            <a:pPr lvl="1"/>
            <a:r>
              <a:rPr lang="en-ZA" dirty="0"/>
              <a:t>Range of transmission is 80km without amplification</a:t>
            </a:r>
          </a:p>
          <a:p>
            <a:r>
              <a:rPr lang="en-ZA" dirty="0"/>
              <a:t>IP to the Edge allows for additional services like SR-TE and SR-V6 which can optimise path use and service management.</a:t>
            </a:r>
          </a:p>
          <a:p>
            <a:pPr lvl="1"/>
            <a:r>
              <a:rPr lang="en-ZA" dirty="0"/>
              <a:t>Enterprise connectivity into Access/Aggregation sites is also possible with path independence for different services</a:t>
            </a:r>
          </a:p>
          <a:p>
            <a:endParaRPr lang="en-ZA" dirty="0"/>
          </a:p>
          <a:p>
            <a:pPr marL="0" indent="0">
              <a:buNone/>
            </a:pPr>
            <a:endParaRPr lang="en-ZA" dirty="0"/>
          </a:p>
        </p:txBody>
      </p:sp>
    </p:spTree>
    <p:extLst>
      <p:ext uri="{BB962C8B-B14F-4D97-AF65-F5344CB8AC3E}">
        <p14:creationId xmlns:p14="http://schemas.microsoft.com/office/powerpoint/2010/main" val="44306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A89232E0-D7FF-4EF9-AEF8-550FBE4F33D1}"/>
              </a:ext>
            </a:extLst>
          </p:cNvPr>
          <p:cNvGrpSpPr/>
          <p:nvPr/>
        </p:nvGrpSpPr>
        <p:grpSpPr>
          <a:xfrm>
            <a:off x="1" y="69901"/>
            <a:ext cx="9144000" cy="5073599"/>
            <a:chOff x="1" y="69901"/>
            <a:chExt cx="9144000" cy="5073599"/>
          </a:xfrm>
        </p:grpSpPr>
        <p:sp>
          <p:nvSpPr>
            <p:cNvPr id="3" name="Rectangle 2">
              <a:extLst>
                <a:ext uri="{FF2B5EF4-FFF2-40B4-BE49-F238E27FC236}">
                  <a16:creationId xmlns:a16="http://schemas.microsoft.com/office/drawing/2014/main" id="{C84E273C-1082-48EC-9379-806F8D312CA8}"/>
                </a:ext>
              </a:extLst>
            </p:cNvPr>
            <p:cNvSpPr/>
            <p:nvPr/>
          </p:nvSpPr>
          <p:spPr>
            <a:xfrm>
              <a:off x="6133371" y="2633596"/>
              <a:ext cx="2385288" cy="861774"/>
            </a:xfrm>
            <a:prstGeom prst="rect">
              <a:avLst/>
            </a:prstGeom>
          </p:spPr>
          <p:txBody>
            <a:bodyPr wrap="square">
              <a:spAutoFit/>
            </a:bodyPr>
            <a:lstStyle/>
            <a:p>
              <a:pPr>
                <a:spcBef>
                  <a:spcPts val="0"/>
                </a:spcBef>
                <a:spcAft>
                  <a:spcPts val="225"/>
                </a:spcAft>
              </a:pPr>
              <a:r>
                <a:rPr lang="en-ZA" sz="300" dirty="0"/>
                <a:t>●</a:t>
              </a:r>
              <a:r>
                <a:rPr lang="en-ZA" sz="300" dirty="0">
                  <a:latin typeface="Times New Roman" panose="02020603050405020304" pitchFamily="18" charset="0"/>
                </a:rPr>
                <a:t>   </a:t>
              </a:r>
              <a:r>
                <a:rPr lang="en-ZA" sz="900" dirty="0"/>
                <a:t>200-Gbps 16-QAM up to 1000 km.</a:t>
              </a:r>
            </a:p>
            <a:p>
              <a:pPr>
                <a:spcBef>
                  <a:spcPts val="0"/>
                </a:spcBef>
                <a:spcAft>
                  <a:spcPts val="225"/>
                </a:spcAft>
              </a:pPr>
              <a:r>
                <a:rPr lang="en-ZA" sz="300" dirty="0"/>
                <a:t>●</a:t>
              </a:r>
              <a:r>
                <a:rPr lang="en-ZA" sz="300" dirty="0">
                  <a:latin typeface="Times New Roman" panose="02020603050405020304" pitchFamily="18" charset="0"/>
                </a:rPr>
                <a:t>   </a:t>
              </a:r>
              <a:r>
                <a:rPr lang="en-ZA" sz="900" dirty="0"/>
                <a:t>150-Gbps 8-QAM up to 1800 km.</a:t>
              </a:r>
            </a:p>
            <a:p>
              <a:pPr>
                <a:spcBef>
                  <a:spcPts val="0"/>
                </a:spcBef>
                <a:spcAft>
                  <a:spcPts val="225"/>
                </a:spcAft>
              </a:pPr>
              <a:r>
                <a:rPr lang="en-ZA" sz="300" dirty="0"/>
                <a:t>●</a:t>
              </a:r>
              <a:r>
                <a:rPr lang="en-ZA" sz="300" dirty="0">
                  <a:latin typeface="Times New Roman" panose="02020603050405020304" pitchFamily="18" charset="0"/>
                </a:rPr>
                <a:t>   </a:t>
              </a:r>
              <a:r>
                <a:rPr lang="en-ZA" sz="900" dirty="0"/>
                <a:t>100-Gbps CP-QPSK up to 4200 km.</a:t>
              </a:r>
            </a:p>
            <a:p>
              <a:pPr>
                <a:spcBef>
                  <a:spcPts val="0"/>
                </a:spcBef>
                <a:spcAft>
                  <a:spcPts val="225"/>
                </a:spcAft>
              </a:pPr>
              <a:r>
                <a:rPr lang="en-ZA" sz="900" dirty="0"/>
                <a:t>With 6 Interfaces per card, software configurable.</a:t>
              </a:r>
            </a:p>
          </p:txBody>
        </p:sp>
        <p:grpSp>
          <p:nvGrpSpPr>
            <p:cNvPr id="19" name="Group 18">
              <a:extLst>
                <a:ext uri="{FF2B5EF4-FFF2-40B4-BE49-F238E27FC236}">
                  <a16:creationId xmlns:a16="http://schemas.microsoft.com/office/drawing/2014/main" id="{52AECBED-9C25-4F0B-9F58-B51229656DFE}"/>
                </a:ext>
              </a:extLst>
            </p:cNvPr>
            <p:cNvGrpSpPr/>
            <p:nvPr/>
          </p:nvGrpSpPr>
          <p:grpSpPr>
            <a:xfrm>
              <a:off x="1" y="69901"/>
              <a:ext cx="9144000" cy="5073599"/>
              <a:chOff x="1" y="69901"/>
              <a:chExt cx="9144000" cy="5073599"/>
            </a:xfrm>
          </p:grpSpPr>
          <p:grpSp>
            <p:nvGrpSpPr>
              <p:cNvPr id="233" name="Group 232">
                <a:extLst>
                  <a:ext uri="{FF2B5EF4-FFF2-40B4-BE49-F238E27FC236}">
                    <a16:creationId xmlns:a16="http://schemas.microsoft.com/office/drawing/2014/main" id="{C889D12A-D4D8-49A9-B663-0DFC4A912605}"/>
                  </a:ext>
                </a:extLst>
              </p:cNvPr>
              <p:cNvGrpSpPr/>
              <p:nvPr/>
            </p:nvGrpSpPr>
            <p:grpSpPr>
              <a:xfrm>
                <a:off x="7623926" y="1604878"/>
                <a:ext cx="1425903" cy="1038878"/>
                <a:chOff x="9288546" y="2953824"/>
                <a:chExt cx="2603076" cy="1896639"/>
              </a:xfrm>
            </p:grpSpPr>
            <p:cxnSp>
              <p:nvCxnSpPr>
                <p:cNvPr id="236" name="Straight Connector 235">
                  <a:extLst>
                    <a:ext uri="{FF2B5EF4-FFF2-40B4-BE49-F238E27FC236}">
                      <a16:creationId xmlns:a16="http://schemas.microsoft.com/office/drawing/2014/main" id="{596FA925-44C5-4768-BA2D-83DBC445445A}"/>
                    </a:ext>
                  </a:extLst>
                </p:cNvPr>
                <p:cNvCxnSpPr>
                  <a:cxnSpLocks/>
                </p:cNvCxnSpPr>
                <p:nvPr/>
              </p:nvCxnSpPr>
              <p:spPr>
                <a:xfrm flipH="1" flipV="1">
                  <a:off x="10843382" y="4357071"/>
                  <a:ext cx="10298" cy="493392"/>
                </a:xfrm>
                <a:prstGeom prst="line">
                  <a:avLst/>
                </a:prstGeom>
                <a:noFill/>
                <a:ln w="22225" cap="rnd" cmpd="sng" algn="ctr">
                  <a:solidFill>
                    <a:srgbClr val="005073"/>
                  </a:solidFill>
                  <a:prstDash val="solid"/>
                </a:ln>
                <a:effectLst/>
              </p:spPr>
            </p:cxnSp>
            <p:sp>
              <p:nvSpPr>
                <p:cNvPr id="237" name="Freeform 48">
                  <a:extLst>
                    <a:ext uri="{FF2B5EF4-FFF2-40B4-BE49-F238E27FC236}">
                      <a16:creationId xmlns:a16="http://schemas.microsoft.com/office/drawing/2014/main" id="{362FFDDF-5AA9-41E9-AECE-D200FF5D9B0E}"/>
                    </a:ext>
                  </a:extLst>
                </p:cNvPr>
                <p:cNvSpPr>
                  <a:spLocks/>
                </p:cNvSpPr>
                <p:nvPr/>
              </p:nvSpPr>
              <p:spPr bwMode="auto">
                <a:xfrm>
                  <a:off x="9288546" y="2953824"/>
                  <a:ext cx="2603076" cy="1382597"/>
                </a:xfrm>
                <a:custGeom>
                  <a:avLst/>
                  <a:gdLst>
                    <a:gd name="T0" fmla="*/ 361 w 432"/>
                    <a:gd name="T1" fmla="*/ 121 h 268"/>
                    <a:gd name="T2" fmla="*/ 364 w 432"/>
                    <a:gd name="T3" fmla="*/ 96 h 268"/>
                    <a:gd name="T4" fmla="*/ 268 w 432"/>
                    <a:gd name="T5" fmla="*/ 0 h 268"/>
                    <a:gd name="T6" fmla="*/ 175 w 432"/>
                    <a:gd name="T7" fmla="*/ 71 h 268"/>
                    <a:gd name="T8" fmla="*/ 138 w 432"/>
                    <a:gd name="T9" fmla="*/ 62 h 268"/>
                    <a:gd name="T10" fmla="*/ 54 w 432"/>
                    <a:gd name="T11" fmla="*/ 146 h 268"/>
                    <a:gd name="T12" fmla="*/ 55 w 432"/>
                    <a:gd name="T13" fmla="*/ 156 h 268"/>
                    <a:gd name="T14" fmla="*/ 54 w 432"/>
                    <a:gd name="T15" fmla="*/ 156 h 268"/>
                    <a:gd name="T16" fmla="*/ 0 w 432"/>
                    <a:gd name="T17" fmla="*/ 212 h 268"/>
                    <a:gd name="T18" fmla="*/ 54 w 432"/>
                    <a:gd name="T19" fmla="*/ 268 h 268"/>
                    <a:gd name="T20" fmla="*/ 360 w 432"/>
                    <a:gd name="T21" fmla="*/ 268 h 268"/>
                    <a:gd name="T22" fmla="*/ 432 w 432"/>
                    <a:gd name="T23" fmla="*/ 194 h 268"/>
                    <a:gd name="T24" fmla="*/ 361 w 432"/>
                    <a:gd name="T25" fmla="*/ 1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268">
                      <a:moveTo>
                        <a:pt x="361" y="121"/>
                      </a:moveTo>
                      <a:cubicBezTo>
                        <a:pt x="363" y="113"/>
                        <a:pt x="364" y="104"/>
                        <a:pt x="364" y="96"/>
                      </a:cubicBezTo>
                      <a:cubicBezTo>
                        <a:pt x="364" y="43"/>
                        <a:pt x="321" y="0"/>
                        <a:pt x="268" y="0"/>
                      </a:cubicBezTo>
                      <a:cubicBezTo>
                        <a:pt x="224" y="0"/>
                        <a:pt x="186" y="30"/>
                        <a:pt x="175" y="71"/>
                      </a:cubicBezTo>
                      <a:cubicBezTo>
                        <a:pt x="164" y="65"/>
                        <a:pt x="151" y="62"/>
                        <a:pt x="138" y="62"/>
                      </a:cubicBezTo>
                      <a:cubicBezTo>
                        <a:pt x="92" y="62"/>
                        <a:pt x="54" y="100"/>
                        <a:pt x="54" y="146"/>
                      </a:cubicBezTo>
                      <a:cubicBezTo>
                        <a:pt x="54" y="149"/>
                        <a:pt x="54" y="153"/>
                        <a:pt x="55" y="156"/>
                      </a:cubicBezTo>
                      <a:cubicBezTo>
                        <a:pt x="54" y="156"/>
                        <a:pt x="54" y="156"/>
                        <a:pt x="54" y="156"/>
                      </a:cubicBezTo>
                      <a:cubicBezTo>
                        <a:pt x="24" y="156"/>
                        <a:pt x="0" y="182"/>
                        <a:pt x="0" y="212"/>
                      </a:cubicBezTo>
                      <a:cubicBezTo>
                        <a:pt x="0" y="242"/>
                        <a:pt x="24" y="268"/>
                        <a:pt x="54" y="268"/>
                      </a:cubicBezTo>
                      <a:cubicBezTo>
                        <a:pt x="360" y="268"/>
                        <a:pt x="360" y="268"/>
                        <a:pt x="360" y="268"/>
                      </a:cubicBezTo>
                      <a:cubicBezTo>
                        <a:pt x="400" y="268"/>
                        <a:pt x="432" y="234"/>
                        <a:pt x="432" y="194"/>
                      </a:cubicBezTo>
                      <a:cubicBezTo>
                        <a:pt x="432" y="155"/>
                        <a:pt x="400" y="121"/>
                        <a:pt x="361" y="121"/>
                      </a:cubicBezTo>
                      <a:close/>
                    </a:path>
                  </a:pathLst>
                </a:custGeom>
                <a:solidFill>
                  <a:schemeClr val="bg2"/>
                </a:solidFill>
                <a:ln w="25400" cap="flat" cmpd="sng" algn="ctr">
                  <a:solidFill>
                    <a:srgbClr val="00BCEB"/>
                  </a:solidFill>
                  <a:prstDash val="solid"/>
                </a:ln>
                <a:effectLst/>
              </p:spPr>
              <p:txBody>
                <a:bodyPr lIns="91400" tIns="45700" rIns="91400" bIns="45700" rtlCol="0" anchor="ctr"/>
                <a:lstStyle/>
                <a:p>
                  <a:pPr algn="ctr" defTabSz="912395">
                    <a:defRPr/>
                  </a:pPr>
                  <a:endParaRPr lang="en-US" sz="2400" kern="0">
                    <a:solidFill>
                      <a:srgbClr val="FFFFFF"/>
                    </a:solidFill>
                  </a:endParaRPr>
                </a:p>
              </p:txBody>
            </p:sp>
            <p:sp>
              <p:nvSpPr>
                <p:cNvPr id="238" name="TextBox 237">
                  <a:extLst>
                    <a:ext uri="{FF2B5EF4-FFF2-40B4-BE49-F238E27FC236}">
                      <a16:creationId xmlns:a16="http://schemas.microsoft.com/office/drawing/2014/main" id="{1850A380-F7AE-4D02-A62B-6934DEF7D9A7}"/>
                    </a:ext>
                  </a:extLst>
                </p:cNvPr>
                <p:cNvSpPr txBox="1"/>
                <p:nvPr/>
              </p:nvSpPr>
              <p:spPr>
                <a:xfrm>
                  <a:off x="10471962" y="3287834"/>
                  <a:ext cx="1390692" cy="421421"/>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ACI Fabric</a:t>
                  </a:r>
                </a:p>
              </p:txBody>
            </p:sp>
            <p:grpSp>
              <p:nvGrpSpPr>
                <p:cNvPr id="240" name="Group 194">
                  <a:extLst>
                    <a:ext uri="{FF2B5EF4-FFF2-40B4-BE49-F238E27FC236}">
                      <a16:creationId xmlns:a16="http://schemas.microsoft.com/office/drawing/2014/main" id="{4E2DACD8-8888-4D2F-9BA9-B337CA329606}"/>
                    </a:ext>
                  </a:extLst>
                </p:cNvPr>
                <p:cNvGrpSpPr>
                  <a:grpSpLocks noChangeAspect="1"/>
                </p:cNvGrpSpPr>
                <p:nvPr/>
              </p:nvGrpSpPr>
              <p:grpSpPr bwMode="auto">
                <a:xfrm>
                  <a:off x="10417135" y="3578370"/>
                  <a:ext cx="1204814" cy="664662"/>
                  <a:chOff x="336" y="1362"/>
                  <a:chExt cx="658" cy="363"/>
                </a:xfrm>
              </p:grpSpPr>
              <p:sp>
                <p:nvSpPr>
                  <p:cNvPr id="242" name="Freeform 195">
                    <a:extLst>
                      <a:ext uri="{FF2B5EF4-FFF2-40B4-BE49-F238E27FC236}">
                        <a16:creationId xmlns:a16="http://schemas.microsoft.com/office/drawing/2014/main" id="{A3B9B9F5-9FFD-4E8F-B766-DF42630807F2}"/>
                      </a:ext>
                    </a:extLst>
                  </p:cNvPr>
                  <p:cNvSpPr>
                    <a:spLocks/>
                  </p:cNvSpPr>
                  <p:nvPr/>
                </p:nvSpPr>
                <p:spPr bwMode="auto">
                  <a:xfrm>
                    <a:off x="505" y="1416"/>
                    <a:ext cx="151" cy="27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43" name="Line 196">
                    <a:extLst>
                      <a:ext uri="{FF2B5EF4-FFF2-40B4-BE49-F238E27FC236}">
                        <a16:creationId xmlns:a16="http://schemas.microsoft.com/office/drawing/2014/main" id="{F1230C1F-88AF-4568-8A9B-321FF80BB67C}"/>
                      </a:ext>
                    </a:extLst>
                  </p:cNvPr>
                  <p:cNvSpPr>
                    <a:spLocks noChangeShapeType="1"/>
                  </p:cNvSpPr>
                  <p:nvPr/>
                </p:nvSpPr>
                <p:spPr bwMode="auto">
                  <a:xfrm>
                    <a:off x="543" y="1460"/>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44" name="Line 197">
                    <a:extLst>
                      <a:ext uri="{FF2B5EF4-FFF2-40B4-BE49-F238E27FC236}">
                        <a16:creationId xmlns:a16="http://schemas.microsoft.com/office/drawing/2014/main" id="{59A01BCC-C39E-4613-B298-3640256477A8}"/>
                      </a:ext>
                    </a:extLst>
                  </p:cNvPr>
                  <p:cNvSpPr>
                    <a:spLocks noChangeShapeType="1"/>
                  </p:cNvSpPr>
                  <p:nvPr/>
                </p:nvSpPr>
                <p:spPr bwMode="auto">
                  <a:xfrm>
                    <a:off x="543" y="1503"/>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45" name="Line 198">
                    <a:extLst>
                      <a:ext uri="{FF2B5EF4-FFF2-40B4-BE49-F238E27FC236}">
                        <a16:creationId xmlns:a16="http://schemas.microsoft.com/office/drawing/2014/main" id="{51A265A2-6031-461C-A8AF-510A73D5D233}"/>
                      </a:ext>
                    </a:extLst>
                  </p:cNvPr>
                  <p:cNvSpPr>
                    <a:spLocks noChangeShapeType="1"/>
                  </p:cNvSpPr>
                  <p:nvPr/>
                </p:nvSpPr>
                <p:spPr bwMode="auto">
                  <a:xfrm>
                    <a:off x="543" y="1548"/>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46" name="Line 199">
                    <a:extLst>
                      <a:ext uri="{FF2B5EF4-FFF2-40B4-BE49-F238E27FC236}">
                        <a16:creationId xmlns:a16="http://schemas.microsoft.com/office/drawing/2014/main" id="{30899BD8-91AC-4205-B0BE-3A880979C21F}"/>
                      </a:ext>
                    </a:extLst>
                  </p:cNvPr>
                  <p:cNvSpPr>
                    <a:spLocks noChangeShapeType="1"/>
                  </p:cNvSpPr>
                  <p:nvPr/>
                </p:nvSpPr>
                <p:spPr bwMode="auto">
                  <a:xfrm>
                    <a:off x="543" y="1592"/>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47" name="Line 200">
                    <a:extLst>
                      <a:ext uri="{FF2B5EF4-FFF2-40B4-BE49-F238E27FC236}">
                        <a16:creationId xmlns:a16="http://schemas.microsoft.com/office/drawing/2014/main" id="{933B9066-D284-4BF7-9A1D-57926AB33111}"/>
                      </a:ext>
                    </a:extLst>
                  </p:cNvPr>
                  <p:cNvSpPr>
                    <a:spLocks noChangeShapeType="1"/>
                  </p:cNvSpPr>
                  <p:nvPr/>
                </p:nvSpPr>
                <p:spPr bwMode="auto">
                  <a:xfrm>
                    <a:off x="543" y="1636"/>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48" name="Freeform 201">
                    <a:extLst>
                      <a:ext uri="{FF2B5EF4-FFF2-40B4-BE49-F238E27FC236}">
                        <a16:creationId xmlns:a16="http://schemas.microsoft.com/office/drawing/2014/main" id="{4772E6D7-AC71-489A-992F-E3A8C74079A2}"/>
                      </a:ext>
                    </a:extLst>
                  </p:cNvPr>
                  <p:cNvSpPr>
                    <a:spLocks/>
                  </p:cNvSpPr>
                  <p:nvPr/>
                </p:nvSpPr>
                <p:spPr bwMode="auto">
                  <a:xfrm>
                    <a:off x="675" y="1362"/>
                    <a:ext cx="150" cy="363"/>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49" name="Line 202">
                    <a:extLst>
                      <a:ext uri="{FF2B5EF4-FFF2-40B4-BE49-F238E27FC236}">
                        <a16:creationId xmlns:a16="http://schemas.microsoft.com/office/drawing/2014/main" id="{2D03739D-BB0E-4F14-B346-8455EF1D7696}"/>
                      </a:ext>
                    </a:extLst>
                  </p:cNvPr>
                  <p:cNvSpPr>
                    <a:spLocks noChangeShapeType="1"/>
                  </p:cNvSpPr>
                  <p:nvPr/>
                </p:nvSpPr>
                <p:spPr bwMode="auto">
                  <a:xfrm>
                    <a:off x="712" y="1406"/>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0" name="Line 203">
                    <a:extLst>
                      <a:ext uri="{FF2B5EF4-FFF2-40B4-BE49-F238E27FC236}">
                        <a16:creationId xmlns:a16="http://schemas.microsoft.com/office/drawing/2014/main" id="{3FF50700-91AA-43F1-A366-E3EC255C6BC2}"/>
                      </a:ext>
                    </a:extLst>
                  </p:cNvPr>
                  <p:cNvSpPr>
                    <a:spLocks noChangeShapeType="1"/>
                  </p:cNvSpPr>
                  <p:nvPr/>
                </p:nvSpPr>
                <p:spPr bwMode="auto">
                  <a:xfrm>
                    <a:off x="712" y="1451"/>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1" name="Line 204">
                    <a:extLst>
                      <a:ext uri="{FF2B5EF4-FFF2-40B4-BE49-F238E27FC236}">
                        <a16:creationId xmlns:a16="http://schemas.microsoft.com/office/drawing/2014/main" id="{131B16EE-DAF9-410D-B423-C72EF7B18AA4}"/>
                      </a:ext>
                    </a:extLst>
                  </p:cNvPr>
                  <p:cNvSpPr>
                    <a:spLocks noChangeShapeType="1"/>
                  </p:cNvSpPr>
                  <p:nvPr/>
                </p:nvSpPr>
                <p:spPr bwMode="auto">
                  <a:xfrm>
                    <a:off x="712" y="1495"/>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2" name="Line 205">
                    <a:extLst>
                      <a:ext uri="{FF2B5EF4-FFF2-40B4-BE49-F238E27FC236}">
                        <a16:creationId xmlns:a16="http://schemas.microsoft.com/office/drawing/2014/main" id="{CD3F1137-1E72-42F0-88A0-D8CF5AC8BF9F}"/>
                      </a:ext>
                    </a:extLst>
                  </p:cNvPr>
                  <p:cNvSpPr>
                    <a:spLocks noChangeShapeType="1"/>
                  </p:cNvSpPr>
                  <p:nvPr/>
                </p:nvSpPr>
                <p:spPr bwMode="auto">
                  <a:xfrm>
                    <a:off x="712" y="1539"/>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3" name="Line 206">
                    <a:extLst>
                      <a:ext uri="{FF2B5EF4-FFF2-40B4-BE49-F238E27FC236}">
                        <a16:creationId xmlns:a16="http://schemas.microsoft.com/office/drawing/2014/main" id="{A70D816D-9E14-4916-9F95-C91F3D378704}"/>
                      </a:ext>
                    </a:extLst>
                  </p:cNvPr>
                  <p:cNvSpPr>
                    <a:spLocks noChangeShapeType="1"/>
                  </p:cNvSpPr>
                  <p:nvPr/>
                </p:nvSpPr>
                <p:spPr bwMode="auto">
                  <a:xfrm>
                    <a:off x="712" y="1584"/>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4" name="Freeform 207">
                    <a:extLst>
                      <a:ext uri="{FF2B5EF4-FFF2-40B4-BE49-F238E27FC236}">
                        <a16:creationId xmlns:a16="http://schemas.microsoft.com/office/drawing/2014/main" id="{4F18F73E-0F03-4554-BF1A-7BB63ECF8D80}"/>
                      </a:ext>
                    </a:extLst>
                  </p:cNvPr>
                  <p:cNvSpPr>
                    <a:spLocks/>
                  </p:cNvSpPr>
                  <p:nvPr/>
                </p:nvSpPr>
                <p:spPr bwMode="auto">
                  <a:xfrm>
                    <a:off x="846" y="1416"/>
                    <a:ext cx="148"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5" name="Line 208">
                    <a:extLst>
                      <a:ext uri="{FF2B5EF4-FFF2-40B4-BE49-F238E27FC236}">
                        <a16:creationId xmlns:a16="http://schemas.microsoft.com/office/drawing/2014/main" id="{04E91788-8140-49BA-953E-46431D9DAB48}"/>
                      </a:ext>
                    </a:extLst>
                  </p:cNvPr>
                  <p:cNvSpPr>
                    <a:spLocks noChangeShapeType="1"/>
                  </p:cNvSpPr>
                  <p:nvPr/>
                </p:nvSpPr>
                <p:spPr bwMode="auto">
                  <a:xfrm>
                    <a:off x="88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6" name="Line 209">
                    <a:extLst>
                      <a:ext uri="{FF2B5EF4-FFF2-40B4-BE49-F238E27FC236}">
                        <a16:creationId xmlns:a16="http://schemas.microsoft.com/office/drawing/2014/main" id="{587D261C-8B34-4AE5-B637-9FF914DD8FAF}"/>
                      </a:ext>
                    </a:extLst>
                  </p:cNvPr>
                  <p:cNvSpPr>
                    <a:spLocks noChangeShapeType="1"/>
                  </p:cNvSpPr>
                  <p:nvPr/>
                </p:nvSpPr>
                <p:spPr bwMode="auto">
                  <a:xfrm>
                    <a:off x="88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7" name="Line 210">
                    <a:extLst>
                      <a:ext uri="{FF2B5EF4-FFF2-40B4-BE49-F238E27FC236}">
                        <a16:creationId xmlns:a16="http://schemas.microsoft.com/office/drawing/2014/main" id="{B3F07AFE-C59E-4BB2-AD20-F5D8E545B926}"/>
                      </a:ext>
                    </a:extLst>
                  </p:cNvPr>
                  <p:cNvSpPr>
                    <a:spLocks noChangeShapeType="1"/>
                  </p:cNvSpPr>
                  <p:nvPr/>
                </p:nvSpPr>
                <p:spPr bwMode="auto">
                  <a:xfrm>
                    <a:off x="88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8" name="Line 211">
                    <a:extLst>
                      <a:ext uri="{FF2B5EF4-FFF2-40B4-BE49-F238E27FC236}">
                        <a16:creationId xmlns:a16="http://schemas.microsoft.com/office/drawing/2014/main" id="{F161D993-479B-4CAC-90B6-D6D3FAE5532C}"/>
                      </a:ext>
                    </a:extLst>
                  </p:cNvPr>
                  <p:cNvSpPr>
                    <a:spLocks noChangeShapeType="1"/>
                  </p:cNvSpPr>
                  <p:nvPr/>
                </p:nvSpPr>
                <p:spPr bwMode="auto">
                  <a:xfrm>
                    <a:off x="88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59" name="Line 212">
                    <a:extLst>
                      <a:ext uri="{FF2B5EF4-FFF2-40B4-BE49-F238E27FC236}">
                        <a16:creationId xmlns:a16="http://schemas.microsoft.com/office/drawing/2014/main" id="{D191B836-6FAD-4CCB-83A1-48CD2F49D68B}"/>
                      </a:ext>
                    </a:extLst>
                  </p:cNvPr>
                  <p:cNvSpPr>
                    <a:spLocks noChangeShapeType="1"/>
                  </p:cNvSpPr>
                  <p:nvPr/>
                </p:nvSpPr>
                <p:spPr bwMode="auto">
                  <a:xfrm>
                    <a:off x="88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60" name="Freeform 213">
                    <a:extLst>
                      <a:ext uri="{FF2B5EF4-FFF2-40B4-BE49-F238E27FC236}">
                        <a16:creationId xmlns:a16="http://schemas.microsoft.com/office/drawing/2014/main" id="{5B4B1E7F-9E0E-4B78-B5E2-08E5D0FD41D5}"/>
                      </a:ext>
                    </a:extLst>
                  </p:cNvPr>
                  <p:cNvSpPr>
                    <a:spLocks/>
                  </p:cNvSpPr>
                  <p:nvPr/>
                </p:nvSpPr>
                <p:spPr bwMode="auto">
                  <a:xfrm>
                    <a:off x="336" y="1416"/>
                    <a:ext cx="149"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61" name="Line 214">
                    <a:extLst>
                      <a:ext uri="{FF2B5EF4-FFF2-40B4-BE49-F238E27FC236}">
                        <a16:creationId xmlns:a16="http://schemas.microsoft.com/office/drawing/2014/main" id="{23C0BE55-EB8C-42CF-9EFB-87E5E23FAE3C}"/>
                      </a:ext>
                    </a:extLst>
                  </p:cNvPr>
                  <p:cNvSpPr>
                    <a:spLocks noChangeShapeType="1"/>
                  </p:cNvSpPr>
                  <p:nvPr/>
                </p:nvSpPr>
                <p:spPr bwMode="auto">
                  <a:xfrm>
                    <a:off x="37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62" name="Line 215">
                    <a:extLst>
                      <a:ext uri="{FF2B5EF4-FFF2-40B4-BE49-F238E27FC236}">
                        <a16:creationId xmlns:a16="http://schemas.microsoft.com/office/drawing/2014/main" id="{4580F2B2-870C-4ECA-9579-D2EA53403E75}"/>
                      </a:ext>
                    </a:extLst>
                  </p:cNvPr>
                  <p:cNvSpPr>
                    <a:spLocks noChangeShapeType="1"/>
                  </p:cNvSpPr>
                  <p:nvPr/>
                </p:nvSpPr>
                <p:spPr bwMode="auto">
                  <a:xfrm>
                    <a:off x="37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63" name="Line 216">
                    <a:extLst>
                      <a:ext uri="{FF2B5EF4-FFF2-40B4-BE49-F238E27FC236}">
                        <a16:creationId xmlns:a16="http://schemas.microsoft.com/office/drawing/2014/main" id="{0E108D13-D187-4A87-BB4E-5424ACF900D4}"/>
                      </a:ext>
                    </a:extLst>
                  </p:cNvPr>
                  <p:cNvSpPr>
                    <a:spLocks noChangeShapeType="1"/>
                  </p:cNvSpPr>
                  <p:nvPr/>
                </p:nvSpPr>
                <p:spPr bwMode="auto">
                  <a:xfrm>
                    <a:off x="37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64" name="Line 217">
                    <a:extLst>
                      <a:ext uri="{FF2B5EF4-FFF2-40B4-BE49-F238E27FC236}">
                        <a16:creationId xmlns:a16="http://schemas.microsoft.com/office/drawing/2014/main" id="{2B4C5522-9055-457E-A3BB-E62F7EEA6664}"/>
                      </a:ext>
                    </a:extLst>
                  </p:cNvPr>
                  <p:cNvSpPr>
                    <a:spLocks noChangeShapeType="1"/>
                  </p:cNvSpPr>
                  <p:nvPr/>
                </p:nvSpPr>
                <p:spPr bwMode="auto">
                  <a:xfrm>
                    <a:off x="37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265" name="Line 218">
                    <a:extLst>
                      <a:ext uri="{FF2B5EF4-FFF2-40B4-BE49-F238E27FC236}">
                        <a16:creationId xmlns:a16="http://schemas.microsoft.com/office/drawing/2014/main" id="{A58163E8-7415-423E-ABE9-1BFFFBB6B45E}"/>
                      </a:ext>
                    </a:extLst>
                  </p:cNvPr>
                  <p:cNvSpPr>
                    <a:spLocks noChangeShapeType="1"/>
                  </p:cNvSpPr>
                  <p:nvPr/>
                </p:nvSpPr>
                <p:spPr bwMode="auto">
                  <a:xfrm>
                    <a:off x="37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grpSp>
          <p:grpSp>
            <p:nvGrpSpPr>
              <p:cNvPr id="10" name="Group 9">
                <a:extLst>
                  <a:ext uri="{FF2B5EF4-FFF2-40B4-BE49-F238E27FC236}">
                    <a16:creationId xmlns:a16="http://schemas.microsoft.com/office/drawing/2014/main" id="{F6215BBD-C655-4E56-8144-B84A9A425B00}"/>
                  </a:ext>
                </a:extLst>
              </p:cNvPr>
              <p:cNvGrpSpPr/>
              <p:nvPr/>
            </p:nvGrpSpPr>
            <p:grpSpPr>
              <a:xfrm rot="21265981">
                <a:off x="1391378" y="3827502"/>
                <a:ext cx="1037095" cy="311403"/>
                <a:chOff x="1945038" y="1991571"/>
                <a:chExt cx="2526383" cy="311403"/>
              </a:xfrm>
            </p:grpSpPr>
            <p:cxnSp>
              <p:nvCxnSpPr>
                <p:cNvPr id="140" name="Straight Connector 139">
                  <a:extLst>
                    <a:ext uri="{FF2B5EF4-FFF2-40B4-BE49-F238E27FC236}">
                      <a16:creationId xmlns:a16="http://schemas.microsoft.com/office/drawing/2014/main" id="{49626D93-0557-1241-B388-26B08FE78C52}"/>
                    </a:ext>
                  </a:extLst>
                </p:cNvPr>
                <p:cNvCxnSpPr>
                  <a:cxnSpLocks/>
                  <a:stCxn id="6031" idx="0"/>
                </p:cNvCxnSpPr>
                <p:nvPr/>
              </p:nvCxnSpPr>
              <p:spPr>
                <a:xfrm>
                  <a:off x="3580649" y="2147274"/>
                  <a:ext cx="890772" cy="0"/>
                </a:xfrm>
                <a:prstGeom prst="line">
                  <a:avLst/>
                </a:prstGeom>
                <a:noFill/>
                <a:ln w="22225" cap="rnd" cmpd="sng" algn="ctr">
                  <a:solidFill>
                    <a:srgbClr val="005073"/>
                  </a:solidFill>
                  <a:prstDash val="solid"/>
                </a:ln>
                <a:effectLst/>
              </p:spPr>
            </p:cxnSp>
            <p:cxnSp>
              <p:nvCxnSpPr>
                <p:cNvPr id="146" name="Straight Connector 145">
                  <a:extLst>
                    <a:ext uri="{FF2B5EF4-FFF2-40B4-BE49-F238E27FC236}">
                      <a16:creationId xmlns:a16="http://schemas.microsoft.com/office/drawing/2014/main" id="{540D756F-C77D-9A47-9298-B85ED3BC7518}"/>
                    </a:ext>
                  </a:extLst>
                </p:cNvPr>
                <p:cNvCxnSpPr>
                  <a:cxnSpLocks/>
                  <a:endCxn id="6031" idx="2"/>
                </p:cNvCxnSpPr>
                <p:nvPr/>
              </p:nvCxnSpPr>
              <p:spPr>
                <a:xfrm>
                  <a:off x="1945038" y="2143127"/>
                  <a:ext cx="1324208" cy="4147"/>
                </a:xfrm>
                <a:prstGeom prst="line">
                  <a:avLst/>
                </a:prstGeom>
                <a:noFill/>
                <a:ln w="22225" cap="rnd" cmpd="sng" algn="ctr">
                  <a:solidFill>
                    <a:srgbClr val="005073"/>
                  </a:solidFill>
                  <a:prstDash val="solid"/>
                </a:ln>
                <a:effectLst/>
              </p:spPr>
            </p:cxnSp>
            <p:pic>
              <p:nvPicPr>
                <p:cNvPr id="6031" name="Picture 11" descr="C:\Users\ecoffey\AppData\Local\Temp\Rar$DRa0.702\30055_Device_1000_default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5400000">
                  <a:off x="3269244" y="1991571"/>
                  <a:ext cx="311403" cy="311404"/>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26" name="Oval 225">
                <a:extLst>
                  <a:ext uri="{FF2B5EF4-FFF2-40B4-BE49-F238E27FC236}">
                    <a16:creationId xmlns:a16="http://schemas.microsoft.com/office/drawing/2014/main" id="{5C4AB1B1-7B1B-406A-AB20-8DBC955F1E58}"/>
                  </a:ext>
                </a:extLst>
              </p:cNvPr>
              <p:cNvSpPr/>
              <p:nvPr/>
            </p:nvSpPr>
            <p:spPr>
              <a:xfrm flipV="1">
                <a:off x="4121755" y="2559097"/>
                <a:ext cx="1697000" cy="566121"/>
              </a:xfrm>
              <a:prstGeom prst="ellipse">
                <a:avLst/>
              </a:prstGeom>
              <a:noFill/>
              <a:ln w="25400" cap="flat" cmpd="sng" algn="ctr">
                <a:gradFill>
                  <a:gsLst>
                    <a:gs pos="0">
                      <a:srgbClr val="C00000"/>
                    </a:gs>
                    <a:gs pos="20000">
                      <a:srgbClr val="FFC000"/>
                    </a:gs>
                    <a:gs pos="10000">
                      <a:srgbClr val="FF0000"/>
                    </a:gs>
                    <a:gs pos="31000">
                      <a:srgbClr val="FFFF00"/>
                    </a:gs>
                    <a:gs pos="99115">
                      <a:srgbClr val="7030A0"/>
                    </a:gs>
                    <a:gs pos="89000">
                      <a:srgbClr val="002060"/>
                    </a:gs>
                    <a:gs pos="78000">
                      <a:srgbClr val="0070C0"/>
                    </a:gs>
                    <a:gs pos="68000">
                      <a:srgbClr val="00B0F0"/>
                    </a:gs>
                    <a:gs pos="56000">
                      <a:srgbClr val="00B050"/>
                    </a:gs>
                    <a:gs pos="45000">
                      <a:srgbClr val="92D050"/>
                    </a:gs>
                  </a:gsLst>
                  <a:lin ang="5400000" scaled="1"/>
                </a:gradFill>
                <a:prstDash val="solid"/>
              </a:ln>
              <a:effectLst/>
            </p:spPr>
            <p:txBody>
              <a:bodyPr rtlCol="0" anchor="ctr"/>
              <a:lstStyle/>
              <a:p>
                <a:pPr algn="ctr" defTabSz="914378">
                  <a:defRPr/>
                </a:pPr>
                <a:endParaRPr lang="en-US" kern="0">
                  <a:solidFill>
                    <a:srgbClr val="005073"/>
                  </a:solidFill>
                  <a:latin typeface="CiscoSansTT ExtraLight"/>
                </a:endParaRPr>
              </a:p>
            </p:txBody>
          </p:sp>
          <p:grpSp>
            <p:nvGrpSpPr>
              <p:cNvPr id="13" name="Group 12">
                <a:extLst>
                  <a:ext uri="{FF2B5EF4-FFF2-40B4-BE49-F238E27FC236}">
                    <a16:creationId xmlns:a16="http://schemas.microsoft.com/office/drawing/2014/main" id="{0410097D-E9BD-4689-9066-B508678177DD}"/>
                  </a:ext>
                </a:extLst>
              </p:cNvPr>
              <p:cNvGrpSpPr/>
              <p:nvPr/>
            </p:nvGrpSpPr>
            <p:grpSpPr>
              <a:xfrm>
                <a:off x="4127149" y="1671767"/>
                <a:ext cx="1725710" cy="787882"/>
                <a:chOff x="6246829" y="3121947"/>
                <a:chExt cx="2660083" cy="1214475"/>
              </a:xfrm>
            </p:grpSpPr>
            <p:sp>
              <p:nvSpPr>
                <p:cNvPr id="40" name="Freeform 48"/>
                <p:cNvSpPr>
                  <a:spLocks/>
                </p:cNvSpPr>
                <p:nvPr/>
              </p:nvSpPr>
              <p:spPr bwMode="auto">
                <a:xfrm>
                  <a:off x="6246829" y="3121947"/>
                  <a:ext cx="2660083" cy="1214475"/>
                </a:xfrm>
                <a:custGeom>
                  <a:avLst/>
                  <a:gdLst>
                    <a:gd name="T0" fmla="*/ 361 w 432"/>
                    <a:gd name="T1" fmla="*/ 121 h 268"/>
                    <a:gd name="T2" fmla="*/ 364 w 432"/>
                    <a:gd name="T3" fmla="*/ 96 h 268"/>
                    <a:gd name="T4" fmla="*/ 268 w 432"/>
                    <a:gd name="T5" fmla="*/ 0 h 268"/>
                    <a:gd name="T6" fmla="*/ 175 w 432"/>
                    <a:gd name="T7" fmla="*/ 71 h 268"/>
                    <a:gd name="T8" fmla="*/ 138 w 432"/>
                    <a:gd name="T9" fmla="*/ 62 h 268"/>
                    <a:gd name="T10" fmla="*/ 54 w 432"/>
                    <a:gd name="T11" fmla="*/ 146 h 268"/>
                    <a:gd name="T12" fmla="*/ 55 w 432"/>
                    <a:gd name="T13" fmla="*/ 156 h 268"/>
                    <a:gd name="T14" fmla="*/ 54 w 432"/>
                    <a:gd name="T15" fmla="*/ 156 h 268"/>
                    <a:gd name="T16" fmla="*/ 0 w 432"/>
                    <a:gd name="T17" fmla="*/ 212 h 268"/>
                    <a:gd name="T18" fmla="*/ 54 w 432"/>
                    <a:gd name="T19" fmla="*/ 268 h 268"/>
                    <a:gd name="T20" fmla="*/ 360 w 432"/>
                    <a:gd name="T21" fmla="*/ 268 h 268"/>
                    <a:gd name="T22" fmla="*/ 432 w 432"/>
                    <a:gd name="T23" fmla="*/ 194 h 268"/>
                    <a:gd name="T24" fmla="*/ 361 w 432"/>
                    <a:gd name="T25" fmla="*/ 1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268">
                      <a:moveTo>
                        <a:pt x="361" y="121"/>
                      </a:moveTo>
                      <a:cubicBezTo>
                        <a:pt x="363" y="113"/>
                        <a:pt x="364" y="104"/>
                        <a:pt x="364" y="96"/>
                      </a:cubicBezTo>
                      <a:cubicBezTo>
                        <a:pt x="364" y="43"/>
                        <a:pt x="321" y="0"/>
                        <a:pt x="268" y="0"/>
                      </a:cubicBezTo>
                      <a:cubicBezTo>
                        <a:pt x="224" y="0"/>
                        <a:pt x="186" y="30"/>
                        <a:pt x="175" y="71"/>
                      </a:cubicBezTo>
                      <a:cubicBezTo>
                        <a:pt x="164" y="65"/>
                        <a:pt x="151" y="62"/>
                        <a:pt x="138" y="62"/>
                      </a:cubicBezTo>
                      <a:cubicBezTo>
                        <a:pt x="92" y="62"/>
                        <a:pt x="54" y="100"/>
                        <a:pt x="54" y="146"/>
                      </a:cubicBezTo>
                      <a:cubicBezTo>
                        <a:pt x="54" y="149"/>
                        <a:pt x="54" y="153"/>
                        <a:pt x="55" y="156"/>
                      </a:cubicBezTo>
                      <a:cubicBezTo>
                        <a:pt x="54" y="156"/>
                        <a:pt x="54" y="156"/>
                        <a:pt x="54" y="156"/>
                      </a:cubicBezTo>
                      <a:cubicBezTo>
                        <a:pt x="24" y="156"/>
                        <a:pt x="0" y="182"/>
                        <a:pt x="0" y="212"/>
                      </a:cubicBezTo>
                      <a:cubicBezTo>
                        <a:pt x="0" y="242"/>
                        <a:pt x="24" y="268"/>
                        <a:pt x="54" y="268"/>
                      </a:cubicBezTo>
                      <a:cubicBezTo>
                        <a:pt x="360" y="268"/>
                        <a:pt x="360" y="268"/>
                        <a:pt x="360" y="268"/>
                      </a:cubicBezTo>
                      <a:cubicBezTo>
                        <a:pt x="400" y="268"/>
                        <a:pt x="432" y="234"/>
                        <a:pt x="432" y="194"/>
                      </a:cubicBezTo>
                      <a:cubicBezTo>
                        <a:pt x="432" y="155"/>
                        <a:pt x="400" y="121"/>
                        <a:pt x="361" y="121"/>
                      </a:cubicBezTo>
                      <a:close/>
                    </a:path>
                  </a:pathLst>
                </a:custGeom>
                <a:solidFill>
                  <a:schemeClr val="bg2"/>
                </a:solidFill>
                <a:ln w="25400" cap="flat" cmpd="sng" algn="ctr">
                  <a:solidFill>
                    <a:srgbClr val="00BCEB"/>
                  </a:solidFill>
                  <a:prstDash val="solid"/>
                </a:ln>
                <a:effectLst/>
              </p:spPr>
              <p:txBody>
                <a:bodyPr lIns="91400" tIns="45700" rIns="91400" bIns="45700" rtlCol="0" anchor="ctr"/>
                <a:lstStyle/>
                <a:p>
                  <a:pPr algn="ctr" defTabSz="912395">
                    <a:defRPr/>
                  </a:pPr>
                  <a:endParaRPr lang="en-US" sz="2400" kern="0">
                    <a:solidFill>
                      <a:srgbClr val="FFFFFF"/>
                    </a:solidFill>
                  </a:endParaRPr>
                </a:p>
              </p:txBody>
            </p:sp>
            <p:grpSp>
              <p:nvGrpSpPr>
                <p:cNvPr id="6004" name="Group 194"/>
                <p:cNvGrpSpPr>
                  <a:grpSpLocks noChangeAspect="1"/>
                </p:cNvGrpSpPr>
                <p:nvPr/>
              </p:nvGrpSpPr>
              <p:grpSpPr bwMode="auto">
                <a:xfrm>
                  <a:off x="7374163" y="3657602"/>
                  <a:ext cx="1070636" cy="590639"/>
                  <a:chOff x="336" y="1362"/>
                  <a:chExt cx="658" cy="363"/>
                </a:xfrm>
              </p:grpSpPr>
              <p:sp>
                <p:nvSpPr>
                  <p:cNvPr id="6005" name="Freeform 195"/>
                  <p:cNvSpPr>
                    <a:spLocks/>
                  </p:cNvSpPr>
                  <p:nvPr/>
                </p:nvSpPr>
                <p:spPr bwMode="auto">
                  <a:xfrm>
                    <a:off x="505" y="1416"/>
                    <a:ext cx="151" cy="27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06" name="Line 196"/>
                  <p:cNvSpPr>
                    <a:spLocks noChangeShapeType="1"/>
                  </p:cNvSpPr>
                  <p:nvPr/>
                </p:nvSpPr>
                <p:spPr bwMode="auto">
                  <a:xfrm>
                    <a:off x="543" y="1460"/>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07" name="Line 197"/>
                  <p:cNvSpPr>
                    <a:spLocks noChangeShapeType="1"/>
                  </p:cNvSpPr>
                  <p:nvPr/>
                </p:nvSpPr>
                <p:spPr bwMode="auto">
                  <a:xfrm>
                    <a:off x="543" y="1503"/>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08" name="Line 198"/>
                  <p:cNvSpPr>
                    <a:spLocks noChangeShapeType="1"/>
                  </p:cNvSpPr>
                  <p:nvPr/>
                </p:nvSpPr>
                <p:spPr bwMode="auto">
                  <a:xfrm>
                    <a:off x="543" y="1548"/>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09" name="Line 199"/>
                  <p:cNvSpPr>
                    <a:spLocks noChangeShapeType="1"/>
                  </p:cNvSpPr>
                  <p:nvPr/>
                </p:nvSpPr>
                <p:spPr bwMode="auto">
                  <a:xfrm>
                    <a:off x="543" y="1592"/>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0" name="Line 200"/>
                  <p:cNvSpPr>
                    <a:spLocks noChangeShapeType="1"/>
                  </p:cNvSpPr>
                  <p:nvPr/>
                </p:nvSpPr>
                <p:spPr bwMode="auto">
                  <a:xfrm>
                    <a:off x="543" y="1636"/>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1" name="Freeform 201"/>
                  <p:cNvSpPr>
                    <a:spLocks/>
                  </p:cNvSpPr>
                  <p:nvPr/>
                </p:nvSpPr>
                <p:spPr bwMode="auto">
                  <a:xfrm>
                    <a:off x="675" y="1362"/>
                    <a:ext cx="150" cy="363"/>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2" name="Line 202"/>
                  <p:cNvSpPr>
                    <a:spLocks noChangeShapeType="1"/>
                  </p:cNvSpPr>
                  <p:nvPr/>
                </p:nvSpPr>
                <p:spPr bwMode="auto">
                  <a:xfrm>
                    <a:off x="712" y="1406"/>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3" name="Line 203"/>
                  <p:cNvSpPr>
                    <a:spLocks noChangeShapeType="1"/>
                  </p:cNvSpPr>
                  <p:nvPr/>
                </p:nvSpPr>
                <p:spPr bwMode="auto">
                  <a:xfrm>
                    <a:off x="712" y="1451"/>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4" name="Line 204"/>
                  <p:cNvSpPr>
                    <a:spLocks noChangeShapeType="1"/>
                  </p:cNvSpPr>
                  <p:nvPr/>
                </p:nvSpPr>
                <p:spPr bwMode="auto">
                  <a:xfrm>
                    <a:off x="712" y="1495"/>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5" name="Line 205"/>
                  <p:cNvSpPr>
                    <a:spLocks noChangeShapeType="1"/>
                  </p:cNvSpPr>
                  <p:nvPr/>
                </p:nvSpPr>
                <p:spPr bwMode="auto">
                  <a:xfrm>
                    <a:off x="712" y="1539"/>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6" name="Line 206"/>
                  <p:cNvSpPr>
                    <a:spLocks noChangeShapeType="1"/>
                  </p:cNvSpPr>
                  <p:nvPr/>
                </p:nvSpPr>
                <p:spPr bwMode="auto">
                  <a:xfrm>
                    <a:off x="712" y="1584"/>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7" name="Freeform 207"/>
                  <p:cNvSpPr>
                    <a:spLocks/>
                  </p:cNvSpPr>
                  <p:nvPr/>
                </p:nvSpPr>
                <p:spPr bwMode="auto">
                  <a:xfrm>
                    <a:off x="846" y="1416"/>
                    <a:ext cx="148"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8" name="Line 208"/>
                  <p:cNvSpPr>
                    <a:spLocks noChangeShapeType="1"/>
                  </p:cNvSpPr>
                  <p:nvPr/>
                </p:nvSpPr>
                <p:spPr bwMode="auto">
                  <a:xfrm>
                    <a:off x="88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19" name="Line 209"/>
                  <p:cNvSpPr>
                    <a:spLocks noChangeShapeType="1"/>
                  </p:cNvSpPr>
                  <p:nvPr/>
                </p:nvSpPr>
                <p:spPr bwMode="auto">
                  <a:xfrm>
                    <a:off x="88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20" name="Line 210"/>
                  <p:cNvSpPr>
                    <a:spLocks noChangeShapeType="1"/>
                  </p:cNvSpPr>
                  <p:nvPr/>
                </p:nvSpPr>
                <p:spPr bwMode="auto">
                  <a:xfrm>
                    <a:off x="88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21" name="Line 211"/>
                  <p:cNvSpPr>
                    <a:spLocks noChangeShapeType="1"/>
                  </p:cNvSpPr>
                  <p:nvPr/>
                </p:nvSpPr>
                <p:spPr bwMode="auto">
                  <a:xfrm>
                    <a:off x="88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22" name="Line 212"/>
                  <p:cNvSpPr>
                    <a:spLocks noChangeShapeType="1"/>
                  </p:cNvSpPr>
                  <p:nvPr/>
                </p:nvSpPr>
                <p:spPr bwMode="auto">
                  <a:xfrm>
                    <a:off x="88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23" name="Freeform 213"/>
                  <p:cNvSpPr>
                    <a:spLocks/>
                  </p:cNvSpPr>
                  <p:nvPr/>
                </p:nvSpPr>
                <p:spPr bwMode="auto">
                  <a:xfrm>
                    <a:off x="336" y="1416"/>
                    <a:ext cx="149"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24" name="Line 214"/>
                  <p:cNvSpPr>
                    <a:spLocks noChangeShapeType="1"/>
                  </p:cNvSpPr>
                  <p:nvPr/>
                </p:nvSpPr>
                <p:spPr bwMode="auto">
                  <a:xfrm>
                    <a:off x="37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25" name="Line 215"/>
                  <p:cNvSpPr>
                    <a:spLocks noChangeShapeType="1"/>
                  </p:cNvSpPr>
                  <p:nvPr/>
                </p:nvSpPr>
                <p:spPr bwMode="auto">
                  <a:xfrm>
                    <a:off x="37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26" name="Line 216"/>
                  <p:cNvSpPr>
                    <a:spLocks noChangeShapeType="1"/>
                  </p:cNvSpPr>
                  <p:nvPr/>
                </p:nvSpPr>
                <p:spPr bwMode="auto">
                  <a:xfrm>
                    <a:off x="37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27" name="Line 217"/>
                  <p:cNvSpPr>
                    <a:spLocks noChangeShapeType="1"/>
                  </p:cNvSpPr>
                  <p:nvPr/>
                </p:nvSpPr>
                <p:spPr bwMode="auto">
                  <a:xfrm>
                    <a:off x="37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28" name="Line 218"/>
                  <p:cNvSpPr>
                    <a:spLocks noChangeShapeType="1"/>
                  </p:cNvSpPr>
                  <p:nvPr/>
                </p:nvSpPr>
                <p:spPr bwMode="auto">
                  <a:xfrm>
                    <a:off x="37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grpSp>
          <p:sp>
            <p:nvSpPr>
              <p:cNvPr id="34" name="Title 1"/>
              <p:cNvSpPr txBox="1">
                <a:spLocks/>
              </p:cNvSpPr>
              <p:nvPr/>
            </p:nvSpPr>
            <p:spPr bwMode="auto">
              <a:xfrm>
                <a:off x="184092" y="69901"/>
                <a:ext cx="895990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684196"/>
                <a:r>
                  <a:rPr lang="en-US">
                    <a:solidFill>
                      <a:srgbClr val="005073"/>
                    </a:solidFill>
                    <a:latin typeface="CiscoSansTT ExtraLight"/>
                  </a:rPr>
                  <a:t>Network Optical and Layout</a:t>
                </a:r>
              </a:p>
              <a:p>
                <a:pPr defTabSz="684196"/>
                <a:r>
                  <a:rPr lang="en-US" sz="1800">
                    <a:solidFill>
                      <a:srgbClr val="00BCEB"/>
                    </a:solidFill>
                    <a:latin typeface="CiscoSansTT ExtraLight"/>
                  </a:rPr>
                  <a:t>IP to the Edge with Converged Optical Fronthaul</a:t>
                </a:r>
              </a:p>
            </p:txBody>
          </p:sp>
          <p:sp>
            <p:nvSpPr>
              <p:cNvPr id="38" name="TextBox 37"/>
              <p:cNvSpPr txBox="1"/>
              <p:nvPr/>
            </p:nvSpPr>
            <p:spPr>
              <a:xfrm>
                <a:off x="690053" y="2583377"/>
                <a:ext cx="652743" cy="230832"/>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NCS 540</a:t>
                </a:r>
              </a:p>
            </p:txBody>
          </p:sp>
          <p:sp>
            <p:nvSpPr>
              <p:cNvPr id="45" name="TextBox 44"/>
              <p:cNvSpPr txBox="1"/>
              <p:nvPr/>
            </p:nvSpPr>
            <p:spPr>
              <a:xfrm>
                <a:off x="2501822" y="2532845"/>
                <a:ext cx="1069524" cy="230832"/>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GE/10GE/100GE</a:t>
                </a:r>
              </a:p>
            </p:txBody>
          </p:sp>
          <p:grpSp>
            <p:nvGrpSpPr>
              <p:cNvPr id="5876" name="Group 31"/>
              <p:cNvGrpSpPr>
                <a:grpSpLocks noChangeAspect="1"/>
              </p:cNvGrpSpPr>
              <p:nvPr/>
            </p:nvGrpSpPr>
            <p:grpSpPr bwMode="auto">
              <a:xfrm>
                <a:off x="386756" y="2054760"/>
                <a:ext cx="434623" cy="409680"/>
                <a:chOff x="382" y="1928"/>
                <a:chExt cx="697" cy="657"/>
              </a:xfrm>
            </p:grpSpPr>
            <p:sp>
              <p:nvSpPr>
                <p:cNvPr id="5877" name="Freeform 33"/>
                <p:cNvSpPr>
                  <a:spLocks noEditPoints="1"/>
                </p:cNvSpPr>
                <p:nvPr/>
              </p:nvSpPr>
              <p:spPr bwMode="auto">
                <a:xfrm>
                  <a:off x="600" y="2355"/>
                  <a:ext cx="282" cy="230"/>
                </a:xfrm>
                <a:custGeom>
                  <a:avLst/>
                  <a:gdLst>
                    <a:gd name="T0" fmla="*/ 473 w 564"/>
                    <a:gd name="T1" fmla="*/ 45 h 460"/>
                    <a:gd name="T2" fmla="*/ 457 w 564"/>
                    <a:gd name="T3" fmla="*/ 20 h 460"/>
                    <a:gd name="T4" fmla="*/ 433 w 564"/>
                    <a:gd name="T5" fmla="*/ 4 h 460"/>
                    <a:gd name="T6" fmla="*/ 150 w 564"/>
                    <a:gd name="T7" fmla="*/ 0 h 460"/>
                    <a:gd name="T8" fmla="*/ 131 w 564"/>
                    <a:gd name="T9" fmla="*/ 4 h 460"/>
                    <a:gd name="T10" fmla="*/ 107 w 564"/>
                    <a:gd name="T11" fmla="*/ 20 h 460"/>
                    <a:gd name="T12" fmla="*/ 91 w 564"/>
                    <a:gd name="T13" fmla="*/ 45 h 460"/>
                    <a:gd name="T14" fmla="*/ 40 w 564"/>
                    <a:gd name="T15" fmla="*/ 174 h 460"/>
                    <a:gd name="T16" fmla="*/ 14 w 564"/>
                    <a:gd name="T17" fmla="*/ 190 h 460"/>
                    <a:gd name="T18" fmla="*/ 1 w 564"/>
                    <a:gd name="T19" fmla="*/ 214 h 460"/>
                    <a:gd name="T20" fmla="*/ 65 w 564"/>
                    <a:gd name="T21" fmla="*/ 382 h 460"/>
                    <a:gd name="T22" fmla="*/ 67 w 564"/>
                    <a:gd name="T23" fmla="*/ 428 h 460"/>
                    <a:gd name="T24" fmla="*/ 78 w 564"/>
                    <a:gd name="T25" fmla="*/ 449 h 460"/>
                    <a:gd name="T26" fmla="*/ 99 w 564"/>
                    <a:gd name="T27" fmla="*/ 460 h 460"/>
                    <a:gd name="T28" fmla="*/ 115 w 564"/>
                    <a:gd name="T29" fmla="*/ 460 h 460"/>
                    <a:gd name="T30" fmla="*/ 134 w 564"/>
                    <a:gd name="T31" fmla="*/ 449 h 460"/>
                    <a:gd name="T32" fmla="*/ 145 w 564"/>
                    <a:gd name="T33" fmla="*/ 428 h 460"/>
                    <a:gd name="T34" fmla="*/ 418 w 564"/>
                    <a:gd name="T35" fmla="*/ 382 h 460"/>
                    <a:gd name="T36" fmla="*/ 419 w 564"/>
                    <a:gd name="T37" fmla="*/ 428 h 460"/>
                    <a:gd name="T38" fmla="*/ 430 w 564"/>
                    <a:gd name="T39" fmla="*/ 449 h 460"/>
                    <a:gd name="T40" fmla="*/ 451 w 564"/>
                    <a:gd name="T41" fmla="*/ 460 h 460"/>
                    <a:gd name="T42" fmla="*/ 467 w 564"/>
                    <a:gd name="T43" fmla="*/ 460 h 460"/>
                    <a:gd name="T44" fmla="*/ 486 w 564"/>
                    <a:gd name="T45" fmla="*/ 449 h 460"/>
                    <a:gd name="T46" fmla="*/ 497 w 564"/>
                    <a:gd name="T47" fmla="*/ 428 h 460"/>
                    <a:gd name="T48" fmla="*/ 564 w 564"/>
                    <a:gd name="T49" fmla="*/ 382 h 460"/>
                    <a:gd name="T50" fmla="*/ 563 w 564"/>
                    <a:gd name="T51" fmla="*/ 214 h 460"/>
                    <a:gd name="T52" fmla="*/ 550 w 564"/>
                    <a:gd name="T53" fmla="*/ 190 h 460"/>
                    <a:gd name="T54" fmla="*/ 526 w 564"/>
                    <a:gd name="T55" fmla="*/ 174 h 460"/>
                    <a:gd name="T56" fmla="*/ 145 w 564"/>
                    <a:gd name="T57" fmla="*/ 69 h 460"/>
                    <a:gd name="T58" fmla="*/ 151 w 564"/>
                    <a:gd name="T59" fmla="*/ 59 h 460"/>
                    <a:gd name="T60" fmla="*/ 402 w 564"/>
                    <a:gd name="T61" fmla="*/ 56 h 460"/>
                    <a:gd name="T62" fmla="*/ 410 w 564"/>
                    <a:gd name="T63" fmla="*/ 59 h 460"/>
                    <a:gd name="T64" fmla="*/ 451 w 564"/>
                    <a:gd name="T65" fmla="*/ 173 h 460"/>
                    <a:gd name="T66" fmla="*/ 146 w 564"/>
                    <a:gd name="T67" fmla="*/ 327 h 460"/>
                    <a:gd name="T68" fmla="*/ 129 w 564"/>
                    <a:gd name="T69" fmla="*/ 323 h 460"/>
                    <a:gd name="T70" fmla="*/ 108 w 564"/>
                    <a:gd name="T71" fmla="*/ 307 h 460"/>
                    <a:gd name="T72" fmla="*/ 99 w 564"/>
                    <a:gd name="T73" fmla="*/ 280 h 460"/>
                    <a:gd name="T74" fmla="*/ 103 w 564"/>
                    <a:gd name="T75" fmla="*/ 260 h 460"/>
                    <a:gd name="T76" fmla="*/ 121 w 564"/>
                    <a:gd name="T77" fmla="*/ 240 h 460"/>
                    <a:gd name="T78" fmla="*/ 146 w 564"/>
                    <a:gd name="T79" fmla="*/ 232 h 460"/>
                    <a:gd name="T80" fmla="*/ 166 w 564"/>
                    <a:gd name="T81" fmla="*/ 236 h 460"/>
                    <a:gd name="T82" fmla="*/ 186 w 564"/>
                    <a:gd name="T83" fmla="*/ 252 h 460"/>
                    <a:gd name="T84" fmla="*/ 194 w 564"/>
                    <a:gd name="T85" fmla="*/ 280 h 460"/>
                    <a:gd name="T86" fmla="*/ 191 w 564"/>
                    <a:gd name="T87" fmla="*/ 299 h 460"/>
                    <a:gd name="T88" fmla="*/ 174 w 564"/>
                    <a:gd name="T89" fmla="*/ 319 h 460"/>
                    <a:gd name="T90" fmla="*/ 146 w 564"/>
                    <a:gd name="T91" fmla="*/ 327 h 460"/>
                    <a:gd name="T92" fmla="*/ 418 w 564"/>
                    <a:gd name="T93" fmla="*/ 327 h 460"/>
                    <a:gd name="T94" fmla="*/ 390 w 564"/>
                    <a:gd name="T95" fmla="*/ 319 h 460"/>
                    <a:gd name="T96" fmla="*/ 374 w 564"/>
                    <a:gd name="T97" fmla="*/ 299 h 460"/>
                    <a:gd name="T98" fmla="*/ 370 w 564"/>
                    <a:gd name="T99" fmla="*/ 280 h 460"/>
                    <a:gd name="T100" fmla="*/ 378 w 564"/>
                    <a:gd name="T101" fmla="*/ 252 h 460"/>
                    <a:gd name="T102" fmla="*/ 398 w 564"/>
                    <a:gd name="T103" fmla="*/ 236 h 460"/>
                    <a:gd name="T104" fmla="*/ 418 w 564"/>
                    <a:gd name="T105" fmla="*/ 232 h 460"/>
                    <a:gd name="T106" fmla="*/ 445 w 564"/>
                    <a:gd name="T107" fmla="*/ 240 h 460"/>
                    <a:gd name="T108" fmla="*/ 461 w 564"/>
                    <a:gd name="T109" fmla="*/ 260 h 460"/>
                    <a:gd name="T110" fmla="*/ 465 w 564"/>
                    <a:gd name="T111" fmla="*/ 280 h 460"/>
                    <a:gd name="T112" fmla="*/ 457 w 564"/>
                    <a:gd name="T113" fmla="*/ 307 h 460"/>
                    <a:gd name="T114" fmla="*/ 437 w 564"/>
                    <a:gd name="T115" fmla="*/ 323 h 460"/>
                    <a:gd name="T116" fmla="*/ 418 w 564"/>
                    <a:gd name="T117" fmla="*/ 327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4" h="460">
                      <a:moveTo>
                        <a:pt x="516" y="173"/>
                      </a:moveTo>
                      <a:lnTo>
                        <a:pt x="473" y="45"/>
                      </a:lnTo>
                      <a:lnTo>
                        <a:pt x="473" y="45"/>
                      </a:lnTo>
                      <a:lnTo>
                        <a:pt x="470" y="36"/>
                      </a:lnTo>
                      <a:lnTo>
                        <a:pt x="464" y="28"/>
                      </a:lnTo>
                      <a:lnTo>
                        <a:pt x="457" y="20"/>
                      </a:lnTo>
                      <a:lnTo>
                        <a:pt x="451" y="13"/>
                      </a:lnTo>
                      <a:lnTo>
                        <a:pt x="443" y="8"/>
                      </a:lnTo>
                      <a:lnTo>
                        <a:pt x="433" y="4"/>
                      </a:lnTo>
                      <a:lnTo>
                        <a:pt x="424" y="0"/>
                      </a:lnTo>
                      <a:lnTo>
                        <a:pt x="414" y="0"/>
                      </a:lnTo>
                      <a:lnTo>
                        <a:pt x="150" y="0"/>
                      </a:lnTo>
                      <a:lnTo>
                        <a:pt x="150" y="0"/>
                      </a:lnTo>
                      <a:lnTo>
                        <a:pt x="140" y="0"/>
                      </a:lnTo>
                      <a:lnTo>
                        <a:pt x="131" y="4"/>
                      </a:lnTo>
                      <a:lnTo>
                        <a:pt x="123" y="8"/>
                      </a:lnTo>
                      <a:lnTo>
                        <a:pt x="113" y="13"/>
                      </a:lnTo>
                      <a:lnTo>
                        <a:pt x="107" y="20"/>
                      </a:lnTo>
                      <a:lnTo>
                        <a:pt x="100" y="28"/>
                      </a:lnTo>
                      <a:lnTo>
                        <a:pt x="94" y="36"/>
                      </a:lnTo>
                      <a:lnTo>
                        <a:pt x="91" y="45"/>
                      </a:lnTo>
                      <a:lnTo>
                        <a:pt x="49" y="173"/>
                      </a:lnTo>
                      <a:lnTo>
                        <a:pt x="49" y="173"/>
                      </a:lnTo>
                      <a:lnTo>
                        <a:pt x="40" y="174"/>
                      </a:lnTo>
                      <a:lnTo>
                        <a:pt x="30" y="177"/>
                      </a:lnTo>
                      <a:lnTo>
                        <a:pt x="22" y="184"/>
                      </a:lnTo>
                      <a:lnTo>
                        <a:pt x="14" y="190"/>
                      </a:lnTo>
                      <a:lnTo>
                        <a:pt x="9" y="197"/>
                      </a:lnTo>
                      <a:lnTo>
                        <a:pt x="5" y="206"/>
                      </a:lnTo>
                      <a:lnTo>
                        <a:pt x="1" y="214"/>
                      </a:lnTo>
                      <a:lnTo>
                        <a:pt x="0" y="225"/>
                      </a:lnTo>
                      <a:lnTo>
                        <a:pt x="0" y="382"/>
                      </a:lnTo>
                      <a:lnTo>
                        <a:pt x="65" y="382"/>
                      </a:lnTo>
                      <a:lnTo>
                        <a:pt x="65" y="420"/>
                      </a:lnTo>
                      <a:lnTo>
                        <a:pt x="65" y="420"/>
                      </a:lnTo>
                      <a:lnTo>
                        <a:pt x="67" y="428"/>
                      </a:lnTo>
                      <a:lnTo>
                        <a:pt x="68" y="436"/>
                      </a:lnTo>
                      <a:lnTo>
                        <a:pt x="73" y="442"/>
                      </a:lnTo>
                      <a:lnTo>
                        <a:pt x="78" y="449"/>
                      </a:lnTo>
                      <a:lnTo>
                        <a:pt x="83" y="453"/>
                      </a:lnTo>
                      <a:lnTo>
                        <a:pt x="91" y="456"/>
                      </a:lnTo>
                      <a:lnTo>
                        <a:pt x="99" y="460"/>
                      </a:lnTo>
                      <a:lnTo>
                        <a:pt x="107" y="460"/>
                      </a:lnTo>
                      <a:lnTo>
                        <a:pt x="107" y="460"/>
                      </a:lnTo>
                      <a:lnTo>
                        <a:pt x="115" y="460"/>
                      </a:lnTo>
                      <a:lnTo>
                        <a:pt x="121" y="456"/>
                      </a:lnTo>
                      <a:lnTo>
                        <a:pt x="129" y="453"/>
                      </a:lnTo>
                      <a:lnTo>
                        <a:pt x="134" y="449"/>
                      </a:lnTo>
                      <a:lnTo>
                        <a:pt x="138" y="442"/>
                      </a:lnTo>
                      <a:lnTo>
                        <a:pt x="143" y="436"/>
                      </a:lnTo>
                      <a:lnTo>
                        <a:pt x="145" y="428"/>
                      </a:lnTo>
                      <a:lnTo>
                        <a:pt x="146" y="420"/>
                      </a:lnTo>
                      <a:lnTo>
                        <a:pt x="146" y="382"/>
                      </a:lnTo>
                      <a:lnTo>
                        <a:pt x="418" y="382"/>
                      </a:lnTo>
                      <a:lnTo>
                        <a:pt x="418" y="420"/>
                      </a:lnTo>
                      <a:lnTo>
                        <a:pt x="418" y="420"/>
                      </a:lnTo>
                      <a:lnTo>
                        <a:pt x="419" y="428"/>
                      </a:lnTo>
                      <a:lnTo>
                        <a:pt x="421" y="436"/>
                      </a:lnTo>
                      <a:lnTo>
                        <a:pt x="426" y="442"/>
                      </a:lnTo>
                      <a:lnTo>
                        <a:pt x="430" y="449"/>
                      </a:lnTo>
                      <a:lnTo>
                        <a:pt x="437" y="453"/>
                      </a:lnTo>
                      <a:lnTo>
                        <a:pt x="443" y="456"/>
                      </a:lnTo>
                      <a:lnTo>
                        <a:pt x="451" y="460"/>
                      </a:lnTo>
                      <a:lnTo>
                        <a:pt x="459" y="460"/>
                      </a:lnTo>
                      <a:lnTo>
                        <a:pt x="459" y="460"/>
                      </a:lnTo>
                      <a:lnTo>
                        <a:pt x="467" y="460"/>
                      </a:lnTo>
                      <a:lnTo>
                        <a:pt x="473" y="456"/>
                      </a:lnTo>
                      <a:lnTo>
                        <a:pt x="481" y="453"/>
                      </a:lnTo>
                      <a:lnTo>
                        <a:pt x="486" y="449"/>
                      </a:lnTo>
                      <a:lnTo>
                        <a:pt x="492" y="442"/>
                      </a:lnTo>
                      <a:lnTo>
                        <a:pt x="496" y="436"/>
                      </a:lnTo>
                      <a:lnTo>
                        <a:pt x="497" y="428"/>
                      </a:lnTo>
                      <a:lnTo>
                        <a:pt x="499" y="420"/>
                      </a:lnTo>
                      <a:lnTo>
                        <a:pt x="499" y="382"/>
                      </a:lnTo>
                      <a:lnTo>
                        <a:pt x="564" y="382"/>
                      </a:lnTo>
                      <a:lnTo>
                        <a:pt x="564" y="225"/>
                      </a:lnTo>
                      <a:lnTo>
                        <a:pt x="564" y="225"/>
                      </a:lnTo>
                      <a:lnTo>
                        <a:pt x="563" y="214"/>
                      </a:lnTo>
                      <a:lnTo>
                        <a:pt x="559" y="206"/>
                      </a:lnTo>
                      <a:lnTo>
                        <a:pt x="556" y="197"/>
                      </a:lnTo>
                      <a:lnTo>
                        <a:pt x="550" y="190"/>
                      </a:lnTo>
                      <a:lnTo>
                        <a:pt x="542" y="184"/>
                      </a:lnTo>
                      <a:lnTo>
                        <a:pt x="534" y="177"/>
                      </a:lnTo>
                      <a:lnTo>
                        <a:pt x="526" y="174"/>
                      </a:lnTo>
                      <a:lnTo>
                        <a:pt x="516" y="173"/>
                      </a:lnTo>
                      <a:lnTo>
                        <a:pt x="516" y="173"/>
                      </a:lnTo>
                      <a:close/>
                      <a:moveTo>
                        <a:pt x="145" y="69"/>
                      </a:moveTo>
                      <a:lnTo>
                        <a:pt x="145" y="69"/>
                      </a:lnTo>
                      <a:lnTo>
                        <a:pt x="148" y="64"/>
                      </a:lnTo>
                      <a:lnTo>
                        <a:pt x="151" y="59"/>
                      </a:lnTo>
                      <a:lnTo>
                        <a:pt x="156" y="58"/>
                      </a:lnTo>
                      <a:lnTo>
                        <a:pt x="161" y="56"/>
                      </a:lnTo>
                      <a:lnTo>
                        <a:pt x="402" y="56"/>
                      </a:lnTo>
                      <a:lnTo>
                        <a:pt x="402" y="56"/>
                      </a:lnTo>
                      <a:lnTo>
                        <a:pt x="406" y="58"/>
                      </a:lnTo>
                      <a:lnTo>
                        <a:pt x="410" y="59"/>
                      </a:lnTo>
                      <a:lnTo>
                        <a:pt x="414" y="64"/>
                      </a:lnTo>
                      <a:lnTo>
                        <a:pt x="418" y="69"/>
                      </a:lnTo>
                      <a:lnTo>
                        <a:pt x="451" y="173"/>
                      </a:lnTo>
                      <a:lnTo>
                        <a:pt x="111" y="173"/>
                      </a:lnTo>
                      <a:lnTo>
                        <a:pt x="145" y="69"/>
                      </a:lnTo>
                      <a:close/>
                      <a:moveTo>
                        <a:pt x="146" y="327"/>
                      </a:moveTo>
                      <a:lnTo>
                        <a:pt x="146" y="327"/>
                      </a:lnTo>
                      <a:lnTo>
                        <a:pt x="137" y="326"/>
                      </a:lnTo>
                      <a:lnTo>
                        <a:pt x="129" y="323"/>
                      </a:lnTo>
                      <a:lnTo>
                        <a:pt x="121" y="319"/>
                      </a:lnTo>
                      <a:lnTo>
                        <a:pt x="113" y="313"/>
                      </a:lnTo>
                      <a:lnTo>
                        <a:pt x="108" y="307"/>
                      </a:lnTo>
                      <a:lnTo>
                        <a:pt x="103" y="299"/>
                      </a:lnTo>
                      <a:lnTo>
                        <a:pt x="100" y="289"/>
                      </a:lnTo>
                      <a:lnTo>
                        <a:pt x="99" y="280"/>
                      </a:lnTo>
                      <a:lnTo>
                        <a:pt x="99" y="280"/>
                      </a:lnTo>
                      <a:lnTo>
                        <a:pt x="100" y="270"/>
                      </a:lnTo>
                      <a:lnTo>
                        <a:pt x="103" y="260"/>
                      </a:lnTo>
                      <a:lnTo>
                        <a:pt x="108" y="252"/>
                      </a:lnTo>
                      <a:lnTo>
                        <a:pt x="113" y="246"/>
                      </a:lnTo>
                      <a:lnTo>
                        <a:pt x="121" y="240"/>
                      </a:lnTo>
                      <a:lnTo>
                        <a:pt x="129" y="236"/>
                      </a:lnTo>
                      <a:lnTo>
                        <a:pt x="137" y="233"/>
                      </a:lnTo>
                      <a:lnTo>
                        <a:pt x="146" y="232"/>
                      </a:lnTo>
                      <a:lnTo>
                        <a:pt x="146" y="232"/>
                      </a:lnTo>
                      <a:lnTo>
                        <a:pt x="156" y="233"/>
                      </a:lnTo>
                      <a:lnTo>
                        <a:pt x="166" y="236"/>
                      </a:lnTo>
                      <a:lnTo>
                        <a:pt x="174" y="240"/>
                      </a:lnTo>
                      <a:lnTo>
                        <a:pt x="180" y="246"/>
                      </a:lnTo>
                      <a:lnTo>
                        <a:pt x="186" y="252"/>
                      </a:lnTo>
                      <a:lnTo>
                        <a:pt x="191" y="260"/>
                      </a:lnTo>
                      <a:lnTo>
                        <a:pt x="193" y="270"/>
                      </a:lnTo>
                      <a:lnTo>
                        <a:pt x="194" y="280"/>
                      </a:lnTo>
                      <a:lnTo>
                        <a:pt x="194" y="280"/>
                      </a:lnTo>
                      <a:lnTo>
                        <a:pt x="193" y="289"/>
                      </a:lnTo>
                      <a:lnTo>
                        <a:pt x="191" y="299"/>
                      </a:lnTo>
                      <a:lnTo>
                        <a:pt x="186" y="307"/>
                      </a:lnTo>
                      <a:lnTo>
                        <a:pt x="180" y="313"/>
                      </a:lnTo>
                      <a:lnTo>
                        <a:pt x="174" y="319"/>
                      </a:lnTo>
                      <a:lnTo>
                        <a:pt x="166" y="323"/>
                      </a:lnTo>
                      <a:lnTo>
                        <a:pt x="156" y="326"/>
                      </a:lnTo>
                      <a:lnTo>
                        <a:pt x="146" y="327"/>
                      </a:lnTo>
                      <a:lnTo>
                        <a:pt x="146" y="327"/>
                      </a:lnTo>
                      <a:close/>
                      <a:moveTo>
                        <a:pt x="418" y="327"/>
                      </a:moveTo>
                      <a:lnTo>
                        <a:pt x="418" y="327"/>
                      </a:lnTo>
                      <a:lnTo>
                        <a:pt x="408" y="326"/>
                      </a:lnTo>
                      <a:lnTo>
                        <a:pt x="398" y="323"/>
                      </a:lnTo>
                      <a:lnTo>
                        <a:pt x="390" y="319"/>
                      </a:lnTo>
                      <a:lnTo>
                        <a:pt x="384" y="313"/>
                      </a:lnTo>
                      <a:lnTo>
                        <a:pt x="378" y="307"/>
                      </a:lnTo>
                      <a:lnTo>
                        <a:pt x="374" y="299"/>
                      </a:lnTo>
                      <a:lnTo>
                        <a:pt x="371" y="289"/>
                      </a:lnTo>
                      <a:lnTo>
                        <a:pt x="370" y="280"/>
                      </a:lnTo>
                      <a:lnTo>
                        <a:pt x="370" y="280"/>
                      </a:lnTo>
                      <a:lnTo>
                        <a:pt x="371" y="270"/>
                      </a:lnTo>
                      <a:lnTo>
                        <a:pt x="374" y="260"/>
                      </a:lnTo>
                      <a:lnTo>
                        <a:pt x="378" y="252"/>
                      </a:lnTo>
                      <a:lnTo>
                        <a:pt x="384" y="246"/>
                      </a:lnTo>
                      <a:lnTo>
                        <a:pt x="390" y="240"/>
                      </a:lnTo>
                      <a:lnTo>
                        <a:pt x="398" y="236"/>
                      </a:lnTo>
                      <a:lnTo>
                        <a:pt x="408" y="233"/>
                      </a:lnTo>
                      <a:lnTo>
                        <a:pt x="418" y="232"/>
                      </a:lnTo>
                      <a:lnTo>
                        <a:pt x="418" y="232"/>
                      </a:lnTo>
                      <a:lnTo>
                        <a:pt x="427" y="233"/>
                      </a:lnTo>
                      <a:lnTo>
                        <a:pt x="437" y="236"/>
                      </a:lnTo>
                      <a:lnTo>
                        <a:pt x="445" y="240"/>
                      </a:lnTo>
                      <a:lnTo>
                        <a:pt x="451" y="246"/>
                      </a:lnTo>
                      <a:lnTo>
                        <a:pt x="457" y="252"/>
                      </a:lnTo>
                      <a:lnTo>
                        <a:pt x="461" y="260"/>
                      </a:lnTo>
                      <a:lnTo>
                        <a:pt x="464" y="270"/>
                      </a:lnTo>
                      <a:lnTo>
                        <a:pt x="465" y="280"/>
                      </a:lnTo>
                      <a:lnTo>
                        <a:pt x="465" y="280"/>
                      </a:lnTo>
                      <a:lnTo>
                        <a:pt x="464" y="289"/>
                      </a:lnTo>
                      <a:lnTo>
                        <a:pt x="461" y="299"/>
                      </a:lnTo>
                      <a:lnTo>
                        <a:pt x="457" y="307"/>
                      </a:lnTo>
                      <a:lnTo>
                        <a:pt x="451" y="313"/>
                      </a:lnTo>
                      <a:lnTo>
                        <a:pt x="445" y="319"/>
                      </a:lnTo>
                      <a:lnTo>
                        <a:pt x="437" y="323"/>
                      </a:lnTo>
                      <a:lnTo>
                        <a:pt x="427" y="326"/>
                      </a:lnTo>
                      <a:lnTo>
                        <a:pt x="418" y="327"/>
                      </a:lnTo>
                      <a:lnTo>
                        <a:pt x="418" y="327"/>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878" name="Line 34"/>
                <p:cNvSpPr>
                  <a:spLocks noChangeShapeType="1"/>
                </p:cNvSpPr>
                <p:nvPr/>
              </p:nvSpPr>
              <p:spPr bwMode="auto">
                <a:xfrm>
                  <a:off x="547" y="2108"/>
                  <a:ext cx="0" cy="0"/>
                </a:xfrm>
                <a:prstGeom prst="line">
                  <a:avLst/>
                </a:prstGeom>
                <a:noFill/>
                <a:ln w="34925">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879" name="Freeform 35"/>
                <p:cNvSpPr>
                  <a:spLocks/>
                </p:cNvSpPr>
                <p:nvPr/>
              </p:nvSpPr>
              <p:spPr bwMode="auto">
                <a:xfrm>
                  <a:off x="382" y="2063"/>
                  <a:ext cx="348" cy="236"/>
                </a:xfrm>
                <a:custGeom>
                  <a:avLst/>
                  <a:gdLst>
                    <a:gd name="T0" fmla="*/ 366 w 696"/>
                    <a:gd name="T1" fmla="*/ 5 h 474"/>
                    <a:gd name="T2" fmla="*/ 364 w 696"/>
                    <a:gd name="T3" fmla="*/ 3 h 474"/>
                    <a:gd name="T4" fmla="*/ 361 w 696"/>
                    <a:gd name="T5" fmla="*/ 3 h 474"/>
                    <a:gd name="T6" fmla="*/ 359 w 696"/>
                    <a:gd name="T7" fmla="*/ 2 h 474"/>
                    <a:gd name="T8" fmla="*/ 356 w 696"/>
                    <a:gd name="T9" fmla="*/ 0 h 474"/>
                    <a:gd name="T10" fmla="*/ 354 w 696"/>
                    <a:gd name="T11" fmla="*/ 0 h 474"/>
                    <a:gd name="T12" fmla="*/ 351 w 696"/>
                    <a:gd name="T13" fmla="*/ 0 h 474"/>
                    <a:gd name="T14" fmla="*/ 348 w 696"/>
                    <a:gd name="T15" fmla="*/ 0 h 474"/>
                    <a:gd name="T16" fmla="*/ 346 w 696"/>
                    <a:gd name="T17" fmla="*/ 0 h 474"/>
                    <a:gd name="T18" fmla="*/ 343 w 696"/>
                    <a:gd name="T19" fmla="*/ 0 h 474"/>
                    <a:gd name="T20" fmla="*/ 340 w 696"/>
                    <a:gd name="T21" fmla="*/ 0 h 474"/>
                    <a:gd name="T22" fmla="*/ 339 w 696"/>
                    <a:gd name="T23" fmla="*/ 2 h 474"/>
                    <a:gd name="T24" fmla="*/ 335 w 696"/>
                    <a:gd name="T25" fmla="*/ 3 h 474"/>
                    <a:gd name="T26" fmla="*/ 334 w 696"/>
                    <a:gd name="T27" fmla="*/ 3 h 474"/>
                    <a:gd name="T28" fmla="*/ 332 w 696"/>
                    <a:gd name="T29" fmla="*/ 5 h 474"/>
                    <a:gd name="T30" fmla="*/ 12 w 696"/>
                    <a:gd name="T31" fmla="*/ 244 h 474"/>
                    <a:gd name="T32" fmla="*/ 4 w 696"/>
                    <a:gd name="T33" fmla="*/ 252 h 474"/>
                    <a:gd name="T34" fmla="*/ 0 w 696"/>
                    <a:gd name="T35" fmla="*/ 262 h 474"/>
                    <a:gd name="T36" fmla="*/ 2 w 696"/>
                    <a:gd name="T37" fmla="*/ 273 h 474"/>
                    <a:gd name="T38" fmla="*/ 7 w 696"/>
                    <a:gd name="T39" fmla="*/ 283 h 474"/>
                    <a:gd name="T40" fmla="*/ 10 w 696"/>
                    <a:gd name="T41" fmla="*/ 287 h 474"/>
                    <a:gd name="T42" fmla="*/ 23 w 696"/>
                    <a:gd name="T43" fmla="*/ 292 h 474"/>
                    <a:gd name="T44" fmla="*/ 28 w 696"/>
                    <a:gd name="T45" fmla="*/ 292 h 474"/>
                    <a:gd name="T46" fmla="*/ 45 w 696"/>
                    <a:gd name="T47" fmla="*/ 287 h 474"/>
                    <a:gd name="T48" fmla="*/ 141 w 696"/>
                    <a:gd name="T49" fmla="*/ 474 h 474"/>
                    <a:gd name="T50" fmla="*/ 291 w 696"/>
                    <a:gd name="T51" fmla="*/ 348 h 474"/>
                    <a:gd name="T52" fmla="*/ 292 w 696"/>
                    <a:gd name="T53" fmla="*/ 335 h 474"/>
                    <a:gd name="T54" fmla="*/ 302 w 696"/>
                    <a:gd name="T55" fmla="*/ 316 h 474"/>
                    <a:gd name="T56" fmla="*/ 316 w 696"/>
                    <a:gd name="T57" fmla="*/ 300 h 474"/>
                    <a:gd name="T58" fmla="*/ 337 w 696"/>
                    <a:gd name="T59" fmla="*/ 290 h 474"/>
                    <a:gd name="T60" fmla="*/ 348 w 696"/>
                    <a:gd name="T61" fmla="*/ 290 h 474"/>
                    <a:gd name="T62" fmla="*/ 359 w 696"/>
                    <a:gd name="T63" fmla="*/ 290 h 474"/>
                    <a:gd name="T64" fmla="*/ 380 w 696"/>
                    <a:gd name="T65" fmla="*/ 300 h 474"/>
                    <a:gd name="T66" fmla="*/ 396 w 696"/>
                    <a:gd name="T67" fmla="*/ 316 h 474"/>
                    <a:gd name="T68" fmla="*/ 404 w 696"/>
                    <a:gd name="T69" fmla="*/ 335 h 474"/>
                    <a:gd name="T70" fmla="*/ 405 w 696"/>
                    <a:gd name="T71" fmla="*/ 474 h 474"/>
                    <a:gd name="T72" fmla="*/ 557 w 696"/>
                    <a:gd name="T73" fmla="*/ 216 h 474"/>
                    <a:gd name="T74" fmla="*/ 653 w 696"/>
                    <a:gd name="T75" fmla="*/ 287 h 474"/>
                    <a:gd name="T76" fmla="*/ 669 w 696"/>
                    <a:gd name="T77" fmla="*/ 292 h 474"/>
                    <a:gd name="T78" fmla="*/ 675 w 696"/>
                    <a:gd name="T79" fmla="*/ 292 h 474"/>
                    <a:gd name="T80" fmla="*/ 686 w 696"/>
                    <a:gd name="T81" fmla="*/ 287 h 474"/>
                    <a:gd name="T82" fmla="*/ 691 w 696"/>
                    <a:gd name="T83" fmla="*/ 283 h 474"/>
                    <a:gd name="T84" fmla="*/ 696 w 696"/>
                    <a:gd name="T85" fmla="*/ 273 h 474"/>
                    <a:gd name="T86" fmla="*/ 696 w 696"/>
                    <a:gd name="T87" fmla="*/ 262 h 474"/>
                    <a:gd name="T88" fmla="*/ 692 w 696"/>
                    <a:gd name="T89" fmla="*/ 252 h 474"/>
                    <a:gd name="T90" fmla="*/ 686 w 696"/>
                    <a:gd name="T91" fmla="*/ 24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6" h="474">
                      <a:moveTo>
                        <a:pt x="686" y="244"/>
                      </a:moveTo>
                      <a:lnTo>
                        <a:pt x="366" y="5"/>
                      </a:lnTo>
                      <a:lnTo>
                        <a:pt x="366" y="5"/>
                      </a:lnTo>
                      <a:lnTo>
                        <a:pt x="364" y="3"/>
                      </a:lnTo>
                      <a:lnTo>
                        <a:pt x="364" y="3"/>
                      </a:lnTo>
                      <a:lnTo>
                        <a:pt x="361" y="3"/>
                      </a:lnTo>
                      <a:lnTo>
                        <a:pt x="361" y="3"/>
                      </a:lnTo>
                      <a:lnTo>
                        <a:pt x="359" y="2"/>
                      </a:lnTo>
                      <a:lnTo>
                        <a:pt x="359" y="2"/>
                      </a:lnTo>
                      <a:lnTo>
                        <a:pt x="356" y="0"/>
                      </a:lnTo>
                      <a:lnTo>
                        <a:pt x="356" y="0"/>
                      </a:lnTo>
                      <a:lnTo>
                        <a:pt x="354" y="0"/>
                      </a:lnTo>
                      <a:lnTo>
                        <a:pt x="354" y="0"/>
                      </a:lnTo>
                      <a:lnTo>
                        <a:pt x="351" y="0"/>
                      </a:lnTo>
                      <a:lnTo>
                        <a:pt x="351" y="0"/>
                      </a:lnTo>
                      <a:lnTo>
                        <a:pt x="348" y="0"/>
                      </a:lnTo>
                      <a:lnTo>
                        <a:pt x="348" y="0"/>
                      </a:lnTo>
                      <a:lnTo>
                        <a:pt x="346" y="0"/>
                      </a:lnTo>
                      <a:lnTo>
                        <a:pt x="346" y="0"/>
                      </a:lnTo>
                      <a:lnTo>
                        <a:pt x="343" y="0"/>
                      </a:lnTo>
                      <a:lnTo>
                        <a:pt x="343" y="0"/>
                      </a:lnTo>
                      <a:lnTo>
                        <a:pt x="340" y="0"/>
                      </a:lnTo>
                      <a:lnTo>
                        <a:pt x="340" y="0"/>
                      </a:lnTo>
                      <a:lnTo>
                        <a:pt x="339" y="2"/>
                      </a:lnTo>
                      <a:lnTo>
                        <a:pt x="339" y="2"/>
                      </a:lnTo>
                      <a:lnTo>
                        <a:pt x="335" y="3"/>
                      </a:lnTo>
                      <a:lnTo>
                        <a:pt x="335" y="3"/>
                      </a:lnTo>
                      <a:lnTo>
                        <a:pt x="334" y="3"/>
                      </a:lnTo>
                      <a:lnTo>
                        <a:pt x="334" y="3"/>
                      </a:lnTo>
                      <a:lnTo>
                        <a:pt x="332" y="5"/>
                      </a:lnTo>
                      <a:lnTo>
                        <a:pt x="12" y="244"/>
                      </a:lnTo>
                      <a:lnTo>
                        <a:pt x="12" y="244"/>
                      </a:lnTo>
                      <a:lnTo>
                        <a:pt x="7" y="247"/>
                      </a:lnTo>
                      <a:lnTo>
                        <a:pt x="4" y="252"/>
                      </a:lnTo>
                      <a:lnTo>
                        <a:pt x="2" y="257"/>
                      </a:lnTo>
                      <a:lnTo>
                        <a:pt x="0" y="262"/>
                      </a:lnTo>
                      <a:lnTo>
                        <a:pt x="0" y="267"/>
                      </a:lnTo>
                      <a:lnTo>
                        <a:pt x="2" y="273"/>
                      </a:lnTo>
                      <a:lnTo>
                        <a:pt x="4" y="278"/>
                      </a:lnTo>
                      <a:lnTo>
                        <a:pt x="7" y="283"/>
                      </a:lnTo>
                      <a:lnTo>
                        <a:pt x="7" y="283"/>
                      </a:lnTo>
                      <a:lnTo>
                        <a:pt x="10" y="287"/>
                      </a:lnTo>
                      <a:lnTo>
                        <a:pt x="16" y="290"/>
                      </a:lnTo>
                      <a:lnTo>
                        <a:pt x="23" y="292"/>
                      </a:lnTo>
                      <a:lnTo>
                        <a:pt x="28" y="292"/>
                      </a:lnTo>
                      <a:lnTo>
                        <a:pt x="28" y="292"/>
                      </a:lnTo>
                      <a:lnTo>
                        <a:pt x="37" y="292"/>
                      </a:lnTo>
                      <a:lnTo>
                        <a:pt x="45" y="287"/>
                      </a:lnTo>
                      <a:lnTo>
                        <a:pt x="141" y="216"/>
                      </a:lnTo>
                      <a:lnTo>
                        <a:pt x="141" y="474"/>
                      </a:lnTo>
                      <a:lnTo>
                        <a:pt x="291" y="474"/>
                      </a:lnTo>
                      <a:lnTo>
                        <a:pt x="291" y="348"/>
                      </a:lnTo>
                      <a:lnTo>
                        <a:pt x="291" y="348"/>
                      </a:lnTo>
                      <a:lnTo>
                        <a:pt x="292" y="335"/>
                      </a:lnTo>
                      <a:lnTo>
                        <a:pt x="295" y="326"/>
                      </a:lnTo>
                      <a:lnTo>
                        <a:pt x="302" y="316"/>
                      </a:lnTo>
                      <a:lnTo>
                        <a:pt x="308" y="306"/>
                      </a:lnTo>
                      <a:lnTo>
                        <a:pt x="316" y="300"/>
                      </a:lnTo>
                      <a:lnTo>
                        <a:pt x="326" y="295"/>
                      </a:lnTo>
                      <a:lnTo>
                        <a:pt x="337" y="290"/>
                      </a:lnTo>
                      <a:lnTo>
                        <a:pt x="348" y="290"/>
                      </a:lnTo>
                      <a:lnTo>
                        <a:pt x="348" y="290"/>
                      </a:lnTo>
                      <a:lnTo>
                        <a:pt x="348" y="290"/>
                      </a:lnTo>
                      <a:lnTo>
                        <a:pt x="359" y="290"/>
                      </a:lnTo>
                      <a:lnTo>
                        <a:pt x="370" y="295"/>
                      </a:lnTo>
                      <a:lnTo>
                        <a:pt x="380" y="300"/>
                      </a:lnTo>
                      <a:lnTo>
                        <a:pt x="390" y="306"/>
                      </a:lnTo>
                      <a:lnTo>
                        <a:pt x="396" y="316"/>
                      </a:lnTo>
                      <a:lnTo>
                        <a:pt x="401" y="326"/>
                      </a:lnTo>
                      <a:lnTo>
                        <a:pt x="404" y="335"/>
                      </a:lnTo>
                      <a:lnTo>
                        <a:pt x="405" y="348"/>
                      </a:lnTo>
                      <a:lnTo>
                        <a:pt x="405" y="474"/>
                      </a:lnTo>
                      <a:lnTo>
                        <a:pt x="557" y="474"/>
                      </a:lnTo>
                      <a:lnTo>
                        <a:pt x="557" y="216"/>
                      </a:lnTo>
                      <a:lnTo>
                        <a:pt x="653" y="287"/>
                      </a:lnTo>
                      <a:lnTo>
                        <a:pt x="653" y="287"/>
                      </a:lnTo>
                      <a:lnTo>
                        <a:pt x="661" y="292"/>
                      </a:lnTo>
                      <a:lnTo>
                        <a:pt x="669" y="292"/>
                      </a:lnTo>
                      <a:lnTo>
                        <a:pt x="669" y="292"/>
                      </a:lnTo>
                      <a:lnTo>
                        <a:pt x="675" y="292"/>
                      </a:lnTo>
                      <a:lnTo>
                        <a:pt x="681" y="290"/>
                      </a:lnTo>
                      <a:lnTo>
                        <a:pt x="686" y="287"/>
                      </a:lnTo>
                      <a:lnTo>
                        <a:pt x="691" y="283"/>
                      </a:lnTo>
                      <a:lnTo>
                        <a:pt x="691" y="283"/>
                      </a:lnTo>
                      <a:lnTo>
                        <a:pt x="694" y="278"/>
                      </a:lnTo>
                      <a:lnTo>
                        <a:pt x="696" y="273"/>
                      </a:lnTo>
                      <a:lnTo>
                        <a:pt x="696" y="267"/>
                      </a:lnTo>
                      <a:lnTo>
                        <a:pt x="696" y="262"/>
                      </a:lnTo>
                      <a:lnTo>
                        <a:pt x="696" y="257"/>
                      </a:lnTo>
                      <a:lnTo>
                        <a:pt x="692" y="252"/>
                      </a:lnTo>
                      <a:lnTo>
                        <a:pt x="689" y="247"/>
                      </a:lnTo>
                      <a:lnTo>
                        <a:pt x="686" y="244"/>
                      </a:lnTo>
                      <a:lnTo>
                        <a:pt x="686" y="244"/>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880" name="Freeform 36"/>
                <p:cNvSpPr>
                  <a:spLocks/>
                </p:cNvSpPr>
                <p:nvPr/>
              </p:nvSpPr>
              <p:spPr bwMode="auto">
                <a:xfrm>
                  <a:off x="678" y="1928"/>
                  <a:ext cx="234" cy="77"/>
                </a:xfrm>
                <a:custGeom>
                  <a:avLst/>
                  <a:gdLst>
                    <a:gd name="T0" fmla="*/ 234 w 469"/>
                    <a:gd name="T1" fmla="*/ 0 h 154"/>
                    <a:gd name="T2" fmla="*/ 172 w 469"/>
                    <a:gd name="T3" fmla="*/ 6 h 154"/>
                    <a:gd name="T4" fmla="*/ 113 w 469"/>
                    <a:gd name="T5" fmla="*/ 24 h 154"/>
                    <a:gd name="T6" fmla="*/ 59 w 469"/>
                    <a:gd name="T7" fmla="*/ 54 h 154"/>
                    <a:gd name="T8" fmla="*/ 10 w 469"/>
                    <a:gd name="T9" fmla="*/ 94 h 154"/>
                    <a:gd name="T10" fmla="*/ 6 w 469"/>
                    <a:gd name="T11" fmla="*/ 99 h 154"/>
                    <a:gd name="T12" fmla="*/ 0 w 469"/>
                    <a:gd name="T13" fmla="*/ 111 h 154"/>
                    <a:gd name="T14" fmla="*/ 0 w 469"/>
                    <a:gd name="T15" fmla="*/ 126 h 154"/>
                    <a:gd name="T16" fmla="*/ 6 w 469"/>
                    <a:gd name="T17" fmla="*/ 139 h 154"/>
                    <a:gd name="T18" fmla="*/ 10 w 469"/>
                    <a:gd name="T19" fmla="*/ 143 h 154"/>
                    <a:gd name="T20" fmla="*/ 22 w 469"/>
                    <a:gd name="T21" fmla="*/ 151 h 154"/>
                    <a:gd name="T22" fmla="*/ 35 w 469"/>
                    <a:gd name="T23" fmla="*/ 154 h 154"/>
                    <a:gd name="T24" fmla="*/ 48 w 469"/>
                    <a:gd name="T25" fmla="*/ 151 h 154"/>
                    <a:gd name="T26" fmla="*/ 61 w 469"/>
                    <a:gd name="T27" fmla="*/ 143 h 154"/>
                    <a:gd name="T28" fmla="*/ 78 w 469"/>
                    <a:gd name="T29" fmla="*/ 127 h 154"/>
                    <a:gd name="T30" fmla="*/ 118 w 469"/>
                    <a:gd name="T31" fmla="*/ 100 h 154"/>
                    <a:gd name="T32" fmla="*/ 163 w 469"/>
                    <a:gd name="T33" fmla="*/ 83 h 154"/>
                    <a:gd name="T34" fmla="*/ 209 w 469"/>
                    <a:gd name="T35" fmla="*/ 73 h 154"/>
                    <a:gd name="T36" fmla="*/ 234 w 469"/>
                    <a:gd name="T37" fmla="*/ 72 h 154"/>
                    <a:gd name="T38" fmla="*/ 282 w 469"/>
                    <a:gd name="T39" fmla="*/ 76 h 154"/>
                    <a:gd name="T40" fmla="*/ 329 w 469"/>
                    <a:gd name="T41" fmla="*/ 91 h 154"/>
                    <a:gd name="T42" fmla="*/ 370 w 469"/>
                    <a:gd name="T43" fmla="*/ 113 h 154"/>
                    <a:gd name="T44" fmla="*/ 408 w 469"/>
                    <a:gd name="T45" fmla="*/ 143 h 154"/>
                    <a:gd name="T46" fmla="*/ 413 w 469"/>
                    <a:gd name="T47" fmla="*/ 148 h 154"/>
                    <a:gd name="T48" fmla="*/ 426 w 469"/>
                    <a:gd name="T49" fmla="*/ 153 h 154"/>
                    <a:gd name="T50" fmla="*/ 434 w 469"/>
                    <a:gd name="T51" fmla="*/ 154 h 154"/>
                    <a:gd name="T52" fmla="*/ 446 w 469"/>
                    <a:gd name="T53" fmla="*/ 151 h 154"/>
                    <a:gd name="T54" fmla="*/ 458 w 469"/>
                    <a:gd name="T55" fmla="*/ 143 h 154"/>
                    <a:gd name="T56" fmla="*/ 462 w 469"/>
                    <a:gd name="T57" fmla="*/ 139 h 154"/>
                    <a:gd name="T58" fmla="*/ 467 w 469"/>
                    <a:gd name="T59" fmla="*/ 126 h 154"/>
                    <a:gd name="T60" fmla="*/ 467 w 469"/>
                    <a:gd name="T61" fmla="*/ 111 h 154"/>
                    <a:gd name="T62" fmla="*/ 462 w 469"/>
                    <a:gd name="T63" fmla="*/ 99 h 154"/>
                    <a:gd name="T64" fmla="*/ 458 w 469"/>
                    <a:gd name="T65" fmla="*/ 94 h 154"/>
                    <a:gd name="T66" fmla="*/ 410 w 469"/>
                    <a:gd name="T67" fmla="*/ 54 h 154"/>
                    <a:gd name="T68" fmla="*/ 356 w 469"/>
                    <a:gd name="T69" fmla="*/ 24 h 154"/>
                    <a:gd name="T70" fmla="*/ 297 w 469"/>
                    <a:gd name="T71" fmla="*/ 6 h 154"/>
                    <a:gd name="T72" fmla="*/ 234 w 469"/>
                    <a:gd name="T7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9" h="154">
                      <a:moveTo>
                        <a:pt x="234" y="0"/>
                      </a:moveTo>
                      <a:lnTo>
                        <a:pt x="234" y="0"/>
                      </a:lnTo>
                      <a:lnTo>
                        <a:pt x="203" y="1"/>
                      </a:lnTo>
                      <a:lnTo>
                        <a:pt x="172" y="6"/>
                      </a:lnTo>
                      <a:lnTo>
                        <a:pt x="142" y="14"/>
                      </a:lnTo>
                      <a:lnTo>
                        <a:pt x="113" y="24"/>
                      </a:lnTo>
                      <a:lnTo>
                        <a:pt x="85" y="38"/>
                      </a:lnTo>
                      <a:lnTo>
                        <a:pt x="59" y="54"/>
                      </a:lnTo>
                      <a:lnTo>
                        <a:pt x="34" y="72"/>
                      </a:lnTo>
                      <a:lnTo>
                        <a:pt x="10" y="94"/>
                      </a:lnTo>
                      <a:lnTo>
                        <a:pt x="10" y="94"/>
                      </a:lnTo>
                      <a:lnTo>
                        <a:pt x="6" y="99"/>
                      </a:lnTo>
                      <a:lnTo>
                        <a:pt x="2" y="105"/>
                      </a:lnTo>
                      <a:lnTo>
                        <a:pt x="0" y="111"/>
                      </a:lnTo>
                      <a:lnTo>
                        <a:pt x="0" y="118"/>
                      </a:lnTo>
                      <a:lnTo>
                        <a:pt x="0" y="126"/>
                      </a:lnTo>
                      <a:lnTo>
                        <a:pt x="2" y="132"/>
                      </a:lnTo>
                      <a:lnTo>
                        <a:pt x="6" y="139"/>
                      </a:lnTo>
                      <a:lnTo>
                        <a:pt x="10" y="143"/>
                      </a:lnTo>
                      <a:lnTo>
                        <a:pt x="10" y="143"/>
                      </a:lnTo>
                      <a:lnTo>
                        <a:pt x="16" y="148"/>
                      </a:lnTo>
                      <a:lnTo>
                        <a:pt x="22" y="151"/>
                      </a:lnTo>
                      <a:lnTo>
                        <a:pt x="29" y="153"/>
                      </a:lnTo>
                      <a:lnTo>
                        <a:pt x="35" y="154"/>
                      </a:lnTo>
                      <a:lnTo>
                        <a:pt x="41" y="153"/>
                      </a:lnTo>
                      <a:lnTo>
                        <a:pt x="48" y="151"/>
                      </a:lnTo>
                      <a:lnTo>
                        <a:pt x="54" y="148"/>
                      </a:lnTo>
                      <a:lnTo>
                        <a:pt x="61" y="143"/>
                      </a:lnTo>
                      <a:lnTo>
                        <a:pt x="61" y="143"/>
                      </a:lnTo>
                      <a:lnTo>
                        <a:pt x="78" y="127"/>
                      </a:lnTo>
                      <a:lnTo>
                        <a:pt x="97" y="113"/>
                      </a:lnTo>
                      <a:lnTo>
                        <a:pt x="118" y="100"/>
                      </a:lnTo>
                      <a:lnTo>
                        <a:pt x="140" y="91"/>
                      </a:lnTo>
                      <a:lnTo>
                        <a:pt x="163" y="83"/>
                      </a:lnTo>
                      <a:lnTo>
                        <a:pt x="185" y="76"/>
                      </a:lnTo>
                      <a:lnTo>
                        <a:pt x="209" y="73"/>
                      </a:lnTo>
                      <a:lnTo>
                        <a:pt x="234" y="72"/>
                      </a:lnTo>
                      <a:lnTo>
                        <a:pt x="234" y="72"/>
                      </a:lnTo>
                      <a:lnTo>
                        <a:pt x="258" y="73"/>
                      </a:lnTo>
                      <a:lnTo>
                        <a:pt x="282" y="76"/>
                      </a:lnTo>
                      <a:lnTo>
                        <a:pt x="306" y="83"/>
                      </a:lnTo>
                      <a:lnTo>
                        <a:pt x="329" y="91"/>
                      </a:lnTo>
                      <a:lnTo>
                        <a:pt x="349" y="100"/>
                      </a:lnTo>
                      <a:lnTo>
                        <a:pt x="370" y="113"/>
                      </a:lnTo>
                      <a:lnTo>
                        <a:pt x="389" y="127"/>
                      </a:lnTo>
                      <a:lnTo>
                        <a:pt x="408" y="143"/>
                      </a:lnTo>
                      <a:lnTo>
                        <a:pt x="408" y="143"/>
                      </a:lnTo>
                      <a:lnTo>
                        <a:pt x="413" y="148"/>
                      </a:lnTo>
                      <a:lnTo>
                        <a:pt x="419" y="151"/>
                      </a:lnTo>
                      <a:lnTo>
                        <a:pt x="426" y="153"/>
                      </a:lnTo>
                      <a:lnTo>
                        <a:pt x="434" y="154"/>
                      </a:lnTo>
                      <a:lnTo>
                        <a:pt x="434" y="154"/>
                      </a:lnTo>
                      <a:lnTo>
                        <a:pt x="440" y="153"/>
                      </a:lnTo>
                      <a:lnTo>
                        <a:pt x="446" y="151"/>
                      </a:lnTo>
                      <a:lnTo>
                        <a:pt x="453" y="148"/>
                      </a:lnTo>
                      <a:lnTo>
                        <a:pt x="458" y="143"/>
                      </a:lnTo>
                      <a:lnTo>
                        <a:pt x="458" y="143"/>
                      </a:lnTo>
                      <a:lnTo>
                        <a:pt x="462" y="139"/>
                      </a:lnTo>
                      <a:lnTo>
                        <a:pt x="466" y="132"/>
                      </a:lnTo>
                      <a:lnTo>
                        <a:pt x="467" y="126"/>
                      </a:lnTo>
                      <a:lnTo>
                        <a:pt x="469" y="118"/>
                      </a:lnTo>
                      <a:lnTo>
                        <a:pt x="467" y="111"/>
                      </a:lnTo>
                      <a:lnTo>
                        <a:pt x="466" y="105"/>
                      </a:lnTo>
                      <a:lnTo>
                        <a:pt x="462" y="99"/>
                      </a:lnTo>
                      <a:lnTo>
                        <a:pt x="458" y="94"/>
                      </a:lnTo>
                      <a:lnTo>
                        <a:pt x="458" y="94"/>
                      </a:lnTo>
                      <a:lnTo>
                        <a:pt x="435" y="72"/>
                      </a:lnTo>
                      <a:lnTo>
                        <a:pt x="410" y="54"/>
                      </a:lnTo>
                      <a:lnTo>
                        <a:pt x="383" y="38"/>
                      </a:lnTo>
                      <a:lnTo>
                        <a:pt x="356" y="24"/>
                      </a:lnTo>
                      <a:lnTo>
                        <a:pt x="327" y="14"/>
                      </a:lnTo>
                      <a:lnTo>
                        <a:pt x="297" y="6"/>
                      </a:lnTo>
                      <a:lnTo>
                        <a:pt x="266" y="1"/>
                      </a:lnTo>
                      <a:lnTo>
                        <a:pt x="234" y="0"/>
                      </a:lnTo>
                      <a:lnTo>
                        <a:pt x="234"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881" name="Freeform 37"/>
                <p:cNvSpPr>
                  <a:spLocks/>
                </p:cNvSpPr>
                <p:nvPr/>
              </p:nvSpPr>
              <p:spPr bwMode="auto">
                <a:xfrm>
                  <a:off x="724" y="1993"/>
                  <a:ext cx="142" cy="58"/>
                </a:xfrm>
                <a:custGeom>
                  <a:avLst/>
                  <a:gdLst>
                    <a:gd name="T0" fmla="*/ 9 w 283"/>
                    <a:gd name="T1" fmla="*/ 54 h 114"/>
                    <a:gd name="T2" fmla="*/ 1 w 283"/>
                    <a:gd name="T3" fmla="*/ 67 h 114"/>
                    <a:gd name="T4" fmla="*/ 0 w 283"/>
                    <a:gd name="T5" fmla="*/ 79 h 114"/>
                    <a:gd name="T6" fmla="*/ 1 w 283"/>
                    <a:gd name="T7" fmla="*/ 92 h 114"/>
                    <a:gd name="T8" fmla="*/ 9 w 283"/>
                    <a:gd name="T9" fmla="*/ 105 h 114"/>
                    <a:gd name="T10" fmla="*/ 15 w 283"/>
                    <a:gd name="T11" fmla="*/ 110 h 114"/>
                    <a:gd name="T12" fmla="*/ 28 w 283"/>
                    <a:gd name="T13" fmla="*/ 114 h 114"/>
                    <a:gd name="T14" fmla="*/ 41 w 283"/>
                    <a:gd name="T15" fmla="*/ 114 h 114"/>
                    <a:gd name="T16" fmla="*/ 54 w 283"/>
                    <a:gd name="T17" fmla="*/ 110 h 114"/>
                    <a:gd name="T18" fmla="*/ 60 w 283"/>
                    <a:gd name="T19" fmla="*/ 105 h 114"/>
                    <a:gd name="T20" fmla="*/ 78 w 283"/>
                    <a:gd name="T21" fmla="*/ 90 h 114"/>
                    <a:gd name="T22" fmla="*/ 98 w 283"/>
                    <a:gd name="T23" fmla="*/ 79 h 114"/>
                    <a:gd name="T24" fmla="*/ 119 w 283"/>
                    <a:gd name="T25" fmla="*/ 73 h 114"/>
                    <a:gd name="T26" fmla="*/ 141 w 283"/>
                    <a:gd name="T27" fmla="*/ 71 h 114"/>
                    <a:gd name="T28" fmla="*/ 164 w 283"/>
                    <a:gd name="T29" fmla="*/ 73 h 114"/>
                    <a:gd name="T30" fmla="*/ 184 w 283"/>
                    <a:gd name="T31" fmla="*/ 79 h 114"/>
                    <a:gd name="T32" fmla="*/ 205 w 283"/>
                    <a:gd name="T33" fmla="*/ 90 h 114"/>
                    <a:gd name="T34" fmla="*/ 223 w 283"/>
                    <a:gd name="T35" fmla="*/ 105 h 114"/>
                    <a:gd name="T36" fmla="*/ 229 w 283"/>
                    <a:gd name="T37" fmla="*/ 110 h 114"/>
                    <a:gd name="T38" fmla="*/ 242 w 283"/>
                    <a:gd name="T39" fmla="*/ 114 h 114"/>
                    <a:gd name="T40" fmla="*/ 248 w 283"/>
                    <a:gd name="T41" fmla="*/ 114 h 114"/>
                    <a:gd name="T42" fmla="*/ 261 w 283"/>
                    <a:gd name="T43" fmla="*/ 113 h 114"/>
                    <a:gd name="T44" fmla="*/ 274 w 283"/>
                    <a:gd name="T45" fmla="*/ 105 h 114"/>
                    <a:gd name="T46" fmla="*/ 277 w 283"/>
                    <a:gd name="T47" fmla="*/ 98 h 114"/>
                    <a:gd name="T48" fmla="*/ 283 w 283"/>
                    <a:gd name="T49" fmla="*/ 86 h 114"/>
                    <a:gd name="T50" fmla="*/ 283 w 283"/>
                    <a:gd name="T51" fmla="*/ 73 h 114"/>
                    <a:gd name="T52" fmla="*/ 277 w 283"/>
                    <a:gd name="T53" fmla="*/ 60 h 114"/>
                    <a:gd name="T54" fmla="*/ 274 w 283"/>
                    <a:gd name="T55" fmla="*/ 54 h 114"/>
                    <a:gd name="T56" fmla="*/ 243 w 283"/>
                    <a:gd name="T57" fmla="*/ 30 h 114"/>
                    <a:gd name="T58" fmla="*/ 212 w 283"/>
                    <a:gd name="T59" fmla="*/ 14 h 114"/>
                    <a:gd name="T60" fmla="*/ 177 w 283"/>
                    <a:gd name="T61" fmla="*/ 3 h 114"/>
                    <a:gd name="T62" fmla="*/ 141 w 283"/>
                    <a:gd name="T63" fmla="*/ 0 h 114"/>
                    <a:gd name="T64" fmla="*/ 105 w 283"/>
                    <a:gd name="T65" fmla="*/ 3 h 114"/>
                    <a:gd name="T66" fmla="*/ 71 w 283"/>
                    <a:gd name="T67" fmla="*/ 14 h 114"/>
                    <a:gd name="T68" fmla="*/ 38 w 283"/>
                    <a:gd name="T69" fmla="*/ 30 h 114"/>
                    <a:gd name="T70" fmla="*/ 9 w 283"/>
                    <a:gd name="T71" fmla="*/ 5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114">
                      <a:moveTo>
                        <a:pt x="9" y="54"/>
                      </a:moveTo>
                      <a:lnTo>
                        <a:pt x="9" y="54"/>
                      </a:lnTo>
                      <a:lnTo>
                        <a:pt x="4" y="60"/>
                      </a:lnTo>
                      <a:lnTo>
                        <a:pt x="1" y="67"/>
                      </a:lnTo>
                      <a:lnTo>
                        <a:pt x="0" y="73"/>
                      </a:lnTo>
                      <a:lnTo>
                        <a:pt x="0" y="79"/>
                      </a:lnTo>
                      <a:lnTo>
                        <a:pt x="0" y="86"/>
                      </a:lnTo>
                      <a:lnTo>
                        <a:pt x="1" y="92"/>
                      </a:lnTo>
                      <a:lnTo>
                        <a:pt x="4" y="98"/>
                      </a:lnTo>
                      <a:lnTo>
                        <a:pt x="9" y="105"/>
                      </a:lnTo>
                      <a:lnTo>
                        <a:pt x="9" y="105"/>
                      </a:lnTo>
                      <a:lnTo>
                        <a:pt x="15" y="110"/>
                      </a:lnTo>
                      <a:lnTo>
                        <a:pt x="20" y="113"/>
                      </a:lnTo>
                      <a:lnTo>
                        <a:pt x="28" y="114"/>
                      </a:lnTo>
                      <a:lnTo>
                        <a:pt x="35" y="114"/>
                      </a:lnTo>
                      <a:lnTo>
                        <a:pt x="41" y="114"/>
                      </a:lnTo>
                      <a:lnTo>
                        <a:pt x="47" y="113"/>
                      </a:lnTo>
                      <a:lnTo>
                        <a:pt x="54" y="110"/>
                      </a:lnTo>
                      <a:lnTo>
                        <a:pt x="60" y="105"/>
                      </a:lnTo>
                      <a:lnTo>
                        <a:pt x="60" y="105"/>
                      </a:lnTo>
                      <a:lnTo>
                        <a:pt x="68" y="97"/>
                      </a:lnTo>
                      <a:lnTo>
                        <a:pt x="78" y="90"/>
                      </a:lnTo>
                      <a:lnTo>
                        <a:pt x="87" y="84"/>
                      </a:lnTo>
                      <a:lnTo>
                        <a:pt x="98" y="79"/>
                      </a:lnTo>
                      <a:lnTo>
                        <a:pt x="108" y="76"/>
                      </a:lnTo>
                      <a:lnTo>
                        <a:pt x="119" y="73"/>
                      </a:lnTo>
                      <a:lnTo>
                        <a:pt x="130" y="71"/>
                      </a:lnTo>
                      <a:lnTo>
                        <a:pt x="141" y="71"/>
                      </a:lnTo>
                      <a:lnTo>
                        <a:pt x="153" y="71"/>
                      </a:lnTo>
                      <a:lnTo>
                        <a:pt x="164" y="73"/>
                      </a:lnTo>
                      <a:lnTo>
                        <a:pt x="173" y="76"/>
                      </a:lnTo>
                      <a:lnTo>
                        <a:pt x="184" y="79"/>
                      </a:lnTo>
                      <a:lnTo>
                        <a:pt x="196" y="84"/>
                      </a:lnTo>
                      <a:lnTo>
                        <a:pt x="205" y="90"/>
                      </a:lnTo>
                      <a:lnTo>
                        <a:pt x="215" y="97"/>
                      </a:lnTo>
                      <a:lnTo>
                        <a:pt x="223" y="105"/>
                      </a:lnTo>
                      <a:lnTo>
                        <a:pt x="223" y="105"/>
                      </a:lnTo>
                      <a:lnTo>
                        <a:pt x="229" y="110"/>
                      </a:lnTo>
                      <a:lnTo>
                        <a:pt x="234" y="113"/>
                      </a:lnTo>
                      <a:lnTo>
                        <a:pt x="242" y="114"/>
                      </a:lnTo>
                      <a:lnTo>
                        <a:pt x="248" y="114"/>
                      </a:lnTo>
                      <a:lnTo>
                        <a:pt x="248" y="114"/>
                      </a:lnTo>
                      <a:lnTo>
                        <a:pt x="255" y="114"/>
                      </a:lnTo>
                      <a:lnTo>
                        <a:pt x="261" y="113"/>
                      </a:lnTo>
                      <a:lnTo>
                        <a:pt x="267" y="110"/>
                      </a:lnTo>
                      <a:lnTo>
                        <a:pt x="274" y="105"/>
                      </a:lnTo>
                      <a:lnTo>
                        <a:pt x="274" y="105"/>
                      </a:lnTo>
                      <a:lnTo>
                        <a:pt x="277" y="98"/>
                      </a:lnTo>
                      <a:lnTo>
                        <a:pt x="280" y="92"/>
                      </a:lnTo>
                      <a:lnTo>
                        <a:pt x="283" y="86"/>
                      </a:lnTo>
                      <a:lnTo>
                        <a:pt x="283" y="79"/>
                      </a:lnTo>
                      <a:lnTo>
                        <a:pt x="283" y="73"/>
                      </a:lnTo>
                      <a:lnTo>
                        <a:pt x="280" y="67"/>
                      </a:lnTo>
                      <a:lnTo>
                        <a:pt x="277" y="60"/>
                      </a:lnTo>
                      <a:lnTo>
                        <a:pt x="274" y="54"/>
                      </a:lnTo>
                      <a:lnTo>
                        <a:pt x="274" y="54"/>
                      </a:lnTo>
                      <a:lnTo>
                        <a:pt x="259" y="41"/>
                      </a:lnTo>
                      <a:lnTo>
                        <a:pt x="243" y="30"/>
                      </a:lnTo>
                      <a:lnTo>
                        <a:pt x="228" y="20"/>
                      </a:lnTo>
                      <a:lnTo>
                        <a:pt x="212" y="14"/>
                      </a:lnTo>
                      <a:lnTo>
                        <a:pt x="194" y="8"/>
                      </a:lnTo>
                      <a:lnTo>
                        <a:pt x="177" y="3"/>
                      </a:lnTo>
                      <a:lnTo>
                        <a:pt x="159" y="1"/>
                      </a:lnTo>
                      <a:lnTo>
                        <a:pt x="141" y="0"/>
                      </a:lnTo>
                      <a:lnTo>
                        <a:pt x="124" y="1"/>
                      </a:lnTo>
                      <a:lnTo>
                        <a:pt x="105" y="3"/>
                      </a:lnTo>
                      <a:lnTo>
                        <a:pt x="87" y="8"/>
                      </a:lnTo>
                      <a:lnTo>
                        <a:pt x="71" y="14"/>
                      </a:lnTo>
                      <a:lnTo>
                        <a:pt x="54" y="20"/>
                      </a:lnTo>
                      <a:lnTo>
                        <a:pt x="38" y="30"/>
                      </a:lnTo>
                      <a:lnTo>
                        <a:pt x="23" y="41"/>
                      </a:lnTo>
                      <a:lnTo>
                        <a:pt x="9" y="54"/>
                      </a:lnTo>
                      <a:lnTo>
                        <a:pt x="9" y="54"/>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882" name="Freeform 38"/>
                <p:cNvSpPr>
                  <a:spLocks/>
                </p:cNvSpPr>
                <p:nvPr/>
              </p:nvSpPr>
              <p:spPr bwMode="auto">
                <a:xfrm>
                  <a:off x="770" y="2067"/>
                  <a:ext cx="49" cy="49"/>
                </a:xfrm>
                <a:custGeom>
                  <a:avLst/>
                  <a:gdLst>
                    <a:gd name="T0" fmla="*/ 49 w 97"/>
                    <a:gd name="T1" fmla="*/ 0 h 99"/>
                    <a:gd name="T2" fmla="*/ 49 w 97"/>
                    <a:gd name="T3" fmla="*/ 0 h 99"/>
                    <a:gd name="T4" fmla="*/ 40 w 97"/>
                    <a:gd name="T5" fmla="*/ 2 h 99"/>
                    <a:gd name="T6" fmla="*/ 30 w 97"/>
                    <a:gd name="T7" fmla="*/ 5 h 99"/>
                    <a:gd name="T8" fmla="*/ 22 w 97"/>
                    <a:gd name="T9" fmla="*/ 10 h 99"/>
                    <a:gd name="T10" fmla="*/ 14 w 97"/>
                    <a:gd name="T11" fmla="*/ 15 h 99"/>
                    <a:gd name="T12" fmla="*/ 8 w 97"/>
                    <a:gd name="T13" fmla="*/ 23 h 99"/>
                    <a:gd name="T14" fmla="*/ 5 w 97"/>
                    <a:gd name="T15" fmla="*/ 31 h 99"/>
                    <a:gd name="T16" fmla="*/ 2 w 97"/>
                    <a:gd name="T17" fmla="*/ 40 h 99"/>
                    <a:gd name="T18" fmla="*/ 0 w 97"/>
                    <a:gd name="T19" fmla="*/ 50 h 99"/>
                    <a:gd name="T20" fmla="*/ 0 w 97"/>
                    <a:gd name="T21" fmla="*/ 50 h 99"/>
                    <a:gd name="T22" fmla="*/ 2 w 97"/>
                    <a:gd name="T23" fmla="*/ 59 h 99"/>
                    <a:gd name="T24" fmla="*/ 5 w 97"/>
                    <a:gd name="T25" fmla="*/ 69 h 99"/>
                    <a:gd name="T26" fmla="*/ 8 w 97"/>
                    <a:gd name="T27" fmla="*/ 77 h 99"/>
                    <a:gd name="T28" fmla="*/ 14 w 97"/>
                    <a:gd name="T29" fmla="*/ 85 h 99"/>
                    <a:gd name="T30" fmla="*/ 22 w 97"/>
                    <a:gd name="T31" fmla="*/ 90 h 99"/>
                    <a:gd name="T32" fmla="*/ 30 w 97"/>
                    <a:gd name="T33" fmla="*/ 94 h 99"/>
                    <a:gd name="T34" fmla="*/ 40 w 97"/>
                    <a:gd name="T35" fmla="*/ 98 h 99"/>
                    <a:gd name="T36" fmla="*/ 49 w 97"/>
                    <a:gd name="T37" fmla="*/ 99 h 99"/>
                    <a:gd name="T38" fmla="*/ 49 w 97"/>
                    <a:gd name="T39" fmla="*/ 99 h 99"/>
                    <a:gd name="T40" fmla="*/ 59 w 97"/>
                    <a:gd name="T41" fmla="*/ 98 h 99"/>
                    <a:gd name="T42" fmla="*/ 69 w 97"/>
                    <a:gd name="T43" fmla="*/ 94 h 99"/>
                    <a:gd name="T44" fmla="*/ 77 w 97"/>
                    <a:gd name="T45" fmla="*/ 90 h 99"/>
                    <a:gd name="T46" fmla="*/ 83 w 97"/>
                    <a:gd name="T47" fmla="*/ 85 h 99"/>
                    <a:gd name="T48" fmla="*/ 89 w 97"/>
                    <a:gd name="T49" fmla="*/ 77 h 99"/>
                    <a:gd name="T50" fmla="*/ 94 w 97"/>
                    <a:gd name="T51" fmla="*/ 69 h 99"/>
                    <a:gd name="T52" fmla="*/ 97 w 97"/>
                    <a:gd name="T53" fmla="*/ 59 h 99"/>
                    <a:gd name="T54" fmla="*/ 97 w 97"/>
                    <a:gd name="T55" fmla="*/ 50 h 99"/>
                    <a:gd name="T56" fmla="*/ 97 w 97"/>
                    <a:gd name="T57" fmla="*/ 50 h 99"/>
                    <a:gd name="T58" fmla="*/ 97 w 97"/>
                    <a:gd name="T59" fmla="*/ 40 h 99"/>
                    <a:gd name="T60" fmla="*/ 94 w 97"/>
                    <a:gd name="T61" fmla="*/ 31 h 99"/>
                    <a:gd name="T62" fmla="*/ 89 w 97"/>
                    <a:gd name="T63" fmla="*/ 23 h 99"/>
                    <a:gd name="T64" fmla="*/ 83 w 97"/>
                    <a:gd name="T65" fmla="*/ 15 h 99"/>
                    <a:gd name="T66" fmla="*/ 77 w 97"/>
                    <a:gd name="T67" fmla="*/ 10 h 99"/>
                    <a:gd name="T68" fmla="*/ 69 w 97"/>
                    <a:gd name="T69" fmla="*/ 5 h 99"/>
                    <a:gd name="T70" fmla="*/ 59 w 97"/>
                    <a:gd name="T71" fmla="*/ 2 h 99"/>
                    <a:gd name="T72" fmla="*/ 49 w 97"/>
                    <a:gd name="T73" fmla="*/ 0 h 99"/>
                    <a:gd name="T74" fmla="*/ 49 w 97"/>
                    <a:gd name="T7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99">
                      <a:moveTo>
                        <a:pt x="49" y="0"/>
                      </a:moveTo>
                      <a:lnTo>
                        <a:pt x="49" y="0"/>
                      </a:lnTo>
                      <a:lnTo>
                        <a:pt x="40" y="2"/>
                      </a:lnTo>
                      <a:lnTo>
                        <a:pt x="30" y="5"/>
                      </a:lnTo>
                      <a:lnTo>
                        <a:pt x="22" y="10"/>
                      </a:lnTo>
                      <a:lnTo>
                        <a:pt x="14" y="15"/>
                      </a:lnTo>
                      <a:lnTo>
                        <a:pt x="8" y="23"/>
                      </a:lnTo>
                      <a:lnTo>
                        <a:pt x="5" y="31"/>
                      </a:lnTo>
                      <a:lnTo>
                        <a:pt x="2" y="40"/>
                      </a:lnTo>
                      <a:lnTo>
                        <a:pt x="0" y="50"/>
                      </a:lnTo>
                      <a:lnTo>
                        <a:pt x="0" y="50"/>
                      </a:lnTo>
                      <a:lnTo>
                        <a:pt x="2" y="59"/>
                      </a:lnTo>
                      <a:lnTo>
                        <a:pt x="5" y="69"/>
                      </a:lnTo>
                      <a:lnTo>
                        <a:pt x="8" y="77"/>
                      </a:lnTo>
                      <a:lnTo>
                        <a:pt x="14" y="85"/>
                      </a:lnTo>
                      <a:lnTo>
                        <a:pt x="22" y="90"/>
                      </a:lnTo>
                      <a:lnTo>
                        <a:pt x="30" y="94"/>
                      </a:lnTo>
                      <a:lnTo>
                        <a:pt x="40" y="98"/>
                      </a:lnTo>
                      <a:lnTo>
                        <a:pt x="49" y="99"/>
                      </a:lnTo>
                      <a:lnTo>
                        <a:pt x="49" y="99"/>
                      </a:lnTo>
                      <a:lnTo>
                        <a:pt x="59" y="98"/>
                      </a:lnTo>
                      <a:lnTo>
                        <a:pt x="69" y="94"/>
                      </a:lnTo>
                      <a:lnTo>
                        <a:pt x="77" y="90"/>
                      </a:lnTo>
                      <a:lnTo>
                        <a:pt x="83" y="85"/>
                      </a:lnTo>
                      <a:lnTo>
                        <a:pt x="89" y="77"/>
                      </a:lnTo>
                      <a:lnTo>
                        <a:pt x="94" y="69"/>
                      </a:lnTo>
                      <a:lnTo>
                        <a:pt x="97" y="59"/>
                      </a:lnTo>
                      <a:lnTo>
                        <a:pt x="97" y="50"/>
                      </a:lnTo>
                      <a:lnTo>
                        <a:pt x="97" y="50"/>
                      </a:lnTo>
                      <a:lnTo>
                        <a:pt x="97" y="40"/>
                      </a:lnTo>
                      <a:lnTo>
                        <a:pt x="94" y="31"/>
                      </a:lnTo>
                      <a:lnTo>
                        <a:pt x="89" y="23"/>
                      </a:lnTo>
                      <a:lnTo>
                        <a:pt x="83" y="15"/>
                      </a:lnTo>
                      <a:lnTo>
                        <a:pt x="77" y="10"/>
                      </a:lnTo>
                      <a:lnTo>
                        <a:pt x="69" y="5"/>
                      </a:lnTo>
                      <a:lnTo>
                        <a:pt x="59" y="2"/>
                      </a:lnTo>
                      <a:lnTo>
                        <a:pt x="49" y="0"/>
                      </a:lnTo>
                      <a:lnTo>
                        <a:pt x="49"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883" name="Freeform 39"/>
                <p:cNvSpPr>
                  <a:spLocks noEditPoints="1"/>
                </p:cNvSpPr>
                <p:nvPr/>
              </p:nvSpPr>
              <p:spPr bwMode="auto">
                <a:xfrm>
                  <a:off x="892" y="2098"/>
                  <a:ext cx="187" cy="311"/>
                </a:xfrm>
                <a:custGeom>
                  <a:avLst/>
                  <a:gdLst>
                    <a:gd name="T0" fmla="*/ 375 w 375"/>
                    <a:gd name="T1" fmla="*/ 346 h 624"/>
                    <a:gd name="T2" fmla="*/ 375 w 375"/>
                    <a:gd name="T3" fmla="*/ 353 h 624"/>
                    <a:gd name="T4" fmla="*/ 370 w 375"/>
                    <a:gd name="T5" fmla="*/ 366 h 624"/>
                    <a:gd name="T6" fmla="*/ 361 w 375"/>
                    <a:gd name="T7" fmla="*/ 377 h 624"/>
                    <a:gd name="T8" fmla="*/ 348 w 375"/>
                    <a:gd name="T9" fmla="*/ 383 h 624"/>
                    <a:gd name="T10" fmla="*/ 340 w 375"/>
                    <a:gd name="T11" fmla="*/ 482 h 624"/>
                    <a:gd name="T12" fmla="*/ 338 w 375"/>
                    <a:gd name="T13" fmla="*/ 492 h 624"/>
                    <a:gd name="T14" fmla="*/ 332 w 375"/>
                    <a:gd name="T15" fmla="*/ 506 h 624"/>
                    <a:gd name="T16" fmla="*/ 321 w 375"/>
                    <a:gd name="T17" fmla="*/ 517 h 624"/>
                    <a:gd name="T18" fmla="*/ 307 w 375"/>
                    <a:gd name="T19" fmla="*/ 523 h 624"/>
                    <a:gd name="T20" fmla="*/ 257 w 375"/>
                    <a:gd name="T21" fmla="*/ 525 h 624"/>
                    <a:gd name="T22" fmla="*/ 257 w 375"/>
                    <a:gd name="T23" fmla="*/ 581 h 624"/>
                    <a:gd name="T24" fmla="*/ 254 w 375"/>
                    <a:gd name="T25" fmla="*/ 598 h 624"/>
                    <a:gd name="T26" fmla="*/ 244 w 375"/>
                    <a:gd name="T27" fmla="*/ 611 h 624"/>
                    <a:gd name="T28" fmla="*/ 232 w 375"/>
                    <a:gd name="T29" fmla="*/ 621 h 624"/>
                    <a:gd name="T30" fmla="*/ 214 w 375"/>
                    <a:gd name="T31" fmla="*/ 624 h 624"/>
                    <a:gd name="T32" fmla="*/ 125 w 375"/>
                    <a:gd name="T33" fmla="*/ 624 h 624"/>
                    <a:gd name="T34" fmla="*/ 109 w 375"/>
                    <a:gd name="T35" fmla="*/ 621 h 624"/>
                    <a:gd name="T36" fmla="*/ 96 w 375"/>
                    <a:gd name="T37" fmla="*/ 611 h 624"/>
                    <a:gd name="T38" fmla="*/ 86 w 375"/>
                    <a:gd name="T39" fmla="*/ 598 h 624"/>
                    <a:gd name="T40" fmla="*/ 83 w 375"/>
                    <a:gd name="T41" fmla="*/ 581 h 624"/>
                    <a:gd name="T42" fmla="*/ 42 w 375"/>
                    <a:gd name="T43" fmla="*/ 525 h 624"/>
                    <a:gd name="T44" fmla="*/ 34 w 375"/>
                    <a:gd name="T45" fmla="*/ 523 h 624"/>
                    <a:gd name="T46" fmla="*/ 18 w 375"/>
                    <a:gd name="T47" fmla="*/ 517 h 624"/>
                    <a:gd name="T48" fmla="*/ 7 w 375"/>
                    <a:gd name="T49" fmla="*/ 506 h 624"/>
                    <a:gd name="T50" fmla="*/ 0 w 375"/>
                    <a:gd name="T51" fmla="*/ 492 h 624"/>
                    <a:gd name="T52" fmla="*/ 0 w 375"/>
                    <a:gd name="T53" fmla="*/ 142 h 624"/>
                    <a:gd name="T54" fmla="*/ 0 w 375"/>
                    <a:gd name="T55" fmla="*/ 134 h 624"/>
                    <a:gd name="T56" fmla="*/ 7 w 375"/>
                    <a:gd name="T57" fmla="*/ 118 h 624"/>
                    <a:gd name="T58" fmla="*/ 18 w 375"/>
                    <a:gd name="T59" fmla="*/ 107 h 624"/>
                    <a:gd name="T60" fmla="*/ 34 w 375"/>
                    <a:gd name="T61" fmla="*/ 101 h 624"/>
                    <a:gd name="T62" fmla="*/ 83 w 375"/>
                    <a:gd name="T63" fmla="*/ 99 h 624"/>
                    <a:gd name="T64" fmla="*/ 83 w 375"/>
                    <a:gd name="T65" fmla="*/ 44 h 624"/>
                    <a:gd name="T66" fmla="*/ 86 w 375"/>
                    <a:gd name="T67" fmla="*/ 28 h 624"/>
                    <a:gd name="T68" fmla="*/ 96 w 375"/>
                    <a:gd name="T69" fmla="*/ 13 h 624"/>
                    <a:gd name="T70" fmla="*/ 109 w 375"/>
                    <a:gd name="T71" fmla="*/ 4 h 624"/>
                    <a:gd name="T72" fmla="*/ 125 w 375"/>
                    <a:gd name="T73" fmla="*/ 0 h 624"/>
                    <a:gd name="T74" fmla="*/ 214 w 375"/>
                    <a:gd name="T75" fmla="*/ 0 h 624"/>
                    <a:gd name="T76" fmla="*/ 232 w 375"/>
                    <a:gd name="T77" fmla="*/ 4 h 624"/>
                    <a:gd name="T78" fmla="*/ 244 w 375"/>
                    <a:gd name="T79" fmla="*/ 13 h 624"/>
                    <a:gd name="T80" fmla="*/ 254 w 375"/>
                    <a:gd name="T81" fmla="*/ 28 h 624"/>
                    <a:gd name="T82" fmla="*/ 257 w 375"/>
                    <a:gd name="T83" fmla="*/ 44 h 624"/>
                    <a:gd name="T84" fmla="*/ 297 w 375"/>
                    <a:gd name="T85" fmla="*/ 99 h 624"/>
                    <a:gd name="T86" fmla="*/ 307 w 375"/>
                    <a:gd name="T87" fmla="*/ 101 h 624"/>
                    <a:gd name="T88" fmla="*/ 321 w 375"/>
                    <a:gd name="T89" fmla="*/ 107 h 624"/>
                    <a:gd name="T90" fmla="*/ 332 w 375"/>
                    <a:gd name="T91" fmla="*/ 118 h 624"/>
                    <a:gd name="T92" fmla="*/ 338 w 375"/>
                    <a:gd name="T93" fmla="*/ 134 h 624"/>
                    <a:gd name="T94" fmla="*/ 340 w 375"/>
                    <a:gd name="T95" fmla="*/ 241 h 624"/>
                    <a:gd name="T96" fmla="*/ 348 w 375"/>
                    <a:gd name="T97" fmla="*/ 243 h 624"/>
                    <a:gd name="T98" fmla="*/ 361 w 375"/>
                    <a:gd name="T99" fmla="*/ 248 h 624"/>
                    <a:gd name="T100" fmla="*/ 370 w 375"/>
                    <a:gd name="T101" fmla="*/ 259 h 624"/>
                    <a:gd name="T102" fmla="*/ 375 w 375"/>
                    <a:gd name="T103" fmla="*/ 272 h 624"/>
                    <a:gd name="T104" fmla="*/ 375 w 375"/>
                    <a:gd name="T105" fmla="*/ 279 h 624"/>
                    <a:gd name="T106" fmla="*/ 66 w 375"/>
                    <a:gd name="T107" fmla="*/ 171 h 624"/>
                    <a:gd name="T108" fmla="*/ 275 w 375"/>
                    <a:gd name="T109" fmla="*/ 45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5" h="624">
                      <a:moveTo>
                        <a:pt x="375" y="279"/>
                      </a:moveTo>
                      <a:lnTo>
                        <a:pt x="375" y="346"/>
                      </a:lnTo>
                      <a:lnTo>
                        <a:pt x="375" y="346"/>
                      </a:lnTo>
                      <a:lnTo>
                        <a:pt x="375" y="353"/>
                      </a:lnTo>
                      <a:lnTo>
                        <a:pt x="373" y="359"/>
                      </a:lnTo>
                      <a:lnTo>
                        <a:pt x="370" y="366"/>
                      </a:lnTo>
                      <a:lnTo>
                        <a:pt x="365" y="372"/>
                      </a:lnTo>
                      <a:lnTo>
                        <a:pt x="361" y="377"/>
                      </a:lnTo>
                      <a:lnTo>
                        <a:pt x="354" y="380"/>
                      </a:lnTo>
                      <a:lnTo>
                        <a:pt x="348" y="383"/>
                      </a:lnTo>
                      <a:lnTo>
                        <a:pt x="340" y="383"/>
                      </a:lnTo>
                      <a:lnTo>
                        <a:pt x="340" y="482"/>
                      </a:lnTo>
                      <a:lnTo>
                        <a:pt x="340" y="482"/>
                      </a:lnTo>
                      <a:lnTo>
                        <a:pt x="338" y="492"/>
                      </a:lnTo>
                      <a:lnTo>
                        <a:pt x="337" y="500"/>
                      </a:lnTo>
                      <a:lnTo>
                        <a:pt x="332" y="506"/>
                      </a:lnTo>
                      <a:lnTo>
                        <a:pt x="327" y="512"/>
                      </a:lnTo>
                      <a:lnTo>
                        <a:pt x="321" y="517"/>
                      </a:lnTo>
                      <a:lnTo>
                        <a:pt x="314" y="522"/>
                      </a:lnTo>
                      <a:lnTo>
                        <a:pt x="307" y="523"/>
                      </a:lnTo>
                      <a:lnTo>
                        <a:pt x="297" y="525"/>
                      </a:lnTo>
                      <a:lnTo>
                        <a:pt x="257" y="525"/>
                      </a:lnTo>
                      <a:lnTo>
                        <a:pt x="257" y="581"/>
                      </a:lnTo>
                      <a:lnTo>
                        <a:pt x="257" y="581"/>
                      </a:lnTo>
                      <a:lnTo>
                        <a:pt x="255" y="590"/>
                      </a:lnTo>
                      <a:lnTo>
                        <a:pt x="254" y="598"/>
                      </a:lnTo>
                      <a:lnTo>
                        <a:pt x="249" y="605"/>
                      </a:lnTo>
                      <a:lnTo>
                        <a:pt x="244" y="611"/>
                      </a:lnTo>
                      <a:lnTo>
                        <a:pt x="238" y="616"/>
                      </a:lnTo>
                      <a:lnTo>
                        <a:pt x="232" y="621"/>
                      </a:lnTo>
                      <a:lnTo>
                        <a:pt x="224" y="622"/>
                      </a:lnTo>
                      <a:lnTo>
                        <a:pt x="214" y="624"/>
                      </a:lnTo>
                      <a:lnTo>
                        <a:pt x="125" y="624"/>
                      </a:lnTo>
                      <a:lnTo>
                        <a:pt x="125" y="624"/>
                      </a:lnTo>
                      <a:lnTo>
                        <a:pt x="117" y="622"/>
                      </a:lnTo>
                      <a:lnTo>
                        <a:pt x="109" y="621"/>
                      </a:lnTo>
                      <a:lnTo>
                        <a:pt x="102" y="616"/>
                      </a:lnTo>
                      <a:lnTo>
                        <a:pt x="96" y="611"/>
                      </a:lnTo>
                      <a:lnTo>
                        <a:pt x="90" y="605"/>
                      </a:lnTo>
                      <a:lnTo>
                        <a:pt x="86" y="598"/>
                      </a:lnTo>
                      <a:lnTo>
                        <a:pt x="83" y="590"/>
                      </a:lnTo>
                      <a:lnTo>
                        <a:pt x="83" y="581"/>
                      </a:lnTo>
                      <a:lnTo>
                        <a:pt x="83" y="525"/>
                      </a:lnTo>
                      <a:lnTo>
                        <a:pt x="42" y="525"/>
                      </a:lnTo>
                      <a:lnTo>
                        <a:pt x="42" y="525"/>
                      </a:lnTo>
                      <a:lnTo>
                        <a:pt x="34" y="523"/>
                      </a:lnTo>
                      <a:lnTo>
                        <a:pt x="26" y="522"/>
                      </a:lnTo>
                      <a:lnTo>
                        <a:pt x="18" y="517"/>
                      </a:lnTo>
                      <a:lnTo>
                        <a:pt x="13" y="512"/>
                      </a:lnTo>
                      <a:lnTo>
                        <a:pt x="7" y="506"/>
                      </a:lnTo>
                      <a:lnTo>
                        <a:pt x="4" y="500"/>
                      </a:lnTo>
                      <a:lnTo>
                        <a:pt x="0" y="492"/>
                      </a:lnTo>
                      <a:lnTo>
                        <a:pt x="0" y="482"/>
                      </a:lnTo>
                      <a:lnTo>
                        <a:pt x="0" y="142"/>
                      </a:lnTo>
                      <a:lnTo>
                        <a:pt x="0" y="142"/>
                      </a:lnTo>
                      <a:lnTo>
                        <a:pt x="0" y="134"/>
                      </a:lnTo>
                      <a:lnTo>
                        <a:pt x="4" y="126"/>
                      </a:lnTo>
                      <a:lnTo>
                        <a:pt x="7" y="118"/>
                      </a:lnTo>
                      <a:lnTo>
                        <a:pt x="13" y="112"/>
                      </a:lnTo>
                      <a:lnTo>
                        <a:pt x="18" y="107"/>
                      </a:lnTo>
                      <a:lnTo>
                        <a:pt x="26" y="103"/>
                      </a:lnTo>
                      <a:lnTo>
                        <a:pt x="34" y="101"/>
                      </a:lnTo>
                      <a:lnTo>
                        <a:pt x="42" y="99"/>
                      </a:lnTo>
                      <a:lnTo>
                        <a:pt x="83" y="99"/>
                      </a:lnTo>
                      <a:lnTo>
                        <a:pt x="83" y="44"/>
                      </a:lnTo>
                      <a:lnTo>
                        <a:pt x="83" y="44"/>
                      </a:lnTo>
                      <a:lnTo>
                        <a:pt x="83" y="36"/>
                      </a:lnTo>
                      <a:lnTo>
                        <a:pt x="86" y="28"/>
                      </a:lnTo>
                      <a:lnTo>
                        <a:pt x="90" y="20"/>
                      </a:lnTo>
                      <a:lnTo>
                        <a:pt x="96" y="13"/>
                      </a:lnTo>
                      <a:lnTo>
                        <a:pt x="102" y="8"/>
                      </a:lnTo>
                      <a:lnTo>
                        <a:pt x="109" y="4"/>
                      </a:lnTo>
                      <a:lnTo>
                        <a:pt x="117" y="2"/>
                      </a:lnTo>
                      <a:lnTo>
                        <a:pt x="125" y="0"/>
                      </a:lnTo>
                      <a:lnTo>
                        <a:pt x="214" y="0"/>
                      </a:lnTo>
                      <a:lnTo>
                        <a:pt x="214" y="0"/>
                      </a:lnTo>
                      <a:lnTo>
                        <a:pt x="224" y="2"/>
                      </a:lnTo>
                      <a:lnTo>
                        <a:pt x="232" y="4"/>
                      </a:lnTo>
                      <a:lnTo>
                        <a:pt x="238" y="8"/>
                      </a:lnTo>
                      <a:lnTo>
                        <a:pt x="244" y="13"/>
                      </a:lnTo>
                      <a:lnTo>
                        <a:pt x="249" y="20"/>
                      </a:lnTo>
                      <a:lnTo>
                        <a:pt x="254" y="28"/>
                      </a:lnTo>
                      <a:lnTo>
                        <a:pt x="255" y="36"/>
                      </a:lnTo>
                      <a:lnTo>
                        <a:pt x="257" y="44"/>
                      </a:lnTo>
                      <a:lnTo>
                        <a:pt x="257" y="99"/>
                      </a:lnTo>
                      <a:lnTo>
                        <a:pt x="297" y="99"/>
                      </a:lnTo>
                      <a:lnTo>
                        <a:pt x="297" y="99"/>
                      </a:lnTo>
                      <a:lnTo>
                        <a:pt x="307" y="101"/>
                      </a:lnTo>
                      <a:lnTo>
                        <a:pt x="314" y="103"/>
                      </a:lnTo>
                      <a:lnTo>
                        <a:pt x="321" y="107"/>
                      </a:lnTo>
                      <a:lnTo>
                        <a:pt x="327" y="112"/>
                      </a:lnTo>
                      <a:lnTo>
                        <a:pt x="332" y="118"/>
                      </a:lnTo>
                      <a:lnTo>
                        <a:pt x="337" y="126"/>
                      </a:lnTo>
                      <a:lnTo>
                        <a:pt x="338" y="134"/>
                      </a:lnTo>
                      <a:lnTo>
                        <a:pt x="340" y="142"/>
                      </a:lnTo>
                      <a:lnTo>
                        <a:pt x="340" y="241"/>
                      </a:lnTo>
                      <a:lnTo>
                        <a:pt x="340" y="241"/>
                      </a:lnTo>
                      <a:lnTo>
                        <a:pt x="348" y="243"/>
                      </a:lnTo>
                      <a:lnTo>
                        <a:pt x="354" y="244"/>
                      </a:lnTo>
                      <a:lnTo>
                        <a:pt x="361" y="248"/>
                      </a:lnTo>
                      <a:lnTo>
                        <a:pt x="365" y="252"/>
                      </a:lnTo>
                      <a:lnTo>
                        <a:pt x="370" y="259"/>
                      </a:lnTo>
                      <a:lnTo>
                        <a:pt x="373" y="265"/>
                      </a:lnTo>
                      <a:lnTo>
                        <a:pt x="375" y="272"/>
                      </a:lnTo>
                      <a:lnTo>
                        <a:pt x="375" y="279"/>
                      </a:lnTo>
                      <a:lnTo>
                        <a:pt x="375" y="279"/>
                      </a:lnTo>
                      <a:close/>
                      <a:moveTo>
                        <a:pt x="275" y="171"/>
                      </a:moveTo>
                      <a:lnTo>
                        <a:pt x="66" y="171"/>
                      </a:lnTo>
                      <a:lnTo>
                        <a:pt x="66" y="453"/>
                      </a:lnTo>
                      <a:lnTo>
                        <a:pt x="275" y="453"/>
                      </a:lnTo>
                      <a:lnTo>
                        <a:pt x="275" y="171"/>
                      </a:lnTo>
                      <a:close/>
                    </a:path>
                  </a:pathLst>
                </a:custGeom>
                <a:solidFill>
                  <a:srgbClr val="F04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grpSp>
            <p:nvGrpSpPr>
              <p:cNvPr id="5884" name="Group 29"/>
              <p:cNvGrpSpPr/>
              <p:nvPr/>
            </p:nvGrpSpPr>
            <p:grpSpPr>
              <a:xfrm>
                <a:off x="839850" y="2275295"/>
                <a:ext cx="302619" cy="317247"/>
                <a:chOff x="4163060" y="2537711"/>
                <a:chExt cx="520926" cy="520926"/>
              </a:xfrm>
            </p:grpSpPr>
            <p:sp>
              <p:nvSpPr>
                <p:cNvPr id="5885" name="Oval 5884"/>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a:solidFill>
                      <a:srgbClr val="FFFFFF"/>
                    </a:solidFill>
                    <a:latin typeface="CiscoSansTT ExtraLight"/>
                  </a:endParaRPr>
                </a:p>
              </p:txBody>
            </p:sp>
            <p:sp>
              <p:nvSpPr>
                <p:cNvPr id="5886" name="Freeform 41"/>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a:solidFill>
                      <a:srgbClr val="39393B"/>
                    </a:solidFill>
                    <a:latin typeface="Arial"/>
                    <a:ea typeface=""/>
                    <a:cs typeface=""/>
                  </a:endParaRPr>
                </a:p>
              </p:txBody>
            </p:sp>
          </p:grpSp>
          <p:cxnSp>
            <p:nvCxnSpPr>
              <p:cNvPr id="5905" name="Straight Connector 5904"/>
              <p:cNvCxnSpPr>
                <a:cxnSpLocks/>
                <a:stCxn id="5885" idx="6"/>
              </p:cNvCxnSpPr>
              <p:nvPr/>
            </p:nvCxnSpPr>
            <p:spPr>
              <a:xfrm>
                <a:off x="1142470" y="2433919"/>
                <a:ext cx="887561" cy="328066"/>
              </a:xfrm>
              <a:prstGeom prst="line">
                <a:avLst/>
              </a:prstGeom>
              <a:noFill/>
              <a:ln w="25400" cap="flat" cmpd="sng" algn="ctr">
                <a:solidFill>
                  <a:schemeClr val="accent4">
                    <a:lumMod val="60000"/>
                    <a:lumOff val="40000"/>
                  </a:schemeClr>
                </a:solidFill>
                <a:prstDash val="solid"/>
              </a:ln>
              <a:effectLst/>
            </p:spPr>
          </p:cxnSp>
          <p:sp>
            <p:nvSpPr>
              <p:cNvPr id="5910" name="TextBox 5909"/>
              <p:cNvSpPr txBox="1"/>
              <p:nvPr/>
            </p:nvSpPr>
            <p:spPr>
              <a:xfrm>
                <a:off x="205919" y="3373662"/>
                <a:ext cx="1704642" cy="295416"/>
              </a:xfrm>
              <a:prstGeom prst="rect">
                <a:avLst/>
              </a:prstGeom>
              <a:noFill/>
            </p:spPr>
            <p:txBody>
              <a:bodyPr wrap="square" lIns="0" tIns="0" rIns="0" bIns="0" rtlCol="0" anchor="ctr" anchorCtr="0">
                <a:noAutofit/>
              </a:bodyPr>
              <a:lstStyle/>
              <a:p>
                <a:pPr defTabSz="685783">
                  <a:defRPr/>
                </a:pPr>
                <a:r>
                  <a:rPr lang="en-US" sz="1600" b="1">
                    <a:solidFill>
                      <a:srgbClr val="FBAB18"/>
                    </a:solidFill>
                    <a:latin typeface="CiscoSansTT ExtraLight"/>
                  </a:rPr>
                  <a:t>2G/3G/4G</a:t>
                </a:r>
              </a:p>
            </p:txBody>
          </p:sp>
          <p:cxnSp>
            <p:nvCxnSpPr>
              <p:cNvPr id="5911" name="Straight Connector 5910"/>
              <p:cNvCxnSpPr>
                <a:cxnSpLocks/>
                <a:stCxn id="5946" idx="6"/>
              </p:cNvCxnSpPr>
              <p:nvPr/>
            </p:nvCxnSpPr>
            <p:spPr>
              <a:xfrm flipV="1">
                <a:off x="1267421" y="2884676"/>
                <a:ext cx="795087" cy="368316"/>
              </a:xfrm>
              <a:prstGeom prst="line">
                <a:avLst/>
              </a:prstGeom>
              <a:noFill/>
              <a:ln w="22225" cap="rnd" cmpd="sng" algn="ctr">
                <a:solidFill>
                  <a:schemeClr val="accent4">
                    <a:lumMod val="60000"/>
                    <a:lumOff val="40000"/>
                  </a:schemeClr>
                </a:solidFill>
                <a:prstDash val="solid"/>
              </a:ln>
              <a:effectLst/>
            </p:spPr>
          </p:cxnSp>
          <p:sp>
            <p:nvSpPr>
              <p:cNvPr id="5924" name="TextBox 5923"/>
              <p:cNvSpPr txBox="1"/>
              <p:nvPr/>
            </p:nvSpPr>
            <p:spPr>
              <a:xfrm>
                <a:off x="205919" y="1472165"/>
                <a:ext cx="870699" cy="164036"/>
              </a:xfrm>
              <a:prstGeom prst="rect">
                <a:avLst/>
              </a:prstGeom>
              <a:noFill/>
            </p:spPr>
            <p:txBody>
              <a:bodyPr wrap="square" lIns="0" tIns="0" rIns="0" bIns="0" rtlCol="0" anchor="ctr" anchorCtr="0">
                <a:noAutofit/>
              </a:bodyPr>
              <a:lstStyle/>
              <a:p>
                <a:pPr defTabSz="685783">
                  <a:defRPr/>
                </a:pPr>
                <a:r>
                  <a:rPr lang="en-US" sz="1600" b="1">
                    <a:solidFill>
                      <a:srgbClr val="FBAB18"/>
                    </a:solidFill>
                    <a:latin typeface="CiscoSansTT ExtraLight"/>
                  </a:rPr>
                  <a:t>Carrier Ethernet</a:t>
                </a:r>
              </a:p>
            </p:txBody>
          </p:sp>
          <p:grpSp>
            <p:nvGrpSpPr>
              <p:cNvPr id="5928" name="Group 5927"/>
              <p:cNvGrpSpPr/>
              <p:nvPr/>
            </p:nvGrpSpPr>
            <p:grpSpPr>
              <a:xfrm>
                <a:off x="1000258" y="1099928"/>
                <a:ext cx="504951" cy="265029"/>
                <a:chOff x="2547982" y="-1562248"/>
                <a:chExt cx="1437864" cy="628781"/>
              </a:xfrm>
            </p:grpSpPr>
            <p:sp>
              <p:nvSpPr>
                <p:cNvPr id="5929" name="Freeform 60"/>
                <p:cNvSpPr>
                  <a:spLocks noEditPoints="1"/>
                </p:cNvSpPr>
                <p:nvPr/>
              </p:nvSpPr>
              <p:spPr bwMode="auto">
                <a:xfrm>
                  <a:off x="2975901" y="-1562248"/>
                  <a:ext cx="620713" cy="619125"/>
                </a:xfrm>
                <a:custGeom>
                  <a:avLst/>
                  <a:gdLst>
                    <a:gd name="T0" fmla="*/ 520 w 640"/>
                    <a:gd name="T1" fmla="*/ 176 h 639"/>
                    <a:gd name="T2" fmla="*/ 600 w 640"/>
                    <a:gd name="T3" fmla="*/ 230 h 639"/>
                    <a:gd name="T4" fmla="*/ 520 w 640"/>
                    <a:gd name="T5" fmla="*/ 176 h 639"/>
                    <a:gd name="T6" fmla="*/ 520 w 640"/>
                    <a:gd name="T7" fmla="*/ 286 h 639"/>
                    <a:gd name="T8" fmla="*/ 600 w 640"/>
                    <a:gd name="T9" fmla="*/ 339 h 639"/>
                    <a:gd name="T10" fmla="*/ 520 w 640"/>
                    <a:gd name="T11" fmla="*/ 286 h 639"/>
                    <a:gd name="T12" fmla="*/ 520 w 640"/>
                    <a:gd name="T13" fmla="*/ 396 h 639"/>
                    <a:gd name="T14" fmla="*/ 600 w 640"/>
                    <a:gd name="T15" fmla="*/ 449 h 639"/>
                    <a:gd name="T16" fmla="*/ 520 w 640"/>
                    <a:gd name="T17" fmla="*/ 396 h 639"/>
                    <a:gd name="T18" fmla="*/ 520 w 640"/>
                    <a:gd name="T19" fmla="*/ 506 h 639"/>
                    <a:gd name="T20" fmla="*/ 600 w 640"/>
                    <a:gd name="T21" fmla="*/ 560 h 639"/>
                    <a:gd name="T22" fmla="*/ 520 w 640"/>
                    <a:gd name="T23" fmla="*/ 506 h 639"/>
                    <a:gd name="T24" fmla="*/ 360 w 640"/>
                    <a:gd name="T25" fmla="*/ 396 h 639"/>
                    <a:gd name="T26" fmla="*/ 440 w 640"/>
                    <a:gd name="T27" fmla="*/ 449 h 639"/>
                    <a:gd name="T28" fmla="*/ 360 w 640"/>
                    <a:gd name="T29" fmla="*/ 396 h 639"/>
                    <a:gd name="T30" fmla="*/ 360 w 640"/>
                    <a:gd name="T31" fmla="*/ 506 h 639"/>
                    <a:gd name="T32" fmla="*/ 440 w 640"/>
                    <a:gd name="T33" fmla="*/ 560 h 639"/>
                    <a:gd name="T34" fmla="*/ 360 w 640"/>
                    <a:gd name="T35" fmla="*/ 506 h 639"/>
                    <a:gd name="T36" fmla="*/ 260 w 640"/>
                    <a:gd name="T37" fmla="*/ 120 h 639"/>
                    <a:gd name="T38" fmla="*/ 193 w 640"/>
                    <a:gd name="T39" fmla="*/ 93 h 639"/>
                    <a:gd name="T40" fmla="*/ 260 w 640"/>
                    <a:gd name="T41" fmla="*/ 66 h 639"/>
                    <a:gd name="T42" fmla="*/ 260 w 640"/>
                    <a:gd name="T43" fmla="*/ 120 h 639"/>
                    <a:gd name="T44" fmla="*/ 260 w 640"/>
                    <a:gd name="T45" fmla="*/ 229 h 639"/>
                    <a:gd name="T46" fmla="*/ 220 w 640"/>
                    <a:gd name="T47" fmla="*/ 229 h 639"/>
                    <a:gd name="T48" fmla="*/ 220 w 640"/>
                    <a:gd name="T49" fmla="*/ 176 h 639"/>
                    <a:gd name="T50" fmla="*/ 287 w 640"/>
                    <a:gd name="T51" fmla="*/ 203 h 639"/>
                    <a:gd name="T52" fmla="*/ 260 w 640"/>
                    <a:gd name="T53" fmla="*/ 229 h 639"/>
                    <a:gd name="T54" fmla="*/ 260 w 640"/>
                    <a:gd name="T55" fmla="*/ 339 h 639"/>
                    <a:gd name="T56" fmla="*/ 193 w 640"/>
                    <a:gd name="T57" fmla="*/ 313 h 639"/>
                    <a:gd name="T58" fmla="*/ 260 w 640"/>
                    <a:gd name="T59" fmla="*/ 286 h 639"/>
                    <a:gd name="T60" fmla="*/ 260 w 640"/>
                    <a:gd name="T61" fmla="*/ 339 h 639"/>
                    <a:gd name="T62" fmla="*/ 260 w 640"/>
                    <a:gd name="T63" fmla="*/ 450 h 639"/>
                    <a:gd name="T64" fmla="*/ 220 w 640"/>
                    <a:gd name="T65" fmla="*/ 450 h 639"/>
                    <a:gd name="T66" fmla="*/ 220 w 640"/>
                    <a:gd name="T67" fmla="*/ 396 h 639"/>
                    <a:gd name="T68" fmla="*/ 287 w 640"/>
                    <a:gd name="T69" fmla="*/ 423 h 639"/>
                    <a:gd name="T70" fmla="*/ 260 w 640"/>
                    <a:gd name="T71" fmla="*/ 450 h 639"/>
                    <a:gd name="T72" fmla="*/ 260 w 640"/>
                    <a:gd name="T73" fmla="*/ 560 h 639"/>
                    <a:gd name="T74" fmla="*/ 193 w 640"/>
                    <a:gd name="T75" fmla="*/ 533 h 639"/>
                    <a:gd name="T76" fmla="*/ 260 w 640"/>
                    <a:gd name="T77" fmla="*/ 506 h 639"/>
                    <a:gd name="T78" fmla="*/ 260 w 640"/>
                    <a:gd name="T79" fmla="*/ 560 h 639"/>
                    <a:gd name="T80" fmla="*/ 40 w 640"/>
                    <a:gd name="T81" fmla="*/ 286 h 639"/>
                    <a:gd name="T82" fmla="*/ 120 w 640"/>
                    <a:gd name="T83" fmla="*/ 286 h 639"/>
                    <a:gd name="T84" fmla="*/ 40 w 640"/>
                    <a:gd name="T85" fmla="*/ 339 h 639"/>
                    <a:gd name="T86" fmla="*/ 40 w 640"/>
                    <a:gd name="T87" fmla="*/ 396 h 639"/>
                    <a:gd name="T88" fmla="*/ 120 w 640"/>
                    <a:gd name="T89" fmla="*/ 396 h 639"/>
                    <a:gd name="T90" fmla="*/ 40 w 640"/>
                    <a:gd name="T91" fmla="*/ 449 h 639"/>
                    <a:gd name="T92" fmla="*/ 40 w 640"/>
                    <a:gd name="T93" fmla="*/ 506 h 639"/>
                    <a:gd name="T94" fmla="*/ 120 w 640"/>
                    <a:gd name="T95" fmla="*/ 506 h 639"/>
                    <a:gd name="T96" fmla="*/ 40 w 640"/>
                    <a:gd name="T97" fmla="*/ 560 h 639"/>
                    <a:gd name="T98" fmla="*/ 560 w 640"/>
                    <a:gd name="T99" fmla="*/ 66 h 639"/>
                    <a:gd name="T100" fmla="*/ 480 w 640"/>
                    <a:gd name="T101" fmla="*/ 146 h 639"/>
                    <a:gd name="T102" fmla="*/ 320 w 640"/>
                    <a:gd name="T103" fmla="*/ 306 h 639"/>
                    <a:gd name="T104" fmla="*/ 160 w 640"/>
                    <a:gd name="T105" fmla="*/ 0 h 639"/>
                    <a:gd name="T106" fmla="*/ 0 w 640"/>
                    <a:gd name="T107" fmla="*/ 159 h 639"/>
                    <a:gd name="T108" fmla="*/ 640 w 640"/>
                    <a:gd name="T109" fmla="*/ 639 h 639"/>
                    <a:gd name="T110" fmla="*/ 560 w 640"/>
                    <a:gd name="T111" fmla="*/ 66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0" h="639">
                      <a:moveTo>
                        <a:pt x="520" y="176"/>
                      </a:moveTo>
                      <a:lnTo>
                        <a:pt x="520" y="176"/>
                      </a:lnTo>
                      <a:lnTo>
                        <a:pt x="600" y="176"/>
                      </a:lnTo>
                      <a:lnTo>
                        <a:pt x="600" y="230"/>
                      </a:lnTo>
                      <a:lnTo>
                        <a:pt x="520" y="230"/>
                      </a:lnTo>
                      <a:lnTo>
                        <a:pt x="520" y="176"/>
                      </a:lnTo>
                      <a:close/>
                      <a:moveTo>
                        <a:pt x="520" y="286"/>
                      </a:moveTo>
                      <a:lnTo>
                        <a:pt x="520" y="286"/>
                      </a:lnTo>
                      <a:lnTo>
                        <a:pt x="600" y="286"/>
                      </a:lnTo>
                      <a:lnTo>
                        <a:pt x="600" y="339"/>
                      </a:lnTo>
                      <a:lnTo>
                        <a:pt x="520" y="339"/>
                      </a:lnTo>
                      <a:lnTo>
                        <a:pt x="520" y="286"/>
                      </a:lnTo>
                      <a:close/>
                      <a:moveTo>
                        <a:pt x="520" y="396"/>
                      </a:moveTo>
                      <a:lnTo>
                        <a:pt x="520" y="396"/>
                      </a:lnTo>
                      <a:lnTo>
                        <a:pt x="600" y="396"/>
                      </a:lnTo>
                      <a:lnTo>
                        <a:pt x="600" y="449"/>
                      </a:lnTo>
                      <a:lnTo>
                        <a:pt x="520" y="449"/>
                      </a:lnTo>
                      <a:lnTo>
                        <a:pt x="520" y="396"/>
                      </a:lnTo>
                      <a:close/>
                      <a:moveTo>
                        <a:pt x="520" y="506"/>
                      </a:moveTo>
                      <a:lnTo>
                        <a:pt x="520" y="506"/>
                      </a:lnTo>
                      <a:lnTo>
                        <a:pt x="600" y="506"/>
                      </a:lnTo>
                      <a:lnTo>
                        <a:pt x="600" y="560"/>
                      </a:lnTo>
                      <a:lnTo>
                        <a:pt x="520" y="560"/>
                      </a:lnTo>
                      <a:lnTo>
                        <a:pt x="520" y="506"/>
                      </a:lnTo>
                      <a:close/>
                      <a:moveTo>
                        <a:pt x="360" y="396"/>
                      </a:moveTo>
                      <a:lnTo>
                        <a:pt x="360" y="396"/>
                      </a:lnTo>
                      <a:lnTo>
                        <a:pt x="440" y="396"/>
                      </a:lnTo>
                      <a:lnTo>
                        <a:pt x="440" y="449"/>
                      </a:lnTo>
                      <a:lnTo>
                        <a:pt x="360" y="449"/>
                      </a:lnTo>
                      <a:lnTo>
                        <a:pt x="360" y="396"/>
                      </a:lnTo>
                      <a:close/>
                      <a:moveTo>
                        <a:pt x="360" y="506"/>
                      </a:moveTo>
                      <a:lnTo>
                        <a:pt x="360" y="506"/>
                      </a:lnTo>
                      <a:lnTo>
                        <a:pt x="440" y="506"/>
                      </a:lnTo>
                      <a:lnTo>
                        <a:pt x="440" y="560"/>
                      </a:lnTo>
                      <a:lnTo>
                        <a:pt x="360" y="560"/>
                      </a:lnTo>
                      <a:lnTo>
                        <a:pt x="360" y="506"/>
                      </a:lnTo>
                      <a:close/>
                      <a:moveTo>
                        <a:pt x="260" y="120"/>
                      </a:moveTo>
                      <a:lnTo>
                        <a:pt x="260" y="120"/>
                      </a:lnTo>
                      <a:lnTo>
                        <a:pt x="220" y="120"/>
                      </a:lnTo>
                      <a:cubicBezTo>
                        <a:pt x="205" y="120"/>
                        <a:pt x="193" y="108"/>
                        <a:pt x="193" y="93"/>
                      </a:cubicBezTo>
                      <a:cubicBezTo>
                        <a:pt x="193" y="78"/>
                        <a:pt x="205" y="66"/>
                        <a:pt x="220" y="66"/>
                      </a:cubicBezTo>
                      <a:lnTo>
                        <a:pt x="260" y="66"/>
                      </a:lnTo>
                      <a:cubicBezTo>
                        <a:pt x="275" y="66"/>
                        <a:pt x="287" y="78"/>
                        <a:pt x="287" y="93"/>
                      </a:cubicBezTo>
                      <a:cubicBezTo>
                        <a:pt x="287" y="108"/>
                        <a:pt x="275" y="120"/>
                        <a:pt x="260" y="120"/>
                      </a:cubicBezTo>
                      <a:lnTo>
                        <a:pt x="260" y="120"/>
                      </a:lnTo>
                      <a:close/>
                      <a:moveTo>
                        <a:pt x="260" y="229"/>
                      </a:moveTo>
                      <a:lnTo>
                        <a:pt x="260" y="229"/>
                      </a:lnTo>
                      <a:lnTo>
                        <a:pt x="220" y="229"/>
                      </a:lnTo>
                      <a:cubicBezTo>
                        <a:pt x="205" y="229"/>
                        <a:pt x="193" y="218"/>
                        <a:pt x="193" y="203"/>
                      </a:cubicBezTo>
                      <a:cubicBezTo>
                        <a:pt x="193" y="188"/>
                        <a:pt x="205" y="176"/>
                        <a:pt x="220" y="176"/>
                      </a:cubicBezTo>
                      <a:lnTo>
                        <a:pt x="260" y="176"/>
                      </a:lnTo>
                      <a:cubicBezTo>
                        <a:pt x="275" y="176"/>
                        <a:pt x="287" y="188"/>
                        <a:pt x="287" y="203"/>
                      </a:cubicBezTo>
                      <a:cubicBezTo>
                        <a:pt x="287" y="218"/>
                        <a:pt x="275" y="229"/>
                        <a:pt x="260" y="229"/>
                      </a:cubicBezTo>
                      <a:lnTo>
                        <a:pt x="260" y="229"/>
                      </a:lnTo>
                      <a:close/>
                      <a:moveTo>
                        <a:pt x="260" y="339"/>
                      </a:moveTo>
                      <a:lnTo>
                        <a:pt x="260" y="339"/>
                      </a:lnTo>
                      <a:lnTo>
                        <a:pt x="220" y="339"/>
                      </a:lnTo>
                      <a:cubicBezTo>
                        <a:pt x="205" y="339"/>
                        <a:pt x="193" y="328"/>
                        <a:pt x="193" y="313"/>
                      </a:cubicBezTo>
                      <a:cubicBezTo>
                        <a:pt x="193" y="298"/>
                        <a:pt x="205" y="286"/>
                        <a:pt x="220" y="286"/>
                      </a:cubicBezTo>
                      <a:lnTo>
                        <a:pt x="260" y="286"/>
                      </a:lnTo>
                      <a:cubicBezTo>
                        <a:pt x="275" y="286"/>
                        <a:pt x="287" y="298"/>
                        <a:pt x="287" y="313"/>
                      </a:cubicBezTo>
                      <a:cubicBezTo>
                        <a:pt x="287" y="328"/>
                        <a:pt x="275" y="339"/>
                        <a:pt x="260" y="339"/>
                      </a:cubicBezTo>
                      <a:lnTo>
                        <a:pt x="260" y="339"/>
                      </a:lnTo>
                      <a:close/>
                      <a:moveTo>
                        <a:pt x="260" y="450"/>
                      </a:moveTo>
                      <a:lnTo>
                        <a:pt x="260" y="450"/>
                      </a:lnTo>
                      <a:lnTo>
                        <a:pt x="220" y="450"/>
                      </a:lnTo>
                      <a:cubicBezTo>
                        <a:pt x="205" y="450"/>
                        <a:pt x="193" y="438"/>
                        <a:pt x="193" y="423"/>
                      </a:cubicBezTo>
                      <a:cubicBezTo>
                        <a:pt x="193" y="408"/>
                        <a:pt x="205" y="396"/>
                        <a:pt x="220" y="396"/>
                      </a:cubicBezTo>
                      <a:lnTo>
                        <a:pt x="260" y="396"/>
                      </a:lnTo>
                      <a:cubicBezTo>
                        <a:pt x="275" y="396"/>
                        <a:pt x="287" y="408"/>
                        <a:pt x="287" y="423"/>
                      </a:cubicBezTo>
                      <a:cubicBezTo>
                        <a:pt x="287" y="438"/>
                        <a:pt x="275" y="450"/>
                        <a:pt x="260" y="450"/>
                      </a:cubicBezTo>
                      <a:lnTo>
                        <a:pt x="260" y="450"/>
                      </a:lnTo>
                      <a:close/>
                      <a:moveTo>
                        <a:pt x="260" y="560"/>
                      </a:moveTo>
                      <a:lnTo>
                        <a:pt x="260" y="560"/>
                      </a:lnTo>
                      <a:lnTo>
                        <a:pt x="220" y="560"/>
                      </a:lnTo>
                      <a:cubicBezTo>
                        <a:pt x="205" y="560"/>
                        <a:pt x="193" y="548"/>
                        <a:pt x="193" y="533"/>
                      </a:cubicBezTo>
                      <a:cubicBezTo>
                        <a:pt x="193" y="518"/>
                        <a:pt x="205" y="506"/>
                        <a:pt x="220" y="506"/>
                      </a:cubicBezTo>
                      <a:lnTo>
                        <a:pt x="260" y="506"/>
                      </a:lnTo>
                      <a:cubicBezTo>
                        <a:pt x="275" y="506"/>
                        <a:pt x="287" y="518"/>
                        <a:pt x="287" y="533"/>
                      </a:cubicBezTo>
                      <a:cubicBezTo>
                        <a:pt x="287" y="548"/>
                        <a:pt x="275" y="560"/>
                        <a:pt x="260" y="560"/>
                      </a:cubicBezTo>
                      <a:lnTo>
                        <a:pt x="260" y="560"/>
                      </a:lnTo>
                      <a:close/>
                      <a:moveTo>
                        <a:pt x="40" y="286"/>
                      </a:moveTo>
                      <a:lnTo>
                        <a:pt x="40" y="286"/>
                      </a:lnTo>
                      <a:lnTo>
                        <a:pt x="120" y="286"/>
                      </a:lnTo>
                      <a:lnTo>
                        <a:pt x="120" y="339"/>
                      </a:lnTo>
                      <a:lnTo>
                        <a:pt x="40" y="339"/>
                      </a:lnTo>
                      <a:lnTo>
                        <a:pt x="40" y="286"/>
                      </a:lnTo>
                      <a:close/>
                      <a:moveTo>
                        <a:pt x="40" y="396"/>
                      </a:moveTo>
                      <a:lnTo>
                        <a:pt x="40" y="396"/>
                      </a:lnTo>
                      <a:lnTo>
                        <a:pt x="120" y="396"/>
                      </a:lnTo>
                      <a:lnTo>
                        <a:pt x="120" y="449"/>
                      </a:lnTo>
                      <a:lnTo>
                        <a:pt x="40" y="449"/>
                      </a:lnTo>
                      <a:lnTo>
                        <a:pt x="40" y="396"/>
                      </a:lnTo>
                      <a:close/>
                      <a:moveTo>
                        <a:pt x="40" y="506"/>
                      </a:moveTo>
                      <a:lnTo>
                        <a:pt x="40" y="506"/>
                      </a:lnTo>
                      <a:lnTo>
                        <a:pt x="120" y="506"/>
                      </a:lnTo>
                      <a:lnTo>
                        <a:pt x="120" y="560"/>
                      </a:lnTo>
                      <a:lnTo>
                        <a:pt x="40" y="560"/>
                      </a:lnTo>
                      <a:lnTo>
                        <a:pt x="40" y="506"/>
                      </a:lnTo>
                      <a:close/>
                      <a:moveTo>
                        <a:pt x="560" y="66"/>
                      </a:moveTo>
                      <a:lnTo>
                        <a:pt x="560" y="66"/>
                      </a:lnTo>
                      <a:cubicBezTo>
                        <a:pt x="516" y="66"/>
                        <a:pt x="480" y="102"/>
                        <a:pt x="480" y="146"/>
                      </a:cubicBezTo>
                      <a:lnTo>
                        <a:pt x="480" y="306"/>
                      </a:lnTo>
                      <a:lnTo>
                        <a:pt x="320" y="306"/>
                      </a:lnTo>
                      <a:lnTo>
                        <a:pt x="320" y="0"/>
                      </a:lnTo>
                      <a:lnTo>
                        <a:pt x="160" y="0"/>
                      </a:lnTo>
                      <a:lnTo>
                        <a:pt x="160" y="159"/>
                      </a:lnTo>
                      <a:lnTo>
                        <a:pt x="0" y="159"/>
                      </a:lnTo>
                      <a:lnTo>
                        <a:pt x="0" y="639"/>
                      </a:lnTo>
                      <a:lnTo>
                        <a:pt x="640" y="639"/>
                      </a:lnTo>
                      <a:lnTo>
                        <a:pt x="640" y="146"/>
                      </a:lnTo>
                      <a:cubicBezTo>
                        <a:pt x="640" y="102"/>
                        <a:pt x="604" y="66"/>
                        <a:pt x="560" y="66"/>
                      </a:cubicBezTo>
                      <a:close/>
                    </a:path>
                  </a:pathLst>
                </a:custGeom>
                <a:noFill/>
                <a:ln w="0">
                  <a:solidFill>
                    <a:schemeClr val="accent1"/>
                  </a:solidFill>
                  <a:prstDash val="solid"/>
                  <a:round/>
                  <a:headEnd/>
                  <a:tailEnd/>
                </a:ln>
              </p:spPr>
              <p:txBody>
                <a:bodyPr vert="horz" wrap="square" lIns="91436" tIns="45718" rIns="91436" bIns="45718" numCol="1" anchor="t" anchorCtr="0" compatLnSpc="1">
                  <a:prstTxWarp prst="textNoShape">
                    <a:avLst/>
                  </a:prstTxWarp>
                </a:bodyPr>
                <a:lstStyle/>
                <a:p>
                  <a:pPr defTabSz="457189"/>
                  <a:endParaRPr lang="en-US">
                    <a:solidFill>
                      <a:srgbClr val="58595B"/>
                    </a:solidFill>
                    <a:ea typeface="ＭＳ Ｐゴシック" pitchFamily="34" charset="-128"/>
                  </a:endParaRPr>
                </a:p>
              </p:txBody>
            </p:sp>
            <p:sp>
              <p:nvSpPr>
                <p:cNvPr id="5930" name="Freeform 25"/>
                <p:cNvSpPr>
                  <a:spLocks noEditPoints="1"/>
                </p:cNvSpPr>
                <p:nvPr/>
              </p:nvSpPr>
              <p:spPr bwMode="auto">
                <a:xfrm>
                  <a:off x="3596614" y="-1334536"/>
                  <a:ext cx="389232" cy="391413"/>
                </a:xfrm>
                <a:custGeom>
                  <a:avLst/>
                  <a:gdLst>
                    <a:gd name="T0" fmla="*/ 472 w 586"/>
                    <a:gd name="T1" fmla="*/ 379 h 587"/>
                    <a:gd name="T2" fmla="*/ 434 w 586"/>
                    <a:gd name="T3" fmla="*/ 379 h 587"/>
                    <a:gd name="T4" fmla="*/ 434 w 586"/>
                    <a:gd name="T5" fmla="*/ 341 h 587"/>
                    <a:gd name="T6" fmla="*/ 480 w 586"/>
                    <a:gd name="T7" fmla="*/ 360 h 587"/>
                    <a:gd name="T8" fmla="*/ 472 w 586"/>
                    <a:gd name="T9" fmla="*/ 379 h 587"/>
                    <a:gd name="T10" fmla="*/ 472 w 586"/>
                    <a:gd name="T11" fmla="*/ 499 h 587"/>
                    <a:gd name="T12" fmla="*/ 434 w 586"/>
                    <a:gd name="T13" fmla="*/ 499 h 587"/>
                    <a:gd name="T14" fmla="*/ 434 w 586"/>
                    <a:gd name="T15" fmla="*/ 461 h 587"/>
                    <a:gd name="T16" fmla="*/ 480 w 586"/>
                    <a:gd name="T17" fmla="*/ 480 h 587"/>
                    <a:gd name="T18" fmla="*/ 472 w 586"/>
                    <a:gd name="T19" fmla="*/ 499 h 587"/>
                    <a:gd name="T20" fmla="*/ 365 w 586"/>
                    <a:gd name="T21" fmla="*/ 379 h 587"/>
                    <a:gd name="T22" fmla="*/ 327 w 586"/>
                    <a:gd name="T23" fmla="*/ 379 h 587"/>
                    <a:gd name="T24" fmla="*/ 327 w 586"/>
                    <a:gd name="T25" fmla="*/ 341 h 587"/>
                    <a:gd name="T26" fmla="*/ 373 w 586"/>
                    <a:gd name="T27" fmla="*/ 360 h 587"/>
                    <a:gd name="T28" fmla="*/ 365 w 586"/>
                    <a:gd name="T29" fmla="*/ 379 h 587"/>
                    <a:gd name="T30" fmla="*/ 365 w 586"/>
                    <a:gd name="T31" fmla="*/ 499 h 587"/>
                    <a:gd name="T32" fmla="*/ 327 w 586"/>
                    <a:gd name="T33" fmla="*/ 499 h 587"/>
                    <a:gd name="T34" fmla="*/ 327 w 586"/>
                    <a:gd name="T35" fmla="*/ 461 h 587"/>
                    <a:gd name="T36" fmla="*/ 373 w 586"/>
                    <a:gd name="T37" fmla="*/ 480 h 587"/>
                    <a:gd name="T38" fmla="*/ 365 w 586"/>
                    <a:gd name="T39" fmla="*/ 499 h 587"/>
                    <a:gd name="T40" fmla="*/ 293 w 586"/>
                    <a:gd name="T41" fmla="*/ 280 h 587"/>
                    <a:gd name="T42" fmla="*/ 266 w 586"/>
                    <a:gd name="T43" fmla="*/ 187 h 587"/>
                    <a:gd name="T44" fmla="*/ 177 w 586"/>
                    <a:gd name="T45" fmla="*/ 174 h 587"/>
                    <a:gd name="T46" fmla="*/ 200 w 586"/>
                    <a:gd name="T47" fmla="*/ 133 h 587"/>
                    <a:gd name="T48" fmla="*/ 266 w 586"/>
                    <a:gd name="T49" fmla="*/ 67 h 587"/>
                    <a:gd name="T50" fmla="*/ 320 w 586"/>
                    <a:gd name="T51" fmla="*/ 67 h 587"/>
                    <a:gd name="T52" fmla="*/ 386 w 586"/>
                    <a:gd name="T53" fmla="*/ 133 h 587"/>
                    <a:gd name="T54" fmla="*/ 409 w 586"/>
                    <a:gd name="T55" fmla="*/ 174 h 587"/>
                    <a:gd name="T56" fmla="*/ 320 w 586"/>
                    <a:gd name="T57" fmla="*/ 187 h 587"/>
                    <a:gd name="T58" fmla="*/ 293 w 586"/>
                    <a:gd name="T59" fmla="*/ 280 h 587"/>
                    <a:gd name="T60" fmla="*/ 258 w 586"/>
                    <a:gd name="T61" fmla="*/ 379 h 587"/>
                    <a:gd name="T62" fmla="*/ 240 w 586"/>
                    <a:gd name="T63" fmla="*/ 387 h 587"/>
                    <a:gd name="T64" fmla="*/ 213 w 586"/>
                    <a:gd name="T65" fmla="*/ 360 h 587"/>
                    <a:gd name="T66" fmla="*/ 258 w 586"/>
                    <a:gd name="T67" fmla="*/ 341 h 587"/>
                    <a:gd name="T68" fmla="*/ 258 w 586"/>
                    <a:gd name="T69" fmla="*/ 379 h 587"/>
                    <a:gd name="T70" fmla="*/ 258 w 586"/>
                    <a:gd name="T71" fmla="*/ 499 h 587"/>
                    <a:gd name="T72" fmla="*/ 240 w 586"/>
                    <a:gd name="T73" fmla="*/ 507 h 587"/>
                    <a:gd name="T74" fmla="*/ 213 w 586"/>
                    <a:gd name="T75" fmla="*/ 480 h 587"/>
                    <a:gd name="T76" fmla="*/ 258 w 586"/>
                    <a:gd name="T77" fmla="*/ 461 h 587"/>
                    <a:gd name="T78" fmla="*/ 258 w 586"/>
                    <a:gd name="T79" fmla="*/ 499 h 587"/>
                    <a:gd name="T80" fmla="*/ 152 w 586"/>
                    <a:gd name="T81" fmla="*/ 379 h 587"/>
                    <a:gd name="T82" fmla="*/ 133 w 586"/>
                    <a:gd name="T83" fmla="*/ 387 h 587"/>
                    <a:gd name="T84" fmla="*/ 106 w 586"/>
                    <a:gd name="T85" fmla="*/ 360 h 587"/>
                    <a:gd name="T86" fmla="*/ 152 w 586"/>
                    <a:gd name="T87" fmla="*/ 341 h 587"/>
                    <a:gd name="T88" fmla="*/ 152 w 586"/>
                    <a:gd name="T89" fmla="*/ 379 h 587"/>
                    <a:gd name="T90" fmla="*/ 152 w 586"/>
                    <a:gd name="T91" fmla="*/ 499 h 587"/>
                    <a:gd name="T92" fmla="*/ 133 w 586"/>
                    <a:gd name="T93" fmla="*/ 507 h 587"/>
                    <a:gd name="T94" fmla="*/ 106 w 586"/>
                    <a:gd name="T95" fmla="*/ 480 h 587"/>
                    <a:gd name="T96" fmla="*/ 152 w 586"/>
                    <a:gd name="T97" fmla="*/ 461 h 587"/>
                    <a:gd name="T98" fmla="*/ 152 w 586"/>
                    <a:gd name="T99" fmla="*/ 499 h 587"/>
                    <a:gd name="T100" fmla="*/ 560 w 586"/>
                    <a:gd name="T101" fmla="*/ 174 h 587"/>
                    <a:gd name="T102" fmla="*/ 480 w 586"/>
                    <a:gd name="T103" fmla="*/ 174 h 587"/>
                    <a:gd name="T104" fmla="*/ 453 w 586"/>
                    <a:gd name="T105" fmla="*/ 0 h 587"/>
                    <a:gd name="T106" fmla="*/ 106 w 586"/>
                    <a:gd name="T107" fmla="*/ 27 h 587"/>
                    <a:gd name="T108" fmla="*/ 26 w 586"/>
                    <a:gd name="T109" fmla="*/ 174 h 587"/>
                    <a:gd name="T110" fmla="*/ 0 w 586"/>
                    <a:gd name="T111" fmla="*/ 560 h 587"/>
                    <a:gd name="T112" fmla="*/ 560 w 586"/>
                    <a:gd name="T113" fmla="*/ 587 h 587"/>
                    <a:gd name="T114" fmla="*/ 586 w 586"/>
                    <a:gd name="T115" fmla="*/ 20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6" h="587">
                      <a:moveTo>
                        <a:pt x="472" y="379"/>
                      </a:moveTo>
                      <a:lnTo>
                        <a:pt x="472" y="379"/>
                      </a:lnTo>
                      <a:cubicBezTo>
                        <a:pt x="467" y="384"/>
                        <a:pt x="460" y="387"/>
                        <a:pt x="453" y="387"/>
                      </a:cubicBezTo>
                      <a:cubicBezTo>
                        <a:pt x="446" y="387"/>
                        <a:pt x="439" y="384"/>
                        <a:pt x="434" y="379"/>
                      </a:cubicBezTo>
                      <a:cubicBezTo>
                        <a:pt x="429" y="374"/>
                        <a:pt x="426" y="367"/>
                        <a:pt x="426" y="360"/>
                      </a:cubicBezTo>
                      <a:cubicBezTo>
                        <a:pt x="426" y="353"/>
                        <a:pt x="429" y="346"/>
                        <a:pt x="434" y="341"/>
                      </a:cubicBezTo>
                      <a:cubicBezTo>
                        <a:pt x="444" y="331"/>
                        <a:pt x="462" y="331"/>
                        <a:pt x="472" y="341"/>
                      </a:cubicBezTo>
                      <a:cubicBezTo>
                        <a:pt x="477" y="346"/>
                        <a:pt x="480" y="353"/>
                        <a:pt x="480" y="360"/>
                      </a:cubicBezTo>
                      <a:cubicBezTo>
                        <a:pt x="480" y="367"/>
                        <a:pt x="477" y="374"/>
                        <a:pt x="472" y="379"/>
                      </a:cubicBezTo>
                      <a:lnTo>
                        <a:pt x="472" y="379"/>
                      </a:lnTo>
                      <a:close/>
                      <a:moveTo>
                        <a:pt x="472" y="499"/>
                      </a:moveTo>
                      <a:lnTo>
                        <a:pt x="472" y="499"/>
                      </a:lnTo>
                      <a:cubicBezTo>
                        <a:pt x="467" y="504"/>
                        <a:pt x="460" y="507"/>
                        <a:pt x="453" y="507"/>
                      </a:cubicBezTo>
                      <a:cubicBezTo>
                        <a:pt x="446" y="507"/>
                        <a:pt x="439" y="504"/>
                        <a:pt x="434" y="499"/>
                      </a:cubicBezTo>
                      <a:cubicBezTo>
                        <a:pt x="429" y="494"/>
                        <a:pt x="426" y="487"/>
                        <a:pt x="426" y="480"/>
                      </a:cubicBezTo>
                      <a:cubicBezTo>
                        <a:pt x="426" y="473"/>
                        <a:pt x="429" y="466"/>
                        <a:pt x="434" y="461"/>
                      </a:cubicBezTo>
                      <a:cubicBezTo>
                        <a:pt x="444" y="451"/>
                        <a:pt x="462" y="451"/>
                        <a:pt x="472" y="461"/>
                      </a:cubicBezTo>
                      <a:cubicBezTo>
                        <a:pt x="477" y="466"/>
                        <a:pt x="480" y="473"/>
                        <a:pt x="480" y="480"/>
                      </a:cubicBezTo>
                      <a:cubicBezTo>
                        <a:pt x="480" y="487"/>
                        <a:pt x="477" y="494"/>
                        <a:pt x="472" y="499"/>
                      </a:cubicBezTo>
                      <a:lnTo>
                        <a:pt x="472" y="499"/>
                      </a:lnTo>
                      <a:close/>
                      <a:moveTo>
                        <a:pt x="365" y="379"/>
                      </a:moveTo>
                      <a:lnTo>
                        <a:pt x="365" y="379"/>
                      </a:lnTo>
                      <a:cubicBezTo>
                        <a:pt x="360" y="384"/>
                        <a:pt x="353" y="387"/>
                        <a:pt x="346" y="387"/>
                      </a:cubicBezTo>
                      <a:cubicBezTo>
                        <a:pt x="339" y="387"/>
                        <a:pt x="332" y="384"/>
                        <a:pt x="327" y="379"/>
                      </a:cubicBezTo>
                      <a:cubicBezTo>
                        <a:pt x="322" y="374"/>
                        <a:pt x="320" y="367"/>
                        <a:pt x="320" y="360"/>
                      </a:cubicBezTo>
                      <a:cubicBezTo>
                        <a:pt x="320" y="353"/>
                        <a:pt x="322" y="346"/>
                        <a:pt x="327" y="341"/>
                      </a:cubicBezTo>
                      <a:cubicBezTo>
                        <a:pt x="337" y="331"/>
                        <a:pt x="355" y="331"/>
                        <a:pt x="365" y="341"/>
                      </a:cubicBezTo>
                      <a:cubicBezTo>
                        <a:pt x="370" y="346"/>
                        <a:pt x="373" y="353"/>
                        <a:pt x="373" y="360"/>
                      </a:cubicBezTo>
                      <a:cubicBezTo>
                        <a:pt x="373" y="367"/>
                        <a:pt x="370" y="374"/>
                        <a:pt x="365" y="379"/>
                      </a:cubicBezTo>
                      <a:lnTo>
                        <a:pt x="365" y="379"/>
                      </a:lnTo>
                      <a:close/>
                      <a:moveTo>
                        <a:pt x="365" y="499"/>
                      </a:moveTo>
                      <a:lnTo>
                        <a:pt x="365" y="499"/>
                      </a:lnTo>
                      <a:cubicBezTo>
                        <a:pt x="360" y="504"/>
                        <a:pt x="353" y="507"/>
                        <a:pt x="346" y="507"/>
                      </a:cubicBezTo>
                      <a:cubicBezTo>
                        <a:pt x="339" y="507"/>
                        <a:pt x="332" y="504"/>
                        <a:pt x="327" y="499"/>
                      </a:cubicBezTo>
                      <a:cubicBezTo>
                        <a:pt x="322" y="494"/>
                        <a:pt x="320" y="487"/>
                        <a:pt x="320" y="480"/>
                      </a:cubicBezTo>
                      <a:cubicBezTo>
                        <a:pt x="320" y="473"/>
                        <a:pt x="322" y="466"/>
                        <a:pt x="327" y="461"/>
                      </a:cubicBezTo>
                      <a:cubicBezTo>
                        <a:pt x="337" y="451"/>
                        <a:pt x="355" y="451"/>
                        <a:pt x="365" y="461"/>
                      </a:cubicBezTo>
                      <a:cubicBezTo>
                        <a:pt x="370" y="466"/>
                        <a:pt x="373" y="473"/>
                        <a:pt x="373" y="480"/>
                      </a:cubicBezTo>
                      <a:cubicBezTo>
                        <a:pt x="373" y="487"/>
                        <a:pt x="370" y="494"/>
                        <a:pt x="365" y="499"/>
                      </a:cubicBezTo>
                      <a:lnTo>
                        <a:pt x="365" y="499"/>
                      </a:lnTo>
                      <a:close/>
                      <a:moveTo>
                        <a:pt x="293" y="280"/>
                      </a:moveTo>
                      <a:lnTo>
                        <a:pt x="293" y="280"/>
                      </a:lnTo>
                      <a:cubicBezTo>
                        <a:pt x="278" y="280"/>
                        <a:pt x="266" y="268"/>
                        <a:pt x="266" y="253"/>
                      </a:cubicBezTo>
                      <a:lnTo>
                        <a:pt x="266" y="187"/>
                      </a:lnTo>
                      <a:lnTo>
                        <a:pt x="200" y="187"/>
                      </a:lnTo>
                      <a:cubicBezTo>
                        <a:pt x="190" y="187"/>
                        <a:pt x="181" y="181"/>
                        <a:pt x="177" y="174"/>
                      </a:cubicBezTo>
                      <a:cubicBezTo>
                        <a:pt x="174" y="170"/>
                        <a:pt x="173" y="165"/>
                        <a:pt x="173" y="160"/>
                      </a:cubicBezTo>
                      <a:cubicBezTo>
                        <a:pt x="173" y="145"/>
                        <a:pt x="185" y="133"/>
                        <a:pt x="200" y="133"/>
                      </a:cubicBezTo>
                      <a:lnTo>
                        <a:pt x="266" y="133"/>
                      </a:lnTo>
                      <a:lnTo>
                        <a:pt x="266" y="67"/>
                      </a:lnTo>
                      <a:cubicBezTo>
                        <a:pt x="266" y="52"/>
                        <a:pt x="278" y="40"/>
                        <a:pt x="293" y="40"/>
                      </a:cubicBezTo>
                      <a:cubicBezTo>
                        <a:pt x="308" y="40"/>
                        <a:pt x="320" y="52"/>
                        <a:pt x="320" y="67"/>
                      </a:cubicBezTo>
                      <a:lnTo>
                        <a:pt x="320" y="133"/>
                      </a:lnTo>
                      <a:lnTo>
                        <a:pt x="386" y="133"/>
                      </a:lnTo>
                      <a:cubicBezTo>
                        <a:pt x="401" y="133"/>
                        <a:pt x="413" y="145"/>
                        <a:pt x="413" y="160"/>
                      </a:cubicBezTo>
                      <a:cubicBezTo>
                        <a:pt x="413" y="165"/>
                        <a:pt x="412" y="170"/>
                        <a:pt x="409" y="174"/>
                      </a:cubicBezTo>
                      <a:cubicBezTo>
                        <a:pt x="405" y="181"/>
                        <a:pt x="396" y="187"/>
                        <a:pt x="386" y="187"/>
                      </a:cubicBezTo>
                      <a:lnTo>
                        <a:pt x="320" y="187"/>
                      </a:lnTo>
                      <a:lnTo>
                        <a:pt x="320" y="253"/>
                      </a:lnTo>
                      <a:cubicBezTo>
                        <a:pt x="320" y="268"/>
                        <a:pt x="308" y="280"/>
                        <a:pt x="293" y="280"/>
                      </a:cubicBezTo>
                      <a:lnTo>
                        <a:pt x="293" y="280"/>
                      </a:lnTo>
                      <a:close/>
                      <a:moveTo>
                        <a:pt x="258" y="379"/>
                      </a:moveTo>
                      <a:lnTo>
                        <a:pt x="258" y="379"/>
                      </a:lnTo>
                      <a:cubicBezTo>
                        <a:pt x="253" y="384"/>
                        <a:pt x="247" y="387"/>
                        <a:pt x="240" y="387"/>
                      </a:cubicBezTo>
                      <a:cubicBezTo>
                        <a:pt x="233" y="387"/>
                        <a:pt x="226" y="384"/>
                        <a:pt x="221" y="379"/>
                      </a:cubicBezTo>
                      <a:cubicBezTo>
                        <a:pt x="216" y="374"/>
                        <a:pt x="213" y="367"/>
                        <a:pt x="213" y="360"/>
                      </a:cubicBezTo>
                      <a:cubicBezTo>
                        <a:pt x="213" y="353"/>
                        <a:pt x="216" y="346"/>
                        <a:pt x="221" y="341"/>
                      </a:cubicBezTo>
                      <a:cubicBezTo>
                        <a:pt x="231" y="331"/>
                        <a:pt x="249" y="331"/>
                        <a:pt x="258" y="341"/>
                      </a:cubicBezTo>
                      <a:cubicBezTo>
                        <a:pt x="263" y="346"/>
                        <a:pt x="266" y="353"/>
                        <a:pt x="266" y="360"/>
                      </a:cubicBezTo>
                      <a:cubicBezTo>
                        <a:pt x="266" y="367"/>
                        <a:pt x="263" y="374"/>
                        <a:pt x="258" y="379"/>
                      </a:cubicBezTo>
                      <a:lnTo>
                        <a:pt x="258" y="379"/>
                      </a:lnTo>
                      <a:close/>
                      <a:moveTo>
                        <a:pt x="258" y="499"/>
                      </a:moveTo>
                      <a:lnTo>
                        <a:pt x="258" y="499"/>
                      </a:lnTo>
                      <a:cubicBezTo>
                        <a:pt x="253" y="504"/>
                        <a:pt x="247" y="507"/>
                        <a:pt x="240" y="507"/>
                      </a:cubicBezTo>
                      <a:cubicBezTo>
                        <a:pt x="233" y="507"/>
                        <a:pt x="226" y="504"/>
                        <a:pt x="221" y="499"/>
                      </a:cubicBezTo>
                      <a:cubicBezTo>
                        <a:pt x="216" y="494"/>
                        <a:pt x="213" y="487"/>
                        <a:pt x="213" y="480"/>
                      </a:cubicBezTo>
                      <a:cubicBezTo>
                        <a:pt x="213" y="473"/>
                        <a:pt x="216" y="466"/>
                        <a:pt x="221" y="461"/>
                      </a:cubicBezTo>
                      <a:cubicBezTo>
                        <a:pt x="231" y="451"/>
                        <a:pt x="249" y="451"/>
                        <a:pt x="258" y="461"/>
                      </a:cubicBezTo>
                      <a:cubicBezTo>
                        <a:pt x="263" y="466"/>
                        <a:pt x="266" y="473"/>
                        <a:pt x="266" y="480"/>
                      </a:cubicBezTo>
                      <a:cubicBezTo>
                        <a:pt x="266" y="487"/>
                        <a:pt x="263" y="494"/>
                        <a:pt x="258" y="499"/>
                      </a:cubicBezTo>
                      <a:lnTo>
                        <a:pt x="258" y="499"/>
                      </a:lnTo>
                      <a:close/>
                      <a:moveTo>
                        <a:pt x="152" y="379"/>
                      </a:moveTo>
                      <a:lnTo>
                        <a:pt x="152" y="379"/>
                      </a:lnTo>
                      <a:cubicBezTo>
                        <a:pt x="147" y="384"/>
                        <a:pt x="140" y="387"/>
                        <a:pt x="133" y="387"/>
                      </a:cubicBezTo>
                      <a:cubicBezTo>
                        <a:pt x="126" y="387"/>
                        <a:pt x="119" y="384"/>
                        <a:pt x="114" y="379"/>
                      </a:cubicBezTo>
                      <a:cubicBezTo>
                        <a:pt x="109" y="374"/>
                        <a:pt x="106" y="367"/>
                        <a:pt x="106" y="360"/>
                      </a:cubicBezTo>
                      <a:cubicBezTo>
                        <a:pt x="106" y="353"/>
                        <a:pt x="109" y="346"/>
                        <a:pt x="114" y="341"/>
                      </a:cubicBezTo>
                      <a:cubicBezTo>
                        <a:pt x="124" y="331"/>
                        <a:pt x="142" y="331"/>
                        <a:pt x="152" y="341"/>
                      </a:cubicBezTo>
                      <a:cubicBezTo>
                        <a:pt x="157" y="346"/>
                        <a:pt x="160" y="353"/>
                        <a:pt x="160" y="360"/>
                      </a:cubicBezTo>
                      <a:cubicBezTo>
                        <a:pt x="160" y="367"/>
                        <a:pt x="157" y="374"/>
                        <a:pt x="152" y="379"/>
                      </a:cubicBezTo>
                      <a:lnTo>
                        <a:pt x="152" y="379"/>
                      </a:lnTo>
                      <a:close/>
                      <a:moveTo>
                        <a:pt x="152" y="499"/>
                      </a:moveTo>
                      <a:lnTo>
                        <a:pt x="152" y="499"/>
                      </a:lnTo>
                      <a:cubicBezTo>
                        <a:pt x="147" y="504"/>
                        <a:pt x="140" y="507"/>
                        <a:pt x="133" y="507"/>
                      </a:cubicBezTo>
                      <a:cubicBezTo>
                        <a:pt x="126" y="507"/>
                        <a:pt x="119" y="504"/>
                        <a:pt x="114" y="499"/>
                      </a:cubicBezTo>
                      <a:cubicBezTo>
                        <a:pt x="109" y="494"/>
                        <a:pt x="106" y="487"/>
                        <a:pt x="106" y="480"/>
                      </a:cubicBezTo>
                      <a:cubicBezTo>
                        <a:pt x="106" y="473"/>
                        <a:pt x="109" y="466"/>
                        <a:pt x="114" y="461"/>
                      </a:cubicBezTo>
                      <a:cubicBezTo>
                        <a:pt x="124" y="451"/>
                        <a:pt x="142" y="451"/>
                        <a:pt x="152" y="461"/>
                      </a:cubicBezTo>
                      <a:cubicBezTo>
                        <a:pt x="157" y="466"/>
                        <a:pt x="160" y="473"/>
                        <a:pt x="160" y="480"/>
                      </a:cubicBezTo>
                      <a:cubicBezTo>
                        <a:pt x="160" y="487"/>
                        <a:pt x="157" y="494"/>
                        <a:pt x="152" y="499"/>
                      </a:cubicBezTo>
                      <a:lnTo>
                        <a:pt x="152" y="499"/>
                      </a:lnTo>
                      <a:close/>
                      <a:moveTo>
                        <a:pt x="560" y="174"/>
                      </a:moveTo>
                      <a:lnTo>
                        <a:pt x="560" y="174"/>
                      </a:lnTo>
                      <a:lnTo>
                        <a:pt x="480" y="174"/>
                      </a:lnTo>
                      <a:lnTo>
                        <a:pt x="480" y="27"/>
                      </a:lnTo>
                      <a:cubicBezTo>
                        <a:pt x="480" y="12"/>
                        <a:pt x="468" y="0"/>
                        <a:pt x="453" y="0"/>
                      </a:cubicBezTo>
                      <a:lnTo>
                        <a:pt x="133" y="0"/>
                      </a:lnTo>
                      <a:cubicBezTo>
                        <a:pt x="118" y="0"/>
                        <a:pt x="106" y="12"/>
                        <a:pt x="106" y="27"/>
                      </a:cubicBezTo>
                      <a:lnTo>
                        <a:pt x="106" y="174"/>
                      </a:lnTo>
                      <a:lnTo>
                        <a:pt x="26" y="174"/>
                      </a:lnTo>
                      <a:cubicBezTo>
                        <a:pt x="12" y="174"/>
                        <a:pt x="0" y="185"/>
                        <a:pt x="0" y="200"/>
                      </a:cubicBezTo>
                      <a:lnTo>
                        <a:pt x="0" y="560"/>
                      </a:lnTo>
                      <a:cubicBezTo>
                        <a:pt x="0" y="575"/>
                        <a:pt x="12" y="587"/>
                        <a:pt x="26" y="587"/>
                      </a:cubicBezTo>
                      <a:lnTo>
                        <a:pt x="560" y="587"/>
                      </a:lnTo>
                      <a:cubicBezTo>
                        <a:pt x="574" y="587"/>
                        <a:pt x="586" y="575"/>
                        <a:pt x="586" y="560"/>
                      </a:cubicBezTo>
                      <a:lnTo>
                        <a:pt x="586" y="200"/>
                      </a:lnTo>
                      <a:cubicBezTo>
                        <a:pt x="586" y="185"/>
                        <a:pt x="574" y="174"/>
                        <a:pt x="560" y="174"/>
                      </a:cubicBezTo>
                      <a:close/>
                    </a:path>
                  </a:pathLst>
                </a:custGeom>
                <a:noFill/>
                <a:ln w="0">
                  <a:solidFill>
                    <a:schemeClr val="accent1"/>
                  </a:solidFill>
                  <a:prstDash val="solid"/>
                  <a:round/>
                  <a:headEnd/>
                  <a:tailEnd/>
                </a:ln>
              </p:spPr>
              <p:txBody>
                <a:bodyPr vert="horz" wrap="square" lIns="91436" tIns="45718" rIns="91436" bIns="45718" numCol="1" anchor="t" anchorCtr="0" compatLnSpc="1">
                  <a:prstTxWarp prst="textNoShape">
                    <a:avLst/>
                  </a:prstTxWarp>
                </a:bodyPr>
                <a:lstStyle/>
                <a:p>
                  <a:pPr defTabSz="457189"/>
                  <a:endParaRPr lang="en-US">
                    <a:solidFill>
                      <a:srgbClr val="58595B"/>
                    </a:solidFill>
                  </a:endParaRPr>
                </a:p>
              </p:txBody>
            </p:sp>
            <p:grpSp>
              <p:nvGrpSpPr>
                <p:cNvPr id="5931" name="Group 5930"/>
                <p:cNvGrpSpPr>
                  <a:grpSpLocks noChangeAspect="1"/>
                </p:cNvGrpSpPr>
                <p:nvPr/>
              </p:nvGrpSpPr>
              <p:grpSpPr bwMode="auto">
                <a:xfrm>
                  <a:off x="2547982" y="-1409726"/>
                  <a:ext cx="404820" cy="476259"/>
                  <a:chOff x="1605" y="-888"/>
                  <a:chExt cx="255" cy="300"/>
                </a:xfrm>
              </p:grpSpPr>
              <p:sp>
                <p:nvSpPr>
                  <p:cNvPr id="5932" name="Oval 5931"/>
                  <p:cNvSpPr>
                    <a:spLocks noChangeArrowheads="1"/>
                  </p:cNvSpPr>
                  <p:nvPr/>
                </p:nvSpPr>
                <p:spPr bwMode="auto">
                  <a:xfrm>
                    <a:off x="1723" y="-888"/>
                    <a:ext cx="19" cy="17"/>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33" name="Freeform 5932"/>
                  <p:cNvSpPr>
                    <a:spLocks noEditPoints="1"/>
                  </p:cNvSpPr>
                  <p:nvPr/>
                </p:nvSpPr>
                <p:spPr bwMode="auto">
                  <a:xfrm>
                    <a:off x="1636" y="-735"/>
                    <a:ext cx="193" cy="108"/>
                  </a:xfrm>
                  <a:custGeom>
                    <a:avLst/>
                    <a:gdLst>
                      <a:gd name="T0" fmla="*/ 114 w 122"/>
                      <a:gd name="T1" fmla="*/ 69 h 69"/>
                      <a:gd name="T2" fmla="*/ 106 w 122"/>
                      <a:gd name="T3" fmla="*/ 62 h 69"/>
                      <a:gd name="T4" fmla="*/ 106 w 122"/>
                      <a:gd name="T5" fmla="*/ 8 h 69"/>
                      <a:gd name="T6" fmla="*/ 114 w 122"/>
                      <a:gd name="T7" fmla="*/ 0 h 69"/>
                      <a:gd name="T8" fmla="*/ 122 w 122"/>
                      <a:gd name="T9" fmla="*/ 8 h 69"/>
                      <a:gd name="T10" fmla="*/ 122 w 122"/>
                      <a:gd name="T11" fmla="*/ 62 h 69"/>
                      <a:gd name="T12" fmla="*/ 114 w 122"/>
                      <a:gd name="T13" fmla="*/ 69 h 69"/>
                      <a:gd name="T14" fmla="*/ 78 w 122"/>
                      <a:gd name="T15" fmla="*/ 69 h 69"/>
                      <a:gd name="T16" fmla="*/ 71 w 122"/>
                      <a:gd name="T17" fmla="*/ 62 h 69"/>
                      <a:gd name="T18" fmla="*/ 71 w 122"/>
                      <a:gd name="T19" fmla="*/ 8 h 69"/>
                      <a:gd name="T20" fmla="*/ 78 w 122"/>
                      <a:gd name="T21" fmla="*/ 0 h 69"/>
                      <a:gd name="T22" fmla="*/ 86 w 122"/>
                      <a:gd name="T23" fmla="*/ 8 h 69"/>
                      <a:gd name="T24" fmla="*/ 86 w 122"/>
                      <a:gd name="T25" fmla="*/ 62 h 69"/>
                      <a:gd name="T26" fmla="*/ 78 w 122"/>
                      <a:gd name="T27" fmla="*/ 69 h 69"/>
                      <a:gd name="T28" fmla="*/ 43 w 122"/>
                      <a:gd name="T29" fmla="*/ 69 h 69"/>
                      <a:gd name="T30" fmla="*/ 35 w 122"/>
                      <a:gd name="T31" fmla="*/ 62 h 69"/>
                      <a:gd name="T32" fmla="*/ 35 w 122"/>
                      <a:gd name="T33" fmla="*/ 8 h 69"/>
                      <a:gd name="T34" fmla="*/ 43 w 122"/>
                      <a:gd name="T35" fmla="*/ 0 h 69"/>
                      <a:gd name="T36" fmla="*/ 51 w 122"/>
                      <a:gd name="T37" fmla="*/ 8 h 69"/>
                      <a:gd name="T38" fmla="*/ 51 w 122"/>
                      <a:gd name="T39" fmla="*/ 62 h 69"/>
                      <a:gd name="T40" fmla="*/ 43 w 122"/>
                      <a:gd name="T41" fmla="*/ 69 h 69"/>
                      <a:gd name="T42" fmla="*/ 8 w 122"/>
                      <a:gd name="T43" fmla="*/ 69 h 69"/>
                      <a:gd name="T44" fmla="*/ 0 w 122"/>
                      <a:gd name="T45" fmla="*/ 62 h 69"/>
                      <a:gd name="T46" fmla="*/ 0 w 122"/>
                      <a:gd name="T47" fmla="*/ 8 h 69"/>
                      <a:gd name="T48" fmla="*/ 8 w 122"/>
                      <a:gd name="T49" fmla="*/ 0 h 69"/>
                      <a:gd name="T50" fmla="*/ 16 w 122"/>
                      <a:gd name="T51" fmla="*/ 8 h 69"/>
                      <a:gd name="T52" fmla="*/ 16 w 122"/>
                      <a:gd name="T53" fmla="*/ 62 h 69"/>
                      <a:gd name="T54" fmla="*/ 8 w 122"/>
                      <a:gd name="T5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2" h="69">
                        <a:moveTo>
                          <a:pt x="114" y="69"/>
                        </a:moveTo>
                        <a:cubicBezTo>
                          <a:pt x="109" y="69"/>
                          <a:pt x="106" y="66"/>
                          <a:pt x="106" y="62"/>
                        </a:cubicBezTo>
                        <a:cubicBezTo>
                          <a:pt x="106" y="8"/>
                          <a:pt x="106" y="8"/>
                          <a:pt x="106" y="8"/>
                        </a:cubicBezTo>
                        <a:cubicBezTo>
                          <a:pt x="106" y="4"/>
                          <a:pt x="109" y="0"/>
                          <a:pt x="114" y="0"/>
                        </a:cubicBezTo>
                        <a:cubicBezTo>
                          <a:pt x="118" y="0"/>
                          <a:pt x="122" y="4"/>
                          <a:pt x="122" y="8"/>
                        </a:cubicBezTo>
                        <a:cubicBezTo>
                          <a:pt x="122" y="62"/>
                          <a:pt x="122" y="62"/>
                          <a:pt x="122" y="62"/>
                        </a:cubicBezTo>
                        <a:cubicBezTo>
                          <a:pt x="122" y="66"/>
                          <a:pt x="118" y="69"/>
                          <a:pt x="114" y="69"/>
                        </a:cubicBezTo>
                        <a:close/>
                        <a:moveTo>
                          <a:pt x="78" y="69"/>
                        </a:moveTo>
                        <a:cubicBezTo>
                          <a:pt x="74" y="69"/>
                          <a:pt x="71" y="66"/>
                          <a:pt x="71" y="62"/>
                        </a:cubicBezTo>
                        <a:cubicBezTo>
                          <a:pt x="71" y="8"/>
                          <a:pt x="71" y="8"/>
                          <a:pt x="71" y="8"/>
                        </a:cubicBezTo>
                        <a:cubicBezTo>
                          <a:pt x="71" y="4"/>
                          <a:pt x="74" y="0"/>
                          <a:pt x="78" y="0"/>
                        </a:cubicBezTo>
                        <a:cubicBezTo>
                          <a:pt x="83" y="0"/>
                          <a:pt x="86" y="4"/>
                          <a:pt x="86" y="8"/>
                        </a:cubicBezTo>
                        <a:cubicBezTo>
                          <a:pt x="86" y="62"/>
                          <a:pt x="86" y="62"/>
                          <a:pt x="86" y="62"/>
                        </a:cubicBezTo>
                        <a:cubicBezTo>
                          <a:pt x="86" y="66"/>
                          <a:pt x="83" y="69"/>
                          <a:pt x="78" y="69"/>
                        </a:cubicBezTo>
                        <a:close/>
                        <a:moveTo>
                          <a:pt x="43" y="69"/>
                        </a:moveTo>
                        <a:cubicBezTo>
                          <a:pt x="39" y="69"/>
                          <a:pt x="35" y="66"/>
                          <a:pt x="35" y="62"/>
                        </a:cubicBezTo>
                        <a:cubicBezTo>
                          <a:pt x="35" y="8"/>
                          <a:pt x="35" y="8"/>
                          <a:pt x="35" y="8"/>
                        </a:cubicBezTo>
                        <a:cubicBezTo>
                          <a:pt x="35" y="4"/>
                          <a:pt x="39" y="0"/>
                          <a:pt x="43" y="0"/>
                        </a:cubicBezTo>
                        <a:cubicBezTo>
                          <a:pt x="48" y="0"/>
                          <a:pt x="51" y="4"/>
                          <a:pt x="51" y="8"/>
                        </a:cubicBezTo>
                        <a:cubicBezTo>
                          <a:pt x="51" y="62"/>
                          <a:pt x="51" y="62"/>
                          <a:pt x="51" y="62"/>
                        </a:cubicBezTo>
                        <a:cubicBezTo>
                          <a:pt x="51" y="66"/>
                          <a:pt x="48" y="69"/>
                          <a:pt x="43" y="69"/>
                        </a:cubicBezTo>
                        <a:close/>
                        <a:moveTo>
                          <a:pt x="8" y="69"/>
                        </a:moveTo>
                        <a:cubicBezTo>
                          <a:pt x="4" y="69"/>
                          <a:pt x="0" y="66"/>
                          <a:pt x="0" y="62"/>
                        </a:cubicBezTo>
                        <a:cubicBezTo>
                          <a:pt x="0" y="8"/>
                          <a:pt x="0" y="8"/>
                          <a:pt x="0" y="8"/>
                        </a:cubicBezTo>
                        <a:cubicBezTo>
                          <a:pt x="0" y="4"/>
                          <a:pt x="4" y="0"/>
                          <a:pt x="8" y="0"/>
                        </a:cubicBezTo>
                        <a:cubicBezTo>
                          <a:pt x="13" y="0"/>
                          <a:pt x="16" y="4"/>
                          <a:pt x="16" y="8"/>
                        </a:cubicBezTo>
                        <a:cubicBezTo>
                          <a:pt x="16" y="62"/>
                          <a:pt x="16" y="62"/>
                          <a:pt x="16" y="62"/>
                        </a:cubicBezTo>
                        <a:cubicBezTo>
                          <a:pt x="16" y="66"/>
                          <a:pt x="13" y="69"/>
                          <a:pt x="8" y="69"/>
                        </a:cubicBezTo>
                        <a:close/>
                      </a:path>
                    </a:pathLst>
                  </a:custGeom>
                  <a:noFill/>
                  <a:ln w="79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34" name="Rectangle 5933"/>
                  <p:cNvSpPr>
                    <a:spLocks noChangeArrowheads="1"/>
                  </p:cNvSpPr>
                  <p:nvPr/>
                </p:nvSpPr>
                <p:spPr bwMode="auto">
                  <a:xfrm>
                    <a:off x="1605" y="-613"/>
                    <a:ext cx="255" cy="25"/>
                  </a:xfrm>
                  <a:prstGeom prst="rect">
                    <a:avLst/>
                  </a:prstGeom>
                  <a:noFill/>
                  <a:ln w="79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35" name="Freeform 5934"/>
                  <p:cNvSpPr>
                    <a:spLocks/>
                  </p:cNvSpPr>
                  <p:nvPr/>
                </p:nvSpPr>
                <p:spPr bwMode="auto">
                  <a:xfrm>
                    <a:off x="1617" y="-863"/>
                    <a:ext cx="231" cy="115"/>
                  </a:xfrm>
                  <a:custGeom>
                    <a:avLst/>
                    <a:gdLst>
                      <a:gd name="T0" fmla="*/ 0 w 146"/>
                      <a:gd name="T1" fmla="*/ 73 h 73"/>
                      <a:gd name="T2" fmla="*/ 0 w 146"/>
                      <a:gd name="T3" fmla="*/ 73 h 73"/>
                      <a:gd name="T4" fmla="*/ 73 w 146"/>
                      <a:gd name="T5" fmla="*/ 0 h 73"/>
                      <a:gd name="T6" fmla="*/ 146 w 146"/>
                      <a:gd name="T7" fmla="*/ 73 h 73"/>
                      <a:gd name="T8" fmla="*/ 0 w 146"/>
                      <a:gd name="T9" fmla="*/ 73 h 73"/>
                      <a:gd name="T10" fmla="*/ 0 w 146"/>
                      <a:gd name="T11" fmla="*/ 73 h 73"/>
                    </a:gdLst>
                    <a:ahLst/>
                    <a:cxnLst>
                      <a:cxn ang="0">
                        <a:pos x="T0" y="T1"/>
                      </a:cxn>
                      <a:cxn ang="0">
                        <a:pos x="T2" y="T3"/>
                      </a:cxn>
                      <a:cxn ang="0">
                        <a:pos x="T4" y="T5"/>
                      </a:cxn>
                      <a:cxn ang="0">
                        <a:pos x="T6" y="T7"/>
                      </a:cxn>
                      <a:cxn ang="0">
                        <a:pos x="T8" y="T9"/>
                      </a:cxn>
                      <a:cxn ang="0">
                        <a:pos x="T10" y="T11"/>
                      </a:cxn>
                    </a:cxnLst>
                    <a:rect l="0" t="0" r="r" b="b"/>
                    <a:pathLst>
                      <a:path w="146" h="73">
                        <a:moveTo>
                          <a:pt x="0" y="73"/>
                        </a:moveTo>
                        <a:cubicBezTo>
                          <a:pt x="0" y="73"/>
                          <a:pt x="0" y="73"/>
                          <a:pt x="0" y="73"/>
                        </a:cubicBezTo>
                        <a:cubicBezTo>
                          <a:pt x="0" y="33"/>
                          <a:pt x="33" y="0"/>
                          <a:pt x="73" y="0"/>
                        </a:cubicBezTo>
                        <a:cubicBezTo>
                          <a:pt x="114" y="0"/>
                          <a:pt x="146" y="33"/>
                          <a:pt x="146" y="73"/>
                        </a:cubicBezTo>
                        <a:cubicBezTo>
                          <a:pt x="0" y="73"/>
                          <a:pt x="0" y="73"/>
                          <a:pt x="0" y="73"/>
                        </a:cubicBezTo>
                        <a:cubicBezTo>
                          <a:pt x="0" y="73"/>
                          <a:pt x="0" y="73"/>
                          <a:pt x="0" y="73"/>
                        </a:cubicBezTo>
                        <a:close/>
                      </a:path>
                    </a:pathLst>
                  </a:custGeom>
                  <a:noFill/>
                  <a:ln w="7938"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grpSp>
          <p:sp>
            <p:nvSpPr>
              <p:cNvPr id="5936" name="Freeform 9"/>
              <p:cNvSpPr>
                <a:spLocks noEditPoints="1"/>
              </p:cNvSpPr>
              <p:nvPr/>
            </p:nvSpPr>
            <p:spPr bwMode="auto">
              <a:xfrm>
                <a:off x="1205009" y="1653585"/>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nvGrpSpPr>
              <p:cNvPr id="5937" name="Group 31"/>
              <p:cNvGrpSpPr>
                <a:grpSpLocks noChangeAspect="1"/>
              </p:cNvGrpSpPr>
              <p:nvPr/>
            </p:nvGrpSpPr>
            <p:grpSpPr bwMode="auto">
              <a:xfrm>
                <a:off x="509409" y="2881117"/>
                <a:ext cx="434623" cy="409680"/>
                <a:chOff x="382" y="1928"/>
                <a:chExt cx="697" cy="657"/>
              </a:xfrm>
            </p:grpSpPr>
            <p:sp>
              <p:nvSpPr>
                <p:cNvPr id="5938" name="Freeform 33"/>
                <p:cNvSpPr>
                  <a:spLocks noEditPoints="1"/>
                </p:cNvSpPr>
                <p:nvPr/>
              </p:nvSpPr>
              <p:spPr bwMode="auto">
                <a:xfrm>
                  <a:off x="600" y="2355"/>
                  <a:ext cx="282" cy="230"/>
                </a:xfrm>
                <a:custGeom>
                  <a:avLst/>
                  <a:gdLst>
                    <a:gd name="T0" fmla="*/ 473 w 564"/>
                    <a:gd name="T1" fmla="*/ 45 h 460"/>
                    <a:gd name="T2" fmla="*/ 457 w 564"/>
                    <a:gd name="T3" fmla="*/ 20 h 460"/>
                    <a:gd name="T4" fmla="*/ 433 w 564"/>
                    <a:gd name="T5" fmla="*/ 4 h 460"/>
                    <a:gd name="T6" fmla="*/ 150 w 564"/>
                    <a:gd name="T7" fmla="*/ 0 h 460"/>
                    <a:gd name="T8" fmla="*/ 131 w 564"/>
                    <a:gd name="T9" fmla="*/ 4 h 460"/>
                    <a:gd name="T10" fmla="*/ 107 w 564"/>
                    <a:gd name="T11" fmla="*/ 20 h 460"/>
                    <a:gd name="T12" fmla="*/ 91 w 564"/>
                    <a:gd name="T13" fmla="*/ 45 h 460"/>
                    <a:gd name="T14" fmla="*/ 40 w 564"/>
                    <a:gd name="T15" fmla="*/ 174 h 460"/>
                    <a:gd name="T16" fmla="*/ 14 w 564"/>
                    <a:gd name="T17" fmla="*/ 190 h 460"/>
                    <a:gd name="T18" fmla="*/ 1 w 564"/>
                    <a:gd name="T19" fmla="*/ 214 h 460"/>
                    <a:gd name="T20" fmla="*/ 65 w 564"/>
                    <a:gd name="T21" fmla="*/ 382 h 460"/>
                    <a:gd name="T22" fmla="*/ 67 w 564"/>
                    <a:gd name="T23" fmla="*/ 428 h 460"/>
                    <a:gd name="T24" fmla="*/ 78 w 564"/>
                    <a:gd name="T25" fmla="*/ 449 h 460"/>
                    <a:gd name="T26" fmla="*/ 99 w 564"/>
                    <a:gd name="T27" fmla="*/ 460 h 460"/>
                    <a:gd name="T28" fmla="*/ 115 w 564"/>
                    <a:gd name="T29" fmla="*/ 460 h 460"/>
                    <a:gd name="T30" fmla="*/ 134 w 564"/>
                    <a:gd name="T31" fmla="*/ 449 h 460"/>
                    <a:gd name="T32" fmla="*/ 145 w 564"/>
                    <a:gd name="T33" fmla="*/ 428 h 460"/>
                    <a:gd name="T34" fmla="*/ 418 w 564"/>
                    <a:gd name="T35" fmla="*/ 382 h 460"/>
                    <a:gd name="T36" fmla="*/ 419 w 564"/>
                    <a:gd name="T37" fmla="*/ 428 h 460"/>
                    <a:gd name="T38" fmla="*/ 430 w 564"/>
                    <a:gd name="T39" fmla="*/ 449 h 460"/>
                    <a:gd name="T40" fmla="*/ 451 w 564"/>
                    <a:gd name="T41" fmla="*/ 460 h 460"/>
                    <a:gd name="T42" fmla="*/ 467 w 564"/>
                    <a:gd name="T43" fmla="*/ 460 h 460"/>
                    <a:gd name="T44" fmla="*/ 486 w 564"/>
                    <a:gd name="T45" fmla="*/ 449 h 460"/>
                    <a:gd name="T46" fmla="*/ 497 w 564"/>
                    <a:gd name="T47" fmla="*/ 428 h 460"/>
                    <a:gd name="T48" fmla="*/ 564 w 564"/>
                    <a:gd name="T49" fmla="*/ 382 h 460"/>
                    <a:gd name="T50" fmla="*/ 563 w 564"/>
                    <a:gd name="T51" fmla="*/ 214 h 460"/>
                    <a:gd name="T52" fmla="*/ 550 w 564"/>
                    <a:gd name="T53" fmla="*/ 190 h 460"/>
                    <a:gd name="T54" fmla="*/ 526 w 564"/>
                    <a:gd name="T55" fmla="*/ 174 h 460"/>
                    <a:gd name="T56" fmla="*/ 145 w 564"/>
                    <a:gd name="T57" fmla="*/ 69 h 460"/>
                    <a:gd name="T58" fmla="*/ 151 w 564"/>
                    <a:gd name="T59" fmla="*/ 59 h 460"/>
                    <a:gd name="T60" fmla="*/ 402 w 564"/>
                    <a:gd name="T61" fmla="*/ 56 h 460"/>
                    <a:gd name="T62" fmla="*/ 410 w 564"/>
                    <a:gd name="T63" fmla="*/ 59 h 460"/>
                    <a:gd name="T64" fmla="*/ 451 w 564"/>
                    <a:gd name="T65" fmla="*/ 173 h 460"/>
                    <a:gd name="T66" fmla="*/ 146 w 564"/>
                    <a:gd name="T67" fmla="*/ 327 h 460"/>
                    <a:gd name="T68" fmla="*/ 129 w 564"/>
                    <a:gd name="T69" fmla="*/ 323 h 460"/>
                    <a:gd name="T70" fmla="*/ 108 w 564"/>
                    <a:gd name="T71" fmla="*/ 307 h 460"/>
                    <a:gd name="T72" fmla="*/ 99 w 564"/>
                    <a:gd name="T73" fmla="*/ 280 h 460"/>
                    <a:gd name="T74" fmla="*/ 103 w 564"/>
                    <a:gd name="T75" fmla="*/ 260 h 460"/>
                    <a:gd name="T76" fmla="*/ 121 w 564"/>
                    <a:gd name="T77" fmla="*/ 240 h 460"/>
                    <a:gd name="T78" fmla="*/ 146 w 564"/>
                    <a:gd name="T79" fmla="*/ 232 h 460"/>
                    <a:gd name="T80" fmla="*/ 166 w 564"/>
                    <a:gd name="T81" fmla="*/ 236 h 460"/>
                    <a:gd name="T82" fmla="*/ 186 w 564"/>
                    <a:gd name="T83" fmla="*/ 252 h 460"/>
                    <a:gd name="T84" fmla="*/ 194 w 564"/>
                    <a:gd name="T85" fmla="*/ 280 h 460"/>
                    <a:gd name="T86" fmla="*/ 191 w 564"/>
                    <a:gd name="T87" fmla="*/ 299 h 460"/>
                    <a:gd name="T88" fmla="*/ 174 w 564"/>
                    <a:gd name="T89" fmla="*/ 319 h 460"/>
                    <a:gd name="T90" fmla="*/ 146 w 564"/>
                    <a:gd name="T91" fmla="*/ 327 h 460"/>
                    <a:gd name="T92" fmla="*/ 418 w 564"/>
                    <a:gd name="T93" fmla="*/ 327 h 460"/>
                    <a:gd name="T94" fmla="*/ 390 w 564"/>
                    <a:gd name="T95" fmla="*/ 319 h 460"/>
                    <a:gd name="T96" fmla="*/ 374 w 564"/>
                    <a:gd name="T97" fmla="*/ 299 h 460"/>
                    <a:gd name="T98" fmla="*/ 370 w 564"/>
                    <a:gd name="T99" fmla="*/ 280 h 460"/>
                    <a:gd name="T100" fmla="*/ 378 w 564"/>
                    <a:gd name="T101" fmla="*/ 252 h 460"/>
                    <a:gd name="T102" fmla="*/ 398 w 564"/>
                    <a:gd name="T103" fmla="*/ 236 h 460"/>
                    <a:gd name="T104" fmla="*/ 418 w 564"/>
                    <a:gd name="T105" fmla="*/ 232 h 460"/>
                    <a:gd name="T106" fmla="*/ 445 w 564"/>
                    <a:gd name="T107" fmla="*/ 240 h 460"/>
                    <a:gd name="T108" fmla="*/ 461 w 564"/>
                    <a:gd name="T109" fmla="*/ 260 h 460"/>
                    <a:gd name="T110" fmla="*/ 465 w 564"/>
                    <a:gd name="T111" fmla="*/ 280 h 460"/>
                    <a:gd name="T112" fmla="*/ 457 w 564"/>
                    <a:gd name="T113" fmla="*/ 307 h 460"/>
                    <a:gd name="T114" fmla="*/ 437 w 564"/>
                    <a:gd name="T115" fmla="*/ 323 h 460"/>
                    <a:gd name="T116" fmla="*/ 418 w 564"/>
                    <a:gd name="T117" fmla="*/ 327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4" h="460">
                      <a:moveTo>
                        <a:pt x="516" y="173"/>
                      </a:moveTo>
                      <a:lnTo>
                        <a:pt x="473" y="45"/>
                      </a:lnTo>
                      <a:lnTo>
                        <a:pt x="473" y="45"/>
                      </a:lnTo>
                      <a:lnTo>
                        <a:pt x="470" y="36"/>
                      </a:lnTo>
                      <a:lnTo>
                        <a:pt x="464" y="28"/>
                      </a:lnTo>
                      <a:lnTo>
                        <a:pt x="457" y="20"/>
                      </a:lnTo>
                      <a:lnTo>
                        <a:pt x="451" y="13"/>
                      </a:lnTo>
                      <a:lnTo>
                        <a:pt x="443" y="8"/>
                      </a:lnTo>
                      <a:lnTo>
                        <a:pt x="433" y="4"/>
                      </a:lnTo>
                      <a:lnTo>
                        <a:pt x="424" y="0"/>
                      </a:lnTo>
                      <a:lnTo>
                        <a:pt x="414" y="0"/>
                      </a:lnTo>
                      <a:lnTo>
                        <a:pt x="150" y="0"/>
                      </a:lnTo>
                      <a:lnTo>
                        <a:pt x="150" y="0"/>
                      </a:lnTo>
                      <a:lnTo>
                        <a:pt x="140" y="0"/>
                      </a:lnTo>
                      <a:lnTo>
                        <a:pt x="131" y="4"/>
                      </a:lnTo>
                      <a:lnTo>
                        <a:pt x="123" y="8"/>
                      </a:lnTo>
                      <a:lnTo>
                        <a:pt x="113" y="13"/>
                      </a:lnTo>
                      <a:lnTo>
                        <a:pt x="107" y="20"/>
                      </a:lnTo>
                      <a:lnTo>
                        <a:pt x="100" y="28"/>
                      </a:lnTo>
                      <a:lnTo>
                        <a:pt x="94" y="36"/>
                      </a:lnTo>
                      <a:lnTo>
                        <a:pt x="91" y="45"/>
                      </a:lnTo>
                      <a:lnTo>
                        <a:pt x="49" y="173"/>
                      </a:lnTo>
                      <a:lnTo>
                        <a:pt x="49" y="173"/>
                      </a:lnTo>
                      <a:lnTo>
                        <a:pt x="40" y="174"/>
                      </a:lnTo>
                      <a:lnTo>
                        <a:pt x="30" y="177"/>
                      </a:lnTo>
                      <a:lnTo>
                        <a:pt x="22" y="184"/>
                      </a:lnTo>
                      <a:lnTo>
                        <a:pt x="14" y="190"/>
                      </a:lnTo>
                      <a:lnTo>
                        <a:pt x="9" y="197"/>
                      </a:lnTo>
                      <a:lnTo>
                        <a:pt x="5" y="206"/>
                      </a:lnTo>
                      <a:lnTo>
                        <a:pt x="1" y="214"/>
                      </a:lnTo>
                      <a:lnTo>
                        <a:pt x="0" y="225"/>
                      </a:lnTo>
                      <a:lnTo>
                        <a:pt x="0" y="382"/>
                      </a:lnTo>
                      <a:lnTo>
                        <a:pt x="65" y="382"/>
                      </a:lnTo>
                      <a:lnTo>
                        <a:pt x="65" y="420"/>
                      </a:lnTo>
                      <a:lnTo>
                        <a:pt x="65" y="420"/>
                      </a:lnTo>
                      <a:lnTo>
                        <a:pt x="67" y="428"/>
                      </a:lnTo>
                      <a:lnTo>
                        <a:pt x="68" y="436"/>
                      </a:lnTo>
                      <a:lnTo>
                        <a:pt x="73" y="442"/>
                      </a:lnTo>
                      <a:lnTo>
                        <a:pt x="78" y="449"/>
                      </a:lnTo>
                      <a:lnTo>
                        <a:pt x="83" y="453"/>
                      </a:lnTo>
                      <a:lnTo>
                        <a:pt x="91" y="456"/>
                      </a:lnTo>
                      <a:lnTo>
                        <a:pt x="99" y="460"/>
                      </a:lnTo>
                      <a:lnTo>
                        <a:pt x="107" y="460"/>
                      </a:lnTo>
                      <a:lnTo>
                        <a:pt x="107" y="460"/>
                      </a:lnTo>
                      <a:lnTo>
                        <a:pt x="115" y="460"/>
                      </a:lnTo>
                      <a:lnTo>
                        <a:pt x="121" y="456"/>
                      </a:lnTo>
                      <a:lnTo>
                        <a:pt x="129" y="453"/>
                      </a:lnTo>
                      <a:lnTo>
                        <a:pt x="134" y="449"/>
                      </a:lnTo>
                      <a:lnTo>
                        <a:pt x="138" y="442"/>
                      </a:lnTo>
                      <a:lnTo>
                        <a:pt x="143" y="436"/>
                      </a:lnTo>
                      <a:lnTo>
                        <a:pt x="145" y="428"/>
                      </a:lnTo>
                      <a:lnTo>
                        <a:pt x="146" y="420"/>
                      </a:lnTo>
                      <a:lnTo>
                        <a:pt x="146" y="382"/>
                      </a:lnTo>
                      <a:lnTo>
                        <a:pt x="418" y="382"/>
                      </a:lnTo>
                      <a:lnTo>
                        <a:pt x="418" y="420"/>
                      </a:lnTo>
                      <a:lnTo>
                        <a:pt x="418" y="420"/>
                      </a:lnTo>
                      <a:lnTo>
                        <a:pt x="419" y="428"/>
                      </a:lnTo>
                      <a:lnTo>
                        <a:pt x="421" y="436"/>
                      </a:lnTo>
                      <a:lnTo>
                        <a:pt x="426" y="442"/>
                      </a:lnTo>
                      <a:lnTo>
                        <a:pt x="430" y="449"/>
                      </a:lnTo>
                      <a:lnTo>
                        <a:pt x="437" y="453"/>
                      </a:lnTo>
                      <a:lnTo>
                        <a:pt x="443" y="456"/>
                      </a:lnTo>
                      <a:lnTo>
                        <a:pt x="451" y="460"/>
                      </a:lnTo>
                      <a:lnTo>
                        <a:pt x="459" y="460"/>
                      </a:lnTo>
                      <a:lnTo>
                        <a:pt x="459" y="460"/>
                      </a:lnTo>
                      <a:lnTo>
                        <a:pt x="467" y="460"/>
                      </a:lnTo>
                      <a:lnTo>
                        <a:pt x="473" y="456"/>
                      </a:lnTo>
                      <a:lnTo>
                        <a:pt x="481" y="453"/>
                      </a:lnTo>
                      <a:lnTo>
                        <a:pt x="486" y="449"/>
                      </a:lnTo>
                      <a:lnTo>
                        <a:pt x="492" y="442"/>
                      </a:lnTo>
                      <a:lnTo>
                        <a:pt x="496" y="436"/>
                      </a:lnTo>
                      <a:lnTo>
                        <a:pt x="497" y="428"/>
                      </a:lnTo>
                      <a:lnTo>
                        <a:pt x="499" y="420"/>
                      </a:lnTo>
                      <a:lnTo>
                        <a:pt x="499" y="382"/>
                      </a:lnTo>
                      <a:lnTo>
                        <a:pt x="564" y="382"/>
                      </a:lnTo>
                      <a:lnTo>
                        <a:pt x="564" y="225"/>
                      </a:lnTo>
                      <a:lnTo>
                        <a:pt x="564" y="225"/>
                      </a:lnTo>
                      <a:lnTo>
                        <a:pt x="563" y="214"/>
                      </a:lnTo>
                      <a:lnTo>
                        <a:pt x="559" y="206"/>
                      </a:lnTo>
                      <a:lnTo>
                        <a:pt x="556" y="197"/>
                      </a:lnTo>
                      <a:lnTo>
                        <a:pt x="550" y="190"/>
                      </a:lnTo>
                      <a:lnTo>
                        <a:pt x="542" y="184"/>
                      </a:lnTo>
                      <a:lnTo>
                        <a:pt x="534" y="177"/>
                      </a:lnTo>
                      <a:lnTo>
                        <a:pt x="526" y="174"/>
                      </a:lnTo>
                      <a:lnTo>
                        <a:pt x="516" y="173"/>
                      </a:lnTo>
                      <a:lnTo>
                        <a:pt x="516" y="173"/>
                      </a:lnTo>
                      <a:close/>
                      <a:moveTo>
                        <a:pt x="145" y="69"/>
                      </a:moveTo>
                      <a:lnTo>
                        <a:pt x="145" y="69"/>
                      </a:lnTo>
                      <a:lnTo>
                        <a:pt x="148" y="64"/>
                      </a:lnTo>
                      <a:lnTo>
                        <a:pt x="151" y="59"/>
                      </a:lnTo>
                      <a:lnTo>
                        <a:pt x="156" y="58"/>
                      </a:lnTo>
                      <a:lnTo>
                        <a:pt x="161" y="56"/>
                      </a:lnTo>
                      <a:lnTo>
                        <a:pt x="402" y="56"/>
                      </a:lnTo>
                      <a:lnTo>
                        <a:pt x="402" y="56"/>
                      </a:lnTo>
                      <a:lnTo>
                        <a:pt x="406" y="58"/>
                      </a:lnTo>
                      <a:lnTo>
                        <a:pt x="410" y="59"/>
                      </a:lnTo>
                      <a:lnTo>
                        <a:pt x="414" y="64"/>
                      </a:lnTo>
                      <a:lnTo>
                        <a:pt x="418" y="69"/>
                      </a:lnTo>
                      <a:lnTo>
                        <a:pt x="451" y="173"/>
                      </a:lnTo>
                      <a:lnTo>
                        <a:pt x="111" y="173"/>
                      </a:lnTo>
                      <a:lnTo>
                        <a:pt x="145" y="69"/>
                      </a:lnTo>
                      <a:close/>
                      <a:moveTo>
                        <a:pt x="146" y="327"/>
                      </a:moveTo>
                      <a:lnTo>
                        <a:pt x="146" y="327"/>
                      </a:lnTo>
                      <a:lnTo>
                        <a:pt x="137" y="326"/>
                      </a:lnTo>
                      <a:lnTo>
                        <a:pt x="129" y="323"/>
                      </a:lnTo>
                      <a:lnTo>
                        <a:pt x="121" y="319"/>
                      </a:lnTo>
                      <a:lnTo>
                        <a:pt x="113" y="313"/>
                      </a:lnTo>
                      <a:lnTo>
                        <a:pt x="108" y="307"/>
                      </a:lnTo>
                      <a:lnTo>
                        <a:pt x="103" y="299"/>
                      </a:lnTo>
                      <a:lnTo>
                        <a:pt x="100" y="289"/>
                      </a:lnTo>
                      <a:lnTo>
                        <a:pt x="99" y="280"/>
                      </a:lnTo>
                      <a:lnTo>
                        <a:pt x="99" y="280"/>
                      </a:lnTo>
                      <a:lnTo>
                        <a:pt x="100" y="270"/>
                      </a:lnTo>
                      <a:lnTo>
                        <a:pt x="103" y="260"/>
                      </a:lnTo>
                      <a:lnTo>
                        <a:pt x="108" y="252"/>
                      </a:lnTo>
                      <a:lnTo>
                        <a:pt x="113" y="246"/>
                      </a:lnTo>
                      <a:lnTo>
                        <a:pt x="121" y="240"/>
                      </a:lnTo>
                      <a:lnTo>
                        <a:pt x="129" y="236"/>
                      </a:lnTo>
                      <a:lnTo>
                        <a:pt x="137" y="233"/>
                      </a:lnTo>
                      <a:lnTo>
                        <a:pt x="146" y="232"/>
                      </a:lnTo>
                      <a:lnTo>
                        <a:pt x="146" y="232"/>
                      </a:lnTo>
                      <a:lnTo>
                        <a:pt x="156" y="233"/>
                      </a:lnTo>
                      <a:lnTo>
                        <a:pt x="166" y="236"/>
                      </a:lnTo>
                      <a:lnTo>
                        <a:pt x="174" y="240"/>
                      </a:lnTo>
                      <a:lnTo>
                        <a:pt x="180" y="246"/>
                      </a:lnTo>
                      <a:lnTo>
                        <a:pt x="186" y="252"/>
                      </a:lnTo>
                      <a:lnTo>
                        <a:pt x="191" y="260"/>
                      </a:lnTo>
                      <a:lnTo>
                        <a:pt x="193" y="270"/>
                      </a:lnTo>
                      <a:lnTo>
                        <a:pt x="194" y="280"/>
                      </a:lnTo>
                      <a:lnTo>
                        <a:pt x="194" y="280"/>
                      </a:lnTo>
                      <a:lnTo>
                        <a:pt x="193" y="289"/>
                      </a:lnTo>
                      <a:lnTo>
                        <a:pt x="191" y="299"/>
                      </a:lnTo>
                      <a:lnTo>
                        <a:pt x="186" y="307"/>
                      </a:lnTo>
                      <a:lnTo>
                        <a:pt x="180" y="313"/>
                      </a:lnTo>
                      <a:lnTo>
                        <a:pt x="174" y="319"/>
                      </a:lnTo>
                      <a:lnTo>
                        <a:pt x="166" y="323"/>
                      </a:lnTo>
                      <a:lnTo>
                        <a:pt x="156" y="326"/>
                      </a:lnTo>
                      <a:lnTo>
                        <a:pt x="146" y="327"/>
                      </a:lnTo>
                      <a:lnTo>
                        <a:pt x="146" y="327"/>
                      </a:lnTo>
                      <a:close/>
                      <a:moveTo>
                        <a:pt x="418" y="327"/>
                      </a:moveTo>
                      <a:lnTo>
                        <a:pt x="418" y="327"/>
                      </a:lnTo>
                      <a:lnTo>
                        <a:pt x="408" y="326"/>
                      </a:lnTo>
                      <a:lnTo>
                        <a:pt x="398" y="323"/>
                      </a:lnTo>
                      <a:lnTo>
                        <a:pt x="390" y="319"/>
                      </a:lnTo>
                      <a:lnTo>
                        <a:pt x="384" y="313"/>
                      </a:lnTo>
                      <a:lnTo>
                        <a:pt x="378" y="307"/>
                      </a:lnTo>
                      <a:lnTo>
                        <a:pt x="374" y="299"/>
                      </a:lnTo>
                      <a:lnTo>
                        <a:pt x="371" y="289"/>
                      </a:lnTo>
                      <a:lnTo>
                        <a:pt x="370" y="280"/>
                      </a:lnTo>
                      <a:lnTo>
                        <a:pt x="370" y="280"/>
                      </a:lnTo>
                      <a:lnTo>
                        <a:pt x="371" y="270"/>
                      </a:lnTo>
                      <a:lnTo>
                        <a:pt x="374" y="260"/>
                      </a:lnTo>
                      <a:lnTo>
                        <a:pt x="378" y="252"/>
                      </a:lnTo>
                      <a:lnTo>
                        <a:pt x="384" y="246"/>
                      </a:lnTo>
                      <a:lnTo>
                        <a:pt x="390" y="240"/>
                      </a:lnTo>
                      <a:lnTo>
                        <a:pt x="398" y="236"/>
                      </a:lnTo>
                      <a:lnTo>
                        <a:pt x="408" y="233"/>
                      </a:lnTo>
                      <a:lnTo>
                        <a:pt x="418" y="232"/>
                      </a:lnTo>
                      <a:lnTo>
                        <a:pt x="418" y="232"/>
                      </a:lnTo>
                      <a:lnTo>
                        <a:pt x="427" y="233"/>
                      </a:lnTo>
                      <a:lnTo>
                        <a:pt x="437" y="236"/>
                      </a:lnTo>
                      <a:lnTo>
                        <a:pt x="445" y="240"/>
                      </a:lnTo>
                      <a:lnTo>
                        <a:pt x="451" y="246"/>
                      </a:lnTo>
                      <a:lnTo>
                        <a:pt x="457" y="252"/>
                      </a:lnTo>
                      <a:lnTo>
                        <a:pt x="461" y="260"/>
                      </a:lnTo>
                      <a:lnTo>
                        <a:pt x="464" y="270"/>
                      </a:lnTo>
                      <a:lnTo>
                        <a:pt x="465" y="280"/>
                      </a:lnTo>
                      <a:lnTo>
                        <a:pt x="465" y="280"/>
                      </a:lnTo>
                      <a:lnTo>
                        <a:pt x="464" y="289"/>
                      </a:lnTo>
                      <a:lnTo>
                        <a:pt x="461" y="299"/>
                      </a:lnTo>
                      <a:lnTo>
                        <a:pt x="457" y="307"/>
                      </a:lnTo>
                      <a:lnTo>
                        <a:pt x="451" y="313"/>
                      </a:lnTo>
                      <a:lnTo>
                        <a:pt x="445" y="319"/>
                      </a:lnTo>
                      <a:lnTo>
                        <a:pt x="437" y="323"/>
                      </a:lnTo>
                      <a:lnTo>
                        <a:pt x="427" y="326"/>
                      </a:lnTo>
                      <a:lnTo>
                        <a:pt x="418" y="327"/>
                      </a:lnTo>
                      <a:lnTo>
                        <a:pt x="418" y="327"/>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39" name="Line 34"/>
                <p:cNvSpPr>
                  <a:spLocks noChangeShapeType="1"/>
                </p:cNvSpPr>
                <p:nvPr/>
              </p:nvSpPr>
              <p:spPr bwMode="auto">
                <a:xfrm>
                  <a:off x="547" y="2108"/>
                  <a:ext cx="0" cy="0"/>
                </a:xfrm>
                <a:prstGeom prst="line">
                  <a:avLst/>
                </a:prstGeom>
                <a:noFill/>
                <a:ln w="34925">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40" name="Freeform 35"/>
                <p:cNvSpPr>
                  <a:spLocks/>
                </p:cNvSpPr>
                <p:nvPr/>
              </p:nvSpPr>
              <p:spPr bwMode="auto">
                <a:xfrm>
                  <a:off x="382" y="2063"/>
                  <a:ext cx="348" cy="236"/>
                </a:xfrm>
                <a:custGeom>
                  <a:avLst/>
                  <a:gdLst>
                    <a:gd name="T0" fmla="*/ 366 w 696"/>
                    <a:gd name="T1" fmla="*/ 5 h 474"/>
                    <a:gd name="T2" fmla="*/ 364 w 696"/>
                    <a:gd name="T3" fmla="*/ 3 h 474"/>
                    <a:gd name="T4" fmla="*/ 361 w 696"/>
                    <a:gd name="T5" fmla="*/ 3 h 474"/>
                    <a:gd name="T6" fmla="*/ 359 w 696"/>
                    <a:gd name="T7" fmla="*/ 2 h 474"/>
                    <a:gd name="T8" fmla="*/ 356 w 696"/>
                    <a:gd name="T9" fmla="*/ 0 h 474"/>
                    <a:gd name="T10" fmla="*/ 354 w 696"/>
                    <a:gd name="T11" fmla="*/ 0 h 474"/>
                    <a:gd name="T12" fmla="*/ 351 w 696"/>
                    <a:gd name="T13" fmla="*/ 0 h 474"/>
                    <a:gd name="T14" fmla="*/ 348 w 696"/>
                    <a:gd name="T15" fmla="*/ 0 h 474"/>
                    <a:gd name="T16" fmla="*/ 346 w 696"/>
                    <a:gd name="T17" fmla="*/ 0 h 474"/>
                    <a:gd name="T18" fmla="*/ 343 w 696"/>
                    <a:gd name="T19" fmla="*/ 0 h 474"/>
                    <a:gd name="T20" fmla="*/ 340 w 696"/>
                    <a:gd name="T21" fmla="*/ 0 h 474"/>
                    <a:gd name="T22" fmla="*/ 339 w 696"/>
                    <a:gd name="T23" fmla="*/ 2 h 474"/>
                    <a:gd name="T24" fmla="*/ 335 w 696"/>
                    <a:gd name="T25" fmla="*/ 3 h 474"/>
                    <a:gd name="T26" fmla="*/ 334 w 696"/>
                    <a:gd name="T27" fmla="*/ 3 h 474"/>
                    <a:gd name="T28" fmla="*/ 332 w 696"/>
                    <a:gd name="T29" fmla="*/ 5 h 474"/>
                    <a:gd name="T30" fmla="*/ 12 w 696"/>
                    <a:gd name="T31" fmla="*/ 244 h 474"/>
                    <a:gd name="T32" fmla="*/ 4 w 696"/>
                    <a:gd name="T33" fmla="*/ 252 h 474"/>
                    <a:gd name="T34" fmla="*/ 0 w 696"/>
                    <a:gd name="T35" fmla="*/ 262 h 474"/>
                    <a:gd name="T36" fmla="*/ 2 w 696"/>
                    <a:gd name="T37" fmla="*/ 273 h 474"/>
                    <a:gd name="T38" fmla="*/ 7 w 696"/>
                    <a:gd name="T39" fmla="*/ 283 h 474"/>
                    <a:gd name="T40" fmla="*/ 10 w 696"/>
                    <a:gd name="T41" fmla="*/ 287 h 474"/>
                    <a:gd name="T42" fmla="*/ 23 w 696"/>
                    <a:gd name="T43" fmla="*/ 292 h 474"/>
                    <a:gd name="T44" fmla="*/ 28 w 696"/>
                    <a:gd name="T45" fmla="*/ 292 h 474"/>
                    <a:gd name="T46" fmla="*/ 45 w 696"/>
                    <a:gd name="T47" fmla="*/ 287 h 474"/>
                    <a:gd name="T48" fmla="*/ 141 w 696"/>
                    <a:gd name="T49" fmla="*/ 474 h 474"/>
                    <a:gd name="T50" fmla="*/ 291 w 696"/>
                    <a:gd name="T51" fmla="*/ 348 h 474"/>
                    <a:gd name="T52" fmla="*/ 292 w 696"/>
                    <a:gd name="T53" fmla="*/ 335 h 474"/>
                    <a:gd name="T54" fmla="*/ 302 w 696"/>
                    <a:gd name="T55" fmla="*/ 316 h 474"/>
                    <a:gd name="T56" fmla="*/ 316 w 696"/>
                    <a:gd name="T57" fmla="*/ 300 h 474"/>
                    <a:gd name="T58" fmla="*/ 337 w 696"/>
                    <a:gd name="T59" fmla="*/ 290 h 474"/>
                    <a:gd name="T60" fmla="*/ 348 w 696"/>
                    <a:gd name="T61" fmla="*/ 290 h 474"/>
                    <a:gd name="T62" fmla="*/ 359 w 696"/>
                    <a:gd name="T63" fmla="*/ 290 h 474"/>
                    <a:gd name="T64" fmla="*/ 380 w 696"/>
                    <a:gd name="T65" fmla="*/ 300 h 474"/>
                    <a:gd name="T66" fmla="*/ 396 w 696"/>
                    <a:gd name="T67" fmla="*/ 316 h 474"/>
                    <a:gd name="T68" fmla="*/ 404 w 696"/>
                    <a:gd name="T69" fmla="*/ 335 h 474"/>
                    <a:gd name="T70" fmla="*/ 405 w 696"/>
                    <a:gd name="T71" fmla="*/ 474 h 474"/>
                    <a:gd name="T72" fmla="*/ 557 w 696"/>
                    <a:gd name="T73" fmla="*/ 216 h 474"/>
                    <a:gd name="T74" fmla="*/ 653 w 696"/>
                    <a:gd name="T75" fmla="*/ 287 h 474"/>
                    <a:gd name="T76" fmla="*/ 669 w 696"/>
                    <a:gd name="T77" fmla="*/ 292 h 474"/>
                    <a:gd name="T78" fmla="*/ 675 w 696"/>
                    <a:gd name="T79" fmla="*/ 292 h 474"/>
                    <a:gd name="T80" fmla="*/ 686 w 696"/>
                    <a:gd name="T81" fmla="*/ 287 h 474"/>
                    <a:gd name="T82" fmla="*/ 691 w 696"/>
                    <a:gd name="T83" fmla="*/ 283 h 474"/>
                    <a:gd name="T84" fmla="*/ 696 w 696"/>
                    <a:gd name="T85" fmla="*/ 273 h 474"/>
                    <a:gd name="T86" fmla="*/ 696 w 696"/>
                    <a:gd name="T87" fmla="*/ 262 h 474"/>
                    <a:gd name="T88" fmla="*/ 692 w 696"/>
                    <a:gd name="T89" fmla="*/ 252 h 474"/>
                    <a:gd name="T90" fmla="*/ 686 w 696"/>
                    <a:gd name="T91" fmla="*/ 24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6" h="474">
                      <a:moveTo>
                        <a:pt x="686" y="244"/>
                      </a:moveTo>
                      <a:lnTo>
                        <a:pt x="366" y="5"/>
                      </a:lnTo>
                      <a:lnTo>
                        <a:pt x="366" y="5"/>
                      </a:lnTo>
                      <a:lnTo>
                        <a:pt x="364" y="3"/>
                      </a:lnTo>
                      <a:lnTo>
                        <a:pt x="364" y="3"/>
                      </a:lnTo>
                      <a:lnTo>
                        <a:pt x="361" y="3"/>
                      </a:lnTo>
                      <a:lnTo>
                        <a:pt x="361" y="3"/>
                      </a:lnTo>
                      <a:lnTo>
                        <a:pt x="359" y="2"/>
                      </a:lnTo>
                      <a:lnTo>
                        <a:pt x="359" y="2"/>
                      </a:lnTo>
                      <a:lnTo>
                        <a:pt x="356" y="0"/>
                      </a:lnTo>
                      <a:lnTo>
                        <a:pt x="356" y="0"/>
                      </a:lnTo>
                      <a:lnTo>
                        <a:pt x="354" y="0"/>
                      </a:lnTo>
                      <a:lnTo>
                        <a:pt x="354" y="0"/>
                      </a:lnTo>
                      <a:lnTo>
                        <a:pt x="351" y="0"/>
                      </a:lnTo>
                      <a:lnTo>
                        <a:pt x="351" y="0"/>
                      </a:lnTo>
                      <a:lnTo>
                        <a:pt x="348" y="0"/>
                      </a:lnTo>
                      <a:lnTo>
                        <a:pt x="348" y="0"/>
                      </a:lnTo>
                      <a:lnTo>
                        <a:pt x="346" y="0"/>
                      </a:lnTo>
                      <a:lnTo>
                        <a:pt x="346" y="0"/>
                      </a:lnTo>
                      <a:lnTo>
                        <a:pt x="343" y="0"/>
                      </a:lnTo>
                      <a:lnTo>
                        <a:pt x="343" y="0"/>
                      </a:lnTo>
                      <a:lnTo>
                        <a:pt x="340" y="0"/>
                      </a:lnTo>
                      <a:lnTo>
                        <a:pt x="340" y="0"/>
                      </a:lnTo>
                      <a:lnTo>
                        <a:pt x="339" y="2"/>
                      </a:lnTo>
                      <a:lnTo>
                        <a:pt x="339" y="2"/>
                      </a:lnTo>
                      <a:lnTo>
                        <a:pt x="335" y="3"/>
                      </a:lnTo>
                      <a:lnTo>
                        <a:pt x="335" y="3"/>
                      </a:lnTo>
                      <a:lnTo>
                        <a:pt x="334" y="3"/>
                      </a:lnTo>
                      <a:lnTo>
                        <a:pt x="334" y="3"/>
                      </a:lnTo>
                      <a:lnTo>
                        <a:pt x="332" y="5"/>
                      </a:lnTo>
                      <a:lnTo>
                        <a:pt x="12" y="244"/>
                      </a:lnTo>
                      <a:lnTo>
                        <a:pt x="12" y="244"/>
                      </a:lnTo>
                      <a:lnTo>
                        <a:pt x="7" y="247"/>
                      </a:lnTo>
                      <a:lnTo>
                        <a:pt x="4" y="252"/>
                      </a:lnTo>
                      <a:lnTo>
                        <a:pt x="2" y="257"/>
                      </a:lnTo>
                      <a:lnTo>
                        <a:pt x="0" y="262"/>
                      </a:lnTo>
                      <a:lnTo>
                        <a:pt x="0" y="267"/>
                      </a:lnTo>
                      <a:lnTo>
                        <a:pt x="2" y="273"/>
                      </a:lnTo>
                      <a:lnTo>
                        <a:pt x="4" y="278"/>
                      </a:lnTo>
                      <a:lnTo>
                        <a:pt x="7" y="283"/>
                      </a:lnTo>
                      <a:lnTo>
                        <a:pt x="7" y="283"/>
                      </a:lnTo>
                      <a:lnTo>
                        <a:pt x="10" y="287"/>
                      </a:lnTo>
                      <a:lnTo>
                        <a:pt x="16" y="290"/>
                      </a:lnTo>
                      <a:lnTo>
                        <a:pt x="23" y="292"/>
                      </a:lnTo>
                      <a:lnTo>
                        <a:pt x="28" y="292"/>
                      </a:lnTo>
                      <a:lnTo>
                        <a:pt x="28" y="292"/>
                      </a:lnTo>
                      <a:lnTo>
                        <a:pt x="37" y="292"/>
                      </a:lnTo>
                      <a:lnTo>
                        <a:pt x="45" y="287"/>
                      </a:lnTo>
                      <a:lnTo>
                        <a:pt x="141" y="216"/>
                      </a:lnTo>
                      <a:lnTo>
                        <a:pt x="141" y="474"/>
                      </a:lnTo>
                      <a:lnTo>
                        <a:pt x="291" y="474"/>
                      </a:lnTo>
                      <a:lnTo>
                        <a:pt x="291" y="348"/>
                      </a:lnTo>
                      <a:lnTo>
                        <a:pt x="291" y="348"/>
                      </a:lnTo>
                      <a:lnTo>
                        <a:pt x="292" y="335"/>
                      </a:lnTo>
                      <a:lnTo>
                        <a:pt x="295" y="326"/>
                      </a:lnTo>
                      <a:lnTo>
                        <a:pt x="302" y="316"/>
                      </a:lnTo>
                      <a:lnTo>
                        <a:pt x="308" y="306"/>
                      </a:lnTo>
                      <a:lnTo>
                        <a:pt x="316" y="300"/>
                      </a:lnTo>
                      <a:lnTo>
                        <a:pt x="326" y="295"/>
                      </a:lnTo>
                      <a:lnTo>
                        <a:pt x="337" y="290"/>
                      </a:lnTo>
                      <a:lnTo>
                        <a:pt x="348" y="290"/>
                      </a:lnTo>
                      <a:lnTo>
                        <a:pt x="348" y="290"/>
                      </a:lnTo>
                      <a:lnTo>
                        <a:pt x="348" y="290"/>
                      </a:lnTo>
                      <a:lnTo>
                        <a:pt x="359" y="290"/>
                      </a:lnTo>
                      <a:lnTo>
                        <a:pt x="370" y="295"/>
                      </a:lnTo>
                      <a:lnTo>
                        <a:pt x="380" y="300"/>
                      </a:lnTo>
                      <a:lnTo>
                        <a:pt x="390" y="306"/>
                      </a:lnTo>
                      <a:lnTo>
                        <a:pt x="396" y="316"/>
                      </a:lnTo>
                      <a:lnTo>
                        <a:pt x="401" y="326"/>
                      </a:lnTo>
                      <a:lnTo>
                        <a:pt x="404" y="335"/>
                      </a:lnTo>
                      <a:lnTo>
                        <a:pt x="405" y="348"/>
                      </a:lnTo>
                      <a:lnTo>
                        <a:pt x="405" y="474"/>
                      </a:lnTo>
                      <a:lnTo>
                        <a:pt x="557" y="474"/>
                      </a:lnTo>
                      <a:lnTo>
                        <a:pt x="557" y="216"/>
                      </a:lnTo>
                      <a:lnTo>
                        <a:pt x="653" y="287"/>
                      </a:lnTo>
                      <a:lnTo>
                        <a:pt x="653" y="287"/>
                      </a:lnTo>
                      <a:lnTo>
                        <a:pt x="661" y="292"/>
                      </a:lnTo>
                      <a:lnTo>
                        <a:pt x="669" y="292"/>
                      </a:lnTo>
                      <a:lnTo>
                        <a:pt x="669" y="292"/>
                      </a:lnTo>
                      <a:lnTo>
                        <a:pt x="675" y="292"/>
                      </a:lnTo>
                      <a:lnTo>
                        <a:pt x="681" y="290"/>
                      </a:lnTo>
                      <a:lnTo>
                        <a:pt x="686" y="287"/>
                      </a:lnTo>
                      <a:lnTo>
                        <a:pt x="691" y="283"/>
                      </a:lnTo>
                      <a:lnTo>
                        <a:pt x="691" y="283"/>
                      </a:lnTo>
                      <a:lnTo>
                        <a:pt x="694" y="278"/>
                      </a:lnTo>
                      <a:lnTo>
                        <a:pt x="696" y="273"/>
                      </a:lnTo>
                      <a:lnTo>
                        <a:pt x="696" y="267"/>
                      </a:lnTo>
                      <a:lnTo>
                        <a:pt x="696" y="262"/>
                      </a:lnTo>
                      <a:lnTo>
                        <a:pt x="696" y="257"/>
                      </a:lnTo>
                      <a:lnTo>
                        <a:pt x="692" y="252"/>
                      </a:lnTo>
                      <a:lnTo>
                        <a:pt x="689" y="247"/>
                      </a:lnTo>
                      <a:lnTo>
                        <a:pt x="686" y="244"/>
                      </a:lnTo>
                      <a:lnTo>
                        <a:pt x="686" y="244"/>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41" name="Freeform 36"/>
                <p:cNvSpPr>
                  <a:spLocks/>
                </p:cNvSpPr>
                <p:nvPr/>
              </p:nvSpPr>
              <p:spPr bwMode="auto">
                <a:xfrm>
                  <a:off x="678" y="1928"/>
                  <a:ext cx="234" cy="77"/>
                </a:xfrm>
                <a:custGeom>
                  <a:avLst/>
                  <a:gdLst>
                    <a:gd name="T0" fmla="*/ 234 w 469"/>
                    <a:gd name="T1" fmla="*/ 0 h 154"/>
                    <a:gd name="T2" fmla="*/ 172 w 469"/>
                    <a:gd name="T3" fmla="*/ 6 h 154"/>
                    <a:gd name="T4" fmla="*/ 113 w 469"/>
                    <a:gd name="T5" fmla="*/ 24 h 154"/>
                    <a:gd name="T6" fmla="*/ 59 w 469"/>
                    <a:gd name="T7" fmla="*/ 54 h 154"/>
                    <a:gd name="T8" fmla="*/ 10 w 469"/>
                    <a:gd name="T9" fmla="*/ 94 h 154"/>
                    <a:gd name="T10" fmla="*/ 6 w 469"/>
                    <a:gd name="T11" fmla="*/ 99 h 154"/>
                    <a:gd name="T12" fmla="*/ 0 w 469"/>
                    <a:gd name="T13" fmla="*/ 111 h 154"/>
                    <a:gd name="T14" fmla="*/ 0 w 469"/>
                    <a:gd name="T15" fmla="*/ 126 h 154"/>
                    <a:gd name="T16" fmla="*/ 6 w 469"/>
                    <a:gd name="T17" fmla="*/ 139 h 154"/>
                    <a:gd name="T18" fmla="*/ 10 w 469"/>
                    <a:gd name="T19" fmla="*/ 143 h 154"/>
                    <a:gd name="T20" fmla="*/ 22 w 469"/>
                    <a:gd name="T21" fmla="*/ 151 h 154"/>
                    <a:gd name="T22" fmla="*/ 35 w 469"/>
                    <a:gd name="T23" fmla="*/ 154 h 154"/>
                    <a:gd name="T24" fmla="*/ 48 w 469"/>
                    <a:gd name="T25" fmla="*/ 151 h 154"/>
                    <a:gd name="T26" fmla="*/ 61 w 469"/>
                    <a:gd name="T27" fmla="*/ 143 h 154"/>
                    <a:gd name="T28" fmla="*/ 78 w 469"/>
                    <a:gd name="T29" fmla="*/ 127 h 154"/>
                    <a:gd name="T30" fmla="*/ 118 w 469"/>
                    <a:gd name="T31" fmla="*/ 100 h 154"/>
                    <a:gd name="T32" fmla="*/ 163 w 469"/>
                    <a:gd name="T33" fmla="*/ 83 h 154"/>
                    <a:gd name="T34" fmla="*/ 209 w 469"/>
                    <a:gd name="T35" fmla="*/ 73 h 154"/>
                    <a:gd name="T36" fmla="*/ 234 w 469"/>
                    <a:gd name="T37" fmla="*/ 72 h 154"/>
                    <a:gd name="T38" fmla="*/ 282 w 469"/>
                    <a:gd name="T39" fmla="*/ 76 h 154"/>
                    <a:gd name="T40" fmla="*/ 329 w 469"/>
                    <a:gd name="T41" fmla="*/ 91 h 154"/>
                    <a:gd name="T42" fmla="*/ 370 w 469"/>
                    <a:gd name="T43" fmla="*/ 113 h 154"/>
                    <a:gd name="T44" fmla="*/ 408 w 469"/>
                    <a:gd name="T45" fmla="*/ 143 h 154"/>
                    <a:gd name="T46" fmla="*/ 413 w 469"/>
                    <a:gd name="T47" fmla="*/ 148 h 154"/>
                    <a:gd name="T48" fmla="*/ 426 w 469"/>
                    <a:gd name="T49" fmla="*/ 153 h 154"/>
                    <a:gd name="T50" fmla="*/ 434 w 469"/>
                    <a:gd name="T51" fmla="*/ 154 h 154"/>
                    <a:gd name="T52" fmla="*/ 446 w 469"/>
                    <a:gd name="T53" fmla="*/ 151 h 154"/>
                    <a:gd name="T54" fmla="*/ 458 w 469"/>
                    <a:gd name="T55" fmla="*/ 143 h 154"/>
                    <a:gd name="T56" fmla="*/ 462 w 469"/>
                    <a:gd name="T57" fmla="*/ 139 h 154"/>
                    <a:gd name="T58" fmla="*/ 467 w 469"/>
                    <a:gd name="T59" fmla="*/ 126 h 154"/>
                    <a:gd name="T60" fmla="*/ 467 w 469"/>
                    <a:gd name="T61" fmla="*/ 111 h 154"/>
                    <a:gd name="T62" fmla="*/ 462 w 469"/>
                    <a:gd name="T63" fmla="*/ 99 h 154"/>
                    <a:gd name="T64" fmla="*/ 458 w 469"/>
                    <a:gd name="T65" fmla="*/ 94 h 154"/>
                    <a:gd name="T66" fmla="*/ 410 w 469"/>
                    <a:gd name="T67" fmla="*/ 54 h 154"/>
                    <a:gd name="T68" fmla="*/ 356 w 469"/>
                    <a:gd name="T69" fmla="*/ 24 h 154"/>
                    <a:gd name="T70" fmla="*/ 297 w 469"/>
                    <a:gd name="T71" fmla="*/ 6 h 154"/>
                    <a:gd name="T72" fmla="*/ 234 w 469"/>
                    <a:gd name="T7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9" h="154">
                      <a:moveTo>
                        <a:pt x="234" y="0"/>
                      </a:moveTo>
                      <a:lnTo>
                        <a:pt x="234" y="0"/>
                      </a:lnTo>
                      <a:lnTo>
                        <a:pt x="203" y="1"/>
                      </a:lnTo>
                      <a:lnTo>
                        <a:pt x="172" y="6"/>
                      </a:lnTo>
                      <a:lnTo>
                        <a:pt x="142" y="14"/>
                      </a:lnTo>
                      <a:lnTo>
                        <a:pt x="113" y="24"/>
                      </a:lnTo>
                      <a:lnTo>
                        <a:pt x="85" y="38"/>
                      </a:lnTo>
                      <a:lnTo>
                        <a:pt x="59" y="54"/>
                      </a:lnTo>
                      <a:lnTo>
                        <a:pt x="34" y="72"/>
                      </a:lnTo>
                      <a:lnTo>
                        <a:pt x="10" y="94"/>
                      </a:lnTo>
                      <a:lnTo>
                        <a:pt x="10" y="94"/>
                      </a:lnTo>
                      <a:lnTo>
                        <a:pt x="6" y="99"/>
                      </a:lnTo>
                      <a:lnTo>
                        <a:pt x="2" y="105"/>
                      </a:lnTo>
                      <a:lnTo>
                        <a:pt x="0" y="111"/>
                      </a:lnTo>
                      <a:lnTo>
                        <a:pt x="0" y="118"/>
                      </a:lnTo>
                      <a:lnTo>
                        <a:pt x="0" y="126"/>
                      </a:lnTo>
                      <a:lnTo>
                        <a:pt x="2" y="132"/>
                      </a:lnTo>
                      <a:lnTo>
                        <a:pt x="6" y="139"/>
                      </a:lnTo>
                      <a:lnTo>
                        <a:pt x="10" y="143"/>
                      </a:lnTo>
                      <a:lnTo>
                        <a:pt x="10" y="143"/>
                      </a:lnTo>
                      <a:lnTo>
                        <a:pt x="16" y="148"/>
                      </a:lnTo>
                      <a:lnTo>
                        <a:pt x="22" y="151"/>
                      </a:lnTo>
                      <a:lnTo>
                        <a:pt x="29" y="153"/>
                      </a:lnTo>
                      <a:lnTo>
                        <a:pt x="35" y="154"/>
                      </a:lnTo>
                      <a:lnTo>
                        <a:pt x="41" y="153"/>
                      </a:lnTo>
                      <a:lnTo>
                        <a:pt x="48" y="151"/>
                      </a:lnTo>
                      <a:lnTo>
                        <a:pt x="54" y="148"/>
                      </a:lnTo>
                      <a:lnTo>
                        <a:pt x="61" y="143"/>
                      </a:lnTo>
                      <a:lnTo>
                        <a:pt x="61" y="143"/>
                      </a:lnTo>
                      <a:lnTo>
                        <a:pt x="78" y="127"/>
                      </a:lnTo>
                      <a:lnTo>
                        <a:pt x="97" y="113"/>
                      </a:lnTo>
                      <a:lnTo>
                        <a:pt x="118" y="100"/>
                      </a:lnTo>
                      <a:lnTo>
                        <a:pt x="140" y="91"/>
                      </a:lnTo>
                      <a:lnTo>
                        <a:pt x="163" y="83"/>
                      </a:lnTo>
                      <a:lnTo>
                        <a:pt x="185" y="76"/>
                      </a:lnTo>
                      <a:lnTo>
                        <a:pt x="209" y="73"/>
                      </a:lnTo>
                      <a:lnTo>
                        <a:pt x="234" y="72"/>
                      </a:lnTo>
                      <a:lnTo>
                        <a:pt x="234" y="72"/>
                      </a:lnTo>
                      <a:lnTo>
                        <a:pt x="258" y="73"/>
                      </a:lnTo>
                      <a:lnTo>
                        <a:pt x="282" y="76"/>
                      </a:lnTo>
                      <a:lnTo>
                        <a:pt x="306" y="83"/>
                      </a:lnTo>
                      <a:lnTo>
                        <a:pt x="329" y="91"/>
                      </a:lnTo>
                      <a:lnTo>
                        <a:pt x="349" y="100"/>
                      </a:lnTo>
                      <a:lnTo>
                        <a:pt x="370" y="113"/>
                      </a:lnTo>
                      <a:lnTo>
                        <a:pt x="389" y="127"/>
                      </a:lnTo>
                      <a:lnTo>
                        <a:pt x="408" y="143"/>
                      </a:lnTo>
                      <a:lnTo>
                        <a:pt x="408" y="143"/>
                      </a:lnTo>
                      <a:lnTo>
                        <a:pt x="413" y="148"/>
                      </a:lnTo>
                      <a:lnTo>
                        <a:pt x="419" y="151"/>
                      </a:lnTo>
                      <a:lnTo>
                        <a:pt x="426" y="153"/>
                      </a:lnTo>
                      <a:lnTo>
                        <a:pt x="434" y="154"/>
                      </a:lnTo>
                      <a:lnTo>
                        <a:pt x="434" y="154"/>
                      </a:lnTo>
                      <a:lnTo>
                        <a:pt x="440" y="153"/>
                      </a:lnTo>
                      <a:lnTo>
                        <a:pt x="446" y="151"/>
                      </a:lnTo>
                      <a:lnTo>
                        <a:pt x="453" y="148"/>
                      </a:lnTo>
                      <a:lnTo>
                        <a:pt x="458" y="143"/>
                      </a:lnTo>
                      <a:lnTo>
                        <a:pt x="458" y="143"/>
                      </a:lnTo>
                      <a:lnTo>
                        <a:pt x="462" y="139"/>
                      </a:lnTo>
                      <a:lnTo>
                        <a:pt x="466" y="132"/>
                      </a:lnTo>
                      <a:lnTo>
                        <a:pt x="467" y="126"/>
                      </a:lnTo>
                      <a:lnTo>
                        <a:pt x="469" y="118"/>
                      </a:lnTo>
                      <a:lnTo>
                        <a:pt x="467" y="111"/>
                      </a:lnTo>
                      <a:lnTo>
                        <a:pt x="466" y="105"/>
                      </a:lnTo>
                      <a:lnTo>
                        <a:pt x="462" y="99"/>
                      </a:lnTo>
                      <a:lnTo>
                        <a:pt x="458" y="94"/>
                      </a:lnTo>
                      <a:lnTo>
                        <a:pt x="458" y="94"/>
                      </a:lnTo>
                      <a:lnTo>
                        <a:pt x="435" y="72"/>
                      </a:lnTo>
                      <a:lnTo>
                        <a:pt x="410" y="54"/>
                      </a:lnTo>
                      <a:lnTo>
                        <a:pt x="383" y="38"/>
                      </a:lnTo>
                      <a:lnTo>
                        <a:pt x="356" y="24"/>
                      </a:lnTo>
                      <a:lnTo>
                        <a:pt x="327" y="14"/>
                      </a:lnTo>
                      <a:lnTo>
                        <a:pt x="297" y="6"/>
                      </a:lnTo>
                      <a:lnTo>
                        <a:pt x="266" y="1"/>
                      </a:lnTo>
                      <a:lnTo>
                        <a:pt x="234" y="0"/>
                      </a:lnTo>
                      <a:lnTo>
                        <a:pt x="234"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42" name="Freeform 37"/>
                <p:cNvSpPr>
                  <a:spLocks/>
                </p:cNvSpPr>
                <p:nvPr/>
              </p:nvSpPr>
              <p:spPr bwMode="auto">
                <a:xfrm>
                  <a:off x="724" y="1993"/>
                  <a:ext cx="142" cy="58"/>
                </a:xfrm>
                <a:custGeom>
                  <a:avLst/>
                  <a:gdLst>
                    <a:gd name="T0" fmla="*/ 9 w 283"/>
                    <a:gd name="T1" fmla="*/ 54 h 114"/>
                    <a:gd name="T2" fmla="*/ 1 w 283"/>
                    <a:gd name="T3" fmla="*/ 67 h 114"/>
                    <a:gd name="T4" fmla="*/ 0 w 283"/>
                    <a:gd name="T5" fmla="*/ 79 h 114"/>
                    <a:gd name="T6" fmla="*/ 1 w 283"/>
                    <a:gd name="T7" fmla="*/ 92 h 114"/>
                    <a:gd name="T8" fmla="*/ 9 w 283"/>
                    <a:gd name="T9" fmla="*/ 105 h 114"/>
                    <a:gd name="T10" fmla="*/ 15 w 283"/>
                    <a:gd name="T11" fmla="*/ 110 h 114"/>
                    <a:gd name="T12" fmla="*/ 28 w 283"/>
                    <a:gd name="T13" fmla="*/ 114 h 114"/>
                    <a:gd name="T14" fmla="*/ 41 w 283"/>
                    <a:gd name="T15" fmla="*/ 114 h 114"/>
                    <a:gd name="T16" fmla="*/ 54 w 283"/>
                    <a:gd name="T17" fmla="*/ 110 h 114"/>
                    <a:gd name="T18" fmla="*/ 60 w 283"/>
                    <a:gd name="T19" fmla="*/ 105 h 114"/>
                    <a:gd name="T20" fmla="*/ 78 w 283"/>
                    <a:gd name="T21" fmla="*/ 90 h 114"/>
                    <a:gd name="T22" fmla="*/ 98 w 283"/>
                    <a:gd name="T23" fmla="*/ 79 h 114"/>
                    <a:gd name="T24" fmla="*/ 119 w 283"/>
                    <a:gd name="T25" fmla="*/ 73 h 114"/>
                    <a:gd name="T26" fmla="*/ 141 w 283"/>
                    <a:gd name="T27" fmla="*/ 71 h 114"/>
                    <a:gd name="T28" fmla="*/ 164 w 283"/>
                    <a:gd name="T29" fmla="*/ 73 h 114"/>
                    <a:gd name="T30" fmla="*/ 184 w 283"/>
                    <a:gd name="T31" fmla="*/ 79 h 114"/>
                    <a:gd name="T32" fmla="*/ 205 w 283"/>
                    <a:gd name="T33" fmla="*/ 90 h 114"/>
                    <a:gd name="T34" fmla="*/ 223 w 283"/>
                    <a:gd name="T35" fmla="*/ 105 h 114"/>
                    <a:gd name="T36" fmla="*/ 229 w 283"/>
                    <a:gd name="T37" fmla="*/ 110 h 114"/>
                    <a:gd name="T38" fmla="*/ 242 w 283"/>
                    <a:gd name="T39" fmla="*/ 114 h 114"/>
                    <a:gd name="T40" fmla="*/ 248 w 283"/>
                    <a:gd name="T41" fmla="*/ 114 h 114"/>
                    <a:gd name="T42" fmla="*/ 261 w 283"/>
                    <a:gd name="T43" fmla="*/ 113 h 114"/>
                    <a:gd name="T44" fmla="*/ 274 w 283"/>
                    <a:gd name="T45" fmla="*/ 105 h 114"/>
                    <a:gd name="T46" fmla="*/ 277 w 283"/>
                    <a:gd name="T47" fmla="*/ 98 h 114"/>
                    <a:gd name="T48" fmla="*/ 283 w 283"/>
                    <a:gd name="T49" fmla="*/ 86 h 114"/>
                    <a:gd name="T50" fmla="*/ 283 w 283"/>
                    <a:gd name="T51" fmla="*/ 73 h 114"/>
                    <a:gd name="T52" fmla="*/ 277 w 283"/>
                    <a:gd name="T53" fmla="*/ 60 h 114"/>
                    <a:gd name="T54" fmla="*/ 274 w 283"/>
                    <a:gd name="T55" fmla="*/ 54 h 114"/>
                    <a:gd name="T56" fmla="*/ 243 w 283"/>
                    <a:gd name="T57" fmla="*/ 30 h 114"/>
                    <a:gd name="T58" fmla="*/ 212 w 283"/>
                    <a:gd name="T59" fmla="*/ 14 h 114"/>
                    <a:gd name="T60" fmla="*/ 177 w 283"/>
                    <a:gd name="T61" fmla="*/ 3 h 114"/>
                    <a:gd name="T62" fmla="*/ 141 w 283"/>
                    <a:gd name="T63" fmla="*/ 0 h 114"/>
                    <a:gd name="T64" fmla="*/ 105 w 283"/>
                    <a:gd name="T65" fmla="*/ 3 h 114"/>
                    <a:gd name="T66" fmla="*/ 71 w 283"/>
                    <a:gd name="T67" fmla="*/ 14 h 114"/>
                    <a:gd name="T68" fmla="*/ 38 w 283"/>
                    <a:gd name="T69" fmla="*/ 30 h 114"/>
                    <a:gd name="T70" fmla="*/ 9 w 283"/>
                    <a:gd name="T71" fmla="*/ 5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114">
                      <a:moveTo>
                        <a:pt x="9" y="54"/>
                      </a:moveTo>
                      <a:lnTo>
                        <a:pt x="9" y="54"/>
                      </a:lnTo>
                      <a:lnTo>
                        <a:pt x="4" y="60"/>
                      </a:lnTo>
                      <a:lnTo>
                        <a:pt x="1" y="67"/>
                      </a:lnTo>
                      <a:lnTo>
                        <a:pt x="0" y="73"/>
                      </a:lnTo>
                      <a:lnTo>
                        <a:pt x="0" y="79"/>
                      </a:lnTo>
                      <a:lnTo>
                        <a:pt x="0" y="86"/>
                      </a:lnTo>
                      <a:lnTo>
                        <a:pt x="1" y="92"/>
                      </a:lnTo>
                      <a:lnTo>
                        <a:pt x="4" y="98"/>
                      </a:lnTo>
                      <a:lnTo>
                        <a:pt x="9" y="105"/>
                      </a:lnTo>
                      <a:lnTo>
                        <a:pt x="9" y="105"/>
                      </a:lnTo>
                      <a:lnTo>
                        <a:pt x="15" y="110"/>
                      </a:lnTo>
                      <a:lnTo>
                        <a:pt x="20" y="113"/>
                      </a:lnTo>
                      <a:lnTo>
                        <a:pt x="28" y="114"/>
                      </a:lnTo>
                      <a:lnTo>
                        <a:pt x="35" y="114"/>
                      </a:lnTo>
                      <a:lnTo>
                        <a:pt x="41" y="114"/>
                      </a:lnTo>
                      <a:lnTo>
                        <a:pt x="47" y="113"/>
                      </a:lnTo>
                      <a:lnTo>
                        <a:pt x="54" y="110"/>
                      </a:lnTo>
                      <a:lnTo>
                        <a:pt x="60" y="105"/>
                      </a:lnTo>
                      <a:lnTo>
                        <a:pt x="60" y="105"/>
                      </a:lnTo>
                      <a:lnTo>
                        <a:pt x="68" y="97"/>
                      </a:lnTo>
                      <a:lnTo>
                        <a:pt x="78" y="90"/>
                      </a:lnTo>
                      <a:lnTo>
                        <a:pt x="87" y="84"/>
                      </a:lnTo>
                      <a:lnTo>
                        <a:pt x="98" y="79"/>
                      </a:lnTo>
                      <a:lnTo>
                        <a:pt x="108" y="76"/>
                      </a:lnTo>
                      <a:lnTo>
                        <a:pt x="119" y="73"/>
                      </a:lnTo>
                      <a:lnTo>
                        <a:pt x="130" y="71"/>
                      </a:lnTo>
                      <a:lnTo>
                        <a:pt x="141" y="71"/>
                      </a:lnTo>
                      <a:lnTo>
                        <a:pt x="153" y="71"/>
                      </a:lnTo>
                      <a:lnTo>
                        <a:pt x="164" y="73"/>
                      </a:lnTo>
                      <a:lnTo>
                        <a:pt x="173" y="76"/>
                      </a:lnTo>
                      <a:lnTo>
                        <a:pt x="184" y="79"/>
                      </a:lnTo>
                      <a:lnTo>
                        <a:pt x="196" y="84"/>
                      </a:lnTo>
                      <a:lnTo>
                        <a:pt x="205" y="90"/>
                      </a:lnTo>
                      <a:lnTo>
                        <a:pt x="215" y="97"/>
                      </a:lnTo>
                      <a:lnTo>
                        <a:pt x="223" y="105"/>
                      </a:lnTo>
                      <a:lnTo>
                        <a:pt x="223" y="105"/>
                      </a:lnTo>
                      <a:lnTo>
                        <a:pt x="229" y="110"/>
                      </a:lnTo>
                      <a:lnTo>
                        <a:pt x="234" y="113"/>
                      </a:lnTo>
                      <a:lnTo>
                        <a:pt x="242" y="114"/>
                      </a:lnTo>
                      <a:lnTo>
                        <a:pt x="248" y="114"/>
                      </a:lnTo>
                      <a:lnTo>
                        <a:pt x="248" y="114"/>
                      </a:lnTo>
                      <a:lnTo>
                        <a:pt x="255" y="114"/>
                      </a:lnTo>
                      <a:lnTo>
                        <a:pt x="261" y="113"/>
                      </a:lnTo>
                      <a:lnTo>
                        <a:pt x="267" y="110"/>
                      </a:lnTo>
                      <a:lnTo>
                        <a:pt x="274" y="105"/>
                      </a:lnTo>
                      <a:lnTo>
                        <a:pt x="274" y="105"/>
                      </a:lnTo>
                      <a:lnTo>
                        <a:pt x="277" y="98"/>
                      </a:lnTo>
                      <a:lnTo>
                        <a:pt x="280" y="92"/>
                      </a:lnTo>
                      <a:lnTo>
                        <a:pt x="283" y="86"/>
                      </a:lnTo>
                      <a:lnTo>
                        <a:pt x="283" y="79"/>
                      </a:lnTo>
                      <a:lnTo>
                        <a:pt x="283" y="73"/>
                      </a:lnTo>
                      <a:lnTo>
                        <a:pt x="280" y="67"/>
                      </a:lnTo>
                      <a:lnTo>
                        <a:pt x="277" y="60"/>
                      </a:lnTo>
                      <a:lnTo>
                        <a:pt x="274" y="54"/>
                      </a:lnTo>
                      <a:lnTo>
                        <a:pt x="274" y="54"/>
                      </a:lnTo>
                      <a:lnTo>
                        <a:pt x="259" y="41"/>
                      </a:lnTo>
                      <a:lnTo>
                        <a:pt x="243" y="30"/>
                      </a:lnTo>
                      <a:lnTo>
                        <a:pt x="228" y="20"/>
                      </a:lnTo>
                      <a:lnTo>
                        <a:pt x="212" y="14"/>
                      </a:lnTo>
                      <a:lnTo>
                        <a:pt x="194" y="8"/>
                      </a:lnTo>
                      <a:lnTo>
                        <a:pt x="177" y="3"/>
                      </a:lnTo>
                      <a:lnTo>
                        <a:pt x="159" y="1"/>
                      </a:lnTo>
                      <a:lnTo>
                        <a:pt x="141" y="0"/>
                      </a:lnTo>
                      <a:lnTo>
                        <a:pt x="124" y="1"/>
                      </a:lnTo>
                      <a:lnTo>
                        <a:pt x="105" y="3"/>
                      </a:lnTo>
                      <a:lnTo>
                        <a:pt x="87" y="8"/>
                      </a:lnTo>
                      <a:lnTo>
                        <a:pt x="71" y="14"/>
                      </a:lnTo>
                      <a:lnTo>
                        <a:pt x="54" y="20"/>
                      </a:lnTo>
                      <a:lnTo>
                        <a:pt x="38" y="30"/>
                      </a:lnTo>
                      <a:lnTo>
                        <a:pt x="23" y="41"/>
                      </a:lnTo>
                      <a:lnTo>
                        <a:pt x="9" y="54"/>
                      </a:lnTo>
                      <a:lnTo>
                        <a:pt x="9" y="54"/>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43" name="Freeform 38"/>
                <p:cNvSpPr>
                  <a:spLocks/>
                </p:cNvSpPr>
                <p:nvPr/>
              </p:nvSpPr>
              <p:spPr bwMode="auto">
                <a:xfrm>
                  <a:off x="770" y="2067"/>
                  <a:ext cx="49" cy="49"/>
                </a:xfrm>
                <a:custGeom>
                  <a:avLst/>
                  <a:gdLst>
                    <a:gd name="T0" fmla="*/ 49 w 97"/>
                    <a:gd name="T1" fmla="*/ 0 h 99"/>
                    <a:gd name="T2" fmla="*/ 49 w 97"/>
                    <a:gd name="T3" fmla="*/ 0 h 99"/>
                    <a:gd name="T4" fmla="*/ 40 w 97"/>
                    <a:gd name="T5" fmla="*/ 2 h 99"/>
                    <a:gd name="T6" fmla="*/ 30 w 97"/>
                    <a:gd name="T7" fmla="*/ 5 h 99"/>
                    <a:gd name="T8" fmla="*/ 22 w 97"/>
                    <a:gd name="T9" fmla="*/ 10 h 99"/>
                    <a:gd name="T10" fmla="*/ 14 w 97"/>
                    <a:gd name="T11" fmla="*/ 15 h 99"/>
                    <a:gd name="T12" fmla="*/ 8 w 97"/>
                    <a:gd name="T13" fmla="*/ 23 h 99"/>
                    <a:gd name="T14" fmla="*/ 5 w 97"/>
                    <a:gd name="T15" fmla="*/ 31 h 99"/>
                    <a:gd name="T16" fmla="*/ 2 w 97"/>
                    <a:gd name="T17" fmla="*/ 40 h 99"/>
                    <a:gd name="T18" fmla="*/ 0 w 97"/>
                    <a:gd name="T19" fmla="*/ 50 h 99"/>
                    <a:gd name="T20" fmla="*/ 0 w 97"/>
                    <a:gd name="T21" fmla="*/ 50 h 99"/>
                    <a:gd name="T22" fmla="*/ 2 w 97"/>
                    <a:gd name="T23" fmla="*/ 59 h 99"/>
                    <a:gd name="T24" fmla="*/ 5 w 97"/>
                    <a:gd name="T25" fmla="*/ 69 h 99"/>
                    <a:gd name="T26" fmla="*/ 8 w 97"/>
                    <a:gd name="T27" fmla="*/ 77 h 99"/>
                    <a:gd name="T28" fmla="*/ 14 w 97"/>
                    <a:gd name="T29" fmla="*/ 85 h 99"/>
                    <a:gd name="T30" fmla="*/ 22 w 97"/>
                    <a:gd name="T31" fmla="*/ 90 h 99"/>
                    <a:gd name="T32" fmla="*/ 30 w 97"/>
                    <a:gd name="T33" fmla="*/ 94 h 99"/>
                    <a:gd name="T34" fmla="*/ 40 w 97"/>
                    <a:gd name="T35" fmla="*/ 98 h 99"/>
                    <a:gd name="T36" fmla="*/ 49 w 97"/>
                    <a:gd name="T37" fmla="*/ 99 h 99"/>
                    <a:gd name="T38" fmla="*/ 49 w 97"/>
                    <a:gd name="T39" fmla="*/ 99 h 99"/>
                    <a:gd name="T40" fmla="*/ 59 w 97"/>
                    <a:gd name="T41" fmla="*/ 98 h 99"/>
                    <a:gd name="T42" fmla="*/ 69 w 97"/>
                    <a:gd name="T43" fmla="*/ 94 h 99"/>
                    <a:gd name="T44" fmla="*/ 77 w 97"/>
                    <a:gd name="T45" fmla="*/ 90 h 99"/>
                    <a:gd name="T46" fmla="*/ 83 w 97"/>
                    <a:gd name="T47" fmla="*/ 85 h 99"/>
                    <a:gd name="T48" fmla="*/ 89 w 97"/>
                    <a:gd name="T49" fmla="*/ 77 h 99"/>
                    <a:gd name="T50" fmla="*/ 94 w 97"/>
                    <a:gd name="T51" fmla="*/ 69 h 99"/>
                    <a:gd name="T52" fmla="*/ 97 w 97"/>
                    <a:gd name="T53" fmla="*/ 59 h 99"/>
                    <a:gd name="T54" fmla="*/ 97 w 97"/>
                    <a:gd name="T55" fmla="*/ 50 h 99"/>
                    <a:gd name="T56" fmla="*/ 97 w 97"/>
                    <a:gd name="T57" fmla="*/ 50 h 99"/>
                    <a:gd name="T58" fmla="*/ 97 w 97"/>
                    <a:gd name="T59" fmla="*/ 40 h 99"/>
                    <a:gd name="T60" fmla="*/ 94 w 97"/>
                    <a:gd name="T61" fmla="*/ 31 h 99"/>
                    <a:gd name="T62" fmla="*/ 89 w 97"/>
                    <a:gd name="T63" fmla="*/ 23 h 99"/>
                    <a:gd name="T64" fmla="*/ 83 w 97"/>
                    <a:gd name="T65" fmla="*/ 15 h 99"/>
                    <a:gd name="T66" fmla="*/ 77 w 97"/>
                    <a:gd name="T67" fmla="*/ 10 h 99"/>
                    <a:gd name="T68" fmla="*/ 69 w 97"/>
                    <a:gd name="T69" fmla="*/ 5 h 99"/>
                    <a:gd name="T70" fmla="*/ 59 w 97"/>
                    <a:gd name="T71" fmla="*/ 2 h 99"/>
                    <a:gd name="T72" fmla="*/ 49 w 97"/>
                    <a:gd name="T73" fmla="*/ 0 h 99"/>
                    <a:gd name="T74" fmla="*/ 49 w 97"/>
                    <a:gd name="T7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99">
                      <a:moveTo>
                        <a:pt x="49" y="0"/>
                      </a:moveTo>
                      <a:lnTo>
                        <a:pt x="49" y="0"/>
                      </a:lnTo>
                      <a:lnTo>
                        <a:pt x="40" y="2"/>
                      </a:lnTo>
                      <a:lnTo>
                        <a:pt x="30" y="5"/>
                      </a:lnTo>
                      <a:lnTo>
                        <a:pt x="22" y="10"/>
                      </a:lnTo>
                      <a:lnTo>
                        <a:pt x="14" y="15"/>
                      </a:lnTo>
                      <a:lnTo>
                        <a:pt x="8" y="23"/>
                      </a:lnTo>
                      <a:lnTo>
                        <a:pt x="5" y="31"/>
                      </a:lnTo>
                      <a:lnTo>
                        <a:pt x="2" y="40"/>
                      </a:lnTo>
                      <a:lnTo>
                        <a:pt x="0" y="50"/>
                      </a:lnTo>
                      <a:lnTo>
                        <a:pt x="0" y="50"/>
                      </a:lnTo>
                      <a:lnTo>
                        <a:pt x="2" y="59"/>
                      </a:lnTo>
                      <a:lnTo>
                        <a:pt x="5" y="69"/>
                      </a:lnTo>
                      <a:lnTo>
                        <a:pt x="8" y="77"/>
                      </a:lnTo>
                      <a:lnTo>
                        <a:pt x="14" y="85"/>
                      </a:lnTo>
                      <a:lnTo>
                        <a:pt x="22" y="90"/>
                      </a:lnTo>
                      <a:lnTo>
                        <a:pt x="30" y="94"/>
                      </a:lnTo>
                      <a:lnTo>
                        <a:pt x="40" y="98"/>
                      </a:lnTo>
                      <a:lnTo>
                        <a:pt x="49" y="99"/>
                      </a:lnTo>
                      <a:lnTo>
                        <a:pt x="49" y="99"/>
                      </a:lnTo>
                      <a:lnTo>
                        <a:pt x="59" y="98"/>
                      </a:lnTo>
                      <a:lnTo>
                        <a:pt x="69" y="94"/>
                      </a:lnTo>
                      <a:lnTo>
                        <a:pt x="77" y="90"/>
                      </a:lnTo>
                      <a:lnTo>
                        <a:pt x="83" y="85"/>
                      </a:lnTo>
                      <a:lnTo>
                        <a:pt x="89" y="77"/>
                      </a:lnTo>
                      <a:lnTo>
                        <a:pt x="94" y="69"/>
                      </a:lnTo>
                      <a:lnTo>
                        <a:pt x="97" y="59"/>
                      </a:lnTo>
                      <a:lnTo>
                        <a:pt x="97" y="50"/>
                      </a:lnTo>
                      <a:lnTo>
                        <a:pt x="97" y="50"/>
                      </a:lnTo>
                      <a:lnTo>
                        <a:pt x="97" y="40"/>
                      </a:lnTo>
                      <a:lnTo>
                        <a:pt x="94" y="31"/>
                      </a:lnTo>
                      <a:lnTo>
                        <a:pt x="89" y="23"/>
                      </a:lnTo>
                      <a:lnTo>
                        <a:pt x="83" y="15"/>
                      </a:lnTo>
                      <a:lnTo>
                        <a:pt x="77" y="10"/>
                      </a:lnTo>
                      <a:lnTo>
                        <a:pt x="69" y="5"/>
                      </a:lnTo>
                      <a:lnTo>
                        <a:pt x="59" y="2"/>
                      </a:lnTo>
                      <a:lnTo>
                        <a:pt x="49" y="0"/>
                      </a:lnTo>
                      <a:lnTo>
                        <a:pt x="49"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44" name="Freeform 39"/>
                <p:cNvSpPr>
                  <a:spLocks noEditPoints="1"/>
                </p:cNvSpPr>
                <p:nvPr/>
              </p:nvSpPr>
              <p:spPr bwMode="auto">
                <a:xfrm>
                  <a:off x="892" y="2098"/>
                  <a:ext cx="187" cy="311"/>
                </a:xfrm>
                <a:custGeom>
                  <a:avLst/>
                  <a:gdLst>
                    <a:gd name="T0" fmla="*/ 375 w 375"/>
                    <a:gd name="T1" fmla="*/ 346 h 624"/>
                    <a:gd name="T2" fmla="*/ 375 w 375"/>
                    <a:gd name="T3" fmla="*/ 353 h 624"/>
                    <a:gd name="T4" fmla="*/ 370 w 375"/>
                    <a:gd name="T5" fmla="*/ 366 h 624"/>
                    <a:gd name="T6" fmla="*/ 361 w 375"/>
                    <a:gd name="T7" fmla="*/ 377 h 624"/>
                    <a:gd name="T8" fmla="*/ 348 w 375"/>
                    <a:gd name="T9" fmla="*/ 383 h 624"/>
                    <a:gd name="T10" fmla="*/ 340 w 375"/>
                    <a:gd name="T11" fmla="*/ 482 h 624"/>
                    <a:gd name="T12" fmla="*/ 338 w 375"/>
                    <a:gd name="T13" fmla="*/ 492 h 624"/>
                    <a:gd name="T14" fmla="*/ 332 w 375"/>
                    <a:gd name="T15" fmla="*/ 506 h 624"/>
                    <a:gd name="T16" fmla="*/ 321 w 375"/>
                    <a:gd name="T17" fmla="*/ 517 h 624"/>
                    <a:gd name="T18" fmla="*/ 307 w 375"/>
                    <a:gd name="T19" fmla="*/ 523 h 624"/>
                    <a:gd name="T20" fmla="*/ 257 w 375"/>
                    <a:gd name="T21" fmla="*/ 525 h 624"/>
                    <a:gd name="T22" fmla="*/ 257 w 375"/>
                    <a:gd name="T23" fmla="*/ 581 h 624"/>
                    <a:gd name="T24" fmla="*/ 254 w 375"/>
                    <a:gd name="T25" fmla="*/ 598 h 624"/>
                    <a:gd name="T26" fmla="*/ 244 w 375"/>
                    <a:gd name="T27" fmla="*/ 611 h 624"/>
                    <a:gd name="T28" fmla="*/ 232 w 375"/>
                    <a:gd name="T29" fmla="*/ 621 h 624"/>
                    <a:gd name="T30" fmla="*/ 214 w 375"/>
                    <a:gd name="T31" fmla="*/ 624 h 624"/>
                    <a:gd name="T32" fmla="*/ 125 w 375"/>
                    <a:gd name="T33" fmla="*/ 624 h 624"/>
                    <a:gd name="T34" fmla="*/ 109 w 375"/>
                    <a:gd name="T35" fmla="*/ 621 h 624"/>
                    <a:gd name="T36" fmla="*/ 96 w 375"/>
                    <a:gd name="T37" fmla="*/ 611 h 624"/>
                    <a:gd name="T38" fmla="*/ 86 w 375"/>
                    <a:gd name="T39" fmla="*/ 598 h 624"/>
                    <a:gd name="T40" fmla="*/ 83 w 375"/>
                    <a:gd name="T41" fmla="*/ 581 h 624"/>
                    <a:gd name="T42" fmla="*/ 42 w 375"/>
                    <a:gd name="T43" fmla="*/ 525 h 624"/>
                    <a:gd name="T44" fmla="*/ 34 w 375"/>
                    <a:gd name="T45" fmla="*/ 523 h 624"/>
                    <a:gd name="T46" fmla="*/ 18 w 375"/>
                    <a:gd name="T47" fmla="*/ 517 h 624"/>
                    <a:gd name="T48" fmla="*/ 7 w 375"/>
                    <a:gd name="T49" fmla="*/ 506 h 624"/>
                    <a:gd name="T50" fmla="*/ 0 w 375"/>
                    <a:gd name="T51" fmla="*/ 492 h 624"/>
                    <a:gd name="T52" fmla="*/ 0 w 375"/>
                    <a:gd name="T53" fmla="*/ 142 h 624"/>
                    <a:gd name="T54" fmla="*/ 0 w 375"/>
                    <a:gd name="T55" fmla="*/ 134 h 624"/>
                    <a:gd name="T56" fmla="*/ 7 w 375"/>
                    <a:gd name="T57" fmla="*/ 118 h 624"/>
                    <a:gd name="T58" fmla="*/ 18 w 375"/>
                    <a:gd name="T59" fmla="*/ 107 h 624"/>
                    <a:gd name="T60" fmla="*/ 34 w 375"/>
                    <a:gd name="T61" fmla="*/ 101 h 624"/>
                    <a:gd name="T62" fmla="*/ 83 w 375"/>
                    <a:gd name="T63" fmla="*/ 99 h 624"/>
                    <a:gd name="T64" fmla="*/ 83 w 375"/>
                    <a:gd name="T65" fmla="*/ 44 h 624"/>
                    <a:gd name="T66" fmla="*/ 86 w 375"/>
                    <a:gd name="T67" fmla="*/ 28 h 624"/>
                    <a:gd name="T68" fmla="*/ 96 w 375"/>
                    <a:gd name="T69" fmla="*/ 13 h 624"/>
                    <a:gd name="T70" fmla="*/ 109 w 375"/>
                    <a:gd name="T71" fmla="*/ 4 h 624"/>
                    <a:gd name="T72" fmla="*/ 125 w 375"/>
                    <a:gd name="T73" fmla="*/ 0 h 624"/>
                    <a:gd name="T74" fmla="*/ 214 w 375"/>
                    <a:gd name="T75" fmla="*/ 0 h 624"/>
                    <a:gd name="T76" fmla="*/ 232 w 375"/>
                    <a:gd name="T77" fmla="*/ 4 h 624"/>
                    <a:gd name="T78" fmla="*/ 244 w 375"/>
                    <a:gd name="T79" fmla="*/ 13 h 624"/>
                    <a:gd name="T80" fmla="*/ 254 w 375"/>
                    <a:gd name="T81" fmla="*/ 28 h 624"/>
                    <a:gd name="T82" fmla="*/ 257 w 375"/>
                    <a:gd name="T83" fmla="*/ 44 h 624"/>
                    <a:gd name="T84" fmla="*/ 297 w 375"/>
                    <a:gd name="T85" fmla="*/ 99 h 624"/>
                    <a:gd name="T86" fmla="*/ 307 w 375"/>
                    <a:gd name="T87" fmla="*/ 101 h 624"/>
                    <a:gd name="T88" fmla="*/ 321 w 375"/>
                    <a:gd name="T89" fmla="*/ 107 h 624"/>
                    <a:gd name="T90" fmla="*/ 332 w 375"/>
                    <a:gd name="T91" fmla="*/ 118 h 624"/>
                    <a:gd name="T92" fmla="*/ 338 w 375"/>
                    <a:gd name="T93" fmla="*/ 134 h 624"/>
                    <a:gd name="T94" fmla="*/ 340 w 375"/>
                    <a:gd name="T95" fmla="*/ 241 h 624"/>
                    <a:gd name="T96" fmla="*/ 348 w 375"/>
                    <a:gd name="T97" fmla="*/ 243 h 624"/>
                    <a:gd name="T98" fmla="*/ 361 w 375"/>
                    <a:gd name="T99" fmla="*/ 248 h 624"/>
                    <a:gd name="T100" fmla="*/ 370 w 375"/>
                    <a:gd name="T101" fmla="*/ 259 h 624"/>
                    <a:gd name="T102" fmla="*/ 375 w 375"/>
                    <a:gd name="T103" fmla="*/ 272 h 624"/>
                    <a:gd name="T104" fmla="*/ 375 w 375"/>
                    <a:gd name="T105" fmla="*/ 279 h 624"/>
                    <a:gd name="T106" fmla="*/ 66 w 375"/>
                    <a:gd name="T107" fmla="*/ 171 h 624"/>
                    <a:gd name="T108" fmla="*/ 275 w 375"/>
                    <a:gd name="T109" fmla="*/ 45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5" h="624">
                      <a:moveTo>
                        <a:pt x="375" y="279"/>
                      </a:moveTo>
                      <a:lnTo>
                        <a:pt x="375" y="346"/>
                      </a:lnTo>
                      <a:lnTo>
                        <a:pt x="375" y="346"/>
                      </a:lnTo>
                      <a:lnTo>
                        <a:pt x="375" y="353"/>
                      </a:lnTo>
                      <a:lnTo>
                        <a:pt x="373" y="359"/>
                      </a:lnTo>
                      <a:lnTo>
                        <a:pt x="370" y="366"/>
                      </a:lnTo>
                      <a:lnTo>
                        <a:pt x="365" y="372"/>
                      </a:lnTo>
                      <a:lnTo>
                        <a:pt x="361" y="377"/>
                      </a:lnTo>
                      <a:lnTo>
                        <a:pt x="354" y="380"/>
                      </a:lnTo>
                      <a:lnTo>
                        <a:pt x="348" y="383"/>
                      </a:lnTo>
                      <a:lnTo>
                        <a:pt x="340" y="383"/>
                      </a:lnTo>
                      <a:lnTo>
                        <a:pt x="340" y="482"/>
                      </a:lnTo>
                      <a:lnTo>
                        <a:pt x="340" y="482"/>
                      </a:lnTo>
                      <a:lnTo>
                        <a:pt x="338" y="492"/>
                      </a:lnTo>
                      <a:lnTo>
                        <a:pt x="337" y="500"/>
                      </a:lnTo>
                      <a:lnTo>
                        <a:pt x="332" y="506"/>
                      </a:lnTo>
                      <a:lnTo>
                        <a:pt x="327" y="512"/>
                      </a:lnTo>
                      <a:lnTo>
                        <a:pt x="321" y="517"/>
                      </a:lnTo>
                      <a:lnTo>
                        <a:pt x="314" y="522"/>
                      </a:lnTo>
                      <a:lnTo>
                        <a:pt x="307" y="523"/>
                      </a:lnTo>
                      <a:lnTo>
                        <a:pt x="297" y="525"/>
                      </a:lnTo>
                      <a:lnTo>
                        <a:pt x="257" y="525"/>
                      </a:lnTo>
                      <a:lnTo>
                        <a:pt x="257" y="581"/>
                      </a:lnTo>
                      <a:lnTo>
                        <a:pt x="257" y="581"/>
                      </a:lnTo>
                      <a:lnTo>
                        <a:pt x="255" y="590"/>
                      </a:lnTo>
                      <a:lnTo>
                        <a:pt x="254" y="598"/>
                      </a:lnTo>
                      <a:lnTo>
                        <a:pt x="249" y="605"/>
                      </a:lnTo>
                      <a:lnTo>
                        <a:pt x="244" y="611"/>
                      </a:lnTo>
                      <a:lnTo>
                        <a:pt x="238" y="616"/>
                      </a:lnTo>
                      <a:lnTo>
                        <a:pt x="232" y="621"/>
                      </a:lnTo>
                      <a:lnTo>
                        <a:pt x="224" y="622"/>
                      </a:lnTo>
                      <a:lnTo>
                        <a:pt x="214" y="624"/>
                      </a:lnTo>
                      <a:lnTo>
                        <a:pt x="125" y="624"/>
                      </a:lnTo>
                      <a:lnTo>
                        <a:pt x="125" y="624"/>
                      </a:lnTo>
                      <a:lnTo>
                        <a:pt x="117" y="622"/>
                      </a:lnTo>
                      <a:lnTo>
                        <a:pt x="109" y="621"/>
                      </a:lnTo>
                      <a:lnTo>
                        <a:pt x="102" y="616"/>
                      </a:lnTo>
                      <a:lnTo>
                        <a:pt x="96" y="611"/>
                      </a:lnTo>
                      <a:lnTo>
                        <a:pt x="90" y="605"/>
                      </a:lnTo>
                      <a:lnTo>
                        <a:pt x="86" y="598"/>
                      </a:lnTo>
                      <a:lnTo>
                        <a:pt x="83" y="590"/>
                      </a:lnTo>
                      <a:lnTo>
                        <a:pt x="83" y="581"/>
                      </a:lnTo>
                      <a:lnTo>
                        <a:pt x="83" y="525"/>
                      </a:lnTo>
                      <a:lnTo>
                        <a:pt x="42" y="525"/>
                      </a:lnTo>
                      <a:lnTo>
                        <a:pt x="42" y="525"/>
                      </a:lnTo>
                      <a:lnTo>
                        <a:pt x="34" y="523"/>
                      </a:lnTo>
                      <a:lnTo>
                        <a:pt x="26" y="522"/>
                      </a:lnTo>
                      <a:lnTo>
                        <a:pt x="18" y="517"/>
                      </a:lnTo>
                      <a:lnTo>
                        <a:pt x="13" y="512"/>
                      </a:lnTo>
                      <a:lnTo>
                        <a:pt x="7" y="506"/>
                      </a:lnTo>
                      <a:lnTo>
                        <a:pt x="4" y="500"/>
                      </a:lnTo>
                      <a:lnTo>
                        <a:pt x="0" y="492"/>
                      </a:lnTo>
                      <a:lnTo>
                        <a:pt x="0" y="482"/>
                      </a:lnTo>
                      <a:lnTo>
                        <a:pt x="0" y="142"/>
                      </a:lnTo>
                      <a:lnTo>
                        <a:pt x="0" y="142"/>
                      </a:lnTo>
                      <a:lnTo>
                        <a:pt x="0" y="134"/>
                      </a:lnTo>
                      <a:lnTo>
                        <a:pt x="4" y="126"/>
                      </a:lnTo>
                      <a:lnTo>
                        <a:pt x="7" y="118"/>
                      </a:lnTo>
                      <a:lnTo>
                        <a:pt x="13" y="112"/>
                      </a:lnTo>
                      <a:lnTo>
                        <a:pt x="18" y="107"/>
                      </a:lnTo>
                      <a:lnTo>
                        <a:pt x="26" y="103"/>
                      </a:lnTo>
                      <a:lnTo>
                        <a:pt x="34" y="101"/>
                      </a:lnTo>
                      <a:lnTo>
                        <a:pt x="42" y="99"/>
                      </a:lnTo>
                      <a:lnTo>
                        <a:pt x="83" y="99"/>
                      </a:lnTo>
                      <a:lnTo>
                        <a:pt x="83" y="44"/>
                      </a:lnTo>
                      <a:lnTo>
                        <a:pt x="83" y="44"/>
                      </a:lnTo>
                      <a:lnTo>
                        <a:pt x="83" y="36"/>
                      </a:lnTo>
                      <a:lnTo>
                        <a:pt x="86" y="28"/>
                      </a:lnTo>
                      <a:lnTo>
                        <a:pt x="90" y="20"/>
                      </a:lnTo>
                      <a:lnTo>
                        <a:pt x="96" y="13"/>
                      </a:lnTo>
                      <a:lnTo>
                        <a:pt x="102" y="8"/>
                      </a:lnTo>
                      <a:lnTo>
                        <a:pt x="109" y="4"/>
                      </a:lnTo>
                      <a:lnTo>
                        <a:pt x="117" y="2"/>
                      </a:lnTo>
                      <a:lnTo>
                        <a:pt x="125" y="0"/>
                      </a:lnTo>
                      <a:lnTo>
                        <a:pt x="214" y="0"/>
                      </a:lnTo>
                      <a:lnTo>
                        <a:pt x="214" y="0"/>
                      </a:lnTo>
                      <a:lnTo>
                        <a:pt x="224" y="2"/>
                      </a:lnTo>
                      <a:lnTo>
                        <a:pt x="232" y="4"/>
                      </a:lnTo>
                      <a:lnTo>
                        <a:pt x="238" y="8"/>
                      </a:lnTo>
                      <a:lnTo>
                        <a:pt x="244" y="13"/>
                      </a:lnTo>
                      <a:lnTo>
                        <a:pt x="249" y="20"/>
                      </a:lnTo>
                      <a:lnTo>
                        <a:pt x="254" y="28"/>
                      </a:lnTo>
                      <a:lnTo>
                        <a:pt x="255" y="36"/>
                      </a:lnTo>
                      <a:lnTo>
                        <a:pt x="257" y="44"/>
                      </a:lnTo>
                      <a:lnTo>
                        <a:pt x="257" y="99"/>
                      </a:lnTo>
                      <a:lnTo>
                        <a:pt x="297" y="99"/>
                      </a:lnTo>
                      <a:lnTo>
                        <a:pt x="297" y="99"/>
                      </a:lnTo>
                      <a:lnTo>
                        <a:pt x="307" y="101"/>
                      </a:lnTo>
                      <a:lnTo>
                        <a:pt x="314" y="103"/>
                      </a:lnTo>
                      <a:lnTo>
                        <a:pt x="321" y="107"/>
                      </a:lnTo>
                      <a:lnTo>
                        <a:pt x="327" y="112"/>
                      </a:lnTo>
                      <a:lnTo>
                        <a:pt x="332" y="118"/>
                      </a:lnTo>
                      <a:lnTo>
                        <a:pt x="337" y="126"/>
                      </a:lnTo>
                      <a:lnTo>
                        <a:pt x="338" y="134"/>
                      </a:lnTo>
                      <a:lnTo>
                        <a:pt x="340" y="142"/>
                      </a:lnTo>
                      <a:lnTo>
                        <a:pt x="340" y="241"/>
                      </a:lnTo>
                      <a:lnTo>
                        <a:pt x="340" y="241"/>
                      </a:lnTo>
                      <a:lnTo>
                        <a:pt x="348" y="243"/>
                      </a:lnTo>
                      <a:lnTo>
                        <a:pt x="354" y="244"/>
                      </a:lnTo>
                      <a:lnTo>
                        <a:pt x="361" y="248"/>
                      </a:lnTo>
                      <a:lnTo>
                        <a:pt x="365" y="252"/>
                      </a:lnTo>
                      <a:lnTo>
                        <a:pt x="370" y="259"/>
                      </a:lnTo>
                      <a:lnTo>
                        <a:pt x="373" y="265"/>
                      </a:lnTo>
                      <a:lnTo>
                        <a:pt x="375" y="272"/>
                      </a:lnTo>
                      <a:lnTo>
                        <a:pt x="375" y="279"/>
                      </a:lnTo>
                      <a:lnTo>
                        <a:pt x="375" y="279"/>
                      </a:lnTo>
                      <a:close/>
                      <a:moveTo>
                        <a:pt x="275" y="171"/>
                      </a:moveTo>
                      <a:lnTo>
                        <a:pt x="66" y="171"/>
                      </a:lnTo>
                      <a:lnTo>
                        <a:pt x="66" y="453"/>
                      </a:lnTo>
                      <a:lnTo>
                        <a:pt x="275" y="453"/>
                      </a:lnTo>
                      <a:lnTo>
                        <a:pt x="275" y="171"/>
                      </a:lnTo>
                      <a:close/>
                    </a:path>
                  </a:pathLst>
                </a:custGeom>
                <a:solidFill>
                  <a:srgbClr val="F04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grpSp>
            <p:nvGrpSpPr>
              <p:cNvPr id="5945" name="Group 29"/>
              <p:cNvGrpSpPr/>
              <p:nvPr/>
            </p:nvGrpSpPr>
            <p:grpSpPr>
              <a:xfrm>
                <a:off x="964802" y="3094369"/>
                <a:ext cx="302619" cy="317247"/>
                <a:chOff x="4163060" y="2537711"/>
                <a:chExt cx="520926" cy="520926"/>
              </a:xfrm>
            </p:grpSpPr>
            <p:sp>
              <p:nvSpPr>
                <p:cNvPr id="5946" name="Oval 5945"/>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a:solidFill>
                      <a:srgbClr val="FFFFFF"/>
                    </a:solidFill>
                    <a:latin typeface="CiscoSansTT ExtraLight"/>
                  </a:endParaRPr>
                </a:p>
              </p:txBody>
            </p:sp>
            <p:sp>
              <p:nvSpPr>
                <p:cNvPr id="5947" name="Freeform 41"/>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a:solidFill>
                      <a:srgbClr val="39393B"/>
                    </a:solidFill>
                    <a:latin typeface="Arial"/>
                    <a:ea typeface=""/>
                    <a:cs typeface=""/>
                  </a:endParaRPr>
                </a:p>
              </p:txBody>
            </p:sp>
          </p:grpSp>
          <p:sp>
            <p:nvSpPr>
              <p:cNvPr id="5948" name="TextBox 5947"/>
              <p:cNvSpPr txBox="1"/>
              <p:nvPr/>
            </p:nvSpPr>
            <p:spPr>
              <a:xfrm>
                <a:off x="968716" y="1418224"/>
                <a:ext cx="652743" cy="230832"/>
              </a:xfrm>
              <a:prstGeom prst="rect">
                <a:avLst/>
              </a:prstGeom>
              <a:noFill/>
            </p:spPr>
            <p:txBody>
              <a:bodyPr wrap="none" rtlCol="0">
                <a:spAutoFit/>
              </a:bodyPr>
              <a:lstStyle/>
              <a:p>
                <a:pPr defTabSz="457189"/>
                <a:r>
                  <a:rPr lang="nl-NL" sz="900" b="1">
                    <a:solidFill>
                      <a:srgbClr val="005073"/>
                    </a:solidFill>
                    <a:latin typeface="Arial" panose="020B0604020202020204" pitchFamily="34" charset="0"/>
                    <a:cs typeface="Arial" panose="020B0604020202020204" pitchFamily="34" charset="0"/>
                  </a:rPr>
                  <a:t>N</a:t>
                </a:r>
                <a:r>
                  <a:rPr lang="en-US" sz="900" b="1">
                    <a:solidFill>
                      <a:srgbClr val="005073"/>
                    </a:solidFill>
                    <a:latin typeface="Arial" panose="020B0604020202020204" pitchFamily="34" charset="0"/>
                    <a:cs typeface="Arial" panose="020B0604020202020204" pitchFamily="34" charset="0"/>
                  </a:rPr>
                  <a:t>CS 540</a:t>
                </a:r>
              </a:p>
            </p:txBody>
          </p:sp>
          <p:cxnSp>
            <p:nvCxnSpPr>
              <p:cNvPr id="5951" name="Straight Connector 5950"/>
              <p:cNvCxnSpPr>
                <a:cxnSpLocks/>
                <a:stCxn id="5930" idx="3"/>
              </p:cNvCxnSpPr>
              <p:nvPr/>
            </p:nvCxnSpPr>
            <p:spPr>
              <a:xfrm>
                <a:off x="1480481" y="1297087"/>
                <a:ext cx="773492" cy="287160"/>
              </a:xfrm>
              <a:prstGeom prst="line">
                <a:avLst/>
              </a:prstGeom>
              <a:noFill/>
              <a:ln w="25400" cap="flat" cmpd="sng" algn="ctr">
                <a:solidFill>
                  <a:schemeClr val="accent4">
                    <a:lumMod val="60000"/>
                    <a:lumOff val="40000"/>
                  </a:schemeClr>
                </a:solidFill>
                <a:prstDash val="solid"/>
              </a:ln>
              <a:effectLst/>
            </p:spPr>
          </p:cxnSp>
          <p:cxnSp>
            <p:nvCxnSpPr>
              <p:cNvPr id="5952" name="Straight Connector 5951"/>
              <p:cNvCxnSpPr>
                <a:cxnSpLocks/>
                <a:stCxn id="5936" idx="0"/>
              </p:cNvCxnSpPr>
              <p:nvPr/>
            </p:nvCxnSpPr>
            <p:spPr>
              <a:xfrm flipV="1">
                <a:off x="1371269" y="1673962"/>
                <a:ext cx="904097" cy="133304"/>
              </a:xfrm>
              <a:prstGeom prst="line">
                <a:avLst/>
              </a:prstGeom>
              <a:noFill/>
              <a:ln w="25400" cap="flat" cmpd="sng" algn="ctr">
                <a:solidFill>
                  <a:schemeClr val="accent4">
                    <a:lumMod val="60000"/>
                    <a:lumOff val="40000"/>
                  </a:schemeClr>
                </a:solidFill>
                <a:prstDash val="solid"/>
              </a:ln>
              <a:effectLst/>
            </p:spPr>
          </p:cxnSp>
          <p:sp>
            <p:nvSpPr>
              <p:cNvPr id="5953" name="TextBox 5952"/>
              <p:cNvSpPr txBox="1"/>
              <p:nvPr/>
            </p:nvSpPr>
            <p:spPr>
              <a:xfrm>
                <a:off x="3017731" y="1981520"/>
                <a:ext cx="870751" cy="230832"/>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10GE/100GE</a:t>
                </a:r>
              </a:p>
            </p:txBody>
          </p:sp>
          <p:sp>
            <p:nvSpPr>
              <p:cNvPr id="5954" name="Oval 5953"/>
              <p:cNvSpPr/>
              <p:nvPr/>
            </p:nvSpPr>
            <p:spPr>
              <a:xfrm rot="19996914" flipV="1">
                <a:off x="2608650" y="3266916"/>
                <a:ext cx="1649338" cy="522906"/>
              </a:xfrm>
              <a:prstGeom prst="ellipse">
                <a:avLst/>
              </a:prstGeom>
              <a:noFill/>
              <a:ln w="25400" cap="flat" cmpd="sng" algn="ctr">
                <a:gradFill>
                  <a:gsLst>
                    <a:gs pos="0">
                      <a:srgbClr val="C00000"/>
                    </a:gs>
                    <a:gs pos="20000">
                      <a:srgbClr val="FFC000"/>
                    </a:gs>
                    <a:gs pos="10000">
                      <a:srgbClr val="FF0000"/>
                    </a:gs>
                    <a:gs pos="31000">
                      <a:srgbClr val="FFFF00"/>
                    </a:gs>
                    <a:gs pos="99115">
                      <a:srgbClr val="7030A0"/>
                    </a:gs>
                    <a:gs pos="89000">
                      <a:srgbClr val="002060"/>
                    </a:gs>
                    <a:gs pos="78000">
                      <a:srgbClr val="0070C0"/>
                    </a:gs>
                    <a:gs pos="68000">
                      <a:srgbClr val="00B0F0"/>
                    </a:gs>
                    <a:gs pos="56000">
                      <a:srgbClr val="00B050"/>
                    </a:gs>
                    <a:gs pos="45000">
                      <a:srgbClr val="92D050"/>
                    </a:gs>
                  </a:gsLst>
                  <a:lin ang="5400000" scaled="1"/>
                </a:gradFill>
                <a:prstDash val="solid"/>
              </a:ln>
              <a:effectLst/>
            </p:spPr>
            <p:txBody>
              <a:bodyPr rtlCol="0" anchor="ctr"/>
              <a:lstStyle/>
              <a:p>
                <a:pPr algn="ctr" defTabSz="914378"/>
                <a:endParaRPr lang="en-US" kern="0">
                  <a:solidFill>
                    <a:srgbClr val="005073"/>
                  </a:solidFill>
                  <a:latin typeface="CiscoSansTT ExtraLight"/>
                </a:endParaRPr>
              </a:p>
            </p:txBody>
          </p:sp>
          <p:cxnSp>
            <p:nvCxnSpPr>
              <p:cNvPr id="5976" name="Straight Connector 5975"/>
              <p:cNvCxnSpPr>
                <a:cxnSpLocks/>
                <a:stCxn id="5969" idx="3"/>
              </p:cNvCxnSpPr>
              <p:nvPr/>
            </p:nvCxnSpPr>
            <p:spPr>
              <a:xfrm flipV="1">
                <a:off x="1488922" y="4041281"/>
                <a:ext cx="980741" cy="533805"/>
              </a:xfrm>
              <a:prstGeom prst="line">
                <a:avLst/>
              </a:prstGeom>
              <a:noFill/>
              <a:ln w="22225" cap="rnd" cmpd="sng" algn="ctr">
                <a:solidFill>
                  <a:srgbClr val="005073"/>
                </a:solidFill>
                <a:prstDash val="solid"/>
              </a:ln>
              <a:effectLst/>
            </p:spPr>
          </p:cxnSp>
          <p:sp>
            <p:nvSpPr>
              <p:cNvPr id="6003" name="TextBox 6002"/>
              <p:cNvSpPr txBox="1"/>
              <p:nvPr/>
            </p:nvSpPr>
            <p:spPr>
              <a:xfrm>
                <a:off x="3043618" y="3416765"/>
                <a:ext cx="870751" cy="230832"/>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10GE/100GE</a:t>
                </a:r>
              </a:p>
            </p:txBody>
          </p:sp>
          <p:sp>
            <p:nvSpPr>
              <p:cNvPr id="128" name="TextBox 127"/>
              <p:cNvSpPr txBox="1"/>
              <p:nvPr/>
            </p:nvSpPr>
            <p:spPr>
              <a:xfrm>
                <a:off x="3962617" y="3804649"/>
                <a:ext cx="2320290" cy="954130"/>
              </a:xfrm>
              <a:prstGeom prst="rect">
                <a:avLst/>
              </a:prstGeom>
              <a:noFill/>
            </p:spPr>
            <p:txBody>
              <a:bodyPr wrap="square" lIns="91460" tIns="45731" rIns="91460" bIns="45731" rtlCol="0">
                <a:spAutoFit/>
              </a:bodyPr>
              <a:lstStyle/>
              <a:p>
                <a:pPr defTabSz="457189"/>
                <a:r>
                  <a:rPr lang="en-US" sz="1400">
                    <a:solidFill>
                      <a:srgbClr val="005073"/>
                    </a:solidFill>
                    <a:latin typeface="CiscoSansTT ExtraLight"/>
                  </a:rPr>
                  <a:t>Key Requirements:</a:t>
                </a:r>
              </a:p>
              <a:p>
                <a:pPr marL="285743" indent="-285743" defTabSz="457189">
                  <a:buFont typeface="Arial" charset="0"/>
                  <a:buChar char="•"/>
                </a:pPr>
                <a:r>
                  <a:rPr lang="en-US" sz="1400">
                    <a:solidFill>
                      <a:srgbClr val="005073"/>
                    </a:solidFill>
                    <a:latin typeface="CiscoSansTT ExtraLight"/>
                  </a:rPr>
                  <a:t>Cost</a:t>
                </a:r>
              </a:p>
              <a:p>
                <a:pPr marL="285743" indent="-285743" defTabSz="457189">
                  <a:buFont typeface="Arial" charset="0"/>
                  <a:buChar char="•"/>
                </a:pPr>
                <a:r>
                  <a:rPr lang="en-US" sz="1400">
                    <a:solidFill>
                      <a:srgbClr val="005073"/>
                    </a:solidFill>
                    <a:latin typeface="CiscoSansTT ExtraLight"/>
                  </a:rPr>
                  <a:t>Power</a:t>
                </a:r>
              </a:p>
              <a:p>
                <a:pPr marL="285743" indent="-285743" defTabSz="457189">
                  <a:buFont typeface="Arial" charset="0"/>
                  <a:buChar char="•"/>
                </a:pPr>
                <a:r>
                  <a:rPr lang="en-US" sz="1400">
                    <a:solidFill>
                      <a:srgbClr val="005073"/>
                    </a:solidFill>
                    <a:latin typeface="CiscoSansTT ExtraLight"/>
                  </a:rPr>
                  <a:t>Form Factor</a:t>
                </a:r>
              </a:p>
            </p:txBody>
          </p:sp>
          <p:grpSp>
            <p:nvGrpSpPr>
              <p:cNvPr id="5967" name="Group 5966"/>
              <p:cNvGrpSpPr/>
              <p:nvPr/>
            </p:nvGrpSpPr>
            <p:grpSpPr>
              <a:xfrm>
                <a:off x="1008698" y="4377927"/>
                <a:ext cx="504951" cy="265029"/>
                <a:chOff x="2547982" y="-1562248"/>
                <a:chExt cx="1437864" cy="628781"/>
              </a:xfrm>
            </p:grpSpPr>
            <p:sp>
              <p:nvSpPr>
                <p:cNvPr id="5968" name="Freeform 60"/>
                <p:cNvSpPr>
                  <a:spLocks noEditPoints="1"/>
                </p:cNvSpPr>
                <p:nvPr/>
              </p:nvSpPr>
              <p:spPr bwMode="auto">
                <a:xfrm>
                  <a:off x="2975901" y="-1562248"/>
                  <a:ext cx="620713" cy="619125"/>
                </a:xfrm>
                <a:custGeom>
                  <a:avLst/>
                  <a:gdLst>
                    <a:gd name="T0" fmla="*/ 520 w 640"/>
                    <a:gd name="T1" fmla="*/ 176 h 639"/>
                    <a:gd name="T2" fmla="*/ 600 w 640"/>
                    <a:gd name="T3" fmla="*/ 230 h 639"/>
                    <a:gd name="T4" fmla="*/ 520 w 640"/>
                    <a:gd name="T5" fmla="*/ 176 h 639"/>
                    <a:gd name="T6" fmla="*/ 520 w 640"/>
                    <a:gd name="T7" fmla="*/ 286 h 639"/>
                    <a:gd name="T8" fmla="*/ 600 w 640"/>
                    <a:gd name="T9" fmla="*/ 339 h 639"/>
                    <a:gd name="T10" fmla="*/ 520 w 640"/>
                    <a:gd name="T11" fmla="*/ 286 h 639"/>
                    <a:gd name="T12" fmla="*/ 520 w 640"/>
                    <a:gd name="T13" fmla="*/ 396 h 639"/>
                    <a:gd name="T14" fmla="*/ 600 w 640"/>
                    <a:gd name="T15" fmla="*/ 449 h 639"/>
                    <a:gd name="T16" fmla="*/ 520 w 640"/>
                    <a:gd name="T17" fmla="*/ 396 h 639"/>
                    <a:gd name="T18" fmla="*/ 520 w 640"/>
                    <a:gd name="T19" fmla="*/ 506 h 639"/>
                    <a:gd name="T20" fmla="*/ 600 w 640"/>
                    <a:gd name="T21" fmla="*/ 560 h 639"/>
                    <a:gd name="T22" fmla="*/ 520 w 640"/>
                    <a:gd name="T23" fmla="*/ 506 h 639"/>
                    <a:gd name="T24" fmla="*/ 360 w 640"/>
                    <a:gd name="T25" fmla="*/ 396 h 639"/>
                    <a:gd name="T26" fmla="*/ 440 w 640"/>
                    <a:gd name="T27" fmla="*/ 449 h 639"/>
                    <a:gd name="T28" fmla="*/ 360 w 640"/>
                    <a:gd name="T29" fmla="*/ 396 h 639"/>
                    <a:gd name="T30" fmla="*/ 360 w 640"/>
                    <a:gd name="T31" fmla="*/ 506 h 639"/>
                    <a:gd name="T32" fmla="*/ 440 w 640"/>
                    <a:gd name="T33" fmla="*/ 560 h 639"/>
                    <a:gd name="T34" fmla="*/ 360 w 640"/>
                    <a:gd name="T35" fmla="*/ 506 h 639"/>
                    <a:gd name="T36" fmla="*/ 260 w 640"/>
                    <a:gd name="T37" fmla="*/ 120 h 639"/>
                    <a:gd name="T38" fmla="*/ 193 w 640"/>
                    <a:gd name="T39" fmla="*/ 93 h 639"/>
                    <a:gd name="T40" fmla="*/ 260 w 640"/>
                    <a:gd name="T41" fmla="*/ 66 h 639"/>
                    <a:gd name="T42" fmla="*/ 260 w 640"/>
                    <a:gd name="T43" fmla="*/ 120 h 639"/>
                    <a:gd name="T44" fmla="*/ 260 w 640"/>
                    <a:gd name="T45" fmla="*/ 229 h 639"/>
                    <a:gd name="T46" fmla="*/ 220 w 640"/>
                    <a:gd name="T47" fmla="*/ 229 h 639"/>
                    <a:gd name="T48" fmla="*/ 220 w 640"/>
                    <a:gd name="T49" fmla="*/ 176 h 639"/>
                    <a:gd name="T50" fmla="*/ 287 w 640"/>
                    <a:gd name="T51" fmla="*/ 203 h 639"/>
                    <a:gd name="T52" fmla="*/ 260 w 640"/>
                    <a:gd name="T53" fmla="*/ 229 h 639"/>
                    <a:gd name="T54" fmla="*/ 260 w 640"/>
                    <a:gd name="T55" fmla="*/ 339 h 639"/>
                    <a:gd name="T56" fmla="*/ 193 w 640"/>
                    <a:gd name="T57" fmla="*/ 313 h 639"/>
                    <a:gd name="T58" fmla="*/ 260 w 640"/>
                    <a:gd name="T59" fmla="*/ 286 h 639"/>
                    <a:gd name="T60" fmla="*/ 260 w 640"/>
                    <a:gd name="T61" fmla="*/ 339 h 639"/>
                    <a:gd name="T62" fmla="*/ 260 w 640"/>
                    <a:gd name="T63" fmla="*/ 450 h 639"/>
                    <a:gd name="T64" fmla="*/ 220 w 640"/>
                    <a:gd name="T65" fmla="*/ 450 h 639"/>
                    <a:gd name="T66" fmla="*/ 220 w 640"/>
                    <a:gd name="T67" fmla="*/ 396 h 639"/>
                    <a:gd name="T68" fmla="*/ 287 w 640"/>
                    <a:gd name="T69" fmla="*/ 423 h 639"/>
                    <a:gd name="T70" fmla="*/ 260 w 640"/>
                    <a:gd name="T71" fmla="*/ 450 h 639"/>
                    <a:gd name="T72" fmla="*/ 260 w 640"/>
                    <a:gd name="T73" fmla="*/ 560 h 639"/>
                    <a:gd name="T74" fmla="*/ 193 w 640"/>
                    <a:gd name="T75" fmla="*/ 533 h 639"/>
                    <a:gd name="T76" fmla="*/ 260 w 640"/>
                    <a:gd name="T77" fmla="*/ 506 h 639"/>
                    <a:gd name="T78" fmla="*/ 260 w 640"/>
                    <a:gd name="T79" fmla="*/ 560 h 639"/>
                    <a:gd name="T80" fmla="*/ 40 w 640"/>
                    <a:gd name="T81" fmla="*/ 286 h 639"/>
                    <a:gd name="T82" fmla="*/ 120 w 640"/>
                    <a:gd name="T83" fmla="*/ 286 h 639"/>
                    <a:gd name="T84" fmla="*/ 40 w 640"/>
                    <a:gd name="T85" fmla="*/ 339 h 639"/>
                    <a:gd name="T86" fmla="*/ 40 w 640"/>
                    <a:gd name="T87" fmla="*/ 396 h 639"/>
                    <a:gd name="T88" fmla="*/ 120 w 640"/>
                    <a:gd name="T89" fmla="*/ 396 h 639"/>
                    <a:gd name="T90" fmla="*/ 40 w 640"/>
                    <a:gd name="T91" fmla="*/ 449 h 639"/>
                    <a:gd name="T92" fmla="*/ 40 w 640"/>
                    <a:gd name="T93" fmla="*/ 506 h 639"/>
                    <a:gd name="T94" fmla="*/ 120 w 640"/>
                    <a:gd name="T95" fmla="*/ 506 h 639"/>
                    <a:gd name="T96" fmla="*/ 40 w 640"/>
                    <a:gd name="T97" fmla="*/ 560 h 639"/>
                    <a:gd name="T98" fmla="*/ 560 w 640"/>
                    <a:gd name="T99" fmla="*/ 66 h 639"/>
                    <a:gd name="T100" fmla="*/ 480 w 640"/>
                    <a:gd name="T101" fmla="*/ 146 h 639"/>
                    <a:gd name="T102" fmla="*/ 320 w 640"/>
                    <a:gd name="T103" fmla="*/ 306 h 639"/>
                    <a:gd name="T104" fmla="*/ 160 w 640"/>
                    <a:gd name="T105" fmla="*/ 0 h 639"/>
                    <a:gd name="T106" fmla="*/ 0 w 640"/>
                    <a:gd name="T107" fmla="*/ 159 h 639"/>
                    <a:gd name="T108" fmla="*/ 640 w 640"/>
                    <a:gd name="T109" fmla="*/ 639 h 639"/>
                    <a:gd name="T110" fmla="*/ 560 w 640"/>
                    <a:gd name="T111" fmla="*/ 66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0" h="639">
                      <a:moveTo>
                        <a:pt x="520" y="176"/>
                      </a:moveTo>
                      <a:lnTo>
                        <a:pt x="520" y="176"/>
                      </a:lnTo>
                      <a:lnTo>
                        <a:pt x="600" y="176"/>
                      </a:lnTo>
                      <a:lnTo>
                        <a:pt x="600" y="230"/>
                      </a:lnTo>
                      <a:lnTo>
                        <a:pt x="520" y="230"/>
                      </a:lnTo>
                      <a:lnTo>
                        <a:pt x="520" y="176"/>
                      </a:lnTo>
                      <a:close/>
                      <a:moveTo>
                        <a:pt x="520" y="286"/>
                      </a:moveTo>
                      <a:lnTo>
                        <a:pt x="520" y="286"/>
                      </a:lnTo>
                      <a:lnTo>
                        <a:pt x="600" y="286"/>
                      </a:lnTo>
                      <a:lnTo>
                        <a:pt x="600" y="339"/>
                      </a:lnTo>
                      <a:lnTo>
                        <a:pt x="520" y="339"/>
                      </a:lnTo>
                      <a:lnTo>
                        <a:pt x="520" y="286"/>
                      </a:lnTo>
                      <a:close/>
                      <a:moveTo>
                        <a:pt x="520" y="396"/>
                      </a:moveTo>
                      <a:lnTo>
                        <a:pt x="520" y="396"/>
                      </a:lnTo>
                      <a:lnTo>
                        <a:pt x="600" y="396"/>
                      </a:lnTo>
                      <a:lnTo>
                        <a:pt x="600" y="449"/>
                      </a:lnTo>
                      <a:lnTo>
                        <a:pt x="520" y="449"/>
                      </a:lnTo>
                      <a:lnTo>
                        <a:pt x="520" y="396"/>
                      </a:lnTo>
                      <a:close/>
                      <a:moveTo>
                        <a:pt x="520" y="506"/>
                      </a:moveTo>
                      <a:lnTo>
                        <a:pt x="520" y="506"/>
                      </a:lnTo>
                      <a:lnTo>
                        <a:pt x="600" y="506"/>
                      </a:lnTo>
                      <a:lnTo>
                        <a:pt x="600" y="560"/>
                      </a:lnTo>
                      <a:lnTo>
                        <a:pt x="520" y="560"/>
                      </a:lnTo>
                      <a:lnTo>
                        <a:pt x="520" y="506"/>
                      </a:lnTo>
                      <a:close/>
                      <a:moveTo>
                        <a:pt x="360" y="396"/>
                      </a:moveTo>
                      <a:lnTo>
                        <a:pt x="360" y="396"/>
                      </a:lnTo>
                      <a:lnTo>
                        <a:pt x="440" y="396"/>
                      </a:lnTo>
                      <a:lnTo>
                        <a:pt x="440" y="449"/>
                      </a:lnTo>
                      <a:lnTo>
                        <a:pt x="360" y="449"/>
                      </a:lnTo>
                      <a:lnTo>
                        <a:pt x="360" y="396"/>
                      </a:lnTo>
                      <a:close/>
                      <a:moveTo>
                        <a:pt x="360" y="506"/>
                      </a:moveTo>
                      <a:lnTo>
                        <a:pt x="360" y="506"/>
                      </a:lnTo>
                      <a:lnTo>
                        <a:pt x="440" y="506"/>
                      </a:lnTo>
                      <a:lnTo>
                        <a:pt x="440" y="560"/>
                      </a:lnTo>
                      <a:lnTo>
                        <a:pt x="360" y="560"/>
                      </a:lnTo>
                      <a:lnTo>
                        <a:pt x="360" y="506"/>
                      </a:lnTo>
                      <a:close/>
                      <a:moveTo>
                        <a:pt x="260" y="120"/>
                      </a:moveTo>
                      <a:lnTo>
                        <a:pt x="260" y="120"/>
                      </a:lnTo>
                      <a:lnTo>
                        <a:pt x="220" y="120"/>
                      </a:lnTo>
                      <a:cubicBezTo>
                        <a:pt x="205" y="120"/>
                        <a:pt x="193" y="108"/>
                        <a:pt x="193" y="93"/>
                      </a:cubicBezTo>
                      <a:cubicBezTo>
                        <a:pt x="193" y="78"/>
                        <a:pt x="205" y="66"/>
                        <a:pt x="220" y="66"/>
                      </a:cubicBezTo>
                      <a:lnTo>
                        <a:pt x="260" y="66"/>
                      </a:lnTo>
                      <a:cubicBezTo>
                        <a:pt x="275" y="66"/>
                        <a:pt x="287" y="78"/>
                        <a:pt x="287" y="93"/>
                      </a:cubicBezTo>
                      <a:cubicBezTo>
                        <a:pt x="287" y="108"/>
                        <a:pt x="275" y="120"/>
                        <a:pt x="260" y="120"/>
                      </a:cubicBezTo>
                      <a:lnTo>
                        <a:pt x="260" y="120"/>
                      </a:lnTo>
                      <a:close/>
                      <a:moveTo>
                        <a:pt x="260" y="229"/>
                      </a:moveTo>
                      <a:lnTo>
                        <a:pt x="260" y="229"/>
                      </a:lnTo>
                      <a:lnTo>
                        <a:pt x="220" y="229"/>
                      </a:lnTo>
                      <a:cubicBezTo>
                        <a:pt x="205" y="229"/>
                        <a:pt x="193" y="218"/>
                        <a:pt x="193" y="203"/>
                      </a:cubicBezTo>
                      <a:cubicBezTo>
                        <a:pt x="193" y="188"/>
                        <a:pt x="205" y="176"/>
                        <a:pt x="220" y="176"/>
                      </a:cubicBezTo>
                      <a:lnTo>
                        <a:pt x="260" y="176"/>
                      </a:lnTo>
                      <a:cubicBezTo>
                        <a:pt x="275" y="176"/>
                        <a:pt x="287" y="188"/>
                        <a:pt x="287" y="203"/>
                      </a:cubicBezTo>
                      <a:cubicBezTo>
                        <a:pt x="287" y="218"/>
                        <a:pt x="275" y="229"/>
                        <a:pt x="260" y="229"/>
                      </a:cubicBezTo>
                      <a:lnTo>
                        <a:pt x="260" y="229"/>
                      </a:lnTo>
                      <a:close/>
                      <a:moveTo>
                        <a:pt x="260" y="339"/>
                      </a:moveTo>
                      <a:lnTo>
                        <a:pt x="260" y="339"/>
                      </a:lnTo>
                      <a:lnTo>
                        <a:pt x="220" y="339"/>
                      </a:lnTo>
                      <a:cubicBezTo>
                        <a:pt x="205" y="339"/>
                        <a:pt x="193" y="328"/>
                        <a:pt x="193" y="313"/>
                      </a:cubicBezTo>
                      <a:cubicBezTo>
                        <a:pt x="193" y="298"/>
                        <a:pt x="205" y="286"/>
                        <a:pt x="220" y="286"/>
                      </a:cubicBezTo>
                      <a:lnTo>
                        <a:pt x="260" y="286"/>
                      </a:lnTo>
                      <a:cubicBezTo>
                        <a:pt x="275" y="286"/>
                        <a:pt x="287" y="298"/>
                        <a:pt x="287" y="313"/>
                      </a:cubicBezTo>
                      <a:cubicBezTo>
                        <a:pt x="287" y="328"/>
                        <a:pt x="275" y="339"/>
                        <a:pt x="260" y="339"/>
                      </a:cubicBezTo>
                      <a:lnTo>
                        <a:pt x="260" y="339"/>
                      </a:lnTo>
                      <a:close/>
                      <a:moveTo>
                        <a:pt x="260" y="450"/>
                      </a:moveTo>
                      <a:lnTo>
                        <a:pt x="260" y="450"/>
                      </a:lnTo>
                      <a:lnTo>
                        <a:pt x="220" y="450"/>
                      </a:lnTo>
                      <a:cubicBezTo>
                        <a:pt x="205" y="450"/>
                        <a:pt x="193" y="438"/>
                        <a:pt x="193" y="423"/>
                      </a:cubicBezTo>
                      <a:cubicBezTo>
                        <a:pt x="193" y="408"/>
                        <a:pt x="205" y="396"/>
                        <a:pt x="220" y="396"/>
                      </a:cubicBezTo>
                      <a:lnTo>
                        <a:pt x="260" y="396"/>
                      </a:lnTo>
                      <a:cubicBezTo>
                        <a:pt x="275" y="396"/>
                        <a:pt x="287" y="408"/>
                        <a:pt x="287" y="423"/>
                      </a:cubicBezTo>
                      <a:cubicBezTo>
                        <a:pt x="287" y="438"/>
                        <a:pt x="275" y="450"/>
                        <a:pt x="260" y="450"/>
                      </a:cubicBezTo>
                      <a:lnTo>
                        <a:pt x="260" y="450"/>
                      </a:lnTo>
                      <a:close/>
                      <a:moveTo>
                        <a:pt x="260" y="560"/>
                      </a:moveTo>
                      <a:lnTo>
                        <a:pt x="260" y="560"/>
                      </a:lnTo>
                      <a:lnTo>
                        <a:pt x="220" y="560"/>
                      </a:lnTo>
                      <a:cubicBezTo>
                        <a:pt x="205" y="560"/>
                        <a:pt x="193" y="548"/>
                        <a:pt x="193" y="533"/>
                      </a:cubicBezTo>
                      <a:cubicBezTo>
                        <a:pt x="193" y="518"/>
                        <a:pt x="205" y="506"/>
                        <a:pt x="220" y="506"/>
                      </a:cubicBezTo>
                      <a:lnTo>
                        <a:pt x="260" y="506"/>
                      </a:lnTo>
                      <a:cubicBezTo>
                        <a:pt x="275" y="506"/>
                        <a:pt x="287" y="518"/>
                        <a:pt x="287" y="533"/>
                      </a:cubicBezTo>
                      <a:cubicBezTo>
                        <a:pt x="287" y="548"/>
                        <a:pt x="275" y="560"/>
                        <a:pt x="260" y="560"/>
                      </a:cubicBezTo>
                      <a:lnTo>
                        <a:pt x="260" y="560"/>
                      </a:lnTo>
                      <a:close/>
                      <a:moveTo>
                        <a:pt x="40" y="286"/>
                      </a:moveTo>
                      <a:lnTo>
                        <a:pt x="40" y="286"/>
                      </a:lnTo>
                      <a:lnTo>
                        <a:pt x="120" y="286"/>
                      </a:lnTo>
                      <a:lnTo>
                        <a:pt x="120" y="339"/>
                      </a:lnTo>
                      <a:lnTo>
                        <a:pt x="40" y="339"/>
                      </a:lnTo>
                      <a:lnTo>
                        <a:pt x="40" y="286"/>
                      </a:lnTo>
                      <a:close/>
                      <a:moveTo>
                        <a:pt x="40" y="396"/>
                      </a:moveTo>
                      <a:lnTo>
                        <a:pt x="40" y="396"/>
                      </a:lnTo>
                      <a:lnTo>
                        <a:pt x="120" y="396"/>
                      </a:lnTo>
                      <a:lnTo>
                        <a:pt x="120" y="449"/>
                      </a:lnTo>
                      <a:lnTo>
                        <a:pt x="40" y="449"/>
                      </a:lnTo>
                      <a:lnTo>
                        <a:pt x="40" y="396"/>
                      </a:lnTo>
                      <a:close/>
                      <a:moveTo>
                        <a:pt x="40" y="506"/>
                      </a:moveTo>
                      <a:lnTo>
                        <a:pt x="40" y="506"/>
                      </a:lnTo>
                      <a:lnTo>
                        <a:pt x="120" y="506"/>
                      </a:lnTo>
                      <a:lnTo>
                        <a:pt x="120" y="560"/>
                      </a:lnTo>
                      <a:lnTo>
                        <a:pt x="40" y="560"/>
                      </a:lnTo>
                      <a:lnTo>
                        <a:pt x="40" y="506"/>
                      </a:lnTo>
                      <a:close/>
                      <a:moveTo>
                        <a:pt x="560" y="66"/>
                      </a:moveTo>
                      <a:lnTo>
                        <a:pt x="560" y="66"/>
                      </a:lnTo>
                      <a:cubicBezTo>
                        <a:pt x="516" y="66"/>
                        <a:pt x="480" y="102"/>
                        <a:pt x="480" y="146"/>
                      </a:cubicBezTo>
                      <a:lnTo>
                        <a:pt x="480" y="306"/>
                      </a:lnTo>
                      <a:lnTo>
                        <a:pt x="320" y="306"/>
                      </a:lnTo>
                      <a:lnTo>
                        <a:pt x="320" y="0"/>
                      </a:lnTo>
                      <a:lnTo>
                        <a:pt x="160" y="0"/>
                      </a:lnTo>
                      <a:lnTo>
                        <a:pt x="160" y="159"/>
                      </a:lnTo>
                      <a:lnTo>
                        <a:pt x="0" y="159"/>
                      </a:lnTo>
                      <a:lnTo>
                        <a:pt x="0" y="639"/>
                      </a:lnTo>
                      <a:lnTo>
                        <a:pt x="640" y="639"/>
                      </a:lnTo>
                      <a:lnTo>
                        <a:pt x="640" y="146"/>
                      </a:lnTo>
                      <a:cubicBezTo>
                        <a:pt x="640" y="102"/>
                        <a:pt x="604" y="66"/>
                        <a:pt x="560" y="66"/>
                      </a:cubicBezTo>
                      <a:close/>
                    </a:path>
                  </a:pathLst>
                </a:custGeom>
                <a:noFill/>
                <a:ln w="0">
                  <a:solidFill>
                    <a:schemeClr val="accent1"/>
                  </a:solidFill>
                  <a:prstDash val="solid"/>
                  <a:round/>
                  <a:headEnd/>
                  <a:tailEnd/>
                </a:ln>
              </p:spPr>
              <p:txBody>
                <a:bodyPr vert="horz" wrap="square" lIns="91436" tIns="45718" rIns="91436" bIns="45718" numCol="1" anchor="t" anchorCtr="0" compatLnSpc="1">
                  <a:prstTxWarp prst="textNoShape">
                    <a:avLst/>
                  </a:prstTxWarp>
                </a:bodyPr>
                <a:lstStyle/>
                <a:p>
                  <a:pPr defTabSz="457189"/>
                  <a:endParaRPr lang="en-US">
                    <a:solidFill>
                      <a:srgbClr val="58595B"/>
                    </a:solidFill>
                    <a:ea typeface="ＭＳ Ｐゴシック" pitchFamily="34" charset="-128"/>
                  </a:endParaRPr>
                </a:p>
              </p:txBody>
            </p:sp>
            <p:sp>
              <p:nvSpPr>
                <p:cNvPr id="5969" name="Freeform 25"/>
                <p:cNvSpPr>
                  <a:spLocks noEditPoints="1"/>
                </p:cNvSpPr>
                <p:nvPr/>
              </p:nvSpPr>
              <p:spPr bwMode="auto">
                <a:xfrm>
                  <a:off x="3596614" y="-1334536"/>
                  <a:ext cx="389232" cy="391413"/>
                </a:xfrm>
                <a:custGeom>
                  <a:avLst/>
                  <a:gdLst>
                    <a:gd name="T0" fmla="*/ 472 w 586"/>
                    <a:gd name="T1" fmla="*/ 379 h 587"/>
                    <a:gd name="T2" fmla="*/ 434 w 586"/>
                    <a:gd name="T3" fmla="*/ 379 h 587"/>
                    <a:gd name="T4" fmla="*/ 434 w 586"/>
                    <a:gd name="T5" fmla="*/ 341 h 587"/>
                    <a:gd name="T6" fmla="*/ 480 w 586"/>
                    <a:gd name="T7" fmla="*/ 360 h 587"/>
                    <a:gd name="T8" fmla="*/ 472 w 586"/>
                    <a:gd name="T9" fmla="*/ 379 h 587"/>
                    <a:gd name="T10" fmla="*/ 472 w 586"/>
                    <a:gd name="T11" fmla="*/ 499 h 587"/>
                    <a:gd name="T12" fmla="*/ 434 w 586"/>
                    <a:gd name="T13" fmla="*/ 499 h 587"/>
                    <a:gd name="T14" fmla="*/ 434 w 586"/>
                    <a:gd name="T15" fmla="*/ 461 h 587"/>
                    <a:gd name="T16" fmla="*/ 480 w 586"/>
                    <a:gd name="T17" fmla="*/ 480 h 587"/>
                    <a:gd name="T18" fmla="*/ 472 w 586"/>
                    <a:gd name="T19" fmla="*/ 499 h 587"/>
                    <a:gd name="T20" fmla="*/ 365 w 586"/>
                    <a:gd name="T21" fmla="*/ 379 h 587"/>
                    <a:gd name="T22" fmla="*/ 327 w 586"/>
                    <a:gd name="T23" fmla="*/ 379 h 587"/>
                    <a:gd name="T24" fmla="*/ 327 w 586"/>
                    <a:gd name="T25" fmla="*/ 341 h 587"/>
                    <a:gd name="T26" fmla="*/ 373 w 586"/>
                    <a:gd name="T27" fmla="*/ 360 h 587"/>
                    <a:gd name="T28" fmla="*/ 365 w 586"/>
                    <a:gd name="T29" fmla="*/ 379 h 587"/>
                    <a:gd name="T30" fmla="*/ 365 w 586"/>
                    <a:gd name="T31" fmla="*/ 499 h 587"/>
                    <a:gd name="T32" fmla="*/ 327 w 586"/>
                    <a:gd name="T33" fmla="*/ 499 h 587"/>
                    <a:gd name="T34" fmla="*/ 327 w 586"/>
                    <a:gd name="T35" fmla="*/ 461 h 587"/>
                    <a:gd name="T36" fmla="*/ 373 w 586"/>
                    <a:gd name="T37" fmla="*/ 480 h 587"/>
                    <a:gd name="T38" fmla="*/ 365 w 586"/>
                    <a:gd name="T39" fmla="*/ 499 h 587"/>
                    <a:gd name="T40" fmla="*/ 293 w 586"/>
                    <a:gd name="T41" fmla="*/ 280 h 587"/>
                    <a:gd name="T42" fmla="*/ 266 w 586"/>
                    <a:gd name="T43" fmla="*/ 187 h 587"/>
                    <a:gd name="T44" fmla="*/ 177 w 586"/>
                    <a:gd name="T45" fmla="*/ 174 h 587"/>
                    <a:gd name="T46" fmla="*/ 200 w 586"/>
                    <a:gd name="T47" fmla="*/ 133 h 587"/>
                    <a:gd name="T48" fmla="*/ 266 w 586"/>
                    <a:gd name="T49" fmla="*/ 67 h 587"/>
                    <a:gd name="T50" fmla="*/ 320 w 586"/>
                    <a:gd name="T51" fmla="*/ 67 h 587"/>
                    <a:gd name="T52" fmla="*/ 386 w 586"/>
                    <a:gd name="T53" fmla="*/ 133 h 587"/>
                    <a:gd name="T54" fmla="*/ 409 w 586"/>
                    <a:gd name="T55" fmla="*/ 174 h 587"/>
                    <a:gd name="T56" fmla="*/ 320 w 586"/>
                    <a:gd name="T57" fmla="*/ 187 h 587"/>
                    <a:gd name="T58" fmla="*/ 293 w 586"/>
                    <a:gd name="T59" fmla="*/ 280 h 587"/>
                    <a:gd name="T60" fmla="*/ 258 w 586"/>
                    <a:gd name="T61" fmla="*/ 379 h 587"/>
                    <a:gd name="T62" fmla="*/ 240 w 586"/>
                    <a:gd name="T63" fmla="*/ 387 h 587"/>
                    <a:gd name="T64" fmla="*/ 213 w 586"/>
                    <a:gd name="T65" fmla="*/ 360 h 587"/>
                    <a:gd name="T66" fmla="*/ 258 w 586"/>
                    <a:gd name="T67" fmla="*/ 341 h 587"/>
                    <a:gd name="T68" fmla="*/ 258 w 586"/>
                    <a:gd name="T69" fmla="*/ 379 h 587"/>
                    <a:gd name="T70" fmla="*/ 258 w 586"/>
                    <a:gd name="T71" fmla="*/ 499 h 587"/>
                    <a:gd name="T72" fmla="*/ 240 w 586"/>
                    <a:gd name="T73" fmla="*/ 507 h 587"/>
                    <a:gd name="T74" fmla="*/ 213 w 586"/>
                    <a:gd name="T75" fmla="*/ 480 h 587"/>
                    <a:gd name="T76" fmla="*/ 258 w 586"/>
                    <a:gd name="T77" fmla="*/ 461 h 587"/>
                    <a:gd name="T78" fmla="*/ 258 w 586"/>
                    <a:gd name="T79" fmla="*/ 499 h 587"/>
                    <a:gd name="T80" fmla="*/ 152 w 586"/>
                    <a:gd name="T81" fmla="*/ 379 h 587"/>
                    <a:gd name="T82" fmla="*/ 133 w 586"/>
                    <a:gd name="T83" fmla="*/ 387 h 587"/>
                    <a:gd name="T84" fmla="*/ 106 w 586"/>
                    <a:gd name="T85" fmla="*/ 360 h 587"/>
                    <a:gd name="T86" fmla="*/ 152 w 586"/>
                    <a:gd name="T87" fmla="*/ 341 h 587"/>
                    <a:gd name="T88" fmla="*/ 152 w 586"/>
                    <a:gd name="T89" fmla="*/ 379 h 587"/>
                    <a:gd name="T90" fmla="*/ 152 w 586"/>
                    <a:gd name="T91" fmla="*/ 499 h 587"/>
                    <a:gd name="T92" fmla="*/ 133 w 586"/>
                    <a:gd name="T93" fmla="*/ 507 h 587"/>
                    <a:gd name="T94" fmla="*/ 106 w 586"/>
                    <a:gd name="T95" fmla="*/ 480 h 587"/>
                    <a:gd name="T96" fmla="*/ 152 w 586"/>
                    <a:gd name="T97" fmla="*/ 461 h 587"/>
                    <a:gd name="T98" fmla="*/ 152 w 586"/>
                    <a:gd name="T99" fmla="*/ 499 h 587"/>
                    <a:gd name="T100" fmla="*/ 560 w 586"/>
                    <a:gd name="T101" fmla="*/ 174 h 587"/>
                    <a:gd name="T102" fmla="*/ 480 w 586"/>
                    <a:gd name="T103" fmla="*/ 174 h 587"/>
                    <a:gd name="T104" fmla="*/ 453 w 586"/>
                    <a:gd name="T105" fmla="*/ 0 h 587"/>
                    <a:gd name="T106" fmla="*/ 106 w 586"/>
                    <a:gd name="T107" fmla="*/ 27 h 587"/>
                    <a:gd name="T108" fmla="*/ 26 w 586"/>
                    <a:gd name="T109" fmla="*/ 174 h 587"/>
                    <a:gd name="T110" fmla="*/ 0 w 586"/>
                    <a:gd name="T111" fmla="*/ 560 h 587"/>
                    <a:gd name="T112" fmla="*/ 560 w 586"/>
                    <a:gd name="T113" fmla="*/ 587 h 587"/>
                    <a:gd name="T114" fmla="*/ 586 w 586"/>
                    <a:gd name="T115" fmla="*/ 20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6" h="587">
                      <a:moveTo>
                        <a:pt x="472" y="379"/>
                      </a:moveTo>
                      <a:lnTo>
                        <a:pt x="472" y="379"/>
                      </a:lnTo>
                      <a:cubicBezTo>
                        <a:pt x="467" y="384"/>
                        <a:pt x="460" y="387"/>
                        <a:pt x="453" y="387"/>
                      </a:cubicBezTo>
                      <a:cubicBezTo>
                        <a:pt x="446" y="387"/>
                        <a:pt x="439" y="384"/>
                        <a:pt x="434" y="379"/>
                      </a:cubicBezTo>
                      <a:cubicBezTo>
                        <a:pt x="429" y="374"/>
                        <a:pt x="426" y="367"/>
                        <a:pt x="426" y="360"/>
                      </a:cubicBezTo>
                      <a:cubicBezTo>
                        <a:pt x="426" y="353"/>
                        <a:pt x="429" y="346"/>
                        <a:pt x="434" y="341"/>
                      </a:cubicBezTo>
                      <a:cubicBezTo>
                        <a:pt x="444" y="331"/>
                        <a:pt x="462" y="331"/>
                        <a:pt x="472" y="341"/>
                      </a:cubicBezTo>
                      <a:cubicBezTo>
                        <a:pt x="477" y="346"/>
                        <a:pt x="480" y="353"/>
                        <a:pt x="480" y="360"/>
                      </a:cubicBezTo>
                      <a:cubicBezTo>
                        <a:pt x="480" y="367"/>
                        <a:pt x="477" y="374"/>
                        <a:pt x="472" y="379"/>
                      </a:cubicBezTo>
                      <a:lnTo>
                        <a:pt x="472" y="379"/>
                      </a:lnTo>
                      <a:close/>
                      <a:moveTo>
                        <a:pt x="472" y="499"/>
                      </a:moveTo>
                      <a:lnTo>
                        <a:pt x="472" y="499"/>
                      </a:lnTo>
                      <a:cubicBezTo>
                        <a:pt x="467" y="504"/>
                        <a:pt x="460" y="507"/>
                        <a:pt x="453" y="507"/>
                      </a:cubicBezTo>
                      <a:cubicBezTo>
                        <a:pt x="446" y="507"/>
                        <a:pt x="439" y="504"/>
                        <a:pt x="434" y="499"/>
                      </a:cubicBezTo>
                      <a:cubicBezTo>
                        <a:pt x="429" y="494"/>
                        <a:pt x="426" y="487"/>
                        <a:pt x="426" y="480"/>
                      </a:cubicBezTo>
                      <a:cubicBezTo>
                        <a:pt x="426" y="473"/>
                        <a:pt x="429" y="466"/>
                        <a:pt x="434" y="461"/>
                      </a:cubicBezTo>
                      <a:cubicBezTo>
                        <a:pt x="444" y="451"/>
                        <a:pt x="462" y="451"/>
                        <a:pt x="472" y="461"/>
                      </a:cubicBezTo>
                      <a:cubicBezTo>
                        <a:pt x="477" y="466"/>
                        <a:pt x="480" y="473"/>
                        <a:pt x="480" y="480"/>
                      </a:cubicBezTo>
                      <a:cubicBezTo>
                        <a:pt x="480" y="487"/>
                        <a:pt x="477" y="494"/>
                        <a:pt x="472" y="499"/>
                      </a:cubicBezTo>
                      <a:lnTo>
                        <a:pt x="472" y="499"/>
                      </a:lnTo>
                      <a:close/>
                      <a:moveTo>
                        <a:pt x="365" y="379"/>
                      </a:moveTo>
                      <a:lnTo>
                        <a:pt x="365" y="379"/>
                      </a:lnTo>
                      <a:cubicBezTo>
                        <a:pt x="360" y="384"/>
                        <a:pt x="353" y="387"/>
                        <a:pt x="346" y="387"/>
                      </a:cubicBezTo>
                      <a:cubicBezTo>
                        <a:pt x="339" y="387"/>
                        <a:pt x="332" y="384"/>
                        <a:pt x="327" y="379"/>
                      </a:cubicBezTo>
                      <a:cubicBezTo>
                        <a:pt x="322" y="374"/>
                        <a:pt x="320" y="367"/>
                        <a:pt x="320" y="360"/>
                      </a:cubicBezTo>
                      <a:cubicBezTo>
                        <a:pt x="320" y="353"/>
                        <a:pt x="322" y="346"/>
                        <a:pt x="327" y="341"/>
                      </a:cubicBezTo>
                      <a:cubicBezTo>
                        <a:pt x="337" y="331"/>
                        <a:pt x="355" y="331"/>
                        <a:pt x="365" y="341"/>
                      </a:cubicBezTo>
                      <a:cubicBezTo>
                        <a:pt x="370" y="346"/>
                        <a:pt x="373" y="353"/>
                        <a:pt x="373" y="360"/>
                      </a:cubicBezTo>
                      <a:cubicBezTo>
                        <a:pt x="373" y="367"/>
                        <a:pt x="370" y="374"/>
                        <a:pt x="365" y="379"/>
                      </a:cubicBezTo>
                      <a:lnTo>
                        <a:pt x="365" y="379"/>
                      </a:lnTo>
                      <a:close/>
                      <a:moveTo>
                        <a:pt x="365" y="499"/>
                      </a:moveTo>
                      <a:lnTo>
                        <a:pt x="365" y="499"/>
                      </a:lnTo>
                      <a:cubicBezTo>
                        <a:pt x="360" y="504"/>
                        <a:pt x="353" y="507"/>
                        <a:pt x="346" y="507"/>
                      </a:cubicBezTo>
                      <a:cubicBezTo>
                        <a:pt x="339" y="507"/>
                        <a:pt x="332" y="504"/>
                        <a:pt x="327" y="499"/>
                      </a:cubicBezTo>
                      <a:cubicBezTo>
                        <a:pt x="322" y="494"/>
                        <a:pt x="320" y="487"/>
                        <a:pt x="320" y="480"/>
                      </a:cubicBezTo>
                      <a:cubicBezTo>
                        <a:pt x="320" y="473"/>
                        <a:pt x="322" y="466"/>
                        <a:pt x="327" y="461"/>
                      </a:cubicBezTo>
                      <a:cubicBezTo>
                        <a:pt x="337" y="451"/>
                        <a:pt x="355" y="451"/>
                        <a:pt x="365" y="461"/>
                      </a:cubicBezTo>
                      <a:cubicBezTo>
                        <a:pt x="370" y="466"/>
                        <a:pt x="373" y="473"/>
                        <a:pt x="373" y="480"/>
                      </a:cubicBezTo>
                      <a:cubicBezTo>
                        <a:pt x="373" y="487"/>
                        <a:pt x="370" y="494"/>
                        <a:pt x="365" y="499"/>
                      </a:cubicBezTo>
                      <a:lnTo>
                        <a:pt x="365" y="499"/>
                      </a:lnTo>
                      <a:close/>
                      <a:moveTo>
                        <a:pt x="293" y="280"/>
                      </a:moveTo>
                      <a:lnTo>
                        <a:pt x="293" y="280"/>
                      </a:lnTo>
                      <a:cubicBezTo>
                        <a:pt x="278" y="280"/>
                        <a:pt x="266" y="268"/>
                        <a:pt x="266" y="253"/>
                      </a:cubicBezTo>
                      <a:lnTo>
                        <a:pt x="266" y="187"/>
                      </a:lnTo>
                      <a:lnTo>
                        <a:pt x="200" y="187"/>
                      </a:lnTo>
                      <a:cubicBezTo>
                        <a:pt x="190" y="187"/>
                        <a:pt x="181" y="181"/>
                        <a:pt x="177" y="174"/>
                      </a:cubicBezTo>
                      <a:cubicBezTo>
                        <a:pt x="174" y="170"/>
                        <a:pt x="173" y="165"/>
                        <a:pt x="173" y="160"/>
                      </a:cubicBezTo>
                      <a:cubicBezTo>
                        <a:pt x="173" y="145"/>
                        <a:pt x="185" y="133"/>
                        <a:pt x="200" y="133"/>
                      </a:cubicBezTo>
                      <a:lnTo>
                        <a:pt x="266" y="133"/>
                      </a:lnTo>
                      <a:lnTo>
                        <a:pt x="266" y="67"/>
                      </a:lnTo>
                      <a:cubicBezTo>
                        <a:pt x="266" y="52"/>
                        <a:pt x="278" y="40"/>
                        <a:pt x="293" y="40"/>
                      </a:cubicBezTo>
                      <a:cubicBezTo>
                        <a:pt x="308" y="40"/>
                        <a:pt x="320" y="52"/>
                        <a:pt x="320" y="67"/>
                      </a:cubicBezTo>
                      <a:lnTo>
                        <a:pt x="320" y="133"/>
                      </a:lnTo>
                      <a:lnTo>
                        <a:pt x="386" y="133"/>
                      </a:lnTo>
                      <a:cubicBezTo>
                        <a:pt x="401" y="133"/>
                        <a:pt x="413" y="145"/>
                        <a:pt x="413" y="160"/>
                      </a:cubicBezTo>
                      <a:cubicBezTo>
                        <a:pt x="413" y="165"/>
                        <a:pt x="412" y="170"/>
                        <a:pt x="409" y="174"/>
                      </a:cubicBezTo>
                      <a:cubicBezTo>
                        <a:pt x="405" y="181"/>
                        <a:pt x="396" y="187"/>
                        <a:pt x="386" y="187"/>
                      </a:cubicBezTo>
                      <a:lnTo>
                        <a:pt x="320" y="187"/>
                      </a:lnTo>
                      <a:lnTo>
                        <a:pt x="320" y="253"/>
                      </a:lnTo>
                      <a:cubicBezTo>
                        <a:pt x="320" y="268"/>
                        <a:pt x="308" y="280"/>
                        <a:pt x="293" y="280"/>
                      </a:cubicBezTo>
                      <a:lnTo>
                        <a:pt x="293" y="280"/>
                      </a:lnTo>
                      <a:close/>
                      <a:moveTo>
                        <a:pt x="258" y="379"/>
                      </a:moveTo>
                      <a:lnTo>
                        <a:pt x="258" y="379"/>
                      </a:lnTo>
                      <a:cubicBezTo>
                        <a:pt x="253" y="384"/>
                        <a:pt x="247" y="387"/>
                        <a:pt x="240" y="387"/>
                      </a:cubicBezTo>
                      <a:cubicBezTo>
                        <a:pt x="233" y="387"/>
                        <a:pt x="226" y="384"/>
                        <a:pt x="221" y="379"/>
                      </a:cubicBezTo>
                      <a:cubicBezTo>
                        <a:pt x="216" y="374"/>
                        <a:pt x="213" y="367"/>
                        <a:pt x="213" y="360"/>
                      </a:cubicBezTo>
                      <a:cubicBezTo>
                        <a:pt x="213" y="353"/>
                        <a:pt x="216" y="346"/>
                        <a:pt x="221" y="341"/>
                      </a:cubicBezTo>
                      <a:cubicBezTo>
                        <a:pt x="231" y="331"/>
                        <a:pt x="249" y="331"/>
                        <a:pt x="258" y="341"/>
                      </a:cubicBezTo>
                      <a:cubicBezTo>
                        <a:pt x="263" y="346"/>
                        <a:pt x="266" y="353"/>
                        <a:pt x="266" y="360"/>
                      </a:cubicBezTo>
                      <a:cubicBezTo>
                        <a:pt x="266" y="367"/>
                        <a:pt x="263" y="374"/>
                        <a:pt x="258" y="379"/>
                      </a:cubicBezTo>
                      <a:lnTo>
                        <a:pt x="258" y="379"/>
                      </a:lnTo>
                      <a:close/>
                      <a:moveTo>
                        <a:pt x="258" y="499"/>
                      </a:moveTo>
                      <a:lnTo>
                        <a:pt x="258" y="499"/>
                      </a:lnTo>
                      <a:cubicBezTo>
                        <a:pt x="253" y="504"/>
                        <a:pt x="247" y="507"/>
                        <a:pt x="240" y="507"/>
                      </a:cubicBezTo>
                      <a:cubicBezTo>
                        <a:pt x="233" y="507"/>
                        <a:pt x="226" y="504"/>
                        <a:pt x="221" y="499"/>
                      </a:cubicBezTo>
                      <a:cubicBezTo>
                        <a:pt x="216" y="494"/>
                        <a:pt x="213" y="487"/>
                        <a:pt x="213" y="480"/>
                      </a:cubicBezTo>
                      <a:cubicBezTo>
                        <a:pt x="213" y="473"/>
                        <a:pt x="216" y="466"/>
                        <a:pt x="221" y="461"/>
                      </a:cubicBezTo>
                      <a:cubicBezTo>
                        <a:pt x="231" y="451"/>
                        <a:pt x="249" y="451"/>
                        <a:pt x="258" y="461"/>
                      </a:cubicBezTo>
                      <a:cubicBezTo>
                        <a:pt x="263" y="466"/>
                        <a:pt x="266" y="473"/>
                        <a:pt x="266" y="480"/>
                      </a:cubicBezTo>
                      <a:cubicBezTo>
                        <a:pt x="266" y="487"/>
                        <a:pt x="263" y="494"/>
                        <a:pt x="258" y="499"/>
                      </a:cubicBezTo>
                      <a:lnTo>
                        <a:pt x="258" y="499"/>
                      </a:lnTo>
                      <a:close/>
                      <a:moveTo>
                        <a:pt x="152" y="379"/>
                      </a:moveTo>
                      <a:lnTo>
                        <a:pt x="152" y="379"/>
                      </a:lnTo>
                      <a:cubicBezTo>
                        <a:pt x="147" y="384"/>
                        <a:pt x="140" y="387"/>
                        <a:pt x="133" y="387"/>
                      </a:cubicBezTo>
                      <a:cubicBezTo>
                        <a:pt x="126" y="387"/>
                        <a:pt x="119" y="384"/>
                        <a:pt x="114" y="379"/>
                      </a:cubicBezTo>
                      <a:cubicBezTo>
                        <a:pt x="109" y="374"/>
                        <a:pt x="106" y="367"/>
                        <a:pt x="106" y="360"/>
                      </a:cubicBezTo>
                      <a:cubicBezTo>
                        <a:pt x="106" y="353"/>
                        <a:pt x="109" y="346"/>
                        <a:pt x="114" y="341"/>
                      </a:cubicBezTo>
                      <a:cubicBezTo>
                        <a:pt x="124" y="331"/>
                        <a:pt x="142" y="331"/>
                        <a:pt x="152" y="341"/>
                      </a:cubicBezTo>
                      <a:cubicBezTo>
                        <a:pt x="157" y="346"/>
                        <a:pt x="160" y="353"/>
                        <a:pt x="160" y="360"/>
                      </a:cubicBezTo>
                      <a:cubicBezTo>
                        <a:pt x="160" y="367"/>
                        <a:pt x="157" y="374"/>
                        <a:pt x="152" y="379"/>
                      </a:cubicBezTo>
                      <a:lnTo>
                        <a:pt x="152" y="379"/>
                      </a:lnTo>
                      <a:close/>
                      <a:moveTo>
                        <a:pt x="152" y="499"/>
                      </a:moveTo>
                      <a:lnTo>
                        <a:pt x="152" y="499"/>
                      </a:lnTo>
                      <a:cubicBezTo>
                        <a:pt x="147" y="504"/>
                        <a:pt x="140" y="507"/>
                        <a:pt x="133" y="507"/>
                      </a:cubicBezTo>
                      <a:cubicBezTo>
                        <a:pt x="126" y="507"/>
                        <a:pt x="119" y="504"/>
                        <a:pt x="114" y="499"/>
                      </a:cubicBezTo>
                      <a:cubicBezTo>
                        <a:pt x="109" y="494"/>
                        <a:pt x="106" y="487"/>
                        <a:pt x="106" y="480"/>
                      </a:cubicBezTo>
                      <a:cubicBezTo>
                        <a:pt x="106" y="473"/>
                        <a:pt x="109" y="466"/>
                        <a:pt x="114" y="461"/>
                      </a:cubicBezTo>
                      <a:cubicBezTo>
                        <a:pt x="124" y="451"/>
                        <a:pt x="142" y="451"/>
                        <a:pt x="152" y="461"/>
                      </a:cubicBezTo>
                      <a:cubicBezTo>
                        <a:pt x="157" y="466"/>
                        <a:pt x="160" y="473"/>
                        <a:pt x="160" y="480"/>
                      </a:cubicBezTo>
                      <a:cubicBezTo>
                        <a:pt x="160" y="487"/>
                        <a:pt x="157" y="494"/>
                        <a:pt x="152" y="499"/>
                      </a:cubicBezTo>
                      <a:lnTo>
                        <a:pt x="152" y="499"/>
                      </a:lnTo>
                      <a:close/>
                      <a:moveTo>
                        <a:pt x="560" y="174"/>
                      </a:moveTo>
                      <a:lnTo>
                        <a:pt x="560" y="174"/>
                      </a:lnTo>
                      <a:lnTo>
                        <a:pt x="480" y="174"/>
                      </a:lnTo>
                      <a:lnTo>
                        <a:pt x="480" y="27"/>
                      </a:lnTo>
                      <a:cubicBezTo>
                        <a:pt x="480" y="12"/>
                        <a:pt x="468" y="0"/>
                        <a:pt x="453" y="0"/>
                      </a:cubicBezTo>
                      <a:lnTo>
                        <a:pt x="133" y="0"/>
                      </a:lnTo>
                      <a:cubicBezTo>
                        <a:pt x="118" y="0"/>
                        <a:pt x="106" y="12"/>
                        <a:pt x="106" y="27"/>
                      </a:cubicBezTo>
                      <a:lnTo>
                        <a:pt x="106" y="174"/>
                      </a:lnTo>
                      <a:lnTo>
                        <a:pt x="26" y="174"/>
                      </a:lnTo>
                      <a:cubicBezTo>
                        <a:pt x="12" y="174"/>
                        <a:pt x="0" y="185"/>
                        <a:pt x="0" y="200"/>
                      </a:cubicBezTo>
                      <a:lnTo>
                        <a:pt x="0" y="560"/>
                      </a:lnTo>
                      <a:cubicBezTo>
                        <a:pt x="0" y="575"/>
                        <a:pt x="12" y="587"/>
                        <a:pt x="26" y="587"/>
                      </a:cubicBezTo>
                      <a:lnTo>
                        <a:pt x="560" y="587"/>
                      </a:lnTo>
                      <a:cubicBezTo>
                        <a:pt x="574" y="587"/>
                        <a:pt x="586" y="575"/>
                        <a:pt x="586" y="560"/>
                      </a:cubicBezTo>
                      <a:lnTo>
                        <a:pt x="586" y="200"/>
                      </a:lnTo>
                      <a:cubicBezTo>
                        <a:pt x="586" y="185"/>
                        <a:pt x="574" y="174"/>
                        <a:pt x="560" y="174"/>
                      </a:cubicBezTo>
                      <a:close/>
                    </a:path>
                  </a:pathLst>
                </a:custGeom>
                <a:noFill/>
                <a:ln w="0">
                  <a:solidFill>
                    <a:schemeClr val="accent1"/>
                  </a:solidFill>
                  <a:prstDash val="solid"/>
                  <a:round/>
                  <a:headEnd/>
                  <a:tailEnd/>
                </a:ln>
              </p:spPr>
              <p:txBody>
                <a:bodyPr vert="horz" wrap="square" lIns="91436" tIns="45718" rIns="91436" bIns="45718" numCol="1" anchor="t" anchorCtr="0" compatLnSpc="1">
                  <a:prstTxWarp prst="textNoShape">
                    <a:avLst/>
                  </a:prstTxWarp>
                </a:bodyPr>
                <a:lstStyle/>
                <a:p>
                  <a:pPr defTabSz="457189"/>
                  <a:endParaRPr lang="en-US">
                    <a:solidFill>
                      <a:srgbClr val="58595B"/>
                    </a:solidFill>
                  </a:endParaRPr>
                </a:p>
              </p:txBody>
            </p:sp>
            <p:grpSp>
              <p:nvGrpSpPr>
                <p:cNvPr id="5970" name="Group 5969"/>
                <p:cNvGrpSpPr>
                  <a:grpSpLocks noChangeAspect="1"/>
                </p:cNvGrpSpPr>
                <p:nvPr/>
              </p:nvGrpSpPr>
              <p:grpSpPr bwMode="auto">
                <a:xfrm>
                  <a:off x="2547982" y="-1409726"/>
                  <a:ext cx="404820" cy="476259"/>
                  <a:chOff x="1605" y="-888"/>
                  <a:chExt cx="255" cy="300"/>
                </a:xfrm>
              </p:grpSpPr>
              <p:sp>
                <p:nvSpPr>
                  <p:cNvPr id="5971" name="Oval 5970"/>
                  <p:cNvSpPr>
                    <a:spLocks noChangeArrowheads="1"/>
                  </p:cNvSpPr>
                  <p:nvPr/>
                </p:nvSpPr>
                <p:spPr bwMode="auto">
                  <a:xfrm>
                    <a:off x="1723" y="-888"/>
                    <a:ext cx="19" cy="17"/>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72" name="Freeform 5971"/>
                  <p:cNvSpPr>
                    <a:spLocks noEditPoints="1"/>
                  </p:cNvSpPr>
                  <p:nvPr/>
                </p:nvSpPr>
                <p:spPr bwMode="auto">
                  <a:xfrm>
                    <a:off x="1636" y="-735"/>
                    <a:ext cx="193" cy="108"/>
                  </a:xfrm>
                  <a:custGeom>
                    <a:avLst/>
                    <a:gdLst>
                      <a:gd name="T0" fmla="*/ 114 w 122"/>
                      <a:gd name="T1" fmla="*/ 69 h 69"/>
                      <a:gd name="T2" fmla="*/ 106 w 122"/>
                      <a:gd name="T3" fmla="*/ 62 h 69"/>
                      <a:gd name="T4" fmla="*/ 106 w 122"/>
                      <a:gd name="T5" fmla="*/ 8 h 69"/>
                      <a:gd name="T6" fmla="*/ 114 w 122"/>
                      <a:gd name="T7" fmla="*/ 0 h 69"/>
                      <a:gd name="T8" fmla="*/ 122 w 122"/>
                      <a:gd name="T9" fmla="*/ 8 h 69"/>
                      <a:gd name="T10" fmla="*/ 122 w 122"/>
                      <a:gd name="T11" fmla="*/ 62 h 69"/>
                      <a:gd name="T12" fmla="*/ 114 w 122"/>
                      <a:gd name="T13" fmla="*/ 69 h 69"/>
                      <a:gd name="T14" fmla="*/ 78 w 122"/>
                      <a:gd name="T15" fmla="*/ 69 h 69"/>
                      <a:gd name="T16" fmla="*/ 71 w 122"/>
                      <a:gd name="T17" fmla="*/ 62 h 69"/>
                      <a:gd name="T18" fmla="*/ 71 w 122"/>
                      <a:gd name="T19" fmla="*/ 8 h 69"/>
                      <a:gd name="T20" fmla="*/ 78 w 122"/>
                      <a:gd name="T21" fmla="*/ 0 h 69"/>
                      <a:gd name="T22" fmla="*/ 86 w 122"/>
                      <a:gd name="T23" fmla="*/ 8 h 69"/>
                      <a:gd name="T24" fmla="*/ 86 w 122"/>
                      <a:gd name="T25" fmla="*/ 62 h 69"/>
                      <a:gd name="T26" fmla="*/ 78 w 122"/>
                      <a:gd name="T27" fmla="*/ 69 h 69"/>
                      <a:gd name="T28" fmla="*/ 43 w 122"/>
                      <a:gd name="T29" fmla="*/ 69 h 69"/>
                      <a:gd name="T30" fmla="*/ 35 w 122"/>
                      <a:gd name="T31" fmla="*/ 62 h 69"/>
                      <a:gd name="T32" fmla="*/ 35 w 122"/>
                      <a:gd name="T33" fmla="*/ 8 h 69"/>
                      <a:gd name="T34" fmla="*/ 43 w 122"/>
                      <a:gd name="T35" fmla="*/ 0 h 69"/>
                      <a:gd name="T36" fmla="*/ 51 w 122"/>
                      <a:gd name="T37" fmla="*/ 8 h 69"/>
                      <a:gd name="T38" fmla="*/ 51 w 122"/>
                      <a:gd name="T39" fmla="*/ 62 h 69"/>
                      <a:gd name="T40" fmla="*/ 43 w 122"/>
                      <a:gd name="T41" fmla="*/ 69 h 69"/>
                      <a:gd name="T42" fmla="*/ 8 w 122"/>
                      <a:gd name="T43" fmla="*/ 69 h 69"/>
                      <a:gd name="T44" fmla="*/ 0 w 122"/>
                      <a:gd name="T45" fmla="*/ 62 h 69"/>
                      <a:gd name="T46" fmla="*/ 0 w 122"/>
                      <a:gd name="T47" fmla="*/ 8 h 69"/>
                      <a:gd name="T48" fmla="*/ 8 w 122"/>
                      <a:gd name="T49" fmla="*/ 0 h 69"/>
                      <a:gd name="T50" fmla="*/ 16 w 122"/>
                      <a:gd name="T51" fmla="*/ 8 h 69"/>
                      <a:gd name="T52" fmla="*/ 16 w 122"/>
                      <a:gd name="T53" fmla="*/ 62 h 69"/>
                      <a:gd name="T54" fmla="*/ 8 w 122"/>
                      <a:gd name="T5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2" h="69">
                        <a:moveTo>
                          <a:pt x="114" y="69"/>
                        </a:moveTo>
                        <a:cubicBezTo>
                          <a:pt x="109" y="69"/>
                          <a:pt x="106" y="66"/>
                          <a:pt x="106" y="62"/>
                        </a:cubicBezTo>
                        <a:cubicBezTo>
                          <a:pt x="106" y="8"/>
                          <a:pt x="106" y="8"/>
                          <a:pt x="106" y="8"/>
                        </a:cubicBezTo>
                        <a:cubicBezTo>
                          <a:pt x="106" y="4"/>
                          <a:pt x="109" y="0"/>
                          <a:pt x="114" y="0"/>
                        </a:cubicBezTo>
                        <a:cubicBezTo>
                          <a:pt x="118" y="0"/>
                          <a:pt x="122" y="4"/>
                          <a:pt x="122" y="8"/>
                        </a:cubicBezTo>
                        <a:cubicBezTo>
                          <a:pt x="122" y="62"/>
                          <a:pt x="122" y="62"/>
                          <a:pt x="122" y="62"/>
                        </a:cubicBezTo>
                        <a:cubicBezTo>
                          <a:pt x="122" y="66"/>
                          <a:pt x="118" y="69"/>
                          <a:pt x="114" y="69"/>
                        </a:cubicBezTo>
                        <a:close/>
                        <a:moveTo>
                          <a:pt x="78" y="69"/>
                        </a:moveTo>
                        <a:cubicBezTo>
                          <a:pt x="74" y="69"/>
                          <a:pt x="71" y="66"/>
                          <a:pt x="71" y="62"/>
                        </a:cubicBezTo>
                        <a:cubicBezTo>
                          <a:pt x="71" y="8"/>
                          <a:pt x="71" y="8"/>
                          <a:pt x="71" y="8"/>
                        </a:cubicBezTo>
                        <a:cubicBezTo>
                          <a:pt x="71" y="4"/>
                          <a:pt x="74" y="0"/>
                          <a:pt x="78" y="0"/>
                        </a:cubicBezTo>
                        <a:cubicBezTo>
                          <a:pt x="83" y="0"/>
                          <a:pt x="86" y="4"/>
                          <a:pt x="86" y="8"/>
                        </a:cubicBezTo>
                        <a:cubicBezTo>
                          <a:pt x="86" y="62"/>
                          <a:pt x="86" y="62"/>
                          <a:pt x="86" y="62"/>
                        </a:cubicBezTo>
                        <a:cubicBezTo>
                          <a:pt x="86" y="66"/>
                          <a:pt x="83" y="69"/>
                          <a:pt x="78" y="69"/>
                        </a:cubicBezTo>
                        <a:close/>
                        <a:moveTo>
                          <a:pt x="43" y="69"/>
                        </a:moveTo>
                        <a:cubicBezTo>
                          <a:pt x="39" y="69"/>
                          <a:pt x="35" y="66"/>
                          <a:pt x="35" y="62"/>
                        </a:cubicBezTo>
                        <a:cubicBezTo>
                          <a:pt x="35" y="8"/>
                          <a:pt x="35" y="8"/>
                          <a:pt x="35" y="8"/>
                        </a:cubicBezTo>
                        <a:cubicBezTo>
                          <a:pt x="35" y="4"/>
                          <a:pt x="39" y="0"/>
                          <a:pt x="43" y="0"/>
                        </a:cubicBezTo>
                        <a:cubicBezTo>
                          <a:pt x="48" y="0"/>
                          <a:pt x="51" y="4"/>
                          <a:pt x="51" y="8"/>
                        </a:cubicBezTo>
                        <a:cubicBezTo>
                          <a:pt x="51" y="62"/>
                          <a:pt x="51" y="62"/>
                          <a:pt x="51" y="62"/>
                        </a:cubicBezTo>
                        <a:cubicBezTo>
                          <a:pt x="51" y="66"/>
                          <a:pt x="48" y="69"/>
                          <a:pt x="43" y="69"/>
                        </a:cubicBezTo>
                        <a:close/>
                        <a:moveTo>
                          <a:pt x="8" y="69"/>
                        </a:moveTo>
                        <a:cubicBezTo>
                          <a:pt x="4" y="69"/>
                          <a:pt x="0" y="66"/>
                          <a:pt x="0" y="62"/>
                        </a:cubicBezTo>
                        <a:cubicBezTo>
                          <a:pt x="0" y="8"/>
                          <a:pt x="0" y="8"/>
                          <a:pt x="0" y="8"/>
                        </a:cubicBezTo>
                        <a:cubicBezTo>
                          <a:pt x="0" y="4"/>
                          <a:pt x="4" y="0"/>
                          <a:pt x="8" y="0"/>
                        </a:cubicBezTo>
                        <a:cubicBezTo>
                          <a:pt x="13" y="0"/>
                          <a:pt x="16" y="4"/>
                          <a:pt x="16" y="8"/>
                        </a:cubicBezTo>
                        <a:cubicBezTo>
                          <a:pt x="16" y="62"/>
                          <a:pt x="16" y="62"/>
                          <a:pt x="16" y="62"/>
                        </a:cubicBezTo>
                        <a:cubicBezTo>
                          <a:pt x="16" y="66"/>
                          <a:pt x="13" y="69"/>
                          <a:pt x="8" y="69"/>
                        </a:cubicBezTo>
                        <a:close/>
                      </a:path>
                    </a:pathLst>
                  </a:custGeom>
                  <a:noFill/>
                  <a:ln w="79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73" name="Rectangle 5972"/>
                  <p:cNvSpPr>
                    <a:spLocks noChangeArrowheads="1"/>
                  </p:cNvSpPr>
                  <p:nvPr/>
                </p:nvSpPr>
                <p:spPr bwMode="auto">
                  <a:xfrm>
                    <a:off x="1605" y="-613"/>
                    <a:ext cx="255" cy="25"/>
                  </a:xfrm>
                  <a:prstGeom prst="rect">
                    <a:avLst/>
                  </a:prstGeom>
                  <a:noFill/>
                  <a:ln w="79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74" name="Freeform 5973"/>
                  <p:cNvSpPr>
                    <a:spLocks/>
                  </p:cNvSpPr>
                  <p:nvPr/>
                </p:nvSpPr>
                <p:spPr bwMode="auto">
                  <a:xfrm>
                    <a:off x="1617" y="-863"/>
                    <a:ext cx="231" cy="115"/>
                  </a:xfrm>
                  <a:custGeom>
                    <a:avLst/>
                    <a:gdLst>
                      <a:gd name="T0" fmla="*/ 0 w 146"/>
                      <a:gd name="T1" fmla="*/ 73 h 73"/>
                      <a:gd name="T2" fmla="*/ 0 w 146"/>
                      <a:gd name="T3" fmla="*/ 73 h 73"/>
                      <a:gd name="T4" fmla="*/ 73 w 146"/>
                      <a:gd name="T5" fmla="*/ 0 h 73"/>
                      <a:gd name="T6" fmla="*/ 146 w 146"/>
                      <a:gd name="T7" fmla="*/ 73 h 73"/>
                      <a:gd name="T8" fmla="*/ 0 w 146"/>
                      <a:gd name="T9" fmla="*/ 73 h 73"/>
                      <a:gd name="T10" fmla="*/ 0 w 146"/>
                      <a:gd name="T11" fmla="*/ 73 h 73"/>
                    </a:gdLst>
                    <a:ahLst/>
                    <a:cxnLst>
                      <a:cxn ang="0">
                        <a:pos x="T0" y="T1"/>
                      </a:cxn>
                      <a:cxn ang="0">
                        <a:pos x="T2" y="T3"/>
                      </a:cxn>
                      <a:cxn ang="0">
                        <a:pos x="T4" y="T5"/>
                      </a:cxn>
                      <a:cxn ang="0">
                        <a:pos x="T6" y="T7"/>
                      </a:cxn>
                      <a:cxn ang="0">
                        <a:pos x="T8" y="T9"/>
                      </a:cxn>
                      <a:cxn ang="0">
                        <a:pos x="T10" y="T11"/>
                      </a:cxn>
                    </a:cxnLst>
                    <a:rect l="0" t="0" r="r" b="b"/>
                    <a:pathLst>
                      <a:path w="146" h="73">
                        <a:moveTo>
                          <a:pt x="0" y="73"/>
                        </a:moveTo>
                        <a:cubicBezTo>
                          <a:pt x="0" y="73"/>
                          <a:pt x="0" y="73"/>
                          <a:pt x="0" y="73"/>
                        </a:cubicBezTo>
                        <a:cubicBezTo>
                          <a:pt x="0" y="33"/>
                          <a:pt x="33" y="0"/>
                          <a:pt x="73" y="0"/>
                        </a:cubicBezTo>
                        <a:cubicBezTo>
                          <a:pt x="114" y="0"/>
                          <a:pt x="146" y="33"/>
                          <a:pt x="146" y="73"/>
                        </a:cubicBezTo>
                        <a:cubicBezTo>
                          <a:pt x="0" y="73"/>
                          <a:pt x="0" y="73"/>
                          <a:pt x="0" y="73"/>
                        </a:cubicBezTo>
                        <a:cubicBezTo>
                          <a:pt x="0" y="73"/>
                          <a:pt x="0" y="73"/>
                          <a:pt x="0" y="73"/>
                        </a:cubicBezTo>
                        <a:close/>
                      </a:path>
                    </a:pathLst>
                  </a:custGeom>
                  <a:noFill/>
                  <a:ln w="7938"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grpSp>
          <p:sp>
            <p:nvSpPr>
              <p:cNvPr id="136" name="TextBox 135">
                <a:extLst>
                  <a:ext uri="{FF2B5EF4-FFF2-40B4-BE49-F238E27FC236}">
                    <a16:creationId xmlns:a16="http://schemas.microsoft.com/office/drawing/2014/main" id="{9ACAB5D4-B3B0-0D44-8BC4-BDF1ABEFC32E}"/>
                  </a:ext>
                </a:extLst>
              </p:cNvPr>
              <p:cNvSpPr txBox="1"/>
              <p:nvPr/>
            </p:nvSpPr>
            <p:spPr>
              <a:xfrm>
                <a:off x="609457" y="4118409"/>
                <a:ext cx="922047" cy="230832"/>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ISR 1k/ISR 4k</a:t>
                </a:r>
              </a:p>
            </p:txBody>
          </p:sp>
          <p:sp>
            <p:nvSpPr>
              <p:cNvPr id="137" name="TextBox 136">
                <a:extLst>
                  <a:ext uri="{FF2B5EF4-FFF2-40B4-BE49-F238E27FC236}">
                    <a16:creationId xmlns:a16="http://schemas.microsoft.com/office/drawing/2014/main" id="{A76970AE-E83E-EA4A-BE6E-70E5E29C082A}"/>
                  </a:ext>
                </a:extLst>
              </p:cNvPr>
              <p:cNvSpPr txBox="1"/>
              <p:nvPr/>
            </p:nvSpPr>
            <p:spPr>
              <a:xfrm>
                <a:off x="913672" y="4662222"/>
                <a:ext cx="1377300" cy="230832"/>
              </a:xfrm>
              <a:prstGeom prst="rect">
                <a:avLst/>
              </a:prstGeom>
              <a:noFill/>
            </p:spPr>
            <p:txBody>
              <a:bodyPr wrap="none" rtlCol="0">
                <a:spAutoFit/>
              </a:bodyPr>
              <a:lstStyle>
                <a:defPPr>
                  <a:defRPr lang="en-US"/>
                </a:defPPr>
                <a:lvl1pPr defTabSz="609585">
                  <a:defRPr sz="1200" b="1">
                    <a:solidFill>
                      <a:srgbClr val="005073"/>
                    </a:solidFill>
                    <a:latin typeface="Arial" panose="020B0604020202020204" pitchFamily="34" charset="0"/>
                    <a:ea typeface="ＭＳ Ｐゴシック" charset="0"/>
                    <a:cs typeface="Arial" panose="020B0604020202020204" pitchFamily="34" charset="0"/>
                  </a:defRPr>
                </a:lvl1pPr>
              </a:lstStyle>
              <a:p>
                <a:pPr defTabSz="457189"/>
                <a:r>
                  <a:rPr lang="en-ZA" sz="900"/>
                  <a:t>ISR4k/ASR1k/NCS540</a:t>
                </a:r>
                <a:endParaRPr lang="en-US" sz="900"/>
              </a:p>
            </p:txBody>
          </p:sp>
          <p:grpSp>
            <p:nvGrpSpPr>
              <p:cNvPr id="2" name="Group 1">
                <a:extLst>
                  <a:ext uri="{FF2B5EF4-FFF2-40B4-BE49-F238E27FC236}">
                    <a16:creationId xmlns:a16="http://schemas.microsoft.com/office/drawing/2014/main" id="{C167601D-D4B7-4AF0-9D48-40A44DF72973}"/>
                  </a:ext>
                </a:extLst>
              </p:cNvPr>
              <p:cNvGrpSpPr/>
              <p:nvPr/>
            </p:nvGrpSpPr>
            <p:grpSpPr>
              <a:xfrm>
                <a:off x="898736" y="3743482"/>
                <a:ext cx="493188" cy="393389"/>
                <a:chOff x="1331075" y="4888805"/>
                <a:chExt cx="657584" cy="524519"/>
              </a:xfrm>
            </p:grpSpPr>
            <p:sp>
              <p:nvSpPr>
                <p:cNvPr id="138" name="Freeform 9">
                  <a:extLst>
                    <a:ext uri="{FF2B5EF4-FFF2-40B4-BE49-F238E27FC236}">
                      <a16:creationId xmlns:a16="http://schemas.microsoft.com/office/drawing/2014/main" id="{FC38A75C-451B-634B-BB7F-AA021A0DA15B}"/>
                    </a:ext>
                  </a:extLst>
                </p:cNvPr>
                <p:cNvSpPr>
                  <a:spLocks noEditPoints="1"/>
                </p:cNvSpPr>
                <p:nvPr/>
              </p:nvSpPr>
              <p:spPr bwMode="auto">
                <a:xfrm>
                  <a:off x="1766979" y="4991453"/>
                  <a:ext cx="221680" cy="421871"/>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139" name="Freeform 9">
                  <a:extLst>
                    <a:ext uri="{FF2B5EF4-FFF2-40B4-BE49-F238E27FC236}">
                      <a16:creationId xmlns:a16="http://schemas.microsoft.com/office/drawing/2014/main" id="{DE1782E6-DD4D-1D43-BCEA-297069986BC4}"/>
                    </a:ext>
                  </a:extLst>
                </p:cNvPr>
                <p:cNvSpPr>
                  <a:spLocks noEditPoints="1"/>
                </p:cNvSpPr>
                <p:nvPr/>
              </p:nvSpPr>
              <p:spPr bwMode="auto">
                <a:xfrm>
                  <a:off x="1526072" y="4888805"/>
                  <a:ext cx="221680" cy="421871"/>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65" name="Freeform 9"/>
                <p:cNvSpPr>
                  <a:spLocks noEditPoints="1"/>
                </p:cNvSpPr>
                <p:nvPr/>
              </p:nvSpPr>
              <p:spPr bwMode="auto">
                <a:xfrm>
                  <a:off x="1331075" y="4976193"/>
                  <a:ext cx="221680" cy="421871"/>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sp>
            <p:nvSpPr>
              <p:cNvPr id="161" name="TextBox 160">
                <a:extLst>
                  <a:ext uri="{FF2B5EF4-FFF2-40B4-BE49-F238E27FC236}">
                    <a16:creationId xmlns:a16="http://schemas.microsoft.com/office/drawing/2014/main" id="{84A4A6A4-8E7F-594E-8665-35C2B0AB0D4F}"/>
                  </a:ext>
                </a:extLst>
              </p:cNvPr>
              <p:cNvSpPr txBox="1"/>
              <p:nvPr/>
            </p:nvSpPr>
            <p:spPr>
              <a:xfrm>
                <a:off x="550806" y="4233944"/>
                <a:ext cx="1439092" cy="295416"/>
              </a:xfrm>
              <a:prstGeom prst="rect">
                <a:avLst/>
              </a:prstGeom>
              <a:noFill/>
            </p:spPr>
            <p:txBody>
              <a:bodyPr wrap="square" lIns="0" tIns="0" rIns="0" bIns="0" rtlCol="0" anchor="ctr" anchorCtr="0">
                <a:noAutofit/>
              </a:bodyPr>
              <a:lstStyle/>
              <a:p>
                <a:pPr defTabSz="685783">
                  <a:defRPr/>
                </a:pPr>
                <a:r>
                  <a:rPr lang="nl-NL" sz="1600" b="1" err="1">
                    <a:solidFill>
                      <a:srgbClr val="FBAB18"/>
                    </a:solidFill>
                    <a:latin typeface="CiscoSansTT ExtraLight"/>
                  </a:rPr>
                  <a:t>FTTx</a:t>
                </a:r>
                <a:endParaRPr lang="en-US" sz="1600" b="1">
                  <a:solidFill>
                    <a:srgbClr val="FBAB18"/>
                  </a:solidFill>
                  <a:latin typeface="CiscoSansTT ExtraLight"/>
                </a:endParaRPr>
              </a:p>
            </p:txBody>
          </p:sp>
          <p:grpSp>
            <p:nvGrpSpPr>
              <p:cNvPr id="12" name="Group 11">
                <a:extLst>
                  <a:ext uri="{FF2B5EF4-FFF2-40B4-BE49-F238E27FC236}">
                    <a16:creationId xmlns:a16="http://schemas.microsoft.com/office/drawing/2014/main" id="{2D15FE7E-6DF8-491D-8D1A-CD24EB30A3B2}"/>
                  </a:ext>
                </a:extLst>
              </p:cNvPr>
              <p:cNvGrpSpPr/>
              <p:nvPr/>
            </p:nvGrpSpPr>
            <p:grpSpPr>
              <a:xfrm>
                <a:off x="4498801" y="380039"/>
                <a:ext cx="4491155" cy="4154098"/>
                <a:chOff x="7336717" y="2953824"/>
                <a:chExt cx="5988594" cy="5538798"/>
              </a:xfrm>
            </p:grpSpPr>
            <p:cxnSp>
              <p:nvCxnSpPr>
                <p:cNvPr id="44" name="Straight Connector 43"/>
                <p:cNvCxnSpPr>
                  <a:cxnSpLocks/>
                </p:cNvCxnSpPr>
                <p:nvPr/>
              </p:nvCxnSpPr>
              <p:spPr>
                <a:xfrm flipH="1" flipV="1">
                  <a:off x="10843382" y="4357071"/>
                  <a:ext cx="10298" cy="493392"/>
                </a:xfrm>
                <a:prstGeom prst="line">
                  <a:avLst/>
                </a:prstGeom>
                <a:noFill/>
                <a:ln w="22225" cap="rnd" cmpd="sng" algn="ctr">
                  <a:solidFill>
                    <a:srgbClr val="005073"/>
                  </a:solidFill>
                  <a:prstDash val="solid"/>
                </a:ln>
                <a:effectLst/>
              </p:spPr>
            </p:cxnSp>
            <p:sp>
              <p:nvSpPr>
                <p:cNvPr id="52" name="Freeform 48"/>
                <p:cNvSpPr>
                  <a:spLocks/>
                </p:cNvSpPr>
                <p:nvPr/>
              </p:nvSpPr>
              <p:spPr bwMode="auto">
                <a:xfrm>
                  <a:off x="9288546" y="2953824"/>
                  <a:ext cx="2603076" cy="1382597"/>
                </a:xfrm>
                <a:custGeom>
                  <a:avLst/>
                  <a:gdLst>
                    <a:gd name="T0" fmla="*/ 361 w 432"/>
                    <a:gd name="T1" fmla="*/ 121 h 268"/>
                    <a:gd name="T2" fmla="*/ 364 w 432"/>
                    <a:gd name="T3" fmla="*/ 96 h 268"/>
                    <a:gd name="T4" fmla="*/ 268 w 432"/>
                    <a:gd name="T5" fmla="*/ 0 h 268"/>
                    <a:gd name="T6" fmla="*/ 175 w 432"/>
                    <a:gd name="T7" fmla="*/ 71 h 268"/>
                    <a:gd name="T8" fmla="*/ 138 w 432"/>
                    <a:gd name="T9" fmla="*/ 62 h 268"/>
                    <a:gd name="T10" fmla="*/ 54 w 432"/>
                    <a:gd name="T11" fmla="*/ 146 h 268"/>
                    <a:gd name="T12" fmla="*/ 55 w 432"/>
                    <a:gd name="T13" fmla="*/ 156 h 268"/>
                    <a:gd name="T14" fmla="*/ 54 w 432"/>
                    <a:gd name="T15" fmla="*/ 156 h 268"/>
                    <a:gd name="T16" fmla="*/ 0 w 432"/>
                    <a:gd name="T17" fmla="*/ 212 h 268"/>
                    <a:gd name="T18" fmla="*/ 54 w 432"/>
                    <a:gd name="T19" fmla="*/ 268 h 268"/>
                    <a:gd name="T20" fmla="*/ 360 w 432"/>
                    <a:gd name="T21" fmla="*/ 268 h 268"/>
                    <a:gd name="T22" fmla="*/ 432 w 432"/>
                    <a:gd name="T23" fmla="*/ 194 h 268"/>
                    <a:gd name="T24" fmla="*/ 361 w 432"/>
                    <a:gd name="T25" fmla="*/ 1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268">
                      <a:moveTo>
                        <a:pt x="361" y="121"/>
                      </a:moveTo>
                      <a:cubicBezTo>
                        <a:pt x="363" y="113"/>
                        <a:pt x="364" y="104"/>
                        <a:pt x="364" y="96"/>
                      </a:cubicBezTo>
                      <a:cubicBezTo>
                        <a:pt x="364" y="43"/>
                        <a:pt x="321" y="0"/>
                        <a:pt x="268" y="0"/>
                      </a:cubicBezTo>
                      <a:cubicBezTo>
                        <a:pt x="224" y="0"/>
                        <a:pt x="186" y="30"/>
                        <a:pt x="175" y="71"/>
                      </a:cubicBezTo>
                      <a:cubicBezTo>
                        <a:pt x="164" y="65"/>
                        <a:pt x="151" y="62"/>
                        <a:pt x="138" y="62"/>
                      </a:cubicBezTo>
                      <a:cubicBezTo>
                        <a:pt x="92" y="62"/>
                        <a:pt x="54" y="100"/>
                        <a:pt x="54" y="146"/>
                      </a:cubicBezTo>
                      <a:cubicBezTo>
                        <a:pt x="54" y="149"/>
                        <a:pt x="54" y="153"/>
                        <a:pt x="55" y="156"/>
                      </a:cubicBezTo>
                      <a:cubicBezTo>
                        <a:pt x="54" y="156"/>
                        <a:pt x="54" y="156"/>
                        <a:pt x="54" y="156"/>
                      </a:cubicBezTo>
                      <a:cubicBezTo>
                        <a:pt x="24" y="156"/>
                        <a:pt x="0" y="182"/>
                        <a:pt x="0" y="212"/>
                      </a:cubicBezTo>
                      <a:cubicBezTo>
                        <a:pt x="0" y="242"/>
                        <a:pt x="24" y="268"/>
                        <a:pt x="54" y="268"/>
                      </a:cubicBezTo>
                      <a:cubicBezTo>
                        <a:pt x="360" y="268"/>
                        <a:pt x="360" y="268"/>
                        <a:pt x="360" y="268"/>
                      </a:cubicBezTo>
                      <a:cubicBezTo>
                        <a:pt x="400" y="268"/>
                        <a:pt x="432" y="234"/>
                        <a:pt x="432" y="194"/>
                      </a:cubicBezTo>
                      <a:cubicBezTo>
                        <a:pt x="432" y="155"/>
                        <a:pt x="400" y="121"/>
                        <a:pt x="361" y="121"/>
                      </a:cubicBezTo>
                      <a:close/>
                    </a:path>
                  </a:pathLst>
                </a:custGeom>
                <a:solidFill>
                  <a:schemeClr val="bg2"/>
                </a:solidFill>
                <a:ln w="25400" cap="flat" cmpd="sng" algn="ctr">
                  <a:solidFill>
                    <a:srgbClr val="00BCEB"/>
                  </a:solidFill>
                  <a:prstDash val="solid"/>
                </a:ln>
                <a:effectLst/>
              </p:spPr>
              <p:txBody>
                <a:bodyPr lIns="91400" tIns="45700" rIns="91400" bIns="45700" rtlCol="0" anchor="ctr"/>
                <a:lstStyle/>
                <a:p>
                  <a:pPr algn="ctr" defTabSz="912395">
                    <a:defRPr/>
                  </a:pPr>
                  <a:endParaRPr lang="en-US" sz="2400" kern="0">
                    <a:solidFill>
                      <a:srgbClr val="FFFFFF"/>
                    </a:solidFill>
                  </a:endParaRPr>
                </a:p>
              </p:txBody>
            </p:sp>
            <p:sp>
              <p:nvSpPr>
                <p:cNvPr id="5896" name="TextBox 5895"/>
                <p:cNvSpPr txBox="1"/>
                <p:nvPr/>
              </p:nvSpPr>
              <p:spPr>
                <a:xfrm>
                  <a:off x="11323401" y="8000179"/>
                  <a:ext cx="1750908" cy="492443"/>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Peering and Internet</a:t>
                  </a:r>
                </a:p>
                <a:p>
                  <a:pPr defTabSz="457189"/>
                  <a:r>
                    <a:rPr lang="en-US" sz="900" b="1">
                      <a:solidFill>
                        <a:srgbClr val="005073"/>
                      </a:solidFill>
                      <a:latin typeface="Arial" panose="020B0604020202020204" pitchFamily="34" charset="0"/>
                      <a:cs typeface="Arial" panose="020B0604020202020204" pitchFamily="34" charset="0"/>
                    </a:rPr>
                    <a:t>NCS 55xx via DWDM</a:t>
                  </a:r>
                </a:p>
              </p:txBody>
            </p:sp>
            <p:sp>
              <p:nvSpPr>
                <p:cNvPr id="5907" name="TextBox 5906"/>
                <p:cNvSpPr txBox="1"/>
                <p:nvPr/>
              </p:nvSpPr>
              <p:spPr>
                <a:xfrm>
                  <a:off x="10144139" y="5219910"/>
                  <a:ext cx="1562821" cy="307776"/>
                </a:xfrm>
                <a:prstGeom prst="rect">
                  <a:avLst/>
                </a:prstGeom>
                <a:noFill/>
              </p:spPr>
              <p:txBody>
                <a:bodyPr wrap="none" rtlCol="0">
                  <a:spAutoFit/>
                </a:bodyPr>
                <a:lstStyle>
                  <a:defPPr>
                    <a:defRPr lang="en-US"/>
                  </a:defPPr>
                  <a:lvl1pPr fontAlgn="auto">
                    <a:spcBef>
                      <a:spcPts val="0"/>
                    </a:spcBef>
                    <a:spcAft>
                      <a:spcPts val="0"/>
                    </a:spcAft>
                    <a:defRPr sz="900" b="1">
                      <a:solidFill>
                        <a:schemeClr val="bg1"/>
                      </a:solidFill>
                      <a:latin typeface="Arial" panose="020B0604020202020204" pitchFamily="34" charset="0"/>
                      <a:cs typeface="Arial" panose="020B0604020202020204" pitchFamily="34" charset="0"/>
                    </a:defRPr>
                  </a:lvl1pPr>
                </a:lstStyle>
                <a:p>
                  <a:pPr defTabSz="457189"/>
                  <a:r>
                    <a:rPr lang="en-US">
                      <a:solidFill>
                        <a:srgbClr val="005073"/>
                      </a:solidFill>
                    </a:rPr>
                    <a:t>NCS 5508 as P/PE</a:t>
                  </a:r>
                </a:p>
              </p:txBody>
            </p:sp>
            <p:grpSp>
              <p:nvGrpSpPr>
                <p:cNvPr id="5978" name="Group 194"/>
                <p:cNvGrpSpPr>
                  <a:grpSpLocks noChangeAspect="1"/>
                </p:cNvGrpSpPr>
                <p:nvPr/>
              </p:nvGrpSpPr>
              <p:grpSpPr bwMode="auto">
                <a:xfrm>
                  <a:off x="10417135" y="3578370"/>
                  <a:ext cx="1204814" cy="664662"/>
                  <a:chOff x="336" y="1362"/>
                  <a:chExt cx="658" cy="363"/>
                </a:xfrm>
              </p:grpSpPr>
              <p:sp>
                <p:nvSpPr>
                  <p:cNvPr id="5979" name="Freeform 195"/>
                  <p:cNvSpPr>
                    <a:spLocks/>
                  </p:cNvSpPr>
                  <p:nvPr/>
                </p:nvSpPr>
                <p:spPr bwMode="auto">
                  <a:xfrm>
                    <a:off x="505" y="1416"/>
                    <a:ext cx="151" cy="27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0" name="Line 196"/>
                  <p:cNvSpPr>
                    <a:spLocks noChangeShapeType="1"/>
                  </p:cNvSpPr>
                  <p:nvPr/>
                </p:nvSpPr>
                <p:spPr bwMode="auto">
                  <a:xfrm>
                    <a:off x="543" y="1460"/>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1" name="Line 197"/>
                  <p:cNvSpPr>
                    <a:spLocks noChangeShapeType="1"/>
                  </p:cNvSpPr>
                  <p:nvPr/>
                </p:nvSpPr>
                <p:spPr bwMode="auto">
                  <a:xfrm>
                    <a:off x="543" y="1503"/>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2" name="Line 198"/>
                  <p:cNvSpPr>
                    <a:spLocks noChangeShapeType="1"/>
                  </p:cNvSpPr>
                  <p:nvPr/>
                </p:nvSpPr>
                <p:spPr bwMode="auto">
                  <a:xfrm>
                    <a:off x="543" y="1548"/>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3" name="Line 199"/>
                  <p:cNvSpPr>
                    <a:spLocks noChangeShapeType="1"/>
                  </p:cNvSpPr>
                  <p:nvPr/>
                </p:nvSpPr>
                <p:spPr bwMode="auto">
                  <a:xfrm>
                    <a:off x="543" y="1592"/>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4" name="Line 200"/>
                  <p:cNvSpPr>
                    <a:spLocks noChangeShapeType="1"/>
                  </p:cNvSpPr>
                  <p:nvPr/>
                </p:nvSpPr>
                <p:spPr bwMode="auto">
                  <a:xfrm>
                    <a:off x="543" y="1636"/>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5" name="Freeform 201"/>
                  <p:cNvSpPr>
                    <a:spLocks/>
                  </p:cNvSpPr>
                  <p:nvPr/>
                </p:nvSpPr>
                <p:spPr bwMode="auto">
                  <a:xfrm>
                    <a:off x="675" y="1362"/>
                    <a:ext cx="150" cy="363"/>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6" name="Line 202"/>
                  <p:cNvSpPr>
                    <a:spLocks noChangeShapeType="1"/>
                  </p:cNvSpPr>
                  <p:nvPr/>
                </p:nvSpPr>
                <p:spPr bwMode="auto">
                  <a:xfrm>
                    <a:off x="712" y="1406"/>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7" name="Line 203"/>
                  <p:cNvSpPr>
                    <a:spLocks noChangeShapeType="1"/>
                  </p:cNvSpPr>
                  <p:nvPr/>
                </p:nvSpPr>
                <p:spPr bwMode="auto">
                  <a:xfrm>
                    <a:off x="712" y="1451"/>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8" name="Line 204"/>
                  <p:cNvSpPr>
                    <a:spLocks noChangeShapeType="1"/>
                  </p:cNvSpPr>
                  <p:nvPr/>
                </p:nvSpPr>
                <p:spPr bwMode="auto">
                  <a:xfrm>
                    <a:off x="712" y="1495"/>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89" name="Line 205"/>
                  <p:cNvSpPr>
                    <a:spLocks noChangeShapeType="1"/>
                  </p:cNvSpPr>
                  <p:nvPr/>
                </p:nvSpPr>
                <p:spPr bwMode="auto">
                  <a:xfrm>
                    <a:off x="712" y="1539"/>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0" name="Line 206"/>
                  <p:cNvSpPr>
                    <a:spLocks noChangeShapeType="1"/>
                  </p:cNvSpPr>
                  <p:nvPr/>
                </p:nvSpPr>
                <p:spPr bwMode="auto">
                  <a:xfrm>
                    <a:off x="712" y="1584"/>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1" name="Freeform 207"/>
                  <p:cNvSpPr>
                    <a:spLocks/>
                  </p:cNvSpPr>
                  <p:nvPr/>
                </p:nvSpPr>
                <p:spPr bwMode="auto">
                  <a:xfrm>
                    <a:off x="846" y="1416"/>
                    <a:ext cx="148"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2" name="Line 208"/>
                  <p:cNvSpPr>
                    <a:spLocks noChangeShapeType="1"/>
                  </p:cNvSpPr>
                  <p:nvPr/>
                </p:nvSpPr>
                <p:spPr bwMode="auto">
                  <a:xfrm>
                    <a:off x="88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3" name="Line 209"/>
                  <p:cNvSpPr>
                    <a:spLocks noChangeShapeType="1"/>
                  </p:cNvSpPr>
                  <p:nvPr/>
                </p:nvSpPr>
                <p:spPr bwMode="auto">
                  <a:xfrm>
                    <a:off x="88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4" name="Line 210"/>
                  <p:cNvSpPr>
                    <a:spLocks noChangeShapeType="1"/>
                  </p:cNvSpPr>
                  <p:nvPr/>
                </p:nvSpPr>
                <p:spPr bwMode="auto">
                  <a:xfrm>
                    <a:off x="88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5" name="Line 211"/>
                  <p:cNvSpPr>
                    <a:spLocks noChangeShapeType="1"/>
                  </p:cNvSpPr>
                  <p:nvPr/>
                </p:nvSpPr>
                <p:spPr bwMode="auto">
                  <a:xfrm>
                    <a:off x="88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6" name="Line 212"/>
                  <p:cNvSpPr>
                    <a:spLocks noChangeShapeType="1"/>
                  </p:cNvSpPr>
                  <p:nvPr/>
                </p:nvSpPr>
                <p:spPr bwMode="auto">
                  <a:xfrm>
                    <a:off x="88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7" name="Freeform 213"/>
                  <p:cNvSpPr>
                    <a:spLocks/>
                  </p:cNvSpPr>
                  <p:nvPr/>
                </p:nvSpPr>
                <p:spPr bwMode="auto">
                  <a:xfrm>
                    <a:off x="336" y="1416"/>
                    <a:ext cx="149"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8" name="Line 214"/>
                  <p:cNvSpPr>
                    <a:spLocks noChangeShapeType="1"/>
                  </p:cNvSpPr>
                  <p:nvPr/>
                </p:nvSpPr>
                <p:spPr bwMode="auto">
                  <a:xfrm>
                    <a:off x="37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5999" name="Line 215"/>
                  <p:cNvSpPr>
                    <a:spLocks noChangeShapeType="1"/>
                  </p:cNvSpPr>
                  <p:nvPr/>
                </p:nvSpPr>
                <p:spPr bwMode="auto">
                  <a:xfrm>
                    <a:off x="37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00" name="Line 216"/>
                  <p:cNvSpPr>
                    <a:spLocks noChangeShapeType="1"/>
                  </p:cNvSpPr>
                  <p:nvPr/>
                </p:nvSpPr>
                <p:spPr bwMode="auto">
                  <a:xfrm>
                    <a:off x="37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01" name="Line 217"/>
                  <p:cNvSpPr>
                    <a:spLocks noChangeShapeType="1"/>
                  </p:cNvSpPr>
                  <p:nvPr/>
                </p:nvSpPr>
                <p:spPr bwMode="auto">
                  <a:xfrm>
                    <a:off x="37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sp>
                <p:nvSpPr>
                  <p:cNvPr id="6002" name="Line 218"/>
                  <p:cNvSpPr>
                    <a:spLocks noChangeShapeType="1"/>
                  </p:cNvSpPr>
                  <p:nvPr/>
                </p:nvSpPr>
                <p:spPr bwMode="auto">
                  <a:xfrm>
                    <a:off x="37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a:endParaRPr lang="en-US">
                      <a:solidFill>
                        <a:srgbClr val="282828"/>
                      </a:solidFill>
                    </a:endParaRPr>
                  </a:p>
                </p:txBody>
              </p:sp>
            </p:grpSp>
            <p:sp>
              <p:nvSpPr>
                <p:cNvPr id="199" name="TextBox 198">
                  <a:extLst>
                    <a:ext uri="{FF2B5EF4-FFF2-40B4-BE49-F238E27FC236}">
                      <a16:creationId xmlns:a16="http://schemas.microsoft.com/office/drawing/2014/main" id="{236FF0CC-0C5C-47BE-96D7-B53CF2ED6F6F}"/>
                    </a:ext>
                  </a:extLst>
                </p:cNvPr>
                <p:cNvSpPr txBox="1"/>
                <p:nvPr/>
              </p:nvSpPr>
              <p:spPr>
                <a:xfrm>
                  <a:off x="7336717" y="4919446"/>
                  <a:ext cx="1400384" cy="307776"/>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MEC ACI Fabric</a:t>
                  </a:r>
                </a:p>
              </p:txBody>
            </p:sp>
            <p:sp>
              <p:nvSpPr>
                <p:cNvPr id="279" name="Freeform 48">
                  <a:extLst>
                    <a:ext uri="{FF2B5EF4-FFF2-40B4-BE49-F238E27FC236}">
                      <a16:creationId xmlns:a16="http://schemas.microsoft.com/office/drawing/2014/main" id="{B9859B93-355B-46CC-84D4-AC203CAB0198}"/>
                    </a:ext>
                  </a:extLst>
                </p:cNvPr>
                <p:cNvSpPr>
                  <a:spLocks/>
                </p:cNvSpPr>
                <p:nvPr/>
              </p:nvSpPr>
              <p:spPr bwMode="auto">
                <a:xfrm>
                  <a:off x="12235258" y="7360998"/>
                  <a:ext cx="1090053" cy="597386"/>
                </a:xfrm>
                <a:custGeom>
                  <a:avLst/>
                  <a:gdLst>
                    <a:gd name="T0" fmla="*/ 361 w 432"/>
                    <a:gd name="T1" fmla="*/ 121 h 268"/>
                    <a:gd name="T2" fmla="*/ 364 w 432"/>
                    <a:gd name="T3" fmla="*/ 96 h 268"/>
                    <a:gd name="T4" fmla="*/ 268 w 432"/>
                    <a:gd name="T5" fmla="*/ 0 h 268"/>
                    <a:gd name="T6" fmla="*/ 175 w 432"/>
                    <a:gd name="T7" fmla="*/ 71 h 268"/>
                    <a:gd name="T8" fmla="*/ 138 w 432"/>
                    <a:gd name="T9" fmla="*/ 62 h 268"/>
                    <a:gd name="T10" fmla="*/ 54 w 432"/>
                    <a:gd name="T11" fmla="*/ 146 h 268"/>
                    <a:gd name="T12" fmla="*/ 55 w 432"/>
                    <a:gd name="T13" fmla="*/ 156 h 268"/>
                    <a:gd name="T14" fmla="*/ 54 w 432"/>
                    <a:gd name="T15" fmla="*/ 156 h 268"/>
                    <a:gd name="T16" fmla="*/ 0 w 432"/>
                    <a:gd name="T17" fmla="*/ 212 h 268"/>
                    <a:gd name="T18" fmla="*/ 54 w 432"/>
                    <a:gd name="T19" fmla="*/ 268 h 268"/>
                    <a:gd name="T20" fmla="*/ 360 w 432"/>
                    <a:gd name="T21" fmla="*/ 268 h 268"/>
                    <a:gd name="T22" fmla="*/ 432 w 432"/>
                    <a:gd name="T23" fmla="*/ 194 h 268"/>
                    <a:gd name="T24" fmla="*/ 361 w 432"/>
                    <a:gd name="T25" fmla="*/ 1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268">
                      <a:moveTo>
                        <a:pt x="361" y="121"/>
                      </a:moveTo>
                      <a:cubicBezTo>
                        <a:pt x="363" y="113"/>
                        <a:pt x="364" y="104"/>
                        <a:pt x="364" y="96"/>
                      </a:cubicBezTo>
                      <a:cubicBezTo>
                        <a:pt x="364" y="43"/>
                        <a:pt x="321" y="0"/>
                        <a:pt x="268" y="0"/>
                      </a:cubicBezTo>
                      <a:cubicBezTo>
                        <a:pt x="224" y="0"/>
                        <a:pt x="186" y="30"/>
                        <a:pt x="175" y="71"/>
                      </a:cubicBezTo>
                      <a:cubicBezTo>
                        <a:pt x="164" y="65"/>
                        <a:pt x="151" y="62"/>
                        <a:pt x="138" y="62"/>
                      </a:cubicBezTo>
                      <a:cubicBezTo>
                        <a:pt x="92" y="62"/>
                        <a:pt x="54" y="100"/>
                        <a:pt x="54" y="146"/>
                      </a:cubicBezTo>
                      <a:cubicBezTo>
                        <a:pt x="54" y="149"/>
                        <a:pt x="54" y="153"/>
                        <a:pt x="55" y="156"/>
                      </a:cubicBezTo>
                      <a:cubicBezTo>
                        <a:pt x="54" y="156"/>
                        <a:pt x="54" y="156"/>
                        <a:pt x="54" y="156"/>
                      </a:cubicBezTo>
                      <a:cubicBezTo>
                        <a:pt x="24" y="156"/>
                        <a:pt x="0" y="182"/>
                        <a:pt x="0" y="212"/>
                      </a:cubicBezTo>
                      <a:cubicBezTo>
                        <a:pt x="0" y="242"/>
                        <a:pt x="24" y="268"/>
                        <a:pt x="54" y="268"/>
                      </a:cubicBezTo>
                      <a:cubicBezTo>
                        <a:pt x="360" y="268"/>
                        <a:pt x="360" y="268"/>
                        <a:pt x="360" y="268"/>
                      </a:cubicBezTo>
                      <a:cubicBezTo>
                        <a:pt x="400" y="268"/>
                        <a:pt x="432" y="234"/>
                        <a:pt x="432" y="194"/>
                      </a:cubicBezTo>
                      <a:cubicBezTo>
                        <a:pt x="432" y="155"/>
                        <a:pt x="400" y="121"/>
                        <a:pt x="361" y="121"/>
                      </a:cubicBezTo>
                      <a:close/>
                    </a:path>
                  </a:pathLst>
                </a:custGeom>
                <a:solidFill>
                  <a:schemeClr val="bg2"/>
                </a:solidFill>
                <a:ln w="25400" cap="flat" cmpd="sng" algn="ctr">
                  <a:solidFill>
                    <a:srgbClr val="00BCEB"/>
                  </a:solidFill>
                  <a:prstDash val="solid"/>
                </a:ln>
                <a:effectLst/>
              </p:spPr>
              <p:txBody>
                <a:bodyPr lIns="91400" tIns="45700" rIns="91400" bIns="45700" rtlCol="0" anchor="ctr"/>
                <a:lstStyle/>
                <a:p>
                  <a:pPr algn="ctr" defTabSz="912395">
                    <a:defRPr/>
                  </a:pPr>
                  <a:endParaRPr lang="en-US" sz="2400" kern="0">
                    <a:solidFill>
                      <a:srgbClr val="FFFFFF"/>
                    </a:solidFill>
                  </a:endParaRPr>
                </a:p>
              </p:txBody>
            </p:sp>
          </p:grpSp>
          <p:grpSp>
            <p:nvGrpSpPr>
              <p:cNvPr id="148" name="Group 147">
                <a:extLst>
                  <a:ext uri="{FF2B5EF4-FFF2-40B4-BE49-F238E27FC236}">
                    <a16:creationId xmlns:a16="http://schemas.microsoft.com/office/drawing/2014/main" id="{16BFF7A3-9A4C-4B14-ACCF-7627D6FB3908}"/>
                  </a:ext>
                </a:extLst>
              </p:cNvPr>
              <p:cNvGrpSpPr/>
              <p:nvPr/>
            </p:nvGrpSpPr>
            <p:grpSpPr>
              <a:xfrm>
                <a:off x="1969367" y="2684326"/>
                <a:ext cx="299337" cy="299339"/>
                <a:chOff x="4083769" y="2552776"/>
                <a:chExt cx="529089" cy="529089"/>
              </a:xfrm>
            </p:grpSpPr>
            <p:sp>
              <p:nvSpPr>
                <p:cNvPr id="149" name="Oval 148">
                  <a:extLst>
                    <a:ext uri="{FF2B5EF4-FFF2-40B4-BE49-F238E27FC236}">
                      <a16:creationId xmlns:a16="http://schemas.microsoft.com/office/drawing/2014/main" id="{B23DD8A7-D0B9-4B63-A053-9076B481177B}"/>
                    </a:ext>
                  </a:extLst>
                </p:cNvPr>
                <p:cNvSpPr/>
                <p:nvPr/>
              </p:nvSpPr>
              <p:spPr>
                <a:xfrm>
                  <a:off x="4083769" y="2552776"/>
                  <a:ext cx="529089" cy="52908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Freeform: Shape 298">
                  <a:extLst>
                    <a:ext uri="{FF2B5EF4-FFF2-40B4-BE49-F238E27FC236}">
                      <a16:creationId xmlns:a16="http://schemas.microsoft.com/office/drawing/2014/main" id="{205C2C07-ABAB-4F4F-BF0A-49166E7187C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51" name="Freeform: Shape 299">
                  <a:extLst>
                    <a:ext uri="{FF2B5EF4-FFF2-40B4-BE49-F238E27FC236}">
                      <a16:creationId xmlns:a16="http://schemas.microsoft.com/office/drawing/2014/main" id="{5F7CF4E0-CC73-4F33-8690-06A4BF02BF1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52" name="Freeform: Shape 301">
                  <a:extLst>
                    <a:ext uri="{FF2B5EF4-FFF2-40B4-BE49-F238E27FC236}">
                      <a16:creationId xmlns:a16="http://schemas.microsoft.com/office/drawing/2014/main" id="{7C575F60-A348-4D8E-800B-789E9FC950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53" name="Freeform: Shape 302">
                  <a:extLst>
                    <a:ext uri="{FF2B5EF4-FFF2-40B4-BE49-F238E27FC236}">
                      <a16:creationId xmlns:a16="http://schemas.microsoft.com/office/drawing/2014/main" id="{A2DEC0D9-7A6E-4405-AF52-3FAA0303A3E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grpSp>
            <p:nvGrpSpPr>
              <p:cNvPr id="154" name="Group 153">
                <a:extLst>
                  <a:ext uri="{FF2B5EF4-FFF2-40B4-BE49-F238E27FC236}">
                    <a16:creationId xmlns:a16="http://schemas.microsoft.com/office/drawing/2014/main" id="{32099E98-BF4F-4BDF-8D94-0341BF0C29DD}"/>
                  </a:ext>
                </a:extLst>
              </p:cNvPr>
              <p:cNvGrpSpPr/>
              <p:nvPr/>
            </p:nvGrpSpPr>
            <p:grpSpPr>
              <a:xfrm>
                <a:off x="2187660" y="1522098"/>
                <a:ext cx="299337" cy="299339"/>
                <a:chOff x="4083769" y="2552776"/>
                <a:chExt cx="529089" cy="529089"/>
              </a:xfrm>
            </p:grpSpPr>
            <p:sp>
              <p:nvSpPr>
                <p:cNvPr id="155" name="Oval 154">
                  <a:extLst>
                    <a:ext uri="{FF2B5EF4-FFF2-40B4-BE49-F238E27FC236}">
                      <a16:creationId xmlns:a16="http://schemas.microsoft.com/office/drawing/2014/main" id="{4FABE543-F111-4FC1-A580-563E1BD4F6FC}"/>
                    </a:ext>
                  </a:extLst>
                </p:cNvPr>
                <p:cNvSpPr/>
                <p:nvPr/>
              </p:nvSpPr>
              <p:spPr>
                <a:xfrm>
                  <a:off x="4083769" y="2552776"/>
                  <a:ext cx="529089" cy="52908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Freeform: Shape 298">
                  <a:extLst>
                    <a:ext uri="{FF2B5EF4-FFF2-40B4-BE49-F238E27FC236}">
                      <a16:creationId xmlns:a16="http://schemas.microsoft.com/office/drawing/2014/main" id="{77F10356-ED53-4008-A865-AD38D463661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57" name="Freeform: Shape 299">
                  <a:extLst>
                    <a:ext uri="{FF2B5EF4-FFF2-40B4-BE49-F238E27FC236}">
                      <a16:creationId xmlns:a16="http://schemas.microsoft.com/office/drawing/2014/main" id="{F5DB70EF-E332-4F0F-B8FB-4EE1D4293F7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58" name="Freeform: Shape 301">
                  <a:extLst>
                    <a:ext uri="{FF2B5EF4-FFF2-40B4-BE49-F238E27FC236}">
                      <a16:creationId xmlns:a16="http://schemas.microsoft.com/office/drawing/2014/main" id="{D6786DFB-71BB-4F1B-9FBE-446677D9CBC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59" name="Freeform: Shape 302">
                  <a:extLst>
                    <a:ext uri="{FF2B5EF4-FFF2-40B4-BE49-F238E27FC236}">
                      <a16:creationId xmlns:a16="http://schemas.microsoft.com/office/drawing/2014/main" id="{F10F1406-C2A0-4C54-89AE-311540E8AD6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grpSp>
            <p:nvGrpSpPr>
              <p:cNvPr id="162" name="Group 161">
                <a:extLst>
                  <a:ext uri="{FF2B5EF4-FFF2-40B4-BE49-F238E27FC236}">
                    <a16:creationId xmlns:a16="http://schemas.microsoft.com/office/drawing/2014/main" id="{0B4FC830-432B-4CDF-BB09-916D7DBC701C}"/>
                  </a:ext>
                </a:extLst>
              </p:cNvPr>
              <p:cNvGrpSpPr/>
              <p:nvPr/>
            </p:nvGrpSpPr>
            <p:grpSpPr>
              <a:xfrm>
                <a:off x="2411115" y="3769276"/>
                <a:ext cx="299337" cy="299339"/>
                <a:chOff x="4083769" y="2552776"/>
                <a:chExt cx="529089" cy="529089"/>
              </a:xfrm>
            </p:grpSpPr>
            <p:sp>
              <p:nvSpPr>
                <p:cNvPr id="163" name="Oval 162">
                  <a:extLst>
                    <a:ext uri="{FF2B5EF4-FFF2-40B4-BE49-F238E27FC236}">
                      <a16:creationId xmlns:a16="http://schemas.microsoft.com/office/drawing/2014/main" id="{63CBB930-A523-402C-8AD7-1A517780AA42}"/>
                    </a:ext>
                  </a:extLst>
                </p:cNvPr>
                <p:cNvSpPr/>
                <p:nvPr/>
              </p:nvSpPr>
              <p:spPr>
                <a:xfrm>
                  <a:off x="4083769" y="2552776"/>
                  <a:ext cx="529089" cy="52908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Freeform: Shape 298">
                  <a:extLst>
                    <a:ext uri="{FF2B5EF4-FFF2-40B4-BE49-F238E27FC236}">
                      <a16:creationId xmlns:a16="http://schemas.microsoft.com/office/drawing/2014/main" id="{7FC6830A-3F44-42BB-8A67-38BBF0A32D2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65" name="Freeform: Shape 299">
                  <a:extLst>
                    <a:ext uri="{FF2B5EF4-FFF2-40B4-BE49-F238E27FC236}">
                      <a16:creationId xmlns:a16="http://schemas.microsoft.com/office/drawing/2014/main" id="{54077003-64E9-44CF-9B00-489C92E929E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66" name="Freeform: Shape 301">
                  <a:extLst>
                    <a:ext uri="{FF2B5EF4-FFF2-40B4-BE49-F238E27FC236}">
                      <a16:creationId xmlns:a16="http://schemas.microsoft.com/office/drawing/2014/main" id="{1402B332-2FA7-49C7-9DD7-A5F9D30C123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67" name="Freeform: Shape 302">
                  <a:extLst>
                    <a:ext uri="{FF2B5EF4-FFF2-40B4-BE49-F238E27FC236}">
                      <a16:creationId xmlns:a16="http://schemas.microsoft.com/office/drawing/2014/main" id="{33014407-8B1E-4A7E-8E13-AC3BDA33C5E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sp>
            <p:nvSpPr>
              <p:cNvPr id="168" name="TextBox 167">
                <a:extLst>
                  <a:ext uri="{FF2B5EF4-FFF2-40B4-BE49-F238E27FC236}">
                    <a16:creationId xmlns:a16="http://schemas.microsoft.com/office/drawing/2014/main" id="{72F0FEF0-6AF5-4F80-88AF-B84C6D8489AC}"/>
                  </a:ext>
                </a:extLst>
              </p:cNvPr>
              <p:cNvSpPr txBox="1"/>
              <p:nvPr/>
            </p:nvSpPr>
            <p:spPr>
              <a:xfrm>
                <a:off x="1766464" y="3013181"/>
                <a:ext cx="652743" cy="230832"/>
              </a:xfrm>
              <a:prstGeom prst="rect">
                <a:avLst/>
              </a:prstGeom>
              <a:noFill/>
            </p:spPr>
            <p:txBody>
              <a:bodyPr wrap="none" rtlCol="0">
                <a:spAutoFit/>
              </a:bodyPr>
              <a:lstStyle/>
              <a:p>
                <a:pPr defTabSz="457189"/>
                <a:r>
                  <a:rPr lang="nl-NL" sz="900" b="1">
                    <a:solidFill>
                      <a:srgbClr val="005073"/>
                    </a:solidFill>
                    <a:latin typeface="Arial" panose="020B0604020202020204" pitchFamily="34" charset="0"/>
                    <a:cs typeface="Arial" panose="020B0604020202020204" pitchFamily="34" charset="0"/>
                  </a:rPr>
                  <a:t>N</a:t>
                </a:r>
                <a:r>
                  <a:rPr lang="en-US" sz="900" b="1">
                    <a:solidFill>
                      <a:srgbClr val="005073"/>
                    </a:solidFill>
                    <a:latin typeface="Arial" panose="020B0604020202020204" pitchFamily="34" charset="0"/>
                    <a:cs typeface="Arial" panose="020B0604020202020204" pitchFamily="34" charset="0"/>
                  </a:rPr>
                  <a:t>CS 540</a:t>
                </a:r>
              </a:p>
            </p:txBody>
          </p:sp>
          <p:sp>
            <p:nvSpPr>
              <p:cNvPr id="169" name="TextBox 168">
                <a:extLst>
                  <a:ext uri="{FF2B5EF4-FFF2-40B4-BE49-F238E27FC236}">
                    <a16:creationId xmlns:a16="http://schemas.microsoft.com/office/drawing/2014/main" id="{F80D25DE-3915-4CC7-B8C7-9EB11B3E06BA}"/>
                  </a:ext>
                </a:extLst>
              </p:cNvPr>
              <p:cNvSpPr txBox="1"/>
              <p:nvPr/>
            </p:nvSpPr>
            <p:spPr>
              <a:xfrm>
                <a:off x="2030031" y="1830419"/>
                <a:ext cx="652743" cy="230832"/>
              </a:xfrm>
              <a:prstGeom prst="rect">
                <a:avLst/>
              </a:prstGeom>
              <a:noFill/>
            </p:spPr>
            <p:txBody>
              <a:bodyPr wrap="none" rtlCol="0">
                <a:spAutoFit/>
              </a:bodyPr>
              <a:lstStyle/>
              <a:p>
                <a:pPr defTabSz="457189"/>
                <a:r>
                  <a:rPr lang="nl-NL" sz="900" b="1">
                    <a:solidFill>
                      <a:srgbClr val="005073"/>
                    </a:solidFill>
                    <a:latin typeface="Arial" panose="020B0604020202020204" pitchFamily="34" charset="0"/>
                    <a:cs typeface="Arial" panose="020B0604020202020204" pitchFamily="34" charset="0"/>
                  </a:rPr>
                  <a:t>N</a:t>
                </a:r>
                <a:r>
                  <a:rPr lang="en-US" sz="900" b="1">
                    <a:solidFill>
                      <a:srgbClr val="005073"/>
                    </a:solidFill>
                    <a:latin typeface="Arial" panose="020B0604020202020204" pitchFamily="34" charset="0"/>
                    <a:cs typeface="Arial" panose="020B0604020202020204" pitchFamily="34" charset="0"/>
                  </a:rPr>
                  <a:t>CS 540</a:t>
                </a:r>
              </a:p>
            </p:txBody>
          </p:sp>
          <p:sp>
            <p:nvSpPr>
              <p:cNvPr id="170" name="TextBox 169">
                <a:extLst>
                  <a:ext uri="{FF2B5EF4-FFF2-40B4-BE49-F238E27FC236}">
                    <a16:creationId xmlns:a16="http://schemas.microsoft.com/office/drawing/2014/main" id="{489A83FA-D793-4171-AE68-DB7A37A92A76}"/>
                  </a:ext>
                </a:extLst>
              </p:cNvPr>
              <p:cNvSpPr txBox="1"/>
              <p:nvPr/>
            </p:nvSpPr>
            <p:spPr>
              <a:xfrm>
                <a:off x="2271698" y="4122002"/>
                <a:ext cx="652743" cy="230832"/>
              </a:xfrm>
              <a:prstGeom prst="rect">
                <a:avLst/>
              </a:prstGeom>
              <a:noFill/>
            </p:spPr>
            <p:txBody>
              <a:bodyPr wrap="none" rtlCol="0">
                <a:spAutoFit/>
              </a:bodyPr>
              <a:lstStyle>
                <a:defPPr>
                  <a:defRPr lang="en-US"/>
                </a:defPPr>
                <a:lvl1pPr defTabSz="609585">
                  <a:defRPr sz="1200" b="1">
                    <a:solidFill>
                      <a:srgbClr val="005073"/>
                    </a:solidFill>
                    <a:latin typeface="Arial" panose="020B0604020202020204" pitchFamily="34" charset="0"/>
                    <a:ea typeface="ＭＳ Ｐゴシック" charset="0"/>
                    <a:cs typeface="Arial" panose="020B0604020202020204" pitchFamily="34" charset="0"/>
                  </a:defRPr>
                </a:lvl1pPr>
              </a:lstStyle>
              <a:p>
                <a:r>
                  <a:rPr lang="nl-NL" sz="900"/>
                  <a:t>N</a:t>
                </a:r>
                <a:r>
                  <a:rPr lang="en-US" sz="900"/>
                  <a:t>CS 560</a:t>
                </a:r>
              </a:p>
            </p:txBody>
          </p:sp>
          <p:sp>
            <p:nvSpPr>
              <p:cNvPr id="172" name="TextBox 171">
                <a:extLst>
                  <a:ext uri="{FF2B5EF4-FFF2-40B4-BE49-F238E27FC236}">
                    <a16:creationId xmlns:a16="http://schemas.microsoft.com/office/drawing/2014/main" id="{076B439A-4D9E-48BE-BB5D-FBF4694A3983}"/>
                  </a:ext>
                </a:extLst>
              </p:cNvPr>
              <p:cNvSpPr txBox="1"/>
              <p:nvPr/>
            </p:nvSpPr>
            <p:spPr>
              <a:xfrm>
                <a:off x="2465976" y="1381622"/>
                <a:ext cx="1890261" cy="369332"/>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80km Ring Segments/</a:t>
                </a:r>
                <a:r>
                  <a:rPr lang="en-US" sz="900" b="1" err="1">
                    <a:solidFill>
                      <a:srgbClr val="005073"/>
                    </a:solidFill>
                    <a:latin typeface="Arial" panose="020B0604020202020204" pitchFamily="34" charset="0"/>
                    <a:cs typeface="Arial" panose="020B0604020202020204" pitchFamily="34" charset="0"/>
                  </a:rPr>
                  <a:t>Darkfibre</a:t>
                </a:r>
                <a:endParaRPr lang="en-US" sz="900" b="1">
                  <a:solidFill>
                    <a:srgbClr val="005073"/>
                  </a:solidFill>
                  <a:latin typeface="Arial" panose="020B0604020202020204" pitchFamily="34" charset="0"/>
                  <a:cs typeface="Arial" panose="020B0604020202020204" pitchFamily="34" charset="0"/>
                </a:endParaRPr>
              </a:p>
              <a:p>
                <a:pPr defTabSz="457189"/>
                <a:r>
                  <a:rPr lang="en-US" sz="900" b="1">
                    <a:solidFill>
                      <a:srgbClr val="005073"/>
                    </a:solidFill>
                    <a:latin typeface="Arial" panose="020B0604020202020204" pitchFamily="34" charset="0"/>
                    <a:cs typeface="Arial" panose="020B0604020202020204" pitchFamily="34" charset="0"/>
                  </a:rPr>
                  <a:t>Via DCO-Optics</a:t>
                </a:r>
              </a:p>
            </p:txBody>
          </p:sp>
          <p:grpSp>
            <p:nvGrpSpPr>
              <p:cNvPr id="185" name="Group 184">
                <a:extLst>
                  <a:ext uri="{FF2B5EF4-FFF2-40B4-BE49-F238E27FC236}">
                    <a16:creationId xmlns:a16="http://schemas.microsoft.com/office/drawing/2014/main" id="{E58EB976-692B-4080-81EE-230CD62D8CD9}"/>
                  </a:ext>
                </a:extLst>
              </p:cNvPr>
              <p:cNvGrpSpPr/>
              <p:nvPr/>
            </p:nvGrpSpPr>
            <p:grpSpPr>
              <a:xfrm>
                <a:off x="3994623" y="2552827"/>
                <a:ext cx="299337" cy="299339"/>
                <a:chOff x="4083764" y="2552776"/>
                <a:chExt cx="529089" cy="529089"/>
              </a:xfrm>
            </p:grpSpPr>
            <p:sp>
              <p:nvSpPr>
                <p:cNvPr id="186" name="Oval 185">
                  <a:extLst>
                    <a:ext uri="{FF2B5EF4-FFF2-40B4-BE49-F238E27FC236}">
                      <a16:creationId xmlns:a16="http://schemas.microsoft.com/office/drawing/2014/main" id="{F9AF6C52-194D-46BA-A106-092024716A6C}"/>
                    </a:ext>
                  </a:extLst>
                </p:cNvPr>
                <p:cNvSpPr/>
                <p:nvPr/>
              </p:nvSpPr>
              <p:spPr>
                <a:xfrm>
                  <a:off x="4083764"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87" name="Freeform: Shape 298">
                  <a:extLst>
                    <a:ext uri="{FF2B5EF4-FFF2-40B4-BE49-F238E27FC236}">
                      <a16:creationId xmlns:a16="http://schemas.microsoft.com/office/drawing/2014/main" id="{FDF64536-ED3A-4A72-857F-A06298E8BB4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88" name="Freeform: Shape 299">
                  <a:extLst>
                    <a:ext uri="{FF2B5EF4-FFF2-40B4-BE49-F238E27FC236}">
                      <a16:creationId xmlns:a16="http://schemas.microsoft.com/office/drawing/2014/main" id="{3FCF454E-57FA-478B-A5C1-F3AE42EF71F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89" name="Freeform: Shape 301">
                  <a:extLst>
                    <a:ext uri="{FF2B5EF4-FFF2-40B4-BE49-F238E27FC236}">
                      <a16:creationId xmlns:a16="http://schemas.microsoft.com/office/drawing/2014/main" id="{A3EB3571-1EA6-4586-A503-CC5B4869DA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90" name="Freeform: Shape 302">
                  <a:extLst>
                    <a:ext uri="{FF2B5EF4-FFF2-40B4-BE49-F238E27FC236}">
                      <a16:creationId xmlns:a16="http://schemas.microsoft.com/office/drawing/2014/main" id="{5381A8B5-F52B-410F-AEF7-66779EDDAD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grpSp>
            <p:nvGrpSpPr>
              <p:cNvPr id="191" name="Group 190">
                <a:extLst>
                  <a:ext uri="{FF2B5EF4-FFF2-40B4-BE49-F238E27FC236}">
                    <a16:creationId xmlns:a16="http://schemas.microsoft.com/office/drawing/2014/main" id="{D0E642F5-D77B-4699-943A-77DFA03BEAA3}"/>
                  </a:ext>
                </a:extLst>
              </p:cNvPr>
              <p:cNvGrpSpPr/>
              <p:nvPr/>
            </p:nvGrpSpPr>
            <p:grpSpPr>
              <a:xfrm>
                <a:off x="3999518" y="2927602"/>
                <a:ext cx="299337" cy="299339"/>
                <a:chOff x="4083769" y="2552776"/>
                <a:chExt cx="529089" cy="529089"/>
              </a:xfrm>
            </p:grpSpPr>
            <p:sp>
              <p:nvSpPr>
                <p:cNvPr id="192" name="Oval 191">
                  <a:extLst>
                    <a:ext uri="{FF2B5EF4-FFF2-40B4-BE49-F238E27FC236}">
                      <a16:creationId xmlns:a16="http://schemas.microsoft.com/office/drawing/2014/main" id="{F22BE34E-5F1A-4718-9212-DE02A3655F6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93" name="Freeform: Shape 298">
                  <a:extLst>
                    <a:ext uri="{FF2B5EF4-FFF2-40B4-BE49-F238E27FC236}">
                      <a16:creationId xmlns:a16="http://schemas.microsoft.com/office/drawing/2014/main" id="{74705007-2E6A-4C49-969F-BBC071FBA7D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94" name="Freeform: Shape 299">
                  <a:extLst>
                    <a:ext uri="{FF2B5EF4-FFF2-40B4-BE49-F238E27FC236}">
                      <a16:creationId xmlns:a16="http://schemas.microsoft.com/office/drawing/2014/main" id="{016D8600-DD62-49F3-9016-E08CF804315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95" name="Freeform: Shape 301">
                  <a:extLst>
                    <a:ext uri="{FF2B5EF4-FFF2-40B4-BE49-F238E27FC236}">
                      <a16:creationId xmlns:a16="http://schemas.microsoft.com/office/drawing/2014/main" id="{09BC0C21-31AA-4142-A3A6-A21BF79F984C}"/>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196" name="Freeform: Shape 302">
                  <a:extLst>
                    <a:ext uri="{FF2B5EF4-FFF2-40B4-BE49-F238E27FC236}">
                      <a16:creationId xmlns:a16="http://schemas.microsoft.com/office/drawing/2014/main" id="{20C3E453-596A-43F0-B45B-70A60546020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sp>
            <p:nvSpPr>
              <p:cNvPr id="198" name="Oval 197">
                <a:extLst>
                  <a:ext uri="{FF2B5EF4-FFF2-40B4-BE49-F238E27FC236}">
                    <a16:creationId xmlns:a16="http://schemas.microsoft.com/office/drawing/2014/main" id="{49CB28EA-5914-4354-B3B7-4525C2CD1FF4}"/>
                  </a:ext>
                </a:extLst>
              </p:cNvPr>
              <p:cNvSpPr/>
              <p:nvPr/>
            </p:nvSpPr>
            <p:spPr>
              <a:xfrm flipV="1">
                <a:off x="5854459" y="1926811"/>
                <a:ext cx="2639354" cy="1775885"/>
              </a:xfrm>
              <a:prstGeom prst="ellipse">
                <a:avLst/>
              </a:prstGeom>
              <a:noFill/>
              <a:ln w="25400" cap="flat" cmpd="sng" algn="ctr">
                <a:gradFill>
                  <a:gsLst>
                    <a:gs pos="0">
                      <a:srgbClr val="C00000"/>
                    </a:gs>
                    <a:gs pos="20000">
                      <a:srgbClr val="FFC000"/>
                    </a:gs>
                    <a:gs pos="10000">
                      <a:srgbClr val="FF0000"/>
                    </a:gs>
                    <a:gs pos="31000">
                      <a:srgbClr val="FFFF00"/>
                    </a:gs>
                    <a:gs pos="99115">
                      <a:srgbClr val="7030A0"/>
                    </a:gs>
                    <a:gs pos="89000">
                      <a:srgbClr val="002060"/>
                    </a:gs>
                    <a:gs pos="78000">
                      <a:srgbClr val="0070C0"/>
                    </a:gs>
                    <a:gs pos="68000">
                      <a:srgbClr val="00B0F0"/>
                    </a:gs>
                    <a:gs pos="56000">
                      <a:srgbClr val="00B050"/>
                    </a:gs>
                    <a:gs pos="45000">
                      <a:srgbClr val="92D050"/>
                    </a:gs>
                  </a:gsLst>
                  <a:lin ang="5400000" scaled="1"/>
                </a:gradFill>
                <a:prstDash val="solid"/>
              </a:ln>
              <a:effectLst/>
            </p:spPr>
            <p:txBody>
              <a:bodyPr rtlCol="0" anchor="ctr"/>
              <a:lstStyle/>
              <a:p>
                <a:pPr algn="ctr" defTabSz="914378">
                  <a:defRPr/>
                </a:pPr>
                <a:endParaRPr lang="en-US" kern="0">
                  <a:solidFill>
                    <a:srgbClr val="005073"/>
                  </a:solidFill>
                  <a:latin typeface="CiscoSansTT ExtraLight"/>
                </a:endParaRPr>
              </a:p>
            </p:txBody>
          </p:sp>
          <p:sp>
            <p:nvSpPr>
              <p:cNvPr id="201" name="TextBox 200">
                <a:extLst>
                  <a:ext uri="{FF2B5EF4-FFF2-40B4-BE49-F238E27FC236}">
                    <a16:creationId xmlns:a16="http://schemas.microsoft.com/office/drawing/2014/main" id="{01023E8A-4CFE-4DD0-99D8-FBDC626E5174}"/>
                  </a:ext>
                </a:extLst>
              </p:cNvPr>
              <p:cNvSpPr txBox="1"/>
              <p:nvPr/>
            </p:nvSpPr>
            <p:spPr>
              <a:xfrm>
                <a:off x="1672025" y="1154828"/>
                <a:ext cx="723275" cy="230832"/>
              </a:xfrm>
              <a:prstGeom prst="rect">
                <a:avLst/>
              </a:prstGeom>
              <a:noFill/>
            </p:spPr>
            <p:txBody>
              <a:bodyPr wrap="none" rtlCol="0">
                <a:spAutoFit/>
              </a:bodyPr>
              <a:lstStyle/>
              <a:p>
                <a:pPr defTabSz="457189"/>
                <a:r>
                  <a:rPr lang="en-US" sz="900" b="1" err="1">
                    <a:solidFill>
                      <a:srgbClr val="005073"/>
                    </a:solidFill>
                    <a:latin typeface="Arial" panose="020B0604020202020204" pitchFamily="34" charset="0"/>
                    <a:cs typeface="Arial" panose="020B0604020202020204" pitchFamily="34" charset="0"/>
                  </a:rPr>
                  <a:t>DarkFibre</a:t>
                </a:r>
                <a:endParaRPr lang="en-US" sz="900" b="1">
                  <a:solidFill>
                    <a:srgbClr val="005073"/>
                  </a:solidFill>
                  <a:latin typeface="Arial" panose="020B0604020202020204" pitchFamily="34" charset="0"/>
                  <a:cs typeface="Arial" panose="020B0604020202020204" pitchFamily="34" charset="0"/>
                </a:endParaRPr>
              </a:p>
            </p:txBody>
          </p:sp>
          <p:grpSp>
            <p:nvGrpSpPr>
              <p:cNvPr id="202" name="Group 201">
                <a:extLst>
                  <a:ext uri="{FF2B5EF4-FFF2-40B4-BE49-F238E27FC236}">
                    <a16:creationId xmlns:a16="http://schemas.microsoft.com/office/drawing/2014/main" id="{09B51EA6-9D1C-419F-AC8B-06426F622328}"/>
                  </a:ext>
                </a:extLst>
              </p:cNvPr>
              <p:cNvGrpSpPr/>
              <p:nvPr/>
            </p:nvGrpSpPr>
            <p:grpSpPr>
              <a:xfrm>
                <a:off x="5682572" y="2667768"/>
                <a:ext cx="299337" cy="299339"/>
                <a:chOff x="4083769" y="2552776"/>
                <a:chExt cx="529089" cy="529089"/>
              </a:xfrm>
            </p:grpSpPr>
            <p:sp>
              <p:nvSpPr>
                <p:cNvPr id="203" name="Oval 202">
                  <a:extLst>
                    <a:ext uri="{FF2B5EF4-FFF2-40B4-BE49-F238E27FC236}">
                      <a16:creationId xmlns:a16="http://schemas.microsoft.com/office/drawing/2014/main" id="{4EA43305-FF0A-47DB-92DA-C34694CDF06C}"/>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Freeform: Shape 298">
                  <a:extLst>
                    <a:ext uri="{FF2B5EF4-FFF2-40B4-BE49-F238E27FC236}">
                      <a16:creationId xmlns:a16="http://schemas.microsoft.com/office/drawing/2014/main" id="{EB2B1F1D-8DD0-49EF-B49D-C96B9AE52EA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05" name="Freeform: Shape 299">
                  <a:extLst>
                    <a:ext uri="{FF2B5EF4-FFF2-40B4-BE49-F238E27FC236}">
                      <a16:creationId xmlns:a16="http://schemas.microsoft.com/office/drawing/2014/main" id="{27ADB3EF-4DF8-43E6-BC26-A31159403CE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06" name="Freeform: Shape 301">
                  <a:extLst>
                    <a:ext uri="{FF2B5EF4-FFF2-40B4-BE49-F238E27FC236}">
                      <a16:creationId xmlns:a16="http://schemas.microsoft.com/office/drawing/2014/main" id="{D718254A-419C-4E34-8BFE-79F89853C6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07" name="Freeform: Shape 302">
                  <a:extLst>
                    <a:ext uri="{FF2B5EF4-FFF2-40B4-BE49-F238E27FC236}">
                      <a16:creationId xmlns:a16="http://schemas.microsoft.com/office/drawing/2014/main" id="{EBDD767A-A610-4815-AAFB-B4CC09FDC90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grpSp>
            <p:nvGrpSpPr>
              <p:cNvPr id="208" name="Group 207">
                <a:extLst>
                  <a:ext uri="{FF2B5EF4-FFF2-40B4-BE49-F238E27FC236}">
                    <a16:creationId xmlns:a16="http://schemas.microsoft.com/office/drawing/2014/main" id="{009A44EA-C7D0-4363-91E6-EBF6A114CF24}"/>
                  </a:ext>
                </a:extLst>
              </p:cNvPr>
              <p:cNvGrpSpPr/>
              <p:nvPr/>
            </p:nvGrpSpPr>
            <p:grpSpPr>
              <a:xfrm>
                <a:off x="6979488" y="1799639"/>
                <a:ext cx="299337" cy="299339"/>
                <a:chOff x="4083769" y="2552776"/>
                <a:chExt cx="529089" cy="529089"/>
              </a:xfrm>
            </p:grpSpPr>
            <p:sp>
              <p:nvSpPr>
                <p:cNvPr id="209" name="Oval 208">
                  <a:extLst>
                    <a:ext uri="{FF2B5EF4-FFF2-40B4-BE49-F238E27FC236}">
                      <a16:creationId xmlns:a16="http://schemas.microsoft.com/office/drawing/2014/main" id="{E09ED43C-9AC6-4DBF-828E-8BD424E033B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Freeform: Shape 298">
                  <a:extLst>
                    <a:ext uri="{FF2B5EF4-FFF2-40B4-BE49-F238E27FC236}">
                      <a16:creationId xmlns:a16="http://schemas.microsoft.com/office/drawing/2014/main" id="{CA968269-0400-451E-A04A-2D572EE2EA5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11" name="Freeform: Shape 299">
                  <a:extLst>
                    <a:ext uri="{FF2B5EF4-FFF2-40B4-BE49-F238E27FC236}">
                      <a16:creationId xmlns:a16="http://schemas.microsoft.com/office/drawing/2014/main" id="{295FBA9E-B2A9-4ED5-B353-5D5564BBE44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12" name="Freeform: Shape 301">
                  <a:extLst>
                    <a:ext uri="{FF2B5EF4-FFF2-40B4-BE49-F238E27FC236}">
                      <a16:creationId xmlns:a16="http://schemas.microsoft.com/office/drawing/2014/main" id="{B34E0005-E68B-4943-9846-043FE74D830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13" name="Freeform: Shape 302">
                  <a:extLst>
                    <a:ext uri="{FF2B5EF4-FFF2-40B4-BE49-F238E27FC236}">
                      <a16:creationId xmlns:a16="http://schemas.microsoft.com/office/drawing/2014/main" id="{AF6BAEE1-349B-4FD0-9C34-A62B0A4D853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grpSp>
            <p:nvGrpSpPr>
              <p:cNvPr id="214" name="Group 213">
                <a:extLst>
                  <a:ext uri="{FF2B5EF4-FFF2-40B4-BE49-F238E27FC236}">
                    <a16:creationId xmlns:a16="http://schemas.microsoft.com/office/drawing/2014/main" id="{3AD128AF-CD42-4236-A535-CFF4C05ECCE4}"/>
                  </a:ext>
                </a:extLst>
              </p:cNvPr>
              <p:cNvGrpSpPr/>
              <p:nvPr/>
            </p:nvGrpSpPr>
            <p:grpSpPr>
              <a:xfrm>
                <a:off x="6956804" y="3577715"/>
                <a:ext cx="299337" cy="299339"/>
                <a:chOff x="4083769" y="2552776"/>
                <a:chExt cx="529089" cy="529089"/>
              </a:xfrm>
            </p:grpSpPr>
            <p:sp>
              <p:nvSpPr>
                <p:cNvPr id="215" name="Oval 214">
                  <a:extLst>
                    <a:ext uri="{FF2B5EF4-FFF2-40B4-BE49-F238E27FC236}">
                      <a16:creationId xmlns:a16="http://schemas.microsoft.com/office/drawing/2014/main" id="{5D24EA1A-F1F8-4526-8E87-FCBCC21F1FC3}"/>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Freeform: Shape 298">
                  <a:extLst>
                    <a:ext uri="{FF2B5EF4-FFF2-40B4-BE49-F238E27FC236}">
                      <a16:creationId xmlns:a16="http://schemas.microsoft.com/office/drawing/2014/main" id="{F6076919-0B5C-4C18-B154-5726736ABA8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17" name="Freeform: Shape 299">
                  <a:extLst>
                    <a:ext uri="{FF2B5EF4-FFF2-40B4-BE49-F238E27FC236}">
                      <a16:creationId xmlns:a16="http://schemas.microsoft.com/office/drawing/2014/main" id="{2820A25A-BCFB-4449-A004-98C6F782646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18" name="Freeform: Shape 301">
                  <a:extLst>
                    <a:ext uri="{FF2B5EF4-FFF2-40B4-BE49-F238E27FC236}">
                      <a16:creationId xmlns:a16="http://schemas.microsoft.com/office/drawing/2014/main" id="{2C43F65F-2D60-40AD-B778-CFC1B55E0FF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19" name="Freeform: Shape 302">
                  <a:extLst>
                    <a:ext uri="{FF2B5EF4-FFF2-40B4-BE49-F238E27FC236}">
                      <a16:creationId xmlns:a16="http://schemas.microsoft.com/office/drawing/2014/main" id="{3C7AD7ED-110A-477B-A204-F18E1165F90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grpSp>
            <p:nvGrpSpPr>
              <p:cNvPr id="220" name="Group 219">
                <a:extLst>
                  <a:ext uri="{FF2B5EF4-FFF2-40B4-BE49-F238E27FC236}">
                    <a16:creationId xmlns:a16="http://schemas.microsoft.com/office/drawing/2014/main" id="{16C433C4-2226-4706-8309-EDD68A27E5E8}"/>
                  </a:ext>
                </a:extLst>
              </p:cNvPr>
              <p:cNvGrpSpPr/>
              <p:nvPr/>
            </p:nvGrpSpPr>
            <p:grpSpPr>
              <a:xfrm>
                <a:off x="8352877" y="2654282"/>
                <a:ext cx="299337" cy="299339"/>
                <a:chOff x="4083769" y="2552776"/>
                <a:chExt cx="529089" cy="529089"/>
              </a:xfrm>
            </p:grpSpPr>
            <p:sp>
              <p:nvSpPr>
                <p:cNvPr id="221" name="Oval 220">
                  <a:extLst>
                    <a:ext uri="{FF2B5EF4-FFF2-40B4-BE49-F238E27FC236}">
                      <a16:creationId xmlns:a16="http://schemas.microsoft.com/office/drawing/2014/main" id="{2A293BF6-A5C6-43B7-8885-D799CCC54CD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Freeform: Shape 298">
                  <a:extLst>
                    <a:ext uri="{FF2B5EF4-FFF2-40B4-BE49-F238E27FC236}">
                      <a16:creationId xmlns:a16="http://schemas.microsoft.com/office/drawing/2014/main" id="{9AF1A785-0A5A-42CA-A156-0453B106392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23" name="Freeform: Shape 299">
                  <a:extLst>
                    <a:ext uri="{FF2B5EF4-FFF2-40B4-BE49-F238E27FC236}">
                      <a16:creationId xmlns:a16="http://schemas.microsoft.com/office/drawing/2014/main" id="{2303C366-0002-421D-B8CE-F4DD4B62E29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24" name="Freeform: Shape 301">
                  <a:extLst>
                    <a:ext uri="{FF2B5EF4-FFF2-40B4-BE49-F238E27FC236}">
                      <a16:creationId xmlns:a16="http://schemas.microsoft.com/office/drawing/2014/main" id="{DBB6FE74-378F-4536-A1BA-E9DC80B229C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25" name="Freeform: Shape 302">
                  <a:extLst>
                    <a:ext uri="{FF2B5EF4-FFF2-40B4-BE49-F238E27FC236}">
                      <a16:creationId xmlns:a16="http://schemas.microsoft.com/office/drawing/2014/main" id="{33C5E2F6-B6FB-4D2E-88E3-BD01BBDC4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sp>
            <p:nvSpPr>
              <p:cNvPr id="227" name="TextBox 226">
                <a:extLst>
                  <a:ext uri="{FF2B5EF4-FFF2-40B4-BE49-F238E27FC236}">
                    <a16:creationId xmlns:a16="http://schemas.microsoft.com/office/drawing/2014/main" id="{95A723F5-F0C0-4B31-BDCD-BE46A4F2CC4A}"/>
                  </a:ext>
                </a:extLst>
              </p:cNvPr>
              <p:cNvSpPr txBox="1"/>
              <p:nvPr/>
            </p:nvSpPr>
            <p:spPr>
              <a:xfrm>
                <a:off x="4410382" y="3157033"/>
                <a:ext cx="1511214" cy="369332"/>
              </a:xfrm>
              <a:prstGeom prst="rect">
                <a:avLst/>
              </a:prstGeom>
              <a:noFill/>
            </p:spPr>
            <p:txBody>
              <a:bodyPr wrap="square" rtlCol="0">
                <a:spAutoFit/>
              </a:bodyPr>
              <a:lstStyle/>
              <a:p>
                <a:pPr defTabSz="457189"/>
                <a:r>
                  <a:rPr lang="en-US" sz="900" b="1">
                    <a:solidFill>
                      <a:srgbClr val="005073"/>
                    </a:solidFill>
                    <a:latin typeface="Arial" panose="020B0604020202020204" pitchFamily="34" charset="0"/>
                    <a:cs typeface="Arial" panose="020B0604020202020204" pitchFamily="34" charset="0"/>
                  </a:rPr>
                  <a:t>80km Ring Segments, Regional</a:t>
                </a:r>
              </a:p>
            </p:txBody>
          </p:sp>
          <p:sp>
            <p:nvSpPr>
              <p:cNvPr id="228" name="TextBox 227">
                <a:extLst>
                  <a:ext uri="{FF2B5EF4-FFF2-40B4-BE49-F238E27FC236}">
                    <a16:creationId xmlns:a16="http://schemas.microsoft.com/office/drawing/2014/main" id="{911C0C2B-23FF-4342-A831-C4F6CB9F7B3A}"/>
                  </a:ext>
                </a:extLst>
              </p:cNvPr>
              <p:cNvSpPr txBox="1"/>
              <p:nvPr/>
            </p:nvSpPr>
            <p:spPr>
              <a:xfrm>
                <a:off x="4753035" y="2745379"/>
                <a:ext cx="543739" cy="230832"/>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100GE</a:t>
                </a:r>
              </a:p>
            </p:txBody>
          </p:sp>
          <p:sp>
            <p:nvSpPr>
              <p:cNvPr id="229" name="TextBox 228">
                <a:extLst>
                  <a:ext uri="{FF2B5EF4-FFF2-40B4-BE49-F238E27FC236}">
                    <a16:creationId xmlns:a16="http://schemas.microsoft.com/office/drawing/2014/main" id="{9252F990-7331-4FCD-87B0-131981EA071A}"/>
                  </a:ext>
                </a:extLst>
              </p:cNvPr>
              <p:cNvSpPr txBox="1"/>
              <p:nvPr/>
            </p:nvSpPr>
            <p:spPr>
              <a:xfrm>
                <a:off x="5915836" y="2458499"/>
                <a:ext cx="2024913" cy="369332"/>
              </a:xfrm>
              <a:prstGeom prst="rect">
                <a:avLst/>
              </a:prstGeom>
              <a:noFill/>
            </p:spPr>
            <p:txBody>
              <a:bodyPr wrap="none" rtlCol="0">
                <a:spAutoFit/>
              </a:bodyPr>
              <a:lstStyle/>
              <a:p>
                <a:pPr defTabSz="457189"/>
                <a:r>
                  <a:rPr lang="en-US" sz="900" b="1" dirty="0">
                    <a:solidFill>
                      <a:srgbClr val="005073"/>
                    </a:solidFill>
                    <a:latin typeface="Arial" panose="020B0604020202020204" pitchFamily="34" charset="0"/>
                    <a:cs typeface="Arial" panose="020B0604020202020204" pitchFamily="34" charset="0"/>
                  </a:rPr>
                  <a:t>1.2TB DWDM Via NCS5k </a:t>
                </a:r>
                <a:r>
                  <a:rPr lang="en-US" sz="900" b="1" dirty="0" err="1">
                    <a:solidFill>
                      <a:srgbClr val="005073"/>
                    </a:solidFill>
                    <a:latin typeface="Arial" panose="020B0604020202020204" pitchFamily="34" charset="0"/>
                    <a:cs typeface="Arial" panose="020B0604020202020204" pitchFamily="34" charset="0"/>
                  </a:rPr>
                  <a:t>Linecard</a:t>
                </a:r>
                <a:endParaRPr lang="en-US" sz="900" b="1" dirty="0">
                  <a:solidFill>
                    <a:srgbClr val="005073"/>
                  </a:solidFill>
                  <a:latin typeface="Arial" panose="020B0604020202020204" pitchFamily="34" charset="0"/>
                  <a:cs typeface="Arial" panose="020B0604020202020204" pitchFamily="34" charset="0"/>
                </a:endParaRPr>
              </a:p>
              <a:p>
                <a:pPr defTabSz="457189"/>
                <a:endParaRPr lang="en-US" sz="900" b="1" dirty="0">
                  <a:solidFill>
                    <a:srgbClr val="005073"/>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0F7420D2-5C94-470D-A73D-62B570DEE10C}"/>
                  </a:ext>
                </a:extLst>
              </p:cNvPr>
              <p:cNvSpPr/>
              <p:nvPr/>
            </p:nvSpPr>
            <p:spPr>
              <a:xfrm>
                <a:off x="1" y="4838859"/>
                <a:ext cx="1797308" cy="304641"/>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dirty="0"/>
                  <a:t>Access</a:t>
                </a:r>
              </a:p>
            </p:txBody>
          </p:sp>
          <p:sp>
            <p:nvSpPr>
              <p:cNvPr id="232" name="Rectangle: Rounded Corners 231">
                <a:extLst>
                  <a:ext uri="{FF2B5EF4-FFF2-40B4-BE49-F238E27FC236}">
                    <a16:creationId xmlns:a16="http://schemas.microsoft.com/office/drawing/2014/main" id="{7F20092E-0BBF-4C13-840F-3FA32CA56758}"/>
                  </a:ext>
                </a:extLst>
              </p:cNvPr>
              <p:cNvSpPr/>
              <p:nvPr/>
            </p:nvSpPr>
            <p:spPr>
              <a:xfrm>
                <a:off x="1793683" y="4838859"/>
                <a:ext cx="1797308" cy="304641"/>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a:t>Pre-</a:t>
                </a:r>
                <a:r>
                  <a:rPr lang="en-ZA" err="1"/>
                  <a:t>agg</a:t>
                </a:r>
                <a:endParaRPr lang="en-ZA"/>
              </a:p>
            </p:txBody>
          </p:sp>
          <p:sp>
            <p:nvSpPr>
              <p:cNvPr id="234" name="Rectangle: Rounded Corners 233">
                <a:extLst>
                  <a:ext uri="{FF2B5EF4-FFF2-40B4-BE49-F238E27FC236}">
                    <a16:creationId xmlns:a16="http://schemas.microsoft.com/office/drawing/2014/main" id="{4167DFEB-E5AA-48F8-B36D-0976841338B7}"/>
                  </a:ext>
                </a:extLst>
              </p:cNvPr>
              <p:cNvSpPr/>
              <p:nvPr/>
            </p:nvSpPr>
            <p:spPr>
              <a:xfrm>
                <a:off x="3590991" y="4838859"/>
                <a:ext cx="1805850" cy="30464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dirty="0">
                    <a:solidFill>
                      <a:schemeClr val="bg2"/>
                    </a:solidFill>
                  </a:rPr>
                  <a:t>Aggregation</a:t>
                </a:r>
              </a:p>
            </p:txBody>
          </p:sp>
          <p:sp>
            <p:nvSpPr>
              <p:cNvPr id="235" name="Rectangle: Rounded Corners 234">
                <a:extLst>
                  <a:ext uri="{FF2B5EF4-FFF2-40B4-BE49-F238E27FC236}">
                    <a16:creationId xmlns:a16="http://schemas.microsoft.com/office/drawing/2014/main" id="{85BC07C4-0A48-4651-BCDE-E90DF9F7D9BA}"/>
                  </a:ext>
                </a:extLst>
              </p:cNvPr>
              <p:cNvSpPr/>
              <p:nvPr/>
            </p:nvSpPr>
            <p:spPr>
              <a:xfrm>
                <a:off x="5384674" y="4838859"/>
                <a:ext cx="3523728" cy="30464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a:solidFill>
                      <a:schemeClr val="bg2"/>
                    </a:solidFill>
                  </a:rPr>
                  <a:t>Core</a:t>
                </a:r>
              </a:p>
            </p:txBody>
          </p:sp>
          <p:cxnSp>
            <p:nvCxnSpPr>
              <p:cNvPr id="5" name="Straight Connector 4">
                <a:extLst>
                  <a:ext uri="{FF2B5EF4-FFF2-40B4-BE49-F238E27FC236}">
                    <a16:creationId xmlns:a16="http://schemas.microsoft.com/office/drawing/2014/main" id="{966A8E55-A5ED-4ED7-AA89-4CCF449E0735}"/>
                  </a:ext>
                </a:extLst>
              </p:cNvPr>
              <p:cNvCxnSpPr>
                <a:stCxn id="186" idx="7"/>
                <a:endCxn id="40" idx="9"/>
              </p:cNvCxnSpPr>
              <p:nvPr/>
            </p:nvCxnSpPr>
            <p:spPr>
              <a:xfrm flipV="1">
                <a:off x="4250123" y="2459649"/>
                <a:ext cx="92740" cy="137015"/>
              </a:xfrm>
              <a:prstGeom prst="line">
                <a:avLst/>
              </a:prstGeom>
              <a:noFill/>
              <a:ln w="22225" cap="rnd" cmpd="sng" algn="ctr">
                <a:solidFill>
                  <a:srgbClr val="005073"/>
                </a:solidFill>
                <a:prstDash val="solid"/>
              </a:ln>
              <a:effectLst/>
            </p:spPr>
          </p:cxnSp>
          <p:sp>
            <p:nvSpPr>
              <p:cNvPr id="4" name="Arrow: Left-Right 3">
                <a:extLst>
                  <a:ext uri="{FF2B5EF4-FFF2-40B4-BE49-F238E27FC236}">
                    <a16:creationId xmlns:a16="http://schemas.microsoft.com/office/drawing/2014/main" id="{E0135134-52D0-4F8E-9406-AF8450AD729B}"/>
                  </a:ext>
                </a:extLst>
              </p:cNvPr>
              <p:cNvSpPr/>
              <p:nvPr/>
            </p:nvSpPr>
            <p:spPr>
              <a:xfrm rot="19248454">
                <a:off x="5428869" y="1465513"/>
                <a:ext cx="592757" cy="141866"/>
              </a:xfrm>
              <a:prstGeom prst="lef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00" name="TextBox 199">
                <a:extLst>
                  <a:ext uri="{FF2B5EF4-FFF2-40B4-BE49-F238E27FC236}">
                    <a16:creationId xmlns:a16="http://schemas.microsoft.com/office/drawing/2014/main" id="{1ABCE2CA-498D-41B0-931B-A24FA4A1EC61}"/>
                  </a:ext>
                </a:extLst>
              </p:cNvPr>
              <p:cNvSpPr txBox="1"/>
              <p:nvPr/>
            </p:nvSpPr>
            <p:spPr>
              <a:xfrm>
                <a:off x="5233435" y="1019462"/>
                <a:ext cx="875393" cy="507831"/>
              </a:xfrm>
              <a:prstGeom prst="rect">
                <a:avLst/>
              </a:prstGeom>
              <a:noFill/>
            </p:spPr>
            <p:txBody>
              <a:bodyPr wrap="square" rtlCol="0">
                <a:spAutoFit/>
              </a:bodyPr>
              <a:lstStyle/>
              <a:p>
                <a:pPr defTabSz="457189"/>
                <a:r>
                  <a:rPr lang="en-US" sz="900" b="1">
                    <a:solidFill>
                      <a:srgbClr val="005073"/>
                    </a:solidFill>
                    <a:latin typeface="Arial" panose="020B0604020202020204" pitchFamily="34" charset="0"/>
                    <a:cs typeface="Arial" panose="020B0604020202020204" pitchFamily="34" charset="0"/>
                  </a:rPr>
                  <a:t>Single Extended Fabric</a:t>
                </a:r>
              </a:p>
            </p:txBody>
          </p:sp>
          <p:sp>
            <p:nvSpPr>
              <p:cNvPr id="230" name="TextBox 229">
                <a:extLst>
                  <a:ext uri="{FF2B5EF4-FFF2-40B4-BE49-F238E27FC236}">
                    <a16:creationId xmlns:a16="http://schemas.microsoft.com/office/drawing/2014/main" id="{49AC7A62-2963-4E3C-B23D-AE460AFC1A6E}"/>
                  </a:ext>
                </a:extLst>
              </p:cNvPr>
              <p:cNvSpPr txBox="1"/>
              <p:nvPr/>
            </p:nvSpPr>
            <p:spPr>
              <a:xfrm>
                <a:off x="2823859" y="4123641"/>
                <a:ext cx="1031051" cy="230832"/>
              </a:xfrm>
              <a:prstGeom prst="rect">
                <a:avLst/>
              </a:prstGeom>
              <a:noFill/>
            </p:spPr>
            <p:txBody>
              <a:bodyPr wrap="none" rtlCol="0">
                <a:spAutoFit/>
              </a:bodyPr>
              <a:lstStyle/>
              <a:p>
                <a:pPr defTabSz="457189"/>
                <a:r>
                  <a:rPr lang="en-US" sz="900" b="1">
                    <a:solidFill>
                      <a:srgbClr val="005073"/>
                    </a:solidFill>
                    <a:latin typeface="Arial" panose="020B0604020202020204" pitchFamily="34" charset="0"/>
                    <a:cs typeface="Arial" panose="020B0604020202020204" pitchFamily="34" charset="0"/>
                  </a:rPr>
                  <a:t>DWDM Support</a:t>
                </a:r>
              </a:p>
            </p:txBody>
          </p:sp>
          <p:sp>
            <p:nvSpPr>
              <p:cNvPr id="267" name="Arrow: Left-Right 266">
                <a:extLst>
                  <a:ext uri="{FF2B5EF4-FFF2-40B4-BE49-F238E27FC236}">
                    <a16:creationId xmlns:a16="http://schemas.microsoft.com/office/drawing/2014/main" id="{598981C5-09C3-4437-9BF7-A2126C0BBC46}"/>
                  </a:ext>
                </a:extLst>
              </p:cNvPr>
              <p:cNvSpPr/>
              <p:nvPr/>
            </p:nvSpPr>
            <p:spPr>
              <a:xfrm rot="2581150">
                <a:off x="7833536" y="1366865"/>
                <a:ext cx="592757" cy="141866"/>
              </a:xfrm>
              <a:prstGeom prst="lef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8" name="TextBox 267">
                <a:extLst>
                  <a:ext uri="{FF2B5EF4-FFF2-40B4-BE49-F238E27FC236}">
                    <a16:creationId xmlns:a16="http://schemas.microsoft.com/office/drawing/2014/main" id="{9A6D9D1F-8C21-4908-9C25-330E559634D4}"/>
                  </a:ext>
                </a:extLst>
              </p:cNvPr>
              <p:cNvSpPr txBox="1"/>
              <p:nvPr/>
            </p:nvSpPr>
            <p:spPr>
              <a:xfrm>
                <a:off x="8052159" y="883130"/>
                <a:ext cx="983834" cy="507831"/>
              </a:xfrm>
              <a:prstGeom prst="rect">
                <a:avLst/>
              </a:prstGeom>
              <a:noFill/>
            </p:spPr>
            <p:txBody>
              <a:bodyPr wrap="square" rtlCol="0">
                <a:spAutoFit/>
              </a:bodyPr>
              <a:lstStyle/>
              <a:p>
                <a:pPr defTabSz="457189"/>
                <a:r>
                  <a:rPr lang="en-US" sz="900" b="1">
                    <a:solidFill>
                      <a:srgbClr val="005073"/>
                    </a:solidFill>
                    <a:latin typeface="Arial" panose="020B0604020202020204" pitchFamily="34" charset="0"/>
                    <a:cs typeface="Arial" panose="020B0604020202020204" pitchFamily="34" charset="0"/>
                  </a:rPr>
                  <a:t>Single Extended Fabric</a:t>
                </a:r>
              </a:p>
            </p:txBody>
          </p:sp>
          <p:cxnSp>
            <p:nvCxnSpPr>
              <p:cNvPr id="239" name="Straight Connector 238">
                <a:extLst>
                  <a:ext uri="{FF2B5EF4-FFF2-40B4-BE49-F238E27FC236}">
                    <a16:creationId xmlns:a16="http://schemas.microsoft.com/office/drawing/2014/main" id="{F2DDA2BF-5B7B-4FF8-BDBF-B1FDE3BD52B5}"/>
                  </a:ext>
                </a:extLst>
              </p:cNvPr>
              <p:cNvCxnSpPr>
                <a:cxnSpLocks/>
                <a:stCxn id="155" idx="5"/>
                <a:endCxn id="186" idx="2"/>
              </p:cNvCxnSpPr>
              <p:nvPr/>
            </p:nvCxnSpPr>
            <p:spPr>
              <a:xfrm>
                <a:off x="2443160" y="1777600"/>
                <a:ext cx="1551463" cy="924897"/>
              </a:xfrm>
              <a:prstGeom prst="line">
                <a:avLst/>
              </a:prstGeom>
              <a:noFill/>
              <a:ln w="25400" cap="flat" cmpd="sng" algn="ctr">
                <a:solidFill>
                  <a:schemeClr val="accent4">
                    <a:lumMod val="60000"/>
                    <a:lumOff val="40000"/>
                  </a:schemeClr>
                </a:solidFill>
                <a:prstDash val="solid"/>
              </a:ln>
              <a:effectLst/>
            </p:spPr>
          </p:cxnSp>
          <p:cxnSp>
            <p:nvCxnSpPr>
              <p:cNvPr id="241" name="Straight Connector 240">
                <a:extLst>
                  <a:ext uri="{FF2B5EF4-FFF2-40B4-BE49-F238E27FC236}">
                    <a16:creationId xmlns:a16="http://schemas.microsoft.com/office/drawing/2014/main" id="{A57C38AC-D520-4A10-96A3-6304D026ADBB}"/>
                  </a:ext>
                </a:extLst>
              </p:cNvPr>
              <p:cNvCxnSpPr>
                <a:cxnSpLocks/>
                <a:stCxn id="155" idx="5"/>
                <a:endCxn id="192" idx="1"/>
              </p:cNvCxnSpPr>
              <p:nvPr/>
            </p:nvCxnSpPr>
            <p:spPr>
              <a:xfrm>
                <a:off x="2443161" y="1777600"/>
                <a:ext cx="1600195" cy="1193839"/>
              </a:xfrm>
              <a:prstGeom prst="line">
                <a:avLst/>
              </a:prstGeom>
              <a:noFill/>
              <a:ln w="25400" cap="flat" cmpd="sng" algn="ctr">
                <a:solidFill>
                  <a:schemeClr val="accent4">
                    <a:lumMod val="60000"/>
                    <a:lumOff val="40000"/>
                  </a:schemeClr>
                </a:solidFill>
                <a:prstDash val="solid"/>
              </a:ln>
              <a:effectLst/>
            </p:spPr>
          </p:cxnSp>
          <p:cxnSp>
            <p:nvCxnSpPr>
              <p:cNvPr id="266" name="Straight Connector 265">
                <a:extLst>
                  <a:ext uri="{FF2B5EF4-FFF2-40B4-BE49-F238E27FC236}">
                    <a16:creationId xmlns:a16="http://schemas.microsoft.com/office/drawing/2014/main" id="{BB688B63-3DF4-42B5-809D-6B7EC5C9F562}"/>
                  </a:ext>
                </a:extLst>
              </p:cNvPr>
              <p:cNvCxnSpPr>
                <a:cxnSpLocks/>
                <a:stCxn id="149" idx="6"/>
                <a:endCxn id="186" idx="2"/>
              </p:cNvCxnSpPr>
              <p:nvPr/>
            </p:nvCxnSpPr>
            <p:spPr>
              <a:xfrm flipV="1">
                <a:off x="2268704" y="2702497"/>
                <a:ext cx="1725919" cy="131499"/>
              </a:xfrm>
              <a:prstGeom prst="line">
                <a:avLst/>
              </a:prstGeom>
              <a:noFill/>
              <a:ln w="25400" cap="flat" cmpd="sng" algn="ctr">
                <a:solidFill>
                  <a:schemeClr val="accent4">
                    <a:lumMod val="60000"/>
                    <a:lumOff val="40000"/>
                  </a:schemeClr>
                </a:solidFill>
                <a:prstDash val="solid"/>
              </a:ln>
              <a:effectLst/>
            </p:spPr>
          </p:cxnSp>
          <p:cxnSp>
            <p:nvCxnSpPr>
              <p:cNvPr id="269" name="Straight Connector 268">
                <a:extLst>
                  <a:ext uri="{FF2B5EF4-FFF2-40B4-BE49-F238E27FC236}">
                    <a16:creationId xmlns:a16="http://schemas.microsoft.com/office/drawing/2014/main" id="{AA2863F2-F5C0-4952-882C-187D871C0CBD}"/>
                  </a:ext>
                </a:extLst>
              </p:cNvPr>
              <p:cNvCxnSpPr>
                <a:cxnSpLocks/>
                <a:stCxn id="149" idx="6"/>
                <a:endCxn id="192" idx="1"/>
              </p:cNvCxnSpPr>
              <p:nvPr/>
            </p:nvCxnSpPr>
            <p:spPr>
              <a:xfrm>
                <a:off x="2268703" y="2833995"/>
                <a:ext cx="1774652" cy="137444"/>
              </a:xfrm>
              <a:prstGeom prst="line">
                <a:avLst/>
              </a:prstGeom>
              <a:noFill/>
              <a:ln w="25400" cap="flat" cmpd="sng" algn="ctr">
                <a:solidFill>
                  <a:schemeClr val="accent4">
                    <a:lumMod val="60000"/>
                    <a:lumOff val="40000"/>
                  </a:schemeClr>
                </a:solidFill>
                <a:prstDash val="solid"/>
              </a:ln>
              <a:effectLst/>
            </p:spPr>
          </p:cxnSp>
          <p:sp>
            <p:nvSpPr>
              <p:cNvPr id="270" name="TextBox 269">
                <a:extLst>
                  <a:ext uri="{FF2B5EF4-FFF2-40B4-BE49-F238E27FC236}">
                    <a16:creationId xmlns:a16="http://schemas.microsoft.com/office/drawing/2014/main" id="{4A110E4F-69A4-4EC4-80A0-86EDACD0BBF6}"/>
                  </a:ext>
                </a:extLst>
              </p:cNvPr>
              <p:cNvSpPr txBox="1"/>
              <p:nvPr/>
            </p:nvSpPr>
            <p:spPr>
              <a:xfrm>
                <a:off x="4254860" y="2612882"/>
                <a:ext cx="652743" cy="230832"/>
              </a:xfrm>
              <a:prstGeom prst="rect">
                <a:avLst/>
              </a:prstGeom>
              <a:noFill/>
            </p:spPr>
            <p:txBody>
              <a:bodyPr wrap="none" rtlCol="0">
                <a:spAutoFit/>
              </a:bodyPr>
              <a:lstStyle/>
              <a:p>
                <a:pPr defTabSz="457189"/>
                <a:r>
                  <a:rPr lang="nl-NL" sz="900" b="1">
                    <a:solidFill>
                      <a:srgbClr val="005073"/>
                    </a:solidFill>
                    <a:latin typeface="Arial" panose="020B0604020202020204" pitchFamily="34" charset="0"/>
                    <a:cs typeface="Arial" panose="020B0604020202020204" pitchFamily="34" charset="0"/>
                  </a:rPr>
                  <a:t>N</a:t>
                </a:r>
                <a:r>
                  <a:rPr lang="en-US" sz="900" b="1">
                    <a:solidFill>
                      <a:srgbClr val="005073"/>
                    </a:solidFill>
                    <a:latin typeface="Arial" panose="020B0604020202020204" pitchFamily="34" charset="0"/>
                    <a:cs typeface="Arial" panose="020B0604020202020204" pitchFamily="34" charset="0"/>
                  </a:rPr>
                  <a:t>CS 560</a:t>
                </a:r>
              </a:p>
            </p:txBody>
          </p:sp>
          <p:sp>
            <p:nvSpPr>
              <p:cNvPr id="271" name="TextBox 270">
                <a:extLst>
                  <a:ext uri="{FF2B5EF4-FFF2-40B4-BE49-F238E27FC236}">
                    <a16:creationId xmlns:a16="http://schemas.microsoft.com/office/drawing/2014/main" id="{05EA0BE3-0EC7-4D07-A445-6FB2023011AD}"/>
                  </a:ext>
                </a:extLst>
              </p:cNvPr>
              <p:cNvSpPr txBox="1"/>
              <p:nvPr/>
            </p:nvSpPr>
            <p:spPr>
              <a:xfrm>
                <a:off x="4231417" y="2919894"/>
                <a:ext cx="716863" cy="230832"/>
              </a:xfrm>
              <a:prstGeom prst="rect">
                <a:avLst/>
              </a:prstGeom>
              <a:noFill/>
            </p:spPr>
            <p:txBody>
              <a:bodyPr wrap="none" rtlCol="0">
                <a:spAutoFit/>
              </a:bodyPr>
              <a:lstStyle/>
              <a:p>
                <a:pPr defTabSz="457189"/>
                <a:r>
                  <a:rPr lang="nl-NL" sz="900" b="1">
                    <a:solidFill>
                      <a:srgbClr val="005073"/>
                    </a:solidFill>
                    <a:latin typeface="Arial" panose="020B0604020202020204" pitchFamily="34" charset="0"/>
                    <a:cs typeface="Arial" panose="020B0604020202020204" pitchFamily="34" charset="0"/>
                  </a:rPr>
                  <a:t>N</a:t>
                </a:r>
                <a:r>
                  <a:rPr lang="en-US" sz="900" b="1">
                    <a:solidFill>
                      <a:srgbClr val="005073"/>
                    </a:solidFill>
                    <a:latin typeface="Arial" panose="020B0604020202020204" pitchFamily="34" charset="0"/>
                    <a:cs typeface="Arial" panose="020B0604020202020204" pitchFamily="34" charset="0"/>
                  </a:rPr>
                  <a:t>CS 55xx</a:t>
                </a:r>
              </a:p>
            </p:txBody>
          </p:sp>
          <p:sp>
            <p:nvSpPr>
              <p:cNvPr id="278" name="Rectangle: Rounded Corners 277">
                <a:extLst>
                  <a:ext uri="{FF2B5EF4-FFF2-40B4-BE49-F238E27FC236}">
                    <a16:creationId xmlns:a16="http://schemas.microsoft.com/office/drawing/2014/main" id="{A03E685F-CE3D-43D3-8E1D-582547F41485}"/>
                  </a:ext>
                </a:extLst>
              </p:cNvPr>
              <p:cNvSpPr/>
              <p:nvPr/>
            </p:nvSpPr>
            <p:spPr>
              <a:xfrm>
                <a:off x="7480994" y="4534140"/>
                <a:ext cx="1427408" cy="304641"/>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a:solidFill>
                      <a:schemeClr val="bg2"/>
                    </a:solidFill>
                  </a:rPr>
                  <a:t>Peering</a:t>
                </a:r>
              </a:p>
            </p:txBody>
          </p:sp>
        </p:grpSp>
        <p:grpSp>
          <p:nvGrpSpPr>
            <p:cNvPr id="272" name="Group 271">
              <a:extLst>
                <a:ext uri="{FF2B5EF4-FFF2-40B4-BE49-F238E27FC236}">
                  <a16:creationId xmlns:a16="http://schemas.microsoft.com/office/drawing/2014/main" id="{BB2ED92B-8E42-4156-8EF9-24CC10C018A7}"/>
                </a:ext>
              </a:extLst>
            </p:cNvPr>
            <p:cNvGrpSpPr/>
            <p:nvPr/>
          </p:nvGrpSpPr>
          <p:grpSpPr>
            <a:xfrm>
              <a:off x="8009572" y="3811620"/>
              <a:ext cx="299337" cy="299339"/>
              <a:chOff x="4083769" y="2552776"/>
              <a:chExt cx="529089" cy="529089"/>
            </a:xfrm>
          </p:grpSpPr>
          <p:sp>
            <p:nvSpPr>
              <p:cNvPr id="273" name="Oval 272">
                <a:extLst>
                  <a:ext uri="{FF2B5EF4-FFF2-40B4-BE49-F238E27FC236}">
                    <a16:creationId xmlns:a16="http://schemas.microsoft.com/office/drawing/2014/main" id="{1DDA60EC-57C3-46DB-AF43-EEDCCC231715}"/>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74" name="Freeform: Shape 298">
                <a:extLst>
                  <a:ext uri="{FF2B5EF4-FFF2-40B4-BE49-F238E27FC236}">
                    <a16:creationId xmlns:a16="http://schemas.microsoft.com/office/drawing/2014/main" id="{20B82145-475A-469E-BB5F-C293280017F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75" name="Freeform: Shape 299">
                <a:extLst>
                  <a:ext uri="{FF2B5EF4-FFF2-40B4-BE49-F238E27FC236}">
                    <a16:creationId xmlns:a16="http://schemas.microsoft.com/office/drawing/2014/main" id="{8CC9FF80-5F7B-48E9-9A1D-64185A45329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76" name="Freeform: Shape 301">
                <a:extLst>
                  <a:ext uri="{FF2B5EF4-FFF2-40B4-BE49-F238E27FC236}">
                    <a16:creationId xmlns:a16="http://schemas.microsoft.com/office/drawing/2014/main" id="{92AD244A-BAA4-4852-BED3-101FFEF8616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sp>
            <p:nvSpPr>
              <p:cNvPr id="277" name="Freeform: Shape 302">
                <a:extLst>
                  <a:ext uri="{FF2B5EF4-FFF2-40B4-BE49-F238E27FC236}">
                    <a16:creationId xmlns:a16="http://schemas.microsoft.com/office/drawing/2014/main" id="{1451B9B2-F3DC-4310-A2B7-C1B110A6917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a:solidFill>
                    <a:schemeClr val="bg2"/>
                  </a:solidFill>
                </a:endParaRPr>
              </a:p>
            </p:txBody>
          </p:sp>
        </p:grpSp>
        <p:cxnSp>
          <p:nvCxnSpPr>
            <p:cNvPr id="23" name="Straight Connector 22">
              <a:extLst>
                <a:ext uri="{FF2B5EF4-FFF2-40B4-BE49-F238E27FC236}">
                  <a16:creationId xmlns:a16="http://schemas.microsoft.com/office/drawing/2014/main" id="{63028710-10C4-4D1F-A571-528C7390C0B1}"/>
                </a:ext>
              </a:extLst>
            </p:cNvPr>
            <p:cNvCxnSpPr>
              <a:stCxn id="215" idx="6"/>
              <a:endCxn id="273" idx="2"/>
            </p:cNvCxnSpPr>
            <p:nvPr/>
          </p:nvCxnSpPr>
          <p:spPr>
            <a:xfrm>
              <a:off x="7256141" y="3727385"/>
              <a:ext cx="753431" cy="233905"/>
            </a:xfrm>
            <a:prstGeom prst="line">
              <a:avLst/>
            </a:prstGeom>
            <a:noFill/>
            <a:ln w="25400" cap="flat" cmpd="sng" algn="ctr">
              <a:gradFill flip="none" rotWithShape="1">
                <a:gsLst>
                  <a:gs pos="0">
                    <a:srgbClr val="C00000"/>
                  </a:gs>
                  <a:gs pos="20000">
                    <a:srgbClr val="FFC000"/>
                  </a:gs>
                  <a:gs pos="10000">
                    <a:srgbClr val="FF0000"/>
                  </a:gs>
                  <a:gs pos="31000">
                    <a:srgbClr val="FFFF00"/>
                  </a:gs>
                  <a:gs pos="99115">
                    <a:srgbClr val="7030A0"/>
                  </a:gs>
                  <a:gs pos="89000">
                    <a:srgbClr val="002060"/>
                  </a:gs>
                  <a:gs pos="78000">
                    <a:srgbClr val="0070C0"/>
                  </a:gs>
                  <a:gs pos="68000">
                    <a:srgbClr val="00B0F0"/>
                  </a:gs>
                  <a:gs pos="56000">
                    <a:srgbClr val="00B050"/>
                  </a:gs>
                  <a:gs pos="45000">
                    <a:srgbClr val="92D050"/>
                  </a:gs>
                </a:gsLst>
                <a:lin ang="0" scaled="1"/>
                <a:tileRect/>
              </a:gradFill>
              <a:prstDash val="solid"/>
            </a:ln>
            <a:effectLst/>
          </p:spPr>
        </p:cxnSp>
        <p:cxnSp>
          <p:nvCxnSpPr>
            <p:cNvPr id="25" name="Straight Connector 24">
              <a:extLst>
                <a:ext uri="{FF2B5EF4-FFF2-40B4-BE49-F238E27FC236}">
                  <a16:creationId xmlns:a16="http://schemas.microsoft.com/office/drawing/2014/main" id="{D0F1E028-2D63-42A1-B683-2C74E05AFDA4}"/>
                </a:ext>
              </a:extLst>
            </p:cNvPr>
            <p:cNvCxnSpPr>
              <a:stCxn id="221" idx="4"/>
              <a:endCxn id="273" idx="0"/>
            </p:cNvCxnSpPr>
            <p:nvPr/>
          </p:nvCxnSpPr>
          <p:spPr>
            <a:xfrm flipH="1">
              <a:off x="8159241" y="2953621"/>
              <a:ext cx="343305" cy="857999"/>
            </a:xfrm>
            <a:prstGeom prst="line">
              <a:avLst/>
            </a:prstGeom>
            <a:noFill/>
            <a:ln w="25400" cap="flat" cmpd="sng" algn="ctr">
              <a:gradFill>
                <a:gsLst>
                  <a:gs pos="0">
                    <a:srgbClr val="C00000"/>
                  </a:gs>
                  <a:gs pos="20000">
                    <a:srgbClr val="FFC000"/>
                  </a:gs>
                  <a:gs pos="10000">
                    <a:srgbClr val="FF0000"/>
                  </a:gs>
                  <a:gs pos="31000">
                    <a:srgbClr val="FFFF00"/>
                  </a:gs>
                  <a:gs pos="99115">
                    <a:srgbClr val="7030A0"/>
                  </a:gs>
                  <a:gs pos="89000">
                    <a:srgbClr val="002060"/>
                  </a:gs>
                  <a:gs pos="78000">
                    <a:srgbClr val="0070C0"/>
                  </a:gs>
                  <a:gs pos="68000">
                    <a:srgbClr val="00B0F0"/>
                  </a:gs>
                  <a:gs pos="56000">
                    <a:srgbClr val="00B050"/>
                  </a:gs>
                  <a:gs pos="45000">
                    <a:srgbClr val="92D050"/>
                  </a:gs>
                </a:gsLst>
                <a:lin ang="5400000" scaled="1"/>
              </a:gradFill>
              <a:prstDash val="solid"/>
            </a:ln>
            <a:effectLst/>
          </p:spPr>
        </p:cxnSp>
      </p:grpSp>
    </p:spTree>
    <p:extLst>
      <p:ext uri="{BB962C8B-B14F-4D97-AF65-F5344CB8AC3E}">
        <p14:creationId xmlns:p14="http://schemas.microsoft.com/office/powerpoint/2010/main" val="2864635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5B335-F2E9-4034-81B8-6F1FB76AC7FF}"/>
              </a:ext>
            </a:extLst>
          </p:cNvPr>
          <p:cNvPicPr>
            <a:picLocks noChangeAspect="1"/>
          </p:cNvPicPr>
          <p:nvPr/>
        </p:nvPicPr>
        <p:blipFill>
          <a:blip r:embed="rId2"/>
          <a:stretch>
            <a:fillRect/>
          </a:stretch>
        </p:blipFill>
        <p:spPr>
          <a:xfrm>
            <a:off x="0" y="1073150"/>
            <a:ext cx="5047926" cy="2456901"/>
          </a:xfrm>
          <a:prstGeom prst="rect">
            <a:avLst/>
          </a:prstGeom>
        </p:spPr>
      </p:pic>
      <p:sp>
        <p:nvSpPr>
          <p:cNvPr id="4" name="Title 3">
            <a:extLst>
              <a:ext uri="{FF2B5EF4-FFF2-40B4-BE49-F238E27FC236}">
                <a16:creationId xmlns:a16="http://schemas.microsoft.com/office/drawing/2014/main" id="{818073CA-5F23-4801-BABC-623D18B704DE}"/>
              </a:ext>
            </a:extLst>
          </p:cNvPr>
          <p:cNvSpPr>
            <a:spLocks noGrp="1"/>
          </p:cNvSpPr>
          <p:nvPr>
            <p:ph type="title"/>
          </p:nvPr>
        </p:nvSpPr>
        <p:spPr/>
        <p:txBody>
          <a:bodyPr/>
          <a:lstStyle/>
          <a:p>
            <a:r>
              <a:rPr lang="en-ZA" dirty="0"/>
              <a:t>Ethiopia by Numbers</a:t>
            </a:r>
          </a:p>
        </p:txBody>
      </p:sp>
      <p:pic>
        <p:nvPicPr>
          <p:cNvPr id="4098" name="Picture 2" descr="Machine generated alternative text:&#10;Population of Cities in Ethiopia (2019) &#10;Over 1 Million &#10;100,000 to 1 Million &#10;10,000 to 100,000 ">
            <a:extLst>
              <a:ext uri="{FF2B5EF4-FFF2-40B4-BE49-F238E27FC236}">
                <a16:creationId xmlns:a16="http://schemas.microsoft.com/office/drawing/2014/main" id="{88687B26-5275-4B81-A333-93DAA79478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099" y="3616324"/>
            <a:ext cx="4629150" cy="141124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Machine generated alternative text:&#10;Khartoum &#10;e Sana'a ' &#10;Ethiopia &#10;2015 by (pp/knß) &#10;ddis A baba &#10;Year &#10;Built-up Area &#10;(OOOS krn2) &#10;Average Pop. &#10;Density &#10;(pp/km2 of Bu Area) &#10;Population &#10;1975 &#10;32.5m &#10;2000 &#10;11.8 &#10;4.92 &#10;4.65 &#10;47 .gm &#10;2015 &#10;21.1 &#10;4.13 &#10;99.1m ">
            <a:extLst>
              <a:ext uri="{FF2B5EF4-FFF2-40B4-BE49-F238E27FC236}">
                <a16:creationId xmlns:a16="http://schemas.microsoft.com/office/drawing/2014/main" id="{F376E0C2-D112-4DCA-BD8D-85FA4FB2DD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8249" y="1116012"/>
            <a:ext cx="4095751" cy="2628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1543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297440" y="3288128"/>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43343" y="2135212"/>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a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Debre 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Tree>
    <p:extLst>
      <p:ext uri="{BB962C8B-B14F-4D97-AF65-F5344CB8AC3E}">
        <p14:creationId xmlns:p14="http://schemas.microsoft.com/office/powerpoint/2010/main" val="268660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297440" y="3288128"/>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43343" y="2135212"/>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a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Debre 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
        <p:nvSpPr>
          <p:cNvPr id="505" name="Isosceles Triangle 504">
            <a:extLst>
              <a:ext uri="{FF2B5EF4-FFF2-40B4-BE49-F238E27FC236}">
                <a16:creationId xmlns:a16="http://schemas.microsoft.com/office/drawing/2014/main" id="{F1893565-0AFF-4623-B9C2-104843C39C96}"/>
              </a:ext>
            </a:extLst>
          </p:cNvPr>
          <p:cNvSpPr/>
          <p:nvPr/>
        </p:nvSpPr>
        <p:spPr>
          <a:xfrm rot="2564761">
            <a:off x="3728104" y="1545416"/>
            <a:ext cx="2472603" cy="2610207"/>
          </a:xfrm>
          <a:prstGeom prst="triangle">
            <a:avLst>
              <a:gd name="adj" fmla="val 0"/>
            </a:avLst>
          </a:prstGeom>
          <a:gradFill flip="none" rotWithShape="1">
            <a:gsLst>
              <a:gs pos="40000">
                <a:schemeClr val="bg2"/>
              </a:gs>
              <a:gs pos="0">
                <a:schemeClr val="accent4"/>
              </a:gs>
            </a:gsLst>
            <a:lin ang="189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523" name="Rectangle: Rounded Corners 522">
            <a:extLst>
              <a:ext uri="{FF2B5EF4-FFF2-40B4-BE49-F238E27FC236}">
                <a16:creationId xmlns:a16="http://schemas.microsoft.com/office/drawing/2014/main" id="{72F01608-9876-40AB-B97C-C77D0CC5D7F2}"/>
              </a:ext>
            </a:extLst>
          </p:cNvPr>
          <p:cNvSpPr/>
          <p:nvPr/>
        </p:nvSpPr>
        <p:spPr>
          <a:xfrm>
            <a:off x="4664344" y="456272"/>
            <a:ext cx="3754247" cy="4512260"/>
          </a:xfrm>
          <a:prstGeom prst="roundRect">
            <a:avLst/>
          </a:prstGeom>
          <a:blipFill dpi="0" rotWithShape="1">
            <a:blip r:embed="rId3"/>
            <a:srcRect/>
            <a:stretch>
              <a:fillRect l="-7000" r="-2000"/>
            </a:stretch>
          </a:blip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0" name="Arrow: Right 29">
            <a:extLst>
              <a:ext uri="{FF2B5EF4-FFF2-40B4-BE49-F238E27FC236}">
                <a16:creationId xmlns:a16="http://schemas.microsoft.com/office/drawing/2014/main" id="{AEC97C19-AC02-4253-9B48-BCCA68F50684}"/>
              </a:ext>
            </a:extLst>
          </p:cNvPr>
          <p:cNvSpPr/>
          <p:nvPr/>
        </p:nvSpPr>
        <p:spPr>
          <a:xfrm rot="16200000">
            <a:off x="6117472" y="620649"/>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7" name="Rectangle 536">
            <a:extLst>
              <a:ext uri="{FF2B5EF4-FFF2-40B4-BE49-F238E27FC236}">
                <a16:creationId xmlns:a16="http://schemas.microsoft.com/office/drawing/2014/main" id="{B5E60C12-0097-4BD7-B46E-FAF0AA7F774A}"/>
              </a:ext>
            </a:extLst>
          </p:cNvPr>
          <p:cNvSpPr/>
          <p:nvPr/>
        </p:nvSpPr>
        <p:spPr>
          <a:xfrm>
            <a:off x="7898064" y="4386111"/>
            <a:ext cx="419600"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Gore</a:t>
            </a:r>
            <a:endParaRPr lang="en-GB" sz="700" dirty="0">
              <a:solidFill>
                <a:srgbClr val="0D274D"/>
              </a:solidFill>
              <a:latin typeface="CiscoSansTT ExtraLight"/>
            </a:endParaRPr>
          </a:p>
        </p:txBody>
      </p:sp>
      <p:sp>
        <p:nvSpPr>
          <p:cNvPr id="538" name="Rectangle 537">
            <a:extLst>
              <a:ext uri="{FF2B5EF4-FFF2-40B4-BE49-F238E27FC236}">
                <a16:creationId xmlns:a16="http://schemas.microsoft.com/office/drawing/2014/main" id="{37EF48BB-7456-43F5-83EF-FBA9F3748ED1}"/>
              </a:ext>
            </a:extLst>
          </p:cNvPr>
          <p:cNvSpPr/>
          <p:nvPr/>
        </p:nvSpPr>
        <p:spPr>
          <a:xfrm>
            <a:off x="6420360" y="728242"/>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mbi</a:t>
            </a:r>
            <a:endParaRPr lang="en-GB" sz="700" dirty="0">
              <a:solidFill>
                <a:srgbClr val="0D274D"/>
              </a:solidFill>
              <a:latin typeface="CiscoSansTT ExtraLight"/>
            </a:endParaRPr>
          </a:p>
        </p:txBody>
      </p:sp>
      <p:sp>
        <p:nvSpPr>
          <p:cNvPr id="539" name="Arrow: Right 538">
            <a:extLst>
              <a:ext uri="{FF2B5EF4-FFF2-40B4-BE49-F238E27FC236}">
                <a16:creationId xmlns:a16="http://schemas.microsoft.com/office/drawing/2014/main" id="{4EACC18C-96F8-4E13-95DD-3D5DB10BF4E6}"/>
              </a:ext>
            </a:extLst>
          </p:cNvPr>
          <p:cNvSpPr/>
          <p:nvPr/>
        </p:nvSpPr>
        <p:spPr>
          <a:xfrm rot="2545325">
            <a:off x="7790589" y="4617076"/>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40" name="Group 29">
            <a:extLst>
              <a:ext uri="{FF2B5EF4-FFF2-40B4-BE49-F238E27FC236}">
                <a16:creationId xmlns:a16="http://schemas.microsoft.com/office/drawing/2014/main" id="{A5F2AF66-2214-4951-A65E-E9CAE2DC79C7}"/>
              </a:ext>
            </a:extLst>
          </p:cNvPr>
          <p:cNvGrpSpPr/>
          <p:nvPr/>
        </p:nvGrpSpPr>
        <p:grpSpPr>
          <a:xfrm>
            <a:off x="5282921" y="2968278"/>
            <a:ext cx="302619" cy="317247"/>
            <a:chOff x="4163060" y="2537711"/>
            <a:chExt cx="520926" cy="520926"/>
          </a:xfrm>
        </p:grpSpPr>
        <p:sp>
          <p:nvSpPr>
            <p:cNvPr id="541" name="Oval 540">
              <a:extLst>
                <a:ext uri="{FF2B5EF4-FFF2-40B4-BE49-F238E27FC236}">
                  <a16:creationId xmlns:a16="http://schemas.microsoft.com/office/drawing/2014/main" id="{BF9B52A4-50AD-4090-98F7-A8514D6D41F4}"/>
                </a:ext>
              </a:extLst>
            </p:cNvPr>
            <p:cNvSpPr/>
            <p:nvPr/>
          </p:nvSpPr>
          <p:spPr>
            <a:xfrm>
              <a:off x="4163060" y="2537711"/>
              <a:ext cx="520926" cy="520926"/>
            </a:xfrm>
            <a:prstGeom prst="ellipse">
              <a:avLst/>
            </a:prstGeom>
            <a:noFill/>
            <a:ln w="635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defTabSz="456917">
                <a:defRPr/>
              </a:pPr>
              <a:endParaRPr lang="en-US" dirty="0">
                <a:solidFill>
                  <a:srgbClr val="FFFFFF"/>
                </a:solidFill>
                <a:latin typeface="CiscoSansTT ExtraLight"/>
              </a:endParaRPr>
            </a:p>
          </p:txBody>
        </p:sp>
        <p:sp>
          <p:nvSpPr>
            <p:cNvPr id="542" name="Freeform 41">
              <a:extLst>
                <a:ext uri="{FF2B5EF4-FFF2-40B4-BE49-F238E27FC236}">
                  <a16:creationId xmlns:a16="http://schemas.microsoft.com/office/drawing/2014/main" id="{A56A3E57-A0C9-477B-81EC-EC35AEBBBF77}"/>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5" name="Group 29">
            <a:extLst>
              <a:ext uri="{FF2B5EF4-FFF2-40B4-BE49-F238E27FC236}">
                <a16:creationId xmlns:a16="http://schemas.microsoft.com/office/drawing/2014/main" id="{9B7D416B-937A-4362-9916-A04800C1BBAA}"/>
              </a:ext>
            </a:extLst>
          </p:cNvPr>
          <p:cNvGrpSpPr/>
          <p:nvPr/>
        </p:nvGrpSpPr>
        <p:grpSpPr>
          <a:xfrm>
            <a:off x="5739506" y="1982494"/>
            <a:ext cx="302619" cy="317247"/>
            <a:chOff x="4163060" y="2537711"/>
            <a:chExt cx="520926" cy="520926"/>
          </a:xfrm>
        </p:grpSpPr>
        <p:sp>
          <p:nvSpPr>
            <p:cNvPr id="596" name="Oval 595">
              <a:extLst>
                <a:ext uri="{FF2B5EF4-FFF2-40B4-BE49-F238E27FC236}">
                  <a16:creationId xmlns:a16="http://schemas.microsoft.com/office/drawing/2014/main" id="{65341EEA-0A1C-4504-99F5-4D42CEC62D2A}"/>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597" name="Freeform 41">
              <a:extLst>
                <a:ext uri="{FF2B5EF4-FFF2-40B4-BE49-F238E27FC236}">
                  <a16:creationId xmlns:a16="http://schemas.microsoft.com/office/drawing/2014/main" id="{51E359D6-77A8-4CFC-B071-7D93C536A488}"/>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8" name="Group 29">
            <a:extLst>
              <a:ext uri="{FF2B5EF4-FFF2-40B4-BE49-F238E27FC236}">
                <a16:creationId xmlns:a16="http://schemas.microsoft.com/office/drawing/2014/main" id="{93CC09B8-F968-41A8-B214-141AA4AF960B}"/>
              </a:ext>
            </a:extLst>
          </p:cNvPr>
          <p:cNvGrpSpPr/>
          <p:nvPr/>
        </p:nvGrpSpPr>
        <p:grpSpPr>
          <a:xfrm>
            <a:off x="6268132" y="1603292"/>
            <a:ext cx="302619" cy="317247"/>
            <a:chOff x="4163060" y="2537711"/>
            <a:chExt cx="520926" cy="520926"/>
          </a:xfrm>
        </p:grpSpPr>
        <p:sp>
          <p:nvSpPr>
            <p:cNvPr id="606" name="Oval 605">
              <a:extLst>
                <a:ext uri="{FF2B5EF4-FFF2-40B4-BE49-F238E27FC236}">
                  <a16:creationId xmlns:a16="http://schemas.microsoft.com/office/drawing/2014/main" id="{BC8DBA18-9627-4B1F-B11A-3FDB467F999E}"/>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07" name="Freeform 41">
              <a:extLst>
                <a:ext uri="{FF2B5EF4-FFF2-40B4-BE49-F238E27FC236}">
                  <a16:creationId xmlns:a16="http://schemas.microsoft.com/office/drawing/2014/main" id="{F13CD59C-7C44-4460-A662-CBF7056A4DBD}"/>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08" name="Group 29">
            <a:extLst>
              <a:ext uri="{FF2B5EF4-FFF2-40B4-BE49-F238E27FC236}">
                <a16:creationId xmlns:a16="http://schemas.microsoft.com/office/drawing/2014/main" id="{77E1AA06-B3E8-48CD-9C5D-399E73E40C3B}"/>
              </a:ext>
            </a:extLst>
          </p:cNvPr>
          <p:cNvGrpSpPr/>
          <p:nvPr/>
        </p:nvGrpSpPr>
        <p:grpSpPr>
          <a:xfrm>
            <a:off x="7339817" y="1345406"/>
            <a:ext cx="302619" cy="317247"/>
            <a:chOff x="4163060" y="2537711"/>
            <a:chExt cx="520926" cy="520926"/>
          </a:xfrm>
        </p:grpSpPr>
        <p:sp>
          <p:nvSpPr>
            <p:cNvPr id="609" name="Oval 608">
              <a:extLst>
                <a:ext uri="{FF2B5EF4-FFF2-40B4-BE49-F238E27FC236}">
                  <a16:creationId xmlns:a16="http://schemas.microsoft.com/office/drawing/2014/main" id="{C29DB126-B7DB-4DB0-AF57-3D5726CF2355}"/>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0" name="Freeform 41">
              <a:extLst>
                <a:ext uri="{FF2B5EF4-FFF2-40B4-BE49-F238E27FC236}">
                  <a16:creationId xmlns:a16="http://schemas.microsoft.com/office/drawing/2014/main" id="{ECD2092C-0796-4913-9BD9-12B2633B784C}"/>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1" name="Group 29">
            <a:extLst>
              <a:ext uri="{FF2B5EF4-FFF2-40B4-BE49-F238E27FC236}">
                <a16:creationId xmlns:a16="http://schemas.microsoft.com/office/drawing/2014/main" id="{27CB4948-CFD6-4009-9827-31E3DF98708C}"/>
              </a:ext>
            </a:extLst>
          </p:cNvPr>
          <p:cNvGrpSpPr/>
          <p:nvPr/>
        </p:nvGrpSpPr>
        <p:grpSpPr>
          <a:xfrm>
            <a:off x="6903626" y="2244574"/>
            <a:ext cx="302619" cy="317247"/>
            <a:chOff x="4163060" y="2537711"/>
            <a:chExt cx="520926" cy="520926"/>
          </a:xfrm>
        </p:grpSpPr>
        <p:sp>
          <p:nvSpPr>
            <p:cNvPr id="612" name="Oval 611">
              <a:extLst>
                <a:ext uri="{FF2B5EF4-FFF2-40B4-BE49-F238E27FC236}">
                  <a16:creationId xmlns:a16="http://schemas.microsoft.com/office/drawing/2014/main" id="{C2EA128A-9593-4066-A311-92023D1336A2}"/>
                </a:ext>
              </a:extLst>
            </p:cNvPr>
            <p:cNvSpPr/>
            <p:nvPr/>
          </p:nvSpPr>
          <p:spPr>
            <a:xfrm>
              <a:off x="4163060" y="2537711"/>
              <a:ext cx="520926" cy="520926"/>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456917">
                <a:defRPr/>
              </a:pPr>
              <a:endParaRPr lang="en-US" dirty="0">
                <a:solidFill>
                  <a:srgbClr val="FFFFFF"/>
                </a:solidFill>
                <a:latin typeface="CiscoSansTT ExtraLight"/>
              </a:endParaRPr>
            </a:p>
          </p:txBody>
        </p:sp>
        <p:sp>
          <p:nvSpPr>
            <p:cNvPr id="613" name="Freeform 41">
              <a:extLst>
                <a:ext uri="{FF2B5EF4-FFF2-40B4-BE49-F238E27FC236}">
                  <a16:creationId xmlns:a16="http://schemas.microsoft.com/office/drawing/2014/main" id="{3BB0BD81-E52E-46C9-B6D9-9D0FA3285610}"/>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4" name="Group 29">
            <a:extLst>
              <a:ext uri="{FF2B5EF4-FFF2-40B4-BE49-F238E27FC236}">
                <a16:creationId xmlns:a16="http://schemas.microsoft.com/office/drawing/2014/main" id="{E7DB4215-9524-48BF-B8E5-684CCDF82591}"/>
              </a:ext>
            </a:extLst>
          </p:cNvPr>
          <p:cNvGrpSpPr/>
          <p:nvPr/>
        </p:nvGrpSpPr>
        <p:grpSpPr>
          <a:xfrm>
            <a:off x="6275388" y="2823251"/>
            <a:ext cx="302619" cy="317247"/>
            <a:chOff x="4163060" y="2537711"/>
            <a:chExt cx="520926" cy="520926"/>
          </a:xfrm>
        </p:grpSpPr>
        <p:sp>
          <p:nvSpPr>
            <p:cNvPr id="615" name="Oval 614">
              <a:extLst>
                <a:ext uri="{FF2B5EF4-FFF2-40B4-BE49-F238E27FC236}">
                  <a16:creationId xmlns:a16="http://schemas.microsoft.com/office/drawing/2014/main" id="{1B5E7FBB-EC69-4268-8826-A2B262641679}"/>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6" name="Freeform 41">
              <a:extLst>
                <a:ext uri="{FF2B5EF4-FFF2-40B4-BE49-F238E27FC236}">
                  <a16:creationId xmlns:a16="http://schemas.microsoft.com/office/drawing/2014/main" id="{8D9FDE30-D3C3-468F-993B-2658B6109CE6}"/>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7" name="Group 29">
            <a:extLst>
              <a:ext uri="{FF2B5EF4-FFF2-40B4-BE49-F238E27FC236}">
                <a16:creationId xmlns:a16="http://schemas.microsoft.com/office/drawing/2014/main" id="{CB4C2803-1D31-473D-B05B-14FECC0FEBD9}"/>
              </a:ext>
            </a:extLst>
          </p:cNvPr>
          <p:cNvGrpSpPr/>
          <p:nvPr/>
        </p:nvGrpSpPr>
        <p:grpSpPr>
          <a:xfrm>
            <a:off x="7155101" y="3370835"/>
            <a:ext cx="302619" cy="317247"/>
            <a:chOff x="4163060" y="2537711"/>
            <a:chExt cx="520926" cy="520926"/>
          </a:xfrm>
        </p:grpSpPr>
        <p:sp>
          <p:nvSpPr>
            <p:cNvPr id="618" name="Oval 617">
              <a:extLst>
                <a:ext uri="{FF2B5EF4-FFF2-40B4-BE49-F238E27FC236}">
                  <a16:creationId xmlns:a16="http://schemas.microsoft.com/office/drawing/2014/main" id="{EC8B7BA3-44FD-4707-8DDB-3F73C5745317}"/>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9" name="Freeform 41">
              <a:extLst>
                <a:ext uri="{FF2B5EF4-FFF2-40B4-BE49-F238E27FC236}">
                  <a16:creationId xmlns:a16="http://schemas.microsoft.com/office/drawing/2014/main" id="{2C7B4928-6595-43BB-AD82-7D69319B999A}"/>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cxnSp>
        <p:nvCxnSpPr>
          <p:cNvPr id="32" name="Straight Connector 31">
            <a:extLst>
              <a:ext uri="{FF2B5EF4-FFF2-40B4-BE49-F238E27FC236}">
                <a16:creationId xmlns:a16="http://schemas.microsoft.com/office/drawing/2014/main" id="{C7EB0EA3-A702-4528-B1C9-ABAA7A5B3B4C}"/>
              </a:ext>
            </a:extLst>
          </p:cNvPr>
          <p:cNvCxnSpPr>
            <a:cxnSpLocks/>
            <a:stCxn id="596" idx="5"/>
            <a:endCxn id="525" idx="2"/>
          </p:cNvCxnSpPr>
          <p:nvPr/>
        </p:nvCxnSpPr>
        <p:spPr>
          <a:xfrm>
            <a:off x="5997807" y="2253281"/>
            <a:ext cx="966529" cy="336757"/>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0" name="Straight Connector 69">
            <a:extLst>
              <a:ext uri="{FF2B5EF4-FFF2-40B4-BE49-F238E27FC236}">
                <a16:creationId xmlns:a16="http://schemas.microsoft.com/office/drawing/2014/main" id="{685B54BB-7668-4C43-8B50-4969C55EF348}"/>
              </a:ext>
            </a:extLst>
          </p:cNvPr>
          <p:cNvCxnSpPr>
            <a:cxnSpLocks/>
            <a:stCxn id="606" idx="5"/>
            <a:endCxn id="525" idx="1"/>
          </p:cNvCxnSpPr>
          <p:nvPr/>
        </p:nvCxnSpPr>
        <p:spPr>
          <a:xfrm>
            <a:off x="6526433" y="1874079"/>
            <a:ext cx="462513" cy="656546"/>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3" name="Straight Connector 72">
            <a:extLst>
              <a:ext uri="{FF2B5EF4-FFF2-40B4-BE49-F238E27FC236}">
                <a16:creationId xmlns:a16="http://schemas.microsoft.com/office/drawing/2014/main" id="{2DCDD96F-61C1-4EFA-BD1B-F57C6A13A1FC}"/>
              </a:ext>
            </a:extLst>
          </p:cNvPr>
          <p:cNvCxnSpPr>
            <a:cxnSpLocks/>
            <a:stCxn id="612" idx="4"/>
          </p:cNvCxnSpPr>
          <p:nvPr/>
        </p:nvCxnSpPr>
        <p:spPr>
          <a:xfrm flipH="1">
            <a:off x="7023021" y="2561821"/>
            <a:ext cx="31914" cy="384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13D577-06EB-4CA4-973B-BD002BEDF6E7}"/>
              </a:ext>
            </a:extLst>
          </p:cNvPr>
          <p:cNvCxnSpPr>
            <a:cxnSpLocks/>
            <a:stCxn id="609" idx="4"/>
            <a:endCxn id="525" idx="7"/>
          </p:cNvCxnSpPr>
          <p:nvPr/>
        </p:nvCxnSpPr>
        <p:spPr>
          <a:xfrm flipH="1">
            <a:off x="7107771" y="1662653"/>
            <a:ext cx="383356" cy="867972"/>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7" name="Straight Connector 76">
            <a:extLst>
              <a:ext uri="{FF2B5EF4-FFF2-40B4-BE49-F238E27FC236}">
                <a16:creationId xmlns:a16="http://schemas.microsoft.com/office/drawing/2014/main" id="{5B2818DB-830E-4AD7-B13B-996AAE83C77B}"/>
              </a:ext>
            </a:extLst>
          </p:cNvPr>
          <p:cNvCxnSpPr>
            <a:cxnSpLocks/>
            <a:stCxn id="615" idx="6"/>
            <a:endCxn id="525" idx="3"/>
          </p:cNvCxnSpPr>
          <p:nvPr/>
        </p:nvCxnSpPr>
        <p:spPr>
          <a:xfrm flipV="1">
            <a:off x="6578007" y="2649450"/>
            <a:ext cx="410939" cy="33242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0" name="Straight Connector 79">
            <a:extLst>
              <a:ext uri="{FF2B5EF4-FFF2-40B4-BE49-F238E27FC236}">
                <a16:creationId xmlns:a16="http://schemas.microsoft.com/office/drawing/2014/main" id="{65C2C988-5928-40F4-9D29-E0484818AB7A}"/>
              </a:ext>
            </a:extLst>
          </p:cNvPr>
          <p:cNvCxnSpPr>
            <a:cxnSpLocks/>
            <a:stCxn id="541" idx="6"/>
            <a:endCxn id="525" idx="2"/>
          </p:cNvCxnSpPr>
          <p:nvPr/>
        </p:nvCxnSpPr>
        <p:spPr>
          <a:xfrm flipV="1">
            <a:off x="5585540" y="2590038"/>
            <a:ext cx="1378796" cy="536864"/>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6" name="Straight Connector 85">
            <a:extLst>
              <a:ext uri="{FF2B5EF4-FFF2-40B4-BE49-F238E27FC236}">
                <a16:creationId xmlns:a16="http://schemas.microsoft.com/office/drawing/2014/main" id="{45113536-47F9-42B9-A8AB-A9A459C49158}"/>
              </a:ext>
            </a:extLst>
          </p:cNvPr>
          <p:cNvCxnSpPr>
            <a:stCxn id="623" idx="15"/>
            <a:endCxn id="544" idx="6"/>
          </p:cNvCxnSpPr>
          <p:nvPr/>
        </p:nvCxnSpPr>
        <p:spPr>
          <a:xfrm flipH="1" flipV="1">
            <a:off x="6633397" y="2278811"/>
            <a:ext cx="1175080" cy="80357"/>
          </a:xfrm>
          <a:prstGeom prst="line">
            <a:avLst/>
          </a:prstGeom>
        </p:spPr>
        <p:style>
          <a:lnRef idx="3">
            <a:schemeClr val="accent1"/>
          </a:lnRef>
          <a:fillRef idx="0">
            <a:schemeClr val="accent1"/>
          </a:fillRef>
          <a:effectRef idx="2">
            <a:schemeClr val="accent1"/>
          </a:effectRef>
          <a:fontRef idx="minor">
            <a:schemeClr val="tx1"/>
          </a:fontRef>
        </p:style>
      </p:cxnSp>
      <p:cxnSp>
        <p:nvCxnSpPr>
          <p:cNvPr id="83" name="Straight Connector 82">
            <a:extLst>
              <a:ext uri="{FF2B5EF4-FFF2-40B4-BE49-F238E27FC236}">
                <a16:creationId xmlns:a16="http://schemas.microsoft.com/office/drawing/2014/main" id="{6096C28E-B668-4D25-B65D-9E575C33A5B3}"/>
              </a:ext>
            </a:extLst>
          </p:cNvPr>
          <p:cNvCxnSpPr>
            <a:stCxn id="618" idx="0"/>
            <a:endCxn id="525" idx="4"/>
          </p:cNvCxnSpPr>
          <p:nvPr/>
        </p:nvCxnSpPr>
        <p:spPr>
          <a:xfrm flipH="1" flipV="1">
            <a:off x="7048359" y="2674060"/>
            <a:ext cx="258052" cy="696775"/>
          </a:xfrm>
          <a:prstGeom prst="line">
            <a:avLst/>
          </a:prstGeom>
          <a:ln/>
        </p:spPr>
        <p:style>
          <a:lnRef idx="1">
            <a:schemeClr val="accent3"/>
          </a:lnRef>
          <a:fillRef idx="0">
            <a:schemeClr val="accent3"/>
          </a:fillRef>
          <a:effectRef idx="0">
            <a:schemeClr val="accent3"/>
          </a:effectRef>
          <a:fontRef idx="minor">
            <a:schemeClr val="tx1"/>
          </a:fontRef>
        </p:style>
      </p:cxnSp>
      <p:sp>
        <p:nvSpPr>
          <p:cNvPr id="96" name="Freeform: Shape 95">
            <a:extLst>
              <a:ext uri="{FF2B5EF4-FFF2-40B4-BE49-F238E27FC236}">
                <a16:creationId xmlns:a16="http://schemas.microsoft.com/office/drawing/2014/main" id="{3F8BFE22-2214-497E-BF03-EBB9CB38F4DE}"/>
              </a:ext>
            </a:extLst>
          </p:cNvPr>
          <p:cNvSpPr/>
          <p:nvPr/>
        </p:nvSpPr>
        <p:spPr>
          <a:xfrm>
            <a:off x="5931265" y="411849"/>
            <a:ext cx="616485" cy="1836097"/>
          </a:xfrm>
          <a:custGeom>
            <a:avLst/>
            <a:gdLst>
              <a:gd name="connsiteX0" fmla="*/ 1454722 w 1454722"/>
              <a:gd name="connsiteY0" fmla="*/ 2841769 h 2841769"/>
              <a:gd name="connsiteX1" fmla="*/ 521272 w 1454722"/>
              <a:gd name="connsiteY1" fmla="*/ 2175019 h 2841769"/>
              <a:gd name="connsiteX2" fmla="*/ 149797 w 1454722"/>
              <a:gd name="connsiteY2" fmla="*/ 641494 h 2841769"/>
              <a:gd name="connsiteX3" fmla="*/ 6922 w 1454722"/>
              <a:gd name="connsiteY3" fmla="*/ 50944 h 2841769"/>
              <a:gd name="connsiteX4" fmla="*/ 35497 w 1454722"/>
              <a:gd name="connsiteY4" fmla="*/ 69994 h 284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722" h="2841769">
                <a:moveTo>
                  <a:pt x="1454722" y="2841769"/>
                </a:moveTo>
                <a:cubicBezTo>
                  <a:pt x="1096740" y="2691750"/>
                  <a:pt x="738759" y="2541731"/>
                  <a:pt x="521272" y="2175019"/>
                </a:cubicBezTo>
                <a:cubicBezTo>
                  <a:pt x="303785" y="1808307"/>
                  <a:pt x="149797" y="641494"/>
                  <a:pt x="149797" y="641494"/>
                </a:cubicBezTo>
                <a:lnTo>
                  <a:pt x="6922" y="50944"/>
                </a:lnTo>
                <a:cubicBezTo>
                  <a:pt x="-12128" y="-44306"/>
                  <a:pt x="11684" y="12844"/>
                  <a:pt x="35497" y="69994"/>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grpSp>
        <p:nvGrpSpPr>
          <p:cNvPr id="524" name="Group 523">
            <a:extLst>
              <a:ext uri="{FF2B5EF4-FFF2-40B4-BE49-F238E27FC236}">
                <a16:creationId xmlns:a16="http://schemas.microsoft.com/office/drawing/2014/main" id="{E1663DD4-DA51-4B2D-B167-258896EFE2D0}"/>
              </a:ext>
            </a:extLst>
          </p:cNvPr>
          <p:cNvGrpSpPr/>
          <p:nvPr/>
        </p:nvGrpSpPr>
        <p:grpSpPr>
          <a:xfrm>
            <a:off x="6964336" y="2506015"/>
            <a:ext cx="168045" cy="168045"/>
            <a:chOff x="4083769" y="2552776"/>
            <a:chExt cx="529089" cy="529089"/>
          </a:xfrm>
          <a:solidFill>
            <a:schemeClr val="accent5"/>
          </a:solidFill>
        </p:grpSpPr>
        <p:sp>
          <p:nvSpPr>
            <p:cNvPr id="525" name="Oval 524">
              <a:extLst>
                <a:ext uri="{FF2B5EF4-FFF2-40B4-BE49-F238E27FC236}">
                  <a16:creationId xmlns:a16="http://schemas.microsoft.com/office/drawing/2014/main" id="{85034D52-F106-4E56-A399-DDE2C758F1FB}"/>
                </a:ext>
              </a:extLst>
            </p:cNvPr>
            <p:cNvSpPr/>
            <p:nvPr/>
          </p:nvSpPr>
          <p:spPr>
            <a:xfrm>
              <a:off x="4083769" y="2552776"/>
              <a:ext cx="529089" cy="529089"/>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6" name="Freeform: Shape 298">
              <a:extLst>
                <a:ext uri="{FF2B5EF4-FFF2-40B4-BE49-F238E27FC236}">
                  <a16:creationId xmlns:a16="http://schemas.microsoft.com/office/drawing/2014/main" id="{4A1CAA4F-2377-434A-9F13-9E763294C0D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299">
              <a:extLst>
                <a:ext uri="{FF2B5EF4-FFF2-40B4-BE49-F238E27FC236}">
                  <a16:creationId xmlns:a16="http://schemas.microsoft.com/office/drawing/2014/main" id="{13B65276-0B83-4462-9EB0-03C4032ECC9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1">
              <a:extLst>
                <a:ext uri="{FF2B5EF4-FFF2-40B4-BE49-F238E27FC236}">
                  <a16:creationId xmlns:a16="http://schemas.microsoft.com/office/drawing/2014/main" id="{7F8006FB-D45A-4C5F-8CE1-B64192D41C3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9" name="Freeform: Shape 302">
              <a:extLst>
                <a:ext uri="{FF2B5EF4-FFF2-40B4-BE49-F238E27FC236}">
                  <a16:creationId xmlns:a16="http://schemas.microsoft.com/office/drawing/2014/main" id="{7EA827F4-EB63-4832-92DB-DCB54240DDB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43" name="Group 542">
            <a:extLst>
              <a:ext uri="{FF2B5EF4-FFF2-40B4-BE49-F238E27FC236}">
                <a16:creationId xmlns:a16="http://schemas.microsoft.com/office/drawing/2014/main" id="{BD10CB84-4751-4B39-A66B-0B073B8E4BDF}"/>
              </a:ext>
            </a:extLst>
          </p:cNvPr>
          <p:cNvGrpSpPr/>
          <p:nvPr/>
        </p:nvGrpSpPr>
        <p:grpSpPr>
          <a:xfrm>
            <a:off x="6465352" y="2194788"/>
            <a:ext cx="168045" cy="168045"/>
            <a:chOff x="4083769" y="2552776"/>
            <a:chExt cx="529089" cy="529089"/>
          </a:xfrm>
        </p:grpSpPr>
        <p:sp>
          <p:nvSpPr>
            <p:cNvPr id="544" name="Oval 543">
              <a:extLst>
                <a:ext uri="{FF2B5EF4-FFF2-40B4-BE49-F238E27FC236}">
                  <a16:creationId xmlns:a16="http://schemas.microsoft.com/office/drawing/2014/main" id="{84C9DEC3-A54C-4780-BAB6-CC8062A0D09E}"/>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3" name="Freeform: Shape 298">
              <a:extLst>
                <a:ext uri="{FF2B5EF4-FFF2-40B4-BE49-F238E27FC236}">
                  <a16:creationId xmlns:a16="http://schemas.microsoft.com/office/drawing/2014/main" id="{C3BFEA1C-E82B-493E-B465-9BD500C0493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4" name="Freeform: Shape 299">
              <a:extLst>
                <a:ext uri="{FF2B5EF4-FFF2-40B4-BE49-F238E27FC236}">
                  <a16:creationId xmlns:a16="http://schemas.microsoft.com/office/drawing/2014/main" id="{84416919-9E50-4520-935E-20D4DB784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0" name="Freeform: Shape 301">
              <a:extLst>
                <a:ext uri="{FF2B5EF4-FFF2-40B4-BE49-F238E27FC236}">
                  <a16:creationId xmlns:a16="http://schemas.microsoft.com/office/drawing/2014/main" id="{18C12E97-A75F-4BAD-8CEF-B3F52C587EC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1" name="Freeform: Shape 302">
              <a:extLst>
                <a:ext uri="{FF2B5EF4-FFF2-40B4-BE49-F238E27FC236}">
                  <a16:creationId xmlns:a16="http://schemas.microsoft.com/office/drawing/2014/main" id="{9D66740C-91DA-499D-B9C4-169C1567004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2" name="Freeform: Shape 1">
            <a:extLst>
              <a:ext uri="{FF2B5EF4-FFF2-40B4-BE49-F238E27FC236}">
                <a16:creationId xmlns:a16="http://schemas.microsoft.com/office/drawing/2014/main" id="{623DD4B3-A06C-49E6-B2A8-D55535FB6771}"/>
              </a:ext>
            </a:extLst>
          </p:cNvPr>
          <p:cNvSpPr/>
          <p:nvPr/>
        </p:nvSpPr>
        <p:spPr>
          <a:xfrm>
            <a:off x="6128684" y="2159926"/>
            <a:ext cx="2009476" cy="2655914"/>
          </a:xfrm>
          <a:custGeom>
            <a:avLst/>
            <a:gdLst>
              <a:gd name="connsiteX0" fmla="*/ 348316 w 2009476"/>
              <a:gd name="connsiteY0" fmla="*/ 126074 h 2655914"/>
              <a:gd name="connsiteX1" fmla="*/ 89236 w 2009476"/>
              <a:gd name="connsiteY1" fmla="*/ 4154 h 2655914"/>
              <a:gd name="connsiteX2" fmla="*/ 58756 w 2009476"/>
              <a:gd name="connsiteY2" fmla="*/ 87974 h 2655914"/>
              <a:gd name="connsiteX3" fmla="*/ 5416 w 2009476"/>
              <a:gd name="connsiteY3" fmla="*/ 621374 h 2655914"/>
              <a:gd name="connsiteX4" fmla="*/ 203536 w 2009476"/>
              <a:gd name="connsiteY4" fmla="*/ 949034 h 2655914"/>
              <a:gd name="connsiteX5" fmla="*/ 409276 w 2009476"/>
              <a:gd name="connsiteY5" fmla="*/ 1360514 h 2655914"/>
              <a:gd name="connsiteX6" fmla="*/ 828376 w 2009476"/>
              <a:gd name="connsiteY6" fmla="*/ 1429094 h 2655914"/>
              <a:gd name="connsiteX7" fmla="*/ 1087456 w 2009476"/>
              <a:gd name="connsiteY7" fmla="*/ 1985354 h 2655914"/>
              <a:gd name="connsiteX8" fmla="*/ 2009476 w 2009476"/>
              <a:gd name="connsiteY8" fmla="*/ 2655914 h 2655914"/>
              <a:gd name="connsiteX9" fmla="*/ 2009476 w 2009476"/>
              <a:gd name="connsiteY9" fmla="*/ 2655914 h 265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9476" h="2655914">
                <a:moveTo>
                  <a:pt x="348316" y="126074"/>
                </a:moveTo>
                <a:cubicBezTo>
                  <a:pt x="242906" y="68289"/>
                  <a:pt x="137496" y="10504"/>
                  <a:pt x="89236" y="4154"/>
                </a:cubicBezTo>
                <a:cubicBezTo>
                  <a:pt x="40976" y="-2196"/>
                  <a:pt x="72726" y="-14896"/>
                  <a:pt x="58756" y="87974"/>
                </a:cubicBezTo>
                <a:cubicBezTo>
                  <a:pt x="44786" y="190844"/>
                  <a:pt x="-18714" y="477864"/>
                  <a:pt x="5416" y="621374"/>
                </a:cubicBezTo>
                <a:cubicBezTo>
                  <a:pt x="29546" y="764884"/>
                  <a:pt x="136226" y="825844"/>
                  <a:pt x="203536" y="949034"/>
                </a:cubicBezTo>
                <a:cubicBezTo>
                  <a:pt x="270846" y="1072224"/>
                  <a:pt x="305136" y="1280504"/>
                  <a:pt x="409276" y="1360514"/>
                </a:cubicBezTo>
                <a:cubicBezTo>
                  <a:pt x="513416" y="1440524"/>
                  <a:pt x="715346" y="1324954"/>
                  <a:pt x="828376" y="1429094"/>
                </a:cubicBezTo>
                <a:cubicBezTo>
                  <a:pt x="941406" y="1533234"/>
                  <a:pt x="890606" y="1780884"/>
                  <a:pt x="1087456" y="1985354"/>
                </a:cubicBezTo>
                <a:cubicBezTo>
                  <a:pt x="1284306" y="2189824"/>
                  <a:pt x="2009476" y="2655914"/>
                  <a:pt x="2009476" y="2655914"/>
                </a:cubicBezTo>
                <a:lnTo>
                  <a:pt x="2009476" y="2655914"/>
                </a:ln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363679F8-EA42-4A29-B790-243CED9E3F74}"/>
              </a:ext>
            </a:extLst>
          </p:cNvPr>
          <p:cNvCxnSpPr>
            <a:cxnSpLocks/>
            <a:stCxn id="544" idx="5"/>
            <a:endCxn id="525" idx="2"/>
          </p:cNvCxnSpPr>
          <p:nvPr/>
        </p:nvCxnSpPr>
        <p:spPr>
          <a:xfrm>
            <a:off x="6608787" y="2338223"/>
            <a:ext cx="355549" cy="251815"/>
          </a:xfrm>
          <a:prstGeom prst="line">
            <a:avLst/>
          </a:prstGeom>
        </p:spPr>
        <p:style>
          <a:lnRef idx="2">
            <a:schemeClr val="accent2"/>
          </a:lnRef>
          <a:fillRef idx="0">
            <a:schemeClr val="accent2"/>
          </a:fillRef>
          <a:effectRef idx="1">
            <a:schemeClr val="accent2"/>
          </a:effectRef>
          <a:fontRef idx="minor">
            <a:schemeClr val="tx1"/>
          </a:fontRef>
        </p:style>
      </p:cxnSp>
      <p:sp>
        <p:nvSpPr>
          <p:cNvPr id="623" name="Freeform 9">
            <a:extLst>
              <a:ext uri="{FF2B5EF4-FFF2-40B4-BE49-F238E27FC236}">
                <a16:creationId xmlns:a16="http://schemas.microsoft.com/office/drawing/2014/main" id="{5C1FF821-6A0B-47B6-A173-364AA4116FD9}"/>
              </a:ext>
            </a:extLst>
          </p:cNvPr>
          <p:cNvSpPr>
            <a:spLocks noEditPoints="1"/>
          </p:cNvSpPr>
          <p:nvPr/>
        </p:nvSpPr>
        <p:spPr bwMode="auto">
          <a:xfrm>
            <a:off x="7791851" y="21331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624" name="Freeform 9">
            <a:extLst>
              <a:ext uri="{FF2B5EF4-FFF2-40B4-BE49-F238E27FC236}">
                <a16:creationId xmlns:a16="http://schemas.microsoft.com/office/drawing/2014/main" id="{C324483A-5669-4139-B390-83AD6CB32BB4}"/>
              </a:ext>
            </a:extLst>
          </p:cNvPr>
          <p:cNvSpPr>
            <a:spLocks noEditPoints="1"/>
          </p:cNvSpPr>
          <p:nvPr/>
        </p:nvSpPr>
        <p:spPr bwMode="auto">
          <a:xfrm>
            <a:off x="7906151" y="22474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625" name="Freeform 9">
            <a:extLst>
              <a:ext uri="{FF2B5EF4-FFF2-40B4-BE49-F238E27FC236}">
                <a16:creationId xmlns:a16="http://schemas.microsoft.com/office/drawing/2014/main" id="{48D992CC-9D0C-4980-ADB3-ECD7E02CD12E}"/>
              </a:ext>
            </a:extLst>
          </p:cNvPr>
          <p:cNvSpPr>
            <a:spLocks noEditPoints="1"/>
          </p:cNvSpPr>
          <p:nvPr/>
        </p:nvSpPr>
        <p:spPr bwMode="auto">
          <a:xfrm>
            <a:off x="8020451" y="23617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29" name="Oval 28">
            <a:extLst>
              <a:ext uri="{FF2B5EF4-FFF2-40B4-BE49-F238E27FC236}">
                <a16:creationId xmlns:a16="http://schemas.microsoft.com/office/drawing/2014/main" id="{D9E589B0-3A64-48D5-99EA-37070B71C370}"/>
              </a:ext>
            </a:extLst>
          </p:cNvPr>
          <p:cNvSpPr/>
          <p:nvPr/>
        </p:nvSpPr>
        <p:spPr>
          <a:xfrm>
            <a:off x="5461298" y="3417050"/>
            <a:ext cx="907924" cy="891682"/>
          </a:xfrm>
          <a:prstGeom prst="ellipse">
            <a:avLst/>
          </a:prstGeom>
          <a:solidFill>
            <a:schemeClr val="accent4">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grpSp>
        <p:nvGrpSpPr>
          <p:cNvPr id="629" name="Group 628">
            <a:extLst>
              <a:ext uri="{FF2B5EF4-FFF2-40B4-BE49-F238E27FC236}">
                <a16:creationId xmlns:a16="http://schemas.microsoft.com/office/drawing/2014/main" id="{982FFFEE-28D7-4446-AC78-4D592329AA09}"/>
              </a:ext>
            </a:extLst>
          </p:cNvPr>
          <p:cNvGrpSpPr/>
          <p:nvPr/>
        </p:nvGrpSpPr>
        <p:grpSpPr>
          <a:xfrm>
            <a:off x="5883193" y="3832641"/>
            <a:ext cx="168045" cy="168045"/>
            <a:chOff x="4083769" y="2552776"/>
            <a:chExt cx="529089" cy="529089"/>
          </a:xfrm>
          <a:solidFill>
            <a:schemeClr val="accent5"/>
          </a:solidFill>
        </p:grpSpPr>
        <p:sp>
          <p:nvSpPr>
            <p:cNvPr id="630" name="Oval 629">
              <a:extLst>
                <a:ext uri="{FF2B5EF4-FFF2-40B4-BE49-F238E27FC236}">
                  <a16:creationId xmlns:a16="http://schemas.microsoft.com/office/drawing/2014/main" id="{521C98FA-0688-4EAE-9320-97B52A7F1EA0}"/>
                </a:ext>
              </a:extLst>
            </p:cNvPr>
            <p:cNvSpPr/>
            <p:nvPr/>
          </p:nvSpPr>
          <p:spPr>
            <a:xfrm>
              <a:off x="4083769" y="2552776"/>
              <a:ext cx="529089" cy="529089"/>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31" name="Freeform: Shape 298">
              <a:extLst>
                <a:ext uri="{FF2B5EF4-FFF2-40B4-BE49-F238E27FC236}">
                  <a16:creationId xmlns:a16="http://schemas.microsoft.com/office/drawing/2014/main" id="{603ABE67-F1EC-4753-914E-D483D83150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32" name="Freeform: Shape 299">
              <a:extLst>
                <a:ext uri="{FF2B5EF4-FFF2-40B4-BE49-F238E27FC236}">
                  <a16:creationId xmlns:a16="http://schemas.microsoft.com/office/drawing/2014/main" id="{EB2B6A8F-500D-476F-9538-FD8637F247A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33" name="Freeform: Shape 301">
              <a:extLst>
                <a:ext uri="{FF2B5EF4-FFF2-40B4-BE49-F238E27FC236}">
                  <a16:creationId xmlns:a16="http://schemas.microsoft.com/office/drawing/2014/main" id="{3D79F9C5-5000-4868-99D8-7E5E94D47BC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34" name="Freeform: Shape 302">
              <a:extLst>
                <a:ext uri="{FF2B5EF4-FFF2-40B4-BE49-F238E27FC236}">
                  <a16:creationId xmlns:a16="http://schemas.microsoft.com/office/drawing/2014/main" id="{46828D18-8B87-4C13-A185-E540730A5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48" name="Oval 647">
            <a:extLst>
              <a:ext uri="{FF2B5EF4-FFF2-40B4-BE49-F238E27FC236}">
                <a16:creationId xmlns:a16="http://schemas.microsoft.com/office/drawing/2014/main" id="{340F8E91-AC35-4610-9AA5-AC83ADB9A077}"/>
              </a:ext>
            </a:extLst>
          </p:cNvPr>
          <p:cNvSpPr/>
          <p:nvPr/>
        </p:nvSpPr>
        <p:spPr>
          <a:xfrm>
            <a:off x="6170164" y="3531314"/>
            <a:ext cx="789596" cy="775470"/>
          </a:xfrm>
          <a:prstGeom prst="ellipse">
            <a:avLst/>
          </a:prstGeom>
          <a:solidFill>
            <a:schemeClr val="accent4">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grpSp>
        <p:nvGrpSpPr>
          <p:cNvPr id="638" name="Group 29">
            <a:extLst>
              <a:ext uri="{FF2B5EF4-FFF2-40B4-BE49-F238E27FC236}">
                <a16:creationId xmlns:a16="http://schemas.microsoft.com/office/drawing/2014/main" id="{EF178895-AC66-4B1A-A69E-CD08727E1737}"/>
              </a:ext>
            </a:extLst>
          </p:cNvPr>
          <p:cNvGrpSpPr/>
          <p:nvPr/>
        </p:nvGrpSpPr>
        <p:grpSpPr>
          <a:xfrm>
            <a:off x="6426250" y="3759226"/>
            <a:ext cx="302619" cy="317247"/>
            <a:chOff x="4163060" y="2537711"/>
            <a:chExt cx="520926" cy="520926"/>
          </a:xfrm>
        </p:grpSpPr>
        <p:sp>
          <p:nvSpPr>
            <p:cNvPr id="639" name="Oval 638">
              <a:extLst>
                <a:ext uri="{FF2B5EF4-FFF2-40B4-BE49-F238E27FC236}">
                  <a16:creationId xmlns:a16="http://schemas.microsoft.com/office/drawing/2014/main" id="{CD280FB8-A4FE-4EED-9726-B46925D6E0BB}"/>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40" name="Freeform 41">
              <a:extLst>
                <a:ext uri="{FF2B5EF4-FFF2-40B4-BE49-F238E27FC236}">
                  <a16:creationId xmlns:a16="http://schemas.microsoft.com/office/drawing/2014/main" id="{D4B0FA2A-880C-4807-BF19-27ADDC7CC244}"/>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sp>
        <p:nvSpPr>
          <p:cNvPr id="644" name="Oval 643">
            <a:extLst>
              <a:ext uri="{FF2B5EF4-FFF2-40B4-BE49-F238E27FC236}">
                <a16:creationId xmlns:a16="http://schemas.microsoft.com/office/drawing/2014/main" id="{7605A395-5B83-4477-BD31-C69B096204FC}"/>
              </a:ext>
            </a:extLst>
          </p:cNvPr>
          <p:cNvSpPr/>
          <p:nvPr/>
        </p:nvSpPr>
        <p:spPr>
          <a:xfrm>
            <a:off x="4657317" y="3595892"/>
            <a:ext cx="1038512" cy="1019933"/>
          </a:xfrm>
          <a:prstGeom prst="ellipse">
            <a:avLst/>
          </a:prstGeom>
          <a:solidFill>
            <a:schemeClr val="accent4">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grpSp>
        <p:nvGrpSpPr>
          <p:cNvPr id="645" name="Group 29">
            <a:extLst>
              <a:ext uri="{FF2B5EF4-FFF2-40B4-BE49-F238E27FC236}">
                <a16:creationId xmlns:a16="http://schemas.microsoft.com/office/drawing/2014/main" id="{DCA8AEAE-7A5F-4EDC-9E69-B8B3F2661CB4}"/>
              </a:ext>
            </a:extLst>
          </p:cNvPr>
          <p:cNvGrpSpPr/>
          <p:nvPr/>
        </p:nvGrpSpPr>
        <p:grpSpPr>
          <a:xfrm>
            <a:off x="4999608" y="3940325"/>
            <a:ext cx="302619" cy="317247"/>
            <a:chOff x="4163060" y="2537711"/>
            <a:chExt cx="520926" cy="520926"/>
          </a:xfrm>
        </p:grpSpPr>
        <p:sp>
          <p:nvSpPr>
            <p:cNvPr id="646" name="Oval 645">
              <a:extLst>
                <a:ext uri="{FF2B5EF4-FFF2-40B4-BE49-F238E27FC236}">
                  <a16:creationId xmlns:a16="http://schemas.microsoft.com/office/drawing/2014/main" id="{155B8FF5-562B-4ED3-AF85-6C421606B60F}"/>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47" name="Freeform 41">
              <a:extLst>
                <a:ext uri="{FF2B5EF4-FFF2-40B4-BE49-F238E27FC236}">
                  <a16:creationId xmlns:a16="http://schemas.microsoft.com/office/drawing/2014/main" id="{65F4F0F6-2745-466E-AF55-347E66826E0D}"/>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cxnSp>
        <p:nvCxnSpPr>
          <p:cNvPr id="69" name="Straight Connector 68">
            <a:extLst>
              <a:ext uri="{FF2B5EF4-FFF2-40B4-BE49-F238E27FC236}">
                <a16:creationId xmlns:a16="http://schemas.microsoft.com/office/drawing/2014/main" id="{D93E1A43-96B3-4ABF-BA29-34DACCE5683B}"/>
              </a:ext>
            </a:extLst>
          </p:cNvPr>
          <p:cNvCxnSpPr>
            <a:cxnSpLocks/>
            <a:stCxn id="630" idx="0"/>
          </p:cNvCxnSpPr>
          <p:nvPr/>
        </p:nvCxnSpPr>
        <p:spPr>
          <a:xfrm flipV="1">
            <a:off x="5967216" y="2343327"/>
            <a:ext cx="532564" cy="1489314"/>
          </a:xfrm>
          <a:prstGeom prst="line">
            <a:avLst/>
          </a:prstGeom>
        </p:spPr>
        <p:style>
          <a:lnRef idx="2">
            <a:schemeClr val="accent2"/>
          </a:lnRef>
          <a:fillRef idx="0">
            <a:schemeClr val="accent2"/>
          </a:fillRef>
          <a:effectRef idx="1">
            <a:schemeClr val="accent2"/>
          </a:effectRef>
          <a:fontRef idx="minor">
            <a:schemeClr val="tx1"/>
          </a:fontRef>
        </p:style>
      </p:cxnSp>
      <p:cxnSp>
        <p:nvCxnSpPr>
          <p:cNvPr id="74" name="Straight Connector 73">
            <a:extLst>
              <a:ext uri="{FF2B5EF4-FFF2-40B4-BE49-F238E27FC236}">
                <a16:creationId xmlns:a16="http://schemas.microsoft.com/office/drawing/2014/main" id="{49665FB2-FBD8-4484-82DA-7D3F45822915}"/>
              </a:ext>
            </a:extLst>
          </p:cNvPr>
          <p:cNvCxnSpPr>
            <a:stCxn id="646" idx="6"/>
            <a:endCxn id="630" idx="2"/>
          </p:cNvCxnSpPr>
          <p:nvPr/>
        </p:nvCxnSpPr>
        <p:spPr>
          <a:xfrm flipV="1">
            <a:off x="5302227" y="3916664"/>
            <a:ext cx="580966" cy="182285"/>
          </a:xfrm>
          <a:prstGeom prst="line">
            <a:avLst/>
          </a:prstGeom>
        </p:spPr>
        <p:style>
          <a:lnRef idx="1">
            <a:schemeClr val="accent3"/>
          </a:lnRef>
          <a:fillRef idx="0">
            <a:schemeClr val="accent3"/>
          </a:fillRef>
          <a:effectRef idx="0">
            <a:schemeClr val="accent3"/>
          </a:effectRef>
          <a:fontRef idx="minor">
            <a:schemeClr val="tx1"/>
          </a:fontRef>
        </p:style>
      </p:cxnSp>
      <p:cxnSp>
        <p:nvCxnSpPr>
          <p:cNvPr id="79" name="Straight Connector 78">
            <a:extLst>
              <a:ext uri="{FF2B5EF4-FFF2-40B4-BE49-F238E27FC236}">
                <a16:creationId xmlns:a16="http://schemas.microsoft.com/office/drawing/2014/main" id="{B241BD27-7A03-43E4-8E32-D96E371DDC66}"/>
              </a:ext>
            </a:extLst>
          </p:cNvPr>
          <p:cNvCxnSpPr>
            <a:stCxn id="639" idx="2"/>
            <a:endCxn id="630" idx="6"/>
          </p:cNvCxnSpPr>
          <p:nvPr/>
        </p:nvCxnSpPr>
        <p:spPr>
          <a:xfrm flipH="1" flipV="1">
            <a:off x="6051238" y="3916664"/>
            <a:ext cx="375012" cy="1186"/>
          </a:xfrm>
          <a:prstGeom prst="line">
            <a:avLst/>
          </a:prstGeom>
        </p:spPr>
        <p:style>
          <a:lnRef idx="1">
            <a:schemeClr val="accent3"/>
          </a:lnRef>
          <a:fillRef idx="0">
            <a:schemeClr val="accent3"/>
          </a:fillRef>
          <a:effectRef idx="0">
            <a:schemeClr val="accent3"/>
          </a:effectRef>
          <a:fontRef idx="minor">
            <a:schemeClr val="tx1"/>
          </a:fontRef>
        </p:style>
      </p:cxnSp>
      <p:grpSp>
        <p:nvGrpSpPr>
          <p:cNvPr id="635" name="Group 29">
            <a:extLst>
              <a:ext uri="{FF2B5EF4-FFF2-40B4-BE49-F238E27FC236}">
                <a16:creationId xmlns:a16="http://schemas.microsoft.com/office/drawing/2014/main" id="{2C07AA38-5E4B-4C1F-859D-1EDCFA9DDCA8}"/>
              </a:ext>
            </a:extLst>
          </p:cNvPr>
          <p:cNvGrpSpPr/>
          <p:nvPr/>
        </p:nvGrpSpPr>
        <p:grpSpPr>
          <a:xfrm>
            <a:off x="5800321" y="3562232"/>
            <a:ext cx="302619" cy="317247"/>
            <a:chOff x="4163060" y="2537711"/>
            <a:chExt cx="520926" cy="520926"/>
          </a:xfrm>
        </p:grpSpPr>
        <p:sp>
          <p:nvSpPr>
            <p:cNvPr id="636" name="Oval 635">
              <a:extLst>
                <a:ext uri="{FF2B5EF4-FFF2-40B4-BE49-F238E27FC236}">
                  <a16:creationId xmlns:a16="http://schemas.microsoft.com/office/drawing/2014/main" id="{465120AF-4EC5-4AC7-83C3-001A7BCB9D75}"/>
                </a:ext>
              </a:extLst>
            </p:cNvPr>
            <p:cNvSpPr/>
            <p:nvPr/>
          </p:nvSpPr>
          <p:spPr>
            <a:xfrm>
              <a:off x="4163060" y="2537711"/>
              <a:ext cx="520926" cy="520926"/>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456917">
                <a:defRPr/>
              </a:pPr>
              <a:endParaRPr lang="en-US" dirty="0">
                <a:solidFill>
                  <a:srgbClr val="FFFFFF"/>
                </a:solidFill>
                <a:latin typeface="CiscoSansTT ExtraLight"/>
              </a:endParaRPr>
            </a:p>
          </p:txBody>
        </p:sp>
        <p:sp>
          <p:nvSpPr>
            <p:cNvPr id="637" name="Freeform 41">
              <a:extLst>
                <a:ext uri="{FF2B5EF4-FFF2-40B4-BE49-F238E27FC236}">
                  <a16:creationId xmlns:a16="http://schemas.microsoft.com/office/drawing/2014/main" id="{20D1620E-1E6F-46B7-972F-0BB729A53C18}"/>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spTree>
    <p:extLst>
      <p:ext uri="{BB962C8B-B14F-4D97-AF65-F5344CB8AC3E}">
        <p14:creationId xmlns:p14="http://schemas.microsoft.com/office/powerpoint/2010/main" val="1642492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297440" y="3288128"/>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43343" y="2135212"/>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a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Debre 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
        <p:nvSpPr>
          <p:cNvPr id="505" name="Isosceles Triangle 504">
            <a:extLst>
              <a:ext uri="{FF2B5EF4-FFF2-40B4-BE49-F238E27FC236}">
                <a16:creationId xmlns:a16="http://schemas.microsoft.com/office/drawing/2014/main" id="{F1893565-0AFF-4623-B9C2-104843C39C96}"/>
              </a:ext>
            </a:extLst>
          </p:cNvPr>
          <p:cNvSpPr/>
          <p:nvPr/>
        </p:nvSpPr>
        <p:spPr>
          <a:xfrm rot="2564761">
            <a:off x="3728104" y="1545416"/>
            <a:ext cx="2472603" cy="2610207"/>
          </a:xfrm>
          <a:prstGeom prst="triangle">
            <a:avLst>
              <a:gd name="adj" fmla="val 0"/>
            </a:avLst>
          </a:prstGeom>
          <a:gradFill flip="none" rotWithShape="1">
            <a:gsLst>
              <a:gs pos="40000">
                <a:schemeClr val="bg2"/>
              </a:gs>
              <a:gs pos="0">
                <a:schemeClr val="accent4"/>
              </a:gs>
            </a:gsLst>
            <a:lin ang="189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523" name="Rectangle: Rounded Corners 522">
            <a:extLst>
              <a:ext uri="{FF2B5EF4-FFF2-40B4-BE49-F238E27FC236}">
                <a16:creationId xmlns:a16="http://schemas.microsoft.com/office/drawing/2014/main" id="{72F01608-9876-40AB-B97C-C77D0CC5D7F2}"/>
              </a:ext>
            </a:extLst>
          </p:cNvPr>
          <p:cNvSpPr/>
          <p:nvPr/>
        </p:nvSpPr>
        <p:spPr>
          <a:xfrm>
            <a:off x="4664344" y="456272"/>
            <a:ext cx="3754247" cy="4512260"/>
          </a:xfrm>
          <a:prstGeom prst="roundRect">
            <a:avLst/>
          </a:prstGeom>
          <a:blipFill dpi="0" rotWithShape="1">
            <a:blip r:embed="rId3"/>
            <a:srcRect/>
            <a:stretch>
              <a:fillRect l="-7000" r="-2000"/>
            </a:stretch>
          </a:blip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0" name="Arrow: Right 29">
            <a:extLst>
              <a:ext uri="{FF2B5EF4-FFF2-40B4-BE49-F238E27FC236}">
                <a16:creationId xmlns:a16="http://schemas.microsoft.com/office/drawing/2014/main" id="{AEC97C19-AC02-4253-9B48-BCCA68F50684}"/>
              </a:ext>
            </a:extLst>
          </p:cNvPr>
          <p:cNvSpPr/>
          <p:nvPr/>
        </p:nvSpPr>
        <p:spPr>
          <a:xfrm rot="16200000">
            <a:off x="6117472" y="620649"/>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7" name="Rectangle 536">
            <a:extLst>
              <a:ext uri="{FF2B5EF4-FFF2-40B4-BE49-F238E27FC236}">
                <a16:creationId xmlns:a16="http://schemas.microsoft.com/office/drawing/2014/main" id="{B5E60C12-0097-4BD7-B46E-FAF0AA7F774A}"/>
              </a:ext>
            </a:extLst>
          </p:cNvPr>
          <p:cNvSpPr/>
          <p:nvPr/>
        </p:nvSpPr>
        <p:spPr>
          <a:xfrm>
            <a:off x="7898064" y="4386111"/>
            <a:ext cx="419600"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Gore</a:t>
            </a:r>
            <a:endParaRPr lang="en-GB" sz="700" dirty="0">
              <a:solidFill>
                <a:srgbClr val="0D274D"/>
              </a:solidFill>
              <a:latin typeface="CiscoSansTT ExtraLight"/>
            </a:endParaRPr>
          </a:p>
        </p:txBody>
      </p:sp>
      <p:sp>
        <p:nvSpPr>
          <p:cNvPr id="538" name="Rectangle 537">
            <a:extLst>
              <a:ext uri="{FF2B5EF4-FFF2-40B4-BE49-F238E27FC236}">
                <a16:creationId xmlns:a16="http://schemas.microsoft.com/office/drawing/2014/main" id="{37EF48BB-7456-43F5-83EF-FBA9F3748ED1}"/>
              </a:ext>
            </a:extLst>
          </p:cNvPr>
          <p:cNvSpPr/>
          <p:nvPr/>
        </p:nvSpPr>
        <p:spPr>
          <a:xfrm>
            <a:off x="6420360" y="728242"/>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mbi</a:t>
            </a:r>
            <a:endParaRPr lang="en-GB" sz="700" dirty="0">
              <a:solidFill>
                <a:srgbClr val="0D274D"/>
              </a:solidFill>
              <a:latin typeface="CiscoSansTT ExtraLight"/>
            </a:endParaRPr>
          </a:p>
        </p:txBody>
      </p:sp>
      <p:sp>
        <p:nvSpPr>
          <p:cNvPr id="539" name="Arrow: Right 538">
            <a:extLst>
              <a:ext uri="{FF2B5EF4-FFF2-40B4-BE49-F238E27FC236}">
                <a16:creationId xmlns:a16="http://schemas.microsoft.com/office/drawing/2014/main" id="{4EACC18C-96F8-4E13-95DD-3D5DB10BF4E6}"/>
              </a:ext>
            </a:extLst>
          </p:cNvPr>
          <p:cNvSpPr/>
          <p:nvPr/>
        </p:nvSpPr>
        <p:spPr>
          <a:xfrm rot="2545325">
            <a:off x="7790589" y="4617076"/>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40" name="Group 29">
            <a:extLst>
              <a:ext uri="{FF2B5EF4-FFF2-40B4-BE49-F238E27FC236}">
                <a16:creationId xmlns:a16="http://schemas.microsoft.com/office/drawing/2014/main" id="{A5F2AF66-2214-4951-A65E-E9CAE2DC79C7}"/>
              </a:ext>
            </a:extLst>
          </p:cNvPr>
          <p:cNvGrpSpPr/>
          <p:nvPr/>
        </p:nvGrpSpPr>
        <p:grpSpPr>
          <a:xfrm>
            <a:off x="5282921" y="2968278"/>
            <a:ext cx="302619" cy="317247"/>
            <a:chOff x="4163060" y="2537711"/>
            <a:chExt cx="520926" cy="520926"/>
          </a:xfrm>
        </p:grpSpPr>
        <p:sp>
          <p:nvSpPr>
            <p:cNvPr id="541" name="Oval 540">
              <a:extLst>
                <a:ext uri="{FF2B5EF4-FFF2-40B4-BE49-F238E27FC236}">
                  <a16:creationId xmlns:a16="http://schemas.microsoft.com/office/drawing/2014/main" id="{BF9B52A4-50AD-4090-98F7-A8514D6D41F4}"/>
                </a:ext>
              </a:extLst>
            </p:cNvPr>
            <p:cNvSpPr/>
            <p:nvPr/>
          </p:nvSpPr>
          <p:spPr>
            <a:xfrm>
              <a:off x="4163060" y="2537711"/>
              <a:ext cx="520926" cy="520926"/>
            </a:xfrm>
            <a:prstGeom prst="ellipse">
              <a:avLst/>
            </a:prstGeom>
            <a:noFill/>
            <a:ln w="635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defTabSz="456917">
                <a:defRPr/>
              </a:pPr>
              <a:endParaRPr lang="en-US" dirty="0">
                <a:solidFill>
                  <a:srgbClr val="FFFFFF"/>
                </a:solidFill>
                <a:latin typeface="CiscoSansTT ExtraLight"/>
              </a:endParaRPr>
            </a:p>
          </p:txBody>
        </p:sp>
        <p:sp>
          <p:nvSpPr>
            <p:cNvPr id="542" name="Freeform 41">
              <a:extLst>
                <a:ext uri="{FF2B5EF4-FFF2-40B4-BE49-F238E27FC236}">
                  <a16:creationId xmlns:a16="http://schemas.microsoft.com/office/drawing/2014/main" id="{A56A3E57-A0C9-477B-81EC-EC35AEBBBF77}"/>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5" name="Group 29">
            <a:extLst>
              <a:ext uri="{FF2B5EF4-FFF2-40B4-BE49-F238E27FC236}">
                <a16:creationId xmlns:a16="http://schemas.microsoft.com/office/drawing/2014/main" id="{9B7D416B-937A-4362-9916-A04800C1BBAA}"/>
              </a:ext>
            </a:extLst>
          </p:cNvPr>
          <p:cNvGrpSpPr/>
          <p:nvPr/>
        </p:nvGrpSpPr>
        <p:grpSpPr>
          <a:xfrm>
            <a:off x="5739506" y="1982494"/>
            <a:ext cx="302619" cy="317247"/>
            <a:chOff x="4163060" y="2537711"/>
            <a:chExt cx="520926" cy="520926"/>
          </a:xfrm>
        </p:grpSpPr>
        <p:sp>
          <p:nvSpPr>
            <p:cNvPr id="596" name="Oval 595">
              <a:extLst>
                <a:ext uri="{FF2B5EF4-FFF2-40B4-BE49-F238E27FC236}">
                  <a16:creationId xmlns:a16="http://schemas.microsoft.com/office/drawing/2014/main" id="{65341EEA-0A1C-4504-99F5-4D42CEC62D2A}"/>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597" name="Freeform 41">
              <a:extLst>
                <a:ext uri="{FF2B5EF4-FFF2-40B4-BE49-F238E27FC236}">
                  <a16:creationId xmlns:a16="http://schemas.microsoft.com/office/drawing/2014/main" id="{51E359D6-77A8-4CFC-B071-7D93C536A488}"/>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8" name="Group 29">
            <a:extLst>
              <a:ext uri="{FF2B5EF4-FFF2-40B4-BE49-F238E27FC236}">
                <a16:creationId xmlns:a16="http://schemas.microsoft.com/office/drawing/2014/main" id="{93CC09B8-F968-41A8-B214-141AA4AF960B}"/>
              </a:ext>
            </a:extLst>
          </p:cNvPr>
          <p:cNvGrpSpPr/>
          <p:nvPr/>
        </p:nvGrpSpPr>
        <p:grpSpPr>
          <a:xfrm>
            <a:off x="6268132" y="1603292"/>
            <a:ext cx="302619" cy="317247"/>
            <a:chOff x="4163060" y="2537711"/>
            <a:chExt cx="520926" cy="520926"/>
          </a:xfrm>
        </p:grpSpPr>
        <p:sp>
          <p:nvSpPr>
            <p:cNvPr id="606" name="Oval 605">
              <a:extLst>
                <a:ext uri="{FF2B5EF4-FFF2-40B4-BE49-F238E27FC236}">
                  <a16:creationId xmlns:a16="http://schemas.microsoft.com/office/drawing/2014/main" id="{BC8DBA18-9627-4B1F-B11A-3FDB467F999E}"/>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07" name="Freeform 41">
              <a:extLst>
                <a:ext uri="{FF2B5EF4-FFF2-40B4-BE49-F238E27FC236}">
                  <a16:creationId xmlns:a16="http://schemas.microsoft.com/office/drawing/2014/main" id="{F13CD59C-7C44-4460-A662-CBF7056A4DBD}"/>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08" name="Group 29">
            <a:extLst>
              <a:ext uri="{FF2B5EF4-FFF2-40B4-BE49-F238E27FC236}">
                <a16:creationId xmlns:a16="http://schemas.microsoft.com/office/drawing/2014/main" id="{77E1AA06-B3E8-48CD-9C5D-399E73E40C3B}"/>
              </a:ext>
            </a:extLst>
          </p:cNvPr>
          <p:cNvGrpSpPr/>
          <p:nvPr/>
        </p:nvGrpSpPr>
        <p:grpSpPr>
          <a:xfrm>
            <a:off x="7339817" y="1345406"/>
            <a:ext cx="302619" cy="317247"/>
            <a:chOff x="4163060" y="2537711"/>
            <a:chExt cx="520926" cy="520926"/>
          </a:xfrm>
        </p:grpSpPr>
        <p:sp>
          <p:nvSpPr>
            <p:cNvPr id="609" name="Oval 608">
              <a:extLst>
                <a:ext uri="{FF2B5EF4-FFF2-40B4-BE49-F238E27FC236}">
                  <a16:creationId xmlns:a16="http://schemas.microsoft.com/office/drawing/2014/main" id="{C29DB126-B7DB-4DB0-AF57-3D5726CF2355}"/>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0" name="Freeform 41">
              <a:extLst>
                <a:ext uri="{FF2B5EF4-FFF2-40B4-BE49-F238E27FC236}">
                  <a16:creationId xmlns:a16="http://schemas.microsoft.com/office/drawing/2014/main" id="{ECD2092C-0796-4913-9BD9-12B2633B784C}"/>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1" name="Group 29">
            <a:extLst>
              <a:ext uri="{FF2B5EF4-FFF2-40B4-BE49-F238E27FC236}">
                <a16:creationId xmlns:a16="http://schemas.microsoft.com/office/drawing/2014/main" id="{27CB4948-CFD6-4009-9827-31E3DF98708C}"/>
              </a:ext>
            </a:extLst>
          </p:cNvPr>
          <p:cNvGrpSpPr/>
          <p:nvPr/>
        </p:nvGrpSpPr>
        <p:grpSpPr>
          <a:xfrm>
            <a:off x="6903626" y="2244574"/>
            <a:ext cx="302619" cy="317247"/>
            <a:chOff x="4163060" y="2537711"/>
            <a:chExt cx="520926" cy="520926"/>
          </a:xfrm>
        </p:grpSpPr>
        <p:sp>
          <p:nvSpPr>
            <p:cNvPr id="612" name="Oval 611">
              <a:extLst>
                <a:ext uri="{FF2B5EF4-FFF2-40B4-BE49-F238E27FC236}">
                  <a16:creationId xmlns:a16="http://schemas.microsoft.com/office/drawing/2014/main" id="{C2EA128A-9593-4066-A311-92023D1336A2}"/>
                </a:ext>
              </a:extLst>
            </p:cNvPr>
            <p:cNvSpPr/>
            <p:nvPr/>
          </p:nvSpPr>
          <p:spPr>
            <a:xfrm>
              <a:off x="4163060" y="2537711"/>
              <a:ext cx="520926" cy="520926"/>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456917">
                <a:defRPr/>
              </a:pPr>
              <a:endParaRPr lang="en-US" dirty="0">
                <a:solidFill>
                  <a:srgbClr val="FFFFFF"/>
                </a:solidFill>
                <a:latin typeface="CiscoSansTT ExtraLight"/>
              </a:endParaRPr>
            </a:p>
          </p:txBody>
        </p:sp>
        <p:sp>
          <p:nvSpPr>
            <p:cNvPr id="613" name="Freeform 41">
              <a:extLst>
                <a:ext uri="{FF2B5EF4-FFF2-40B4-BE49-F238E27FC236}">
                  <a16:creationId xmlns:a16="http://schemas.microsoft.com/office/drawing/2014/main" id="{3BB0BD81-E52E-46C9-B6D9-9D0FA3285610}"/>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4" name="Group 29">
            <a:extLst>
              <a:ext uri="{FF2B5EF4-FFF2-40B4-BE49-F238E27FC236}">
                <a16:creationId xmlns:a16="http://schemas.microsoft.com/office/drawing/2014/main" id="{E7DB4215-9524-48BF-B8E5-684CCDF82591}"/>
              </a:ext>
            </a:extLst>
          </p:cNvPr>
          <p:cNvGrpSpPr/>
          <p:nvPr/>
        </p:nvGrpSpPr>
        <p:grpSpPr>
          <a:xfrm>
            <a:off x="6275388" y="2823251"/>
            <a:ext cx="302619" cy="317247"/>
            <a:chOff x="4163060" y="2537711"/>
            <a:chExt cx="520926" cy="520926"/>
          </a:xfrm>
        </p:grpSpPr>
        <p:sp>
          <p:nvSpPr>
            <p:cNvPr id="615" name="Oval 614">
              <a:extLst>
                <a:ext uri="{FF2B5EF4-FFF2-40B4-BE49-F238E27FC236}">
                  <a16:creationId xmlns:a16="http://schemas.microsoft.com/office/drawing/2014/main" id="{1B5E7FBB-EC69-4268-8826-A2B262641679}"/>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6" name="Freeform 41">
              <a:extLst>
                <a:ext uri="{FF2B5EF4-FFF2-40B4-BE49-F238E27FC236}">
                  <a16:creationId xmlns:a16="http://schemas.microsoft.com/office/drawing/2014/main" id="{8D9FDE30-D3C3-468F-993B-2658B6109CE6}"/>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7" name="Group 29">
            <a:extLst>
              <a:ext uri="{FF2B5EF4-FFF2-40B4-BE49-F238E27FC236}">
                <a16:creationId xmlns:a16="http://schemas.microsoft.com/office/drawing/2014/main" id="{CB4C2803-1D31-473D-B05B-14FECC0FEBD9}"/>
              </a:ext>
            </a:extLst>
          </p:cNvPr>
          <p:cNvGrpSpPr/>
          <p:nvPr/>
        </p:nvGrpSpPr>
        <p:grpSpPr>
          <a:xfrm>
            <a:off x="7155101" y="3370835"/>
            <a:ext cx="302619" cy="317247"/>
            <a:chOff x="4163060" y="2537711"/>
            <a:chExt cx="520926" cy="520926"/>
          </a:xfrm>
        </p:grpSpPr>
        <p:sp>
          <p:nvSpPr>
            <p:cNvPr id="618" name="Oval 617">
              <a:extLst>
                <a:ext uri="{FF2B5EF4-FFF2-40B4-BE49-F238E27FC236}">
                  <a16:creationId xmlns:a16="http://schemas.microsoft.com/office/drawing/2014/main" id="{EC8B7BA3-44FD-4707-8DDB-3F73C5745317}"/>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9" name="Freeform 41">
              <a:extLst>
                <a:ext uri="{FF2B5EF4-FFF2-40B4-BE49-F238E27FC236}">
                  <a16:creationId xmlns:a16="http://schemas.microsoft.com/office/drawing/2014/main" id="{2C7B4928-6595-43BB-AD82-7D69319B999A}"/>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cxnSp>
        <p:nvCxnSpPr>
          <p:cNvPr id="32" name="Straight Connector 31">
            <a:extLst>
              <a:ext uri="{FF2B5EF4-FFF2-40B4-BE49-F238E27FC236}">
                <a16:creationId xmlns:a16="http://schemas.microsoft.com/office/drawing/2014/main" id="{C7EB0EA3-A702-4528-B1C9-ABAA7A5B3B4C}"/>
              </a:ext>
            </a:extLst>
          </p:cNvPr>
          <p:cNvCxnSpPr>
            <a:cxnSpLocks/>
            <a:stCxn id="596" idx="5"/>
            <a:endCxn id="525" idx="2"/>
          </p:cNvCxnSpPr>
          <p:nvPr/>
        </p:nvCxnSpPr>
        <p:spPr>
          <a:xfrm>
            <a:off x="5997807" y="2253281"/>
            <a:ext cx="966529" cy="336757"/>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0" name="Straight Connector 69">
            <a:extLst>
              <a:ext uri="{FF2B5EF4-FFF2-40B4-BE49-F238E27FC236}">
                <a16:creationId xmlns:a16="http://schemas.microsoft.com/office/drawing/2014/main" id="{685B54BB-7668-4C43-8B50-4969C55EF348}"/>
              </a:ext>
            </a:extLst>
          </p:cNvPr>
          <p:cNvCxnSpPr>
            <a:cxnSpLocks/>
            <a:stCxn id="606" idx="5"/>
            <a:endCxn id="525" idx="1"/>
          </p:cNvCxnSpPr>
          <p:nvPr/>
        </p:nvCxnSpPr>
        <p:spPr>
          <a:xfrm>
            <a:off x="6526433" y="1874079"/>
            <a:ext cx="462513" cy="656546"/>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3" name="Straight Connector 72">
            <a:extLst>
              <a:ext uri="{FF2B5EF4-FFF2-40B4-BE49-F238E27FC236}">
                <a16:creationId xmlns:a16="http://schemas.microsoft.com/office/drawing/2014/main" id="{2DCDD96F-61C1-4EFA-BD1B-F57C6A13A1FC}"/>
              </a:ext>
            </a:extLst>
          </p:cNvPr>
          <p:cNvCxnSpPr>
            <a:cxnSpLocks/>
            <a:stCxn id="612" idx="4"/>
          </p:cNvCxnSpPr>
          <p:nvPr/>
        </p:nvCxnSpPr>
        <p:spPr>
          <a:xfrm flipH="1">
            <a:off x="7023021" y="2561821"/>
            <a:ext cx="31914" cy="384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13D577-06EB-4CA4-973B-BD002BEDF6E7}"/>
              </a:ext>
            </a:extLst>
          </p:cNvPr>
          <p:cNvCxnSpPr>
            <a:cxnSpLocks/>
            <a:stCxn id="609" idx="4"/>
            <a:endCxn id="525" idx="7"/>
          </p:cNvCxnSpPr>
          <p:nvPr/>
        </p:nvCxnSpPr>
        <p:spPr>
          <a:xfrm flipH="1">
            <a:off x="7107771" y="1662653"/>
            <a:ext cx="383356" cy="867972"/>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7" name="Straight Connector 76">
            <a:extLst>
              <a:ext uri="{FF2B5EF4-FFF2-40B4-BE49-F238E27FC236}">
                <a16:creationId xmlns:a16="http://schemas.microsoft.com/office/drawing/2014/main" id="{5B2818DB-830E-4AD7-B13B-996AAE83C77B}"/>
              </a:ext>
            </a:extLst>
          </p:cNvPr>
          <p:cNvCxnSpPr>
            <a:cxnSpLocks/>
            <a:stCxn id="615" idx="6"/>
            <a:endCxn id="525" idx="3"/>
          </p:cNvCxnSpPr>
          <p:nvPr/>
        </p:nvCxnSpPr>
        <p:spPr>
          <a:xfrm flipV="1">
            <a:off x="6578007" y="2649450"/>
            <a:ext cx="410939" cy="33242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0" name="Straight Connector 79">
            <a:extLst>
              <a:ext uri="{FF2B5EF4-FFF2-40B4-BE49-F238E27FC236}">
                <a16:creationId xmlns:a16="http://schemas.microsoft.com/office/drawing/2014/main" id="{65C2C988-5928-40F4-9D29-E0484818AB7A}"/>
              </a:ext>
            </a:extLst>
          </p:cNvPr>
          <p:cNvCxnSpPr>
            <a:cxnSpLocks/>
            <a:stCxn id="541" idx="6"/>
            <a:endCxn id="525" idx="2"/>
          </p:cNvCxnSpPr>
          <p:nvPr/>
        </p:nvCxnSpPr>
        <p:spPr>
          <a:xfrm flipV="1">
            <a:off x="5585540" y="2590038"/>
            <a:ext cx="1378796" cy="536864"/>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3" name="Straight Connector 82">
            <a:extLst>
              <a:ext uri="{FF2B5EF4-FFF2-40B4-BE49-F238E27FC236}">
                <a16:creationId xmlns:a16="http://schemas.microsoft.com/office/drawing/2014/main" id="{6096C28E-B668-4D25-B65D-9E575C33A5B3}"/>
              </a:ext>
            </a:extLst>
          </p:cNvPr>
          <p:cNvCxnSpPr>
            <a:stCxn id="618" idx="0"/>
            <a:endCxn id="525" idx="4"/>
          </p:cNvCxnSpPr>
          <p:nvPr/>
        </p:nvCxnSpPr>
        <p:spPr>
          <a:xfrm flipH="1" flipV="1">
            <a:off x="7048359" y="2674060"/>
            <a:ext cx="258052" cy="696775"/>
          </a:xfrm>
          <a:prstGeom prst="line">
            <a:avLst/>
          </a:prstGeom>
          <a:ln/>
        </p:spPr>
        <p:style>
          <a:lnRef idx="1">
            <a:schemeClr val="accent3"/>
          </a:lnRef>
          <a:fillRef idx="0">
            <a:schemeClr val="accent3"/>
          </a:fillRef>
          <a:effectRef idx="0">
            <a:schemeClr val="accent3"/>
          </a:effectRef>
          <a:fontRef idx="minor">
            <a:schemeClr val="tx1"/>
          </a:fontRef>
        </p:style>
      </p:cxnSp>
      <p:sp>
        <p:nvSpPr>
          <p:cNvPr id="96" name="Freeform: Shape 95">
            <a:extLst>
              <a:ext uri="{FF2B5EF4-FFF2-40B4-BE49-F238E27FC236}">
                <a16:creationId xmlns:a16="http://schemas.microsoft.com/office/drawing/2014/main" id="{3F8BFE22-2214-497E-BF03-EBB9CB38F4DE}"/>
              </a:ext>
            </a:extLst>
          </p:cNvPr>
          <p:cNvSpPr/>
          <p:nvPr/>
        </p:nvSpPr>
        <p:spPr>
          <a:xfrm>
            <a:off x="5931265" y="411849"/>
            <a:ext cx="616485" cy="1836097"/>
          </a:xfrm>
          <a:custGeom>
            <a:avLst/>
            <a:gdLst>
              <a:gd name="connsiteX0" fmla="*/ 1454722 w 1454722"/>
              <a:gd name="connsiteY0" fmla="*/ 2841769 h 2841769"/>
              <a:gd name="connsiteX1" fmla="*/ 521272 w 1454722"/>
              <a:gd name="connsiteY1" fmla="*/ 2175019 h 2841769"/>
              <a:gd name="connsiteX2" fmla="*/ 149797 w 1454722"/>
              <a:gd name="connsiteY2" fmla="*/ 641494 h 2841769"/>
              <a:gd name="connsiteX3" fmla="*/ 6922 w 1454722"/>
              <a:gd name="connsiteY3" fmla="*/ 50944 h 2841769"/>
              <a:gd name="connsiteX4" fmla="*/ 35497 w 1454722"/>
              <a:gd name="connsiteY4" fmla="*/ 69994 h 284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722" h="2841769">
                <a:moveTo>
                  <a:pt x="1454722" y="2841769"/>
                </a:moveTo>
                <a:cubicBezTo>
                  <a:pt x="1096740" y="2691750"/>
                  <a:pt x="738759" y="2541731"/>
                  <a:pt x="521272" y="2175019"/>
                </a:cubicBezTo>
                <a:cubicBezTo>
                  <a:pt x="303785" y="1808307"/>
                  <a:pt x="149797" y="641494"/>
                  <a:pt x="149797" y="641494"/>
                </a:cubicBezTo>
                <a:lnTo>
                  <a:pt x="6922" y="50944"/>
                </a:lnTo>
                <a:cubicBezTo>
                  <a:pt x="-12128" y="-44306"/>
                  <a:pt x="11684" y="12844"/>
                  <a:pt x="35497" y="69994"/>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grpSp>
        <p:nvGrpSpPr>
          <p:cNvPr id="524" name="Group 523">
            <a:extLst>
              <a:ext uri="{FF2B5EF4-FFF2-40B4-BE49-F238E27FC236}">
                <a16:creationId xmlns:a16="http://schemas.microsoft.com/office/drawing/2014/main" id="{E1663DD4-DA51-4B2D-B167-258896EFE2D0}"/>
              </a:ext>
            </a:extLst>
          </p:cNvPr>
          <p:cNvGrpSpPr/>
          <p:nvPr/>
        </p:nvGrpSpPr>
        <p:grpSpPr>
          <a:xfrm>
            <a:off x="6964336" y="2506015"/>
            <a:ext cx="168045" cy="168045"/>
            <a:chOff x="4083769" y="2552776"/>
            <a:chExt cx="529089" cy="529089"/>
          </a:xfrm>
          <a:solidFill>
            <a:schemeClr val="accent5"/>
          </a:solidFill>
        </p:grpSpPr>
        <p:sp>
          <p:nvSpPr>
            <p:cNvPr id="525" name="Oval 524">
              <a:extLst>
                <a:ext uri="{FF2B5EF4-FFF2-40B4-BE49-F238E27FC236}">
                  <a16:creationId xmlns:a16="http://schemas.microsoft.com/office/drawing/2014/main" id="{85034D52-F106-4E56-A399-DDE2C758F1FB}"/>
                </a:ext>
              </a:extLst>
            </p:cNvPr>
            <p:cNvSpPr/>
            <p:nvPr/>
          </p:nvSpPr>
          <p:spPr>
            <a:xfrm>
              <a:off x="4083769" y="2552776"/>
              <a:ext cx="529089" cy="529089"/>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6" name="Freeform: Shape 298">
              <a:extLst>
                <a:ext uri="{FF2B5EF4-FFF2-40B4-BE49-F238E27FC236}">
                  <a16:creationId xmlns:a16="http://schemas.microsoft.com/office/drawing/2014/main" id="{4A1CAA4F-2377-434A-9F13-9E763294C0D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299">
              <a:extLst>
                <a:ext uri="{FF2B5EF4-FFF2-40B4-BE49-F238E27FC236}">
                  <a16:creationId xmlns:a16="http://schemas.microsoft.com/office/drawing/2014/main" id="{13B65276-0B83-4462-9EB0-03C4032ECC9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1">
              <a:extLst>
                <a:ext uri="{FF2B5EF4-FFF2-40B4-BE49-F238E27FC236}">
                  <a16:creationId xmlns:a16="http://schemas.microsoft.com/office/drawing/2014/main" id="{7F8006FB-D45A-4C5F-8CE1-B64192D41C3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9" name="Freeform: Shape 302">
              <a:extLst>
                <a:ext uri="{FF2B5EF4-FFF2-40B4-BE49-F238E27FC236}">
                  <a16:creationId xmlns:a16="http://schemas.microsoft.com/office/drawing/2014/main" id="{7EA827F4-EB63-4832-92DB-DCB54240DDB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43" name="Group 542">
            <a:extLst>
              <a:ext uri="{FF2B5EF4-FFF2-40B4-BE49-F238E27FC236}">
                <a16:creationId xmlns:a16="http://schemas.microsoft.com/office/drawing/2014/main" id="{BD10CB84-4751-4B39-A66B-0B073B8E4BDF}"/>
              </a:ext>
            </a:extLst>
          </p:cNvPr>
          <p:cNvGrpSpPr/>
          <p:nvPr/>
        </p:nvGrpSpPr>
        <p:grpSpPr>
          <a:xfrm>
            <a:off x="6465352" y="2194788"/>
            <a:ext cx="168045" cy="168045"/>
            <a:chOff x="4083769" y="2552776"/>
            <a:chExt cx="529089" cy="529089"/>
          </a:xfrm>
        </p:grpSpPr>
        <p:sp>
          <p:nvSpPr>
            <p:cNvPr id="544" name="Oval 543">
              <a:extLst>
                <a:ext uri="{FF2B5EF4-FFF2-40B4-BE49-F238E27FC236}">
                  <a16:creationId xmlns:a16="http://schemas.microsoft.com/office/drawing/2014/main" id="{84C9DEC3-A54C-4780-BAB6-CC8062A0D09E}"/>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3" name="Freeform: Shape 298">
              <a:extLst>
                <a:ext uri="{FF2B5EF4-FFF2-40B4-BE49-F238E27FC236}">
                  <a16:creationId xmlns:a16="http://schemas.microsoft.com/office/drawing/2014/main" id="{C3BFEA1C-E82B-493E-B465-9BD500C0493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4" name="Freeform: Shape 299">
              <a:extLst>
                <a:ext uri="{FF2B5EF4-FFF2-40B4-BE49-F238E27FC236}">
                  <a16:creationId xmlns:a16="http://schemas.microsoft.com/office/drawing/2014/main" id="{84416919-9E50-4520-935E-20D4DB784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0" name="Freeform: Shape 301">
              <a:extLst>
                <a:ext uri="{FF2B5EF4-FFF2-40B4-BE49-F238E27FC236}">
                  <a16:creationId xmlns:a16="http://schemas.microsoft.com/office/drawing/2014/main" id="{18C12E97-A75F-4BAD-8CEF-B3F52C587EC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1" name="Freeform: Shape 302">
              <a:extLst>
                <a:ext uri="{FF2B5EF4-FFF2-40B4-BE49-F238E27FC236}">
                  <a16:creationId xmlns:a16="http://schemas.microsoft.com/office/drawing/2014/main" id="{9D66740C-91DA-499D-B9C4-169C1567004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2" name="Freeform: Shape 1">
            <a:extLst>
              <a:ext uri="{FF2B5EF4-FFF2-40B4-BE49-F238E27FC236}">
                <a16:creationId xmlns:a16="http://schemas.microsoft.com/office/drawing/2014/main" id="{623DD4B3-A06C-49E6-B2A8-D55535FB6771}"/>
              </a:ext>
            </a:extLst>
          </p:cNvPr>
          <p:cNvSpPr/>
          <p:nvPr/>
        </p:nvSpPr>
        <p:spPr>
          <a:xfrm>
            <a:off x="6128684" y="2159926"/>
            <a:ext cx="2009476" cy="2655914"/>
          </a:xfrm>
          <a:custGeom>
            <a:avLst/>
            <a:gdLst>
              <a:gd name="connsiteX0" fmla="*/ 348316 w 2009476"/>
              <a:gd name="connsiteY0" fmla="*/ 126074 h 2655914"/>
              <a:gd name="connsiteX1" fmla="*/ 89236 w 2009476"/>
              <a:gd name="connsiteY1" fmla="*/ 4154 h 2655914"/>
              <a:gd name="connsiteX2" fmla="*/ 58756 w 2009476"/>
              <a:gd name="connsiteY2" fmla="*/ 87974 h 2655914"/>
              <a:gd name="connsiteX3" fmla="*/ 5416 w 2009476"/>
              <a:gd name="connsiteY3" fmla="*/ 621374 h 2655914"/>
              <a:gd name="connsiteX4" fmla="*/ 203536 w 2009476"/>
              <a:gd name="connsiteY4" fmla="*/ 949034 h 2655914"/>
              <a:gd name="connsiteX5" fmla="*/ 409276 w 2009476"/>
              <a:gd name="connsiteY5" fmla="*/ 1360514 h 2655914"/>
              <a:gd name="connsiteX6" fmla="*/ 828376 w 2009476"/>
              <a:gd name="connsiteY6" fmla="*/ 1429094 h 2655914"/>
              <a:gd name="connsiteX7" fmla="*/ 1087456 w 2009476"/>
              <a:gd name="connsiteY7" fmla="*/ 1985354 h 2655914"/>
              <a:gd name="connsiteX8" fmla="*/ 2009476 w 2009476"/>
              <a:gd name="connsiteY8" fmla="*/ 2655914 h 2655914"/>
              <a:gd name="connsiteX9" fmla="*/ 2009476 w 2009476"/>
              <a:gd name="connsiteY9" fmla="*/ 2655914 h 265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9476" h="2655914">
                <a:moveTo>
                  <a:pt x="348316" y="126074"/>
                </a:moveTo>
                <a:cubicBezTo>
                  <a:pt x="242906" y="68289"/>
                  <a:pt x="137496" y="10504"/>
                  <a:pt x="89236" y="4154"/>
                </a:cubicBezTo>
                <a:cubicBezTo>
                  <a:pt x="40976" y="-2196"/>
                  <a:pt x="72726" y="-14896"/>
                  <a:pt x="58756" y="87974"/>
                </a:cubicBezTo>
                <a:cubicBezTo>
                  <a:pt x="44786" y="190844"/>
                  <a:pt x="-18714" y="477864"/>
                  <a:pt x="5416" y="621374"/>
                </a:cubicBezTo>
                <a:cubicBezTo>
                  <a:pt x="29546" y="764884"/>
                  <a:pt x="136226" y="825844"/>
                  <a:pt x="203536" y="949034"/>
                </a:cubicBezTo>
                <a:cubicBezTo>
                  <a:pt x="270846" y="1072224"/>
                  <a:pt x="305136" y="1280504"/>
                  <a:pt x="409276" y="1360514"/>
                </a:cubicBezTo>
                <a:cubicBezTo>
                  <a:pt x="513416" y="1440524"/>
                  <a:pt x="715346" y="1324954"/>
                  <a:pt x="828376" y="1429094"/>
                </a:cubicBezTo>
                <a:cubicBezTo>
                  <a:pt x="941406" y="1533234"/>
                  <a:pt x="890606" y="1780884"/>
                  <a:pt x="1087456" y="1985354"/>
                </a:cubicBezTo>
                <a:cubicBezTo>
                  <a:pt x="1284306" y="2189824"/>
                  <a:pt x="2009476" y="2655914"/>
                  <a:pt x="2009476" y="2655914"/>
                </a:cubicBezTo>
                <a:lnTo>
                  <a:pt x="2009476" y="2655914"/>
                </a:lnTo>
              </a:path>
            </a:pathLst>
          </a:cu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363679F8-EA42-4A29-B790-243CED9E3F74}"/>
              </a:ext>
            </a:extLst>
          </p:cNvPr>
          <p:cNvCxnSpPr>
            <a:cxnSpLocks/>
            <a:stCxn id="544" idx="5"/>
            <a:endCxn id="525" idx="2"/>
          </p:cNvCxnSpPr>
          <p:nvPr/>
        </p:nvCxnSpPr>
        <p:spPr>
          <a:xfrm>
            <a:off x="6608787" y="2338223"/>
            <a:ext cx="355549" cy="251815"/>
          </a:xfrm>
          <a:prstGeom prst="line">
            <a:avLst/>
          </a:prstGeom>
        </p:spPr>
        <p:style>
          <a:lnRef idx="2">
            <a:schemeClr val="accent2"/>
          </a:lnRef>
          <a:fillRef idx="0">
            <a:schemeClr val="accent2"/>
          </a:fillRef>
          <a:effectRef idx="1">
            <a:schemeClr val="accent2"/>
          </a:effectRef>
          <a:fontRef idx="minor">
            <a:schemeClr val="tx1"/>
          </a:fontRef>
        </p:style>
      </p:cxnSp>
      <p:sp>
        <p:nvSpPr>
          <p:cNvPr id="623" name="Freeform 9">
            <a:extLst>
              <a:ext uri="{FF2B5EF4-FFF2-40B4-BE49-F238E27FC236}">
                <a16:creationId xmlns:a16="http://schemas.microsoft.com/office/drawing/2014/main" id="{5C1FF821-6A0B-47B6-A173-364AA4116FD9}"/>
              </a:ext>
            </a:extLst>
          </p:cNvPr>
          <p:cNvSpPr>
            <a:spLocks noEditPoints="1"/>
          </p:cNvSpPr>
          <p:nvPr/>
        </p:nvSpPr>
        <p:spPr bwMode="auto">
          <a:xfrm>
            <a:off x="7791851" y="21331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624" name="Freeform 9">
            <a:extLst>
              <a:ext uri="{FF2B5EF4-FFF2-40B4-BE49-F238E27FC236}">
                <a16:creationId xmlns:a16="http://schemas.microsoft.com/office/drawing/2014/main" id="{C324483A-5669-4139-B390-83AD6CB32BB4}"/>
              </a:ext>
            </a:extLst>
          </p:cNvPr>
          <p:cNvSpPr>
            <a:spLocks noEditPoints="1"/>
          </p:cNvSpPr>
          <p:nvPr/>
        </p:nvSpPr>
        <p:spPr bwMode="auto">
          <a:xfrm>
            <a:off x="7906151" y="22474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625" name="Freeform 9">
            <a:extLst>
              <a:ext uri="{FF2B5EF4-FFF2-40B4-BE49-F238E27FC236}">
                <a16:creationId xmlns:a16="http://schemas.microsoft.com/office/drawing/2014/main" id="{48D992CC-9D0C-4980-ADB3-ECD7E02CD12E}"/>
              </a:ext>
            </a:extLst>
          </p:cNvPr>
          <p:cNvSpPr>
            <a:spLocks noEditPoints="1"/>
          </p:cNvSpPr>
          <p:nvPr/>
        </p:nvSpPr>
        <p:spPr bwMode="auto">
          <a:xfrm>
            <a:off x="8020451" y="23617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626" name="Freeform: Shape 625">
            <a:extLst>
              <a:ext uri="{FF2B5EF4-FFF2-40B4-BE49-F238E27FC236}">
                <a16:creationId xmlns:a16="http://schemas.microsoft.com/office/drawing/2014/main" id="{CC854D3C-C4A2-4B0E-B935-B9905FA717E1}"/>
              </a:ext>
            </a:extLst>
          </p:cNvPr>
          <p:cNvSpPr/>
          <p:nvPr/>
        </p:nvSpPr>
        <p:spPr>
          <a:xfrm>
            <a:off x="6297387" y="2306542"/>
            <a:ext cx="1559138" cy="1994796"/>
          </a:xfrm>
          <a:custGeom>
            <a:avLst/>
            <a:gdLst>
              <a:gd name="connsiteX0" fmla="*/ 1559138 w 1559138"/>
              <a:gd name="connsiteY0" fmla="*/ 407397 h 1994796"/>
              <a:gd name="connsiteX1" fmla="*/ 688629 w 1559138"/>
              <a:gd name="connsiteY1" fmla="*/ 480549 h 1994796"/>
              <a:gd name="connsiteX2" fmla="*/ 88783 w 1559138"/>
              <a:gd name="connsiteY2" fmla="*/ 5061 h 1994796"/>
              <a:gd name="connsiteX3" fmla="*/ 147304 w 1559138"/>
              <a:gd name="connsiteY3" fmla="*/ 831679 h 1994796"/>
              <a:gd name="connsiteX4" fmla="*/ 1434779 w 1559138"/>
              <a:gd name="connsiteY4" fmla="*/ 1994796 h 1994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138" h="1994796">
                <a:moveTo>
                  <a:pt x="1559138" y="407397"/>
                </a:moveTo>
                <a:cubicBezTo>
                  <a:pt x="1246413" y="477501"/>
                  <a:pt x="933688" y="547605"/>
                  <a:pt x="688629" y="480549"/>
                </a:cubicBezTo>
                <a:cubicBezTo>
                  <a:pt x="443570" y="413493"/>
                  <a:pt x="179004" y="-53461"/>
                  <a:pt x="88783" y="5061"/>
                </a:cubicBezTo>
                <a:cubicBezTo>
                  <a:pt x="-1438" y="63583"/>
                  <a:pt x="-77029" y="500057"/>
                  <a:pt x="147304" y="831679"/>
                </a:cubicBezTo>
                <a:cubicBezTo>
                  <a:pt x="371637" y="1163301"/>
                  <a:pt x="903208" y="1579048"/>
                  <a:pt x="1434779" y="1994796"/>
                </a:cubicBezTo>
              </a:path>
            </a:pathLst>
          </a:custGeom>
          <a:noFill/>
          <a:ln w="76200">
            <a:solidFill>
              <a:srgbClr val="00B0F0"/>
            </a:solidFill>
            <a:prstDash val="sysDot"/>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7" name="Freeform: Shape 626">
            <a:extLst>
              <a:ext uri="{FF2B5EF4-FFF2-40B4-BE49-F238E27FC236}">
                <a16:creationId xmlns:a16="http://schemas.microsoft.com/office/drawing/2014/main" id="{837EEDFF-6B58-4F14-9C64-D340B05D4926}"/>
              </a:ext>
            </a:extLst>
          </p:cNvPr>
          <p:cNvSpPr/>
          <p:nvPr/>
        </p:nvSpPr>
        <p:spPr>
          <a:xfrm>
            <a:off x="6093562" y="687629"/>
            <a:ext cx="1199692" cy="1611978"/>
          </a:xfrm>
          <a:custGeom>
            <a:avLst/>
            <a:gdLst>
              <a:gd name="connsiteX0" fmla="*/ 1199692 w 1199692"/>
              <a:gd name="connsiteY0" fmla="*/ 965606 h 1611978"/>
              <a:gd name="connsiteX1" fmla="*/ 921715 w 1199692"/>
              <a:gd name="connsiteY1" fmla="*/ 1587398 h 1611978"/>
              <a:gd name="connsiteX2" fmla="*/ 292608 w 1199692"/>
              <a:gd name="connsiteY2" fmla="*/ 1338681 h 1611978"/>
              <a:gd name="connsiteX3" fmla="*/ 0 w 1199692"/>
              <a:gd name="connsiteY3" fmla="*/ 0 h 1611978"/>
              <a:gd name="connsiteX4" fmla="*/ 0 w 1199692"/>
              <a:gd name="connsiteY4" fmla="*/ 0 h 1611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692" h="1611978">
                <a:moveTo>
                  <a:pt x="1199692" y="965606"/>
                </a:moveTo>
                <a:cubicBezTo>
                  <a:pt x="1136294" y="1245412"/>
                  <a:pt x="1072896" y="1525219"/>
                  <a:pt x="921715" y="1587398"/>
                </a:cubicBezTo>
                <a:cubicBezTo>
                  <a:pt x="770534" y="1649577"/>
                  <a:pt x="446227" y="1603247"/>
                  <a:pt x="292608" y="1338681"/>
                </a:cubicBezTo>
                <a:cubicBezTo>
                  <a:pt x="138989" y="1074115"/>
                  <a:pt x="0" y="0"/>
                  <a:pt x="0" y="0"/>
                </a:cubicBezTo>
                <a:lnTo>
                  <a:pt x="0" y="0"/>
                </a:lnTo>
              </a:path>
            </a:pathLst>
          </a:custGeom>
          <a:noFill/>
          <a:ln w="76200">
            <a:solidFill>
              <a:schemeClr val="accent3"/>
            </a:solidFill>
            <a:prstDash val="sysDot"/>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65235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297440" y="3288128"/>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43343" y="2135212"/>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a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Debre 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
        <p:nvSpPr>
          <p:cNvPr id="505" name="Isosceles Triangle 504">
            <a:extLst>
              <a:ext uri="{FF2B5EF4-FFF2-40B4-BE49-F238E27FC236}">
                <a16:creationId xmlns:a16="http://schemas.microsoft.com/office/drawing/2014/main" id="{F1893565-0AFF-4623-B9C2-104843C39C96}"/>
              </a:ext>
            </a:extLst>
          </p:cNvPr>
          <p:cNvSpPr/>
          <p:nvPr/>
        </p:nvSpPr>
        <p:spPr>
          <a:xfrm rot="2564761">
            <a:off x="3728104" y="1545416"/>
            <a:ext cx="2472603" cy="2610207"/>
          </a:xfrm>
          <a:prstGeom prst="triangle">
            <a:avLst>
              <a:gd name="adj" fmla="val 0"/>
            </a:avLst>
          </a:prstGeom>
          <a:gradFill flip="none" rotWithShape="1">
            <a:gsLst>
              <a:gs pos="40000">
                <a:schemeClr val="bg2"/>
              </a:gs>
              <a:gs pos="0">
                <a:schemeClr val="accent4"/>
              </a:gs>
            </a:gsLst>
            <a:lin ang="189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523" name="Rectangle: Rounded Corners 522">
            <a:extLst>
              <a:ext uri="{FF2B5EF4-FFF2-40B4-BE49-F238E27FC236}">
                <a16:creationId xmlns:a16="http://schemas.microsoft.com/office/drawing/2014/main" id="{72F01608-9876-40AB-B97C-C77D0CC5D7F2}"/>
              </a:ext>
            </a:extLst>
          </p:cNvPr>
          <p:cNvSpPr/>
          <p:nvPr/>
        </p:nvSpPr>
        <p:spPr>
          <a:xfrm>
            <a:off x="4664344" y="456272"/>
            <a:ext cx="3754247" cy="4512260"/>
          </a:xfrm>
          <a:prstGeom prst="roundRect">
            <a:avLst/>
          </a:prstGeom>
          <a:blipFill dpi="0" rotWithShape="1">
            <a:blip r:embed="rId3"/>
            <a:srcRect/>
            <a:stretch>
              <a:fillRect l="-7000" r="-2000"/>
            </a:stretch>
          </a:blip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0" name="Arrow: Right 29">
            <a:extLst>
              <a:ext uri="{FF2B5EF4-FFF2-40B4-BE49-F238E27FC236}">
                <a16:creationId xmlns:a16="http://schemas.microsoft.com/office/drawing/2014/main" id="{AEC97C19-AC02-4253-9B48-BCCA68F50684}"/>
              </a:ext>
            </a:extLst>
          </p:cNvPr>
          <p:cNvSpPr/>
          <p:nvPr/>
        </p:nvSpPr>
        <p:spPr>
          <a:xfrm rot="16200000">
            <a:off x="6117472" y="620649"/>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7" name="Rectangle 536">
            <a:extLst>
              <a:ext uri="{FF2B5EF4-FFF2-40B4-BE49-F238E27FC236}">
                <a16:creationId xmlns:a16="http://schemas.microsoft.com/office/drawing/2014/main" id="{B5E60C12-0097-4BD7-B46E-FAF0AA7F774A}"/>
              </a:ext>
            </a:extLst>
          </p:cNvPr>
          <p:cNvSpPr/>
          <p:nvPr/>
        </p:nvSpPr>
        <p:spPr>
          <a:xfrm>
            <a:off x="7898064" y="4386111"/>
            <a:ext cx="419600"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Gore</a:t>
            </a:r>
            <a:endParaRPr lang="en-GB" sz="700" dirty="0">
              <a:solidFill>
                <a:srgbClr val="0D274D"/>
              </a:solidFill>
              <a:latin typeface="CiscoSansTT ExtraLight"/>
            </a:endParaRPr>
          </a:p>
        </p:txBody>
      </p:sp>
      <p:sp>
        <p:nvSpPr>
          <p:cNvPr id="538" name="Rectangle 537">
            <a:extLst>
              <a:ext uri="{FF2B5EF4-FFF2-40B4-BE49-F238E27FC236}">
                <a16:creationId xmlns:a16="http://schemas.microsoft.com/office/drawing/2014/main" id="{37EF48BB-7456-43F5-83EF-FBA9F3748ED1}"/>
              </a:ext>
            </a:extLst>
          </p:cNvPr>
          <p:cNvSpPr/>
          <p:nvPr/>
        </p:nvSpPr>
        <p:spPr>
          <a:xfrm>
            <a:off x="6420360" y="728242"/>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mbi</a:t>
            </a:r>
            <a:endParaRPr lang="en-GB" sz="700" dirty="0">
              <a:solidFill>
                <a:srgbClr val="0D274D"/>
              </a:solidFill>
              <a:latin typeface="CiscoSansTT ExtraLight"/>
            </a:endParaRPr>
          </a:p>
        </p:txBody>
      </p:sp>
      <p:sp>
        <p:nvSpPr>
          <p:cNvPr id="539" name="Arrow: Right 538">
            <a:extLst>
              <a:ext uri="{FF2B5EF4-FFF2-40B4-BE49-F238E27FC236}">
                <a16:creationId xmlns:a16="http://schemas.microsoft.com/office/drawing/2014/main" id="{4EACC18C-96F8-4E13-95DD-3D5DB10BF4E6}"/>
              </a:ext>
            </a:extLst>
          </p:cNvPr>
          <p:cNvSpPr/>
          <p:nvPr/>
        </p:nvSpPr>
        <p:spPr>
          <a:xfrm rot="2545325">
            <a:off x="7790589" y="4617076"/>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40" name="Group 29">
            <a:extLst>
              <a:ext uri="{FF2B5EF4-FFF2-40B4-BE49-F238E27FC236}">
                <a16:creationId xmlns:a16="http://schemas.microsoft.com/office/drawing/2014/main" id="{A5F2AF66-2214-4951-A65E-E9CAE2DC79C7}"/>
              </a:ext>
            </a:extLst>
          </p:cNvPr>
          <p:cNvGrpSpPr/>
          <p:nvPr/>
        </p:nvGrpSpPr>
        <p:grpSpPr>
          <a:xfrm>
            <a:off x="5282921" y="2968278"/>
            <a:ext cx="302619" cy="317247"/>
            <a:chOff x="4163060" y="2537711"/>
            <a:chExt cx="520926" cy="520926"/>
          </a:xfrm>
        </p:grpSpPr>
        <p:sp>
          <p:nvSpPr>
            <p:cNvPr id="541" name="Oval 540">
              <a:extLst>
                <a:ext uri="{FF2B5EF4-FFF2-40B4-BE49-F238E27FC236}">
                  <a16:creationId xmlns:a16="http://schemas.microsoft.com/office/drawing/2014/main" id="{BF9B52A4-50AD-4090-98F7-A8514D6D41F4}"/>
                </a:ext>
              </a:extLst>
            </p:cNvPr>
            <p:cNvSpPr/>
            <p:nvPr/>
          </p:nvSpPr>
          <p:spPr>
            <a:xfrm>
              <a:off x="4163060" y="2537711"/>
              <a:ext cx="520926" cy="520926"/>
            </a:xfrm>
            <a:prstGeom prst="ellipse">
              <a:avLst/>
            </a:pr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defTabSz="456917">
                <a:defRPr/>
              </a:pPr>
              <a:endParaRPr lang="en-US" dirty="0">
                <a:solidFill>
                  <a:srgbClr val="FFFFFF"/>
                </a:solidFill>
                <a:latin typeface="CiscoSansTT ExtraLight"/>
              </a:endParaRPr>
            </a:p>
          </p:txBody>
        </p:sp>
        <p:sp>
          <p:nvSpPr>
            <p:cNvPr id="542" name="Freeform 41">
              <a:extLst>
                <a:ext uri="{FF2B5EF4-FFF2-40B4-BE49-F238E27FC236}">
                  <a16:creationId xmlns:a16="http://schemas.microsoft.com/office/drawing/2014/main" id="{A56A3E57-A0C9-477B-81EC-EC35AEBBBF77}"/>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5" name="Group 29">
            <a:extLst>
              <a:ext uri="{FF2B5EF4-FFF2-40B4-BE49-F238E27FC236}">
                <a16:creationId xmlns:a16="http://schemas.microsoft.com/office/drawing/2014/main" id="{9B7D416B-937A-4362-9916-A04800C1BBAA}"/>
              </a:ext>
            </a:extLst>
          </p:cNvPr>
          <p:cNvGrpSpPr/>
          <p:nvPr/>
        </p:nvGrpSpPr>
        <p:grpSpPr>
          <a:xfrm>
            <a:off x="5739506" y="1982494"/>
            <a:ext cx="302619" cy="317247"/>
            <a:chOff x="4163060" y="2537711"/>
            <a:chExt cx="520926" cy="520926"/>
          </a:xfrm>
        </p:grpSpPr>
        <p:sp>
          <p:nvSpPr>
            <p:cNvPr id="596" name="Oval 595">
              <a:extLst>
                <a:ext uri="{FF2B5EF4-FFF2-40B4-BE49-F238E27FC236}">
                  <a16:creationId xmlns:a16="http://schemas.microsoft.com/office/drawing/2014/main" id="{65341EEA-0A1C-4504-99F5-4D42CEC62D2A}"/>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597" name="Freeform 41">
              <a:extLst>
                <a:ext uri="{FF2B5EF4-FFF2-40B4-BE49-F238E27FC236}">
                  <a16:creationId xmlns:a16="http://schemas.microsoft.com/office/drawing/2014/main" id="{51E359D6-77A8-4CFC-B071-7D93C536A488}"/>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8" name="Group 29">
            <a:extLst>
              <a:ext uri="{FF2B5EF4-FFF2-40B4-BE49-F238E27FC236}">
                <a16:creationId xmlns:a16="http://schemas.microsoft.com/office/drawing/2014/main" id="{93CC09B8-F968-41A8-B214-141AA4AF960B}"/>
              </a:ext>
            </a:extLst>
          </p:cNvPr>
          <p:cNvGrpSpPr/>
          <p:nvPr/>
        </p:nvGrpSpPr>
        <p:grpSpPr>
          <a:xfrm>
            <a:off x="6268132" y="1603292"/>
            <a:ext cx="302619" cy="317247"/>
            <a:chOff x="4163060" y="2537711"/>
            <a:chExt cx="520926" cy="520926"/>
          </a:xfrm>
        </p:grpSpPr>
        <p:sp>
          <p:nvSpPr>
            <p:cNvPr id="606" name="Oval 605">
              <a:extLst>
                <a:ext uri="{FF2B5EF4-FFF2-40B4-BE49-F238E27FC236}">
                  <a16:creationId xmlns:a16="http://schemas.microsoft.com/office/drawing/2014/main" id="{BC8DBA18-9627-4B1F-B11A-3FDB467F999E}"/>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07" name="Freeform 41">
              <a:extLst>
                <a:ext uri="{FF2B5EF4-FFF2-40B4-BE49-F238E27FC236}">
                  <a16:creationId xmlns:a16="http://schemas.microsoft.com/office/drawing/2014/main" id="{F13CD59C-7C44-4460-A662-CBF7056A4DBD}"/>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08" name="Group 29">
            <a:extLst>
              <a:ext uri="{FF2B5EF4-FFF2-40B4-BE49-F238E27FC236}">
                <a16:creationId xmlns:a16="http://schemas.microsoft.com/office/drawing/2014/main" id="{77E1AA06-B3E8-48CD-9C5D-399E73E40C3B}"/>
              </a:ext>
            </a:extLst>
          </p:cNvPr>
          <p:cNvGrpSpPr/>
          <p:nvPr/>
        </p:nvGrpSpPr>
        <p:grpSpPr>
          <a:xfrm>
            <a:off x="7339817" y="1345406"/>
            <a:ext cx="302619" cy="317247"/>
            <a:chOff x="4163060" y="2537711"/>
            <a:chExt cx="520926" cy="520926"/>
          </a:xfrm>
        </p:grpSpPr>
        <p:sp>
          <p:nvSpPr>
            <p:cNvPr id="609" name="Oval 608">
              <a:extLst>
                <a:ext uri="{FF2B5EF4-FFF2-40B4-BE49-F238E27FC236}">
                  <a16:creationId xmlns:a16="http://schemas.microsoft.com/office/drawing/2014/main" id="{C29DB126-B7DB-4DB0-AF57-3D5726CF2355}"/>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0" name="Freeform 41">
              <a:extLst>
                <a:ext uri="{FF2B5EF4-FFF2-40B4-BE49-F238E27FC236}">
                  <a16:creationId xmlns:a16="http://schemas.microsoft.com/office/drawing/2014/main" id="{ECD2092C-0796-4913-9BD9-12B2633B784C}"/>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1" name="Group 29">
            <a:extLst>
              <a:ext uri="{FF2B5EF4-FFF2-40B4-BE49-F238E27FC236}">
                <a16:creationId xmlns:a16="http://schemas.microsoft.com/office/drawing/2014/main" id="{27CB4948-CFD6-4009-9827-31E3DF98708C}"/>
              </a:ext>
            </a:extLst>
          </p:cNvPr>
          <p:cNvGrpSpPr/>
          <p:nvPr/>
        </p:nvGrpSpPr>
        <p:grpSpPr>
          <a:xfrm>
            <a:off x="6903626" y="2244574"/>
            <a:ext cx="302619" cy="317247"/>
            <a:chOff x="4163060" y="2537711"/>
            <a:chExt cx="520926" cy="520926"/>
          </a:xfrm>
        </p:grpSpPr>
        <p:sp>
          <p:nvSpPr>
            <p:cNvPr id="612" name="Oval 611">
              <a:extLst>
                <a:ext uri="{FF2B5EF4-FFF2-40B4-BE49-F238E27FC236}">
                  <a16:creationId xmlns:a16="http://schemas.microsoft.com/office/drawing/2014/main" id="{C2EA128A-9593-4066-A311-92023D1336A2}"/>
                </a:ext>
              </a:extLst>
            </p:cNvPr>
            <p:cNvSpPr/>
            <p:nvPr/>
          </p:nvSpPr>
          <p:spPr>
            <a:xfrm>
              <a:off x="4163060" y="2537711"/>
              <a:ext cx="520926" cy="520926"/>
            </a:xfrm>
            <a:prstGeom prst="ellipse">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456917">
                <a:defRPr/>
              </a:pPr>
              <a:endParaRPr lang="en-US" dirty="0">
                <a:solidFill>
                  <a:srgbClr val="FFFFFF"/>
                </a:solidFill>
                <a:latin typeface="CiscoSansTT ExtraLight"/>
              </a:endParaRPr>
            </a:p>
          </p:txBody>
        </p:sp>
        <p:sp>
          <p:nvSpPr>
            <p:cNvPr id="613" name="Freeform 41">
              <a:extLst>
                <a:ext uri="{FF2B5EF4-FFF2-40B4-BE49-F238E27FC236}">
                  <a16:creationId xmlns:a16="http://schemas.microsoft.com/office/drawing/2014/main" id="{3BB0BD81-E52E-46C9-B6D9-9D0FA3285610}"/>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4" name="Group 29">
            <a:extLst>
              <a:ext uri="{FF2B5EF4-FFF2-40B4-BE49-F238E27FC236}">
                <a16:creationId xmlns:a16="http://schemas.microsoft.com/office/drawing/2014/main" id="{E7DB4215-9524-48BF-B8E5-684CCDF82591}"/>
              </a:ext>
            </a:extLst>
          </p:cNvPr>
          <p:cNvGrpSpPr/>
          <p:nvPr/>
        </p:nvGrpSpPr>
        <p:grpSpPr>
          <a:xfrm>
            <a:off x="6275388" y="2823251"/>
            <a:ext cx="302619" cy="317247"/>
            <a:chOff x="4163060" y="2537711"/>
            <a:chExt cx="520926" cy="520926"/>
          </a:xfrm>
        </p:grpSpPr>
        <p:sp>
          <p:nvSpPr>
            <p:cNvPr id="615" name="Oval 614">
              <a:extLst>
                <a:ext uri="{FF2B5EF4-FFF2-40B4-BE49-F238E27FC236}">
                  <a16:creationId xmlns:a16="http://schemas.microsoft.com/office/drawing/2014/main" id="{1B5E7FBB-EC69-4268-8826-A2B262641679}"/>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6" name="Freeform 41">
              <a:extLst>
                <a:ext uri="{FF2B5EF4-FFF2-40B4-BE49-F238E27FC236}">
                  <a16:creationId xmlns:a16="http://schemas.microsoft.com/office/drawing/2014/main" id="{8D9FDE30-D3C3-468F-993B-2658B6109CE6}"/>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7" name="Group 29">
            <a:extLst>
              <a:ext uri="{FF2B5EF4-FFF2-40B4-BE49-F238E27FC236}">
                <a16:creationId xmlns:a16="http://schemas.microsoft.com/office/drawing/2014/main" id="{CB4C2803-1D31-473D-B05B-14FECC0FEBD9}"/>
              </a:ext>
            </a:extLst>
          </p:cNvPr>
          <p:cNvGrpSpPr/>
          <p:nvPr/>
        </p:nvGrpSpPr>
        <p:grpSpPr>
          <a:xfrm>
            <a:off x="7155101" y="3370835"/>
            <a:ext cx="302619" cy="317247"/>
            <a:chOff x="4163060" y="2537711"/>
            <a:chExt cx="520926" cy="520926"/>
          </a:xfrm>
        </p:grpSpPr>
        <p:sp>
          <p:nvSpPr>
            <p:cNvPr id="618" name="Oval 617">
              <a:extLst>
                <a:ext uri="{FF2B5EF4-FFF2-40B4-BE49-F238E27FC236}">
                  <a16:creationId xmlns:a16="http://schemas.microsoft.com/office/drawing/2014/main" id="{EC8B7BA3-44FD-4707-8DDB-3F73C5745317}"/>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9" name="Freeform 41">
              <a:extLst>
                <a:ext uri="{FF2B5EF4-FFF2-40B4-BE49-F238E27FC236}">
                  <a16:creationId xmlns:a16="http://schemas.microsoft.com/office/drawing/2014/main" id="{2C7B4928-6595-43BB-AD82-7D69319B999A}"/>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cxnSp>
        <p:nvCxnSpPr>
          <p:cNvPr id="32" name="Straight Connector 31">
            <a:extLst>
              <a:ext uri="{FF2B5EF4-FFF2-40B4-BE49-F238E27FC236}">
                <a16:creationId xmlns:a16="http://schemas.microsoft.com/office/drawing/2014/main" id="{C7EB0EA3-A702-4528-B1C9-ABAA7A5B3B4C}"/>
              </a:ext>
            </a:extLst>
          </p:cNvPr>
          <p:cNvCxnSpPr>
            <a:cxnSpLocks/>
            <a:stCxn id="596" idx="5"/>
            <a:endCxn id="525" idx="2"/>
          </p:cNvCxnSpPr>
          <p:nvPr/>
        </p:nvCxnSpPr>
        <p:spPr>
          <a:xfrm>
            <a:off x="5997808" y="2253282"/>
            <a:ext cx="968435" cy="331126"/>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0" name="Straight Connector 69">
            <a:extLst>
              <a:ext uri="{FF2B5EF4-FFF2-40B4-BE49-F238E27FC236}">
                <a16:creationId xmlns:a16="http://schemas.microsoft.com/office/drawing/2014/main" id="{685B54BB-7668-4C43-8B50-4969C55EF348}"/>
              </a:ext>
            </a:extLst>
          </p:cNvPr>
          <p:cNvCxnSpPr>
            <a:cxnSpLocks/>
            <a:stCxn id="606" idx="5"/>
            <a:endCxn id="525" idx="1"/>
          </p:cNvCxnSpPr>
          <p:nvPr/>
        </p:nvCxnSpPr>
        <p:spPr>
          <a:xfrm>
            <a:off x="6526434" y="1874080"/>
            <a:ext cx="464419" cy="65091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3" name="Straight Connector 72">
            <a:extLst>
              <a:ext uri="{FF2B5EF4-FFF2-40B4-BE49-F238E27FC236}">
                <a16:creationId xmlns:a16="http://schemas.microsoft.com/office/drawing/2014/main" id="{2DCDD96F-61C1-4EFA-BD1B-F57C6A13A1FC}"/>
              </a:ext>
            </a:extLst>
          </p:cNvPr>
          <p:cNvCxnSpPr>
            <a:cxnSpLocks/>
            <a:stCxn id="612" idx="4"/>
          </p:cNvCxnSpPr>
          <p:nvPr/>
        </p:nvCxnSpPr>
        <p:spPr>
          <a:xfrm flipH="1">
            <a:off x="7023021" y="2561821"/>
            <a:ext cx="31914" cy="384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13D577-06EB-4CA4-973B-BD002BEDF6E7}"/>
              </a:ext>
            </a:extLst>
          </p:cNvPr>
          <p:cNvCxnSpPr>
            <a:cxnSpLocks/>
            <a:stCxn id="609" idx="4"/>
            <a:endCxn id="525" idx="7"/>
          </p:cNvCxnSpPr>
          <p:nvPr/>
        </p:nvCxnSpPr>
        <p:spPr>
          <a:xfrm flipH="1">
            <a:off x="7109678" y="1662653"/>
            <a:ext cx="381449" cy="862341"/>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7" name="Straight Connector 76">
            <a:extLst>
              <a:ext uri="{FF2B5EF4-FFF2-40B4-BE49-F238E27FC236}">
                <a16:creationId xmlns:a16="http://schemas.microsoft.com/office/drawing/2014/main" id="{5B2818DB-830E-4AD7-B13B-996AAE83C77B}"/>
              </a:ext>
            </a:extLst>
          </p:cNvPr>
          <p:cNvCxnSpPr>
            <a:cxnSpLocks/>
            <a:stCxn id="615" idx="6"/>
            <a:endCxn id="525" idx="3"/>
          </p:cNvCxnSpPr>
          <p:nvPr/>
        </p:nvCxnSpPr>
        <p:spPr>
          <a:xfrm flipV="1">
            <a:off x="6578007" y="2643820"/>
            <a:ext cx="412845" cy="33805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0" name="Straight Connector 79">
            <a:extLst>
              <a:ext uri="{FF2B5EF4-FFF2-40B4-BE49-F238E27FC236}">
                <a16:creationId xmlns:a16="http://schemas.microsoft.com/office/drawing/2014/main" id="{65C2C988-5928-40F4-9D29-E0484818AB7A}"/>
              </a:ext>
            </a:extLst>
          </p:cNvPr>
          <p:cNvCxnSpPr>
            <a:cxnSpLocks/>
            <a:stCxn id="541" idx="6"/>
            <a:endCxn id="525" idx="2"/>
          </p:cNvCxnSpPr>
          <p:nvPr/>
        </p:nvCxnSpPr>
        <p:spPr>
          <a:xfrm flipV="1">
            <a:off x="5585540" y="2584407"/>
            <a:ext cx="1380702" cy="542495"/>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3" name="Straight Connector 82">
            <a:extLst>
              <a:ext uri="{FF2B5EF4-FFF2-40B4-BE49-F238E27FC236}">
                <a16:creationId xmlns:a16="http://schemas.microsoft.com/office/drawing/2014/main" id="{6096C28E-B668-4D25-B65D-9E575C33A5B3}"/>
              </a:ext>
            </a:extLst>
          </p:cNvPr>
          <p:cNvCxnSpPr>
            <a:stCxn id="618" idx="0"/>
            <a:endCxn id="525" idx="4"/>
          </p:cNvCxnSpPr>
          <p:nvPr/>
        </p:nvCxnSpPr>
        <p:spPr>
          <a:xfrm flipH="1" flipV="1">
            <a:off x="7050265" y="2668430"/>
            <a:ext cx="256146" cy="702405"/>
          </a:xfrm>
          <a:prstGeom prst="line">
            <a:avLst/>
          </a:prstGeom>
          <a:ln/>
        </p:spPr>
        <p:style>
          <a:lnRef idx="1">
            <a:schemeClr val="accent3"/>
          </a:lnRef>
          <a:fillRef idx="0">
            <a:schemeClr val="accent3"/>
          </a:fillRef>
          <a:effectRef idx="0">
            <a:schemeClr val="accent3"/>
          </a:effectRef>
          <a:fontRef idx="minor">
            <a:schemeClr val="tx1"/>
          </a:fontRef>
        </p:style>
      </p:cxnSp>
      <p:sp>
        <p:nvSpPr>
          <p:cNvPr id="94" name="Freeform: Shape 93">
            <a:extLst>
              <a:ext uri="{FF2B5EF4-FFF2-40B4-BE49-F238E27FC236}">
                <a16:creationId xmlns:a16="http://schemas.microsoft.com/office/drawing/2014/main" id="{F2C417E4-D4A9-44AA-9830-F1BE0AA19845}"/>
              </a:ext>
            </a:extLst>
          </p:cNvPr>
          <p:cNvSpPr/>
          <p:nvPr/>
        </p:nvSpPr>
        <p:spPr>
          <a:xfrm>
            <a:off x="6122147" y="2153242"/>
            <a:ext cx="2192937" cy="2787034"/>
          </a:xfrm>
          <a:custGeom>
            <a:avLst/>
            <a:gdLst>
              <a:gd name="connsiteX0" fmla="*/ 1162112 w 2923916"/>
              <a:gd name="connsiteY0" fmla="*/ 575226 h 3628485"/>
              <a:gd name="connsiteX1" fmla="*/ 285812 w 2923916"/>
              <a:gd name="connsiteY1" fmla="*/ 3726 h 3628485"/>
              <a:gd name="connsiteX2" fmla="*/ 19112 w 2923916"/>
              <a:gd name="connsiteY2" fmla="*/ 365676 h 3628485"/>
              <a:gd name="connsiteX3" fmla="*/ 76262 w 2923916"/>
              <a:gd name="connsiteY3" fmla="*/ 1080051 h 3628485"/>
              <a:gd name="connsiteX4" fmla="*/ 514412 w 2923916"/>
              <a:gd name="connsiteY4" fmla="*/ 1689651 h 3628485"/>
              <a:gd name="connsiteX5" fmla="*/ 1266887 w 2923916"/>
              <a:gd name="connsiteY5" fmla="*/ 1946826 h 3628485"/>
              <a:gd name="connsiteX6" fmla="*/ 1600262 w 2923916"/>
              <a:gd name="connsiteY6" fmla="*/ 2670726 h 3628485"/>
              <a:gd name="connsiteX7" fmla="*/ 2762312 w 2923916"/>
              <a:gd name="connsiteY7" fmla="*/ 3508926 h 3628485"/>
              <a:gd name="connsiteX8" fmla="*/ 2886137 w 2923916"/>
              <a:gd name="connsiteY8" fmla="*/ 3604176 h 362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3916" h="3628485">
                <a:moveTo>
                  <a:pt x="1162112" y="575226"/>
                </a:moveTo>
                <a:cubicBezTo>
                  <a:pt x="819212" y="306938"/>
                  <a:pt x="476312" y="38651"/>
                  <a:pt x="285812" y="3726"/>
                </a:cubicBezTo>
                <a:cubicBezTo>
                  <a:pt x="95312" y="-31199"/>
                  <a:pt x="54037" y="186289"/>
                  <a:pt x="19112" y="365676"/>
                </a:cubicBezTo>
                <a:cubicBezTo>
                  <a:pt x="-15813" y="545063"/>
                  <a:pt x="-6288" y="859389"/>
                  <a:pt x="76262" y="1080051"/>
                </a:cubicBezTo>
                <a:cubicBezTo>
                  <a:pt x="158812" y="1300713"/>
                  <a:pt x="315975" y="1545189"/>
                  <a:pt x="514412" y="1689651"/>
                </a:cubicBezTo>
                <a:cubicBezTo>
                  <a:pt x="712849" y="1834113"/>
                  <a:pt x="1085912" y="1783314"/>
                  <a:pt x="1266887" y="1946826"/>
                </a:cubicBezTo>
                <a:cubicBezTo>
                  <a:pt x="1447862" y="2110338"/>
                  <a:pt x="1351024" y="2410376"/>
                  <a:pt x="1600262" y="2670726"/>
                </a:cubicBezTo>
                <a:cubicBezTo>
                  <a:pt x="1849500" y="2931076"/>
                  <a:pt x="2548000" y="3353351"/>
                  <a:pt x="2762312" y="3508926"/>
                </a:cubicBezTo>
                <a:cubicBezTo>
                  <a:pt x="2976625" y="3664501"/>
                  <a:pt x="2931381" y="3634338"/>
                  <a:pt x="2886137" y="3604176"/>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sp>
        <p:nvSpPr>
          <p:cNvPr id="96" name="Freeform: Shape 95">
            <a:extLst>
              <a:ext uri="{FF2B5EF4-FFF2-40B4-BE49-F238E27FC236}">
                <a16:creationId xmlns:a16="http://schemas.microsoft.com/office/drawing/2014/main" id="{3F8BFE22-2214-497E-BF03-EBB9CB38F4DE}"/>
              </a:ext>
            </a:extLst>
          </p:cNvPr>
          <p:cNvSpPr/>
          <p:nvPr/>
        </p:nvSpPr>
        <p:spPr>
          <a:xfrm>
            <a:off x="5931265" y="411849"/>
            <a:ext cx="1091042" cy="2131327"/>
          </a:xfrm>
          <a:custGeom>
            <a:avLst/>
            <a:gdLst>
              <a:gd name="connsiteX0" fmla="*/ 1454722 w 1454722"/>
              <a:gd name="connsiteY0" fmla="*/ 2841769 h 2841769"/>
              <a:gd name="connsiteX1" fmla="*/ 521272 w 1454722"/>
              <a:gd name="connsiteY1" fmla="*/ 2175019 h 2841769"/>
              <a:gd name="connsiteX2" fmla="*/ 149797 w 1454722"/>
              <a:gd name="connsiteY2" fmla="*/ 641494 h 2841769"/>
              <a:gd name="connsiteX3" fmla="*/ 6922 w 1454722"/>
              <a:gd name="connsiteY3" fmla="*/ 50944 h 2841769"/>
              <a:gd name="connsiteX4" fmla="*/ 35497 w 1454722"/>
              <a:gd name="connsiteY4" fmla="*/ 69994 h 284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722" h="2841769">
                <a:moveTo>
                  <a:pt x="1454722" y="2841769"/>
                </a:moveTo>
                <a:cubicBezTo>
                  <a:pt x="1096740" y="2691750"/>
                  <a:pt x="738759" y="2541731"/>
                  <a:pt x="521272" y="2175019"/>
                </a:cubicBezTo>
                <a:cubicBezTo>
                  <a:pt x="303785" y="1808307"/>
                  <a:pt x="149797" y="641494"/>
                  <a:pt x="149797" y="641494"/>
                </a:cubicBezTo>
                <a:lnTo>
                  <a:pt x="6922" y="50944"/>
                </a:lnTo>
                <a:cubicBezTo>
                  <a:pt x="-12128" y="-44306"/>
                  <a:pt x="11684" y="12844"/>
                  <a:pt x="35497" y="69994"/>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grpSp>
        <p:nvGrpSpPr>
          <p:cNvPr id="524" name="Group 523">
            <a:extLst>
              <a:ext uri="{FF2B5EF4-FFF2-40B4-BE49-F238E27FC236}">
                <a16:creationId xmlns:a16="http://schemas.microsoft.com/office/drawing/2014/main" id="{E1663DD4-DA51-4B2D-B167-258896EFE2D0}"/>
              </a:ext>
            </a:extLst>
          </p:cNvPr>
          <p:cNvGrpSpPr/>
          <p:nvPr/>
        </p:nvGrpSpPr>
        <p:grpSpPr>
          <a:xfrm>
            <a:off x="6966242" y="2500385"/>
            <a:ext cx="168045" cy="168045"/>
            <a:chOff x="4083769" y="2552776"/>
            <a:chExt cx="529089" cy="529089"/>
          </a:xfrm>
        </p:grpSpPr>
        <p:sp>
          <p:nvSpPr>
            <p:cNvPr id="525" name="Oval 524">
              <a:extLst>
                <a:ext uri="{FF2B5EF4-FFF2-40B4-BE49-F238E27FC236}">
                  <a16:creationId xmlns:a16="http://schemas.microsoft.com/office/drawing/2014/main" id="{85034D52-F106-4E56-A399-DDE2C758F1FB}"/>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6" name="Freeform: Shape 298">
              <a:extLst>
                <a:ext uri="{FF2B5EF4-FFF2-40B4-BE49-F238E27FC236}">
                  <a16:creationId xmlns:a16="http://schemas.microsoft.com/office/drawing/2014/main" id="{4A1CAA4F-2377-434A-9F13-9E763294C0D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299">
              <a:extLst>
                <a:ext uri="{FF2B5EF4-FFF2-40B4-BE49-F238E27FC236}">
                  <a16:creationId xmlns:a16="http://schemas.microsoft.com/office/drawing/2014/main" id="{13B65276-0B83-4462-9EB0-03C4032ECC9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1">
              <a:extLst>
                <a:ext uri="{FF2B5EF4-FFF2-40B4-BE49-F238E27FC236}">
                  <a16:creationId xmlns:a16="http://schemas.microsoft.com/office/drawing/2014/main" id="{7F8006FB-D45A-4C5F-8CE1-B64192D41C3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9" name="Freeform: Shape 302">
              <a:extLst>
                <a:ext uri="{FF2B5EF4-FFF2-40B4-BE49-F238E27FC236}">
                  <a16:creationId xmlns:a16="http://schemas.microsoft.com/office/drawing/2014/main" id="{7EA827F4-EB63-4832-92DB-DCB54240DDB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102" name="Rectangle 101">
            <a:extLst>
              <a:ext uri="{FF2B5EF4-FFF2-40B4-BE49-F238E27FC236}">
                <a16:creationId xmlns:a16="http://schemas.microsoft.com/office/drawing/2014/main" id="{1780F998-5300-4E8B-B14E-2B97009AA4C6}"/>
              </a:ext>
            </a:extLst>
          </p:cNvPr>
          <p:cNvSpPr/>
          <p:nvPr/>
        </p:nvSpPr>
        <p:spPr>
          <a:xfrm>
            <a:off x="5338949" y="3304649"/>
            <a:ext cx="1607442" cy="58964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200" dirty="0">
                <a:solidFill>
                  <a:schemeClr val="bg2"/>
                </a:solidFill>
              </a:rPr>
              <a:t>Towers Connected via Fibre</a:t>
            </a:r>
            <a:endParaRPr lang="en-GB" sz="1200" dirty="0">
              <a:solidFill>
                <a:schemeClr val="bg2"/>
              </a:solidFill>
            </a:endParaRPr>
          </a:p>
        </p:txBody>
      </p:sp>
      <p:sp>
        <p:nvSpPr>
          <p:cNvPr id="620" name="Rectangle 619">
            <a:extLst>
              <a:ext uri="{FF2B5EF4-FFF2-40B4-BE49-F238E27FC236}">
                <a16:creationId xmlns:a16="http://schemas.microsoft.com/office/drawing/2014/main" id="{274F32D2-7323-4550-AFAF-B5F3DF00B343}"/>
              </a:ext>
            </a:extLst>
          </p:cNvPr>
          <p:cNvSpPr/>
          <p:nvPr/>
        </p:nvSpPr>
        <p:spPr>
          <a:xfrm>
            <a:off x="4190488" y="2323654"/>
            <a:ext cx="1765310" cy="58964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200" dirty="0"/>
              <a:t>Microwave for Remote Sites</a:t>
            </a:r>
            <a:endParaRPr lang="en-GB" sz="1200" dirty="0"/>
          </a:p>
        </p:txBody>
      </p:sp>
      <p:sp>
        <p:nvSpPr>
          <p:cNvPr id="621" name="Rectangle 620">
            <a:extLst>
              <a:ext uri="{FF2B5EF4-FFF2-40B4-BE49-F238E27FC236}">
                <a16:creationId xmlns:a16="http://schemas.microsoft.com/office/drawing/2014/main" id="{27A9C269-645F-42C5-8B81-66515335D257}"/>
              </a:ext>
            </a:extLst>
          </p:cNvPr>
          <p:cNvSpPr/>
          <p:nvPr/>
        </p:nvSpPr>
        <p:spPr>
          <a:xfrm>
            <a:off x="7229671" y="2079867"/>
            <a:ext cx="1892298" cy="12522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200" dirty="0"/>
              <a:t>Core tower for Local Connectivity and Distribution Node</a:t>
            </a:r>
            <a:endParaRPr lang="en-GB" sz="1200" dirty="0"/>
          </a:p>
        </p:txBody>
      </p:sp>
    </p:spTree>
    <p:extLst>
      <p:ext uri="{BB962C8B-B14F-4D97-AF65-F5344CB8AC3E}">
        <p14:creationId xmlns:p14="http://schemas.microsoft.com/office/powerpoint/2010/main" val="13728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297440" y="3288128"/>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43343" y="2135212"/>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a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Debre 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
        <p:nvSpPr>
          <p:cNvPr id="505" name="Isosceles Triangle 504">
            <a:extLst>
              <a:ext uri="{FF2B5EF4-FFF2-40B4-BE49-F238E27FC236}">
                <a16:creationId xmlns:a16="http://schemas.microsoft.com/office/drawing/2014/main" id="{F1893565-0AFF-4623-B9C2-104843C39C96}"/>
              </a:ext>
            </a:extLst>
          </p:cNvPr>
          <p:cNvSpPr/>
          <p:nvPr/>
        </p:nvSpPr>
        <p:spPr>
          <a:xfrm rot="2564761">
            <a:off x="3728104" y="1545416"/>
            <a:ext cx="2472603" cy="2610207"/>
          </a:xfrm>
          <a:prstGeom prst="triangle">
            <a:avLst>
              <a:gd name="adj" fmla="val 0"/>
            </a:avLst>
          </a:prstGeom>
          <a:gradFill flip="none" rotWithShape="1">
            <a:gsLst>
              <a:gs pos="40000">
                <a:schemeClr val="bg2"/>
              </a:gs>
              <a:gs pos="0">
                <a:schemeClr val="accent4"/>
              </a:gs>
            </a:gsLst>
            <a:lin ang="189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523" name="Rectangle: Rounded Corners 522">
            <a:extLst>
              <a:ext uri="{FF2B5EF4-FFF2-40B4-BE49-F238E27FC236}">
                <a16:creationId xmlns:a16="http://schemas.microsoft.com/office/drawing/2014/main" id="{72F01608-9876-40AB-B97C-C77D0CC5D7F2}"/>
              </a:ext>
            </a:extLst>
          </p:cNvPr>
          <p:cNvSpPr/>
          <p:nvPr/>
        </p:nvSpPr>
        <p:spPr>
          <a:xfrm>
            <a:off x="4664344" y="456272"/>
            <a:ext cx="3754247" cy="4512260"/>
          </a:xfrm>
          <a:prstGeom prst="roundRect">
            <a:avLst/>
          </a:prstGeom>
          <a:blipFill dpi="0" rotWithShape="1">
            <a:blip r:embed="rId3"/>
            <a:srcRect/>
            <a:stretch>
              <a:fillRect l="-7000" r="-2000"/>
            </a:stretch>
          </a:blip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0" name="Arrow: Right 29">
            <a:extLst>
              <a:ext uri="{FF2B5EF4-FFF2-40B4-BE49-F238E27FC236}">
                <a16:creationId xmlns:a16="http://schemas.microsoft.com/office/drawing/2014/main" id="{AEC97C19-AC02-4253-9B48-BCCA68F50684}"/>
              </a:ext>
            </a:extLst>
          </p:cNvPr>
          <p:cNvSpPr/>
          <p:nvPr/>
        </p:nvSpPr>
        <p:spPr>
          <a:xfrm rot="16200000">
            <a:off x="6117472" y="620649"/>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7" name="Rectangle 536">
            <a:extLst>
              <a:ext uri="{FF2B5EF4-FFF2-40B4-BE49-F238E27FC236}">
                <a16:creationId xmlns:a16="http://schemas.microsoft.com/office/drawing/2014/main" id="{B5E60C12-0097-4BD7-B46E-FAF0AA7F774A}"/>
              </a:ext>
            </a:extLst>
          </p:cNvPr>
          <p:cNvSpPr/>
          <p:nvPr/>
        </p:nvSpPr>
        <p:spPr>
          <a:xfrm>
            <a:off x="7898064" y="4386111"/>
            <a:ext cx="419600"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Gore</a:t>
            </a:r>
            <a:endParaRPr lang="en-GB" sz="700" dirty="0">
              <a:solidFill>
                <a:srgbClr val="0D274D"/>
              </a:solidFill>
              <a:latin typeface="CiscoSansTT ExtraLight"/>
            </a:endParaRPr>
          </a:p>
        </p:txBody>
      </p:sp>
      <p:sp>
        <p:nvSpPr>
          <p:cNvPr id="538" name="Rectangle 537">
            <a:extLst>
              <a:ext uri="{FF2B5EF4-FFF2-40B4-BE49-F238E27FC236}">
                <a16:creationId xmlns:a16="http://schemas.microsoft.com/office/drawing/2014/main" id="{37EF48BB-7456-43F5-83EF-FBA9F3748ED1}"/>
              </a:ext>
            </a:extLst>
          </p:cNvPr>
          <p:cNvSpPr/>
          <p:nvPr/>
        </p:nvSpPr>
        <p:spPr>
          <a:xfrm>
            <a:off x="6420360" y="728242"/>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mbi</a:t>
            </a:r>
            <a:endParaRPr lang="en-GB" sz="700" dirty="0">
              <a:solidFill>
                <a:srgbClr val="0D274D"/>
              </a:solidFill>
              <a:latin typeface="CiscoSansTT ExtraLight"/>
            </a:endParaRPr>
          </a:p>
        </p:txBody>
      </p:sp>
      <p:sp>
        <p:nvSpPr>
          <p:cNvPr id="539" name="Arrow: Right 538">
            <a:extLst>
              <a:ext uri="{FF2B5EF4-FFF2-40B4-BE49-F238E27FC236}">
                <a16:creationId xmlns:a16="http://schemas.microsoft.com/office/drawing/2014/main" id="{4EACC18C-96F8-4E13-95DD-3D5DB10BF4E6}"/>
              </a:ext>
            </a:extLst>
          </p:cNvPr>
          <p:cNvSpPr/>
          <p:nvPr/>
        </p:nvSpPr>
        <p:spPr>
          <a:xfrm rot="2545325">
            <a:off x="7790589" y="4617076"/>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40" name="Group 29">
            <a:extLst>
              <a:ext uri="{FF2B5EF4-FFF2-40B4-BE49-F238E27FC236}">
                <a16:creationId xmlns:a16="http://schemas.microsoft.com/office/drawing/2014/main" id="{A5F2AF66-2214-4951-A65E-E9CAE2DC79C7}"/>
              </a:ext>
            </a:extLst>
          </p:cNvPr>
          <p:cNvGrpSpPr/>
          <p:nvPr/>
        </p:nvGrpSpPr>
        <p:grpSpPr>
          <a:xfrm>
            <a:off x="5282921" y="2968278"/>
            <a:ext cx="302619" cy="317247"/>
            <a:chOff x="4163060" y="2537711"/>
            <a:chExt cx="520926" cy="520926"/>
          </a:xfrm>
        </p:grpSpPr>
        <p:sp>
          <p:nvSpPr>
            <p:cNvPr id="541" name="Oval 540">
              <a:extLst>
                <a:ext uri="{FF2B5EF4-FFF2-40B4-BE49-F238E27FC236}">
                  <a16:creationId xmlns:a16="http://schemas.microsoft.com/office/drawing/2014/main" id="{BF9B52A4-50AD-4090-98F7-A8514D6D41F4}"/>
                </a:ext>
              </a:extLst>
            </p:cNvPr>
            <p:cNvSpPr/>
            <p:nvPr/>
          </p:nvSpPr>
          <p:spPr>
            <a:xfrm>
              <a:off x="4163060" y="2537711"/>
              <a:ext cx="520926" cy="520926"/>
            </a:xfrm>
            <a:prstGeom prst="ellipse">
              <a:avLst/>
            </a:pr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defTabSz="456917">
                <a:defRPr/>
              </a:pPr>
              <a:endParaRPr lang="en-US" dirty="0">
                <a:solidFill>
                  <a:srgbClr val="FFFFFF"/>
                </a:solidFill>
                <a:latin typeface="CiscoSansTT ExtraLight"/>
              </a:endParaRPr>
            </a:p>
          </p:txBody>
        </p:sp>
        <p:sp>
          <p:nvSpPr>
            <p:cNvPr id="542" name="Freeform 41">
              <a:extLst>
                <a:ext uri="{FF2B5EF4-FFF2-40B4-BE49-F238E27FC236}">
                  <a16:creationId xmlns:a16="http://schemas.microsoft.com/office/drawing/2014/main" id="{A56A3E57-A0C9-477B-81EC-EC35AEBBBF77}"/>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5" name="Group 29">
            <a:extLst>
              <a:ext uri="{FF2B5EF4-FFF2-40B4-BE49-F238E27FC236}">
                <a16:creationId xmlns:a16="http://schemas.microsoft.com/office/drawing/2014/main" id="{9B7D416B-937A-4362-9916-A04800C1BBAA}"/>
              </a:ext>
            </a:extLst>
          </p:cNvPr>
          <p:cNvGrpSpPr/>
          <p:nvPr/>
        </p:nvGrpSpPr>
        <p:grpSpPr>
          <a:xfrm>
            <a:off x="5739506" y="1982494"/>
            <a:ext cx="302619" cy="317247"/>
            <a:chOff x="4163060" y="2537711"/>
            <a:chExt cx="520926" cy="520926"/>
          </a:xfrm>
        </p:grpSpPr>
        <p:sp>
          <p:nvSpPr>
            <p:cNvPr id="596" name="Oval 595">
              <a:extLst>
                <a:ext uri="{FF2B5EF4-FFF2-40B4-BE49-F238E27FC236}">
                  <a16:creationId xmlns:a16="http://schemas.microsoft.com/office/drawing/2014/main" id="{65341EEA-0A1C-4504-99F5-4D42CEC62D2A}"/>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597" name="Freeform 41">
              <a:extLst>
                <a:ext uri="{FF2B5EF4-FFF2-40B4-BE49-F238E27FC236}">
                  <a16:creationId xmlns:a16="http://schemas.microsoft.com/office/drawing/2014/main" id="{51E359D6-77A8-4CFC-B071-7D93C536A488}"/>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8" name="Group 29">
            <a:extLst>
              <a:ext uri="{FF2B5EF4-FFF2-40B4-BE49-F238E27FC236}">
                <a16:creationId xmlns:a16="http://schemas.microsoft.com/office/drawing/2014/main" id="{93CC09B8-F968-41A8-B214-141AA4AF960B}"/>
              </a:ext>
            </a:extLst>
          </p:cNvPr>
          <p:cNvGrpSpPr/>
          <p:nvPr/>
        </p:nvGrpSpPr>
        <p:grpSpPr>
          <a:xfrm>
            <a:off x="6268132" y="1603292"/>
            <a:ext cx="302619" cy="317247"/>
            <a:chOff x="4163060" y="2537711"/>
            <a:chExt cx="520926" cy="520926"/>
          </a:xfrm>
        </p:grpSpPr>
        <p:sp>
          <p:nvSpPr>
            <p:cNvPr id="606" name="Oval 605">
              <a:extLst>
                <a:ext uri="{FF2B5EF4-FFF2-40B4-BE49-F238E27FC236}">
                  <a16:creationId xmlns:a16="http://schemas.microsoft.com/office/drawing/2014/main" id="{BC8DBA18-9627-4B1F-B11A-3FDB467F999E}"/>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07" name="Freeform 41">
              <a:extLst>
                <a:ext uri="{FF2B5EF4-FFF2-40B4-BE49-F238E27FC236}">
                  <a16:creationId xmlns:a16="http://schemas.microsoft.com/office/drawing/2014/main" id="{F13CD59C-7C44-4460-A662-CBF7056A4DBD}"/>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08" name="Group 29">
            <a:extLst>
              <a:ext uri="{FF2B5EF4-FFF2-40B4-BE49-F238E27FC236}">
                <a16:creationId xmlns:a16="http://schemas.microsoft.com/office/drawing/2014/main" id="{77E1AA06-B3E8-48CD-9C5D-399E73E40C3B}"/>
              </a:ext>
            </a:extLst>
          </p:cNvPr>
          <p:cNvGrpSpPr/>
          <p:nvPr/>
        </p:nvGrpSpPr>
        <p:grpSpPr>
          <a:xfrm>
            <a:off x="7339817" y="1345406"/>
            <a:ext cx="302619" cy="317247"/>
            <a:chOff x="4163060" y="2537711"/>
            <a:chExt cx="520926" cy="520926"/>
          </a:xfrm>
        </p:grpSpPr>
        <p:sp>
          <p:nvSpPr>
            <p:cNvPr id="609" name="Oval 608">
              <a:extLst>
                <a:ext uri="{FF2B5EF4-FFF2-40B4-BE49-F238E27FC236}">
                  <a16:creationId xmlns:a16="http://schemas.microsoft.com/office/drawing/2014/main" id="{C29DB126-B7DB-4DB0-AF57-3D5726CF2355}"/>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0" name="Freeform 41">
              <a:extLst>
                <a:ext uri="{FF2B5EF4-FFF2-40B4-BE49-F238E27FC236}">
                  <a16:creationId xmlns:a16="http://schemas.microsoft.com/office/drawing/2014/main" id="{ECD2092C-0796-4913-9BD9-12B2633B784C}"/>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1" name="Group 29">
            <a:extLst>
              <a:ext uri="{FF2B5EF4-FFF2-40B4-BE49-F238E27FC236}">
                <a16:creationId xmlns:a16="http://schemas.microsoft.com/office/drawing/2014/main" id="{27CB4948-CFD6-4009-9827-31E3DF98708C}"/>
              </a:ext>
            </a:extLst>
          </p:cNvPr>
          <p:cNvGrpSpPr/>
          <p:nvPr/>
        </p:nvGrpSpPr>
        <p:grpSpPr>
          <a:xfrm>
            <a:off x="6903626" y="2244574"/>
            <a:ext cx="302619" cy="317247"/>
            <a:chOff x="4163060" y="2537711"/>
            <a:chExt cx="520926" cy="520926"/>
          </a:xfrm>
        </p:grpSpPr>
        <p:sp>
          <p:nvSpPr>
            <p:cNvPr id="612" name="Oval 611">
              <a:extLst>
                <a:ext uri="{FF2B5EF4-FFF2-40B4-BE49-F238E27FC236}">
                  <a16:creationId xmlns:a16="http://schemas.microsoft.com/office/drawing/2014/main" id="{C2EA128A-9593-4066-A311-92023D1336A2}"/>
                </a:ext>
              </a:extLst>
            </p:cNvPr>
            <p:cNvSpPr/>
            <p:nvPr/>
          </p:nvSpPr>
          <p:spPr>
            <a:xfrm>
              <a:off x="4163060" y="2537711"/>
              <a:ext cx="520926" cy="520926"/>
            </a:xfrm>
            <a:prstGeom prst="ellipse">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456917">
                <a:defRPr/>
              </a:pPr>
              <a:endParaRPr lang="en-US" dirty="0">
                <a:solidFill>
                  <a:srgbClr val="FFFFFF"/>
                </a:solidFill>
                <a:latin typeface="CiscoSansTT ExtraLight"/>
              </a:endParaRPr>
            </a:p>
          </p:txBody>
        </p:sp>
        <p:sp>
          <p:nvSpPr>
            <p:cNvPr id="613" name="Freeform 41">
              <a:extLst>
                <a:ext uri="{FF2B5EF4-FFF2-40B4-BE49-F238E27FC236}">
                  <a16:creationId xmlns:a16="http://schemas.microsoft.com/office/drawing/2014/main" id="{3BB0BD81-E52E-46C9-B6D9-9D0FA3285610}"/>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4" name="Group 29">
            <a:extLst>
              <a:ext uri="{FF2B5EF4-FFF2-40B4-BE49-F238E27FC236}">
                <a16:creationId xmlns:a16="http://schemas.microsoft.com/office/drawing/2014/main" id="{E7DB4215-9524-48BF-B8E5-684CCDF82591}"/>
              </a:ext>
            </a:extLst>
          </p:cNvPr>
          <p:cNvGrpSpPr/>
          <p:nvPr/>
        </p:nvGrpSpPr>
        <p:grpSpPr>
          <a:xfrm>
            <a:off x="6275388" y="2823251"/>
            <a:ext cx="302619" cy="317247"/>
            <a:chOff x="4163060" y="2537711"/>
            <a:chExt cx="520926" cy="520926"/>
          </a:xfrm>
        </p:grpSpPr>
        <p:sp>
          <p:nvSpPr>
            <p:cNvPr id="615" name="Oval 614">
              <a:extLst>
                <a:ext uri="{FF2B5EF4-FFF2-40B4-BE49-F238E27FC236}">
                  <a16:creationId xmlns:a16="http://schemas.microsoft.com/office/drawing/2014/main" id="{1B5E7FBB-EC69-4268-8826-A2B262641679}"/>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6" name="Freeform 41">
              <a:extLst>
                <a:ext uri="{FF2B5EF4-FFF2-40B4-BE49-F238E27FC236}">
                  <a16:creationId xmlns:a16="http://schemas.microsoft.com/office/drawing/2014/main" id="{8D9FDE30-D3C3-468F-993B-2658B6109CE6}"/>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7" name="Group 29">
            <a:extLst>
              <a:ext uri="{FF2B5EF4-FFF2-40B4-BE49-F238E27FC236}">
                <a16:creationId xmlns:a16="http://schemas.microsoft.com/office/drawing/2014/main" id="{CB4C2803-1D31-473D-B05B-14FECC0FEBD9}"/>
              </a:ext>
            </a:extLst>
          </p:cNvPr>
          <p:cNvGrpSpPr/>
          <p:nvPr/>
        </p:nvGrpSpPr>
        <p:grpSpPr>
          <a:xfrm>
            <a:off x="7155101" y="3370835"/>
            <a:ext cx="302619" cy="317247"/>
            <a:chOff x="4163060" y="2537711"/>
            <a:chExt cx="520926" cy="520926"/>
          </a:xfrm>
        </p:grpSpPr>
        <p:sp>
          <p:nvSpPr>
            <p:cNvPr id="618" name="Oval 617">
              <a:extLst>
                <a:ext uri="{FF2B5EF4-FFF2-40B4-BE49-F238E27FC236}">
                  <a16:creationId xmlns:a16="http://schemas.microsoft.com/office/drawing/2014/main" id="{EC8B7BA3-44FD-4707-8DDB-3F73C5745317}"/>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9" name="Freeform 41">
              <a:extLst>
                <a:ext uri="{FF2B5EF4-FFF2-40B4-BE49-F238E27FC236}">
                  <a16:creationId xmlns:a16="http://schemas.microsoft.com/office/drawing/2014/main" id="{2C7B4928-6595-43BB-AD82-7D69319B999A}"/>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cxnSp>
        <p:nvCxnSpPr>
          <p:cNvPr id="32" name="Straight Connector 31">
            <a:extLst>
              <a:ext uri="{FF2B5EF4-FFF2-40B4-BE49-F238E27FC236}">
                <a16:creationId xmlns:a16="http://schemas.microsoft.com/office/drawing/2014/main" id="{C7EB0EA3-A702-4528-B1C9-ABAA7A5B3B4C}"/>
              </a:ext>
            </a:extLst>
          </p:cNvPr>
          <p:cNvCxnSpPr>
            <a:cxnSpLocks/>
            <a:stCxn id="596" idx="5"/>
            <a:endCxn id="525" idx="2"/>
          </p:cNvCxnSpPr>
          <p:nvPr/>
        </p:nvCxnSpPr>
        <p:spPr>
          <a:xfrm>
            <a:off x="5997808" y="2253282"/>
            <a:ext cx="968435" cy="331126"/>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0" name="Straight Connector 69">
            <a:extLst>
              <a:ext uri="{FF2B5EF4-FFF2-40B4-BE49-F238E27FC236}">
                <a16:creationId xmlns:a16="http://schemas.microsoft.com/office/drawing/2014/main" id="{685B54BB-7668-4C43-8B50-4969C55EF348}"/>
              </a:ext>
            </a:extLst>
          </p:cNvPr>
          <p:cNvCxnSpPr>
            <a:cxnSpLocks/>
            <a:stCxn id="606" idx="5"/>
            <a:endCxn id="525" idx="1"/>
          </p:cNvCxnSpPr>
          <p:nvPr/>
        </p:nvCxnSpPr>
        <p:spPr>
          <a:xfrm>
            <a:off x="6526434" y="1874080"/>
            <a:ext cx="464419" cy="65091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3" name="Straight Connector 72">
            <a:extLst>
              <a:ext uri="{FF2B5EF4-FFF2-40B4-BE49-F238E27FC236}">
                <a16:creationId xmlns:a16="http://schemas.microsoft.com/office/drawing/2014/main" id="{2DCDD96F-61C1-4EFA-BD1B-F57C6A13A1FC}"/>
              </a:ext>
            </a:extLst>
          </p:cNvPr>
          <p:cNvCxnSpPr>
            <a:cxnSpLocks/>
            <a:stCxn id="612" idx="4"/>
          </p:cNvCxnSpPr>
          <p:nvPr/>
        </p:nvCxnSpPr>
        <p:spPr>
          <a:xfrm flipH="1">
            <a:off x="7023021" y="2561821"/>
            <a:ext cx="31914" cy="384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13D577-06EB-4CA4-973B-BD002BEDF6E7}"/>
              </a:ext>
            </a:extLst>
          </p:cNvPr>
          <p:cNvCxnSpPr>
            <a:cxnSpLocks/>
            <a:stCxn id="609" idx="4"/>
            <a:endCxn id="525" idx="7"/>
          </p:cNvCxnSpPr>
          <p:nvPr/>
        </p:nvCxnSpPr>
        <p:spPr>
          <a:xfrm flipH="1">
            <a:off x="7109678" y="1662653"/>
            <a:ext cx="381449" cy="862341"/>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7" name="Straight Connector 76">
            <a:extLst>
              <a:ext uri="{FF2B5EF4-FFF2-40B4-BE49-F238E27FC236}">
                <a16:creationId xmlns:a16="http://schemas.microsoft.com/office/drawing/2014/main" id="{5B2818DB-830E-4AD7-B13B-996AAE83C77B}"/>
              </a:ext>
            </a:extLst>
          </p:cNvPr>
          <p:cNvCxnSpPr>
            <a:cxnSpLocks/>
            <a:stCxn id="615" idx="6"/>
            <a:endCxn id="525" idx="3"/>
          </p:cNvCxnSpPr>
          <p:nvPr/>
        </p:nvCxnSpPr>
        <p:spPr>
          <a:xfrm flipV="1">
            <a:off x="6578007" y="2643820"/>
            <a:ext cx="412845" cy="33805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0" name="Straight Connector 79">
            <a:extLst>
              <a:ext uri="{FF2B5EF4-FFF2-40B4-BE49-F238E27FC236}">
                <a16:creationId xmlns:a16="http://schemas.microsoft.com/office/drawing/2014/main" id="{65C2C988-5928-40F4-9D29-E0484818AB7A}"/>
              </a:ext>
            </a:extLst>
          </p:cNvPr>
          <p:cNvCxnSpPr>
            <a:cxnSpLocks/>
            <a:stCxn id="541" idx="6"/>
            <a:endCxn id="525" idx="2"/>
          </p:cNvCxnSpPr>
          <p:nvPr/>
        </p:nvCxnSpPr>
        <p:spPr>
          <a:xfrm flipV="1">
            <a:off x="5585540" y="2584407"/>
            <a:ext cx="1380702" cy="542495"/>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3" name="Straight Connector 82">
            <a:extLst>
              <a:ext uri="{FF2B5EF4-FFF2-40B4-BE49-F238E27FC236}">
                <a16:creationId xmlns:a16="http://schemas.microsoft.com/office/drawing/2014/main" id="{6096C28E-B668-4D25-B65D-9E575C33A5B3}"/>
              </a:ext>
            </a:extLst>
          </p:cNvPr>
          <p:cNvCxnSpPr>
            <a:stCxn id="618" idx="0"/>
            <a:endCxn id="525" idx="4"/>
          </p:cNvCxnSpPr>
          <p:nvPr/>
        </p:nvCxnSpPr>
        <p:spPr>
          <a:xfrm flipH="1" flipV="1">
            <a:off x="7050265" y="2668430"/>
            <a:ext cx="256146" cy="702405"/>
          </a:xfrm>
          <a:prstGeom prst="line">
            <a:avLst/>
          </a:prstGeom>
          <a:ln/>
        </p:spPr>
        <p:style>
          <a:lnRef idx="1">
            <a:schemeClr val="accent3"/>
          </a:lnRef>
          <a:fillRef idx="0">
            <a:schemeClr val="accent3"/>
          </a:fillRef>
          <a:effectRef idx="0">
            <a:schemeClr val="accent3"/>
          </a:effectRef>
          <a:fontRef idx="minor">
            <a:schemeClr val="tx1"/>
          </a:fontRef>
        </p:style>
      </p:cxnSp>
      <p:sp>
        <p:nvSpPr>
          <p:cNvPr id="94" name="Freeform: Shape 93">
            <a:extLst>
              <a:ext uri="{FF2B5EF4-FFF2-40B4-BE49-F238E27FC236}">
                <a16:creationId xmlns:a16="http://schemas.microsoft.com/office/drawing/2014/main" id="{F2C417E4-D4A9-44AA-9830-F1BE0AA19845}"/>
              </a:ext>
            </a:extLst>
          </p:cNvPr>
          <p:cNvSpPr/>
          <p:nvPr/>
        </p:nvSpPr>
        <p:spPr>
          <a:xfrm>
            <a:off x="6122147" y="2153242"/>
            <a:ext cx="2192937" cy="2787034"/>
          </a:xfrm>
          <a:custGeom>
            <a:avLst/>
            <a:gdLst>
              <a:gd name="connsiteX0" fmla="*/ 1162112 w 2923916"/>
              <a:gd name="connsiteY0" fmla="*/ 575226 h 3628485"/>
              <a:gd name="connsiteX1" fmla="*/ 285812 w 2923916"/>
              <a:gd name="connsiteY1" fmla="*/ 3726 h 3628485"/>
              <a:gd name="connsiteX2" fmla="*/ 19112 w 2923916"/>
              <a:gd name="connsiteY2" fmla="*/ 365676 h 3628485"/>
              <a:gd name="connsiteX3" fmla="*/ 76262 w 2923916"/>
              <a:gd name="connsiteY3" fmla="*/ 1080051 h 3628485"/>
              <a:gd name="connsiteX4" fmla="*/ 514412 w 2923916"/>
              <a:gd name="connsiteY4" fmla="*/ 1689651 h 3628485"/>
              <a:gd name="connsiteX5" fmla="*/ 1266887 w 2923916"/>
              <a:gd name="connsiteY5" fmla="*/ 1946826 h 3628485"/>
              <a:gd name="connsiteX6" fmla="*/ 1600262 w 2923916"/>
              <a:gd name="connsiteY6" fmla="*/ 2670726 h 3628485"/>
              <a:gd name="connsiteX7" fmla="*/ 2762312 w 2923916"/>
              <a:gd name="connsiteY7" fmla="*/ 3508926 h 3628485"/>
              <a:gd name="connsiteX8" fmla="*/ 2886137 w 2923916"/>
              <a:gd name="connsiteY8" fmla="*/ 3604176 h 362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3916" h="3628485">
                <a:moveTo>
                  <a:pt x="1162112" y="575226"/>
                </a:moveTo>
                <a:cubicBezTo>
                  <a:pt x="819212" y="306938"/>
                  <a:pt x="476312" y="38651"/>
                  <a:pt x="285812" y="3726"/>
                </a:cubicBezTo>
                <a:cubicBezTo>
                  <a:pt x="95312" y="-31199"/>
                  <a:pt x="54037" y="186289"/>
                  <a:pt x="19112" y="365676"/>
                </a:cubicBezTo>
                <a:cubicBezTo>
                  <a:pt x="-15813" y="545063"/>
                  <a:pt x="-6288" y="859389"/>
                  <a:pt x="76262" y="1080051"/>
                </a:cubicBezTo>
                <a:cubicBezTo>
                  <a:pt x="158812" y="1300713"/>
                  <a:pt x="315975" y="1545189"/>
                  <a:pt x="514412" y="1689651"/>
                </a:cubicBezTo>
                <a:cubicBezTo>
                  <a:pt x="712849" y="1834113"/>
                  <a:pt x="1085912" y="1783314"/>
                  <a:pt x="1266887" y="1946826"/>
                </a:cubicBezTo>
                <a:cubicBezTo>
                  <a:pt x="1447862" y="2110338"/>
                  <a:pt x="1351024" y="2410376"/>
                  <a:pt x="1600262" y="2670726"/>
                </a:cubicBezTo>
                <a:cubicBezTo>
                  <a:pt x="1849500" y="2931076"/>
                  <a:pt x="2548000" y="3353351"/>
                  <a:pt x="2762312" y="3508926"/>
                </a:cubicBezTo>
                <a:cubicBezTo>
                  <a:pt x="2976625" y="3664501"/>
                  <a:pt x="2931381" y="3634338"/>
                  <a:pt x="2886137" y="3604176"/>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sp>
        <p:nvSpPr>
          <p:cNvPr id="96" name="Freeform: Shape 95">
            <a:extLst>
              <a:ext uri="{FF2B5EF4-FFF2-40B4-BE49-F238E27FC236}">
                <a16:creationId xmlns:a16="http://schemas.microsoft.com/office/drawing/2014/main" id="{3F8BFE22-2214-497E-BF03-EBB9CB38F4DE}"/>
              </a:ext>
            </a:extLst>
          </p:cNvPr>
          <p:cNvSpPr/>
          <p:nvPr/>
        </p:nvSpPr>
        <p:spPr>
          <a:xfrm>
            <a:off x="5931265" y="411849"/>
            <a:ext cx="1091042" cy="2131327"/>
          </a:xfrm>
          <a:custGeom>
            <a:avLst/>
            <a:gdLst>
              <a:gd name="connsiteX0" fmla="*/ 1454722 w 1454722"/>
              <a:gd name="connsiteY0" fmla="*/ 2841769 h 2841769"/>
              <a:gd name="connsiteX1" fmla="*/ 521272 w 1454722"/>
              <a:gd name="connsiteY1" fmla="*/ 2175019 h 2841769"/>
              <a:gd name="connsiteX2" fmla="*/ 149797 w 1454722"/>
              <a:gd name="connsiteY2" fmla="*/ 641494 h 2841769"/>
              <a:gd name="connsiteX3" fmla="*/ 6922 w 1454722"/>
              <a:gd name="connsiteY3" fmla="*/ 50944 h 2841769"/>
              <a:gd name="connsiteX4" fmla="*/ 35497 w 1454722"/>
              <a:gd name="connsiteY4" fmla="*/ 69994 h 284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722" h="2841769">
                <a:moveTo>
                  <a:pt x="1454722" y="2841769"/>
                </a:moveTo>
                <a:cubicBezTo>
                  <a:pt x="1096740" y="2691750"/>
                  <a:pt x="738759" y="2541731"/>
                  <a:pt x="521272" y="2175019"/>
                </a:cubicBezTo>
                <a:cubicBezTo>
                  <a:pt x="303785" y="1808307"/>
                  <a:pt x="149797" y="641494"/>
                  <a:pt x="149797" y="641494"/>
                </a:cubicBezTo>
                <a:lnTo>
                  <a:pt x="6922" y="50944"/>
                </a:lnTo>
                <a:cubicBezTo>
                  <a:pt x="-12128" y="-44306"/>
                  <a:pt x="11684" y="12844"/>
                  <a:pt x="35497" y="69994"/>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grpSp>
        <p:nvGrpSpPr>
          <p:cNvPr id="524" name="Group 523">
            <a:extLst>
              <a:ext uri="{FF2B5EF4-FFF2-40B4-BE49-F238E27FC236}">
                <a16:creationId xmlns:a16="http://schemas.microsoft.com/office/drawing/2014/main" id="{E1663DD4-DA51-4B2D-B167-258896EFE2D0}"/>
              </a:ext>
            </a:extLst>
          </p:cNvPr>
          <p:cNvGrpSpPr/>
          <p:nvPr/>
        </p:nvGrpSpPr>
        <p:grpSpPr>
          <a:xfrm>
            <a:off x="6966242" y="2500385"/>
            <a:ext cx="168045" cy="168045"/>
            <a:chOff x="4083769" y="2552776"/>
            <a:chExt cx="529089" cy="529089"/>
          </a:xfrm>
        </p:grpSpPr>
        <p:sp>
          <p:nvSpPr>
            <p:cNvPr id="525" name="Oval 524">
              <a:extLst>
                <a:ext uri="{FF2B5EF4-FFF2-40B4-BE49-F238E27FC236}">
                  <a16:creationId xmlns:a16="http://schemas.microsoft.com/office/drawing/2014/main" id="{85034D52-F106-4E56-A399-DDE2C758F1FB}"/>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6" name="Freeform: Shape 298">
              <a:extLst>
                <a:ext uri="{FF2B5EF4-FFF2-40B4-BE49-F238E27FC236}">
                  <a16:creationId xmlns:a16="http://schemas.microsoft.com/office/drawing/2014/main" id="{4A1CAA4F-2377-434A-9F13-9E763294C0D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299">
              <a:extLst>
                <a:ext uri="{FF2B5EF4-FFF2-40B4-BE49-F238E27FC236}">
                  <a16:creationId xmlns:a16="http://schemas.microsoft.com/office/drawing/2014/main" id="{13B65276-0B83-4462-9EB0-03C4032ECC9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1">
              <a:extLst>
                <a:ext uri="{FF2B5EF4-FFF2-40B4-BE49-F238E27FC236}">
                  <a16:creationId xmlns:a16="http://schemas.microsoft.com/office/drawing/2014/main" id="{7F8006FB-D45A-4C5F-8CE1-B64192D41C3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9" name="Freeform: Shape 302">
              <a:extLst>
                <a:ext uri="{FF2B5EF4-FFF2-40B4-BE49-F238E27FC236}">
                  <a16:creationId xmlns:a16="http://schemas.microsoft.com/office/drawing/2014/main" id="{7EA827F4-EB63-4832-92DB-DCB54240DDB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43" name="Rectangle 542">
            <a:extLst>
              <a:ext uri="{FF2B5EF4-FFF2-40B4-BE49-F238E27FC236}">
                <a16:creationId xmlns:a16="http://schemas.microsoft.com/office/drawing/2014/main" id="{1CA191C2-EE9F-47A0-995B-A18CAB4D8D68}"/>
              </a:ext>
            </a:extLst>
          </p:cNvPr>
          <p:cNvSpPr/>
          <p:nvPr/>
        </p:nvSpPr>
        <p:spPr>
          <a:xfrm>
            <a:off x="7229671" y="2079867"/>
            <a:ext cx="1671565" cy="12522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200" dirty="0"/>
              <a:t>NCS 540 / NCS 560</a:t>
            </a:r>
          </a:p>
          <a:p>
            <a:pPr algn="ctr"/>
            <a:r>
              <a:rPr lang="en-ZA" sz="1200" dirty="0"/>
              <a:t>Dense 1/10/100GE + DWDM for backhaul</a:t>
            </a:r>
            <a:endParaRPr lang="en-GB" sz="1200" dirty="0"/>
          </a:p>
        </p:txBody>
      </p:sp>
      <p:sp>
        <p:nvSpPr>
          <p:cNvPr id="593" name="Rectangle 592">
            <a:extLst>
              <a:ext uri="{FF2B5EF4-FFF2-40B4-BE49-F238E27FC236}">
                <a16:creationId xmlns:a16="http://schemas.microsoft.com/office/drawing/2014/main" id="{315D4C3E-1340-43BB-B3FA-45BB46613170}"/>
              </a:ext>
            </a:extLst>
          </p:cNvPr>
          <p:cNvSpPr/>
          <p:nvPr/>
        </p:nvSpPr>
        <p:spPr>
          <a:xfrm>
            <a:off x="5514569" y="3311194"/>
            <a:ext cx="1416298" cy="58964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200" dirty="0">
                <a:solidFill>
                  <a:schemeClr val="bg2"/>
                </a:solidFill>
              </a:rPr>
              <a:t>NCS 540 or NCS 520</a:t>
            </a:r>
            <a:endParaRPr lang="en-GB" sz="1200" dirty="0">
              <a:solidFill>
                <a:schemeClr val="bg2"/>
              </a:solidFill>
            </a:endParaRPr>
          </a:p>
        </p:txBody>
      </p:sp>
      <p:sp>
        <p:nvSpPr>
          <p:cNvPr id="594" name="Rectangle 593">
            <a:extLst>
              <a:ext uri="{FF2B5EF4-FFF2-40B4-BE49-F238E27FC236}">
                <a16:creationId xmlns:a16="http://schemas.microsoft.com/office/drawing/2014/main" id="{A8BF5835-F9BD-41AB-82EE-0B3CEB16908E}"/>
              </a:ext>
            </a:extLst>
          </p:cNvPr>
          <p:cNvSpPr/>
          <p:nvPr/>
        </p:nvSpPr>
        <p:spPr>
          <a:xfrm>
            <a:off x="4513732" y="1616952"/>
            <a:ext cx="1826930" cy="1296348"/>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ZA" sz="1200" dirty="0"/>
              <a:t>Microwave can be connected to ethernet on either end.</a:t>
            </a:r>
            <a:endParaRPr lang="en-GB" sz="1200" dirty="0"/>
          </a:p>
        </p:txBody>
      </p:sp>
    </p:spTree>
    <p:extLst>
      <p:ext uri="{BB962C8B-B14F-4D97-AF65-F5344CB8AC3E}">
        <p14:creationId xmlns:p14="http://schemas.microsoft.com/office/powerpoint/2010/main" val="316822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297440" y="3288128"/>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43343" y="2135212"/>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a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Debre 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
        <p:nvSpPr>
          <p:cNvPr id="505" name="Isosceles Triangle 504">
            <a:extLst>
              <a:ext uri="{FF2B5EF4-FFF2-40B4-BE49-F238E27FC236}">
                <a16:creationId xmlns:a16="http://schemas.microsoft.com/office/drawing/2014/main" id="{F1893565-0AFF-4623-B9C2-104843C39C96}"/>
              </a:ext>
            </a:extLst>
          </p:cNvPr>
          <p:cNvSpPr/>
          <p:nvPr/>
        </p:nvSpPr>
        <p:spPr>
          <a:xfrm rot="2564761">
            <a:off x="3728104" y="1545416"/>
            <a:ext cx="2472603" cy="2610207"/>
          </a:xfrm>
          <a:prstGeom prst="triangle">
            <a:avLst>
              <a:gd name="adj" fmla="val 0"/>
            </a:avLst>
          </a:prstGeom>
          <a:gradFill flip="none" rotWithShape="1">
            <a:gsLst>
              <a:gs pos="40000">
                <a:schemeClr val="bg2"/>
              </a:gs>
              <a:gs pos="0">
                <a:schemeClr val="accent4"/>
              </a:gs>
            </a:gsLst>
            <a:lin ang="189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523" name="Rectangle: Rounded Corners 522">
            <a:extLst>
              <a:ext uri="{FF2B5EF4-FFF2-40B4-BE49-F238E27FC236}">
                <a16:creationId xmlns:a16="http://schemas.microsoft.com/office/drawing/2014/main" id="{72F01608-9876-40AB-B97C-C77D0CC5D7F2}"/>
              </a:ext>
            </a:extLst>
          </p:cNvPr>
          <p:cNvSpPr/>
          <p:nvPr/>
        </p:nvSpPr>
        <p:spPr>
          <a:xfrm>
            <a:off x="4664344" y="456272"/>
            <a:ext cx="3754247" cy="4512260"/>
          </a:xfrm>
          <a:prstGeom prst="roundRect">
            <a:avLst/>
          </a:prstGeom>
          <a:blipFill dpi="0" rotWithShape="1">
            <a:blip r:embed="rId3"/>
            <a:srcRect/>
            <a:stretch>
              <a:fillRect l="-7000" r="-2000"/>
            </a:stretch>
          </a:blip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0" name="Arrow: Right 29">
            <a:extLst>
              <a:ext uri="{FF2B5EF4-FFF2-40B4-BE49-F238E27FC236}">
                <a16:creationId xmlns:a16="http://schemas.microsoft.com/office/drawing/2014/main" id="{AEC97C19-AC02-4253-9B48-BCCA68F50684}"/>
              </a:ext>
            </a:extLst>
          </p:cNvPr>
          <p:cNvSpPr/>
          <p:nvPr/>
        </p:nvSpPr>
        <p:spPr>
          <a:xfrm rot="16200000">
            <a:off x="6117472" y="620649"/>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7" name="Rectangle 536">
            <a:extLst>
              <a:ext uri="{FF2B5EF4-FFF2-40B4-BE49-F238E27FC236}">
                <a16:creationId xmlns:a16="http://schemas.microsoft.com/office/drawing/2014/main" id="{B5E60C12-0097-4BD7-B46E-FAF0AA7F774A}"/>
              </a:ext>
            </a:extLst>
          </p:cNvPr>
          <p:cNvSpPr/>
          <p:nvPr/>
        </p:nvSpPr>
        <p:spPr>
          <a:xfrm>
            <a:off x="7898064" y="4386111"/>
            <a:ext cx="419600"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Gore</a:t>
            </a:r>
            <a:endParaRPr lang="en-GB" sz="700" dirty="0">
              <a:solidFill>
                <a:srgbClr val="0D274D"/>
              </a:solidFill>
              <a:latin typeface="CiscoSansTT ExtraLight"/>
            </a:endParaRPr>
          </a:p>
        </p:txBody>
      </p:sp>
      <p:sp>
        <p:nvSpPr>
          <p:cNvPr id="538" name="Rectangle 537">
            <a:extLst>
              <a:ext uri="{FF2B5EF4-FFF2-40B4-BE49-F238E27FC236}">
                <a16:creationId xmlns:a16="http://schemas.microsoft.com/office/drawing/2014/main" id="{37EF48BB-7456-43F5-83EF-FBA9F3748ED1}"/>
              </a:ext>
            </a:extLst>
          </p:cNvPr>
          <p:cNvSpPr/>
          <p:nvPr/>
        </p:nvSpPr>
        <p:spPr>
          <a:xfrm>
            <a:off x="6420360" y="728242"/>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mbi</a:t>
            </a:r>
            <a:endParaRPr lang="en-GB" sz="700" dirty="0">
              <a:solidFill>
                <a:srgbClr val="0D274D"/>
              </a:solidFill>
              <a:latin typeface="CiscoSansTT ExtraLight"/>
            </a:endParaRPr>
          </a:p>
        </p:txBody>
      </p:sp>
      <p:sp>
        <p:nvSpPr>
          <p:cNvPr id="539" name="Arrow: Right 538">
            <a:extLst>
              <a:ext uri="{FF2B5EF4-FFF2-40B4-BE49-F238E27FC236}">
                <a16:creationId xmlns:a16="http://schemas.microsoft.com/office/drawing/2014/main" id="{4EACC18C-96F8-4E13-95DD-3D5DB10BF4E6}"/>
              </a:ext>
            </a:extLst>
          </p:cNvPr>
          <p:cNvSpPr/>
          <p:nvPr/>
        </p:nvSpPr>
        <p:spPr>
          <a:xfrm rot="2545325">
            <a:off x="7790589" y="4617076"/>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40" name="Group 29">
            <a:extLst>
              <a:ext uri="{FF2B5EF4-FFF2-40B4-BE49-F238E27FC236}">
                <a16:creationId xmlns:a16="http://schemas.microsoft.com/office/drawing/2014/main" id="{A5F2AF66-2214-4951-A65E-E9CAE2DC79C7}"/>
              </a:ext>
            </a:extLst>
          </p:cNvPr>
          <p:cNvGrpSpPr/>
          <p:nvPr/>
        </p:nvGrpSpPr>
        <p:grpSpPr>
          <a:xfrm>
            <a:off x="5282921" y="2968278"/>
            <a:ext cx="302619" cy="317247"/>
            <a:chOff x="4163060" y="2537711"/>
            <a:chExt cx="520926" cy="520926"/>
          </a:xfrm>
        </p:grpSpPr>
        <p:sp>
          <p:nvSpPr>
            <p:cNvPr id="541" name="Oval 540">
              <a:extLst>
                <a:ext uri="{FF2B5EF4-FFF2-40B4-BE49-F238E27FC236}">
                  <a16:creationId xmlns:a16="http://schemas.microsoft.com/office/drawing/2014/main" id="{BF9B52A4-50AD-4090-98F7-A8514D6D41F4}"/>
                </a:ext>
              </a:extLst>
            </p:cNvPr>
            <p:cNvSpPr/>
            <p:nvPr/>
          </p:nvSpPr>
          <p:spPr>
            <a:xfrm>
              <a:off x="4163060" y="2537711"/>
              <a:ext cx="520926" cy="520926"/>
            </a:xfrm>
            <a:prstGeom prst="ellipse">
              <a:avLst/>
            </a:pr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defTabSz="456917">
                <a:defRPr/>
              </a:pPr>
              <a:endParaRPr lang="en-US" dirty="0">
                <a:solidFill>
                  <a:srgbClr val="FFFFFF"/>
                </a:solidFill>
                <a:latin typeface="CiscoSansTT ExtraLight"/>
              </a:endParaRPr>
            </a:p>
          </p:txBody>
        </p:sp>
        <p:sp>
          <p:nvSpPr>
            <p:cNvPr id="542" name="Freeform 41">
              <a:extLst>
                <a:ext uri="{FF2B5EF4-FFF2-40B4-BE49-F238E27FC236}">
                  <a16:creationId xmlns:a16="http://schemas.microsoft.com/office/drawing/2014/main" id="{A56A3E57-A0C9-477B-81EC-EC35AEBBBF77}"/>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5" name="Group 29">
            <a:extLst>
              <a:ext uri="{FF2B5EF4-FFF2-40B4-BE49-F238E27FC236}">
                <a16:creationId xmlns:a16="http://schemas.microsoft.com/office/drawing/2014/main" id="{9B7D416B-937A-4362-9916-A04800C1BBAA}"/>
              </a:ext>
            </a:extLst>
          </p:cNvPr>
          <p:cNvGrpSpPr/>
          <p:nvPr/>
        </p:nvGrpSpPr>
        <p:grpSpPr>
          <a:xfrm>
            <a:off x="5739506" y="1982494"/>
            <a:ext cx="302619" cy="317247"/>
            <a:chOff x="4163060" y="2537711"/>
            <a:chExt cx="520926" cy="520926"/>
          </a:xfrm>
        </p:grpSpPr>
        <p:sp>
          <p:nvSpPr>
            <p:cNvPr id="596" name="Oval 595">
              <a:extLst>
                <a:ext uri="{FF2B5EF4-FFF2-40B4-BE49-F238E27FC236}">
                  <a16:creationId xmlns:a16="http://schemas.microsoft.com/office/drawing/2014/main" id="{65341EEA-0A1C-4504-99F5-4D42CEC62D2A}"/>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597" name="Freeform 41">
              <a:extLst>
                <a:ext uri="{FF2B5EF4-FFF2-40B4-BE49-F238E27FC236}">
                  <a16:creationId xmlns:a16="http://schemas.microsoft.com/office/drawing/2014/main" id="{51E359D6-77A8-4CFC-B071-7D93C536A488}"/>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8" name="Group 29">
            <a:extLst>
              <a:ext uri="{FF2B5EF4-FFF2-40B4-BE49-F238E27FC236}">
                <a16:creationId xmlns:a16="http://schemas.microsoft.com/office/drawing/2014/main" id="{93CC09B8-F968-41A8-B214-141AA4AF960B}"/>
              </a:ext>
            </a:extLst>
          </p:cNvPr>
          <p:cNvGrpSpPr/>
          <p:nvPr/>
        </p:nvGrpSpPr>
        <p:grpSpPr>
          <a:xfrm>
            <a:off x="6268132" y="1603292"/>
            <a:ext cx="302619" cy="317247"/>
            <a:chOff x="4163060" y="2537711"/>
            <a:chExt cx="520926" cy="520926"/>
          </a:xfrm>
        </p:grpSpPr>
        <p:sp>
          <p:nvSpPr>
            <p:cNvPr id="606" name="Oval 605">
              <a:extLst>
                <a:ext uri="{FF2B5EF4-FFF2-40B4-BE49-F238E27FC236}">
                  <a16:creationId xmlns:a16="http://schemas.microsoft.com/office/drawing/2014/main" id="{BC8DBA18-9627-4B1F-B11A-3FDB467F999E}"/>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07" name="Freeform 41">
              <a:extLst>
                <a:ext uri="{FF2B5EF4-FFF2-40B4-BE49-F238E27FC236}">
                  <a16:creationId xmlns:a16="http://schemas.microsoft.com/office/drawing/2014/main" id="{F13CD59C-7C44-4460-A662-CBF7056A4DBD}"/>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08" name="Group 29">
            <a:extLst>
              <a:ext uri="{FF2B5EF4-FFF2-40B4-BE49-F238E27FC236}">
                <a16:creationId xmlns:a16="http://schemas.microsoft.com/office/drawing/2014/main" id="{77E1AA06-B3E8-48CD-9C5D-399E73E40C3B}"/>
              </a:ext>
            </a:extLst>
          </p:cNvPr>
          <p:cNvGrpSpPr/>
          <p:nvPr/>
        </p:nvGrpSpPr>
        <p:grpSpPr>
          <a:xfrm>
            <a:off x="7339817" y="1345406"/>
            <a:ext cx="302619" cy="317247"/>
            <a:chOff x="4163060" y="2537711"/>
            <a:chExt cx="520926" cy="520926"/>
          </a:xfrm>
        </p:grpSpPr>
        <p:sp>
          <p:nvSpPr>
            <p:cNvPr id="609" name="Oval 608">
              <a:extLst>
                <a:ext uri="{FF2B5EF4-FFF2-40B4-BE49-F238E27FC236}">
                  <a16:creationId xmlns:a16="http://schemas.microsoft.com/office/drawing/2014/main" id="{C29DB126-B7DB-4DB0-AF57-3D5726CF2355}"/>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0" name="Freeform 41">
              <a:extLst>
                <a:ext uri="{FF2B5EF4-FFF2-40B4-BE49-F238E27FC236}">
                  <a16:creationId xmlns:a16="http://schemas.microsoft.com/office/drawing/2014/main" id="{ECD2092C-0796-4913-9BD9-12B2633B784C}"/>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1" name="Group 29">
            <a:extLst>
              <a:ext uri="{FF2B5EF4-FFF2-40B4-BE49-F238E27FC236}">
                <a16:creationId xmlns:a16="http://schemas.microsoft.com/office/drawing/2014/main" id="{27CB4948-CFD6-4009-9827-31E3DF98708C}"/>
              </a:ext>
            </a:extLst>
          </p:cNvPr>
          <p:cNvGrpSpPr/>
          <p:nvPr/>
        </p:nvGrpSpPr>
        <p:grpSpPr>
          <a:xfrm>
            <a:off x="6903626" y="2244574"/>
            <a:ext cx="302619" cy="317247"/>
            <a:chOff x="4163060" y="2537711"/>
            <a:chExt cx="520926" cy="520926"/>
          </a:xfrm>
        </p:grpSpPr>
        <p:sp>
          <p:nvSpPr>
            <p:cNvPr id="612" name="Oval 611">
              <a:extLst>
                <a:ext uri="{FF2B5EF4-FFF2-40B4-BE49-F238E27FC236}">
                  <a16:creationId xmlns:a16="http://schemas.microsoft.com/office/drawing/2014/main" id="{C2EA128A-9593-4066-A311-92023D1336A2}"/>
                </a:ext>
              </a:extLst>
            </p:cNvPr>
            <p:cNvSpPr/>
            <p:nvPr/>
          </p:nvSpPr>
          <p:spPr>
            <a:xfrm>
              <a:off x="4163060" y="2537711"/>
              <a:ext cx="520926" cy="520926"/>
            </a:xfrm>
            <a:prstGeom prst="ellipse">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456917">
                <a:defRPr/>
              </a:pPr>
              <a:endParaRPr lang="en-US" dirty="0">
                <a:solidFill>
                  <a:srgbClr val="FFFFFF"/>
                </a:solidFill>
                <a:latin typeface="CiscoSansTT ExtraLight"/>
              </a:endParaRPr>
            </a:p>
          </p:txBody>
        </p:sp>
        <p:sp>
          <p:nvSpPr>
            <p:cNvPr id="613" name="Freeform 41">
              <a:extLst>
                <a:ext uri="{FF2B5EF4-FFF2-40B4-BE49-F238E27FC236}">
                  <a16:creationId xmlns:a16="http://schemas.microsoft.com/office/drawing/2014/main" id="{3BB0BD81-E52E-46C9-B6D9-9D0FA3285610}"/>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4" name="Group 29">
            <a:extLst>
              <a:ext uri="{FF2B5EF4-FFF2-40B4-BE49-F238E27FC236}">
                <a16:creationId xmlns:a16="http://schemas.microsoft.com/office/drawing/2014/main" id="{E7DB4215-9524-48BF-B8E5-684CCDF82591}"/>
              </a:ext>
            </a:extLst>
          </p:cNvPr>
          <p:cNvGrpSpPr/>
          <p:nvPr/>
        </p:nvGrpSpPr>
        <p:grpSpPr>
          <a:xfrm>
            <a:off x="6275388" y="2823251"/>
            <a:ext cx="302619" cy="317247"/>
            <a:chOff x="4163060" y="2537711"/>
            <a:chExt cx="520926" cy="520926"/>
          </a:xfrm>
        </p:grpSpPr>
        <p:sp>
          <p:nvSpPr>
            <p:cNvPr id="615" name="Oval 614">
              <a:extLst>
                <a:ext uri="{FF2B5EF4-FFF2-40B4-BE49-F238E27FC236}">
                  <a16:creationId xmlns:a16="http://schemas.microsoft.com/office/drawing/2014/main" id="{1B5E7FBB-EC69-4268-8826-A2B262641679}"/>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6" name="Freeform 41">
              <a:extLst>
                <a:ext uri="{FF2B5EF4-FFF2-40B4-BE49-F238E27FC236}">
                  <a16:creationId xmlns:a16="http://schemas.microsoft.com/office/drawing/2014/main" id="{8D9FDE30-D3C3-468F-993B-2658B6109CE6}"/>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7" name="Group 29">
            <a:extLst>
              <a:ext uri="{FF2B5EF4-FFF2-40B4-BE49-F238E27FC236}">
                <a16:creationId xmlns:a16="http://schemas.microsoft.com/office/drawing/2014/main" id="{CB4C2803-1D31-473D-B05B-14FECC0FEBD9}"/>
              </a:ext>
            </a:extLst>
          </p:cNvPr>
          <p:cNvGrpSpPr/>
          <p:nvPr/>
        </p:nvGrpSpPr>
        <p:grpSpPr>
          <a:xfrm>
            <a:off x="7155101" y="3370835"/>
            <a:ext cx="302619" cy="317247"/>
            <a:chOff x="4163060" y="2537711"/>
            <a:chExt cx="520926" cy="520926"/>
          </a:xfrm>
        </p:grpSpPr>
        <p:sp>
          <p:nvSpPr>
            <p:cNvPr id="618" name="Oval 617">
              <a:extLst>
                <a:ext uri="{FF2B5EF4-FFF2-40B4-BE49-F238E27FC236}">
                  <a16:creationId xmlns:a16="http://schemas.microsoft.com/office/drawing/2014/main" id="{EC8B7BA3-44FD-4707-8DDB-3F73C5745317}"/>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9" name="Freeform 41">
              <a:extLst>
                <a:ext uri="{FF2B5EF4-FFF2-40B4-BE49-F238E27FC236}">
                  <a16:creationId xmlns:a16="http://schemas.microsoft.com/office/drawing/2014/main" id="{2C7B4928-6595-43BB-AD82-7D69319B999A}"/>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cxnSp>
        <p:nvCxnSpPr>
          <p:cNvPr id="32" name="Straight Connector 31">
            <a:extLst>
              <a:ext uri="{FF2B5EF4-FFF2-40B4-BE49-F238E27FC236}">
                <a16:creationId xmlns:a16="http://schemas.microsoft.com/office/drawing/2014/main" id="{C7EB0EA3-A702-4528-B1C9-ABAA7A5B3B4C}"/>
              </a:ext>
            </a:extLst>
          </p:cNvPr>
          <p:cNvCxnSpPr>
            <a:cxnSpLocks/>
            <a:stCxn id="596" idx="5"/>
            <a:endCxn id="525" idx="2"/>
          </p:cNvCxnSpPr>
          <p:nvPr/>
        </p:nvCxnSpPr>
        <p:spPr>
          <a:xfrm>
            <a:off x="5997808" y="2253282"/>
            <a:ext cx="968435" cy="331126"/>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0" name="Straight Connector 69">
            <a:extLst>
              <a:ext uri="{FF2B5EF4-FFF2-40B4-BE49-F238E27FC236}">
                <a16:creationId xmlns:a16="http://schemas.microsoft.com/office/drawing/2014/main" id="{685B54BB-7668-4C43-8B50-4969C55EF348}"/>
              </a:ext>
            </a:extLst>
          </p:cNvPr>
          <p:cNvCxnSpPr>
            <a:cxnSpLocks/>
            <a:stCxn id="606" idx="5"/>
            <a:endCxn id="525" idx="1"/>
          </p:cNvCxnSpPr>
          <p:nvPr/>
        </p:nvCxnSpPr>
        <p:spPr>
          <a:xfrm>
            <a:off x="6526434" y="1874080"/>
            <a:ext cx="464419" cy="65091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3" name="Straight Connector 72">
            <a:extLst>
              <a:ext uri="{FF2B5EF4-FFF2-40B4-BE49-F238E27FC236}">
                <a16:creationId xmlns:a16="http://schemas.microsoft.com/office/drawing/2014/main" id="{2DCDD96F-61C1-4EFA-BD1B-F57C6A13A1FC}"/>
              </a:ext>
            </a:extLst>
          </p:cNvPr>
          <p:cNvCxnSpPr>
            <a:cxnSpLocks/>
            <a:stCxn id="612" idx="4"/>
          </p:cNvCxnSpPr>
          <p:nvPr/>
        </p:nvCxnSpPr>
        <p:spPr>
          <a:xfrm flipH="1">
            <a:off x="7023021" y="2561821"/>
            <a:ext cx="31914" cy="384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13D577-06EB-4CA4-973B-BD002BEDF6E7}"/>
              </a:ext>
            </a:extLst>
          </p:cNvPr>
          <p:cNvCxnSpPr>
            <a:cxnSpLocks/>
            <a:stCxn id="609" idx="4"/>
            <a:endCxn id="525" idx="7"/>
          </p:cNvCxnSpPr>
          <p:nvPr/>
        </p:nvCxnSpPr>
        <p:spPr>
          <a:xfrm flipH="1">
            <a:off x="7109678" y="1662653"/>
            <a:ext cx="381449" cy="862341"/>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7" name="Straight Connector 76">
            <a:extLst>
              <a:ext uri="{FF2B5EF4-FFF2-40B4-BE49-F238E27FC236}">
                <a16:creationId xmlns:a16="http://schemas.microsoft.com/office/drawing/2014/main" id="{5B2818DB-830E-4AD7-B13B-996AAE83C77B}"/>
              </a:ext>
            </a:extLst>
          </p:cNvPr>
          <p:cNvCxnSpPr>
            <a:cxnSpLocks/>
            <a:stCxn id="615" idx="6"/>
            <a:endCxn id="525" idx="3"/>
          </p:cNvCxnSpPr>
          <p:nvPr/>
        </p:nvCxnSpPr>
        <p:spPr>
          <a:xfrm flipV="1">
            <a:off x="6578007" y="2643820"/>
            <a:ext cx="412845" cy="33805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0" name="Straight Connector 79">
            <a:extLst>
              <a:ext uri="{FF2B5EF4-FFF2-40B4-BE49-F238E27FC236}">
                <a16:creationId xmlns:a16="http://schemas.microsoft.com/office/drawing/2014/main" id="{65C2C988-5928-40F4-9D29-E0484818AB7A}"/>
              </a:ext>
            </a:extLst>
          </p:cNvPr>
          <p:cNvCxnSpPr>
            <a:cxnSpLocks/>
            <a:stCxn id="541" idx="6"/>
            <a:endCxn id="525" idx="2"/>
          </p:cNvCxnSpPr>
          <p:nvPr/>
        </p:nvCxnSpPr>
        <p:spPr>
          <a:xfrm flipV="1">
            <a:off x="5585540" y="2584407"/>
            <a:ext cx="1380702" cy="542495"/>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3" name="Straight Connector 82">
            <a:extLst>
              <a:ext uri="{FF2B5EF4-FFF2-40B4-BE49-F238E27FC236}">
                <a16:creationId xmlns:a16="http://schemas.microsoft.com/office/drawing/2014/main" id="{6096C28E-B668-4D25-B65D-9E575C33A5B3}"/>
              </a:ext>
            </a:extLst>
          </p:cNvPr>
          <p:cNvCxnSpPr>
            <a:stCxn id="618" idx="0"/>
            <a:endCxn id="525" idx="4"/>
          </p:cNvCxnSpPr>
          <p:nvPr/>
        </p:nvCxnSpPr>
        <p:spPr>
          <a:xfrm flipH="1" flipV="1">
            <a:off x="7050265" y="2668430"/>
            <a:ext cx="256146" cy="702405"/>
          </a:xfrm>
          <a:prstGeom prst="line">
            <a:avLst/>
          </a:prstGeom>
          <a:ln/>
        </p:spPr>
        <p:style>
          <a:lnRef idx="1">
            <a:schemeClr val="accent3"/>
          </a:lnRef>
          <a:fillRef idx="0">
            <a:schemeClr val="accent3"/>
          </a:fillRef>
          <a:effectRef idx="0">
            <a:schemeClr val="accent3"/>
          </a:effectRef>
          <a:fontRef idx="minor">
            <a:schemeClr val="tx1"/>
          </a:fontRef>
        </p:style>
      </p:cxnSp>
      <p:sp>
        <p:nvSpPr>
          <p:cNvPr id="94" name="Freeform: Shape 93">
            <a:extLst>
              <a:ext uri="{FF2B5EF4-FFF2-40B4-BE49-F238E27FC236}">
                <a16:creationId xmlns:a16="http://schemas.microsoft.com/office/drawing/2014/main" id="{F2C417E4-D4A9-44AA-9830-F1BE0AA19845}"/>
              </a:ext>
            </a:extLst>
          </p:cNvPr>
          <p:cNvSpPr/>
          <p:nvPr/>
        </p:nvSpPr>
        <p:spPr>
          <a:xfrm>
            <a:off x="6122147" y="2153242"/>
            <a:ext cx="2192937" cy="2787034"/>
          </a:xfrm>
          <a:custGeom>
            <a:avLst/>
            <a:gdLst>
              <a:gd name="connsiteX0" fmla="*/ 1162112 w 2923916"/>
              <a:gd name="connsiteY0" fmla="*/ 575226 h 3628485"/>
              <a:gd name="connsiteX1" fmla="*/ 285812 w 2923916"/>
              <a:gd name="connsiteY1" fmla="*/ 3726 h 3628485"/>
              <a:gd name="connsiteX2" fmla="*/ 19112 w 2923916"/>
              <a:gd name="connsiteY2" fmla="*/ 365676 h 3628485"/>
              <a:gd name="connsiteX3" fmla="*/ 76262 w 2923916"/>
              <a:gd name="connsiteY3" fmla="*/ 1080051 h 3628485"/>
              <a:gd name="connsiteX4" fmla="*/ 514412 w 2923916"/>
              <a:gd name="connsiteY4" fmla="*/ 1689651 h 3628485"/>
              <a:gd name="connsiteX5" fmla="*/ 1266887 w 2923916"/>
              <a:gd name="connsiteY5" fmla="*/ 1946826 h 3628485"/>
              <a:gd name="connsiteX6" fmla="*/ 1600262 w 2923916"/>
              <a:gd name="connsiteY6" fmla="*/ 2670726 h 3628485"/>
              <a:gd name="connsiteX7" fmla="*/ 2762312 w 2923916"/>
              <a:gd name="connsiteY7" fmla="*/ 3508926 h 3628485"/>
              <a:gd name="connsiteX8" fmla="*/ 2886137 w 2923916"/>
              <a:gd name="connsiteY8" fmla="*/ 3604176 h 362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3916" h="3628485">
                <a:moveTo>
                  <a:pt x="1162112" y="575226"/>
                </a:moveTo>
                <a:cubicBezTo>
                  <a:pt x="819212" y="306938"/>
                  <a:pt x="476312" y="38651"/>
                  <a:pt x="285812" y="3726"/>
                </a:cubicBezTo>
                <a:cubicBezTo>
                  <a:pt x="95312" y="-31199"/>
                  <a:pt x="54037" y="186289"/>
                  <a:pt x="19112" y="365676"/>
                </a:cubicBezTo>
                <a:cubicBezTo>
                  <a:pt x="-15813" y="545063"/>
                  <a:pt x="-6288" y="859389"/>
                  <a:pt x="76262" y="1080051"/>
                </a:cubicBezTo>
                <a:cubicBezTo>
                  <a:pt x="158812" y="1300713"/>
                  <a:pt x="315975" y="1545189"/>
                  <a:pt x="514412" y="1689651"/>
                </a:cubicBezTo>
                <a:cubicBezTo>
                  <a:pt x="712849" y="1834113"/>
                  <a:pt x="1085912" y="1783314"/>
                  <a:pt x="1266887" y="1946826"/>
                </a:cubicBezTo>
                <a:cubicBezTo>
                  <a:pt x="1447862" y="2110338"/>
                  <a:pt x="1351024" y="2410376"/>
                  <a:pt x="1600262" y="2670726"/>
                </a:cubicBezTo>
                <a:cubicBezTo>
                  <a:pt x="1849500" y="2931076"/>
                  <a:pt x="2548000" y="3353351"/>
                  <a:pt x="2762312" y="3508926"/>
                </a:cubicBezTo>
                <a:cubicBezTo>
                  <a:pt x="2976625" y="3664501"/>
                  <a:pt x="2931381" y="3634338"/>
                  <a:pt x="2886137" y="3604176"/>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sp>
        <p:nvSpPr>
          <p:cNvPr id="96" name="Freeform: Shape 95">
            <a:extLst>
              <a:ext uri="{FF2B5EF4-FFF2-40B4-BE49-F238E27FC236}">
                <a16:creationId xmlns:a16="http://schemas.microsoft.com/office/drawing/2014/main" id="{3F8BFE22-2214-497E-BF03-EBB9CB38F4DE}"/>
              </a:ext>
            </a:extLst>
          </p:cNvPr>
          <p:cNvSpPr/>
          <p:nvPr/>
        </p:nvSpPr>
        <p:spPr>
          <a:xfrm>
            <a:off x="5931265" y="411849"/>
            <a:ext cx="1091042" cy="2131327"/>
          </a:xfrm>
          <a:custGeom>
            <a:avLst/>
            <a:gdLst>
              <a:gd name="connsiteX0" fmla="*/ 1454722 w 1454722"/>
              <a:gd name="connsiteY0" fmla="*/ 2841769 h 2841769"/>
              <a:gd name="connsiteX1" fmla="*/ 521272 w 1454722"/>
              <a:gd name="connsiteY1" fmla="*/ 2175019 h 2841769"/>
              <a:gd name="connsiteX2" fmla="*/ 149797 w 1454722"/>
              <a:gd name="connsiteY2" fmla="*/ 641494 h 2841769"/>
              <a:gd name="connsiteX3" fmla="*/ 6922 w 1454722"/>
              <a:gd name="connsiteY3" fmla="*/ 50944 h 2841769"/>
              <a:gd name="connsiteX4" fmla="*/ 35497 w 1454722"/>
              <a:gd name="connsiteY4" fmla="*/ 69994 h 284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722" h="2841769">
                <a:moveTo>
                  <a:pt x="1454722" y="2841769"/>
                </a:moveTo>
                <a:cubicBezTo>
                  <a:pt x="1096740" y="2691750"/>
                  <a:pt x="738759" y="2541731"/>
                  <a:pt x="521272" y="2175019"/>
                </a:cubicBezTo>
                <a:cubicBezTo>
                  <a:pt x="303785" y="1808307"/>
                  <a:pt x="149797" y="641494"/>
                  <a:pt x="149797" y="641494"/>
                </a:cubicBezTo>
                <a:lnTo>
                  <a:pt x="6922" y="50944"/>
                </a:lnTo>
                <a:cubicBezTo>
                  <a:pt x="-12128" y="-44306"/>
                  <a:pt x="11684" y="12844"/>
                  <a:pt x="35497" y="69994"/>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grpSp>
        <p:nvGrpSpPr>
          <p:cNvPr id="524" name="Group 523">
            <a:extLst>
              <a:ext uri="{FF2B5EF4-FFF2-40B4-BE49-F238E27FC236}">
                <a16:creationId xmlns:a16="http://schemas.microsoft.com/office/drawing/2014/main" id="{E1663DD4-DA51-4B2D-B167-258896EFE2D0}"/>
              </a:ext>
            </a:extLst>
          </p:cNvPr>
          <p:cNvGrpSpPr/>
          <p:nvPr/>
        </p:nvGrpSpPr>
        <p:grpSpPr>
          <a:xfrm>
            <a:off x="6966242" y="2500385"/>
            <a:ext cx="168045" cy="168045"/>
            <a:chOff x="4083769" y="2552776"/>
            <a:chExt cx="529089" cy="529089"/>
          </a:xfrm>
        </p:grpSpPr>
        <p:sp>
          <p:nvSpPr>
            <p:cNvPr id="525" name="Oval 524">
              <a:extLst>
                <a:ext uri="{FF2B5EF4-FFF2-40B4-BE49-F238E27FC236}">
                  <a16:creationId xmlns:a16="http://schemas.microsoft.com/office/drawing/2014/main" id="{85034D52-F106-4E56-A399-DDE2C758F1FB}"/>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6" name="Freeform: Shape 298">
              <a:extLst>
                <a:ext uri="{FF2B5EF4-FFF2-40B4-BE49-F238E27FC236}">
                  <a16:creationId xmlns:a16="http://schemas.microsoft.com/office/drawing/2014/main" id="{4A1CAA4F-2377-434A-9F13-9E763294C0D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299">
              <a:extLst>
                <a:ext uri="{FF2B5EF4-FFF2-40B4-BE49-F238E27FC236}">
                  <a16:creationId xmlns:a16="http://schemas.microsoft.com/office/drawing/2014/main" id="{13B65276-0B83-4462-9EB0-03C4032ECC9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1">
              <a:extLst>
                <a:ext uri="{FF2B5EF4-FFF2-40B4-BE49-F238E27FC236}">
                  <a16:creationId xmlns:a16="http://schemas.microsoft.com/office/drawing/2014/main" id="{7F8006FB-D45A-4C5F-8CE1-B64192D41C3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9" name="Freeform: Shape 302">
              <a:extLst>
                <a:ext uri="{FF2B5EF4-FFF2-40B4-BE49-F238E27FC236}">
                  <a16:creationId xmlns:a16="http://schemas.microsoft.com/office/drawing/2014/main" id="{7EA827F4-EB63-4832-92DB-DCB54240DDB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43" name="Freeform 9">
            <a:extLst>
              <a:ext uri="{FF2B5EF4-FFF2-40B4-BE49-F238E27FC236}">
                <a16:creationId xmlns:a16="http://schemas.microsoft.com/office/drawing/2014/main" id="{EB141EAE-CC92-4BEA-BF5D-C4FDECBA8CE7}"/>
              </a:ext>
            </a:extLst>
          </p:cNvPr>
          <p:cNvSpPr>
            <a:spLocks noEditPoints="1"/>
          </p:cNvSpPr>
          <p:nvPr/>
        </p:nvSpPr>
        <p:spPr bwMode="auto">
          <a:xfrm>
            <a:off x="7791851" y="21331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544" name="Freeform 9">
            <a:extLst>
              <a:ext uri="{FF2B5EF4-FFF2-40B4-BE49-F238E27FC236}">
                <a16:creationId xmlns:a16="http://schemas.microsoft.com/office/drawing/2014/main" id="{AFE31779-0293-44EE-AFB0-25460BA8E838}"/>
              </a:ext>
            </a:extLst>
          </p:cNvPr>
          <p:cNvSpPr>
            <a:spLocks noEditPoints="1"/>
          </p:cNvSpPr>
          <p:nvPr/>
        </p:nvSpPr>
        <p:spPr bwMode="auto">
          <a:xfrm>
            <a:off x="7906151" y="22474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593" name="Freeform 9">
            <a:extLst>
              <a:ext uri="{FF2B5EF4-FFF2-40B4-BE49-F238E27FC236}">
                <a16:creationId xmlns:a16="http://schemas.microsoft.com/office/drawing/2014/main" id="{956C4BA2-ED2E-4DF8-B962-CBBCA112DFCF}"/>
              </a:ext>
            </a:extLst>
          </p:cNvPr>
          <p:cNvSpPr>
            <a:spLocks noEditPoints="1"/>
          </p:cNvSpPr>
          <p:nvPr/>
        </p:nvSpPr>
        <p:spPr bwMode="auto">
          <a:xfrm>
            <a:off x="8020451" y="23617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cxnSp>
        <p:nvCxnSpPr>
          <p:cNvPr id="5" name="Straight Connector 4">
            <a:extLst>
              <a:ext uri="{FF2B5EF4-FFF2-40B4-BE49-F238E27FC236}">
                <a16:creationId xmlns:a16="http://schemas.microsoft.com/office/drawing/2014/main" id="{66C439AD-AE67-46B2-A72C-1F415EE4E9F2}"/>
              </a:ext>
            </a:extLst>
          </p:cNvPr>
          <p:cNvCxnSpPr>
            <a:cxnSpLocks/>
            <a:stCxn id="543" idx="10"/>
            <a:endCxn id="525" idx="6"/>
          </p:cNvCxnSpPr>
          <p:nvPr/>
        </p:nvCxnSpPr>
        <p:spPr>
          <a:xfrm flipH="1">
            <a:off x="7134288" y="2413408"/>
            <a:ext cx="674189" cy="17099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7D0C5C51-02EF-4BAA-93F0-E445D1DE6141}"/>
              </a:ext>
            </a:extLst>
          </p:cNvPr>
          <p:cNvSpPr/>
          <p:nvPr/>
        </p:nvSpPr>
        <p:spPr>
          <a:xfrm>
            <a:off x="6542152" y="2770344"/>
            <a:ext cx="1788214" cy="135611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Ethernet supplied to Enterprises through Core Tower Site</a:t>
            </a:r>
            <a:endParaRPr lang="en-GB" sz="1400" dirty="0"/>
          </a:p>
        </p:txBody>
      </p:sp>
    </p:spTree>
    <p:extLst>
      <p:ext uri="{BB962C8B-B14F-4D97-AF65-F5344CB8AC3E}">
        <p14:creationId xmlns:p14="http://schemas.microsoft.com/office/powerpoint/2010/main" val="180403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7" name="Group 56">
            <a:extLst>
              <a:ext uri="{FF2B5EF4-FFF2-40B4-BE49-F238E27FC236}">
                <a16:creationId xmlns:a16="http://schemas.microsoft.com/office/drawing/2014/main" id="{48BA5C24-99B6-4C00-993E-DDD85C3718BC}"/>
              </a:ext>
            </a:extLst>
          </p:cNvPr>
          <p:cNvGrpSpPr/>
          <p:nvPr/>
        </p:nvGrpSpPr>
        <p:grpSpPr>
          <a:xfrm>
            <a:off x="4771530" y="3257444"/>
            <a:ext cx="304786" cy="304788"/>
            <a:chOff x="4083769" y="2552776"/>
            <a:chExt cx="529089" cy="529089"/>
          </a:xfrm>
        </p:grpSpPr>
        <p:sp>
          <p:nvSpPr>
            <p:cNvPr id="58" name="Oval 57">
              <a:extLst>
                <a:ext uri="{FF2B5EF4-FFF2-40B4-BE49-F238E27FC236}">
                  <a16:creationId xmlns:a16="http://schemas.microsoft.com/office/drawing/2014/main" id="{137AABE1-FF3E-4300-B140-198504096B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9" name="Freeform: Shape 298">
              <a:extLst>
                <a:ext uri="{FF2B5EF4-FFF2-40B4-BE49-F238E27FC236}">
                  <a16:creationId xmlns:a16="http://schemas.microsoft.com/office/drawing/2014/main" id="{146E7114-AD17-4CE8-BB5C-B08BECA05899}"/>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 name="Freeform: Shape 299">
              <a:extLst>
                <a:ext uri="{FF2B5EF4-FFF2-40B4-BE49-F238E27FC236}">
                  <a16:creationId xmlns:a16="http://schemas.microsoft.com/office/drawing/2014/main" id="{7F533B21-0C79-4131-A46D-0E33F36BA6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1" name="Freeform: Shape 301">
              <a:extLst>
                <a:ext uri="{FF2B5EF4-FFF2-40B4-BE49-F238E27FC236}">
                  <a16:creationId xmlns:a16="http://schemas.microsoft.com/office/drawing/2014/main" id="{BC4471F2-C2F2-4DCC-8B78-58FA4E0D467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2" name="Freeform: Shape 302">
              <a:extLst>
                <a:ext uri="{FF2B5EF4-FFF2-40B4-BE49-F238E27FC236}">
                  <a16:creationId xmlns:a16="http://schemas.microsoft.com/office/drawing/2014/main" id="{2E483484-585C-44DE-A01F-474B4B0E3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93" name="Group 92">
            <a:extLst>
              <a:ext uri="{FF2B5EF4-FFF2-40B4-BE49-F238E27FC236}">
                <a16:creationId xmlns:a16="http://schemas.microsoft.com/office/drawing/2014/main" id="{084793B6-BCF3-4DA4-A3A4-25767BF17192}"/>
              </a:ext>
            </a:extLst>
          </p:cNvPr>
          <p:cNvGrpSpPr/>
          <p:nvPr/>
        </p:nvGrpSpPr>
        <p:grpSpPr>
          <a:xfrm>
            <a:off x="4512003" y="1194747"/>
            <a:ext cx="232754" cy="232756"/>
            <a:chOff x="4083769" y="2552776"/>
            <a:chExt cx="529089" cy="529089"/>
          </a:xfrm>
        </p:grpSpPr>
        <p:sp>
          <p:nvSpPr>
            <p:cNvPr id="95" name="Oval 94">
              <a:extLst>
                <a:ext uri="{FF2B5EF4-FFF2-40B4-BE49-F238E27FC236}">
                  <a16:creationId xmlns:a16="http://schemas.microsoft.com/office/drawing/2014/main" id="{374E46CC-391F-4F48-BA09-AF14D1FCE5D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97" name="Freeform: Shape 298">
              <a:extLst>
                <a:ext uri="{FF2B5EF4-FFF2-40B4-BE49-F238E27FC236}">
                  <a16:creationId xmlns:a16="http://schemas.microsoft.com/office/drawing/2014/main" id="{F9F24D2D-263B-4C90-9698-92D8F5C5A33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99" name="Freeform: Shape 299">
              <a:extLst>
                <a:ext uri="{FF2B5EF4-FFF2-40B4-BE49-F238E27FC236}">
                  <a16:creationId xmlns:a16="http://schemas.microsoft.com/office/drawing/2014/main" id="{654B0D97-6EAC-47AC-A563-61980CBC4C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0" name="Freeform: Shape 301">
              <a:extLst>
                <a:ext uri="{FF2B5EF4-FFF2-40B4-BE49-F238E27FC236}">
                  <a16:creationId xmlns:a16="http://schemas.microsoft.com/office/drawing/2014/main" id="{B6B3558B-3A41-4D34-835C-E8A7AB8D5DD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01" name="Freeform: Shape 302">
              <a:extLst>
                <a:ext uri="{FF2B5EF4-FFF2-40B4-BE49-F238E27FC236}">
                  <a16:creationId xmlns:a16="http://schemas.microsoft.com/office/drawing/2014/main" id="{17E04C97-C986-4430-8525-83866F5BA2A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05" name="Group 104">
            <a:extLst>
              <a:ext uri="{FF2B5EF4-FFF2-40B4-BE49-F238E27FC236}">
                <a16:creationId xmlns:a16="http://schemas.microsoft.com/office/drawing/2014/main" id="{8BF1F033-C506-4B25-883D-BD231686BAA8}"/>
              </a:ext>
            </a:extLst>
          </p:cNvPr>
          <p:cNvGrpSpPr/>
          <p:nvPr/>
        </p:nvGrpSpPr>
        <p:grpSpPr>
          <a:xfrm>
            <a:off x="5222572" y="1205232"/>
            <a:ext cx="232754" cy="232756"/>
            <a:chOff x="4083769" y="2552776"/>
            <a:chExt cx="529089" cy="529089"/>
          </a:xfrm>
        </p:grpSpPr>
        <p:sp>
          <p:nvSpPr>
            <p:cNvPr id="113" name="Oval 112">
              <a:extLst>
                <a:ext uri="{FF2B5EF4-FFF2-40B4-BE49-F238E27FC236}">
                  <a16:creationId xmlns:a16="http://schemas.microsoft.com/office/drawing/2014/main" id="{6DA84E8E-C232-474D-91B6-D95FAA29218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2" name="Freeform: Shape 298">
              <a:extLst>
                <a:ext uri="{FF2B5EF4-FFF2-40B4-BE49-F238E27FC236}">
                  <a16:creationId xmlns:a16="http://schemas.microsoft.com/office/drawing/2014/main" id="{4ACA7DF1-1701-4873-98EF-1A9DACA35C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3" name="Freeform: Shape 299">
              <a:extLst>
                <a:ext uri="{FF2B5EF4-FFF2-40B4-BE49-F238E27FC236}">
                  <a16:creationId xmlns:a16="http://schemas.microsoft.com/office/drawing/2014/main" id="{39FF32EE-3106-4D68-B8FE-D84B23E3210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4" name="Freeform: Shape 301">
              <a:extLst>
                <a:ext uri="{FF2B5EF4-FFF2-40B4-BE49-F238E27FC236}">
                  <a16:creationId xmlns:a16="http://schemas.microsoft.com/office/drawing/2014/main" id="{8A3F94DB-E30E-4227-B7C2-2E8A6370D3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5" name="Freeform: Shape 302">
              <a:extLst>
                <a:ext uri="{FF2B5EF4-FFF2-40B4-BE49-F238E27FC236}">
                  <a16:creationId xmlns:a16="http://schemas.microsoft.com/office/drawing/2014/main" id="{5AEA29D0-C15B-43AB-ADAD-84133E25CF6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26" name="Group 125">
            <a:extLst>
              <a:ext uri="{FF2B5EF4-FFF2-40B4-BE49-F238E27FC236}">
                <a16:creationId xmlns:a16="http://schemas.microsoft.com/office/drawing/2014/main" id="{6D5252D2-30D5-4EC1-B52D-CC9037CB91F1}"/>
              </a:ext>
            </a:extLst>
          </p:cNvPr>
          <p:cNvGrpSpPr/>
          <p:nvPr/>
        </p:nvGrpSpPr>
        <p:grpSpPr>
          <a:xfrm>
            <a:off x="5723805" y="1511060"/>
            <a:ext cx="232754" cy="232756"/>
            <a:chOff x="4083769" y="2552776"/>
            <a:chExt cx="529089" cy="529089"/>
          </a:xfrm>
        </p:grpSpPr>
        <p:sp>
          <p:nvSpPr>
            <p:cNvPr id="127" name="Oval 126">
              <a:extLst>
                <a:ext uri="{FF2B5EF4-FFF2-40B4-BE49-F238E27FC236}">
                  <a16:creationId xmlns:a16="http://schemas.microsoft.com/office/drawing/2014/main" id="{FE1BC7C8-0644-4B81-AC76-24B2A93A2C3E}"/>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28" name="Freeform: Shape 298">
              <a:extLst>
                <a:ext uri="{FF2B5EF4-FFF2-40B4-BE49-F238E27FC236}">
                  <a16:creationId xmlns:a16="http://schemas.microsoft.com/office/drawing/2014/main" id="{10D7FE5F-A277-4B31-B310-BBBB9F2184C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9" name="Freeform: Shape 299">
              <a:extLst>
                <a:ext uri="{FF2B5EF4-FFF2-40B4-BE49-F238E27FC236}">
                  <a16:creationId xmlns:a16="http://schemas.microsoft.com/office/drawing/2014/main" id="{14A6D21C-51A9-48B5-9922-C87883664E8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0" name="Freeform: Shape 301">
              <a:extLst>
                <a:ext uri="{FF2B5EF4-FFF2-40B4-BE49-F238E27FC236}">
                  <a16:creationId xmlns:a16="http://schemas.microsoft.com/office/drawing/2014/main" id="{3D9BBFA9-C42E-45C4-A296-6660CC39F5B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1" name="Freeform: Shape 302">
              <a:extLst>
                <a:ext uri="{FF2B5EF4-FFF2-40B4-BE49-F238E27FC236}">
                  <a16:creationId xmlns:a16="http://schemas.microsoft.com/office/drawing/2014/main" id="{A350A670-423A-4D8C-B9A6-B029CD6F7BE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2" name="Group 131">
            <a:extLst>
              <a:ext uri="{FF2B5EF4-FFF2-40B4-BE49-F238E27FC236}">
                <a16:creationId xmlns:a16="http://schemas.microsoft.com/office/drawing/2014/main" id="{CEC7BF32-AD0C-49E8-AF40-37CD783E6752}"/>
              </a:ext>
            </a:extLst>
          </p:cNvPr>
          <p:cNvGrpSpPr/>
          <p:nvPr/>
        </p:nvGrpSpPr>
        <p:grpSpPr>
          <a:xfrm>
            <a:off x="5579452" y="2473451"/>
            <a:ext cx="232754" cy="232756"/>
            <a:chOff x="4083769" y="2552776"/>
            <a:chExt cx="529089" cy="529089"/>
          </a:xfrm>
        </p:grpSpPr>
        <p:sp>
          <p:nvSpPr>
            <p:cNvPr id="133" name="Oval 132">
              <a:extLst>
                <a:ext uri="{FF2B5EF4-FFF2-40B4-BE49-F238E27FC236}">
                  <a16:creationId xmlns:a16="http://schemas.microsoft.com/office/drawing/2014/main" id="{503261E3-8C51-4F55-925D-230B7A805CCF}"/>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4" name="Freeform: Shape 298">
              <a:extLst>
                <a:ext uri="{FF2B5EF4-FFF2-40B4-BE49-F238E27FC236}">
                  <a16:creationId xmlns:a16="http://schemas.microsoft.com/office/drawing/2014/main" id="{574ADA25-5B35-41C1-A024-13D70F8C8F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5" name="Freeform: Shape 299">
              <a:extLst>
                <a:ext uri="{FF2B5EF4-FFF2-40B4-BE49-F238E27FC236}">
                  <a16:creationId xmlns:a16="http://schemas.microsoft.com/office/drawing/2014/main" id="{27192EFB-2D8F-4172-BE8E-09F70F285DF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6" name="Freeform: Shape 301">
              <a:extLst>
                <a:ext uri="{FF2B5EF4-FFF2-40B4-BE49-F238E27FC236}">
                  <a16:creationId xmlns:a16="http://schemas.microsoft.com/office/drawing/2014/main" id="{C3AC67BF-721F-4750-A847-184300C0EFA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7" name="Freeform: Shape 302">
              <a:extLst>
                <a:ext uri="{FF2B5EF4-FFF2-40B4-BE49-F238E27FC236}">
                  <a16:creationId xmlns:a16="http://schemas.microsoft.com/office/drawing/2014/main" id="{25EABE18-81FF-4D17-ADA7-66A2AB64705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38" name="Group 137">
            <a:extLst>
              <a:ext uri="{FF2B5EF4-FFF2-40B4-BE49-F238E27FC236}">
                <a16:creationId xmlns:a16="http://schemas.microsoft.com/office/drawing/2014/main" id="{B4AF0705-118D-4DC5-A4E0-F2B6FA18DF40}"/>
              </a:ext>
            </a:extLst>
          </p:cNvPr>
          <p:cNvGrpSpPr/>
          <p:nvPr/>
        </p:nvGrpSpPr>
        <p:grpSpPr>
          <a:xfrm>
            <a:off x="3914382" y="2453841"/>
            <a:ext cx="232754" cy="232756"/>
            <a:chOff x="4083769" y="2552776"/>
            <a:chExt cx="529089" cy="529089"/>
          </a:xfrm>
        </p:grpSpPr>
        <p:sp>
          <p:nvSpPr>
            <p:cNvPr id="139" name="Oval 138">
              <a:extLst>
                <a:ext uri="{FF2B5EF4-FFF2-40B4-BE49-F238E27FC236}">
                  <a16:creationId xmlns:a16="http://schemas.microsoft.com/office/drawing/2014/main" id="{543242F2-A33E-4DEB-B05F-53570501A1C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0" name="Freeform: Shape 298">
              <a:extLst>
                <a:ext uri="{FF2B5EF4-FFF2-40B4-BE49-F238E27FC236}">
                  <a16:creationId xmlns:a16="http://schemas.microsoft.com/office/drawing/2014/main" id="{9EC59E78-2E79-494C-B860-CB6649C893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299">
              <a:extLst>
                <a:ext uri="{FF2B5EF4-FFF2-40B4-BE49-F238E27FC236}">
                  <a16:creationId xmlns:a16="http://schemas.microsoft.com/office/drawing/2014/main" id="{78F24348-4B84-4B66-B0BA-2D336A09D19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1">
              <a:extLst>
                <a:ext uri="{FF2B5EF4-FFF2-40B4-BE49-F238E27FC236}">
                  <a16:creationId xmlns:a16="http://schemas.microsoft.com/office/drawing/2014/main" id="{3798591B-8C18-4258-A7B3-50E013E412F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3" name="Freeform: Shape 302">
              <a:extLst>
                <a:ext uri="{FF2B5EF4-FFF2-40B4-BE49-F238E27FC236}">
                  <a16:creationId xmlns:a16="http://schemas.microsoft.com/office/drawing/2014/main" id="{00DD7BB8-DA41-4277-9DB2-C386C284B53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44" name="Group 143">
            <a:extLst>
              <a:ext uri="{FF2B5EF4-FFF2-40B4-BE49-F238E27FC236}">
                <a16:creationId xmlns:a16="http://schemas.microsoft.com/office/drawing/2014/main" id="{A538858B-FFFE-4BCF-890F-7603A8948A9A}"/>
              </a:ext>
            </a:extLst>
          </p:cNvPr>
          <p:cNvGrpSpPr/>
          <p:nvPr/>
        </p:nvGrpSpPr>
        <p:grpSpPr>
          <a:xfrm>
            <a:off x="4437157" y="3475095"/>
            <a:ext cx="232754" cy="232756"/>
            <a:chOff x="4083769" y="2552776"/>
            <a:chExt cx="529089" cy="529089"/>
          </a:xfrm>
        </p:grpSpPr>
        <p:sp>
          <p:nvSpPr>
            <p:cNvPr id="145" name="Oval 144">
              <a:extLst>
                <a:ext uri="{FF2B5EF4-FFF2-40B4-BE49-F238E27FC236}">
                  <a16:creationId xmlns:a16="http://schemas.microsoft.com/office/drawing/2014/main" id="{86FC2C8F-1AAC-46DE-BC69-790F5E308A1D}"/>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46" name="Freeform: Shape 298">
              <a:extLst>
                <a:ext uri="{FF2B5EF4-FFF2-40B4-BE49-F238E27FC236}">
                  <a16:creationId xmlns:a16="http://schemas.microsoft.com/office/drawing/2014/main" id="{0276C335-F7CB-4A07-9133-95D62BCE119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7" name="Freeform: Shape 299">
              <a:extLst>
                <a:ext uri="{FF2B5EF4-FFF2-40B4-BE49-F238E27FC236}">
                  <a16:creationId xmlns:a16="http://schemas.microsoft.com/office/drawing/2014/main" id="{193AE60A-B402-449B-9341-714067047A6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8" name="Freeform: Shape 301">
              <a:extLst>
                <a:ext uri="{FF2B5EF4-FFF2-40B4-BE49-F238E27FC236}">
                  <a16:creationId xmlns:a16="http://schemas.microsoft.com/office/drawing/2014/main" id="{8DF490A7-F93D-4DD0-8ED2-61524BF0E4E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9" name="Freeform: Shape 302">
              <a:extLst>
                <a:ext uri="{FF2B5EF4-FFF2-40B4-BE49-F238E27FC236}">
                  <a16:creationId xmlns:a16="http://schemas.microsoft.com/office/drawing/2014/main" id="{0AE14E79-9530-4CBF-BC75-793507371DA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7" name="Group 156">
            <a:extLst>
              <a:ext uri="{FF2B5EF4-FFF2-40B4-BE49-F238E27FC236}">
                <a16:creationId xmlns:a16="http://schemas.microsoft.com/office/drawing/2014/main" id="{955B6EC6-A729-4828-8B14-E3F367FF6D42}"/>
              </a:ext>
            </a:extLst>
          </p:cNvPr>
          <p:cNvGrpSpPr/>
          <p:nvPr/>
        </p:nvGrpSpPr>
        <p:grpSpPr>
          <a:xfrm>
            <a:off x="3818605" y="828666"/>
            <a:ext cx="232754" cy="232756"/>
            <a:chOff x="4083769" y="2552776"/>
            <a:chExt cx="529089" cy="529089"/>
          </a:xfrm>
        </p:grpSpPr>
        <p:sp>
          <p:nvSpPr>
            <p:cNvPr id="158" name="Oval 157">
              <a:extLst>
                <a:ext uri="{FF2B5EF4-FFF2-40B4-BE49-F238E27FC236}">
                  <a16:creationId xmlns:a16="http://schemas.microsoft.com/office/drawing/2014/main" id="{24D45290-14ED-4487-A510-2038BCB99D7D}"/>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59" name="Freeform: Shape 298">
              <a:extLst>
                <a:ext uri="{FF2B5EF4-FFF2-40B4-BE49-F238E27FC236}">
                  <a16:creationId xmlns:a16="http://schemas.microsoft.com/office/drawing/2014/main" id="{435D1F34-BB89-47A6-B858-31958A9E677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0" name="Freeform: Shape 299">
              <a:extLst>
                <a:ext uri="{FF2B5EF4-FFF2-40B4-BE49-F238E27FC236}">
                  <a16:creationId xmlns:a16="http://schemas.microsoft.com/office/drawing/2014/main" id="{0D3DAA4B-E483-48AF-80AE-8BECED2FE75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1" name="Freeform: Shape 301">
              <a:extLst>
                <a:ext uri="{FF2B5EF4-FFF2-40B4-BE49-F238E27FC236}">
                  <a16:creationId xmlns:a16="http://schemas.microsoft.com/office/drawing/2014/main" id="{DD2FE362-414E-48B4-90E4-C2B077E6808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2" name="Freeform: Shape 302">
              <a:extLst>
                <a:ext uri="{FF2B5EF4-FFF2-40B4-BE49-F238E27FC236}">
                  <a16:creationId xmlns:a16="http://schemas.microsoft.com/office/drawing/2014/main" id="{9E7139FA-72E4-4F4A-B258-C802EADFF47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3" name="Group 162">
            <a:extLst>
              <a:ext uri="{FF2B5EF4-FFF2-40B4-BE49-F238E27FC236}">
                <a16:creationId xmlns:a16="http://schemas.microsoft.com/office/drawing/2014/main" id="{B45853D1-EA60-466A-99E9-09A7D688ECD9}"/>
              </a:ext>
            </a:extLst>
          </p:cNvPr>
          <p:cNvGrpSpPr/>
          <p:nvPr/>
        </p:nvGrpSpPr>
        <p:grpSpPr>
          <a:xfrm>
            <a:off x="3687875" y="3376128"/>
            <a:ext cx="126471" cy="126472"/>
            <a:chOff x="4083776" y="2552776"/>
            <a:chExt cx="529090" cy="529088"/>
          </a:xfrm>
        </p:grpSpPr>
        <p:sp>
          <p:nvSpPr>
            <p:cNvPr id="164" name="Oval 163">
              <a:extLst>
                <a:ext uri="{FF2B5EF4-FFF2-40B4-BE49-F238E27FC236}">
                  <a16:creationId xmlns:a16="http://schemas.microsoft.com/office/drawing/2014/main" id="{53B069F4-20E0-4E3F-A655-E45565D790A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65" name="Freeform: Shape 298">
              <a:extLst>
                <a:ext uri="{FF2B5EF4-FFF2-40B4-BE49-F238E27FC236}">
                  <a16:creationId xmlns:a16="http://schemas.microsoft.com/office/drawing/2014/main" id="{CFAF0D73-662D-43CB-B56F-E038E131DEC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6" name="Freeform: Shape 299">
              <a:extLst>
                <a:ext uri="{FF2B5EF4-FFF2-40B4-BE49-F238E27FC236}">
                  <a16:creationId xmlns:a16="http://schemas.microsoft.com/office/drawing/2014/main" id="{1C86D1A9-92E0-497E-AF25-12A3AE03B37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7" name="Freeform: Shape 301">
              <a:extLst>
                <a:ext uri="{FF2B5EF4-FFF2-40B4-BE49-F238E27FC236}">
                  <a16:creationId xmlns:a16="http://schemas.microsoft.com/office/drawing/2014/main" id="{103AA004-6756-4C3F-A90B-6EF2CADF4E5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68" name="Freeform: Shape 302">
              <a:extLst>
                <a:ext uri="{FF2B5EF4-FFF2-40B4-BE49-F238E27FC236}">
                  <a16:creationId xmlns:a16="http://schemas.microsoft.com/office/drawing/2014/main" id="{CF9FD552-9F8E-468B-B515-33A20EABB7F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69" name="Group 168">
            <a:extLst>
              <a:ext uri="{FF2B5EF4-FFF2-40B4-BE49-F238E27FC236}">
                <a16:creationId xmlns:a16="http://schemas.microsoft.com/office/drawing/2014/main" id="{60EADC1B-85A7-41F5-BC3B-CAFB7EB114AB}"/>
              </a:ext>
            </a:extLst>
          </p:cNvPr>
          <p:cNvGrpSpPr/>
          <p:nvPr/>
        </p:nvGrpSpPr>
        <p:grpSpPr>
          <a:xfrm>
            <a:off x="3440161" y="2914076"/>
            <a:ext cx="232754" cy="232756"/>
            <a:chOff x="4083769" y="2552776"/>
            <a:chExt cx="529089" cy="529089"/>
          </a:xfrm>
        </p:grpSpPr>
        <p:sp>
          <p:nvSpPr>
            <p:cNvPr id="170" name="Oval 169">
              <a:extLst>
                <a:ext uri="{FF2B5EF4-FFF2-40B4-BE49-F238E27FC236}">
                  <a16:creationId xmlns:a16="http://schemas.microsoft.com/office/drawing/2014/main" id="{7B7FF029-22B9-4C86-8FDB-423071CC1DB6}"/>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1" name="Freeform: Shape 298">
              <a:extLst>
                <a:ext uri="{FF2B5EF4-FFF2-40B4-BE49-F238E27FC236}">
                  <a16:creationId xmlns:a16="http://schemas.microsoft.com/office/drawing/2014/main" id="{73840F9B-631A-438D-B663-F32876B5CC3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2" name="Freeform: Shape 299">
              <a:extLst>
                <a:ext uri="{FF2B5EF4-FFF2-40B4-BE49-F238E27FC236}">
                  <a16:creationId xmlns:a16="http://schemas.microsoft.com/office/drawing/2014/main" id="{7D5BDC8A-23FB-4335-A68B-DF80F41EABD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3" name="Freeform: Shape 301">
              <a:extLst>
                <a:ext uri="{FF2B5EF4-FFF2-40B4-BE49-F238E27FC236}">
                  <a16:creationId xmlns:a16="http://schemas.microsoft.com/office/drawing/2014/main" id="{46BA86A5-97CC-46F2-8BE7-EA8B32F8976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74" name="Freeform: Shape 302">
              <a:extLst>
                <a:ext uri="{FF2B5EF4-FFF2-40B4-BE49-F238E27FC236}">
                  <a16:creationId xmlns:a16="http://schemas.microsoft.com/office/drawing/2014/main" id="{8D82B097-2697-46AB-94EF-91FF738EDCC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88" name="Group 187">
            <a:extLst>
              <a:ext uri="{FF2B5EF4-FFF2-40B4-BE49-F238E27FC236}">
                <a16:creationId xmlns:a16="http://schemas.microsoft.com/office/drawing/2014/main" id="{0D0FA814-8553-4214-AD61-C1F89510804B}"/>
              </a:ext>
            </a:extLst>
          </p:cNvPr>
          <p:cNvGrpSpPr/>
          <p:nvPr/>
        </p:nvGrpSpPr>
        <p:grpSpPr>
          <a:xfrm>
            <a:off x="5099067" y="3394739"/>
            <a:ext cx="232754" cy="232756"/>
            <a:chOff x="4083769" y="2552776"/>
            <a:chExt cx="529089" cy="529089"/>
          </a:xfrm>
        </p:grpSpPr>
        <p:sp>
          <p:nvSpPr>
            <p:cNvPr id="189" name="Oval 188">
              <a:extLst>
                <a:ext uri="{FF2B5EF4-FFF2-40B4-BE49-F238E27FC236}">
                  <a16:creationId xmlns:a16="http://schemas.microsoft.com/office/drawing/2014/main" id="{D4B7D30D-FCEA-404C-BD41-6D3E485F5940}"/>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0" name="Freeform: Shape 298">
              <a:extLst>
                <a:ext uri="{FF2B5EF4-FFF2-40B4-BE49-F238E27FC236}">
                  <a16:creationId xmlns:a16="http://schemas.microsoft.com/office/drawing/2014/main" id="{6DE21B15-287A-49F3-B627-7CAA1097DAA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1" name="Freeform: Shape 299">
              <a:extLst>
                <a:ext uri="{FF2B5EF4-FFF2-40B4-BE49-F238E27FC236}">
                  <a16:creationId xmlns:a16="http://schemas.microsoft.com/office/drawing/2014/main" id="{76FC4B42-EF0F-42B0-B8C5-9179F27C65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2" name="Freeform: Shape 301">
              <a:extLst>
                <a:ext uri="{FF2B5EF4-FFF2-40B4-BE49-F238E27FC236}">
                  <a16:creationId xmlns:a16="http://schemas.microsoft.com/office/drawing/2014/main" id="{0CDCC8A9-B5FE-42D4-A35E-AA3D622B3A9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3" name="Freeform: Shape 302">
              <a:extLst>
                <a:ext uri="{FF2B5EF4-FFF2-40B4-BE49-F238E27FC236}">
                  <a16:creationId xmlns:a16="http://schemas.microsoft.com/office/drawing/2014/main" id="{F257B882-1169-4F1B-8B1D-CDC05B081DC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94" name="Group 193">
            <a:extLst>
              <a:ext uri="{FF2B5EF4-FFF2-40B4-BE49-F238E27FC236}">
                <a16:creationId xmlns:a16="http://schemas.microsoft.com/office/drawing/2014/main" id="{F1CD2A82-6668-4C22-A1AA-7A62AF976B87}"/>
              </a:ext>
            </a:extLst>
          </p:cNvPr>
          <p:cNvGrpSpPr/>
          <p:nvPr/>
        </p:nvGrpSpPr>
        <p:grpSpPr>
          <a:xfrm>
            <a:off x="4595752" y="4338377"/>
            <a:ext cx="232754" cy="232756"/>
            <a:chOff x="4083769" y="2552776"/>
            <a:chExt cx="529089" cy="529089"/>
          </a:xfrm>
        </p:grpSpPr>
        <p:sp>
          <p:nvSpPr>
            <p:cNvPr id="195" name="Oval 194">
              <a:extLst>
                <a:ext uri="{FF2B5EF4-FFF2-40B4-BE49-F238E27FC236}">
                  <a16:creationId xmlns:a16="http://schemas.microsoft.com/office/drawing/2014/main" id="{18AE7273-3F77-4457-BDD7-398677BDE658}"/>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96" name="Freeform: Shape 298">
              <a:extLst>
                <a:ext uri="{FF2B5EF4-FFF2-40B4-BE49-F238E27FC236}">
                  <a16:creationId xmlns:a16="http://schemas.microsoft.com/office/drawing/2014/main" id="{328B368B-57E1-4687-839D-7628A0BA830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7" name="Freeform: Shape 299">
              <a:extLst>
                <a:ext uri="{FF2B5EF4-FFF2-40B4-BE49-F238E27FC236}">
                  <a16:creationId xmlns:a16="http://schemas.microsoft.com/office/drawing/2014/main" id="{FF254F06-F5FD-4377-91CD-74FC0C4676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8" name="Freeform: Shape 301">
              <a:extLst>
                <a:ext uri="{FF2B5EF4-FFF2-40B4-BE49-F238E27FC236}">
                  <a16:creationId xmlns:a16="http://schemas.microsoft.com/office/drawing/2014/main" id="{F11AA23E-D548-4B63-BB83-3A54745439B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9" name="Freeform: Shape 302">
              <a:extLst>
                <a:ext uri="{FF2B5EF4-FFF2-40B4-BE49-F238E27FC236}">
                  <a16:creationId xmlns:a16="http://schemas.microsoft.com/office/drawing/2014/main" id="{CA5E70C8-D178-44A9-ADD1-9FA490A5D7B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00" name="Group 199">
            <a:extLst>
              <a:ext uri="{FF2B5EF4-FFF2-40B4-BE49-F238E27FC236}">
                <a16:creationId xmlns:a16="http://schemas.microsoft.com/office/drawing/2014/main" id="{A55C47DE-5900-4354-8B24-F2711E208939}"/>
              </a:ext>
            </a:extLst>
          </p:cNvPr>
          <p:cNvGrpSpPr/>
          <p:nvPr/>
        </p:nvGrpSpPr>
        <p:grpSpPr>
          <a:xfrm>
            <a:off x="5003230" y="4864452"/>
            <a:ext cx="232754" cy="232756"/>
            <a:chOff x="4083769" y="2552776"/>
            <a:chExt cx="529089" cy="529089"/>
          </a:xfrm>
        </p:grpSpPr>
        <p:sp>
          <p:nvSpPr>
            <p:cNvPr id="201" name="Oval 200">
              <a:extLst>
                <a:ext uri="{FF2B5EF4-FFF2-40B4-BE49-F238E27FC236}">
                  <a16:creationId xmlns:a16="http://schemas.microsoft.com/office/drawing/2014/main" id="{C1E0F4BD-28FD-435C-BC38-6BCDC8D31772}"/>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2" name="Freeform: Shape 298">
              <a:extLst>
                <a:ext uri="{FF2B5EF4-FFF2-40B4-BE49-F238E27FC236}">
                  <a16:creationId xmlns:a16="http://schemas.microsoft.com/office/drawing/2014/main" id="{5AD7AD66-C0D3-432D-9DDA-6FD6A2A1871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3" name="Freeform: Shape 299">
              <a:extLst>
                <a:ext uri="{FF2B5EF4-FFF2-40B4-BE49-F238E27FC236}">
                  <a16:creationId xmlns:a16="http://schemas.microsoft.com/office/drawing/2014/main" id="{BB0DF815-97E6-4F72-8D47-88140D6F114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4" name="Freeform: Shape 301">
              <a:extLst>
                <a:ext uri="{FF2B5EF4-FFF2-40B4-BE49-F238E27FC236}">
                  <a16:creationId xmlns:a16="http://schemas.microsoft.com/office/drawing/2014/main" id="{3036C502-1650-42C5-85C0-550BDB9A187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5" name="Freeform: Shape 302">
              <a:extLst>
                <a:ext uri="{FF2B5EF4-FFF2-40B4-BE49-F238E27FC236}">
                  <a16:creationId xmlns:a16="http://schemas.microsoft.com/office/drawing/2014/main" id="{537184C9-F90B-4361-B9D6-8E7E9428CA0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 name="Straight Connector 3">
            <a:extLst>
              <a:ext uri="{FF2B5EF4-FFF2-40B4-BE49-F238E27FC236}">
                <a16:creationId xmlns:a16="http://schemas.microsoft.com/office/drawing/2014/main" id="{D9B39DE7-6207-4880-AA7C-7A281A0F7E72}"/>
              </a:ext>
            </a:extLst>
          </p:cNvPr>
          <p:cNvCxnSpPr>
            <a:cxnSpLocks/>
            <a:stCxn id="22" idx="3"/>
            <a:endCxn id="164" idx="6"/>
          </p:cNvCxnSpPr>
          <p:nvPr/>
        </p:nvCxnSpPr>
        <p:spPr>
          <a:xfrm flipH="1">
            <a:off x="3814347" y="3347904"/>
            <a:ext cx="213190" cy="91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a:extLst>
              <a:ext uri="{FF2B5EF4-FFF2-40B4-BE49-F238E27FC236}">
                <a16:creationId xmlns:a16="http://schemas.microsoft.com/office/drawing/2014/main" id="{4316C4CB-76CF-4067-AC21-B548902D7C3C}"/>
              </a:ext>
            </a:extLst>
          </p:cNvPr>
          <p:cNvCxnSpPr>
            <a:cxnSpLocks/>
            <a:stCxn id="170" idx="7"/>
            <a:endCxn id="207" idx="2"/>
          </p:cNvCxnSpPr>
          <p:nvPr/>
        </p:nvCxnSpPr>
        <p:spPr>
          <a:xfrm flipV="1">
            <a:off x="3638829" y="2891939"/>
            <a:ext cx="179776" cy="56223"/>
          </a:xfrm>
          <a:prstGeom prst="line">
            <a:avLst/>
          </a:prstGeom>
        </p:spPr>
        <p:style>
          <a:lnRef idx="1">
            <a:schemeClr val="accent6"/>
          </a:lnRef>
          <a:fillRef idx="0">
            <a:schemeClr val="accent6"/>
          </a:fillRef>
          <a:effectRef idx="0">
            <a:schemeClr val="accent6"/>
          </a:effectRef>
          <a:fontRef idx="minor">
            <a:schemeClr val="tx1"/>
          </a:fontRef>
        </p:style>
      </p:cxnSp>
      <p:grpSp>
        <p:nvGrpSpPr>
          <p:cNvPr id="206" name="Group 205">
            <a:extLst>
              <a:ext uri="{FF2B5EF4-FFF2-40B4-BE49-F238E27FC236}">
                <a16:creationId xmlns:a16="http://schemas.microsoft.com/office/drawing/2014/main" id="{11584B8D-05B0-4D7E-8413-94BAE7CDFE03}"/>
              </a:ext>
            </a:extLst>
          </p:cNvPr>
          <p:cNvGrpSpPr/>
          <p:nvPr/>
        </p:nvGrpSpPr>
        <p:grpSpPr>
          <a:xfrm>
            <a:off x="3818605" y="2775561"/>
            <a:ext cx="232754" cy="232756"/>
            <a:chOff x="4083769" y="2552776"/>
            <a:chExt cx="529089" cy="529089"/>
          </a:xfrm>
        </p:grpSpPr>
        <p:sp>
          <p:nvSpPr>
            <p:cNvPr id="207" name="Oval 206">
              <a:extLst>
                <a:ext uri="{FF2B5EF4-FFF2-40B4-BE49-F238E27FC236}">
                  <a16:creationId xmlns:a16="http://schemas.microsoft.com/office/drawing/2014/main" id="{DE98222F-03DD-4B99-8159-6F4CCB42506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08" name="Freeform: Shape 298">
              <a:extLst>
                <a:ext uri="{FF2B5EF4-FFF2-40B4-BE49-F238E27FC236}">
                  <a16:creationId xmlns:a16="http://schemas.microsoft.com/office/drawing/2014/main" id="{30288E56-D0E0-40FF-AB0A-A032FDD0361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9" name="Freeform: Shape 299">
              <a:extLst>
                <a:ext uri="{FF2B5EF4-FFF2-40B4-BE49-F238E27FC236}">
                  <a16:creationId xmlns:a16="http://schemas.microsoft.com/office/drawing/2014/main" id="{7EC362F5-F73C-4A2C-9CEB-06FC8313426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0" name="Freeform: Shape 301">
              <a:extLst>
                <a:ext uri="{FF2B5EF4-FFF2-40B4-BE49-F238E27FC236}">
                  <a16:creationId xmlns:a16="http://schemas.microsoft.com/office/drawing/2014/main" id="{48156703-F61B-45D9-BEEB-AF8D09F4D3B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1" name="Freeform: Shape 302">
              <a:extLst>
                <a:ext uri="{FF2B5EF4-FFF2-40B4-BE49-F238E27FC236}">
                  <a16:creationId xmlns:a16="http://schemas.microsoft.com/office/drawing/2014/main" id="{593799D1-44B1-45B5-9134-7C532BBB8CE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2" name="Group 211">
            <a:extLst>
              <a:ext uri="{FF2B5EF4-FFF2-40B4-BE49-F238E27FC236}">
                <a16:creationId xmlns:a16="http://schemas.microsoft.com/office/drawing/2014/main" id="{BB3FF222-C6A2-465B-A986-7C91D03EFA3C}"/>
              </a:ext>
            </a:extLst>
          </p:cNvPr>
          <p:cNvGrpSpPr/>
          <p:nvPr/>
        </p:nvGrpSpPr>
        <p:grpSpPr>
          <a:xfrm>
            <a:off x="4124647" y="1741796"/>
            <a:ext cx="232754" cy="232756"/>
            <a:chOff x="4083769" y="2552776"/>
            <a:chExt cx="529089" cy="529089"/>
          </a:xfrm>
        </p:grpSpPr>
        <p:sp>
          <p:nvSpPr>
            <p:cNvPr id="213" name="Oval 212">
              <a:extLst>
                <a:ext uri="{FF2B5EF4-FFF2-40B4-BE49-F238E27FC236}">
                  <a16:creationId xmlns:a16="http://schemas.microsoft.com/office/drawing/2014/main" id="{0AB264FF-F8BB-453F-BC70-3B43F97115F5}"/>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14" name="Freeform: Shape 298">
              <a:extLst>
                <a:ext uri="{FF2B5EF4-FFF2-40B4-BE49-F238E27FC236}">
                  <a16:creationId xmlns:a16="http://schemas.microsoft.com/office/drawing/2014/main" id="{7210A6AE-FF43-477F-A6DE-A00C52924E8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5" name="Freeform: Shape 299">
              <a:extLst>
                <a:ext uri="{FF2B5EF4-FFF2-40B4-BE49-F238E27FC236}">
                  <a16:creationId xmlns:a16="http://schemas.microsoft.com/office/drawing/2014/main" id="{B2D9D1E7-9629-4B5E-B85A-CE92AA21545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6" name="Freeform: Shape 301">
              <a:extLst>
                <a:ext uri="{FF2B5EF4-FFF2-40B4-BE49-F238E27FC236}">
                  <a16:creationId xmlns:a16="http://schemas.microsoft.com/office/drawing/2014/main" id="{077AD9BB-1DB1-4194-9216-E3BDDF4E993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17" name="Freeform: Shape 302">
              <a:extLst>
                <a:ext uri="{FF2B5EF4-FFF2-40B4-BE49-F238E27FC236}">
                  <a16:creationId xmlns:a16="http://schemas.microsoft.com/office/drawing/2014/main" id="{50340576-6417-4214-9C0C-BCE02D645F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8" name="Group 217">
            <a:extLst>
              <a:ext uri="{FF2B5EF4-FFF2-40B4-BE49-F238E27FC236}">
                <a16:creationId xmlns:a16="http://schemas.microsoft.com/office/drawing/2014/main" id="{430C80CE-E37D-47D8-AE32-5CEA823B1970}"/>
              </a:ext>
            </a:extLst>
          </p:cNvPr>
          <p:cNvGrpSpPr/>
          <p:nvPr/>
        </p:nvGrpSpPr>
        <p:grpSpPr>
          <a:xfrm>
            <a:off x="4595752" y="1996118"/>
            <a:ext cx="232754" cy="232756"/>
            <a:chOff x="4083769" y="2552776"/>
            <a:chExt cx="529089" cy="529089"/>
          </a:xfrm>
        </p:grpSpPr>
        <p:sp>
          <p:nvSpPr>
            <p:cNvPr id="219" name="Oval 218">
              <a:extLst>
                <a:ext uri="{FF2B5EF4-FFF2-40B4-BE49-F238E27FC236}">
                  <a16:creationId xmlns:a16="http://schemas.microsoft.com/office/drawing/2014/main" id="{04A42A0B-8126-422A-8353-0674EB4137A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20" name="Freeform: Shape 298">
              <a:extLst>
                <a:ext uri="{FF2B5EF4-FFF2-40B4-BE49-F238E27FC236}">
                  <a16:creationId xmlns:a16="http://schemas.microsoft.com/office/drawing/2014/main" id="{240F0F4F-8939-479B-96F4-668CDE987BF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1" name="Freeform: Shape 299">
              <a:extLst>
                <a:ext uri="{FF2B5EF4-FFF2-40B4-BE49-F238E27FC236}">
                  <a16:creationId xmlns:a16="http://schemas.microsoft.com/office/drawing/2014/main" id="{C44059CA-B22A-4EA8-8A74-3526655B06C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2" name="Freeform: Shape 301">
              <a:extLst>
                <a:ext uri="{FF2B5EF4-FFF2-40B4-BE49-F238E27FC236}">
                  <a16:creationId xmlns:a16="http://schemas.microsoft.com/office/drawing/2014/main" id="{A7088B16-0C3F-4014-A3D0-08D41316934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23" name="Freeform: Shape 302">
              <a:extLst>
                <a:ext uri="{FF2B5EF4-FFF2-40B4-BE49-F238E27FC236}">
                  <a16:creationId xmlns:a16="http://schemas.microsoft.com/office/drawing/2014/main" id="{B38A2634-676A-4EFA-968E-D09853F99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8" name="Straight Connector 77">
            <a:extLst>
              <a:ext uri="{FF2B5EF4-FFF2-40B4-BE49-F238E27FC236}">
                <a16:creationId xmlns:a16="http://schemas.microsoft.com/office/drawing/2014/main" id="{E1018C54-1722-45CA-9A91-79CBF9588268}"/>
              </a:ext>
            </a:extLst>
          </p:cNvPr>
          <p:cNvCxnSpPr>
            <a:cxnSpLocks/>
            <a:stCxn id="207" idx="7"/>
            <a:endCxn id="139" idx="4"/>
          </p:cNvCxnSpPr>
          <p:nvPr/>
        </p:nvCxnSpPr>
        <p:spPr>
          <a:xfrm flipV="1">
            <a:off x="4017273" y="2686598"/>
            <a:ext cx="13486" cy="1230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1" name="Straight Connector 80">
            <a:extLst>
              <a:ext uri="{FF2B5EF4-FFF2-40B4-BE49-F238E27FC236}">
                <a16:creationId xmlns:a16="http://schemas.microsoft.com/office/drawing/2014/main" id="{ED2C112D-1122-4ED3-9215-5EE4FFF11EA0}"/>
              </a:ext>
            </a:extLst>
          </p:cNvPr>
          <p:cNvCxnSpPr>
            <a:stCxn id="139" idx="0"/>
            <a:endCxn id="213" idx="4"/>
          </p:cNvCxnSpPr>
          <p:nvPr/>
        </p:nvCxnSpPr>
        <p:spPr>
          <a:xfrm flipV="1">
            <a:off x="4030759" y="1974552"/>
            <a:ext cx="210266" cy="479290"/>
          </a:xfrm>
          <a:prstGeom prst="line">
            <a:avLst/>
          </a:prstGeom>
        </p:spPr>
        <p:style>
          <a:lnRef idx="1">
            <a:schemeClr val="accent6"/>
          </a:lnRef>
          <a:fillRef idx="0">
            <a:schemeClr val="accent6"/>
          </a:fillRef>
          <a:effectRef idx="0">
            <a:schemeClr val="accent6"/>
          </a:effectRef>
          <a:fontRef idx="minor">
            <a:schemeClr val="tx1"/>
          </a:fontRef>
        </p:style>
      </p:cxnSp>
      <p:cxnSp>
        <p:nvCxnSpPr>
          <p:cNvPr id="85" name="Straight Connector 84">
            <a:extLst>
              <a:ext uri="{FF2B5EF4-FFF2-40B4-BE49-F238E27FC236}">
                <a16:creationId xmlns:a16="http://schemas.microsoft.com/office/drawing/2014/main" id="{9303CDC8-3C24-4C63-A2E9-0B63D7060B13}"/>
              </a:ext>
            </a:extLst>
          </p:cNvPr>
          <p:cNvCxnSpPr>
            <a:cxnSpLocks/>
            <a:endCxn id="219" idx="2"/>
          </p:cNvCxnSpPr>
          <p:nvPr/>
        </p:nvCxnSpPr>
        <p:spPr>
          <a:xfrm>
            <a:off x="4329897" y="1947047"/>
            <a:ext cx="265856" cy="165449"/>
          </a:xfrm>
          <a:prstGeom prst="line">
            <a:avLst/>
          </a:prstGeom>
        </p:spPr>
        <p:style>
          <a:lnRef idx="1">
            <a:schemeClr val="accent6"/>
          </a:lnRef>
          <a:fillRef idx="0">
            <a:schemeClr val="accent6"/>
          </a:fillRef>
          <a:effectRef idx="0">
            <a:schemeClr val="accent6"/>
          </a:effectRef>
          <a:fontRef idx="minor">
            <a:schemeClr val="tx1"/>
          </a:fontRef>
        </p:style>
      </p:cxnSp>
      <p:cxnSp>
        <p:nvCxnSpPr>
          <p:cNvPr id="89" name="Straight Connector 88">
            <a:extLst>
              <a:ext uri="{FF2B5EF4-FFF2-40B4-BE49-F238E27FC236}">
                <a16:creationId xmlns:a16="http://schemas.microsoft.com/office/drawing/2014/main" id="{9245EF68-03C8-46C2-8AC0-52A136210F31}"/>
              </a:ext>
            </a:extLst>
          </p:cNvPr>
          <p:cNvCxnSpPr>
            <a:stCxn id="213" idx="0"/>
            <a:endCxn id="52" idx="3"/>
          </p:cNvCxnSpPr>
          <p:nvPr/>
        </p:nvCxnSpPr>
        <p:spPr>
          <a:xfrm flipV="1">
            <a:off x="4241024" y="1620703"/>
            <a:ext cx="48573" cy="121092"/>
          </a:xfrm>
          <a:prstGeom prst="line">
            <a:avLst/>
          </a:prstGeom>
        </p:spPr>
        <p:style>
          <a:lnRef idx="1">
            <a:schemeClr val="accent6"/>
          </a:lnRef>
          <a:fillRef idx="0">
            <a:schemeClr val="accent6"/>
          </a:fillRef>
          <a:effectRef idx="0">
            <a:schemeClr val="accent6"/>
          </a:effectRef>
          <a:fontRef idx="minor">
            <a:schemeClr val="tx1"/>
          </a:fontRef>
        </p:style>
      </p:cxnSp>
      <p:cxnSp>
        <p:nvCxnSpPr>
          <p:cNvPr id="91" name="Straight Connector 90">
            <a:extLst>
              <a:ext uri="{FF2B5EF4-FFF2-40B4-BE49-F238E27FC236}">
                <a16:creationId xmlns:a16="http://schemas.microsoft.com/office/drawing/2014/main" id="{3071A200-8986-47C1-9F3E-7746C9E318A9}"/>
              </a:ext>
            </a:extLst>
          </p:cNvPr>
          <p:cNvCxnSpPr>
            <a:stCxn id="52" idx="7"/>
            <a:endCxn id="95" idx="3"/>
          </p:cNvCxnSpPr>
          <p:nvPr/>
        </p:nvCxnSpPr>
        <p:spPr>
          <a:xfrm flipV="1">
            <a:off x="4505114" y="1393417"/>
            <a:ext cx="40975" cy="11769"/>
          </a:xfrm>
          <a:prstGeom prst="line">
            <a:avLst/>
          </a:prstGeom>
        </p:spPr>
        <p:style>
          <a:lnRef idx="1">
            <a:schemeClr val="accent6"/>
          </a:lnRef>
          <a:fillRef idx="0">
            <a:schemeClr val="accent6"/>
          </a:fillRef>
          <a:effectRef idx="0">
            <a:schemeClr val="accent6"/>
          </a:effectRef>
          <a:fontRef idx="minor">
            <a:schemeClr val="tx1"/>
          </a:fontRef>
        </p:style>
      </p:cxnSp>
      <p:cxnSp>
        <p:nvCxnSpPr>
          <p:cNvPr id="224" name="Straight Connector 223">
            <a:extLst>
              <a:ext uri="{FF2B5EF4-FFF2-40B4-BE49-F238E27FC236}">
                <a16:creationId xmlns:a16="http://schemas.microsoft.com/office/drawing/2014/main" id="{09A0AD0E-EE20-4035-802E-86850702F4A3}"/>
              </a:ext>
            </a:extLst>
          </p:cNvPr>
          <p:cNvCxnSpPr>
            <a:stCxn id="34" idx="5"/>
            <a:endCxn id="95" idx="0"/>
          </p:cNvCxnSpPr>
          <p:nvPr/>
        </p:nvCxnSpPr>
        <p:spPr>
          <a:xfrm>
            <a:off x="4547839" y="1176203"/>
            <a:ext cx="80541" cy="18543"/>
          </a:xfrm>
          <a:prstGeom prst="line">
            <a:avLst/>
          </a:prstGeom>
        </p:spPr>
        <p:style>
          <a:lnRef idx="1">
            <a:schemeClr val="accent6"/>
          </a:lnRef>
          <a:fillRef idx="0">
            <a:schemeClr val="accent6"/>
          </a:fillRef>
          <a:effectRef idx="0">
            <a:schemeClr val="accent6"/>
          </a:effectRef>
          <a:fontRef idx="minor">
            <a:schemeClr val="tx1"/>
          </a:fontRef>
        </p:style>
      </p:cxnSp>
      <p:cxnSp>
        <p:nvCxnSpPr>
          <p:cNvPr id="226" name="Straight Connector 225">
            <a:extLst>
              <a:ext uri="{FF2B5EF4-FFF2-40B4-BE49-F238E27FC236}">
                <a16:creationId xmlns:a16="http://schemas.microsoft.com/office/drawing/2014/main" id="{2E249890-1168-45E5-B6AC-BBF5BB589972}"/>
              </a:ext>
            </a:extLst>
          </p:cNvPr>
          <p:cNvCxnSpPr>
            <a:cxnSpLocks/>
            <a:stCxn id="95" idx="5"/>
            <a:endCxn id="113" idx="3"/>
          </p:cNvCxnSpPr>
          <p:nvPr/>
        </p:nvCxnSpPr>
        <p:spPr>
          <a:xfrm>
            <a:off x="4710671" y="1393416"/>
            <a:ext cx="545987" cy="1048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0" name="Straight Connector 229">
            <a:extLst>
              <a:ext uri="{FF2B5EF4-FFF2-40B4-BE49-F238E27FC236}">
                <a16:creationId xmlns:a16="http://schemas.microsoft.com/office/drawing/2014/main" id="{612D1C1C-0BDE-43DB-9465-1C2C127F24DA}"/>
              </a:ext>
            </a:extLst>
          </p:cNvPr>
          <p:cNvCxnSpPr>
            <a:stCxn id="219" idx="0"/>
          </p:cNvCxnSpPr>
          <p:nvPr/>
        </p:nvCxnSpPr>
        <p:spPr>
          <a:xfrm flipH="1" flipV="1">
            <a:off x="4464662" y="1660065"/>
            <a:ext cx="247468" cy="336053"/>
          </a:xfrm>
          <a:prstGeom prst="line">
            <a:avLst/>
          </a:prstGeom>
        </p:spPr>
        <p:style>
          <a:lnRef idx="1">
            <a:schemeClr val="accent6"/>
          </a:lnRef>
          <a:fillRef idx="0">
            <a:schemeClr val="accent6"/>
          </a:fillRef>
          <a:effectRef idx="0">
            <a:schemeClr val="accent6"/>
          </a:effectRef>
          <a:fontRef idx="minor">
            <a:schemeClr val="tx1"/>
          </a:fontRef>
        </p:style>
      </p:cxnSp>
      <p:cxnSp>
        <p:nvCxnSpPr>
          <p:cNvPr id="232" name="Straight Connector 231">
            <a:extLst>
              <a:ext uri="{FF2B5EF4-FFF2-40B4-BE49-F238E27FC236}">
                <a16:creationId xmlns:a16="http://schemas.microsoft.com/office/drawing/2014/main" id="{5CB27096-D36F-4839-B1E1-FCB8F99E10A3}"/>
              </a:ext>
            </a:extLst>
          </p:cNvPr>
          <p:cNvCxnSpPr>
            <a:stCxn id="219" idx="5"/>
            <a:endCxn id="10" idx="0"/>
          </p:cNvCxnSpPr>
          <p:nvPr/>
        </p:nvCxnSpPr>
        <p:spPr>
          <a:xfrm>
            <a:off x="4794421" y="2194788"/>
            <a:ext cx="136211" cy="33098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4" name="Straight Connector 233">
            <a:extLst>
              <a:ext uri="{FF2B5EF4-FFF2-40B4-BE49-F238E27FC236}">
                <a16:creationId xmlns:a16="http://schemas.microsoft.com/office/drawing/2014/main" id="{6AFC7520-BEE0-42BB-95C1-7B34AA94342F}"/>
              </a:ext>
            </a:extLst>
          </p:cNvPr>
          <p:cNvCxnSpPr>
            <a:stCxn id="34" idx="2"/>
          </p:cNvCxnSpPr>
          <p:nvPr/>
        </p:nvCxnSpPr>
        <p:spPr>
          <a:xfrm flipH="1" flipV="1">
            <a:off x="4018917" y="1025718"/>
            <a:ext cx="268770" cy="42726"/>
          </a:xfrm>
          <a:prstGeom prst="line">
            <a:avLst/>
          </a:prstGeom>
        </p:spPr>
        <p:style>
          <a:lnRef idx="1">
            <a:schemeClr val="accent6"/>
          </a:lnRef>
          <a:fillRef idx="0">
            <a:schemeClr val="accent6"/>
          </a:fillRef>
          <a:effectRef idx="0">
            <a:schemeClr val="accent6"/>
          </a:effectRef>
          <a:fontRef idx="minor">
            <a:schemeClr val="tx1"/>
          </a:fontRef>
        </p:style>
      </p:cxnSp>
      <p:cxnSp>
        <p:nvCxnSpPr>
          <p:cNvPr id="236" name="Straight Connector 235">
            <a:extLst>
              <a:ext uri="{FF2B5EF4-FFF2-40B4-BE49-F238E27FC236}">
                <a16:creationId xmlns:a16="http://schemas.microsoft.com/office/drawing/2014/main" id="{E620E745-0743-4AC1-A1F8-EC0F1960F3B4}"/>
              </a:ext>
            </a:extLst>
          </p:cNvPr>
          <p:cNvCxnSpPr>
            <a:stCxn id="139" idx="5"/>
            <a:endCxn id="10" idx="2"/>
          </p:cNvCxnSpPr>
          <p:nvPr/>
        </p:nvCxnSpPr>
        <p:spPr>
          <a:xfrm>
            <a:off x="4113050" y="2652511"/>
            <a:ext cx="665189" cy="25658"/>
          </a:xfrm>
          <a:prstGeom prst="line">
            <a:avLst/>
          </a:prstGeom>
        </p:spPr>
        <p:style>
          <a:lnRef idx="1">
            <a:schemeClr val="accent6"/>
          </a:lnRef>
          <a:fillRef idx="0">
            <a:schemeClr val="accent6"/>
          </a:fillRef>
          <a:effectRef idx="0">
            <a:schemeClr val="accent6"/>
          </a:effectRef>
          <a:fontRef idx="minor">
            <a:schemeClr val="tx1"/>
          </a:fontRef>
        </p:style>
      </p:cxnSp>
      <p:cxnSp>
        <p:nvCxnSpPr>
          <p:cNvPr id="238" name="Straight Connector 237">
            <a:extLst>
              <a:ext uri="{FF2B5EF4-FFF2-40B4-BE49-F238E27FC236}">
                <a16:creationId xmlns:a16="http://schemas.microsoft.com/office/drawing/2014/main" id="{AD7D9AA0-E018-4BCF-8E16-5EF93F0C4F53}"/>
              </a:ext>
            </a:extLst>
          </p:cNvPr>
          <p:cNvCxnSpPr>
            <a:cxnSpLocks/>
            <a:stCxn id="207" idx="4"/>
            <a:endCxn id="22" idx="1"/>
          </p:cNvCxnSpPr>
          <p:nvPr/>
        </p:nvCxnSpPr>
        <p:spPr>
          <a:xfrm>
            <a:off x="3934982" y="3008317"/>
            <a:ext cx="92555" cy="124069"/>
          </a:xfrm>
          <a:prstGeom prst="line">
            <a:avLst/>
          </a:prstGeom>
        </p:spPr>
        <p:style>
          <a:lnRef idx="1">
            <a:schemeClr val="accent6"/>
          </a:lnRef>
          <a:fillRef idx="0">
            <a:schemeClr val="accent6"/>
          </a:fillRef>
          <a:effectRef idx="0">
            <a:schemeClr val="accent6"/>
          </a:effectRef>
          <a:fontRef idx="minor">
            <a:schemeClr val="tx1"/>
          </a:fontRef>
        </p:style>
      </p:cxnSp>
      <p:grpSp>
        <p:nvGrpSpPr>
          <p:cNvPr id="243" name="Group 242">
            <a:extLst>
              <a:ext uri="{FF2B5EF4-FFF2-40B4-BE49-F238E27FC236}">
                <a16:creationId xmlns:a16="http://schemas.microsoft.com/office/drawing/2014/main" id="{A0E63DFE-C609-4470-8DDC-B0FA8A6B6235}"/>
              </a:ext>
            </a:extLst>
          </p:cNvPr>
          <p:cNvGrpSpPr/>
          <p:nvPr/>
        </p:nvGrpSpPr>
        <p:grpSpPr>
          <a:xfrm>
            <a:off x="4409653" y="2842407"/>
            <a:ext cx="232754" cy="232756"/>
            <a:chOff x="4083769" y="2552776"/>
            <a:chExt cx="529089" cy="529089"/>
          </a:xfrm>
        </p:grpSpPr>
        <p:sp>
          <p:nvSpPr>
            <p:cNvPr id="244" name="Oval 243">
              <a:extLst>
                <a:ext uri="{FF2B5EF4-FFF2-40B4-BE49-F238E27FC236}">
                  <a16:creationId xmlns:a16="http://schemas.microsoft.com/office/drawing/2014/main" id="{47A948BD-4717-43DA-A881-777E57ABB637}"/>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45" name="Freeform: Shape 298">
              <a:extLst>
                <a:ext uri="{FF2B5EF4-FFF2-40B4-BE49-F238E27FC236}">
                  <a16:creationId xmlns:a16="http://schemas.microsoft.com/office/drawing/2014/main" id="{9185B029-A0AA-446D-B149-F163C627FF3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6" name="Freeform: Shape 299">
              <a:extLst>
                <a:ext uri="{FF2B5EF4-FFF2-40B4-BE49-F238E27FC236}">
                  <a16:creationId xmlns:a16="http://schemas.microsoft.com/office/drawing/2014/main" id="{BB76B05F-24B0-4DA4-ABBD-7EB3D858E7B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7" name="Freeform: Shape 301">
              <a:extLst>
                <a:ext uri="{FF2B5EF4-FFF2-40B4-BE49-F238E27FC236}">
                  <a16:creationId xmlns:a16="http://schemas.microsoft.com/office/drawing/2014/main" id="{FE13136D-6F60-42E0-B9E5-48F40CD2145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8" name="Freeform: Shape 302">
              <a:extLst>
                <a:ext uri="{FF2B5EF4-FFF2-40B4-BE49-F238E27FC236}">
                  <a16:creationId xmlns:a16="http://schemas.microsoft.com/office/drawing/2014/main" id="{978C4676-861D-4FD6-BF83-A574EE0CF71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50" name="Straight Connector 249">
            <a:extLst>
              <a:ext uri="{FF2B5EF4-FFF2-40B4-BE49-F238E27FC236}">
                <a16:creationId xmlns:a16="http://schemas.microsoft.com/office/drawing/2014/main" id="{CCC0D7E7-6E73-49F4-8DA5-BB5833BF340B}"/>
              </a:ext>
            </a:extLst>
          </p:cNvPr>
          <p:cNvCxnSpPr>
            <a:stCxn id="22" idx="6"/>
            <a:endCxn id="244" idx="3"/>
          </p:cNvCxnSpPr>
          <p:nvPr/>
        </p:nvCxnSpPr>
        <p:spPr>
          <a:xfrm flipV="1">
            <a:off x="4287688" y="3041076"/>
            <a:ext cx="156051" cy="199068"/>
          </a:xfrm>
          <a:prstGeom prst="line">
            <a:avLst/>
          </a:prstGeom>
        </p:spPr>
        <p:style>
          <a:lnRef idx="1">
            <a:schemeClr val="accent6"/>
          </a:lnRef>
          <a:fillRef idx="0">
            <a:schemeClr val="accent6"/>
          </a:fillRef>
          <a:effectRef idx="0">
            <a:schemeClr val="accent6"/>
          </a:effectRef>
          <a:fontRef idx="minor">
            <a:schemeClr val="tx1"/>
          </a:fontRef>
        </p:style>
      </p:cxnSp>
      <p:cxnSp>
        <p:nvCxnSpPr>
          <p:cNvPr id="252" name="Straight Connector 251">
            <a:extLst>
              <a:ext uri="{FF2B5EF4-FFF2-40B4-BE49-F238E27FC236}">
                <a16:creationId xmlns:a16="http://schemas.microsoft.com/office/drawing/2014/main" id="{510730DB-1477-4265-B48D-D5C30673A102}"/>
              </a:ext>
            </a:extLst>
          </p:cNvPr>
          <p:cNvCxnSpPr>
            <a:stCxn id="244" idx="7"/>
            <a:endCxn id="10" idx="3"/>
          </p:cNvCxnSpPr>
          <p:nvPr/>
        </p:nvCxnSpPr>
        <p:spPr>
          <a:xfrm flipV="1">
            <a:off x="4608321" y="2785928"/>
            <a:ext cx="214553" cy="90564"/>
          </a:xfrm>
          <a:prstGeom prst="line">
            <a:avLst/>
          </a:prstGeom>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4D8014BB-6B5D-40D9-B994-E0427D624965}"/>
              </a:ext>
            </a:extLst>
          </p:cNvPr>
          <p:cNvGrpSpPr/>
          <p:nvPr/>
        </p:nvGrpSpPr>
        <p:grpSpPr>
          <a:xfrm>
            <a:off x="4619137" y="3019968"/>
            <a:ext cx="232754" cy="232756"/>
            <a:chOff x="4083769" y="2552776"/>
            <a:chExt cx="529089" cy="529089"/>
          </a:xfrm>
        </p:grpSpPr>
        <p:sp>
          <p:nvSpPr>
            <p:cNvPr id="254" name="Oval 253">
              <a:extLst>
                <a:ext uri="{FF2B5EF4-FFF2-40B4-BE49-F238E27FC236}">
                  <a16:creationId xmlns:a16="http://schemas.microsoft.com/office/drawing/2014/main" id="{6D42A1F3-C46F-4F53-BE0B-7B619D16F221}"/>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55" name="Freeform: Shape 298">
              <a:extLst>
                <a:ext uri="{FF2B5EF4-FFF2-40B4-BE49-F238E27FC236}">
                  <a16:creationId xmlns:a16="http://schemas.microsoft.com/office/drawing/2014/main" id="{440AE0B4-C0F6-467E-950F-7BF56735395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6" name="Freeform: Shape 299">
              <a:extLst>
                <a:ext uri="{FF2B5EF4-FFF2-40B4-BE49-F238E27FC236}">
                  <a16:creationId xmlns:a16="http://schemas.microsoft.com/office/drawing/2014/main" id="{4D5C632B-E362-4A57-A105-BAC185142DB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7" name="Freeform: Shape 301">
              <a:extLst>
                <a:ext uri="{FF2B5EF4-FFF2-40B4-BE49-F238E27FC236}">
                  <a16:creationId xmlns:a16="http://schemas.microsoft.com/office/drawing/2014/main" id="{86044D57-4377-42C5-9AC3-F0D4E9D8D59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8" name="Freeform: Shape 302">
              <a:extLst>
                <a:ext uri="{FF2B5EF4-FFF2-40B4-BE49-F238E27FC236}">
                  <a16:creationId xmlns:a16="http://schemas.microsoft.com/office/drawing/2014/main" id="{841CACD6-AEF6-4771-BEAB-6125AEE97CA7}"/>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60" name="Straight Connector 259">
            <a:extLst>
              <a:ext uri="{FF2B5EF4-FFF2-40B4-BE49-F238E27FC236}">
                <a16:creationId xmlns:a16="http://schemas.microsoft.com/office/drawing/2014/main" id="{9AEE93CD-6A59-4EE8-9E50-6A2F2EF6593B}"/>
              </a:ext>
            </a:extLst>
          </p:cNvPr>
          <p:cNvCxnSpPr>
            <a:stCxn id="244" idx="5"/>
            <a:endCxn id="254" idx="1"/>
          </p:cNvCxnSpPr>
          <p:nvPr/>
        </p:nvCxnSpPr>
        <p:spPr>
          <a:xfrm>
            <a:off x="4608321" y="3041077"/>
            <a:ext cx="44902" cy="1297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2" name="Straight Connector 261">
            <a:extLst>
              <a:ext uri="{FF2B5EF4-FFF2-40B4-BE49-F238E27FC236}">
                <a16:creationId xmlns:a16="http://schemas.microsoft.com/office/drawing/2014/main" id="{EF17BD06-F653-4FB0-AFF5-CDA5BAC26EEC}"/>
              </a:ext>
            </a:extLst>
          </p:cNvPr>
          <p:cNvCxnSpPr>
            <a:stCxn id="254" idx="7"/>
            <a:endCxn id="10" idx="4"/>
          </p:cNvCxnSpPr>
          <p:nvPr/>
        </p:nvCxnSpPr>
        <p:spPr>
          <a:xfrm flipV="1">
            <a:off x="4817804" y="2830564"/>
            <a:ext cx="112827" cy="223490"/>
          </a:xfrm>
          <a:prstGeom prst="line">
            <a:avLst/>
          </a:prstGeom>
        </p:spPr>
        <p:style>
          <a:lnRef idx="1">
            <a:schemeClr val="accent6"/>
          </a:lnRef>
          <a:fillRef idx="0">
            <a:schemeClr val="accent6"/>
          </a:fillRef>
          <a:effectRef idx="0">
            <a:schemeClr val="accent6"/>
          </a:effectRef>
          <a:fontRef idx="minor">
            <a:schemeClr val="tx1"/>
          </a:fontRef>
        </p:style>
      </p:cxnSp>
      <p:cxnSp>
        <p:nvCxnSpPr>
          <p:cNvPr id="264" name="Straight Connector 263">
            <a:extLst>
              <a:ext uri="{FF2B5EF4-FFF2-40B4-BE49-F238E27FC236}">
                <a16:creationId xmlns:a16="http://schemas.microsoft.com/office/drawing/2014/main" id="{7EEB4F30-23B6-40C6-A774-57AC3E334859}"/>
              </a:ext>
            </a:extLst>
          </p:cNvPr>
          <p:cNvCxnSpPr>
            <a:stCxn id="145" idx="0"/>
            <a:endCxn id="254" idx="3"/>
          </p:cNvCxnSpPr>
          <p:nvPr/>
        </p:nvCxnSpPr>
        <p:spPr>
          <a:xfrm flipV="1">
            <a:off x="4553535" y="3218638"/>
            <a:ext cx="99688" cy="256457"/>
          </a:xfrm>
          <a:prstGeom prst="line">
            <a:avLst/>
          </a:prstGeom>
        </p:spPr>
        <p:style>
          <a:lnRef idx="1">
            <a:schemeClr val="accent6"/>
          </a:lnRef>
          <a:fillRef idx="0">
            <a:schemeClr val="accent6"/>
          </a:fillRef>
          <a:effectRef idx="0">
            <a:schemeClr val="accent6"/>
          </a:effectRef>
          <a:fontRef idx="minor">
            <a:schemeClr val="tx1"/>
          </a:fontRef>
        </p:style>
      </p:cxnSp>
      <p:cxnSp>
        <p:nvCxnSpPr>
          <p:cNvPr id="266" name="Straight Connector 265">
            <a:extLst>
              <a:ext uri="{FF2B5EF4-FFF2-40B4-BE49-F238E27FC236}">
                <a16:creationId xmlns:a16="http://schemas.microsoft.com/office/drawing/2014/main" id="{E426C8FD-508D-4B47-9DE1-AE292C55FFEC}"/>
              </a:ext>
            </a:extLst>
          </p:cNvPr>
          <p:cNvCxnSpPr>
            <a:cxnSpLocks/>
            <a:stCxn id="145" idx="7"/>
            <a:endCxn id="58" idx="2"/>
          </p:cNvCxnSpPr>
          <p:nvPr/>
        </p:nvCxnSpPr>
        <p:spPr>
          <a:xfrm flipV="1">
            <a:off x="4635826" y="3409838"/>
            <a:ext cx="135704" cy="9934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9" name="Straight Connector 268">
            <a:extLst>
              <a:ext uri="{FF2B5EF4-FFF2-40B4-BE49-F238E27FC236}">
                <a16:creationId xmlns:a16="http://schemas.microsoft.com/office/drawing/2014/main" id="{A11558DD-8799-4353-8227-62FE436C8E7F}"/>
              </a:ext>
            </a:extLst>
          </p:cNvPr>
          <p:cNvCxnSpPr>
            <a:cxnSpLocks/>
            <a:stCxn id="278" idx="3"/>
            <a:endCxn id="195" idx="7"/>
          </p:cNvCxnSpPr>
          <p:nvPr/>
        </p:nvCxnSpPr>
        <p:spPr>
          <a:xfrm>
            <a:off x="4731964" y="3855873"/>
            <a:ext cx="62457" cy="516590"/>
          </a:xfrm>
          <a:prstGeom prst="line">
            <a:avLst/>
          </a:prstGeom>
        </p:spPr>
        <p:style>
          <a:lnRef idx="1">
            <a:schemeClr val="accent6"/>
          </a:lnRef>
          <a:fillRef idx="0">
            <a:schemeClr val="accent6"/>
          </a:fillRef>
          <a:effectRef idx="0">
            <a:schemeClr val="accent6"/>
          </a:effectRef>
          <a:fontRef idx="minor">
            <a:schemeClr val="tx1"/>
          </a:fontRef>
        </p:style>
      </p:cxnSp>
      <p:grpSp>
        <p:nvGrpSpPr>
          <p:cNvPr id="277" name="Group 276">
            <a:extLst>
              <a:ext uri="{FF2B5EF4-FFF2-40B4-BE49-F238E27FC236}">
                <a16:creationId xmlns:a16="http://schemas.microsoft.com/office/drawing/2014/main" id="{5AB1B459-F927-491F-A802-F4171E4BD5E1}"/>
              </a:ext>
            </a:extLst>
          </p:cNvPr>
          <p:cNvGrpSpPr/>
          <p:nvPr/>
        </p:nvGrpSpPr>
        <p:grpSpPr>
          <a:xfrm>
            <a:off x="4697878" y="3657203"/>
            <a:ext cx="232754" cy="232756"/>
            <a:chOff x="4083769" y="2552776"/>
            <a:chExt cx="529089" cy="529089"/>
          </a:xfrm>
        </p:grpSpPr>
        <p:sp>
          <p:nvSpPr>
            <p:cNvPr id="278" name="Oval 277">
              <a:extLst>
                <a:ext uri="{FF2B5EF4-FFF2-40B4-BE49-F238E27FC236}">
                  <a16:creationId xmlns:a16="http://schemas.microsoft.com/office/drawing/2014/main" id="{B10A3D8C-D9C8-40FF-9DEF-9F19471A5613}"/>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79" name="Freeform: Shape 298">
              <a:extLst>
                <a:ext uri="{FF2B5EF4-FFF2-40B4-BE49-F238E27FC236}">
                  <a16:creationId xmlns:a16="http://schemas.microsoft.com/office/drawing/2014/main" id="{82C33D4E-BEBB-46A8-8210-0FE71F79633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0" name="Freeform: Shape 299">
              <a:extLst>
                <a:ext uri="{FF2B5EF4-FFF2-40B4-BE49-F238E27FC236}">
                  <a16:creationId xmlns:a16="http://schemas.microsoft.com/office/drawing/2014/main" id="{76803C7D-9C88-44F3-919E-34BA8579218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1" name="Freeform: Shape 301">
              <a:extLst>
                <a:ext uri="{FF2B5EF4-FFF2-40B4-BE49-F238E27FC236}">
                  <a16:creationId xmlns:a16="http://schemas.microsoft.com/office/drawing/2014/main" id="{A7EE60EF-2146-401A-917A-D8CDFCDCB87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82" name="Freeform: Shape 302">
              <a:extLst>
                <a:ext uri="{FF2B5EF4-FFF2-40B4-BE49-F238E27FC236}">
                  <a16:creationId xmlns:a16="http://schemas.microsoft.com/office/drawing/2014/main" id="{08EA6693-14B4-4CF0-8607-8733550F9BA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285" name="Straight Connector 284">
            <a:extLst>
              <a:ext uri="{FF2B5EF4-FFF2-40B4-BE49-F238E27FC236}">
                <a16:creationId xmlns:a16="http://schemas.microsoft.com/office/drawing/2014/main" id="{ECB52D98-4226-4155-8892-B5B564064A94}"/>
              </a:ext>
            </a:extLst>
          </p:cNvPr>
          <p:cNvCxnSpPr/>
          <p:nvPr/>
        </p:nvCxnSpPr>
        <p:spPr>
          <a:xfrm>
            <a:off x="4803767" y="365720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50503790-8073-4F94-AC8B-05A56FCBC15B}"/>
              </a:ext>
            </a:extLst>
          </p:cNvPr>
          <p:cNvCxnSpPr>
            <a:stCxn id="278" idx="0"/>
            <a:endCxn id="58" idx="4"/>
          </p:cNvCxnSpPr>
          <p:nvPr/>
        </p:nvCxnSpPr>
        <p:spPr>
          <a:xfrm flipV="1">
            <a:off x="4814254" y="3562233"/>
            <a:ext cx="109668" cy="94970"/>
          </a:xfrm>
          <a:prstGeom prst="line">
            <a:avLst/>
          </a:prstGeom>
        </p:spPr>
        <p:style>
          <a:lnRef idx="1">
            <a:schemeClr val="accent6"/>
          </a:lnRef>
          <a:fillRef idx="0">
            <a:schemeClr val="accent6"/>
          </a:fillRef>
          <a:effectRef idx="0">
            <a:schemeClr val="accent6"/>
          </a:effectRef>
          <a:fontRef idx="minor">
            <a:schemeClr val="tx1"/>
          </a:fontRef>
        </p:style>
      </p:cxnSp>
      <p:cxnSp>
        <p:nvCxnSpPr>
          <p:cNvPr id="289" name="Straight Connector 288">
            <a:extLst>
              <a:ext uri="{FF2B5EF4-FFF2-40B4-BE49-F238E27FC236}">
                <a16:creationId xmlns:a16="http://schemas.microsoft.com/office/drawing/2014/main" id="{8C8136F8-37B0-4AC5-9AC3-4648D9BFA4FC}"/>
              </a:ext>
            </a:extLst>
          </p:cNvPr>
          <p:cNvCxnSpPr>
            <a:cxnSpLocks/>
            <a:stCxn id="58" idx="0"/>
            <a:endCxn id="10" idx="4"/>
          </p:cNvCxnSpPr>
          <p:nvPr/>
        </p:nvCxnSpPr>
        <p:spPr>
          <a:xfrm flipV="1">
            <a:off x="4923923" y="2830564"/>
            <a:ext cx="6709" cy="4268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2" name="Straight Connector 291">
            <a:extLst>
              <a:ext uri="{FF2B5EF4-FFF2-40B4-BE49-F238E27FC236}">
                <a16:creationId xmlns:a16="http://schemas.microsoft.com/office/drawing/2014/main" id="{6793DC0F-FA91-49E9-BFC6-F4BBAED07BCE}"/>
              </a:ext>
            </a:extLst>
          </p:cNvPr>
          <p:cNvCxnSpPr>
            <a:stCxn id="58" idx="5"/>
            <a:endCxn id="189" idx="2"/>
          </p:cNvCxnSpPr>
          <p:nvPr/>
        </p:nvCxnSpPr>
        <p:spPr>
          <a:xfrm flipV="1">
            <a:off x="5031680" y="3511117"/>
            <a:ext cx="67386" cy="64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4" name="Straight Connector 293">
            <a:extLst>
              <a:ext uri="{FF2B5EF4-FFF2-40B4-BE49-F238E27FC236}">
                <a16:creationId xmlns:a16="http://schemas.microsoft.com/office/drawing/2014/main" id="{34514968-444B-44B1-BB54-758DB9900113}"/>
              </a:ext>
            </a:extLst>
          </p:cNvPr>
          <p:cNvCxnSpPr>
            <a:stCxn id="189" idx="0"/>
            <a:endCxn id="16" idx="4"/>
          </p:cNvCxnSpPr>
          <p:nvPr/>
        </p:nvCxnSpPr>
        <p:spPr>
          <a:xfrm flipH="1" flipV="1">
            <a:off x="5200287" y="3025683"/>
            <a:ext cx="15156" cy="369056"/>
          </a:xfrm>
          <a:prstGeom prst="line">
            <a:avLst/>
          </a:prstGeom>
        </p:spPr>
        <p:style>
          <a:lnRef idx="1">
            <a:schemeClr val="accent6"/>
          </a:lnRef>
          <a:fillRef idx="0">
            <a:schemeClr val="accent6"/>
          </a:fillRef>
          <a:effectRef idx="0">
            <a:schemeClr val="accent6"/>
          </a:effectRef>
          <a:fontRef idx="minor">
            <a:schemeClr val="tx1"/>
          </a:fontRef>
        </p:style>
      </p:cxnSp>
      <p:cxnSp>
        <p:nvCxnSpPr>
          <p:cNvPr id="296" name="Straight Connector 295">
            <a:extLst>
              <a:ext uri="{FF2B5EF4-FFF2-40B4-BE49-F238E27FC236}">
                <a16:creationId xmlns:a16="http://schemas.microsoft.com/office/drawing/2014/main" id="{A5B4807B-92EA-466C-AFBA-F5D00A6D80A1}"/>
              </a:ext>
            </a:extLst>
          </p:cNvPr>
          <p:cNvCxnSpPr>
            <a:stCxn id="16" idx="7"/>
            <a:endCxn id="133" idx="3"/>
          </p:cNvCxnSpPr>
          <p:nvPr/>
        </p:nvCxnSpPr>
        <p:spPr>
          <a:xfrm flipV="1">
            <a:off x="5308045" y="2672121"/>
            <a:ext cx="305492" cy="93409"/>
          </a:xfrm>
          <a:prstGeom prst="line">
            <a:avLst/>
          </a:prstGeom>
        </p:spPr>
        <p:style>
          <a:lnRef idx="1">
            <a:schemeClr val="accent6"/>
          </a:lnRef>
          <a:fillRef idx="0">
            <a:schemeClr val="accent6"/>
          </a:fillRef>
          <a:effectRef idx="0">
            <a:schemeClr val="accent6"/>
          </a:effectRef>
          <a:fontRef idx="minor">
            <a:schemeClr val="tx1"/>
          </a:fontRef>
        </p:style>
      </p:cxnSp>
      <p:grpSp>
        <p:nvGrpSpPr>
          <p:cNvPr id="313" name="Group 312">
            <a:extLst>
              <a:ext uri="{FF2B5EF4-FFF2-40B4-BE49-F238E27FC236}">
                <a16:creationId xmlns:a16="http://schemas.microsoft.com/office/drawing/2014/main" id="{B2FC311F-F68A-4275-9082-15811FF75D8D}"/>
              </a:ext>
            </a:extLst>
          </p:cNvPr>
          <p:cNvGrpSpPr/>
          <p:nvPr/>
        </p:nvGrpSpPr>
        <p:grpSpPr>
          <a:xfrm>
            <a:off x="3571498" y="2416410"/>
            <a:ext cx="232754" cy="232756"/>
            <a:chOff x="4083769" y="2552776"/>
            <a:chExt cx="529089" cy="529089"/>
          </a:xfrm>
        </p:grpSpPr>
        <p:sp>
          <p:nvSpPr>
            <p:cNvPr id="314" name="Oval 313">
              <a:extLst>
                <a:ext uri="{FF2B5EF4-FFF2-40B4-BE49-F238E27FC236}">
                  <a16:creationId xmlns:a16="http://schemas.microsoft.com/office/drawing/2014/main" id="{9A9A0413-CD24-40B3-AB3F-72B435F83CE9}"/>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15" name="Freeform: Shape 298">
              <a:extLst>
                <a:ext uri="{FF2B5EF4-FFF2-40B4-BE49-F238E27FC236}">
                  <a16:creationId xmlns:a16="http://schemas.microsoft.com/office/drawing/2014/main" id="{7C0E3920-4CAE-4B18-A4B3-894D6C0F6AB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6" name="Freeform: Shape 299">
              <a:extLst>
                <a:ext uri="{FF2B5EF4-FFF2-40B4-BE49-F238E27FC236}">
                  <a16:creationId xmlns:a16="http://schemas.microsoft.com/office/drawing/2014/main" id="{BEDA9A37-AA72-4164-99B8-14621847B804}"/>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7" name="Freeform: Shape 301">
              <a:extLst>
                <a:ext uri="{FF2B5EF4-FFF2-40B4-BE49-F238E27FC236}">
                  <a16:creationId xmlns:a16="http://schemas.microsoft.com/office/drawing/2014/main" id="{DE7DC7DD-DD17-4475-94F8-651FB076C10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18" name="Freeform: Shape 302">
              <a:extLst>
                <a:ext uri="{FF2B5EF4-FFF2-40B4-BE49-F238E27FC236}">
                  <a16:creationId xmlns:a16="http://schemas.microsoft.com/office/drawing/2014/main" id="{A9886513-07E9-4C6F-B39F-30AF75CDD3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21" name="Straight Connector 320">
            <a:extLst>
              <a:ext uri="{FF2B5EF4-FFF2-40B4-BE49-F238E27FC236}">
                <a16:creationId xmlns:a16="http://schemas.microsoft.com/office/drawing/2014/main" id="{B8BDE969-4132-4756-8474-22525BD0BE34}"/>
              </a:ext>
            </a:extLst>
          </p:cNvPr>
          <p:cNvCxnSpPr>
            <a:stCxn id="170" idx="2"/>
            <a:endCxn id="183" idx="5"/>
          </p:cNvCxnSpPr>
          <p:nvPr/>
        </p:nvCxnSpPr>
        <p:spPr>
          <a:xfrm flipH="1" flipV="1">
            <a:off x="3253634" y="3016329"/>
            <a:ext cx="186527" cy="1412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3" name="Straight Connector 322">
            <a:extLst>
              <a:ext uri="{FF2B5EF4-FFF2-40B4-BE49-F238E27FC236}">
                <a16:creationId xmlns:a16="http://schemas.microsoft.com/office/drawing/2014/main" id="{EE2E57BA-3661-453F-B283-3EB17E9FF945}"/>
              </a:ext>
            </a:extLst>
          </p:cNvPr>
          <p:cNvCxnSpPr>
            <a:stCxn id="183" idx="0"/>
            <a:endCxn id="314" idx="2"/>
          </p:cNvCxnSpPr>
          <p:nvPr/>
        </p:nvCxnSpPr>
        <p:spPr>
          <a:xfrm flipV="1">
            <a:off x="3194222" y="2532789"/>
            <a:ext cx="377277" cy="340105"/>
          </a:xfrm>
          <a:prstGeom prst="line">
            <a:avLst/>
          </a:prstGeom>
        </p:spPr>
        <p:style>
          <a:lnRef idx="1">
            <a:schemeClr val="accent6"/>
          </a:lnRef>
          <a:fillRef idx="0">
            <a:schemeClr val="accent6"/>
          </a:fillRef>
          <a:effectRef idx="0">
            <a:schemeClr val="accent6"/>
          </a:effectRef>
          <a:fontRef idx="minor">
            <a:schemeClr val="tx1"/>
          </a:fontRef>
        </p:style>
      </p:cxnSp>
      <p:cxnSp>
        <p:nvCxnSpPr>
          <p:cNvPr id="325" name="Straight Connector 324">
            <a:extLst>
              <a:ext uri="{FF2B5EF4-FFF2-40B4-BE49-F238E27FC236}">
                <a16:creationId xmlns:a16="http://schemas.microsoft.com/office/drawing/2014/main" id="{2FEDD49F-5532-4A01-A65B-A75472BC342B}"/>
              </a:ext>
            </a:extLst>
          </p:cNvPr>
          <p:cNvCxnSpPr>
            <a:stCxn id="314" idx="5"/>
            <a:endCxn id="139" idx="3"/>
          </p:cNvCxnSpPr>
          <p:nvPr/>
        </p:nvCxnSpPr>
        <p:spPr>
          <a:xfrm>
            <a:off x="3770167" y="2615081"/>
            <a:ext cx="178301" cy="37431"/>
          </a:xfrm>
          <a:prstGeom prst="line">
            <a:avLst/>
          </a:prstGeom>
        </p:spPr>
        <p:style>
          <a:lnRef idx="1">
            <a:schemeClr val="accent6"/>
          </a:lnRef>
          <a:fillRef idx="0">
            <a:schemeClr val="accent6"/>
          </a:fillRef>
          <a:effectRef idx="0">
            <a:schemeClr val="accent6"/>
          </a:effectRef>
          <a:fontRef idx="minor">
            <a:schemeClr val="tx1"/>
          </a:fontRef>
        </p:style>
      </p:cxnSp>
      <p:cxnSp>
        <p:nvCxnSpPr>
          <p:cNvPr id="327" name="Straight Connector 326">
            <a:extLst>
              <a:ext uri="{FF2B5EF4-FFF2-40B4-BE49-F238E27FC236}">
                <a16:creationId xmlns:a16="http://schemas.microsoft.com/office/drawing/2014/main" id="{563D68CA-F3F7-4A73-B2A8-BE458464D299}"/>
              </a:ext>
            </a:extLst>
          </p:cNvPr>
          <p:cNvCxnSpPr>
            <a:stCxn id="195" idx="4"/>
            <a:endCxn id="201" idx="2"/>
          </p:cNvCxnSpPr>
          <p:nvPr/>
        </p:nvCxnSpPr>
        <p:spPr>
          <a:xfrm>
            <a:off x="4712130" y="4571133"/>
            <a:ext cx="291101" cy="40969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2" name="Straight Connector 331">
            <a:extLst>
              <a:ext uri="{FF2B5EF4-FFF2-40B4-BE49-F238E27FC236}">
                <a16:creationId xmlns:a16="http://schemas.microsoft.com/office/drawing/2014/main" id="{4D591CD4-DB4D-496B-920F-E10CA6106F80}"/>
              </a:ext>
            </a:extLst>
          </p:cNvPr>
          <p:cNvCxnSpPr>
            <a:stCxn id="133" idx="6"/>
            <a:endCxn id="46" idx="2"/>
          </p:cNvCxnSpPr>
          <p:nvPr/>
        </p:nvCxnSpPr>
        <p:spPr>
          <a:xfrm flipV="1">
            <a:off x="5812206" y="2441775"/>
            <a:ext cx="367796" cy="148054"/>
          </a:xfrm>
          <a:prstGeom prst="line">
            <a:avLst/>
          </a:prstGeom>
        </p:spPr>
        <p:style>
          <a:lnRef idx="1">
            <a:schemeClr val="accent6"/>
          </a:lnRef>
          <a:fillRef idx="0">
            <a:schemeClr val="accent6"/>
          </a:fillRef>
          <a:effectRef idx="0">
            <a:schemeClr val="accent6"/>
          </a:effectRef>
          <a:fontRef idx="minor">
            <a:schemeClr val="tx1"/>
          </a:fontRef>
        </p:style>
      </p:cxnSp>
      <p:cxnSp>
        <p:nvCxnSpPr>
          <p:cNvPr id="334" name="Straight Connector 333">
            <a:extLst>
              <a:ext uri="{FF2B5EF4-FFF2-40B4-BE49-F238E27FC236}">
                <a16:creationId xmlns:a16="http://schemas.microsoft.com/office/drawing/2014/main" id="{01F433F3-20B1-4617-979A-5CA8D7ED215D}"/>
              </a:ext>
            </a:extLst>
          </p:cNvPr>
          <p:cNvCxnSpPr>
            <a:stCxn id="133" idx="0"/>
            <a:endCxn id="127" idx="4"/>
          </p:cNvCxnSpPr>
          <p:nvPr/>
        </p:nvCxnSpPr>
        <p:spPr>
          <a:xfrm flipV="1">
            <a:off x="5695829" y="1743816"/>
            <a:ext cx="144353" cy="729635"/>
          </a:xfrm>
          <a:prstGeom prst="line">
            <a:avLst/>
          </a:prstGeom>
        </p:spPr>
        <p:style>
          <a:lnRef idx="1">
            <a:schemeClr val="accent6"/>
          </a:lnRef>
          <a:fillRef idx="0">
            <a:schemeClr val="accent6"/>
          </a:fillRef>
          <a:effectRef idx="0">
            <a:schemeClr val="accent6"/>
          </a:effectRef>
          <a:fontRef idx="minor">
            <a:schemeClr val="tx1"/>
          </a:fontRef>
        </p:style>
      </p:cxnSp>
      <p:cxnSp>
        <p:nvCxnSpPr>
          <p:cNvPr id="336" name="Straight Connector 335">
            <a:extLst>
              <a:ext uri="{FF2B5EF4-FFF2-40B4-BE49-F238E27FC236}">
                <a16:creationId xmlns:a16="http://schemas.microsoft.com/office/drawing/2014/main" id="{5324086F-95EF-4E72-8A95-05DAF6BE044E}"/>
              </a:ext>
            </a:extLst>
          </p:cNvPr>
          <p:cNvCxnSpPr>
            <a:stCxn id="64" idx="6"/>
            <a:endCxn id="127" idx="2"/>
          </p:cNvCxnSpPr>
          <p:nvPr/>
        </p:nvCxnSpPr>
        <p:spPr>
          <a:xfrm flipV="1">
            <a:off x="5534066" y="1627438"/>
            <a:ext cx="189738" cy="28987"/>
          </a:xfrm>
          <a:prstGeom prst="line">
            <a:avLst/>
          </a:prstGeom>
        </p:spPr>
        <p:style>
          <a:lnRef idx="1">
            <a:schemeClr val="accent6"/>
          </a:lnRef>
          <a:fillRef idx="0">
            <a:schemeClr val="accent6"/>
          </a:fillRef>
          <a:effectRef idx="0">
            <a:schemeClr val="accent6"/>
          </a:effectRef>
          <a:fontRef idx="minor">
            <a:schemeClr val="tx1"/>
          </a:fontRef>
        </p:style>
      </p:cxnSp>
      <p:cxnSp>
        <p:nvCxnSpPr>
          <p:cNvPr id="338" name="Straight Connector 337">
            <a:extLst>
              <a:ext uri="{FF2B5EF4-FFF2-40B4-BE49-F238E27FC236}">
                <a16:creationId xmlns:a16="http://schemas.microsoft.com/office/drawing/2014/main" id="{AA5C3FCC-AA00-4768-9AAE-672F52D30491}"/>
              </a:ext>
            </a:extLst>
          </p:cNvPr>
          <p:cNvCxnSpPr>
            <a:stCxn id="64" idx="0"/>
            <a:endCxn id="113" idx="4"/>
          </p:cNvCxnSpPr>
          <p:nvPr/>
        </p:nvCxnSpPr>
        <p:spPr>
          <a:xfrm flipH="1" flipV="1">
            <a:off x="5338949" y="1437988"/>
            <a:ext cx="42725" cy="66042"/>
          </a:xfrm>
          <a:prstGeom prst="line">
            <a:avLst/>
          </a:prstGeom>
        </p:spPr>
        <p:style>
          <a:lnRef idx="1">
            <a:schemeClr val="accent6"/>
          </a:lnRef>
          <a:fillRef idx="0">
            <a:schemeClr val="accent6"/>
          </a:fillRef>
          <a:effectRef idx="0">
            <a:schemeClr val="accent6"/>
          </a:effectRef>
          <a:fontRef idx="minor">
            <a:schemeClr val="tx1"/>
          </a:fontRef>
        </p:style>
      </p:cxnSp>
      <p:cxnSp>
        <p:nvCxnSpPr>
          <p:cNvPr id="349" name="Straight Connector 348">
            <a:extLst>
              <a:ext uri="{FF2B5EF4-FFF2-40B4-BE49-F238E27FC236}">
                <a16:creationId xmlns:a16="http://schemas.microsoft.com/office/drawing/2014/main" id="{97287A3B-A60F-4E87-A9DD-E7F1E74DF14A}"/>
              </a:ext>
            </a:extLst>
          </p:cNvPr>
          <p:cNvCxnSpPr>
            <a:cxnSpLocks/>
            <a:stCxn id="10" idx="7"/>
            <a:endCxn id="374" idx="3"/>
          </p:cNvCxnSpPr>
          <p:nvPr/>
        </p:nvCxnSpPr>
        <p:spPr>
          <a:xfrm flipV="1">
            <a:off x="5038389" y="2213860"/>
            <a:ext cx="397704" cy="356550"/>
          </a:xfrm>
          <a:prstGeom prst="line">
            <a:avLst/>
          </a:prstGeom>
        </p:spPr>
        <p:style>
          <a:lnRef idx="1">
            <a:schemeClr val="accent6"/>
          </a:lnRef>
          <a:fillRef idx="0">
            <a:schemeClr val="accent6"/>
          </a:fillRef>
          <a:effectRef idx="0">
            <a:schemeClr val="accent6"/>
          </a:effectRef>
          <a:fontRef idx="minor">
            <a:schemeClr val="tx1"/>
          </a:fontRef>
        </p:style>
      </p:cxnSp>
      <p:cxnSp>
        <p:nvCxnSpPr>
          <p:cNvPr id="354" name="Straight Connector 353">
            <a:extLst>
              <a:ext uri="{FF2B5EF4-FFF2-40B4-BE49-F238E27FC236}">
                <a16:creationId xmlns:a16="http://schemas.microsoft.com/office/drawing/2014/main" id="{61E99227-5FD6-4FDD-AC13-00DCE909CF13}"/>
              </a:ext>
            </a:extLst>
          </p:cNvPr>
          <p:cNvCxnSpPr>
            <a:cxnSpLocks/>
            <a:stCxn id="374" idx="0"/>
            <a:endCxn id="64" idx="4"/>
          </p:cNvCxnSpPr>
          <p:nvPr/>
        </p:nvCxnSpPr>
        <p:spPr>
          <a:xfrm flipH="1" flipV="1">
            <a:off x="5381674" y="1808818"/>
            <a:ext cx="136711" cy="2063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57" name="Straight Connector 356">
            <a:extLst>
              <a:ext uri="{FF2B5EF4-FFF2-40B4-BE49-F238E27FC236}">
                <a16:creationId xmlns:a16="http://schemas.microsoft.com/office/drawing/2014/main" id="{C59FB053-B9E0-438B-ADFE-36C83AFDC27D}"/>
              </a:ext>
            </a:extLst>
          </p:cNvPr>
          <p:cNvCxnSpPr>
            <a:stCxn id="113" idx="0"/>
            <a:endCxn id="40" idx="4"/>
          </p:cNvCxnSpPr>
          <p:nvPr/>
        </p:nvCxnSpPr>
        <p:spPr>
          <a:xfrm flipV="1">
            <a:off x="5338949" y="859576"/>
            <a:ext cx="13732" cy="345656"/>
          </a:xfrm>
          <a:prstGeom prst="line">
            <a:avLst/>
          </a:prstGeom>
        </p:spPr>
        <p:style>
          <a:lnRef idx="1">
            <a:schemeClr val="accent6"/>
          </a:lnRef>
          <a:fillRef idx="0">
            <a:schemeClr val="accent6"/>
          </a:fillRef>
          <a:effectRef idx="0">
            <a:schemeClr val="accent6"/>
          </a:effectRef>
          <a:fontRef idx="minor">
            <a:schemeClr val="tx1"/>
          </a:fontRef>
        </p:style>
      </p:cxnSp>
      <p:grpSp>
        <p:nvGrpSpPr>
          <p:cNvPr id="358" name="Group 357">
            <a:extLst>
              <a:ext uri="{FF2B5EF4-FFF2-40B4-BE49-F238E27FC236}">
                <a16:creationId xmlns:a16="http://schemas.microsoft.com/office/drawing/2014/main" id="{0D7F8402-8580-46AC-BE3F-818E5506AD5D}"/>
              </a:ext>
            </a:extLst>
          </p:cNvPr>
          <p:cNvGrpSpPr/>
          <p:nvPr/>
        </p:nvGrpSpPr>
        <p:grpSpPr>
          <a:xfrm>
            <a:off x="4935337" y="273609"/>
            <a:ext cx="232754" cy="232756"/>
            <a:chOff x="4083769" y="2552776"/>
            <a:chExt cx="529089" cy="529089"/>
          </a:xfrm>
        </p:grpSpPr>
        <p:sp>
          <p:nvSpPr>
            <p:cNvPr id="359" name="Oval 358">
              <a:extLst>
                <a:ext uri="{FF2B5EF4-FFF2-40B4-BE49-F238E27FC236}">
                  <a16:creationId xmlns:a16="http://schemas.microsoft.com/office/drawing/2014/main" id="{24C8917A-0933-449E-AF4C-38E916593C34}"/>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60" name="Freeform: Shape 298">
              <a:extLst>
                <a:ext uri="{FF2B5EF4-FFF2-40B4-BE49-F238E27FC236}">
                  <a16:creationId xmlns:a16="http://schemas.microsoft.com/office/drawing/2014/main" id="{1B1F4F2C-FBE0-4482-9F6A-7417E1C073DE}"/>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1" name="Freeform: Shape 299">
              <a:extLst>
                <a:ext uri="{FF2B5EF4-FFF2-40B4-BE49-F238E27FC236}">
                  <a16:creationId xmlns:a16="http://schemas.microsoft.com/office/drawing/2014/main" id="{BA577722-7D95-4F5E-B875-0E899255BAA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2" name="Freeform: Shape 301">
              <a:extLst>
                <a:ext uri="{FF2B5EF4-FFF2-40B4-BE49-F238E27FC236}">
                  <a16:creationId xmlns:a16="http://schemas.microsoft.com/office/drawing/2014/main" id="{45BAB391-7EF3-4E1B-9173-49017E8C5AD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3" name="Freeform: Shape 302">
              <a:extLst>
                <a:ext uri="{FF2B5EF4-FFF2-40B4-BE49-F238E27FC236}">
                  <a16:creationId xmlns:a16="http://schemas.microsoft.com/office/drawing/2014/main" id="{0ECE9A07-D6DC-45A7-ACEC-5CA781F22DA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366" name="Straight Connector 365">
            <a:extLst>
              <a:ext uri="{FF2B5EF4-FFF2-40B4-BE49-F238E27FC236}">
                <a16:creationId xmlns:a16="http://schemas.microsoft.com/office/drawing/2014/main" id="{2D5FE165-1CC1-417B-A6C2-291BD801CE2B}"/>
              </a:ext>
            </a:extLst>
          </p:cNvPr>
          <p:cNvCxnSpPr>
            <a:stCxn id="40" idx="1"/>
            <a:endCxn id="359" idx="5"/>
          </p:cNvCxnSpPr>
          <p:nvPr/>
        </p:nvCxnSpPr>
        <p:spPr>
          <a:xfrm flipH="1" flipV="1">
            <a:off x="5134005" y="472280"/>
            <a:ext cx="110918" cy="127144"/>
          </a:xfrm>
          <a:prstGeom prst="line">
            <a:avLst/>
          </a:prstGeom>
        </p:spPr>
        <p:style>
          <a:lnRef idx="1">
            <a:schemeClr val="accent6"/>
          </a:lnRef>
          <a:fillRef idx="0">
            <a:schemeClr val="accent6"/>
          </a:fillRef>
          <a:effectRef idx="0">
            <a:schemeClr val="accent6"/>
          </a:effectRef>
          <a:fontRef idx="minor">
            <a:schemeClr val="tx1"/>
          </a:fontRef>
        </p:style>
      </p:cxnSp>
      <p:cxnSp>
        <p:nvCxnSpPr>
          <p:cNvPr id="368" name="Straight Connector 367">
            <a:extLst>
              <a:ext uri="{FF2B5EF4-FFF2-40B4-BE49-F238E27FC236}">
                <a16:creationId xmlns:a16="http://schemas.microsoft.com/office/drawing/2014/main" id="{5FBE9268-4F14-4A62-A98F-770D84F4F2EF}"/>
              </a:ext>
            </a:extLst>
          </p:cNvPr>
          <p:cNvCxnSpPr>
            <a:stCxn id="359" idx="2"/>
            <a:endCxn id="34" idx="7"/>
          </p:cNvCxnSpPr>
          <p:nvPr/>
        </p:nvCxnSpPr>
        <p:spPr>
          <a:xfrm flipH="1">
            <a:off x="4547838" y="389988"/>
            <a:ext cx="387498" cy="570698"/>
          </a:xfrm>
          <a:prstGeom prst="line">
            <a:avLst/>
          </a:prstGeom>
        </p:spPr>
        <p:style>
          <a:lnRef idx="1">
            <a:schemeClr val="accent6"/>
          </a:lnRef>
          <a:fillRef idx="0">
            <a:schemeClr val="accent6"/>
          </a:fillRef>
          <a:effectRef idx="0">
            <a:schemeClr val="accent6"/>
          </a:effectRef>
          <a:fontRef idx="minor">
            <a:schemeClr val="tx1"/>
          </a:fontRef>
        </p:style>
      </p:cxnSp>
      <p:grpSp>
        <p:nvGrpSpPr>
          <p:cNvPr id="373" name="Group 372">
            <a:extLst>
              <a:ext uri="{FF2B5EF4-FFF2-40B4-BE49-F238E27FC236}">
                <a16:creationId xmlns:a16="http://schemas.microsoft.com/office/drawing/2014/main" id="{DB04E06A-F909-4B66-9118-74A718DA3807}"/>
              </a:ext>
            </a:extLst>
          </p:cNvPr>
          <p:cNvGrpSpPr/>
          <p:nvPr/>
        </p:nvGrpSpPr>
        <p:grpSpPr>
          <a:xfrm>
            <a:off x="5402008" y="2015190"/>
            <a:ext cx="232754" cy="232756"/>
            <a:chOff x="4083769" y="2552776"/>
            <a:chExt cx="529089" cy="529089"/>
          </a:xfrm>
        </p:grpSpPr>
        <p:sp>
          <p:nvSpPr>
            <p:cNvPr id="374" name="Oval 373">
              <a:extLst>
                <a:ext uri="{FF2B5EF4-FFF2-40B4-BE49-F238E27FC236}">
                  <a16:creationId xmlns:a16="http://schemas.microsoft.com/office/drawing/2014/main" id="{1BBCD34F-7A53-45C9-BF70-BDBD409F11A2}"/>
                </a:ext>
              </a:extLst>
            </p:cNvPr>
            <p:cNvSpPr/>
            <p:nvPr/>
          </p:nvSpPr>
          <p:spPr>
            <a:xfrm>
              <a:off x="4083769" y="2552776"/>
              <a:ext cx="529089" cy="52908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75" name="Freeform: Shape 298">
              <a:extLst>
                <a:ext uri="{FF2B5EF4-FFF2-40B4-BE49-F238E27FC236}">
                  <a16:creationId xmlns:a16="http://schemas.microsoft.com/office/drawing/2014/main" id="{A284027C-F842-40FE-975C-BAA5F85AEB1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6" name="Freeform: Shape 299">
              <a:extLst>
                <a:ext uri="{FF2B5EF4-FFF2-40B4-BE49-F238E27FC236}">
                  <a16:creationId xmlns:a16="http://schemas.microsoft.com/office/drawing/2014/main" id="{F8E3F584-49E2-4B7D-B2BE-742058788BC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7" name="Freeform: Shape 301">
              <a:extLst>
                <a:ext uri="{FF2B5EF4-FFF2-40B4-BE49-F238E27FC236}">
                  <a16:creationId xmlns:a16="http://schemas.microsoft.com/office/drawing/2014/main" id="{694EBAF9-FF45-4063-9F09-9D2036F829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8" name="Freeform: Shape 302">
              <a:extLst>
                <a:ext uri="{FF2B5EF4-FFF2-40B4-BE49-F238E27FC236}">
                  <a16:creationId xmlns:a16="http://schemas.microsoft.com/office/drawing/2014/main" id="{9828E4A8-E29C-4B9A-BE2D-24FB02244ECF}"/>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2" name="Group 381">
            <a:extLst>
              <a:ext uri="{FF2B5EF4-FFF2-40B4-BE49-F238E27FC236}">
                <a16:creationId xmlns:a16="http://schemas.microsoft.com/office/drawing/2014/main" id="{A4E78595-95B3-412A-A652-25B4A319D331}"/>
              </a:ext>
            </a:extLst>
          </p:cNvPr>
          <p:cNvGrpSpPr/>
          <p:nvPr/>
        </p:nvGrpSpPr>
        <p:grpSpPr>
          <a:xfrm>
            <a:off x="3375317" y="3395130"/>
            <a:ext cx="126471" cy="126472"/>
            <a:chOff x="4083776" y="2552776"/>
            <a:chExt cx="529090" cy="529088"/>
          </a:xfrm>
        </p:grpSpPr>
        <p:sp>
          <p:nvSpPr>
            <p:cNvPr id="383" name="Oval 382">
              <a:extLst>
                <a:ext uri="{FF2B5EF4-FFF2-40B4-BE49-F238E27FC236}">
                  <a16:creationId xmlns:a16="http://schemas.microsoft.com/office/drawing/2014/main" id="{B9952C2F-DFAA-41CC-994E-1BFEEFEAEC5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4" name="Freeform: Shape 298">
              <a:extLst>
                <a:ext uri="{FF2B5EF4-FFF2-40B4-BE49-F238E27FC236}">
                  <a16:creationId xmlns:a16="http://schemas.microsoft.com/office/drawing/2014/main" id="{B1837A17-216B-478C-941B-B5146675894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5" name="Freeform: Shape 299">
              <a:extLst>
                <a:ext uri="{FF2B5EF4-FFF2-40B4-BE49-F238E27FC236}">
                  <a16:creationId xmlns:a16="http://schemas.microsoft.com/office/drawing/2014/main" id="{F3A61390-53BB-47D1-9D7F-012975FA0B4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6" name="Freeform: Shape 301">
              <a:extLst>
                <a:ext uri="{FF2B5EF4-FFF2-40B4-BE49-F238E27FC236}">
                  <a16:creationId xmlns:a16="http://schemas.microsoft.com/office/drawing/2014/main" id="{FDF0D5F9-743F-4F40-A44C-8BC28CE91A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7" name="Freeform: Shape 302">
              <a:extLst>
                <a:ext uri="{FF2B5EF4-FFF2-40B4-BE49-F238E27FC236}">
                  <a16:creationId xmlns:a16="http://schemas.microsoft.com/office/drawing/2014/main" id="{4517E4C1-9EB0-4878-BC96-53A3F6394AA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88" name="Group 387">
            <a:extLst>
              <a:ext uri="{FF2B5EF4-FFF2-40B4-BE49-F238E27FC236}">
                <a16:creationId xmlns:a16="http://schemas.microsoft.com/office/drawing/2014/main" id="{C5A0B6EE-68A5-46F8-B6A3-6A74B18B0FB7}"/>
              </a:ext>
            </a:extLst>
          </p:cNvPr>
          <p:cNvGrpSpPr/>
          <p:nvPr/>
        </p:nvGrpSpPr>
        <p:grpSpPr>
          <a:xfrm>
            <a:off x="4989332" y="3931752"/>
            <a:ext cx="126471" cy="126472"/>
            <a:chOff x="4083776" y="2552776"/>
            <a:chExt cx="529090" cy="529088"/>
          </a:xfrm>
        </p:grpSpPr>
        <p:sp>
          <p:nvSpPr>
            <p:cNvPr id="389" name="Oval 388">
              <a:extLst>
                <a:ext uri="{FF2B5EF4-FFF2-40B4-BE49-F238E27FC236}">
                  <a16:creationId xmlns:a16="http://schemas.microsoft.com/office/drawing/2014/main" id="{1083099B-6231-4DEA-822E-C137903E74A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0" name="Freeform: Shape 298">
              <a:extLst>
                <a:ext uri="{FF2B5EF4-FFF2-40B4-BE49-F238E27FC236}">
                  <a16:creationId xmlns:a16="http://schemas.microsoft.com/office/drawing/2014/main" id="{94DDC022-3081-482E-AF8C-9404094FFFC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1" name="Freeform: Shape 299">
              <a:extLst>
                <a:ext uri="{FF2B5EF4-FFF2-40B4-BE49-F238E27FC236}">
                  <a16:creationId xmlns:a16="http://schemas.microsoft.com/office/drawing/2014/main" id="{32D144F1-227C-4487-8DA5-CFD7D725BDD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2" name="Freeform: Shape 301">
              <a:extLst>
                <a:ext uri="{FF2B5EF4-FFF2-40B4-BE49-F238E27FC236}">
                  <a16:creationId xmlns:a16="http://schemas.microsoft.com/office/drawing/2014/main" id="{19FCE75D-B8E4-4666-8DE3-C132B267B65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3" name="Freeform: Shape 302">
              <a:extLst>
                <a:ext uri="{FF2B5EF4-FFF2-40B4-BE49-F238E27FC236}">
                  <a16:creationId xmlns:a16="http://schemas.microsoft.com/office/drawing/2014/main" id="{64B3EC19-30CB-472E-9273-5F2EE97B339D}"/>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4" name="Group 393">
            <a:extLst>
              <a:ext uri="{FF2B5EF4-FFF2-40B4-BE49-F238E27FC236}">
                <a16:creationId xmlns:a16="http://schemas.microsoft.com/office/drawing/2014/main" id="{EA60B8E6-B0DE-4F12-A429-77027F4C70A8}"/>
              </a:ext>
            </a:extLst>
          </p:cNvPr>
          <p:cNvGrpSpPr/>
          <p:nvPr/>
        </p:nvGrpSpPr>
        <p:grpSpPr>
          <a:xfrm>
            <a:off x="5173067" y="3236514"/>
            <a:ext cx="126471" cy="126472"/>
            <a:chOff x="4083776" y="2552776"/>
            <a:chExt cx="529090" cy="529088"/>
          </a:xfrm>
        </p:grpSpPr>
        <p:sp>
          <p:nvSpPr>
            <p:cNvPr id="395" name="Oval 394">
              <a:extLst>
                <a:ext uri="{FF2B5EF4-FFF2-40B4-BE49-F238E27FC236}">
                  <a16:creationId xmlns:a16="http://schemas.microsoft.com/office/drawing/2014/main" id="{909275AE-298F-4057-B7DB-2EE6F0E99A5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96" name="Freeform: Shape 298">
              <a:extLst>
                <a:ext uri="{FF2B5EF4-FFF2-40B4-BE49-F238E27FC236}">
                  <a16:creationId xmlns:a16="http://schemas.microsoft.com/office/drawing/2014/main" id="{2E00C2D2-6D62-4531-8C78-939682EFBED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7" name="Freeform: Shape 299">
              <a:extLst>
                <a:ext uri="{FF2B5EF4-FFF2-40B4-BE49-F238E27FC236}">
                  <a16:creationId xmlns:a16="http://schemas.microsoft.com/office/drawing/2014/main" id="{22579405-4FD1-4AC2-AAAD-6FE6BC3B1B2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8" name="Freeform: Shape 301">
              <a:extLst>
                <a:ext uri="{FF2B5EF4-FFF2-40B4-BE49-F238E27FC236}">
                  <a16:creationId xmlns:a16="http://schemas.microsoft.com/office/drawing/2014/main" id="{E1DDCA8B-7F5D-4E71-9268-4B4E475AF3E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99" name="Freeform: Shape 302">
              <a:extLst>
                <a:ext uri="{FF2B5EF4-FFF2-40B4-BE49-F238E27FC236}">
                  <a16:creationId xmlns:a16="http://schemas.microsoft.com/office/drawing/2014/main" id="{20C54C94-E845-41CB-AD06-80B4F5A7CD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0" name="Group 399">
            <a:extLst>
              <a:ext uri="{FF2B5EF4-FFF2-40B4-BE49-F238E27FC236}">
                <a16:creationId xmlns:a16="http://schemas.microsoft.com/office/drawing/2014/main" id="{E71FE37D-06FB-4450-A16D-838A929AFB7E}"/>
              </a:ext>
            </a:extLst>
          </p:cNvPr>
          <p:cNvGrpSpPr/>
          <p:nvPr/>
        </p:nvGrpSpPr>
        <p:grpSpPr>
          <a:xfrm>
            <a:off x="4802341" y="2274393"/>
            <a:ext cx="126471" cy="126472"/>
            <a:chOff x="4083776" y="2552776"/>
            <a:chExt cx="529090" cy="529088"/>
          </a:xfrm>
        </p:grpSpPr>
        <p:sp>
          <p:nvSpPr>
            <p:cNvPr id="401" name="Oval 400">
              <a:extLst>
                <a:ext uri="{FF2B5EF4-FFF2-40B4-BE49-F238E27FC236}">
                  <a16:creationId xmlns:a16="http://schemas.microsoft.com/office/drawing/2014/main" id="{4BFFBCEF-C41D-4397-B0E9-E14C70FDEF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2" name="Freeform: Shape 298">
              <a:extLst>
                <a:ext uri="{FF2B5EF4-FFF2-40B4-BE49-F238E27FC236}">
                  <a16:creationId xmlns:a16="http://schemas.microsoft.com/office/drawing/2014/main" id="{DD918400-E8A9-4688-AC62-249876EFE94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3" name="Freeform: Shape 299">
              <a:extLst>
                <a:ext uri="{FF2B5EF4-FFF2-40B4-BE49-F238E27FC236}">
                  <a16:creationId xmlns:a16="http://schemas.microsoft.com/office/drawing/2014/main" id="{039A132B-20F9-4D7F-ACAB-6173F8D0C97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4" name="Freeform: Shape 301">
              <a:extLst>
                <a:ext uri="{FF2B5EF4-FFF2-40B4-BE49-F238E27FC236}">
                  <a16:creationId xmlns:a16="http://schemas.microsoft.com/office/drawing/2014/main" id="{63EA2BEF-6FBE-48B8-863C-BA316208CC0D}"/>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5" name="Freeform: Shape 302">
              <a:extLst>
                <a:ext uri="{FF2B5EF4-FFF2-40B4-BE49-F238E27FC236}">
                  <a16:creationId xmlns:a16="http://schemas.microsoft.com/office/drawing/2014/main" id="{1855D4C0-0FBE-470D-A0BA-CDBE7828B20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06" name="Group 405">
            <a:extLst>
              <a:ext uri="{FF2B5EF4-FFF2-40B4-BE49-F238E27FC236}">
                <a16:creationId xmlns:a16="http://schemas.microsoft.com/office/drawing/2014/main" id="{17B24185-013A-43D9-A266-E74FC9925292}"/>
              </a:ext>
            </a:extLst>
          </p:cNvPr>
          <p:cNvGrpSpPr/>
          <p:nvPr/>
        </p:nvGrpSpPr>
        <p:grpSpPr>
          <a:xfrm>
            <a:off x="4382981" y="1945719"/>
            <a:ext cx="126471" cy="126472"/>
            <a:chOff x="4083776" y="2552776"/>
            <a:chExt cx="529090" cy="529088"/>
          </a:xfrm>
        </p:grpSpPr>
        <p:sp>
          <p:nvSpPr>
            <p:cNvPr id="407" name="Oval 406">
              <a:extLst>
                <a:ext uri="{FF2B5EF4-FFF2-40B4-BE49-F238E27FC236}">
                  <a16:creationId xmlns:a16="http://schemas.microsoft.com/office/drawing/2014/main" id="{84C8EB57-4AE4-41E6-996C-F34D6AF84A5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08" name="Freeform: Shape 298">
              <a:extLst>
                <a:ext uri="{FF2B5EF4-FFF2-40B4-BE49-F238E27FC236}">
                  <a16:creationId xmlns:a16="http://schemas.microsoft.com/office/drawing/2014/main" id="{6ADDAE86-153F-4AA0-B3F4-8971EAE2D52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09" name="Freeform: Shape 299">
              <a:extLst>
                <a:ext uri="{FF2B5EF4-FFF2-40B4-BE49-F238E27FC236}">
                  <a16:creationId xmlns:a16="http://schemas.microsoft.com/office/drawing/2014/main" id="{D692B357-48ED-42B3-BC0F-DFD48D7DDDD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0" name="Freeform: Shape 301">
              <a:extLst>
                <a:ext uri="{FF2B5EF4-FFF2-40B4-BE49-F238E27FC236}">
                  <a16:creationId xmlns:a16="http://schemas.microsoft.com/office/drawing/2014/main" id="{F710F5B4-3477-430A-B41E-FEE2240EE10B}"/>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1" name="Freeform: Shape 302">
              <a:extLst>
                <a:ext uri="{FF2B5EF4-FFF2-40B4-BE49-F238E27FC236}">
                  <a16:creationId xmlns:a16="http://schemas.microsoft.com/office/drawing/2014/main" id="{8D12599E-A608-4951-A70F-E9F037CFE34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3" name="Group 412">
            <a:extLst>
              <a:ext uri="{FF2B5EF4-FFF2-40B4-BE49-F238E27FC236}">
                <a16:creationId xmlns:a16="http://schemas.microsoft.com/office/drawing/2014/main" id="{703F083F-1240-4A2C-953F-F190B97B1899}"/>
              </a:ext>
            </a:extLst>
          </p:cNvPr>
          <p:cNvGrpSpPr/>
          <p:nvPr/>
        </p:nvGrpSpPr>
        <p:grpSpPr>
          <a:xfrm>
            <a:off x="3941462" y="1659927"/>
            <a:ext cx="126471" cy="126472"/>
            <a:chOff x="4083776" y="2552776"/>
            <a:chExt cx="529090" cy="529088"/>
          </a:xfrm>
        </p:grpSpPr>
        <p:sp>
          <p:nvSpPr>
            <p:cNvPr id="414" name="Oval 413">
              <a:extLst>
                <a:ext uri="{FF2B5EF4-FFF2-40B4-BE49-F238E27FC236}">
                  <a16:creationId xmlns:a16="http://schemas.microsoft.com/office/drawing/2014/main" id="{C4358C53-733C-461A-8445-6B135EC13B84}"/>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5" name="Freeform: Shape 298">
              <a:extLst>
                <a:ext uri="{FF2B5EF4-FFF2-40B4-BE49-F238E27FC236}">
                  <a16:creationId xmlns:a16="http://schemas.microsoft.com/office/drawing/2014/main" id="{58923709-91EA-452A-836E-62A44E49EB7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6" name="Freeform: Shape 299">
              <a:extLst>
                <a:ext uri="{FF2B5EF4-FFF2-40B4-BE49-F238E27FC236}">
                  <a16:creationId xmlns:a16="http://schemas.microsoft.com/office/drawing/2014/main" id="{DB3A0035-E0F9-4EFA-96E5-C58628396F0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7" name="Freeform: Shape 301">
              <a:extLst>
                <a:ext uri="{FF2B5EF4-FFF2-40B4-BE49-F238E27FC236}">
                  <a16:creationId xmlns:a16="http://schemas.microsoft.com/office/drawing/2014/main" id="{F3D81305-2C23-4C78-B99D-77DEEC17851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8" name="Freeform: Shape 302">
              <a:extLst>
                <a:ext uri="{FF2B5EF4-FFF2-40B4-BE49-F238E27FC236}">
                  <a16:creationId xmlns:a16="http://schemas.microsoft.com/office/drawing/2014/main" id="{C62021F6-4BD2-472C-A781-DF25D801401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19" name="Group 418">
            <a:extLst>
              <a:ext uri="{FF2B5EF4-FFF2-40B4-BE49-F238E27FC236}">
                <a16:creationId xmlns:a16="http://schemas.microsoft.com/office/drawing/2014/main" id="{762C7A23-21E4-4874-96BC-C299E4FFD92A}"/>
              </a:ext>
            </a:extLst>
          </p:cNvPr>
          <p:cNvGrpSpPr/>
          <p:nvPr/>
        </p:nvGrpSpPr>
        <p:grpSpPr>
          <a:xfrm>
            <a:off x="5293403" y="319608"/>
            <a:ext cx="126471" cy="126472"/>
            <a:chOff x="4083776" y="2552776"/>
            <a:chExt cx="529090" cy="529088"/>
          </a:xfrm>
        </p:grpSpPr>
        <p:sp>
          <p:nvSpPr>
            <p:cNvPr id="420" name="Oval 419">
              <a:extLst>
                <a:ext uri="{FF2B5EF4-FFF2-40B4-BE49-F238E27FC236}">
                  <a16:creationId xmlns:a16="http://schemas.microsoft.com/office/drawing/2014/main" id="{12654AE1-307E-4F77-819D-06D33F1E404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1" name="Freeform: Shape 298">
              <a:extLst>
                <a:ext uri="{FF2B5EF4-FFF2-40B4-BE49-F238E27FC236}">
                  <a16:creationId xmlns:a16="http://schemas.microsoft.com/office/drawing/2014/main" id="{87EAD0BD-F9BC-4208-80CE-63A4A233D2A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2" name="Freeform: Shape 299">
              <a:extLst>
                <a:ext uri="{FF2B5EF4-FFF2-40B4-BE49-F238E27FC236}">
                  <a16:creationId xmlns:a16="http://schemas.microsoft.com/office/drawing/2014/main" id="{AD045CE8-2200-4680-8190-6CA4A707FC2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3" name="Freeform: Shape 301">
              <a:extLst>
                <a:ext uri="{FF2B5EF4-FFF2-40B4-BE49-F238E27FC236}">
                  <a16:creationId xmlns:a16="http://schemas.microsoft.com/office/drawing/2014/main" id="{263AE3CA-D46F-46F9-92B5-6953F291DF3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4" name="Freeform: Shape 302">
              <a:extLst>
                <a:ext uri="{FF2B5EF4-FFF2-40B4-BE49-F238E27FC236}">
                  <a16:creationId xmlns:a16="http://schemas.microsoft.com/office/drawing/2014/main" id="{7550675E-FD5B-4AA8-BD04-894E5B06119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25" name="Group 424">
            <a:extLst>
              <a:ext uri="{FF2B5EF4-FFF2-40B4-BE49-F238E27FC236}">
                <a16:creationId xmlns:a16="http://schemas.microsoft.com/office/drawing/2014/main" id="{DF7C5C00-2E23-4331-8D16-C11EB98931FB}"/>
              </a:ext>
            </a:extLst>
          </p:cNvPr>
          <p:cNvGrpSpPr/>
          <p:nvPr/>
        </p:nvGrpSpPr>
        <p:grpSpPr>
          <a:xfrm>
            <a:off x="4630663" y="2588739"/>
            <a:ext cx="126471" cy="126472"/>
            <a:chOff x="4083776" y="2552776"/>
            <a:chExt cx="529090" cy="529088"/>
          </a:xfrm>
        </p:grpSpPr>
        <p:sp>
          <p:nvSpPr>
            <p:cNvPr id="426" name="Oval 425">
              <a:extLst>
                <a:ext uri="{FF2B5EF4-FFF2-40B4-BE49-F238E27FC236}">
                  <a16:creationId xmlns:a16="http://schemas.microsoft.com/office/drawing/2014/main" id="{4EF09AAE-F52E-468E-AEEB-5A14A61CD06F}"/>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27" name="Freeform: Shape 298">
              <a:extLst>
                <a:ext uri="{FF2B5EF4-FFF2-40B4-BE49-F238E27FC236}">
                  <a16:creationId xmlns:a16="http://schemas.microsoft.com/office/drawing/2014/main" id="{E197F8AF-630E-49E0-B05B-D4CC76CA62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8" name="Freeform: Shape 299">
              <a:extLst>
                <a:ext uri="{FF2B5EF4-FFF2-40B4-BE49-F238E27FC236}">
                  <a16:creationId xmlns:a16="http://schemas.microsoft.com/office/drawing/2014/main" id="{6CB2896F-9216-4ADF-8EE8-4BC7E96E0395}"/>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9" name="Freeform: Shape 301">
              <a:extLst>
                <a:ext uri="{FF2B5EF4-FFF2-40B4-BE49-F238E27FC236}">
                  <a16:creationId xmlns:a16="http://schemas.microsoft.com/office/drawing/2014/main" id="{8CE1C49B-3A09-4A6E-B0AE-D8CE8108B33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0" name="Freeform: Shape 302">
              <a:extLst>
                <a:ext uri="{FF2B5EF4-FFF2-40B4-BE49-F238E27FC236}">
                  <a16:creationId xmlns:a16="http://schemas.microsoft.com/office/drawing/2014/main" id="{01AC2CE1-797F-44EB-9F6E-7C70E4919F9B}"/>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1" name="Group 430">
            <a:extLst>
              <a:ext uri="{FF2B5EF4-FFF2-40B4-BE49-F238E27FC236}">
                <a16:creationId xmlns:a16="http://schemas.microsoft.com/office/drawing/2014/main" id="{F64ACCB8-F422-4519-919D-006A42261DF5}"/>
              </a:ext>
            </a:extLst>
          </p:cNvPr>
          <p:cNvGrpSpPr/>
          <p:nvPr/>
        </p:nvGrpSpPr>
        <p:grpSpPr>
          <a:xfrm>
            <a:off x="4668728" y="2760291"/>
            <a:ext cx="126471" cy="126472"/>
            <a:chOff x="4083776" y="2552776"/>
            <a:chExt cx="529090" cy="529088"/>
          </a:xfrm>
        </p:grpSpPr>
        <p:sp>
          <p:nvSpPr>
            <p:cNvPr id="432" name="Oval 431">
              <a:extLst>
                <a:ext uri="{FF2B5EF4-FFF2-40B4-BE49-F238E27FC236}">
                  <a16:creationId xmlns:a16="http://schemas.microsoft.com/office/drawing/2014/main" id="{145CC088-8742-4C3B-A21D-748D7443094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3" name="Freeform: Shape 298">
              <a:extLst>
                <a:ext uri="{FF2B5EF4-FFF2-40B4-BE49-F238E27FC236}">
                  <a16:creationId xmlns:a16="http://schemas.microsoft.com/office/drawing/2014/main" id="{A2F3FA3A-277A-476B-82B6-C3AD0F6FB04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4" name="Freeform: Shape 299">
              <a:extLst>
                <a:ext uri="{FF2B5EF4-FFF2-40B4-BE49-F238E27FC236}">
                  <a16:creationId xmlns:a16="http://schemas.microsoft.com/office/drawing/2014/main" id="{8EBDA87F-160A-4585-AA8D-2595E608932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5" name="Freeform: Shape 301">
              <a:extLst>
                <a:ext uri="{FF2B5EF4-FFF2-40B4-BE49-F238E27FC236}">
                  <a16:creationId xmlns:a16="http://schemas.microsoft.com/office/drawing/2014/main" id="{B09A8573-9794-4E00-82FA-61BE81102FD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6" name="Freeform: Shape 302">
              <a:extLst>
                <a:ext uri="{FF2B5EF4-FFF2-40B4-BE49-F238E27FC236}">
                  <a16:creationId xmlns:a16="http://schemas.microsoft.com/office/drawing/2014/main" id="{F335A9DA-C41B-415D-AA08-D954E46F0B2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37" name="Group 436">
            <a:extLst>
              <a:ext uri="{FF2B5EF4-FFF2-40B4-BE49-F238E27FC236}">
                <a16:creationId xmlns:a16="http://schemas.microsoft.com/office/drawing/2014/main" id="{D23A8AC6-B160-405B-A798-F48C64D22FC6}"/>
              </a:ext>
            </a:extLst>
          </p:cNvPr>
          <p:cNvGrpSpPr/>
          <p:nvPr/>
        </p:nvGrpSpPr>
        <p:grpSpPr>
          <a:xfrm>
            <a:off x="4911919" y="2822042"/>
            <a:ext cx="126471" cy="126472"/>
            <a:chOff x="4083776" y="2552776"/>
            <a:chExt cx="529090" cy="529088"/>
          </a:xfrm>
        </p:grpSpPr>
        <p:sp>
          <p:nvSpPr>
            <p:cNvPr id="438" name="Oval 437">
              <a:extLst>
                <a:ext uri="{FF2B5EF4-FFF2-40B4-BE49-F238E27FC236}">
                  <a16:creationId xmlns:a16="http://schemas.microsoft.com/office/drawing/2014/main" id="{65854BC6-E3D6-4CB3-BCC3-A9BB787AC4A5}"/>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39" name="Freeform: Shape 298">
              <a:extLst>
                <a:ext uri="{FF2B5EF4-FFF2-40B4-BE49-F238E27FC236}">
                  <a16:creationId xmlns:a16="http://schemas.microsoft.com/office/drawing/2014/main" id="{D8F10F24-738F-4B71-9F82-F82057C65AE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0" name="Freeform: Shape 299">
              <a:extLst>
                <a:ext uri="{FF2B5EF4-FFF2-40B4-BE49-F238E27FC236}">
                  <a16:creationId xmlns:a16="http://schemas.microsoft.com/office/drawing/2014/main" id="{D808A85A-C389-421E-9A6D-53EC287A913A}"/>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1" name="Freeform: Shape 301">
              <a:extLst>
                <a:ext uri="{FF2B5EF4-FFF2-40B4-BE49-F238E27FC236}">
                  <a16:creationId xmlns:a16="http://schemas.microsoft.com/office/drawing/2014/main" id="{F3EE64EA-2B87-4044-953A-50F7BE86EA7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2" name="Freeform: Shape 302">
              <a:extLst>
                <a:ext uri="{FF2B5EF4-FFF2-40B4-BE49-F238E27FC236}">
                  <a16:creationId xmlns:a16="http://schemas.microsoft.com/office/drawing/2014/main" id="{7ED1B36E-A01E-4977-9FB5-CECFE9B95C1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3" name="Group 442">
            <a:extLst>
              <a:ext uri="{FF2B5EF4-FFF2-40B4-BE49-F238E27FC236}">
                <a16:creationId xmlns:a16="http://schemas.microsoft.com/office/drawing/2014/main" id="{43FBCE56-7FCA-43CB-BCB6-B70B4A3FAA85}"/>
              </a:ext>
            </a:extLst>
          </p:cNvPr>
          <p:cNvGrpSpPr/>
          <p:nvPr/>
        </p:nvGrpSpPr>
        <p:grpSpPr>
          <a:xfrm>
            <a:off x="6468413" y="2507912"/>
            <a:ext cx="126471" cy="126472"/>
            <a:chOff x="4083776" y="2552776"/>
            <a:chExt cx="529090" cy="529088"/>
          </a:xfrm>
        </p:grpSpPr>
        <p:sp>
          <p:nvSpPr>
            <p:cNvPr id="444" name="Oval 443">
              <a:extLst>
                <a:ext uri="{FF2B5EF4-FFF2-40B4-BE49-F238E27FC236}">
                  <a16:creationId xmlns:a16="http://schemas.microsoft.com/office/drawing/2014/main" id="{7BC392F4-87F3-466F-A567-51812C84053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45" name="Freeform: Shape 298">
              <a:extLst>
                <a:ext uri="{FF2B5EF4-FFF2-40B4-BE49-F238E27FC236}">
                  <a16:creationId xmlns:a16="http://schemas.microsoft.com/office/drawing/2014/main" id="{353079DB-B630-49B3-8775-D0AD42A29C0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6" name="Freeform: Shape 299">
              <a:extLst>
                <a:ext uri="{FF2B5EF4-FFF2-40B4-BE49-F238E27FC236}">
                  <a16:creationId xmlns:a16="http://schemas.microsoft.com/office/drawing/2014/main" id="{524CA914-03D7-4135-93FC-C59707A043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7" name="Freeform: Shape 301">
              <a:extLst>
                <a:ext uri="{FF2B5EF4-FFF2-40B4-BE49-F238E27FC236}">
                  <a16:creationId xmlns:a16="http://schemas.microsoft.com/office/drawing/2014/main" id="{94C75C04-63FA-40FE-8A0A-8FD04742C4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8" name="Freeform: Shape 302">
              <a:extLst>
                <a:ext uri="{FF2B5EF4-FFF2-40B4-BE49-F238E27FC236}">
                  <a16:creationId xmlns:a16="http://schemas.microsoft.com/office/drawing/2014/main" id="{35BF6FFB-9CCF-4B9C-A5B9-1702DD1D7CB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49" name="Group 448">
            <a:extLst>
              <a:ext uri="{FF2B5EF4-FFF2-40B4-BE49-F238E27FC236}">
                <a16:creationId xmlns:a16="http://schemas.microsoft.com/office/drawing/2014/main" id="{1431B68D-520E-4EE6-AC96-A69CF04D527A}"/>
              </a:ext>
            </a:extLst>
          </p:cNvPr>
          <p:cNvGrpSpPr/>
          <p:nvPr/>
        </p:nvGrpSpPr>
        <p:grpSpPr>
          <a:xfrm>
            <a:off x="6680042" y="2444676"/>
            <a:ext cx="126471" cy="126472"/>
            <a:chOff x="4083776" y="2552776"/>
            <a:chExt cx="529090" cy="529088"/>
          </a:xfrm>
        </p:grpSpPr>
        <p:sp>
          <p:nvSpPr>
            <p:cNvPr id="450" name="Oval 449">
              <a:extLst>
                <a:ext uri="{FF2B5EF4-FFF2-40B4-BE49-F238E27FC236}">
                  <a16:creationId xmlns:a16="http://schemas.microsoft.com/office/drawing/2014/main" id="{783AA91B-096D-490A-88C6-6E4DA86ED3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1" name="Freeform: Shape 298">
              <a:extLst>
                <a:ext uri="{FF2B5EF4-FFF2-40B4-BE49-F238E27FC236}">
                  <a16:creationId xmlns:a16="http://schemas.microsoft.com/office/drawing/2014/main" id="{12DDC610-AFAE-4F47-9DA9-9E5D946EC4D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2" name="Freeform: Shape 299">
              <a:extLst>
                <a:ext uri="{FF2B5EF4-FFF2-40B4-BE49-F238E27FC236}">
                  <a16:creationId xmlns:a16="http://schemas.microsoft.com/office/drawing/2014/main" id="{99B7E0AE-BE58-4C77-85BE-0FF112E014B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3" name="Freeform: Shape 301">
              <a:extLst>
                <a:ext uri="{FF2B5EF4-FFF2-40B4-BE49-F238E27FC236}">
                  <a16:creationId xmlns:a16="http://schemas.microsoft.com/office/drawing/2014/main" id="{FA55EB61-DFEA-4126-B0AF-4268AE025D1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4" name="Freeform: Shape 302">
              <a:extLst>
                <a:ext uri="{FF2B5EF4-FFF2-40B4-BE49-F238E27FC236}">
                  <a16:creationId xmlns:a16="http://schemas.microsoft.com/office/drawing/2014/main" id="{C4082A63-5845-4C5D-B0BC-FF47873A7E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5" name="Group 454">
            <a:extLst>
              <a:ext uri="{FF2B5EF4-FFF2-40B4-BE49-F238E27FC236}">
                <a16:creationId xmlns:a16="http://schemas.microsoft.com/office/drawing/2014/main" id="{9C2DD4F6-5F3F-4003-BC95-EE813F78C11F}"/>
              </a:ext>
            </a:extLst>
          </p:cNvPr>
          <p:cNvGrpSpPr/>
          <p:nvPr/>
        </p:nvGrpSpPr>
        <p:grpSpPr>
          <a:xfrm>
            <a:off x="7012003" y="2921001"/>
            <a:ext cx="126471" cy="126472"/>
            <a:chOff x="4083776" y="2552776"/>
            <a:chExt cx="529090" cy="529088"/>
          </a:xfrm>
        </p:grpSpPr>
        <p:sp>
          <p:nvSpPr>
            <p:cNvPr id="456" name="Oval 455">
              <a:extLst>
                <a:ext uri="{FF2B5EF4-FFF2-40B4-BE49-F238E27FC236}">
                  <a16:creationId xmlns:a16="http://schemas.microsoft.com/office/drawing/2014/main" id="{72A3651A-BA5D-461B-8345-304C7A11F0EA}"/>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57" name="Freeform: Shape 298">
              <a:extLst>
                <a:ext uri="{FF2B5EF4-FFF2-40B4-BE49-F238E27FC236}">
                  <a16:creationId xmlns:a16="http://schemas.microsoft.com/office/drawing/2014/main" id="{CF93006E-0298-4898-91E3-F1D1D25CA25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8" name="Freeform: Shape 299">
              <a:extLst>
                <a:ext uri="{FF2B5EF4-FFF2-40B4-BE49-F238E27FC236}">
                  <a16:creationId xmlns:a16="http://schemas.microsoft.com/office/drawing/2014/main" id="{9A6A7C1C-9D19-4AE5-9820-00E6751CB45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59" name="Freeform: Shape 301">
              <a:extLst>
                <a:ext uri="{FF2B5EF4-FFF2-40B4-BE49-F238E27FC236}">
                  <a16:creationId xmlns:a16="http://schemas.microsoft.com/office/drawing/2014/main" id="{AE3BE534-C8B3-438F-B14F-66DF586DC55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0" name="Freeform: Shape 302">
              <a:extLst>
                <a:ext uri="{FF2B5EF4-FFF2-40B4-BE49-F238E27FC236}">
                  <a16:creationId xmlns:a16="http://schemas.microsoft.com/office/drawing/2014/main" id="{219E126A-8A2F-44D2-A6BE-B95647E85EE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61" name="Group 460">
            <a:extLst>
              <a:ext uri="{FF2B5EF4-FFF2-40B4-BE49-F238E27FC236}">
                <a16:creationId xmlns:a16="http://schemas.microsoft.com/office/drawing/2014/main" id="{56460EB3-3B81-48E1-8D34-D0375D7E7E2D}"/>
              </a:ext>
            </a:extLst>
          </p:cNvPr>
          <p:cNvGrpSpPr/>
          <p:nvPr/>
        </p:nvGrpSpPr>
        <p:grpSpPr>
          <a:xfrm>
            <a:off x="6007634" y="1303881"/>
            <a:ext cx="126471" cy="126472"/>
            <a:chOff x="4083776" y="2552776"/>
            <a:chExt cx="529090" cy="529088"/>
          </a:xfrm>
        </p:grpSpPr>
        <p:sp>
          <p:nvSpPr>
            <p:cNvPr id="462" name="Oval 461">
              <a:extLst>
                <a:ext uri="{FF2B5EF4-FFF2-40B4-BE49-F238E27FC236}">
                  <a16:creationId xmlns:a16="http://schemas.microsoft.com/office/drawing/2014/main" id="{3E8931F1-05E5-463A-9968-557295096742}"/>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63" name="Freeform: Shape 298">
              <a:extLst>
                <a:ext uri="{FF2B5EF4-FFF2-40B4-BE49-F238E27FC236}">
                  <a16:creationId xmlns:a16="http://schemas.microsoft.com/office/drawing/2014/main" id="{14A165CB-817E-40BA-87B6-63C19181F1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4" name="Freeform: Shape 299">
              <a:extLst>
                <a:ext uri="{FF2B5EF4-FFF2-40B4-BE49-F238E27FC236}">
                  <a16:creationId xmlns:a16="http://schemas.microsoft.com/office/drawing/2014/main" id="{638A8C5E-C657-4FDC-B8EA-666E1DC84AD0}"/>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5" name="Freeform: Shape 301">
              <a:extLst>
                <a:ext uri="{FF2B5EF4-FFF2-40B4-BE49-F238E27FC236}">
                  <a16:creationId xmlns:a16="http://schemas.microsoft.com/office/drawing/2014/main" id="{2814DB6A-F93D-4EF9-B7EA-27FB2CD84F1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6" name="Freeform: Shape 302">
              <a:extLst>
                <a:ext uri="{FF2B5EF4-FFF2-40B4-BE49-F238E27FC236}">
                  <a16:creationId xmlns:a16="http://schemas.microsoft.com/office/drawing/2014/main" id="{799D8236-A692-451D-A82C-99E88DECE01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73" name="Group 472">
            <a:extLst>
              <a:ext uri="{FF2B5EF4-FFF2-40B4-BE49-F238E27FC236}">
                <a16:creationId xmlns:a16="http://schemas.microsoft.com/office/drawing/2014/main" id="{D4607FDF-1EC0-4F7D-A8E9-D859A427B92B}"/>
              </a:ext>
            </a:extLst>
          </p:cNvPr>
          <p:cNvGrpSpPr/>
          <p:nvPr/>
        </p:nvGrpSpPr>
        <p:grpSpPr>
          <a:xfrm>
            <a:off x="5926667" y="2493426"/>
            <a:ext cx="126471" cy="126472"/>
            <a:chOff x="4083776" y="2552776"/>
            <a:chExt cx="529090" cy="529088"/>
          </a:xfrm>
        </p:grpSpPr>
        <p:sp>
          <p:nvSpPr>
            <p:cNvPr id="474" name="Oval 473">
              <a:extLst>
                <a:ext uri="{FF2B5EF4-FFF2-40B4-BE49-F238E27FC236}">
                  <a16:creationId xmlns:a16="http://schemas.microsoft.com/office/drawing/2014/main" id="{5D24032F-0E2F-4487-80FA-23360CD635A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5" name="Freeform: Shape 298">
              <a:extLst>
                <a:ext uri="{FF2B5EF4-FFF2-40B4-BE49-F238E27FC236}">
                  <a16:creationId xmlns:a16="http://schemas.microsoft.com/office/drawing/2014/main" id="{1CDB68B0-BE23-40A0-BC6F-BF461727B7F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6" name="Freeform: Shape 299">
              <a:extLst>
                <a:ext uri="{FF2B5EF4-FFF2-40B4-BE49-F238E27FC236}">
                  <a16:creationId xmlns:a16="http://schemas.microsoft.com/office/drawing/2014/main" id="{D33717CD-0CA8-4FCE-8C42-5FD82A1B6126}"/>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7" name="Freeform: Shape 301">
              <a:extLst>
                <a:ext uri="{FF2B5EF4-FFF2-40B4-BE49-F238E27FC236}">
                  <a16:creationId xmlns:a16="http://schemas.microsoft.com/office/drawing/2014/main" id="{0503FF0E-D2B3-401F-AFA2-0D84FD2630E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78" name="Freeform: Shape 302">
              <a:extLst>
                <a:ext uri="{FF2B5EF4-FFF2-40B4-BE49-F238E27FC236}">
                  <a16:creationId xmlns:a16="http://schemas.microsoft.com/office/drawing/2014/main" id="{E24A5FC2-6F34-4C26-8058-CCBBAAC25EC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80" name="Group 479">
            <a:extLst>
              <a:ext uri="{FF2B5EF4-FFF2-40B4-BE49-F238E27FC236}">
                <a16:creationId xmlns:a16="http://schemas.microsoft.com/office/drawing/2014/main" id="{DC0E3CCB-3FBE-426F-8FB8-5094C736587D}"/>
              </a:ext>
            </a:extLst>
          </p:cNvPr>
          <p:cNvGrpSpPr/>
          <p:nvPr/>
        </p:nvGrpSpPr>
        <p:grpSpPr>
          <a:xfrm>
            <a:off x="6190105" y="1266458"/>
            <a:ext cx="232754" cy="232756"/>
            <a:chOff x="4083769" y="2552776"/>
            <a:chExt cx="529089" cy="529089"/>
          </a:xfrm>
        </p:grpSpPr>
        <p:sp>
          <p:nvSpPr>
            <p:cNvPr id="481" name="Oval 480">
              <a:extLst>
                <a:ext uri="{FF2B5EF4-FFF2-40B4-BE49-F238E27FC236}">
                  <a16:creationId xmlns:a16="http://schemas.microsoft.com/office/drawing/2014/main" id="{FB04ED57-CD53-4EA4-8400-D006D48A92B4}"/>
                </a:ext>
              </a:extLst>
            </p:cNvPr>
            <p:cNvSpPr/>
            <p:nvPr/>
          </p:nvSpPr>
          <p:spPr>
            <a:xfrm>
              <a:off x="4083769" y="2552776"/>
              <a:ext cx="529089" cy="5290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82" name="Freeform: Shape 298">
              <a:extLst>
                <a:ext uri="{FF2B5EF4-FFF2-40B4-BE49-F238E27FC236}">
                  <a16:creationId xmlns:a16="http://schemas.microsoft.com/office/drawing/2014/main" id="{D3107AF6-E884-443D-B63B-CA7D92A2EEAC}"/>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3" name="Freeform: Shape 299">
              <a:extLst>
                <a:ext uri="{FF2B5EF4-FFF2-40B4-BE49-F238E27FC236}">
                  <a16:creationId xmlns:a16="http://schemas.microsoft.com/office/drawing/2014/main" id="{CA9E5A5D-18E2-42B9-8F77-23E474BC8A1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4" name="Freeform: Shape 301">
              <a:extLst>
                <a:ext uri="{FF2B5EF4-FFF2-40B4-BE49-F238E27FC236}">
                  <a16:creationId xmlns:a16="http://schemas.microsoft.com/office/drawing/2014/main" id="{895894C2-6D3E-4F2F-860A-A5A1D224A7D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5" name="Freeform: Shape 302">
              <a:extLst>
                <a:ext uri="{FF2B5EF4-FFF2-40B4-BE49-F238E27FC236}">
                  <a16:creationId xmlns:a16="http://schemas.microsoft.com/office/drawing/2014/main" id="{568D0468-AB82-4251-88FB-DB0B17CCA26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494" name="Straight Connector 493">
            <a:extLst>
              <a:ext uri="{FF2B5EF4-FFF2-40B4-BE49-F238E27FC236}">
                <a16:creationId xmlns:a16="http://schemas.microsoft.com/office/drawing/2014/main" id="{570E66B6-72D0-44A4-8925-FCA79AB95249}"/>
              </a:ext>
            </a:extLst>
          </p:cNvPr>
          <p:cNvCxnSpPr>
            <a:stCxn id="278" idx="5"/>
            <a:endCxn id="389" idx="1"/>
          </p:cNvCxnSpPr>
          <p:nvPr/>
        </p:nvCxnSpPr>
        <p:spPr>
          <a:xfrm>
            <a:off x="4896546" y="3855872"/>
            <a:ext cx="111308" cy="94401"/>
          </a:xfrm>
          <a:prstGeom prst="line">
            <a:avLst/>
          </a:prstGeom>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823FAF84-4B9D-481C-8738-DFA911412A73}"/>
              </a:ext>
            </a:extLst>
          </p:cNvPr>
          <p:cNvCxnSpPr>
            <a:stCxn id="383" idx="6"/>
            <a:endCxn id="164" idx="2"/>
          </p:cNvCxnSpPr>
          <p:nvPr/>
        </p:nvCxnSpPr>
        <p:spPr>
          <a:xfrm flipV="1">
            <a:off x="3501788" y="3439364"/>
            <a:ext cx="186088" cy="19003"/>
          </a:xfrm>
          <a:prstGeom prst="line">
            <a:avLst/>
          </a:prstGeom>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DAC31F5-A811-4D7E-B44D-2014F9616E34}"/>
              </a:ext>
            </a:extLst>
          </p:cNvPr>
          <p:cNvCxnSpPr>
            <a:stCxn id="213" idx="1"/>
            <a:endCxn id="414" idx="6"/>
          </p:cNvCxnSpPr>
          <p:nvPr/>
        </p:nvCxnSpPr>
        <p:spPr>
          <a:xfrm flipH="1" flipV="1">
            <a:off x="4067934" y="1723163"/>
            <a:ext cx="90800" cy="52719"/>
          </a:xfrm>
          <a:prstGeom prst="line">
            <a:avLst/>
          </a:prstGeom>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83FC9F24-70EA-4213-A669-990D235CFC82}"/>
              </a:ext>
            </a:extLst>
          </p:cNvPr>
          <p:cNvCxnSpPr>
            <a:stCxn id="46" idx="5"/>
            <a:endCxn id="444" idx="2"/>
          </p:cNvCxnSpPr>
          <p:nvPr/>
        </p:nvCxnSpPr>
        <p:spPr>
          <a:xfrm>
            <a:off x="6440153" y="2549533"/>
            <a:ext cx="28261" cy="21614"/>
          </a:xfrm>
          <a:prstGeom prst="line">
            <a:avLst/>
          </a:prstGeom>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899EB62B-EFCC-48A1-A82D-B2BCE92FDADA}"/>
              </a:ext>
            </a:extLst>
          </p:cNvPr>
          <p:cNvCxnSpPr>
            <a:stCxn id="444" idx="6"/>
            <a:endCxn id="450" idx="3"/>
          </p:cNvCxnSpPr>
          <p:nvPr/>
        </p:nvCxnSpPr>
        <p:spPr>
          <a:xfrm flipV="1">
            <a:off x="6594885" y="2552627"/>
            <a:ext cx="103678" cy="18521"/>
          </a:xfrm>
          <a:prstGeom prst="line">
            <a:avLst/>
          </a:prstGeom>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C3C9CFED-D7C9-400E-8A55-2A356EAB5488}"/>
              </a:ext>
            </a:extLst>
          </p:cNvPr>
          <p:cNvCxnSpPr>
            <a:stCxn id="450" idx="6"/>
            <a:endCxn id="456" idx="0"/>
          </p:cNvCxnSpPr>
          <p:nvPr/>
        </p:nvCxnSpPr>
        <p:spPr>
          <a:xfrm>
            <a:off x="6806513" y="2507912"/>
            <a:ext cx="268726" cy="413089"/>
          </a:xfrm>
          <a:prstGeom prst="line">
            <a:avLst/>
          </a:prstGeom>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25F199E6-09E5-4F65-AC10-8E81F4BAE5BF}"/>
              </a:ext>
            </a:extLst>
          </p:cNvPr>
          <p:cNvCxnSpPr>
            <a:stCxn id="127" idx="7"/>
            <a:endCxn id="462" idx="3"/>
          </p:cNvCxnSpPr>
          <p:nvPr/>
        </p:nvCxnSpPr>
        <p:spPr>
          <a:xfrm flipV="1">
            <a:off x="5922473" y="1411831"/>
            <a:ext cx="103683" cy="133314"/>
          </a:xfrm>
          <a:prstGeom prst="line">
            <a:avLst/>
          </a:prstGeom>
        </p:spPr>
        <p:style>
          <a:lnRef idx="1">
            <a:schemeClr val="accent6"/>
          </a:lnRef>
          <a:fillRef idx="0">
            <a:schemeClr val="accent6"/>
          </a:fillRef>
          <a:effectRef idx="0">
            <a:schemeClr val="accent6"/>
          </a:effectRef>
          <a:fontRef idx="minor">
            <a:schemeClr val="tx1"/>
          </a:fontRef>
        </p:style>
      </p:cxnSp>
      <p:cxnSp>
        <p:nvCxnSpPr>
          <p:cNvPr id="508" name="Straight Connector 507">
            <a:extLst>
              <a:ext uri="{FF2B5EF4-FFF2-40B4-BE49-F238E27FC236}">
                <a16:creationId xmlns:a16="http://schemas.microsoft.com/office/drawing/2014/main" id="{5F24EE1B-51D3-4B90-8E8F-2A2847F30650}"/>
              </a:ext>
            </a:extLst>
          </p:cNvPr>
          <p:cNvCxnSpPr>
            <a:stCxn id="462" idx="6"/>
            <a:endCxn id="481" idx="2"/>
          </p:cNvCxnSpPr>
          <p:nvPr/>
        </p:nvCxnSpPr>
        <p:spPr>
          <a:xfrm>
            <a:off x="6134106" y="1367117"/>
            <a:ext cx="56000" cy="15719"/>
          </a:xfrm>
          <a:prstGeom prst="line">
            <a:avLst/>
          </a:prstGeom>
        </p:spPr>
        <p:style>
          <a:lnRef idx="1">
            <a:schemeClr val="accent6"/>
          </a:lnRef>
          <a:fillRef idx="0">
            <a:schemeClr val="accent6"/>
          </a:fillRef>
          <a:effectRef idx="0">
            <a:schemeClr val="accent6"/>
          </a:effectRef>
          <a:fontRef idx="minor">
            <a:schemeClr val="tx1"/>
          </a:fontRef>
        </p:style>
      </p:cxnSp>
      <p:cxnSp>
        <p:nvCxnSpPr>
          <p:cNvPr id="516" name="Straight Connector 515">
            <a:extLst>
              <a:ext uri="{FF2B5EF4-FFF2-40B4-BE49-F238E27FC236}">
                <a16:creationId xmlns:a16="http://schemas.microsoft.com/office/drawing/2014/main" id="{1E357FF4-2F7B-44A7-AD15-342BD7C34175}"/>
              </a:ext>
            </a:extLst>
          </p:cNvPr>
          <p:cNvCxnSpPr>
            <a:stCxn id="40" idx="0"/>
            <a:endCxn id="420" idx="4"/>
          </p:cNvCxnSpPr>
          <p:nvPr/>
        </p:nvCxnSpPr>
        <p:spPr>
          <a:xfrm flipV="1">
            <a:off x="5352681" y="446080"/>
            <a:ext cx="3959" cy="108708"/>
          </a:xfrm>
          <a:prstGeom prst="line">
            <a:avLst/>
          </a:prstGeom>
        </p:spPr>
        <p:style>
          <a:lnRef idx="1">
            <a:schemeClr val="dk1"/>
          </a:lnRef>
          <a:fillRef idx="0">
            <a:schemeClr val="dk1"/>
          </a:fillRef>
          <a:effectRef idx="0">
            <a:schemeClr val="dk1"/>
          </a:effectRef>
          <a:fontRef idx="minor">
            <a:schemeClr val="tx1"/>
          </a:fontRef>
        </p:style>
      </p:cxnSp>
      <p:sp>
        <p:nvSpPr>
          <p:cNvPr id="364" name="Rectangle 363">
            <a:extLst>
              <a:ext uri="{FF2B5EF4-FFF2-40B4-BE49-F238E27FC236}">
                <a16:creationId xmlns:a16="http://schemas.microsoft.com/office/drawing/2014/main" id="{92136735-1D3F-47FC-960C-EDDA698B9B6A}"/>
              </a:ext>
            </a:extLst>
          </p:cNvPr>
          <p:cNvSpPr/>
          <p:nvPr/>
        </p:nvSpPr>
        <p:spPr>
          <a:xfrm>
            <a:off x="4051358" y="452542"/>
            <a:ext cx="675201"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Inda Silase</a:t>
            </a:r>
            <a:endParaRPr lang="en-GB" sz="700" dirty="0">
              <a:solidFill>
                <a:srgbClr val="0D274D"/>
              </a:solidFill>
              <a:latin typeface="CiscoSansTT ExtraLight"/>
            </a:endParaRPr>
          </a:p>
        </p:txBody>
      </p:sp>
      <p:sp>
        <p:nvSpPr>
          <p:cNvPr id="365" name="Rectangle 364">
            <a:extLst>
              <a:ext uri="{FF2B5EF4-FFF2-40B4-BE49-F238E27FC236}">
                <a16:creationId xmlns:a16="http://schemas.microsoft.com/office/drawing/2014/main" id="{DCDEE4DC-DF1C-4D5C-9BB4-57B5E8A56309}"/>
              </a:ext>
            </a:extLst>
          </p:cNvPr>
          <p:cNvSpPr/>
          <p:nvPr/>
        </p:nvSpPr>
        <p:spPr>
          <a:xfrm>
            <a:off x="5641017" y="118649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mera</a:t>
            </a:r>
            <a:endParaRPr lang="en-GB" sz="700" dirty="0">
              <a:solidFill>
                <a:srgbClr val="0D274D"/>
              </a:solidFill>
              <a:latin typeface="CiscoSansTT ExtraLight"/>
            </a:endParaRPr>
          </a:p>
        </p:txBody>
      </p:sp>
      <p:sp>
        <p:nvSpPr>
          <p:cNvPr id="367" name="Rectangle 366">
            <a:extLst>
              <a:ext uri="{FF2B5EF4-FFF2-40B4-BE49-F238E27FC236}">
                <a16:creationId xmlns:a16="http://schemas.microsoft.com/office/drawing/2014/main" id="{1792D214-800F-4445-B1F7-AC58A6282E7C}"/>
              </a:ext>
            </a:extLst>
          </p:cNvPr>
          <p:cNvSpPr/>
          <p:nvPr/>
        </p:nvSpPr>
        <p:spPr>
          <a:xfrm>
            <a:off x="5767681" y="2687262"/>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Miesso</a:t>
            </a:r>
            <a:endParaRPr lang="en-GB" sz="700" dirty="0">
              <a:solidFill>
                <a:srgbClr val="0D274D"/>
              </a:solidFill>
              <a:latin typeface="CiscoSansTT ExtraLight"/>
            </a:endParaRPr>
          </a:p>
        </p:txBody>
      </p:sp>
      <p:sp>
        <p:nvSpPr>
          <p:cNvPr id="369" name="Rectangle 368">
            <a:extLst>
              <a:ext uri="{FF2B5EF4-FFF2-40B4-BE49-F238E27FC236}">
                <a16:creationId xmlns:a16="http://schemas.microsoft.com/office/drawing/2014/main" id="{8CAEDC45-4708-4003-9D59-52823CDFE3BD}"/>
              </a:ext>
            </a:extLst>
          </p:cNvPr>
          <p:cNvSpPr/>
          <p:nvPr/>
        </p:nvSpPr>
        <p:spPr>
          <a:xfrm>
            <a:off x="6403944" y="2664438"/>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Harar</a:t>
            </a:r>
            <a:endParaRPr lang="en-GB" sz="700" dirty="0">
              <a:solidFill>
                <a:srgbClr val="0D274D"/>
              </a:solidFill>
              <a:latin typeface="CiscoSansTT ExtraLight"/>
            </a:endParaRPr>
          </a:p>
        </p:txBody>
      </p:sp>
      <p:sp>
        <p:nvSpPr>
          <p:cNvPr id="370" name="Rectangle 369">
            <a:extLst>
              <a:ext uri="{FF2B5EF4-FFF2-40B4-BE49-F238E27FC236}">
                <a16:creationId xmlns:a16="http://schemas.microsoft.com/office/drawing/2014/main" id="{CCEEF0F4-FD75-4A90-8034-294A8A423853}"/>
              </a:ext>
            </a:extLst>
          </p:cNvPr>
          <p:cNvSpPr/>
          <p:nvPr/>
        </p:nvSpPr>
        <p:spPr>
          <a:xfrm>
            <a:off x="6680042" y="3074736"/>
            <a:ext cx="622763"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Degehabur</a:t>
            </a:r>
            <a:endParaRPr lang="en-GB" sz="700" dirty="0">
              <a:solidFill>
                <a:srgbClr val="0D274D"/>
              </a:solidFill>
              <a:latin typeface="CiscoSansTT ExtraLight"/>
            </a:endParaRPr>
          </a:p>
        </p:txBody>
      </p:sp>
      <p:sp>
        <p:nvSpPr>
          <p:cNvPr id="371" name="Rectangle 370">
            <a:extLst>
              <a:ext uri="{FF2B5EF4-FFF2-40B4-BE49-F238E27FC236}">
                <a16:creationId xmlns:a16="http://schemas.microsoft.com/office/drawing/2014/main" id="{3BE54534-7B6A-41F6-B314-CF928CC63ED6}"/>
              </a:ext>
            </a:extLst>
          </p:cNvPr>
          <p:cNvSpPr/>
          <p:nvPr/>
        </p:nvSpPr>
        <p:spPr>
          <a:xfrm>
            <a:off x="5297440" y="3288128"/>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ssasa</a:t>
            </a:r>
            <a:endParaRPr lang="en-GB" sz="700" dirty="0">
              <a:solidFill>
                <a:srgbClr val="0D274D"/>
              </a:solidFill>
              <a:latin typeface="CiscoSansTT ExtraLight"/>
            </a:endParaRPr>
          </a:p>
        </p:txBody>
      </p:sp>
      <p:sp>
        <p:nvSpPr>
          <p:cNvPr id="372" name="Rectangle 371">
            <a:extLst>
              <a:ext uri="{FF2B5EF4-FFF2-40B4-BE49-F238E27FC236}">
                <a16:creationId xmlns:a16="http://schemas.microsoft.com/office/drawing/2014/main" id="{F9438A54-8814-4F77-AF6A-FA04B5223ADE}"/>
              </a:ext>
            </a:extLst>
          </p:cNvPr>
          <p:cNvSpPr/>
          <p:nvPr/>
        </p:nvSpPr>
        <p:spPr>
          <a:xfrm>
            <a:off x="5063859" y="3840565"/>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Kibremengist</a:t>
            </a:r>
            <a:endParaRPr lang="en-GB" sz="700" dirty="0">
              <a:solidFill>
                <a:srgbClr val="0D274D"/>
              </a:solidFill>
              <a:latin typeface="CiscoSansTT ExtraLight"/>
            </a:endParaRPr>
          </a:p>
        </p:txBody>
      </p:sp>
      <p:grpSp>
        <p:nvGrpSpPr>
          <p:cNvPr id="379" name="Group 378">
            <a:extLst>
              <a:ext uri="{FF2B5EF4-FFF2-40B4-BE49-F238E27FC236}">
                <a16:creationId xmlns:a16="http://schemas.microsoft.com/office/drawing/2014/main" id="{676D9D44-2531-428D-A306-247C21577DEC}"/>
              </a:ext>
            </a:extLst>
          </p:cNvPr>
          <p:cNvGrpSpPr/>
          <p:nvPr/>
        </p:nvGrpSpPr>
        <p:grpSpPr>
          <a:xfrm>
            <a:off x="4803767" y="3554736"/>
            <a:ext cx="126471" cy="126472"/>
            <a:chOff x="4083776" y="2552776"/>
            <a:chExt cx="529090" cy="529088"/>
          </a:xfrm>
        </p:grpSpPr>
        <p:sp>
          <p:nvSpPr>
            <p:cNvPr id="380" name="Oval 379">
              <a:extLst>
                <a:ext uri="{FF2B5EF4-FFF2-40B4-BE49-F238E27FC236}">
                  <a16:creationId xmlns:a16="http://schemas.microsoft.com/office/drawing/2014/main" id="{6688921A-F9BD-4024-87D4-36E857E70EED}"/>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81" name="Freeform: Shape 298">
              <a:extLst>
                <a:ext uri="{FF2B5EF4-FFF2-40B4-BE49-F238E27FC236}">
                  <a16:creationId xmlns:a16="http://schemas.microsoft.com/office/drawing/2014/main" id="{5A99527D-AF69-432F-96E9-7DD5FF13B9F6}"/>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12" name="Freeform: Shape 299">
              <a:extLst>
                <a:ext uri="{FF2B5EF4-FFF2-40B4-BE49-F238E27FC236}">
                  <a16:creationId xmlns:a16="http://schemas.microsoft.com/office/drawing/2014/main" id="{1407AC14-CF7A-4B6A-B437-C29606C57DF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7" name="Freeform: Shape 301">
              <a:extLst>
                <a:ext uri="{FF2B5EF4-FFF2-40B4-BE49-F238E27FC236}">
                  <a16:creationId xmlns:a16="http://schemas.microsoft.com/office/drawing/2014/main" id="{97877782-81A0-47E6-B5AF-3E24A1D95D34}"/>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68" name="Freeform: Shape 302">
              <a:extLst>
                <a:ext uri="{FF2B5EF4-FFF2-40B4-BE49-F238E27FC236}">
                  <a16:creationId xmlns:a16="http://schemas.microsoft.com/office/drawing/2014/main" id="{2680D0F4-74F3-4569-8769-028F132D3F1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469" name="Rectangle 468">
            <a:extLst>
              <a:ext uri="{FF2B5EF4-FFF2-40B4-BE49-F238E27FC236}">
                <a16:creationId xmlns:a16="http://schemas.microsoft.com/office/drawing/2014/main" id="{0E09D293-E66F-44DC-A66D-D1E9C34D15CD}"/>
              </a:ext>
            </a:extLst>
          </p:cNvPr>
          <p:cNvSpPr/>
          <p:nvPr/>
        </p:nvSpPr>
        <p:spPr>
          <a:xfrm>
            <a:off x="4924818" y="3616802"/>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Yirga</a:t>
            </a:r>
            <a:r>
              <a:rPr lang="en-GB" sz="700" dirty="0">
                <a:solidFill>
                  <a:srgbClr val="0D274D"/>
                </a:solidFill>
                <a:latin typeface="CiscoSansTT ExtraLight"/>
              </a:rPr>
              <a:t> </a:t>
            </a:r>
            <a:r>
              <a:rPr lang="en-GB" sz="700" dirty="0" err="1">
                <a:solidFill>
                  <a:srgbClr val="0D274D"/>
                </a:solidFill>
                <a:latin typeface="CiscoSansTT ExtraLight"/>
              </a:rPr>
              <a:t>Alem</a:t>
            </a:r>
            <a:endParaRPr lang="en-GB" sz="700" dirty="0">
              <a:solidFill>
                <a:srgbClr val="0D274D"/>
              </a:solidFill>
              <a:latin typeface="CiscoSansTT ExtraLight"/>
            </a:endParaRPr>
          </a:p>
        </p:txBody>
      </p:sp>
      <p:sp>
        <p:nvSpPr>
          <p:cNvPr id="470" name="Rectangle 469">
            <a:extLst>
              <a:ext uri="{FF2B5EF4-FFF2-40B4-BE49-F238E27FC236}">
                <a16:creationId xmlns:a16="http://schemas.microsoft.com/office/drawing/2014/main" id="{5C71D173-7490-4002-B367-F06F4BB9E13A}"/>
              </a:ext>
            </a:extLst>
          </p:cNvPr>
          <p:cNvSpPr/>
          <p:nvPr/>
        </p:nvSpPr>
        <p:spPr>
          <a:xfrm>
            <a:off x="3824194" y="348765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Bonga</a:t>
            </a:r>
            <a:endParaRPr lang="en-GB" sz="700" dirty="0">
              <a:solidFill>
                <a:srgbClr val="0D274D"/>
              </a:solidFill>
              <a:latin typeface="CiscoSansTT ExtraLight"/>
            </a:endParaRPr>
          </a:p>
        </p:txBody>
      </p:sp>
      <p:sp>
        <p:nvSpPr>
          <p:cNvPr id="471" name="Rectangle 470">
            <a:extLst>
              <a:ext uri="{FF2B5EF4-FFF2-40B4-BE49-F238E27FC236}">
                <a16:creationId xmlns:a16="http://schemas.microsoft.com/office/drawing/2014/main" id="{AD2102EF-9F55-411F-BADD-5A5641306B43}"/>
              </a:ext>
            </a:extLst>
          </p:cNvPr>
          <p:cNvSpPr/>
          <p:nvPr/>
        </p:nvSpPr>
        <p:spPr>
          <a:xfrm>
            <a:off x="3079374" y="3543744"/>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Tepi</a:t>
            </a:r>
            <a:endParaRPr lang="en-GB" sz="700" dirty="0">
              <a:solidFill>
                <a:srgbClr val="0D274D"/>
              </a:solidFill>
              <a:latin typeface="CiscoSansTT ExtraLight"/>
            </a:endParaRPr>
          </a:p>
        </p:txBody>
      </p:sp>
      <p:grpSp>
        <p:nvGrpSpPr>
          <p:cNvPr id="479" name="Group 478">
            <a:extLst>
              <a:ext uri="{FF2B5EF4-FFF2-40B4-BE49-F238E27FC236}">
                <a16:creationId xmlns:a16="http://schemas.microsoft.com/office/drawing/2014/main" id="{D88DA378-BA06-48A4-987D-8F21550D476C}"/>
              </a:ext>
            </a:extLst>
          </p:cNvPr>
          <p:cNvGrpSpPr/>
          <p:nvPr/>
        </p:nvGrpSpPr>
        <p:grpSpPr>
          <a:xfrm>
            <a:off x="4300546" y="2585931"/>
            <a:ext cx="126471" cy="126472"/>
            <a:chOff x="4083776" y="2552776"/>
            <a:chExt cx="529090" cy="529088"/>
          </a:xfrm>
        </p:grpSpPr>
        <p:sp>
          <p:nvSpPr>
            <p:cNvPr id="493" name="Oval 492">
              <a:extLst>
                <a:ext uri="{FF2B5EF4-FFF2-40B4-BE49-F238E27FC236}">
                  <a16:creationId xmlns:a16="http://schemas.microsoft.com/office/drawing/2014/main" id="{DFCA41A1-EA48-4FEF-B9AD-A28E878157D8}"/>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95" name="Freeform: Shape 298">
              <a:extLst>
                <a:ext uri="{FF2B5EF4-FFF2-40B4-BE49-F238E27FC236}">
                  <a16:creationId xmlns:a16="http://schemas.microsoft.com/office/drawing/2014/main" id="{C6604268-B921-45E0-87EE-AA82695092F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7" name="Freeform: Shape 299">
              <a:extLst>
                <a:ext uri="{FF2B5EF4-FFF2-40B4-BE49-F238E27FC236}">
                  <a16:creationId xmlns:a16="http://schemas.microsoft.com/office/drawing/2014/main" id="{497092F1-E31E-4FCA-9954-37E943B4EB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9" name="Freeform: Shape 301">
              <a:extLst>
                <a:ext uri="{FF2B5EF4-FFF2-40B4-BE49-F238E27FC236}">
                  <a16:creationId xmlns:a16="http://schemas.microsoft.com/office/drawing/2014/main" id="{D725A9E6-BD3C-44F7-B5E3-0D3F250988C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1" name="Freeform: Shape 302">
              <a:extLst>
                <a:ext uri="{FF2B5EF4-FFF2-40B4-BE49-F238E27FC236}">
                  <a16:creationId xmlns:a16="http://schemas.microsoft.com/office/drawing/2014/main" id="{F500B95E-5002-46DC-8E44-398D19BD310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03" name="Rectangle 502">
            <a:extLst>
              <a:ext uri="{FF2B5EF4-FFF2-40B4-BE49-F238E27FC236}">
                <a16:creationId xmlns:a16="http://schemas.microsoft.com/office/drawing/2014/main" id="{F4F0F0A9-1B48-4DBB-9FAB-CC79A59C0098}"/>
              </a:ext>
            </a:extLst>
          </p:cNvPr>
          <p:cNvSpPr/>
          <p:nvPr/>
        </p:nvSpPr>
        <p:spPr>
          <a:xfrm>
            <a:off x="4114581" y="245590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Ambo</a:t>
            </a:r>
            <a:endParaRPr lang="en-GB" sz="700" dirty="0">
              <a:solidFill>
                <a:srgbClr val="0D274D"/>
              </a:solidFill>
              <a:latin typeface="CiscoSansTT ExtraLight"/>
            </a:endParaRPr>
          </a:p>
        </p:txBody>
      </p:sp>
      <p:sp>
        <p:nvSpPr>
          <p:cNvPr id="507" name="Rectangle 506">
            <a:extLst>
              <a:ext uri="{FF2B5EF4-FFF2-40B4-BE49-F238E27FC236}">
                <a16:creationId xmlns:a16="http://schemas.microsoft.com/office/drawing/2014/main" id="{260EDB7D-0167-4B6D-BFCC-F429DFC5F547}"/>
              </a:ext>
            </a:extLst>
          </p:cNvPr>
          <p:cNvSpPr/>
          <p:nvPr/>
        </p:nvSpPr>
        <p:spPr>
          <a:xfrm>
            <a:off x="4776784" y="255557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Holeta</a:t>
            </a:r>
            <a:endParaRPr lang="en-GB" sz="700" dirty="0">
              <a:solidFill>
                <a:srgbClr val="0D274D"/>
              </a:solidFill>
              <a:latin typeface="CiscoSansTT ExtraLight"/>
            </a:endParaRPr>
          </a:p>
        </p:txBody>
      </p:sp>
      <p:sp>
        <p:nvSpPr>
          <p:cNvPr id="509" name="Rectangle 508">
            <a:extLst>
              <a:ext uri="{FF2B5EF4-FFF2-40B4-BE49-F238E27FC236}">
                <a16:creationId xmlns:a16="http://schemas.microsoft.com/office/drawing/2014/main" id="{C7AE2538-0B06-4432-9482-237C6E1D8987}"/>
              </a:ext>
            </a:extLst>
          </p:cNvPr>
          <p:cNvSpPr/>
          <p:nvPr/>
        </p:nvSpPr>
        <p:spPr>
          <a:xfrm>
            <a:off x="5129710" y="2738385"/>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Bishoftu</a:t>
            </a:r>
            <a:endParaRPr lang="en-GB" sz="700" dirty="0">
              <a:solidFill>
                <a:srgbClr val="0D274D"/>
              </a:solidFill>
              <a:latin typeface="CiscoSansTT ExtraLight"/>
            </a:endParaRPr>
          </a:p>
        </p:txBody>
      </p:sp>
      <p:sp>
        <p:nvSpPr>
          <p:cNvPr id="510" name="Rectangle 509">
            <a:extLst>
              <a:ext uri="{FF2B5EF4-FFF2-40B4-BE49-F238E27FC236}">
                <a16:creationId xmlns:a16="http://schemas.microsoft.com/office/drawing/2014/main" id="{24144F00-1582-41E6-A1D5-6385E2517A69}"/>
              </a:ext>
            </a:extLst>
          </p:cNvPr>
          <p:cNvSpPr/>
          <p:nvPr/>
        </p:nvSpPr>
        <p:spPr>
          <a:xfrm>
            <a:off x="4139503" y="282708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Sebeta</a:t>
            </a:r>
            <a:endParaRPr lang="en-GB" sz="700" dirty="0">
              <a:solidFill>
                <a:srgbClr val="0D274D"/>
              </a:solidFill>
              <a:latin typeface="CiscoSansTT ExtraLight"/>
            </a:endParaRPr>
          </a:p>
        </p:txBody>
      </p:sp>
      <p:sp>
        <p:nvSpPr>
          <p:cNvPr id="511" name="Rectangle 510">
            <a:extLst>
              <a:ext uri="{FF2B5EF4-FFF2-40B4-BE49-F238E27FC236}">
                <a16:creationId xmlns:a16="http://schemas.microsoft.com/office/drawing/2014/main" id="{5202A0AA-6443-4BCC-B939-064BE1122DA2}"/>
              </a:ext>
            </a:extLst>
          </p:cNvPr>
          <p:cNvSpPr/>
          <p:nvPr/>
        </p:nvSpPr>
        <p:spPr>
          <a:xfrm>
            <a:off x="4643343" y="2135212"/>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ebraguracha</a:t>
            </a:r>
            <a:endParaRPr lang="en-GB" sz="700" dirty="0">
              <a:solidFill>
                <a:srgbClr val="0D274D"/>
              </a:solidFill>
              <a:latin typeface="CiscoSansTT ExtraLight"/>
            </a:endParaRPr>
          </a:p>
        </p:txBody>
      </p:sp>
      <p:sp>
        <p:nvSpPr>
          <p:cNvPr id="512" name="Rectangle 511">
            <a:extLst>
              <a:ext uri="{FF2B5EF4-FFF2-40B4-BE49-F238E27FC236}">
                <a16:creationId xmlns:a16="http://schemas.microsoft.com/office/drawing/2014/main" id="{C296D8B9-E7A4-481E-9073-E7550B2E18C7}"/>
              </a:ext>
            </a:extLst>
          </p:cNvPr>
          <p:cNvSpPr/>
          <p:nvPr/>
        </p:nvSpPr>
        <p:spPr>
          <a:xfrm>
            <a:off x="6605445" y="2288454"/>
            <a:ext cx="542968"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Jijiga</a:t>
            </a:r>
            <a:endParaRPr lang="en-GB" sz="700" dirty="0">
              <a:solidFill>
                <a:srgbClr val="0D274D"/>
              </a:solidFill>
              <a:latin typeface="CiscoSansTT ExtraLight"/>
            </a:endParaRPr>
          </a:p>
        </p:txBody>
      </p:sp>
      <p:grpSp>
        <p:nvGrpSpPr>
          <p:cNvPr id="513" name="Group 512">
            <a:extLst>
              <a:ext uri="{FF2B5EF4-FFF2-40B4-BE49-F238E27FC236}">
                <a16:creationId xmlns:a16="http://schemas.microsoft.com/office/drawing/2014/main" id="{5DA4FAC2-6438-4915-9F53-6EE55A2FC49B}"/>
              </a:ext>
            </a:extLst>
          </p:cNvPr>
          <p:cNvGrpSpPr/>
          <p:nvPr/>
        </p:nvGrpSpPr>
        <p:grpSpPr>
          <a:xfrm>
            <a:off x="5383490" y="1829081"/>
            <a:ext cx="126471" cy="126472"/>
            <a:chOff x="4083776" y="2552776"/>
            <a:chExt cx="529090" cy="529088"/>
          </a:xfrm>
        </p:grpSpPr>
        <p:sp>
          <p:nvSpPr>
            <p:cNvPr id="514" name="Oval 513">
              <a:extLst>
                <a:ext uri="{FF2B5EF4-FFF2-40B4-BE49-F238E27FC236}">
                  <a16:creationId xmlns:a16="http://schemas.microsoft.com/office/drawing/2014/main" id="{7677B8D0-1DEB-45E4-88A4-20346BC0B1B7}"/>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15" name="Freeform: Shape 298">
              <a:extLst>
                <a:ext uri="{FF2B5EF4-FFF2-40B4-BE49-F238E27FC236}">
                  <a16:creationId xmlns:a16="http://schemas.microsoft.com/office/drawing/2014/main" id="{207C9477-DEC3-4A31-9DE7-1B61795C1FA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7" name="Freeform: Shape 299">
              <a:extLst>
                <a:ext uri="{FF2B5EF4-FFF2-40B4-BE49-F238E27FC236}">
                  <a16:creationId xmlns:a16="http://schemas.microsoft.com/office/drawing/2014/main" id="{2FD61D91-E620-45EE-8999-9050A15C22DB}"/>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8" name="Freeform: Shape 301">
              <a:extLst>
                <a:ext uri="{FF2B5EF4-FFF2-40B4-BE49-F238E27FC236}">
                  <a16:creationId xmlns:a16="http://schemas.microsoft.com/office/drawing/2014/main" id="{D4640C93-4FA6-4914-B84D-7091F339548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19" name="Freeform: Shape 302">
              <a:extLst>
                <a:ext uri="{FF2B5EF4-FFF2-40B4-BE49-F238E27FC236}">
                  <a16:creationId xmlns:a16="http://schemas.microsoft.com/office/drawing/2014/main" id="{7E7841F1-5BA7-4947-8857-4DBEFB23702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20" name="Rectangle 519">
            <a:extLst>
              <a:ext uri="{FF2B5EF4-FFF2-40B4-BE49-F238E27FC236}">
                <a16:creationId xmlns:a16="http://schemas.microsoft.com/office/drawing/2014/main" id="{F8E8562C-559C-4BB2-8932-6E939E7CA937}"/>
              </a:ext>
            </a:extLst>
          </p:cNvPr>
          <p:cNvSpPr/>
          <p:nvPr/>
        </p:nvSpPr>
        <p:spPr>
          <a:xfrm>
            <a:off x="5539171" y="1835995"/>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mbolcha</a:t>
            </a:r>
            <a:endParaRPr lang="en-GB" sz="700" dirty="0">
              <a:solidFill>
                <a:srgbClr val="0D274D"/>
              </a:solidFill>
              <a:latin typeface="CiscoSansTT ExtraLight"/>
            </a:endParaRPr>
          </a:p>
        </p:txBody>
      </p:sp>
      <p:sp>
        <p:nvSpPr>
          <p:cNvPr id="521" name="Rectangle 520">
            <a:extLst>
              <a:ext uri="{FF2B5EF4-FFF2-40B4-BE49-F238E27FC236}">
                <a16:creationId xmlns:a16="http://schemas.microsoft.com/office/drawing/2014/main" id="{7A97B86A-7057-4B8E-A5E4-4610B0EA54C0}"/>
              </a:ext>
            </a:extLst>
          </p:cNvPr>
          <p:cNvSpPr/>
          <p:nvPr/>
        </p:nvSpPr>
        <p:spPr>
          <a:xfrm>
            <a:off x="4475396" y="185261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Finote</a:t>
            </a:r>
            <a:r>
              <a:rPr lang="en-ZA" sz="700" dirty="0">
                <a:solidFill>
                  <a:srgbClr val="0D274D"/>
                </a:solidFill>
                <a:latin typeface="CiscoSansTT ExtraLight"/>
              </a:rPr>
              <a:t> </a:t>
            </a:r>
            <a:r>
              <a:rPr lang="en-ZA" sz="700" dirty="0" err="1">
                <a:solidFill>
                  <a:srgbClr val="0D274D"/>
                </a:solidFill>
                <a:latin typeface="CiscoSansTT ExtraLight"/>
              </a:rPr>
              <a:t>Selam</a:t>
            </a:r>
            <a:endParaRPr lang="en-GB" sz="700" dirty="0">
              <a:solidFill>
                <a:srgbClr val="0D274D"/>
              </a:solidFill>
              <a:latin typeface="CiscoSansTT ExtraLight"/>
            </a:endParaRPr>
          </a:p>
        </p:txBody>
      </p:sp>
      <p:sp>
        <p:nvSpPr>
          <p:cNvPr id="522" name="Rectangle 521">
            <a:extLst>
              <a:ext uri="{FF2B5EF4-FFF2-40B4-BE49-F238E27FC236}">
                <a16:creationId xmlns:a16="http://schemas.microsoft.com/office/drawing/2014/main" id="{ADC26D36-EEEB-4202-8D17-AB86A7B95EB4}"/>
              </a:ext>
            </a:extLst>
          </p:cNvPr>
          <p:cNvSpPr/>
          <p:nvPr/>
        </p:nvSpPr>
        <p:spPr>
          <a:xfrm>
            <a:off x="3756805" y="181613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Kosober</a:t>
            </a:r>
            <a:endParaRPr lang="en-GB" sz="700" dirty="0">
              <a:solidFill>
                <a:srgbClr val="0D274D"/>
              </a:solidFill>
              <a:latin typeface="CiscoSansTT ExtraLight"/>
            </a:endParaRPr>
          </a:p>
        </p:txBody>
      </p:sp>
      <p:grpSp>
        <p:nvGrpSpPr>
          <p:cNvPr id="530" name="Group 529">
            <a:extLst>
              <a:ext uri="{FF2B5EF4-FFF2-40B4-BE49-F238E27FC236}">
                <a16:creationId xmlns:a16="http://schemas.microsoft.com/office/drawing/2014/main" id="{331B102D-9B74-407B-97DE-90CA5EBAE9EA}"/>
              </a:ext>
            </a:extLst>
          </p:cNvPr>
          <p:cNvGrpSpPr/>
          <p:nvPr/>
        </p:nvGrpSpPr>
        <p:grpSpPr>
          <a:xfrm>
            <a:off x="3755369" y="1626575"/>
            <a:ext cx="126471" cy="126472"/>
            <a:chOff x="4083776" y="2552776"/>
            <a:chExt cx="529090" cy="529088"/>
          </a:xfrm>
        </p:grpSpPr>
        <p:sp>
          <p:nvSpPr>
            <p:cNvPr id="531" name="Oval 530">
              <a:extLst>
                <a:ext uri="{FF2B5EF4-FFF2-40B4-BE49-F238E27FC236}">
                  <a16:creationId xmlns:a16="http://schemas.microsoft.com/office/drawing/2014/main" id="{7DFB9D19-6B9A-4B64-8A7A-441B138FB1EB}"/>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2" name="Freeform: Shape 298">
              <a:extLst>
                <a:ext uri="{FF2B5EF4-FFF2-40B4-BE49-F238E27FC236}">
                  <a16:creationId xmlns:a16="http://schemas.microsoft.com/office/drawing/2014/main" id="{B745723F-166B-4FE3-BB3D-EF4CD5C7BD6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3" name="Freeform: Shape 299">
              <a:extLst>
                <a:ext uri="{FF2B5EF4-FFF2-40B4-BE49-F238E27FC236}">
                  <a16:creationId xmlns:a16="http://schemas.microsoft.com/office/drawing/2014/main" id="{6A2B02AF-A295-4CD2-BEFF-600D608F6C7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4" name="Freeform: Shape 301">
              <a:extLst>
                <a:ext uri="{FF2B5EF4-FFF2-40B4-BE49-F238E27FC236}">
                  <a16:creationId xmlns:a16="http://schemas.microsoft.com/office/drawing/2014/main" id="{05D16A8C-0F18-40A8-BB8A-289A547DEB6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35" name="Freeform: Shape 302">
              <a:extLst>
                <a:ext uri="{FF2B5EF4-FFF2-40B4-BE49-F238E27FC236}">
                  <a16:creationId xmlns:a16="http://schemas.microsoft.com/office/drawing/2014/main" id="{B2701453-AAE3-4D6E-B9B1-14FFE0B47D0C}"/>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36" name="Rectangle 535">
            <a:extLst>
              <a:ext uri="{FF2B5EF4-FFF2-40B4-BE49-F238E27FC236}">
                <a16:creationId xmlns:a16="http://schemas.microsoft.com/office/drawing/2014/main" id="{ACE7DDF9-E9B0-4254-A0C0-5E6BF2F3ACF6}"/>
              </a:ext>
            </a:extLst>
          </p:cNvPr>
          <p:cNvSpPr/>
          <p:nvPr/>
        </p:nvSpPr>
        <p:spPr>
          <a:xfrm>
            <a:off x="3481975" y="1506644"/>
            <a:ext cx="51489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Changni</a:t>
            </a:r>
            <a:endParaRPr lang="en-GB" sz="700" dirty="0">
              <a:solidFill>
                <a:srgbClr val="0D274D"/>
              </a:solidFill>
              <a:latin typeface="CiscoSansTT ExtraLight"/>
            </a:endParaRPr>
          </a:p>
        </p:txBody>
      </p:sp>
      <p:cxnSp>
        <p:nvCxnSpPr>
          <p:cNvPr id="6" name="Straight Connector 5">
            <a:extLst>
              <a:ext uri="{FF2B5EF4-FFF2-40B4-BE49-F238E27FC236}">
                <a16:creationId xmlns:a16="http://schemas.microsoft.com/office/drawing/2014/main" id="{7971D635-FD60-4521-B418-07660BE62F4D}"/>
              </a:ext>
            </a:extLst>
          </p:cNvPr>
          <p:cNvCxnSpPr>
            <a:stCxn id="414" idx="1"/>
          </p:cNvCxnSpPr>
          <p:nvPr/>
        </p:nvCxnSpPr>
        <p:spPr>
          <a:xfrm flipH="1" flipV="1">
            <a:off x="3881839" y="1676955"/>
            <a:ext cx="78144" cy="1493"/>
          </a:xfrm>
          <a:prstGeom prst="line">
            <a:avLst/>
          </a:prstGeom>
        </p:spPr>
        <p:style>
          <a:lnRef idx="1">
            <a:schemeClr val="dk1"/>
          </a:lnRef>
          <a:fillRef idx="0">
            <a:schemeClr val="dk1"/>
          </a:fillRef>
          <a:effectRef idx="0">
            <a:schemeClr val="dk1"/>
          </a:effectRef>
          <a:fontRef idx="minor">
            <a:schemeClr val="tx1"/>
          </a:fontRef>
        </p:style>
      </p:cxnSp>
      <p:grpSp>
        <p:nvGrpSpPr>
          <p:cNvPr id="545" name="Group 544">
            <a:extLst>
              <a:ext uri="{FF2B5EF4-FFF2-40B4-BE49-F238E27FC236}">
                <a16:creationId xmlns:a16="http://schemas.microsoft.com/office/drawing/2014/main" id="{A473D42E-38A1-4E49-8C1A-48A7D90E5DD0}"/>
              </a:ext>
            </a:extLst>
          </p:cNvPr>
          <p:cNvGrpSpPr/>
          <p:nvPr/>
        </p:nvGrpSpPr>
        <p:grpSpPr>
          <a:xfrm>
            <a:off x="3913211" y="3005058"/>
            <a:ext cx="126471" cy="126472"/>
            <a:chOff x="4083776" y="2552776"/>
            <a:chExt cx="529090" cy="529088"/>
          </a:xfrm>
        </p:grpSpPr>
        <p:sp>
          <p:nvSpPr>
            <p:cNvPr id="546" name="Oval 545">
              <a:extLst>
                <a:ext uri="{FF2B5EF4-FFF2-40B4-BE49-F238E27FC236}">
                  <a16:creationId xmlns:a16="http://schemas.microsoft.com/office/drawing/2014/main" id="{107308A8-9050-4819-B599-62D67F170219}"/>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47" name="Freeform: Shape 298">
              <a:extLst>
                <a:ext uri="{FF2B5EF4-FFF2-40B4-BE49-F238E27FC236}">
                  <a16:creationId xmlns:a16="http://schemas.microsoft.com/office/drawing/2014/main" id="{95F6027B-DB57-4AF9-AB6B-7A6D0AF668E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8" name="Freeform: Shape 299">
              <a:extLst>
                <a:ext uri="{FF2B5EF4-FFF2-40B4-BE49-F238E27FC236}">
                  <a16:creationId xmlns:a16="http://schemas.microsoft.com/office/drawing/2014/main" id="{3421DA62-ACA8-4628-A379-D53284860AA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9" name="Freeform: Shape 301">
              <a:extLst>
                <a:ext uri="{FF2B5EF4-FFF2-40B4-BE49-F238E27FC236}">
                  <a16:creationId xmlns:a16="http://schemas.microsoft.com/office/drawing/2014/main" id="{67544EE1-B3FA-4CCC-AB10-6DCB2A4BDF91}"/>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0" name="Freeform: Shape 302">
              <a:extLst>
                <a:ext uri="{FF2B5EF4-FFF2-40B4-BE49-F238E27FC236}">
                  <a16:creationId xmlns:a16="http://schemas.microsoft.com/office/drawing/2014/main" id="{9413ADB1-131E-4CA2-B27C-34DB68B544D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1" name="Rectangle 550">
            <a:extLst>
              <a:ext uri="{FF2B5EF4-FFF2-40B4-BE49-F238E27FC236}">
                <a16:creationId xmlns:a16="http://schemas.microsoft.com/office/drawing/2014/main" id="{F1E9CA75-673D-49EC-A59F-51DE86050050}"/>
              </a:ext>
            </a:extLst>
          </p:cNvPr>
          <p:cNvSpPr/>
          <p:nvPr/>
        </p:nvSpPr>
        <p:spPr>
          <a:xfrm>
            <a:off x="3561805" y="3129636"/>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gard</a:t>
            </a:r>
            <a:endParaRPr lang="en-GB" sz="700" dirty="0">
              <a:solidFill>
                <a:srgbClr val="0D274D"/>
              </a:solidFill>
              <a:latin typeface="CiscoSansTT ExtraLight"/>
            </a:endParaRPr>
          </a:p>
        </p:txBody>
      </p:sp>
      <p:grpSp>
        <p:nvGrpSpPr>
          <p:cNvPr id="552" name="Group 551">
            <a:extLst>
              <a:ext uri="{FF2B5EF4-FFF2-40B4-BE49-F238E27FC236}">
                <a16:creationId xmlns:a16="http://schemas.microsoft.com/office/drawing/2014/main" id="{294833EE-998E-4B65-96B3-F8C0D465B66F}"/>
              </a:ext>
            </a:extLst>
          </p:cNvPr>
          <p:cNvGrpSpPr/>
          <p:nvPr/>
        </p:nvGrpSpPr>
        <p:grpSpPr>
          <a:xfrm>
            <a:off x="5000978" y="2704482"/>
            <a:ext cx="126471" cy="126472"/>
            <a:chOff x="4083776" y="2552776"/>
            <a:chExt cx="529090" cy="529088"/>
          </a:xfrm>
        </p:grpSpPr>
        <p:sp>
          <p:nvSpPr>
            <p:cNvPr id="553" name="Oval 552">
              <a:extLst>
                <a:ext uri="{FF2B5EF4-FFF2-40B4-BE49-F238E27FC236}">
                  <a16:creationId xmlns:a16="http://schemas.microsoft.com/office/drawing/2014/main" id="{A370E378-583D-466D-9C56-AC4D8C61999E}"/>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54" name="Freeform: Shape 298">
              <a:extLst>
                <a:ext uri="{FF2B5EF4-FFF2-40B4-BE49-F238E27FC236}">
                  <a16:creationId xmlns:a16="http://schemas.microsoft.com/office/drawing/2014/main" id="{CB2092FB-8FD0-483A-A508-87F17FCFB7AB}"/>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5" name="Freeform: Shape 299">
              <a:extLst>
                <a:ext uri="{FF2B5EF4-FFF2-40B4-BE49-F238E27FC236}">
                  <a16:creationId xmlns:a16="http://schemas.microsoft.com/office/drawing/2014/main" id="{88C3C054-3730-484E-81D5-719BD0E29413}"/>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6" name="Freeform: Shape 301">
              <a:extLst>
                <a:ext uri="{FF2B5EF4-FFF2-40B4-BE49-F238E27FC236}">
                  <a16:creationId xmlns:a16="http://schemas.microsoft.com/office/drawing/2014/main" id="{DC33582C-A5B9-46ED-996F-C34036CD27C2}"/>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7" name="Freeform: Shape 302">
              <a:extLst>
                <a:ext uri="{FF2B5EF4-FFF2-40B4-BE49-F238E27FC236}">
                  <a16:creationId xmlns:a16="http://schemas.microsoft.com/office/drawing/2014/main" id="{0441526E-298F-47B5-B2DB-A9628FAAC84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58" name="Rectangle 557">
            <a:extLst>
              <a:ext uri="{FF2B5EF4-FFF2-40B4-BE49-F238E27FC236}">
                <a16:creationId xmlns:a16="http://schemas.microsoft.com/office/drawing/2014/main" id="{6989AF24-D1C6-4E07-9AEE-55F3E01EDA5C}"/>
              </a:ext>
            </a:extLst>
          </p:cNvPr>
          <p:cNvSpPr/>
          <p:nvPr/>
        </p:nvSpPr>
        <p:spPr>
          <a:xfrm>
            <a:off x="4884730" y="2966897"/>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Mojo</a:t>
            </a:r>
            <a:endParaRPr lang="en-GB" sz="700" dirty="0">
              <a:solidFill>
                <a:srgbClr val="0D274D"/>
              </a:solidFill>
              <a:latin typeface="CiscoSansTT ExtraLight"/>
            </a:endParaRPr>
          </a:p>
        </p:txBody>
      </p:sp>
      <p:sp>
        <p:nvSpPr>
          <p:cNvPr id="565" name="Rectangle 564">
            <a:extLst>
              <a:ext uri="{FF2B5EF4-FFF2-40B4-BE49-F238E27FC236}">
                <a16:creationId xmlns:a16="http://schemas.microsoft.com/office/drawing/2014/main" id="{BEF5827F-DA88-4155-809F-B48AD15C2813}"/>
              </a:ext>
            </a:extLst>
          </p:cNvPr>
          <p:cNvSpPr/>
          <p:nvPr/>
        </p:nvSpPr>
        <p:spPr>
          <a:xfrm>
            <a:off x="4948869" y="3125054"/>
            <a:ext cx="722173"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Shashemene</a:t>
            </a:r>
            <a:endParaRPr lang="en-GB" sz="700" dirty="0">
              <a:solidFill>
                <a:srgbClr val="0D274D"/>
              </a:solidFill>
              <a:latin typeface="CiscoSansTT ExtraLight"/>
            </a:endParaRPr>
          </a:p>
        </p:txBody>
      </p:sp>
      <p:grpSp>
        <p:nvGrpSpPr>
          <p:cNvPr id="566" name="Group 565">
            <a:extLst>
              <a:ext uri="{FF2B5EF4-FFF2-40B4-BE49-F238E27FC236}">
                <a16:creationId xmlns:a16="http://schemas.microsoft.com/office/drawing/2014/main" id="{09C66A0B-21D5-414C-8B33-99F65B208E18}"/>
              </a:ext>
            </a:extLst>
          </p:cNvPr>
          <p:cNvGrpSpPr/>
          <p:nvPr/>
        </p:nvGrpSpPr>
        <p:grpSpPr>
          <a:xfrm>
            <a:off x="4384163" y="3915417"/>
            <a:ext cx="126471" cy="126472"/>
            <a:chOff x="4083776" y="2552776"/>
            <a:chExt cx="529090" cy="529088"/>
          </a:xfrm>
        </p:grpSpPr>
        <p:sp>
          <p:nvSpPr>
            <p:cNvPr id="567" name="Oval 566">
              <a:extLst>
                <a:ext uri="{FF2B5EF4-FFF2-40B4-BE49-F238E27FC236}">
                  <a16:creationId xmlns:a16="http://schemas.microsoft.com/office/drawing/2014/main" id="{311409E3-54CF-4226-8B90-1228A4FF9B7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8" name="Freeform: Shape 298">
              <a:extLst>
                <a:ext uri="{FF2B5EF4-FFF2-40B4-BE49-F238E27FC236}">
                  <a16:creationId xmlns:a16="http://schemas.microsoft.com/office/drawing/2014/main" id="{912006FD-23E4-491D-815C-6A7C3F1064A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9" name="Freeform: Shape 299">
              <a:extLst>
                <a:ext uri="{FF2B5EF4-FFF2-40B4-BE49-F238E27FC236}">
                  <a16:creationId xmlns:a16="http://schemas.microsoft.com/office/drawing/2014/main" id="{E018319D-8A5C-4BFD-93EF-173156CFDBD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0" name="Freeform: Shape 301">
              <a:extLst>
                <a:ext uri="{FF2B5EF4-FFF2-40B4-BE49-F238E27FC236}">
                  <a16:creationId xmlns:a16="http://schemas.microsoft.com/office/drawing/2014/main" id="{472CEEED-08F4-4A6E-8815-2FA74DD6BFE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1" name="Freeform: Shape 302">
              <a:extLst>
                <a:ext uri="{FF2B5EF4-FFF2-40B4-BE49-F238E27FC236}">
                  <a16:creationId xmlns:a16="http://schemas.microsoft.com/office/drawing/2014/main" id="{9EA30E71-5209-4806-A3DB-93098A4C85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2" name="Rectangle 571">
            <a:extLst>
              <a:ext uri="{FF2B5EF4-FFF2-40B4-BE49-F238E27FC236}">
                <a16:creationId xmlns:a16="http://schemas.microsoft.com/office/drawing/2014/main" id="{E90C8BE9-60EB-4131-8CA4-C079E23278AF}"/>
              </a:ext>
            </a:extLst>
          </p:cNvPr>
          <p:cNvSpPr/>
          <p:nvPr/>
        </p:nvSpPr>
        <p:spPr>
          <a:xfrm>
            <a:off x="3917724" y="4071728"/>
            <a:ext cx="707944" cy="9295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dirty="0" err="1">
                <a:solidFill>
                  <a:srgbClr val="0D274D"/>
                </a:solidFill>
                <a:latin typeface="CiscoSansTT ExtraLight"/>
              </a:rPr>
              <a:t>Arba</a:t>
            </a:r>
            <a:r>
              <a:rPr lang="en-GB" sz="700" dirty="0">
                <a:solidFill>
                  <a:srgbClr val="0D274D"/>
                </a:solidFill>
                <a:latin typeface="CiscoSansTT ExtraLight"/>
              </a:rPr>
              <a:t> Minch</a:t>
            </a:r>
          </a:p>
        </p:txBody>
      </p:sp>
      <p:cxnSp>
        <p:nvCxnSpPr>
          <p:cNvPr id="8" name="Straight Connector 7">
            <a:extLst>
              <a:ext uri="{FF2B5EF4-FFF2-40B4-BE49-F238E27FC236}">
                <a16:creationId xmlns:a16="http://schemas.microsoft.com/office/drawing/2014/main" id="{623375B6-255C-4A2D-9E55-E9158F6228B3}"/>
              </a:ext>
            </a:extLst>
          </p:cNvPr>
          <p:cNvCxnSpPr>
            <a:stCxn id="567" idx="0"/>
            <a:endCxn id="145" idx="4"/>
          </p:cNvCxnSpPr>
          <p:nvPr/>
        </p:nvCxnSpPr>
        <p:spPr>
          <a:xfrm flipV="1">
            <a:off x="4447399" y="3707851"/>
            <a:ext cx="106136" cy="207566"/>
          </a:xfrm>
          <a:prstGeom prst="line">
            <a:avLst/>
          </a:prstGeom>
        </p:spPr>
        <p:style>
          <a:lnRef idx="1">
            <a:schemeClr val="dk1"/>
          </a:lnRef>
          <a:fillRef idx="0">
            <a:schemeClr val="dk1"/>
          </a:fillRef>
          <a:effectRef idx="0">
            <a:schemeClr val="dk1"/>
          </a:effectRef>
          <a:fontRef idx="minor">
            <a:schemeClr val="tx1"/>
          </a:fontRef>
        </p:style>
      </p:cxnSp>
      <p:grpSp>
        <p:nvGrpSpPr>
          <p:cNvPr id="573" name="Group 572">
            <a:extLst>
              <a:ext uri="{FF2B5EF4-FFF2-40B4-BE49-F238E27FC236}">
                <a16:creationId xmlns:a16="http://schemas.microsoft.com/office/drawing/2014/main" id="{E9A57579-E1D8-4D0D-9A87-BF4B2F14564C}"/>
              </a:ext>
            </a:extLst>
          </p:cNvPr>
          <p:cNvGrpSpPr/>
          <p:nvPr/>
        </p:nvGrpSpPr>
        <p:grpSpPr>
          <a:xfrm>
            <a:off x="5216393" y="180330"/>
            <a:ext cx="126471" cy="126472"/>
            <a:chOff x="4083776" y="2552776"/>
            <a:chExt cx="529090" cy="529088"/>
          </a:xfrm>
        </p:grpSpPr>
        <p:sp>
          <p:nvSpPr>
            <p:cNvPr id="574" name="Oval 573">
              <a:extLst>
                <a:ext uri="{FF2B5EF4-FFF2-40B4-BE49-F238E27FC236}">
                  <a16:creationId xmlns:a16="http://schemas.microsoft.com/office/drawing/2014/main" id="{19871467-DC2B-4EE9-AAA2-62E83F0D40E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75" name="Freeform: Shape 298">
              <a:extLst>
                <a:ext uri="{FF2B5EF4-FFF2-40B4-BE49-F238E27FC236}">
                  <a16:creationId xmlns:a16="http://schemas.microsoft.com/office/drawing/2014/main" id="{D1628EC8-53FD-4CF6-8FAD-1323032EE087}"/>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6" name="Freeform: Shape 299">
              <a:extLst>
                <a:ext uri="{FF2B5EF4-FFF2-40B4-BE49-F238E27FC236}">
                  <a16:creationId xmlns:a16="http://schemas.microsoft.com/office/drawing/2014/main" id="{4100FB87-B05A-43F5-978C-E615137781A7}"/>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7" name="Freeform: Shape 301">
              <a:extLst>
                <a:ext uri="{FF2B5EF4-FFF2-40B4-BE49-F238E27FC236}">
                  <a16:creationId xmlns:a16="http://schemas.microsoft.com/office/drawing/2014/main" id="{13136A56-2674-4368-8A35-658B5F4B2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78" name="Freeform: Shape 302">
              <a:extLst>
                <a:ext uri="{FF2B5EF4-FFF2-40B4-BE49-F238E27FC236}">
                  <a16:creationId xmlns:a16="http://schemas.microsoft.com/office/drawing/2014/main" id="{7ACA702E-5648-4AE7-A860-D43CD5EA4A08}"/>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79" name="Rectangle 578">
            <a:extLst>
              <a:ext uri="{FF2B5EF4-FFF2-40B4-BE49-F238E27FC236}">
                <a16:creationId xmlns:a16="http://schemas.microsoft.com/office/drawing/2014/main" id="{B981EC19-91F4-444F-8392-BA9305F95F5E}"/>
              </a:ext>
            </a:extLst>
          </p:cNvPr>
          <p:cNvSpPr/>
          <p:nvPr/>
        </p:nvSpPr>
        <p:spPr>
          <a:xfrm>
            <a:off x="5378314" y="179791"/>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digrat</a:t>
            </a:r>
            <a:endParaRPr lang="en-GB" sz="700" dirty="0">
              <a:solidFill>
                <a:srgbClr val="0D274D"/>
              </a:solidFill>
              <a:latin typeface="CiscoSansTT ExtraLight"/>
            </a:endParaRPr>
          </a:p>
        </p:txBody>
      </p:sp>
      <p:cxnSp>
        <p:nvCxnSpPr>
          <p:cNvPr id="28" name="Straight Connector 27">
            <a:extLst>
              <a:ext uri="{FF2B5EF4-FFF2-40B4-BE49-F238E27FC236}">
                <a16:creationId xmlns:a16="http://schemas.microsoft.com/office/drawing/2014/main" id="{DF6CCECA-96E4-40B6-904C-A217DF9910AE}"/>
              </a:ext>
            </a:extLst>
          </p:cNvPr>
          <p:cNvCxnSpPr>
            <a:stCxn id="574" idx="4"/>
            <a:endCxn id="420" idx="1"/>
          </p:cNvCxnSpPr>
          <p:nvPr/>
        </p:nvCxnSpPr>
        <p:spPr>
          <a:xfrm>
            <a:off x="5279628" y="306802"/>
            <a:ext cx="32296" cy="31328"/>
          </a:xfrm>
          <a:prstGeom prst="line">
            <a:avLst/>
          </a:prstGeom>
        </p:spPr>
        <p:style>
          <a:lnRef idx="1">
            <a:schemeClr val="dk1"/>
          </a:lnRef>
          <a:fillRef idx="0">
            <a:schemeClr val="dk1"/>
          </a:fillRef>
          <a:effectRef idx="0">
            <a:schemeClr val="dk1"/>
          </a:effectRef>
          <a:fontRef idx="minor">
            <a:schemeClr val="tx1"/>
          </a:fontRef>
        </p:style>
      </p:cxnSp>
      <p:grpSp>
        <p:nvGrpSpPr>
          <p:cNvPr id="580" name="Group 579">
            <a:extLst>
              <a:ext uri="{FF2B5EF4-FFF2-40B4-BE49-F238E27FC236}">
                <a16:creationId xmlns:a16="http://schemas.microsoft.com/office/drawing/2014/main" id="{E0D0E51A-A740-4DA6-B96D-CE4C87A22C72}"/>
              </a:ext>
            </a:extLst>
          </p:cNvPr>
          <p:cNvGrpSpPr/>
          <p:nvPr/>
        </p:nvGrpSpPr>
        <p:grpSpPr>
          <a:xfrm>
            <a:off x="5179988" y="2356023"/>
            <a:ext cx="126471" cy="126472"/>
            <a:chOff x="4083776" y="2552776"/>
            <a:chExt cx="529090" cy="529088"/>
          </a:xfrm>
        </p:grpSpPr>
        <p:sp>
          <p:nvSpPr>
            <p:cNvPr id="581" name="Oval 580">
              <a:extLst>
                <a:ext uri="{FF2B5EF4-FFF2-40B4-BE49-F238E27FC236}">
                  <a16:creationId xmlns:a16="http://schemas.microsoft.com/office/drawing/2014/main" id="{A2572C7A-59EC-44C8-9ECC-FFB0235EB300}"/>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2" name="Freeform: Shape 298">
              <a:extLst>
                <a:ext uri="{FF2B5EF4-FFF2-40B4-BE49-F238E27FC236}">
                  <a16:creationId xmlns:a16="http://schemas.microsoft.com/office/drawing/2014/main" id="{A50B469A-57E1-4157-8DB9-46A5121EDB98}"/>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3" name="Freeform: Shape 299">
              <a:extLst>
                <a:ext uri="{FF2B5EF4-FFF2-40B4-BE49-F238E27FC236}">
                  <a16:creationId xmlns:a16="http://schemas.microsoft.com/office/drawing/2014/main" id="{73E96888-EA8D-47DB-BA97-A12BECC0A29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4" name="Freeform: Shape 301">
              <a:extLst>
                <a:ext uri="{FF2B5EF4-FFF2-40B4-BE49-F238E27FC236}">
                  <a16:creationId xmlns:a16="http://schemas.microsoft.com/office/drawing/2014/main" id="{9E5387E6-3F30-4370-9E68-E11AB589A01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85" name="Freeform: Shape 302">
              <a:extLst>
                <a:ext uri="{FF2B5EF4-FFF2-40B4-BE49-F238E27FC236}">
                  <a16:creationId xmlns:a16="http://schemas.microsoft.com/office/drawing/2014/main" id="{B617767C-0646-41A4-995B-E2259E7CD2F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86" name="Rectangle 585">
            <a:extLst>
              <a:ext uri="{FF2B5EF4-FFF2-40B4-BE49-F238E27FC236}">
                <a16:creationId xmlns:a16="http://schemas.microsoft.com/office/drawing/2014/main" id="{FE52D2FD-2564-4E71-9755-DA6D3942FFFB}"/>
              </a:ext>
            </a:extLst>
          </p:cNvPr>
          <p:cNvSpPr/>
          <p:nvPr/>
        </p:nvSpPr>
        <p:spPr>
          <a:xfrm>
            <a:off x="5312527" y="2325797"/>
            <a:ext cx="76660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GB" sz="700">
                <a:solidFill>
                  <a:srgbClr val="0D274D"/>
                </a:solidFill>
                <a:latin typeface="CiscoSansTT ExtraLight"/>
              </a:rPr>
              <a:t>Debre Birhan</a:t>
            </a:r>
            <a:endParaRPr lang="en-GB" sz="700" dirty="0">
              <a:solidFill>
                <a:srgbClr val="0D274D"/>
              </a:solidFill>
              <a:latin typeface="CiscoSansTT ExtraLight"/>
            </a:endParaRPr>
          </a:p>
        </p:txBody>
      </p:sp>
      <p:grpSp>
        <p:nvGrpSpPr>
          <p:cNvPr id="587" name="Group 586">
            <a:extLst>
              <a:ext uri="{FF2B5EF4-FFF2-40B4-BE49-F238E27FC236}">
                <a16:creationId xmlns:a16="http://schemas.microsoft.com/office/drawing/2014/main" id="{98549BF4-7D28-4CDC-A844-D5000CDDB9A8}"/>
              </a:ext>
            </a:extLst>
          </p:cNvPr>
          <p:cNvGrpSpPr/>
          <p:nvPr/>
        </p:nvGrpSpPr>
        <p:grpSpPr>
          <a:xfrm>
            <a:off x="4741276" y="478860"/>
            <a:ext cx="126471" cy="126472"/>
            <a:chOff x="4083776" y="2552776"/>
            <a:chExt cx="529090" cy="529088"/>
          </a:xfrm>
        </p:grpSpPr>
        <p:sp>
          <p:nvSpPr>
            <p:cNvPr id="588" name="Oval 587">
              <a:extLst>
                <a:ext uri="{FF2B5EF4-FFF2-40B4-BE49-F238E27FC236}">
                  <a16:creationId xmlns:a16="http://schemas.microsoft.com/office/drawing/2014/main" id="{CBCE7B49-4B79-4DDB-9242-361C9B7C5D01}"/>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89" name="Freeform: Shape 298">
              <a:extLst>
                <a:ext uri="{FF2B5EF4-FFF2-40B4-BE49-F238E27FC236}">
                  <a16:creationId xmlns:a16="http://schemas.microsoft.com/office/drawing/2014/main" id="{2DBC985B-06A3-4ED0-B095-FF123683FCC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0" name="Freeform: Shape 299">
              <a:extLst>
                <a:ext uri="{FF2B5EF4-FFF2-40B4-BE49-F238E27FC236}">
                  <a16:creationId xmlns:a16="http://schemas.microsoft.com/office/drawing/2014/main" id="{E55FBD30-3A19-4B03-ACB3-E6008096FCE8}"/>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1" name="Freeform: Shape 301">
              <a:extLst>
                <a:ext uri="{FF2B5EF4-FFF2-40B4-BE49-F238E27FC236}">
                  <a16:creationId xmlns:a16="http://schemas.microsoft.com/office/drawing/2014/main" id="{40D469A3-E586-4045-AAB5-B02D257EFCC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92" name="Freeform: Shape 302">
              <a:extLst>
                <a:ext uri="{FF2B5EF4-FFF2-40B4-BE49-F238E27FC236}">
                  <a16:creationId xmlns:a16="http://schemas.microsoft.com/office/drawing/2014/main" id="{ED00EF11-283E-4160-BFE1-C4BF4566C3D1}"/>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99" name="Group 598">
            <a:extLst>
              <a:ext uri="{FF2B5EF4-FFF2-40B4-BE49-F238E27FC236}">
                <a16:creationId xmlns:a16="http://schemas.microsoft.com/office/drawing/2014/main" id="{E71C3BFB-838A-4027-9FB9-62F09F069836}"/>
              </a:ext>
            </a:extLst>
          </p:cNvPr>
          <p:cNvGrpSpPr/>
          <p:nvPr/>
        </p:nvGrpSpPr>
        <p:grpSpPr>
          <a:xfrm>
            <a:off x="4533161" y="3279429"/>
            <a:ext cx="126471" cy="126472"/>
            <a:chOff x="4083776" y="2552776"/>
            <a:chExt cx="529090" cy="529088"/>
          </a:xfrm>
        </p:grpSpPr>
        <p:sp>
          <p:nvSpPr>
            <p:cNvPr id="600" name="Oval 599">
              <a:extLst>
                <a:ext uri="{FF2B5EF4-FFF2-40B4-BE49-F238E27FC236}">
                  <a16:creationId xmlns:a16="http://schemas.microsoft.com/office/drawing/2014/main" id="{378DAF51-9952-4ACE-B966-B96DA45954D3}"/>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01" name="Freeform: Shape 298">
              <a:extLst>
                <a:ext uri="{FF2B5EF4-FFF2-40B4-BE49-F238E27FC236}">
                  <a16:creationId xmlns:a16="http://schemas.microsoft.com/office/drawing/2014/main" id="{EAADCA39-6D1A-457D-98C3-E9F665AFA88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2" name="Freeform: Shape 299">
              <a:extLst>
                <a:ext uri="{FF2B5EF4-FFF2-40B4-BE49-F238E27FC236}">
                  <a16:creationId xmlns:a16="http://schemas.microsoft.com/office/drawing/2014/main" id="{DE0FEAE3-ECBA-486A-A821-E92723D4CF3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3" name="Freeform: Shape 301">
              <a:extLst>
                <a:ext uri="{FF2B5EF4-FFF2-40B4-BE49-F238E27FC236}">
                  <a16:creationId xmlns:a16="http://schemas.microsoft.com/office/drawing/2014/main" id="{9FE70C64-6AA0-4175-8996-9B5DD5DD6AB7}"/>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04" name="Freeform: Shape 302">
              <a:extLst>
                <a:ext uri="{FF2B5EF4-FFF2-40B4-BE49-F238E27FC236}">
                  <a16:creationId xmlns:a16="http://schemas.microsoft.com/office/drawing/2014/main" id="{85C0E3A1-763C-47DE-92B4-3FD9B73FD2E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59" name="Group 558">
            <a:extLst>
              <a:ext uri="{FF2B5EF4-FFF2-40B4-BE49-F238E27FC236}">
                <a16:creationId xmlns:a16="http://schemas.microsoft.com/office/drawing/2014/main" id="{C7C1795B-41D3-40E4-99BA-2ED24DE607B7}"/>
              </a:ext>
            </a:extLst>
          </p:cNvPr>
          <p:cNvGrpSpPr/>
          <p:nvPr/>
        </p:nvGrpSpPr>
        <p:grpSpPr>
          <a:xfrm>
            <a:off x="4860701" y="3142917"/>
            <a:ext cx="126471" cy="126472"/>
            <a:chOff x="4083776" y="2552776"/>
            <a:chExt cx="529090" cy="529088"/>
          </a:xfrm>
        </p:grpSpPr>
        <p:sp>
          <p:nvSpPr>
            <p:cNvPr id="560" name="Oval 559">
              <a:extLst>
                <a:ext uri="{FF2B5EF4-FFF2-40B4-BE49-F238E27FC236}">
                  <a16:creationId xmlns:a16="http://schemas.microsoft.com/office/drawing/2014/main" id="{CCF60252-8806-4B75-A797-9C3ED9E9CA06}"/>
                </a:ext>
              </a:extLst>
            </p:cNvPr>
            <p:cNvSpPr/>
            <p:nvPr/>
          </p:nvSpPr>
          <p:spPr>
            <a:xfrm>
              <a:off x="4083776" y="2552776"/>
              <a:ext cx="529090" cy="52908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61" name="Freeform: Shape 298">
              <a:extLst>
                <a:ext uri="{FF2B5EF4-FFF2-40B4-BE49-F238E27FC236}">
                  <a16:creationId xmlns:a16="http://schemas.microsoft.com/office/drawing/2014/main" id="{098883B9-9250-4736-81B3-DA53A131DE0D}"/>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2" name="Freeform: Shape 299">
              <a:extLst>
                <a:ext uri="{FF2B5EF4-FFF2-40B4-BE49-F238E27FC236}">
                  <a16:creationId xmlns:a16="http://schemas.microsoft.com/office/drawing/2014/main" id="{8249A118-F75F-4CA7-BCCD-B3A1CA975DDF}"/>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3" name="Freeform: Shape 301">
              <a:extLst>
                <a:ext uri="{FF2B5EF4-FFF2-40B4-BE49-F238E27FC236}">
                  <a16:creationId xmlns:a16="http://schemas.microsoft.com/office/drawing/2014/main" id="{23846D70-433B-416B-9449-639E95E0DB7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4" name="Freeform: Shape 302">
              <a:extLst>
                <a:ext uri="{FF2B5EF4-FFF2-40B4-BE49-F238E27FC236}">
                  <a16:creationId xmlns:a16="http://schemas.microsoft.com/office/drawing/2014/main" id="{D6F1E1E6-B2D9-4695-8297-EDACA1098CF0}"/>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605" name="Rectangle 604">
            <a:extLst>
              <a:ext uri="{FF2B5EF4-FFF2-40B4-BE49-F238E27FC236}">
                <a16:creationId xmlns:a16="http://schemas.microsoft.com/office/drawing/2014/main" id="{E1FB0A39-1CEB-4775-A9D6-D713F3A3265C}"/>
              </a:ext>
            </a:extLst>
          </p:cNvPr>
          <p:cNvSpPr/>
          <p:nvPr/>
        </p:nvSpPr>
        <p:spPr>
          <a:xfrm>
            <a:off x="4261738" y="3180139"/>
            <a:ext cx="509792"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Areka</a:t>
            </a:r>
            <a:endParaRPr lang="en-GB" sz="700" dirty="0">
              <a:solidFill>
                <a:srgbClr val="0D274D"/>
              </a:solidFill>
              <a:latin typeface="CiscoSansTT ExtraLight"/>
            </a:endParaRPr>
          </a:p>
        </p:txBody>
      </p:sp>
      <p:sp>
        <p:nvSpPr>
          <p:cNvPr id="505" name="Isosceles Triangle 504">
            <a:extLst>
              <a:ext uri="{FF2B5EF4-FFF2-40B4-BE49-F238E27FC236}">
                <a16:creationId xmlns:a16="http://schemas.microsoft.com/office/drawing/2014/main" id="{F1893565-0AFF-4623-B9C2-104843C39C96}"/>
              </a:ext>
            </a:extLst>
          </p:cNvPr>
          <p:cNvSpPr/>
          <p:nvPr/>
        </p:nvSpPr>
        <p:spPr>
          <a:xfrm rot="2564761">
            <a:off x="3728104" y="1545416"/>
            <a:ext cx="2472603" cy="2610207"/>
          </a:xfrm>
          <a:prstGeom prst="triangle">
            <a:avLst>
              <a:gd name="adj" fmla="val 0"/>
            </a:avLst>
          </a:prstGeom>
          <a:gradFill flip="none" rotWithShape="1">
            <a:gsLst>
              <a:gs pos="40000">
                <a:schemeClr val="bg2"/>
              </a:gs>
              <a:gs pos="0">
                <a:schemeClr val="accent4"/>
              </a:gs>
            </a:gsLst>
            <a:lin ang="189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523" name="Rectangle: Rounded Corners 522">
            <a:extLst>
              <a:ext uri="{FF2B5EF4-FFF2-40B4-BE49-F238E27FC236}">
                <a16:creationId xmlns:a16="http://schemas.microsoft.com/office/drawing/2014/main" id="{72F01608-9876-40AB-B97C-C77D0CC5D7F2}"/>
              </a:ext>
            </a:extLst>
          </p:cNvPr>
          <p:cNvSpPr/>
          <p:nvPr/>
        </p:nvSpPr>
        <p:spPr>
          <a:xfrm>
            <a:off x="4664344" y="456272"/>
            <a:ext cx="3754247" cy="4512260"/>
          </a:xfrm>
          <a:prstGeom prst="roundRect">
            <a:avLst/>
          </a:prstGeom>
          <a:blipFill dpi="0" rotWithShape="1">
            <a:blip r:embed="rId3"/>
            <a:srcRect/>
            <a:stretch>
              <a:fillRect l="-7000" r="-2000"/>
            </a:stretch>
          </a:blip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472" name="Rectangle 471">
            <a:extLst>
              <a:ext uri="{FF2B5EF4-FFF2-40B4-BE49-F238E27FC236}">
                <a16:creationId xmlns:a16="http://schemas.microsoft.com/office/drawing/2014/main" id="{0BB6BDF7-F37E-4EF9-AF63-C5A8F7141239}"/>
              </a:ext>
            </a:extLst>
          </p:cNvPr>
          <p:cNvSpPr/>
          <p:nvPr/>
        </p:nvSpPr>
        <p:spPr>
          <a:xfrm>
            <a:off x="2762252" y="2767165"/>
            <a:ext cx="560140" cy="1022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ambela</a:t>
            </a:r>
            <a:endParaRPr lang="en-GB" sz="700" dirty="0">
              <a:solidFill>
                <a:srgbClr val="0D274D"/>
              </a:solidFill>
              <a:latin typeface="CiscoSansTT ExtraLight"/>
            </a:endParaRPr>
          </a:p>
        </p:txBody>
      </p:sp>
      <p:grpSp>
        <p:nvGrpSpPr>
          <p:cNvPr id="182" name="Group 181">
            <a:extLst>
              <a:ext uri="{FF2B5EF4-FFF2-40B4-BE49-F238E27FC236}">
                <a16:creationId xmlns:a16="http://schemas.microsoft.com/office/drawing/2014/main" id="{E731B33A-0D44-4319-881E-4301AF3E2D2B}"/>
              </a:ext>
            </a:extLst>
          </p:cNvPr>
          <p:cNvGrpSpPr/>
          <p:nvPr/>
        </p:nvGrpSpPr>
        <p:grpSpPr>
          <a:xfrm>
            <a:off x="3110198" y="2872894"/>
            <a:ext cx="168045" cy="168045"/>
            <a:chOff x="4083769" y="2552776"/>
            <a:chExt cx="529089" cy="529089"/>
          </a:xfrm>
        </p:grpSpPr>
        <p:sp>
          <p:nvSpPr>
            <p:cNvPr id="183" name="Oval 182">
              <a:extLst>
                <a:ext uri="{FF2B5EF4-FFF2-40B4-BE49-F238E27FC236}">
                  <a16:creationId xmlns:a16="http://schemas.microsoft.com/office/drawing/2014/main" id="{62F09F81-BFBF-4F96-A2C0-74A5637081B3}"/>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84" name="Freeform: Shape 298">
              <a:extLst>
                <a:ext uri="{FF2B5EF4-FFF2-40B4-BE49-F238E27FC236}">
                  <a16:creationId xmlns:a16="http://schemas.microsoft.com/office/drawing/2014/main" id="{8DF552C1-5398-4431-A178-9D07937D5B3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5" name="Freeform: Shape 299">
              <a:extLst>
                <a:ext uri="{FF2B5EF4-FFF2-40B4-BE49-F238E27FC236}">
                  <a16:creationId xmlns:a16="http://schemas.microsoft.com/office/drawing/2014/main" id="{594D0321-33A7-4773-A720-58AF878458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6" name="Freeform: Shape 301">
              <a:extLst>
                <a:ext uri="{FF2B5EF4-FFF2-40B4-BE49-F238E27FC236}">
                  <a16:creationId xmlns:a16="http://schemas.microsoft.com/office/drawing/2014/main" id="{151620D5-C032-4DD0-A1F5-460502CB0EF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7" name="Freeform: Shape 302">
              <a:extLst>
                <a:ext uri="{FF2B5EF4-FFF2-40B4-BE49-F238E27FC236}">
                  <a16:creationId xmlns:a16="http://schemas.microsoft.com/office/drawing/2014/main" id="{1BE6B7A6-9984-4819-83F5-03F686D3074E}"/>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30" name="Arrow: Right 29">
            <a:extLst>
              <a:ext uri="{FF2B5EF4-FFF2-40B4-BE49-F238E27FC236}">
                <a16:creationId xmlns:a16="http://schemas.microsoft.com/office/drawing/2014/main" id="{AEC97C19-AC02-4253-9B48-BCCA68F50684}"/>
              </a:ext>
            </a:extLst>
          </p:cNvPr>
          <p:cNvSpPr/>
          <p:nvPr/>
        </p:nvSpPr>
        <p:spPr>
          <a:xfrm rot="16200000">
            <a:off x="6117472" y="620649"/>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7" name="Rectangle 536">
            <a:extLst>
              <a:ext uri="{FF2B5EF4-FFF2-40B4-BE49-F238E27FC236}">
                <a16:creationId xmlns:a16="http://schemas.microsoft.com/office/drawing/2014/main" id="{B5E60C12-0097-4BD7-B46E-FAF0AA7F774A}"/>
              </a:ext>
            </a:extLst>
          </p:cNvPr>
          <p:cNvSpPr/>
          <p:nvPr/>
        </p:nvSpPr>
        <p:spPr>
          <a:xfrm>
            <a:off x="7898064" y="4386111"/>
            <a:ext cx="419600"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a:solidFill>
                  <a:srgbClr val="0D274D"/>
                </a:solidFill>
                <a:latin typeface="CiscoSansTT ExtraLight"/>
              </a:rPr>
              <a:t>Gore</a:t>
            </a:r>
            <a:endParaRPr lang="en-GB" sz="700" dirty="0">
              <a:solidFill>
                <a:srgbClr val="0D274D"/>
              </a:solidFill>
              <a:latin typeface="CiscoSansTT ExtraLight"/>
            </a:endParaRPr>
          </a:p>
        </p:txBody>
      </p:sp>
      <p:sp>
        <p:nvSpPr>
          <p:cNvPr id="538" name="Rectangle 537">
            <a:extLst>
              <a:ext uri="{FF2B5EF4-FFF2-40B4-BE49-F238E27FC236}">
                <a16:creationId xmlns:a16="http://schemas.microsoft.com/office/drawing/2014/main" id="{37EF48BB-7456-43F5-83EF-FBA9F3748ED1}"/>
              </a:ext>
            </a:extLst>
          </p:cNvPr>
          <p:cNvSpPr/>
          <p:nvPr/>
        </p:nvSpPr>
        <p:spPr>
          <a:xfrm>
            <a:off x="6420360" y="728242"/>
            <a:ext cx="466279" cy="10224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ZA" sz="700" dirty="0" err="1">
                <a:solidFill>
                  <a:srgbClr val="0D274D"/>
                </a:solidFill>
                <a:latin typeface="CiscoSansTT ExtraLight"/>
              </a:rPr>
              <a:t>Gimbi</a:t>
            </a:r>
            <a:endParaRPr lang="en-GB" sz="700" dirty="0">
              <a:solidFill>
                <a:srgbClr val="0D274D"/>
              </a:solidFill>
              <a:latin typeface="CiscoSansTT ExtraLight"/>
            </a:endParaRPr>
          </a:p>
        </p:txBody>
      </p:sp>
      <p:sp>
        <p:nvSpPr>
          <p:cNvPr id="539" name="Arrow: Right 538">
            <a:extLst>
              <a:ext uri="{FF2B5EF4-FFF2-40B4-BE49-F238E27FC236}">
                <a16:creationId xmlns:a16="http://schemas.microsoft.com/office/drawing/2014/main" id="{4EACC18C-96F8-4E13-95DD-3D5DB10BF4E6}"/>
              </a:ext>
            </a:extLst>
          </p:cNvPr>
          <p:cNvSpPr/>
          <p:nvPr/>
        </p:nvSpPr>
        <p:spPr>
          <a:xfrm rot="2545325">
            <a:off x="7790589" y="4617076"/>
            <a:ext cx="388174" cy="195358"/>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40" name="Group 29">
            <a:extLst>
              <a:ext uri="{FF2B5EF4-FFF2-40B4-BE49-F238E27FC236}">
                <a16:creationId xmlns:a16="http://schemas.microsoft.com/office/drawing/2014/main" id="{A5F2AF66-2214-4951-A65E-E9CAE2DC79C7}"/>
              </a:ext>
            </a:extLst>
          </p:cNvPr>
          <p:cNvGrpSpPr/>
          <p:nvPr/>
        </p:nvGrpSpPr>
        <p:grpSpPr>
          <a:xfrm>
            <a:off x="5282921" y="2968278"/>
            <a:ext cx="302619" cy="317247"/>
            <a:chOff x="4163060" y="2537711"/>
            <a:chExt cx="520926" cy="520926"/>
          </a:xfrm>
        </p:grpSpPr>
        <p:sp>
          <p:nvSpPr>
            <p:cNvPr id="541" name="Oval 540">
              <a:extLst>
                <a:ext uri="{FF2B5EF4-FFF2-40B4-BE49-F238E27FC236}">
                  <a16:creationId xmlns:a16="http://schemas.microsoft.com/office/drawing/2014/main" id="{BF9B52A4-50AD-4090-98F7-A8514D6D41F4}"/>
                </a:ext>
              </a:extLst>
            </p:cNvPr>
            <p:cNvSpPr/>
            <p:nvPr/>
          </p:nvSpPr>
          <p:spPr>
            <a:xfrm>
              <a:off x="4163060" y="2537711"/>
              <a:ext cx="520926" cy="520926"/>
            </a:xfrm>
            <a:prstGeom prst="ellipse">
              <a:avLst/>
            </a:pr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defTabSz="456917">
                <a:defRPr/>
              </a:pPr>
              <a:endParaRPr lang="en-US" dirty="0">
                <a:solidFill>
                  <a:srgbClr val="FFFFFF"/>
                </a:solidFill>
                <a:latin typeface="CiscoSansTT ExtraLight"/>
              </a:endParaRPr>
            </a:p>
          </p:txBody>
        </p:sp>
        <p:sp>
          <p:nvSpPr>
            <p:cNvPr id="542" name="Freeform 41">
              <a:extLst>
                <a:ext uri="{FF2B5EF4-FFF2-40B4-BE49-F238E27FC236}">
                  <a16:creationId xmlns:a16="http://schemas.microsoft.com/office/drawing/2014/main" id="{A56A3E57-A0C9-477B-81EC-EC35AEBBBF77}"/>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5" name="Group 29">
            <a:extLst>
              <a:ext uri="{FF2B5EF4-FFF2-40B4-BE49-F238E27FC236}">
                <a16:creationId xmlns:a16="http://schemas.microsoft.com/office/drawing/2014/main" id="{9B7D416B-937A-4362-9916-A04800C1BBAA}"/>
              </a:ext>
            </a:extLst>
          </p:cNvPr>
          <p:cNvGrpSpPr/>
          <p:nvPr/>
        </p:nvGrpSpPr>
        <p:grpSpPr>
          <a:xfrm>
            <a:off x="5739506" y="1982494"/>
            <a:ext cx="302619" cy="317247"/>
            <a:chOff x="4163060" y="2537711"/>
            <a:chExt cx="520926" cy="520926"/>
          </a:xfrm>
        </p:grpSpPr>
        <p:sp>
          <p:nvSpPr>
            <p:cNvPr id="596" name="Oval 595">
              <a:extLst>
                <a:ext uri="{FF2B5EF4-FFF2-40B4-BE49-F238E27FC236}">
                  <a16:creationId xmlns:a16="http://schemas.microsoft.com/office/drawing/2014/main" id="{65341EEA-0A1C-4504-99F5-4D42CEC62D2A}"/>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597" name="Freeform 41">
              <a:extLst>
                <a:ext uri="{FF2B5EF4-FFF2-40B4-BE49-F238E27FC236}">
                  <a16:creationId xmlns:a16="http://schemas.microsoft.com/office/drawing/2014/main" id="{51E359D6-77A8-4CFC-B071-7D93C536A488}"/>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598" name="Group 29">
            <a:extLst>
              <a:ext uri="{FF2B5EF4-FFF2-40B4-BE49-F238E27FC236}">
                <a16:creationId xmlns:a16="http://schemas.microsoft.com/office/drawing/2014/main" id="{93CC09B8-F968-41A8-B214-141AA4AF960B}"/>
              </a:ext>
            </a:extLst>
          </p:cNvPr>
          <p:cNvGrpSpPr/>
          <p:nvPr/>
        </p:nvGrpSpPr>
        <p:grpSpPr>
          <a:xfrm>
            <a:off x="6268132" y="1603292"/>
            <a:ext cx="302619" cy="317247"/>
            <a:chOff x="4163060" y="2537711"/>
            <a:chExt cx="520926" cy="520926"/>
          </a:xfrm>
        </p:grpSpPr>
        <p:sp>
          <p:nvSpPr>
            <p:cNvPr id="606" name="Oval 605">
              <a:extLst>
                <a:ext uri="{FF2B5EF4-FFF2-40B4-BE49-F238E27FC236}">
                  <a16:creationId xmlns:a16="http://schemas.microsoft.com/office/drawing/2014/main" id="{BC8DBA18-9627-4B1F-B11A-3FDB467F999E}"/>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07" name="Freeform 41">
              <a:extLst>
                <a:ext uri="{FF2B5EF4-FFF2-40B4-BE49-F238E27FC236}">
                  <a16:creationId xmlns:a16="http://schemas.microsoft.com/office/drawing/2014/main" id="{F13CD59C-7C44-4460-A662-CBF7056A4DBD}"/>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08" name="Group 29">
            <a:extLst>
              <a:ext uri="{FF2B5EF4-FFF2-40B4-BE49-F238E27FC236}">
                <a16:creationId xmlns:a16="http://schemas.microsoft.com/office/drawing/2014/main" id="{77E1AA06-B3E8-48CD-9C5D-399E73E40C3B}"/>
              </a:ext>
            </a:extLst>
          </p:cNvPr>
          <p:cNvGrpSpPr/>
          <p:nvPr/>
        </p:nvGrpSpPr>
        <p:grpSpPr>
          <a:xfrm>
            <a:off x="7339817" y="1345406"/>
            <a:ext cx="302619" cy="317247"/>
            <a:chOff x="4163060" y="2537711"/>
            <a:chExt cx="520926" cy="520926"/>
          </a:xfrm>
        </p:grpSpPr>
        <p:sp>
          <p:nvSpPr>
            <p:cNvPr id="609" name="Oval 608">
              <a:extLst>
                <a:ext uri="{FF2B5EF4-FFF2-40B4-BE49-F238E27FC236}">
                  <a16:creationId xmlns:a16="http://schemas.microsoft.com/office/drawing/2014/main" id="{C29DB126-B7DB-4DB0-AF57-3D5726CF2355}"/>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0" name="Freeform 41">
              <a:extLst>
                <a:ext uri="{FF2B5EF4-FFF2-40B4-BE49-F238E27FC236}">
                  <a16:creationId xmlns:a16="http://schemas.microsoft.com/office/drawing/2014/main" id="{ECD2092C-0796-4913-9BD9-12B2633B784C}"/>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1" name="Group 29">
            <a:extLst>
              <a:ext uri="{FF2B5EF4-FFF2-40B4-BE49-F238E27FC236}">
                <a16:creationId xmlns:a16="http://schemas.microsoft.com/office/drawing/2014/main" id="{27CB4948-CFD6-4009-9827-31E3DF98708C}"/>
              </a:ext>
            </a:extLst>
          </p:cNvPr>
          <p:cNvGrpSpPr/>
          <p:nvPr/>
        </p:nvGrpSpPr>
        <p:grpSpPr>
          <a:xfrm>
            <a:off x="6903626" y="2244574"/>
            <a:ext cx="302619" cy="317247"/>
            <a:chOff x="4163060" y="2537711"/>
            <a:chExt cx="520926" cy="520926"/>
          </a:xfrm>
        </p:grpSpPr>
        <p:sp>
          <p:nvSpPr>
            <p:cNvPr id="612" name="Oval 611">
              <a:extLst>
                <a:ext uri="{FF2B5EF4-FFF2-40B4-BE49-F238E27FC236}">
                  <a16:creationId xmlns:a16="http://schemas.microsoft.com/office/drawing/2014/main" id="{C2EA128A-9593-4066-A311-92023D1336A2}"/>
                </a:ext>
              </a:extLst>
            </p:cNvPr>
            <p:cNvSpPr/>
            <p:nvPr/>
          </p:nvSpPr>
          <p:spPr>
            <a:xfrm>
              <a:off x="4163060" y="2537711"/>
              <a:ext cx="520926" cy="520926"/>
            </a:xfrm>
            <a:prstGeom prst="ellipse">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456917">
                <a:defRPr/>
              </a:pPr>
              <a:endParaRPr lang="en-US" dirty="0">
                <a:solidFill>
                  <a:srgbClr val="FFFFFF"/>
                </a:solidFill>
                <a:latin typeface="CiscoSansTT ExtraLight"/>
              </a:endParaRPr>
            </a:p>
          </p:txBody>
        </p:sp>
        <p:sp>
          <p:nvSpPr>
            <p:cNvPr id="613" name="Freeform 41">
              <a:extLst>
                <a:ext uri="{FF2B5EF4-FFF2-40B4-BE49-F238E27FC236}">
                  <a16:creationId xmlns:a16="http://schemas.microsoft.com/office/drawing/2014/main" id="{3BB0BD81-E52E-46C9-B6D9-9D0FA3285610}"/>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noFill/>
            <a:ln w="635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4" name="Group 29">
            <a:extLst>
              <a:ext uri="{FF2B5EF4-FFF2-40B4-BE49-F238E27FC236}">
                <a16:creationId xmlns:a16="http://schemas.microsoft.com/office/drawing/2014/main" id="{E7DB4215-9524-48BF-B8E5-684CCDF82591}"/>
              </a:ext>
            </a:extLst>
          </p:cNvPr>
          <p:cNvGrpSpPr/>
          <p:nvPr/>
        </p:nvGrpSpPr>
        <p:grpSpPr>
          <a:xfrm>
            <a:off x="6275388" y="2823251"/>
            <a:ext cx="302619" cy="317247"/>
            <a:chOff x="4163060" y="2537711"/>
            <a:chExt cx="520926" cy="520926"/>
          </a:xfrm>
        </p:grpSpPr>
        <p:sp>
          <p:nvSpPr>
            <p:cNvPr id="615" name="Oval 614">
              <a:extLst>
                <a:ext uri="{FF2B5EF4-FFF2-40B4-BE49-F238E27FC236}">
                  <a16:creationId xmlns:a16="http://schemas.microsoft.com/office/drawing/2014/main" id="{1B5E7FBB-EC69-4268-8826-A2B262641679}"/>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6" name="Freeform 41">
              <a:extLst>
                <a:ext uri="{FF2B5EF4-FFF2-40B4-BE49-F238E27FC236}">
                  <a16:creationId xmlns:a16="http://schemas.microsoft.com/office/drawing/2014/main" id="{8D9FDE30-D3C3-468F-993B-2658B6109CE6}"/>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grpSp>
        <p:nvGrpSpPr>
          <p:cNvPr id="617" name="Group 29">
            <a:extLst>
              <a:ext uri="{FF2B5EF4-FFF2-40B4-BE49-F238E27FC236}">
                <a16:creationId xmlns:a16="http://schemas.microsoft.com/office/drawing/2014/main" id="{CB4C2803-1D31-473D-B05B-14FECC0FEBD9}"/>
              </a:ext>
            </a:extLst>
          </p:cNvPr>
          <p:cNvGrpSpPr/>
          <p:nvPr/>
        </p:nvGrpSpPr>
        <p:grpSpPr>
          <a:xfrm>
            <a:off x="7155101" y="3370835"/>
            <a:ext cx="302619" cy="317247"/>
            <a:chOff x="4163060" y="2537711"/>
            <a:chExt cx="520926" cy="520926"/>
          </a:xfrm>
        </p:grpSpPr>
        <p:sp>
          <p:nvSpPr>
            <p:cNvPr id="618" name="Oval 617">
              <a:extLst>
                <a:ext uri="{FF2B5EF4-FFF2-40B4-BE49-F238E27FC236}">
                  <a16:creationId xmlns:a16="http://schemas.microsoft.com/office/drawing/2014/main" id="{EC8B7BA3-44FD-4707-8DDB-3F73C5745317}"/>
                </a:ext>
              </a:extLst>
            </p:cNvPr>
            <p:cNvSpPr/>
            <p:nvPr/>
          </p:nvSpPr>
          <p:spPr>
            <a:xfrm>
              <a:off x="4163060" y="2537711"/>
              <a:ext cx="520926" cy="520926"/>
            </a:xfrm>
            <a:prstGeom prst="ellipse">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7">
                <a:defRPr/>
              </a:pPr>
              <a:endParaRPr lang="en-US" dirty="0">
                <a:solidFill>
                  <a:srgbClr val="FFFFFF"/>
                </a:solidFill>
                <a:latin typeface="CiscoSansTT ExtraLight"/>
              </a:endParaRPr>
            </a:p>
          </p:txBody>
        </p:sp>
        <p:sp>
          <p:nvSpPr>
            <p:cNvPr id="619" name="Freeform 41">
              <a:extLst>
                <a:ext uri="{FF2B5EF4-FFF2-40B4-BE49-F238E27FC236}">
                  <a16:creationId xmlns:a16="http://schemas.microsoft.com/office/drawing/2014/main" id="{2C7B4928-6595-43BB-AD82-7D69319B999A}"/>
                </a:ext>
              </a:extLst>
            </p:cNvPr>
            <p:cNvSpPr>
              <a:spLocks noEditPoints="1"/>
            </p:cNvSpPr>
            <p:nvPr/>
          </p:nvSpPr>
          <p:spPr bwMode="auto">
            <a:xfrm>
              <a:off x="4285230" y="2669158"/>
              <a:ext cx="276586" cy="258032"/>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dirty="0">
                <a:solidFill>
                  <a:srgbClr val="39393B"/>
                </a:solidFill>
                <a:latin typeface="Arial"/>
                <a:ea typeface=""/>
                <a:cs typeface=""/>
              </a:endParaRPr>
            </a:p>
          </p:txBody>
        </p:sp>
      </p:grpSp>
      <p:cxnSp>
        <p:nvCxnSpPr>
          <p:cNvPr id="32" name="Straight Connector 31">
            <a:extLst>
              <a:ext uri="{FF2B5EF4-FFF2-40B4-BE49-F238E27FC236}">
                <a16:creationId xmlns:a16="http://schemas.microsoft.com/office/drawing/2014/main" id="{C7EB0EA3-A702-4528-B1C9-ABAA7A5B3B4C}"/>
              </a:ext>
            </a:extLst>
          </p:cNvPr>
          <p:cNvCxnSpPr>
            <a:cxnSpLocks/>
            <a:stCxn id="596" idx="5"/>
            <a:endCxn id="525" idx="2"/>
          </p:cNvCxnSpPr>
          <p:nvPr/>
        </p:nvCxnSpPr>
        <p:spPr>
          <a:xfrm>
            <a:off x="5997808" y="2253282"/>
            <a:ext cx="968435" cy="331126"/>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0" name="Straight Connector 69">
            <a:extLst>
              <a:ext uri="{FF2B5EF4-FFF2-40B4-BE49-F238E27FC236}">
                <a16:creationId xmlns:a16="http://schemas.microsoft.com/office/drawing/2014/main" id="{685B54BB-7668-4C43-8B50-4969C55EF348}"/>
              </a:ext>
            </a:extLst>
          </p:cNvPr>
          <p:cNvCxnSpPr>
            <a:cxnSpLocks/>
            <a:stCxn id="606" idx="5"/>
            <a:endCxn id="525" idx="1"/>
          </p:cNvCxnSpPr>
          <p:nvPr/>
        </p:nvCxnSpPr>
        <p:spPr>
          <a:xfrm>
            <a:off x="6526434" y="1874080"/>
            <a:ext cx="464419" cy="65091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3" name="Straight Connector 72">
            <a:extLst>
              <a:ext uri="{FF2B5EF4-FFF2-40B4-BE49-F238E27FC236}">
                <a16:creationId xmlns:a16="http://schemas.microsoft.com/office/drawing/2014/main" id="{2DCDD96F-61C1-4EFA-BD1B-F57C6A13A1FC}"/>
              </a:ext>
            </a:extLst>
          </p:cNvPr>
          <p:cNvCxnSpPr>
            <a:cxnSpLocks/>
            <a:stCxn id="612" idx="4"/>
          </p:cNvCxnSpPr>
          <p:nvPr/>
        </p:nvCxnSpPr>
        <p:spPr>
          <a:xfrm flipH="1">
            <a:off x="7023021" y="2561821"/>
            <a:ext cx="31914" cy="384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13D577-06EB-4CA4-973B-BD002BEDF6E7}"/>
              </a:ext>
            </a:extLst>
          </p:cNvPr>
          <p:cNvCxnSpPr>
            <a:cxnSpLocks/>
            <a:stCxn id="609" idx="4"/>
            <a:endCxn id="525" idx="7"/>
          </p:cNvCxnSpPr>
          <p:nvPr/>
        </p:nvCxnSpPr>
        <p:spPr>
          <a:xfrm flipH="1">
            <a:off x="7109678" y="1662653"/>
            <a:ext cx="381449" cy="862341"/>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7" name="Straight Connector 76">
            <a:extLst>
              <a:ext uri="{FF2B5EF4-FFF2-40B4-BE49-F238E27FC236}">
                <a16:creationId xmlns:a16="http://schemas.microsoft.com/office/drawing/2014/main" id="{5B2818DB-830E-4AD7-B13B-996AAE83C77B}"/>
              </a:ext>
            </a:extLst>
          </p:cNvPr>
          <p:cNvCxnSpPr>
            <a:cxnSpLocks/>
            <a:stCxn id="615" idx="6"/>
            <a:endCxn id="525" idx="3"/>
          </p:cNvCxnSpPr>
          <p:nvPr/>
        </p:nvCxnSpPr>
        <p:spPr>
          <a:xfrm flipV="1">
            <a:off x="6578007" y="2643820"/>
            <a:ext cx="412845" cy="338055"/>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80" name="Straight Connector 79">
            <a:extLst>
              <a:ext uri="{FF2B5EF4-FFF2-40B4-BE49-F238E27FC236}">
                <a16:creationId xmlns:a16="http://schemas.microsoft.com/office/drawing/2014/main" id="{65C2C988-5928-40F4-9D29-E0484818AB7A}"/>
              </a:ext>
            </a:extLst>
          </p:cNvPr>
          <p:cNvCxnSpPr>
            <a:cxnSpLocks/>
            <a:stCxn id="541" idx="6"/>
            <a:endCxn id="525" idx="2"/>
          </p:cNvCxnSpPr>
          <p:nvPr/>
        </p:nvCxnSpPr>
        <p:spPr>
          <a:xfrm flipV="1">
            <a:off x="5585540" y="2584407"/>
            <a:ext cx="1380702" cy="542495"/>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3" name="Straight Connector 82">
            <a:extLst>
              <a:ext uri="{FF2B5EF4-FFF2-40B4-BE49-F238E27FC236}">
                <a16:creationId xmlns:a16="http://schemas.microsoft.com/office/drawing/2014/main" id="{6096C28E-B668-4D25-B65D-9E575C33A5B3}"/>
              </a:ext>
            </a:extLst>
          </p:cNvPr>
          <p:cNvCxnSpPr>
            <a:stCxn id="618" idx="0"/>
            <a:endCxn id="525" idx="4"/>
          </p:cNvCxnSpPr>
          <p:nvPr/>
        </p:nvCxnSpPr>
        <p:spPr>
          <a:xfrm flipH="1" flipV="1">
            <a:off x="7050265" y="2668430"/>
            <a:ext cx="256146" cy="702405"/>
          </a:xfrm>
          <a:prstGeom prst="line">
            <a:avLst/>
          </a:prstGeom>
          <a:ln/>
        </p:spPr>
        <p:style>
          <a:lnRef idx="1">
            <a:schemeClr val="accent3"/>
          </a:lnRef>
          <a:fillRef idx="0">
            <a:schemeClr val="accent3"/>
          </a:fillRef>
          <a:effectRef idx="0">
            <a:schemeClr val="accent3"/>
          </a:effectRef>
          <a:fontRef idx="minor">
            <a:schemeClr val="tx1"/>
          </a:fontRef>
        </p:style>
      </p:cxnSp>
      <p:sp>
        <p:nvSpPr>
          <p:cNvPr id="94" name="Freeform: Shape 93">
            <a:extLst>
              <a:ext uri="{FF2B5EF4-FFF2-40B4-BE49-F238E27FC236}">
                <a16:creationId xmlns:a16="http://schemas.microsoft.com/office/drawing/2014/main" id="{F2C417E4-D4A9-44AA-9830-F1BE0AA19845}"/>
              </a:ext>
            </a:extLst>
          </p:cNvPr>
          <p:cNvSpPr/>
          <p:nvPr/>
        </p:nvSpPr>
        <p:spPr>
          <a:xfrm>
            <a:off x="6122147" y="2153242"/>
            <a:ext cx="2192937" cy="2787034"/>
          </a:xfrm>
          <a:custGeom>
            <a:avLst/>
            <a:gdLst>
              <a:gd name="connsiteX0" fmla="*/ 1162112 w 2923916"/>
              <a:gd name="connsiteY0" fmla="*/ 575226 h 3628485"/>
              <a:gd name="connsiteX1" fmla="*/ 285812 w 2923916"/>
              <a:gd name="connsiteY1" fmla="*/ 3726 h 3628485"/>
              <a:gd name="connsiteX2" fmla="*/ 19112 w 2923916"/>
              <a:gd name="connsiteY2" fmla="*/ 365676 h 3628485"/>
              <a:gd name="connsiteX3" fmla="*/ 76262 w 2923916"/>
              <a:gd name="connsiteY3" fmla="*/ 1080051 h 3628485"/>
              <a:gd name="connsiteX4" fmla="*/ 514412 w 2923916"/>
              <a:gd name="connsiteY4" fmla="*/ 1689651 h 3628485"/>
              <a:gd name="connsiteX5" fmla="*/ 1266887 w 2923916"/>
              <a:gd name="connsiteY5" fmla="*/ 1946826 h 3628485"/>
              <a:gd name="connsiteX6" fmla="*/ 1600262 w 2923916"/>
              <a:gd name="connsiteY6" fmla="*/ 2670726 h 3628485"/>
              <a:gd name="connsiteX7" fmla="*/ 2762312 w 2923916"/>
              <a:gd name="connsiteY7" fmla="*/ 3508926 h 3628485"/>
              <a:gd name="connsiteX8" fmla="*/ 2886137 w 2923916"/>
              <a:gd name="connsiteY8" fmla="*/ 3604176 h 362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3916" h="3628485">
                <a:moveTo>
                  <a:pt x="1162112" y="575226"/>
                </a:moveTo>
                <a:cubicBezTo>
                  <a:pt x="819212" y="306938"/>
                  <a:pt x="476312" y="38651"/>
                  <a:pt x="285812" y="3726"/>
                </a:cubicBezTo>
                <a:cubicBezTo>
                  <a:pt x="95312" y="-31199"/>
                  <a:pt x="54037" y="186289"/>
                  <a:pt x="19112" y="365676"/>
                </a:cubicBezTo>
                <a:cubicBezTo>
                  <a:pt x="-15813" y="545063"/>
                  <a:pt x="-6288" y="859389"/>
                  <a:pt x="76262" y="1080051"/>
                </a:cubicBezTo>
                <a:cubicBezTo>
                  <a:pt x="158812" y="1300713"/>
                  <a:pt x="315975" y="1545189"/>
                  <a:pt x="514412" y="1689651"/>
                </a:cubicBezTo>
                <a:cubicBezTo>
                  <a:pt x="712849" y="1834113"/>
                  <a:pt x="1085912" y="1783314"/>
                  <a:pt x="1266887" y="1946826"/>
                </a:cubicBezTo>
                <a:cubicBezTo>
                  <a:pt x="1447862" y="2110338"/>
                  <a:pt x="1351024" y="2410376"/>
                  <a:pt x="1600262" y="2670726"/>
                </a:cubicBezTo>
                <a:cubicBezTo>
                  <a:pt x="1849500" y="2931076"/>
                  <a:pt x="2548000" y="3353351"/>
                  <a:pt x="2762312" y="3508926"/>
                </a:cubicBezTo>
                <a:cubicBezTo>
                  <a:pt x="2976625" y="3664501"/>
                  <a:pt x="2931381" y="3634338"/>
                  <a:pt x="2886137" y="3604176"/>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sp>
        <p:nvSpPr>
          <p:cNvPr id="96" name="Freeform: Shape 95">
            <a:extLst>
              <a:ext uri="{FF2B5EF4-FFF2-40B4-BE49-F238E27FC236}">
                <a16:creationId xmlns:a16="http://schemas.microsoft.com/office/drawing/2014/main" id="{3F8BFE22-2214-497E-BF03-EBB9CB38F4DE}"/>
              </a:ext>
            </a:extLst>
          </p:cNvPr>
          <p:cNvSpPr/>
          <p:nvPr/>
        </p:nvSpPr>
        <p:spPr>
          <a:xfrm>
            <a:off x="5931265" y="411849"/>
            <a:ext cx="1091042" cy="2131327"/>
          </a:xfrm>
          <a:custGeom>
            <a:avLst/>
            <a:gdLst>
              <a:gd name="connsiteX0" fmla="*/ 1454722 w 1454722"/>
              <a:gd name="connsiteY0" fmla="*/ 2841769 h 2841769"/>
              <a:gd name="connsiteX1" fmla="*/ 521272 w 1454722"/>
              <a:gd name="connsiteY1" fmla="*/ 2175019 h 2841769"/>
              <a:gd name="connsiteX2" fmla="*/ 149797 w 1454722"/>
              <a:gd name="connsiteY2" fmla="*/ 641494 h 2841769"/>
              <a:gd name="connsiteX3" fmla="*/ 6922 w 1454722"/>
              <a:gd name="connsiteY3" fmla="*/ 50944 h 2841769"/>
              <a:gd name="connsiteX4" fmla="*/ 35497 w 1454722"/>
              <a:gd name="connsiteY4" fmla="*/ 69994 h 284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722" h="2841769">
                <a:moveTo>
                  <a:pt x="1454722" y="2841769"/>
                </a:moveTo>
                <a:cubicBezTo>
                  <a:pt x="1096740" y="2691750"/>
                  <a:pt x="738759" y="2541731"/>
                  <a:pt x="521272" y="2175019"/>
                </a:cubicBezTo>
                <a:cubicBezTo>
                  <a:pt x="303785" y="1808307"/>
                  <a:pt x="149797" y="641494"/>
                  <a:pt x="149797" y="641494"/>
                </a:cubicBezTo>
                <a:lnTo>
                  <a:pt x="6922" y="50944"/>
                </a:lnTo>
                <a:cubicBezTo>
                  <a:pt x="-12128" y="-44306"/>
                  <a:pt x="11684" y="12844"/>
                  <a:pt x="35497" y="69994"/>
                </a:cubicBezTo>
              </a:path>
            </a:pathLst>
          </a:custGeom>
          <a:ln w="38100"/>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grpSp>
        <p:nvGrpSpPr>
          <p:cNvPr id="524" name="Group 523">
            <a:extLst>
              <a:ext uri="{FF2B5EF4-FFF2-40B4-BE49-F238E27FC236}">
                <a16:creationId xmlns:a16="http://schemas.microsoft.com/office/drawing/2014/main" id="{E1663DD4-DA51-4B2D-B167-258896EFE2D0}"/>
              </a:ext>
            </a:extLst>
          </p:cNvPr>
          <p:cNvGrpSpPr/>
          <p:nvPr/>
        </p:nvGrpSpPr>
        <p:grpSpPr>
          <a:xfrm>
            <a:off x="6966242" y="2500385"/>
            <a:ext cx="168045" cy="168045"/>
            <a:chOff x="4083769" y="2552776"/>
            <a:chExt cx="529089" cy="529089"/>
          </a:xfrm>
        </p:grpSpPr>
        <p:sp>
          <p:nvSpPr>
            <p:cNvPr id="525" name="Oval 524">
              <a:extLst>
                <a:ext uri="{FF2B5EF4-FFF2-40B4-BE49-F238E27FC236}">
                  <a16:creationId xmlns:a16="http://schemas.microsoft.com/office/drawing/2014/main" id="{85034D52-F106-4E56-A399-DDE2C758F1FB}"/>
                </a:ext>
              </a:extLst>
            </p:cNvPr>
            <p:cNvSpPr/>
            <p:nvPr/>
          </p:nvSpPr>
          <p:spPr>
            <a:xfrm>
              <a:off x="4083769" y="2552776"/>
              <a:ext cx="529089" cy="52908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26" name="Freeform: Shape 298">
              <a:extLst>
                <a:ext uri="{FF2B5EF4-FFF2-40B4-BE49-F238E27FC236}">
                  <a16:creationId xmlns:a16="http://schemas.microsoft.com/office/drawing/2014/main" id="{4A1CAA4F-2377-434A-9F13-9E763294C0D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7" name="Freeform: Shape 299">
              <a:extLst>
                <a:ext uri="{FF2B5EF4-FFF2-40B4-BE49-F238E27FC236}">
                  <a16:creationId xmlns:a16="http://schemas.microsoft.com/office/drawing/2014/main" id="{13B65276-0B83-4462-9EB0-03C4032ECC9D}"/>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8" name="Freeform: Shape 301">
              <a:extLst>
                <a:ext uri="{FF2B5EF4-FFF2-40B4-BE49-F238E27FC236}">
                  <a16:creationId xmlns:a16="http://schemas.microsoft.com/office/drawing/2014/main" id="{7F8006FB-D45A-4C5F-8CE1-B64192D41C39}"/>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29" name="Freeform: Shape 302">
              <a:extLst>
                <a:ext uri="{FF2B5EF4-FFF2-40B4-BE49-F238E27FC236}">
                  <a16:creationId xmlns:a16="http://schemas.microsoft.com/office/drawing/2014/main" id="{7EA827F4-EB63-4832-92DB-DCB54240DDB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
        <p:nvSpPr>
          <p:cNvPr id="543" name="Freeform 9">
            <a:extLst>
              <a:ext uri="{FF2B5EF4-FFF2-40B4-BE49-F238E27FC236}">
                <a16:creationId xmlns:a16="http://schemas.microsoft.com/office/drawing/2014/main" id="{EB141EAE-CC92-4BEA-BF5D-C4FDECBA8CE7}"/>
              </a:ext>
            </a:extLst>
          </p:cNvPr>
          <p:cNvSpPr>
            <a:spLocks noEditPoints="1"/>
          </p:cNvSpPr>
          <p:nvPr/>
        </p:nvSpPr>
        <p:spPr bwMode="auto">
          <a:xfrm>
            <a:off x="7791851" y="21331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544" name="Freeform 9">
            <a:extLst>
              <a:ext uri="{FF2B5EF4-FFF2-40B4-BE49-F238E27FC236}">
                <a16:creationId xmlns:a16="http://schemas.microsoft.com/office/drawing/2014/main" id="{AFE31779-0293-44EE-AFB0-25460BA8E838}"/>
              </a:ext>
            </a:extLst>
          </p:cNvPr>
          <p:cNvSpPr>
            <a:spLocks noEditPoints="1"/>
          </p:cNvSpPr>
          <p:nvPr/>
        </p:nvSpPr>
        <p:spPr bwMode="auto">
          <a:xfrm>
            <a:off x="7906151" y="22474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sp>
        <p:nvSpPr>
          <p:cNvPr id="593" name="Freeform 9">
            <a:extLst>
              <a:ext uri="{FF2B5EF4-FFF2-40B4-BE49-F238E27FC236}">
                <a16:creationId xmlns:a16="http://schemas.microsoft.com/office/drawing/2014/main" id="{956C4BA2-ED2E-4DF8-B962-CBBCA112DFCF}"/>
              </a:ext>
            </a:extLst>
          </p:cNvPr>
          <p:cNvSpPr>
            <a:spLocks noEditPoints="1"/>
          </p:cNvSpPr>
          <p:nvPr/>
        </p:nvSpPr>
        <p:spPr bwMode="auto">
          <a:xfrm>
            <a:off x="8020451" y="2361766"/>
            <a:ext cx="166260" cy="316403"/>
          </a:xfrm>
          <a:custGeom>
            <a:avLst/>
            <a:gdLst>
              <a:gd name="T0" fmla="*/ 80 w 80"/>
              <a:gd name="T1" fmla="*/ 68 h 140"/>
              <a:gd name="T2" fmla="*/ 72 w 80"/>
              <a:gd name="T3" fmla="*/ 68 h 140"/>
              <a:gd name="T4" fmla="*/ 72 w 80"/>
              <a:gd name="T5" fmla="*/ 0 h 140"/>
              <a:gd name="T6" fmla="*/ 36 w 80"/>
              <a:gd name="T7" fmla="*/ 0 h 140"/>
              <a:gd name="T8" fmla="*/ 36 w 80"/>
              <a:gd name="T9" fmla="*/ 36 h 140"/>
              <a:gd name="T10" fmla="*/ 0 w 80"/>
              <a:gd name="T11" fmla="*/ 36 h 140"/>
              <a:gd name="T12" fmla="*/ 0 w 80"/>
              <a:gd name="T13" fmla="*/ 140 h 140"/>
              <a:gd name="T14" fmla="*/ 80 w 80"/>
              <a:gd name="T15" fmla="*/ 140 h 140"/>
              <a:gd name="T16" fmla="*/ 80 w 80"/>
              <a:gd name="T17" fmla="*/ 68 h 140"/>
              <a:gd name="T18" fmla="*/ 28 w 80"/>
              <a:gd name="T19" fmla="*/ 124 h 140"/>
              <a:gd name="T20" fmla="*/ 8 w 80"/>
              <a:gd name="T21" fmla="*/ 124 h 140"/>
              <a:gd name="T22" fmla="*/ 8 w 80"/>
              <a:gd name="T23" fmla="*/ 112 h 140"/>
              <a:gd name="T24" fmla="*/ 28 w 80"/>
              <a:gd name="T25" fmla="*/ 112 h 140"/>
              <a:gd name="T26" fmla="*/ 28 w 80"/>
              <a:gd name="T27" fmla="*/ 124 h 140"/>
              <a:gd name="T28" fmla="*/ 28 w 80"/>
              <a:gd name="T29" fmla="*/ 100 h 140"/>
              <a:gd name="T30" fmla="*/ 8 w 80"/>
              <a:gd name="T31" fmla="*/ 100 h 140"/>
              <a:gd name="T32" fmla="*/ 8 w 80"/>
              <a:gd name="T33" fmla="*/ 88 h 140"/>
              <a:gd name="T34" fmla="*/ 28 w 80"/>
              <a:gd name="T35" fmla="*/ 88 h 140"/>
              <a:gd name="T36" fmla="*/ 28 w 80"/>
              <a:gd name="T37" fmla="*/ 100 h 140"/>
              <a:gd name="T38" fmla="*/ 28 w 80"/>
              <a:gd name="T39" fmla="*/ 76 h 140"/>
              <a:gd name="T40" fmla="*/ 8 w 80"/>
              <a:gd name="T41" fmla="*/ 76 h 140"/>
              <a:gd name="T42" fmla="*/ 8 w 80"/>
              <a:gd name="T43" fmla="*/ 64 h 140"/>
              <a:gd name="T44" fmla="*/ 28 w 80"/>
              <a:gd name="T45" fmla="*/ 64 h 140"/>
              <a:gd name="T46" fmla="*/ 28 w 80"/>
              <a:gd name="T47" fmla="*/ 76 h 140"/>
              <a:gd name="T48" fmla="*/ 57 w 80"/>
              <a:gd name="T49" fmla="*/ 124 h 140"/>
              <a:gd name="T50" fmla="*/ 48 w 80"/>
              <a:gd name="T51" fmla="*/ 124 h 140"/>
              <a:gd name="T52" fmla="*/ 42 w 80"/>
              <a:gd name="T53" fmla="*/ 118 h 140"/>
              <a:gd name="T54" fmla="*/ 48 w 80"/>
              <a:gd name="T55" fmla="*/ 112 h 140"/>
              <a:gd name="T56" fmla="*/ 57 w 80"/>
              <a:gd name="T57" fmla="*/ 112 h 140"/>
              <a:gd name="T58" fmla="*/ 63 w 80"/>
              <a:gd name="T59" fmla="*/ 118 h 140"/>
              <a:gd name="T60" fmla="*/ 57 w 80"/>
              <a:gd name="T61" fmla="*/ 124 h 140"/>
              <a:gd name="T62" fmla="*/ 57 w 80"/>
              <a:gd name="T63" fmla="*/ 100 h 140"/>
              <a:gd name="T64" fmla="*/ 48 w 80"/>
              <a:gd name="T65" fmla="*/ 100 h 140"/>
              <a:gd name="T66" fmla="*/ 42 w 80"/>
              <a:gd name="T67" fmla="*/ 94 h 140"/>
              <a:gd name="T68" fmla="*/ 48 w 80"/>
              <a:gd name="T69" fmla="*/ 88 h 140"/>
              <a:gd name="T70" fmla="*/ 57 w 80"/>
              <a:gd name="T71" fmla="*/ 88 h 140"/>
              <a:gd name="T72" fmla="*/ 63 w 80"/>
              <a:gd name="T73" fmla="*/ 94 h 140"/>
              <a:gd name="T74" fmla="*/ 57 w 80"/>
              <a:gd name="T75" fmla="*/ 100 h 140"/>
              <a:gd name="T76" fmla="*/ 57 w 80"/>
              <a:gd name="T77" fmla="*/ 76 h 140"/>
              <a:gd name="T78" fmla="*/ 48 w 80"/>
              <a:gd name="T79" fmla="*/ 76 h 140"/>
              <a:gd name="T80" fmla="*/ 42 w 80"/>
              <a:gd name="T81" fmla="*/ 70 h 140"/>
              <a:gd name="T82" fmla="*/ 48 w 80"/>
              <a:gd name="T83" fmla="*/ 64 h 140"/>
              <a:gd name="T84" fmla="*/ 57 w 80"/>
              <a:gd name="T85" fmla="*/ 64 h 140"/>
              <a:gd name="T86" fmla="*/ 63 w 80"/>
              <a:gd name="T87" fmla="*/ 70 h 140"/>
              <a:gd name="T88" fmla="*/ 57 w 80"/>
              <a:gd name="T89" fmla="*/ 76 h 140"/>
              <a:gd name="T90" fmla="*/ 57 w 80"/>
              <a:gd name="T91" fmla="*/ 52 h 140"/>
              <a:gd name="T92" fmla="*/ 48 w 80"/>
              <a:gd name="T93" fmla="*/ 52 h 140"/>
              <a:gd name="T94" fmla="*/ 42 w 80"/>
              <a:gd name="T95" fmla="*/ 46 h 140"/>
              <a:gd name="T96" fmla="*/ 48 w 80"/>
              <a:gd name="T97" fmla="*/ 40 h 140"/>
              <a:gd name="T98" fmla="*/ 57 w 80"/>
              <a:gd name="T99" fmla="*/ 40 h 140"/>
              <a:gd name="T100" fmla="*/ 63 w 80"/>
              <a:gd name="T101" fmla="*/ 46 h 140"/>
              <a:gd name="T102" fmla="*/ 57 w 80"/>
              <a:gd name="T103" fmla="*/ 52 h 140"/>
              <a:gd name="T104" fmla="*/ 57 w 80"/>
              <a:gd name="T105" fmla="*/ 28 h 140"/>
              <a:gd name="T106" fmla="*/ 48 w 80"/>
              <a:gd name="T107" fmla="*/ 28 h 140"/>
              <a:gd name="T108" fmla="*/ 42 w 80"/>
              <a:gd name="T109" fmla="*/ 22 h 140"/>
              <a:gd name="T110" fmla="*/ 48 w 80"/>
              <a:gd name="T111" fmla="*/ 16 h 140"/>
              <a:gd name="T112" fmla="*/ 57 w 80"/>
              <a:gd name="T113" fmla="*/ 16 h 140"/>
              <a:gd name="T114" fmla="*/ 63 w 80"/>
              <a:gd name="T115" fmla="*/ 22 h 140"/>
              <a:gd name="T116" fmla="*/ 57 w 80"/>
              <a:gd name="T117" fmla="*/ 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40">
                <a:moveTo>
                  <a:pt x="80" y="68"/>
                </a:moveTo>
                <a:cubicBezTo>
                  <a:pt x="72" y="68"/>
                  <a:pt x="72" y="68"/>
                  <a:pt x="72" y="68"/>
                </a:cubicBezTo>
                <a:cubicBezTo>
                  <a:pt x="72" y="0"/>
                  <a:pt x="72" y="0"/>
                  <a:pt x="72" y="0"/>
                </a:cubicBezTo>
                <a:cubicBezTo>
                  <a:pt x="36" y="0"/>
                  <a:pt x="36" y="0"/>
                  <a:pt x="36" y="0"/>
                </a:cubicBezTo>
                <a:cubicBezTo>
                  <a:pt x="36" y="36"/>
                  <a:pt x="36" y="36"/>
                  <a:pt x="36" y="36"/>
                </a:cubicBezTo>
                <a:cubicBezTo>
                  <a:pt x="0" y="36"/>
                  <a:pt x="0" y="36"/>
                  <a:pt x="0" y="36"/>
                </a:cubicBezTo>
                <a:cubicBezTo>
                  <a:pt x="0" y="140"/>
                  <a:pt x="0" y="140"/>
                  <a:pt x="0" y="140"/>
                </a:cubicBezTo>
                <a:cubicBezTo>
                  <a:pt x="80" y="140"/>
                  <a:pt x="80" y="140"/>
                  <a:pt x="80" y="140"/>
                </a:cubicBezTo>
                <a:lnTo>
                  <a:pt x="80" y="68"/>
                </a:lnTo>
                <a:close/>
                <a:moveTo>
                  <a:pt x="28" y="124"/>
                </a:moveTo>
                <a:cubicBezTo>
                  <a:pt x="8" y="124"/>
                  <a:pt x="8" y="124"/>
                  <a:pt x="8" y="124"/>
                </a:cubicBezTo>
                <a:cubicBezTo>
                  <a:pt x="8" y="112"/>
                  <a:pt x="8" y="112"/>
                  <a:pt x="8" y="112"/>
                </a:cubicBezTo>
                <a:cubicBezTo>
                  <a:pt x="28" y="112"/>
                  <a:pt x="28" y="112"/>
                  <a:pt x="28" y="112"/>
                </a:cubicBezTo>
                <a:lnTo>
                  <a:pt x="28" y="124"/>
                </a:lnTo>
                <a:close/>
                <a:moveTo>
                  <a:pt x="28" y="100"/>
                </a:moveTo>
                <a:cubicBezTo>
                  <a:pt x="8" y="100"/>
                  <a:pt x="8" y="100"/>
                  <a:pt x="8" y="100"/>
                </a:cubicBezTo>
                <a:cubicBezTo>
                  <a:pt x="8" y="88"/>
                  <a:pt x="8" y="88"/>
                  <a:pt x="8" y="88"/>
                </a:cubicBezTo>
                <a:cubicBezTo>
                  <a:pt x="28" y="88"/>
                  <a:pt x="28" y="88"/>
                  <a:pt x="28" y="88"/>
                </a:cubicBezTo>
                <a:lnTo>
                  <a:pt x="28" y="100"/>
                </a:lnTo>
                <a:close/>
                <a:moveTo>
                  <a:pt x="28" y="76"/>
                </a:moveTo>
                <a:cubicBezTo>
                  <a:pt x="8" y="76"/>
                  <a:pt x="8" y="76"/>
                  <a:pt x="8" y="76"/>
                </a:cubicBezTo>
                <a:cubicBezTo>
                  <a:pt x="8" y="64"/>
                  <a:pt x="8" y="64"/>
                  <a:pt x="8" y="64"/>
                </a:cubicBezTo>
                <a:cubicBezTo>
                  <a:pt x="28" y="64"/>
                  <a:pt x="28" y="64"/>
                  <a:pt x="28" y="64"/>
                </a:cubicBezTo>
                <a:lnTo>
                  <a:pt x="28" y="76"/>
                </a:lnTo>
                <a:close/>
                <a:moveTo>
                  <a:pt x="57" y="124"/>
                </a:moveTo>
                <a:cubicBezTo>
                  <a:pt x="48" y="124"/>
                  <a:pt x="48" y="124"/>
                  <a:pt x="48" y="124"/>
                </a:cubicBezTo>
                <a:cubicBezTo>
                  <a:pt x="45" y="124"/>
                  <a:pt x="42" y="121"/>
                  <a:pt x="42" y="118"/>
                </a:cubicBezTo>
                <a:cubicBezTo>
                  <a:pt x="42" y="115"/>
                  <a:pt x="45" y="112"/>
                  <a:pt x="48" y="112"/>
                </a:cubicBezTo>
                <a:cubicBezTo>
                  <a:pt x="57" y="112"/>
                  <a:pt x="57" y="112"/>
                  <a:pt x="57" y="112"/>
                </a:cubicBezTo>
                <a:cubicBezTo>
                  <a:pt x="60" y="112"/>
                  <a:pt x="63" y="115"/>
                  <a:pt x="63" y="118"/>
                </a:cubicBezTo>
                <a:cubicBezTo>
                  <a:pt x="63" y="121"/>
                  <a:pt x="60" y="124"/>
                  <a:pt x="57" y="124"/>
                </a:cubicBezTo>
                <a:close/>
                <a:moveTo>
                  <a:pt x="57" y="100"/>
                </a:moveTo>
                <a:cubicBezTo>
                  <a:pt x="48" y="100"/>
                  <a:pt x="48" y="100"/>
                  <a:pt x="48" y="100"/>
                </a:cubicBezTo>
                <a:cubicBezTo>
                  <a:pt x="45" y="100"/>
                  <a:pt x="42" y="97"/>
                  <a:pt x="42" y="94"/>
                </a:cubicBezTo>
                <a:cubicBezTo>
                  <a:pt x="42" y="91"/>
                  <a:pt x="45" y="88"/>
                  <a:pt x="48" y="88"/>
                </a:cubicBezTo>
                <a:cubicBezTo>
                  <a:pt x="57" y="88"/>
                  <a:pt x="57" y="88"/>
                  <a:pt x="57" y="88"/>
                </a:cubicBezTo>
                <a:cubicBezTo>
                  <a:pt x="60" y="88"/>
                  <a:pt x="63" y="91"/>
                  <a:pt x="63" y="94"/>
                </a:cubicBezTo>
                <a:cubicBezTo>
                  <a:pt x="63" y="97"/>
                  <a:pt x="60" y="100"/>
                  <a:pt x="57" y="100"/>
                </a:cubicBezTo>
                <a:close/>
                <a:moveTo>
                  <a:pt x="57" y="76"/>
                </a:moveTo>
                <a:cubicBezTo>
                  <a:pt x="48" y="76"/>
                  <a:pt x="48" y="76"/>
                  <a:pt x="48" y="76"/>
                </a:cubicBezTo>
                <a:cubicBezTo>
                  <a:pt x="45" y="76"/>
                  <a:pt x="42" y="73"/>
                  <a:pt x="42" y="70"/>
                </a:cubicBezTo>
                <a:cubicBezTo>
                  <a:pt x="42" y="67"/>
                  <a:pt x="45" y="64"/>
                  <a:pt x="48" y="64"/>
                </a:cubicBezTo>
                <a:cubicBezTo>
                  <a:pt x="57" y="64"/>
                  <a:pt x="57" y="64"/>
                  <a:pt x="57" y="64"/>
                </a:cubicBezTo>
                <a:cubicBezTo>
                  <a:pt x="60" y="64"/>
                  <a:pt x="63" y="67"/>
                  <a:pt x="63" y="70"/>
                </a:cubicBezTo>
                <a:cubicBezTo>
                  <a:pt x="63" y="73"/>
                  <a:pt x="60" y="76"/>
                  <a:pt x="57" y="76"/>
                </a:cubicBezTo>
                <a:close/>
                <a:moveTo>
                  <a:pt x="57" y="52"/>
                </a:moveTo>
                <a:cubicBezTo>
                  <a:pt x="48" y="52"/>
                  <a:pt x="48" y="52"/>
                  <a:pt x="48" y="52"/>
                </a:cubicBezTo>
                <a:cubicBezTo>
                  <a:pt x="45" y="52"/>
                  <a:pt x="42" y="49"/>
                  <a:pt x="42" y="46"/>
                </a:cubicBezTo>
                <a:cubicBezTo>
                  <a:pt x="42" y="43"/>
                  <a:pt x="45" y="40"/>
                  <a:pt x="48" y="40"/>
                </a:cubicBezTo>
                <a:cubicBezTo>
                  <a:pt x="57" y="40"/>
                  <a:pt x="57" y="40"/>
                  <a:pt x="57" y="40"/>
                </a:cubicBezTo>
                <a:cubicBezTo>
                  <a:pt x="60" y="40"/>
                  <a:pt x="63" y="43"/>
                  <a:pt x="63" y="46"/>
                </a:cubicBezTo>
                <a:cubicBezTo>
                  <a:pt x="63" y="49"/>
                  <a:pt x="60" y="52"/>
                  <a:pt x="57" y="52"/>
                </a:cubicBezTo>
                <a:close/>
                <a:moveTo>
                  <a:pt x="57" y="28"/>
                </a:moveTo>
                <a:cubicBezTo>
                  <a:pt x="48" y="28"/>
                  <a:pt x="48" y="28"/>
                  <a:pt x="48" y="28"/>
                </a:cubicBezTo>
                <a:cubicBezTo>
                  <a:pt x="45" y="28"/>
                  <a:pt x="42" y="25"/>
                  <a:pt x="42" y="22"/>
                </a:cubicBezTo>
                <a:cubicBezTo>
                  <a:pt x="42" y="19"/>
                  <a:pt x="45" y="16"/>
                  <a:pt x="48" y="16"/>
                </a:cubicBezTo>
                <a:cubicBezTo>
                  <a:pt x="57" y="16"/>
                  <a:pt x="57" y="16"/>
                  <a:pt x="57" y="16"/>
                </a:cubicBezTo>
                <a:cubicBezTo>
                  <a:pt x="60" y="16"/>
                  <a:pt x="63" y="19"/>
                  <a:pt x="63" y="22"/>
                </a:cubicBezTo>
                <a:cubicBezTo>
                  <a:pt x="63" y="25"/>
                  <a:pt x="60" y="28"/>
                  <a:pt x="57" y="28"/>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a:endParaRPr lang="en-US" dirty="0">
              <a:solidFill>
                <a:srgbClr val="282828"/>
              </a:solidFill>
            </a:endParaRPr>
          </a:p>
        </p:txBody>
      </p:sp>
      <p:cxnSp>
        <p:nvCxnSpPr>
          <p:cNvPr id="5" name="Straight Connector 4">
            <a:extLst>
              <a:ext uri="{FF2B5EF4-FFF2-40B4-BE49-F238E27FC236}">
                <a16:creationId xmlns:a16="http://schemas.microsoft.com/office/drawing/2014/main" id="{66C439AD-AE67-46B2-A72C-1F415EE4E9F2}"/>
              </a:ext>
            </a:extLst>
          </p:cNvPr>
          <p:cNvCxnSpPr>
            <a:cxnSpLocks/>
            <a:stCxn id="543" idx="10"/>
            <a:endCxn id="525" idx="6"/>
          </p:cNvCxnSpPr>
          <p:nvPr/>
        </p:nvCxnSpPr>
        <p:spPr>
          <a:xfrm flipH="1">
            <a:off x="7134288" y="2413408"/>
            <a:ext cx="674189" cy="17099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Freeform: Shape 1">
            <a:extLst>
              <a:ext uri="{FF2B5EF4-FFF2-40B4-BE49-F238E27FC236}">
                <a16:creationId xmlns:a16="http://schemas.microsoft.com/office/drawing/2014/main" id="{C4B725A0-371F-45A1-9021-64456EF350DE}"/>
              </a:ext>
            </a:extLst>
          </p:cNvPr>
          <p:cNvSpPr/>
          <p:nvPr/>
        </p:nvSpPr>
        <p:spPr>
          <a:xfrm>
            <a:off x="6297387" y="2306542"/>
            <a:ext cx="1559138" cy="1994796"/>
          </a:xfrm>
          <a:custGeom>
            <a:avLst/>
            <a:gdLst>
              <a:gd name="connsiteX0" fmla="*/ 1559138 w 1559138"/>
              <a:gd name="connsiteY0" fmla="*/ 407397 h 1994796"/>
              <a:gd name="connsiteX1" fmla="*/ 688629 w 1559138"/>
              <a:gd name="connsiteY1" fmla="*/ 480549 h 1994796"/>
              <a:gd name="connsiteX2" fmla="*/ 88783 w 1559138"/>
              <a:gd name="connsiteY2" fmla="*/ 5061 h 1994796"/>
              <a:gd name="connsiteX3" fmla="*/ 147304 w 1559138"/>
              <a:gd name="connsiteY3" fmla="*/ 831679 h 1994796"/>
              <a:gd name="connsiteX4" fmla="*/ 1434779 w 1559138"/>
              <a:gd name="connsiteY4" fmla="*/ 1994796 h 1994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138" h="1994796">
                <a:moveTo>
                  <a:pt x="1559138" y="407397"/>
                </a:moveTo>
                <a:cubicBezTo>
                  <a:pt x="1246413" y="477501"/>
                  <a:pt x="933688" y="547605"/>
                  <a:pt x="688629" y="480549"/>
                </a:cubicBezTo>
                <a:cubicBezTo>
                  <a:pt x="443570" y="413493"/>
                  <a:pt x="179004" y="-53461"/>
                  <a:pt x="88783" y="5061"/>
                </a:cubicBezTo>
                <a:cubicBezTo>
                  <a:pt x="-1438" y="63583"/>
                  <a:pt x="-77029" y="500057"/>
                  <a:pt x="147304" y="831679"/>
                </a:cubicBezTo>
                <a:cubicBezTo>
                  <a:pt x="371637" y="1163301"/>
                  <a:pt x="903208" y="1579048"/>
                  <a:pt x="1434779" y="1994796"/>
                </a:cubicBezTo>
              </a:path>
            </a:pathLst>
          </a:custGeom>
          <a:noFill/>
          <a:ln w="76200">
            <a:solidFill>
              <a:srgbClr val="00B0F0"/>
            </a:solidFill>
            <a:prstDash val="sysDot"/>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Freeform: Shape 6">
            <a:extLst>
              <a:ext uri="{FF2B5EF4-FFF2-40B4-BE49-F238E27FC236}">
                <a16:creationId xmlns:a16="http://schemas.microsoft.com/office/drawing/2014/main" id="{003D0DEC-F241-4DEA-9E16-49DCD3288F6C}"/>
              </a:ext>
            </a:extLst>
          </p:cNvPr>
          <p:cNvSpPr/>
          <p:nvPr/>
        </p:nvSpPr>
        <p:spPr>
          <a:xfrm>
            <a:off x="6093562" y="687629"/>
            <a:ext cx="1199692" cy="1611978"/>
          </a:xfrm>
          <a:custGeom>
            <a:avLst/>
            <a:gdLst>
              <a:gd name="connsiteX0" fmla="*/ 1199692 w 1199692"/>
              <a:gd name="connsiteY0" fmla="*/ 965606 h 1611978"/>
              <a:gd name="connsiteX1" fmla="*/ 921715 w 1199692"/>
              <a:gd name="connsiteY1" fmla="*/ 1587398 h 1611978"/>
              <a:gd name="connsiteX2" fmla="*/ 292608 w 1199692"/>
              <a:gd name="connsiteY2" fmla="*/ 1338681 h 1611978"/>
              <a:gd name="connsiteX3" fmla="*/ 0 w 1199692"/>
              <a:gd name="connsiteY3" fmla="*/ 0 h 1611978"/>
              <a:gd name="connsiteX4" fmla="*/ 0 w 1199692"/>
              <a:gd name="connsiteY4" fmla="*/ 0 h 1611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692" h="1611978">
                <a:moveTo>
                  <a:pt x="1199692" y="965606"/>
                </a:moveTo>
                <a:cubicBezTo>
                  <a:pt x="1136294" y="1245412"/>
                  <a:pt x="1072896" y="1525219"/>
                  <a:pt x="921715" y="1587398"/>
                </a:cubicBezTo>
                <a:cubicBezTo>
                  <a:pt x="770534" y="1649577"/>
                  <a:pt x="446227" y="1603247"/>
                  <a:pt x="292608" y="1338681"/>
                </a:cubicBezTo>
                <a:cubicBezTo>
                  <a:pt x="138989" y="1074115"/>
                  <a:pt x="0" y="0"/>
                  <a:pt x="0" y="0"/>
                </a:cubicBezTo>
                <a:lnTo>
                  <a:pt x="0" y="0"/>
                </a:lnTo>
              </a:path>
            </a:pathLst>
          </a:custGeom>
          <a:noFill/>
          <a:ln w="76200">
            <a:solidFill>
              <a:schemeClr val="accent3"/>
            </a:solidFill>
            <a:prstDash val="sysDot"/>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4" name="Rectangle: Rounded Corners 593">
            <a:extLst>
              <a:ext uri="{FF2B5EF4-FFF2-40B4-BE49-F238E27FC236}">
                <a16:creationId xmlns:a16="http://schemas.microsoft.com/office/drawing/2014/main" id="{CB00E6A6-0B80-478C-9175-14982496CC0B}"/>
              </a:ext>
            </a:extLst>
          </p:cNvPr>
          <p:cNvSpPr/>
          <p:nvPr/>
        </p:nvSpPr>
        <p:spPr>
          <a:xfrm>
            <a:off x="4362551" y="1519229"/>
            <a:ext cx="1788214" cy="135611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Network Splices allow the traffic for different services to take optimal paths.</a:t>
            </a:r>
            <a:endParaRPr lang="en-GB" sz="1400" dirty="0"/>
          </a:p>
        </p:txBody>
      </p:sp>
    </p:spTree>
    <p:extLst>
      <p:ext uri="{BB962C8B-B14F-4D97-AF65-F5344CB8AC3E}">
        <p14:creationId xmlns:p14="http://schemas.microsoft.com/office/powerpoint/2010/main" val="122528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51F3256C-BE97-4ABB-85A5-4DA7D65184A7}"/>
              </a:ext>
            </a:extLst>
          </p:cNvPr>
          <p:cNvGrpSpPr/>
          <p:nvPr/>
        </p:nvGrpSpPr>
        <p:grpSpPr>
          <a:xfrm>
            <a:off x="67968" y="32223"/>
            <a:ext cx="8949062" cy="4999972"/>
            <a:chOff x="67968" y="32223"/>
            <a:chExt cx="8949062" cy="4999972"/>
          </a:xfrm>
        </p:grpSpPr>
        <p:sp>
          <p:nvSpPr>
            <p:cNvPr id="4" name="Freeform 5">
              <a:extLst>
                <a:ext uri="{FF2B5EF4-FFF2-40B4-BE49-F238E27FC236}">
                  <a16:creationId xmlns:a16="http://schemas.microsoft.com/office/drawing/2014/main" id="{4E02DADB-17BF-4D65-9828-BBF2FE40BFFA}"/>
                </a:ext>
              </a:extLst>
            </p:cNvPr>
            <p:cNvSpPr>
              <a:spLocks/>
            </p:cNvSpPr>
            <p:nvPr/>
          </p:nvSpPr>
          <p:spPr bwMode="auto">
            <a:xfrm>
              <a:off x="3032579" y="2633549"/>
              <a:ext cx="2192810" cy="1750586"/>
            </a:xfrm>
            <a:custGeom>
              <a:avLst/>
              <a:gdLst>
                <a:gd name="T0" fmla="*/ 5385 w 7785"/>
                <a:gd name="T1" fmla="*/ 1284 h 6216"/>
                <a:gd name="T2" fmla="*/ 5001 w 7785"/>
                <a:gd name="T3" fmla="*/ 1356 h 6216"/>
                <a:gd name="T4" fmla="*/ 4605 w 7785"/>
                <a:gd name="T5" fmla="*/ 1200 h 6216"/>
                <a:gd name="T6" fmla="*/ 4677 w 7785"/>
                <a:gd name="T7" fmla="*/ 840 h 6216"/>
                <a:gd name="T8" fmla="*/ 4377 w 7785"/>
                <a:gd name="T9" fmla="*/ 732 h 6216"/>
                <a:gd name="T10" fmla="*/ 4125 w 7785"/>
                <a:gd name="T11" fmla="*/ 276 h 6216"/>
                <a:gd name="T12" fmla="*/ 3860 w 7785"/>
                <a:gd name="T13" fmla="*/ 101 h 6216"/>
                <a:gd name="T14" fmla="*/ 3092 w 7785"/>
                <a:gd name="T15" fmla="*/ 439 h 6216"/>
                <a:gd name="T16" fmla="*/ 2541 w 7785"/>
                <a:gd name="T17" fmla="*/ 192 h 6216"/>
                <a:gd name="T18" fmla="*/ 2121 w 7785"/>
                <a:gd name="T19" fmla="*/ 54 h 6216"/>
                <a:gd name="T20" fmla="*/ 1794 w 7785"/>
                <a:gd name="T21" fmla="*/ 603 h 6216"/>
                <a:gd name="T22" fmla="*/ 1812 w 7785"/>
                <a:gd name="T23" fmla="*/ 960 h 6216"/>
                <a:gd name="T24" fmla="*/ 1446 w 7785"/>
                <a:gd name="T25" fmla="*/ 951 h 6216"/>
                <a:gd name="T26" fmla="*/ 1090 w 7785"/>
                <a:gd name="T27" fmla="*/ 521 h 6216"/>
                <a:gd name="T28" fmla="*/ 660 w 7785"/>
                <a:gd name="T29" fmla="*/ 494 h 6216"/>
                <a:gd name="T30" fmla="*/ 248 w 7785"/>
                <a:gd name="T31" fmla="*/ 658 h 6216"/>
                <a:gd name="T32" fmla="*/ 0 w 7785"/>
                <a:gd name="T33" fmla="*/ 1083 h 6216"/>
                <a:gd name="T34" fmla="*/ 333 w 7785"/>
                <a:gd name="T35" fmla="*/ 1740 h 6216"/>
                <a:gd name="T36" fmla="*/ 717 w 7785"/>
                <a:gd name="T37" fmla="*/ 2052 h 6216"/>
                <a:gd name="T38" fmla="*/ 753 w 7785"/>
                <a:gd name="T39" fmla="*/ 2460 h 6216"/>
                <a:gd name="T40" fmla="*/ 1125 w 7785"/>
                <a:gd name="T41" fmla="*/ 2244 h 6216"/>
                <a:gd name="T42" fmla="*/ 1497 w 7785"/>
                <a:gd name="T43" fmla="*/ 2040 h 6216"/>
                <a:gd name="T44" fmla="*/ 1701 w 7785"/>
                <a:gd name="T45" fmla="*/ 2496 h 6216"/>
                <a:gd name="T46" fmla="*/ 2397 w 7785"/>
                <a:gd name="T47" fmla="*/ 2796 h 6216"/>
                <a:gd name="T48" fmla="*/ 2913 w 7785"/>
                <a:gd name="T49" fmla="*/ 2400 h 6216"/>
                <a:gd name="T50" fmla="*/ 3117 w 7785"/>
                <a:gd name="T51" fmla="*/ 1968 h 6216"/>
                <a:gd name="T52" fmla="*/ 3453 w 7785"/>
                <a:gd name="T53" fmla="*/ 1788 h 6216"/>
                <a:gd name="T54" fmla="*/ 3945 w 7785"/>
                <a:gd name="T55" fmla="*/ 1752 h 6216"/>
                <a:gd name="T56" fmla="*/ 3993 w 7785"/>
                <a:gd name="T57" fmla="*/ 2172 h 6216"/>
                <a:gd name="T58" fmla="*/ 3597 w 7785"/>
                <a:gd name="T59" fmla="*/ 2808 h 6216"/>
                <a:gd name="T60" fmla="*/ 3801 w 7785"/>
                <a:gd name="T61" fmla="*/ 2928 h 6216"/>
                <a:gd name="T62" fmla="*/ 4029 w 7785"/>
                <a:gd name="T63" fmla="*/ 3252 h 6216"/>
                <a:gd name="T64" fmla="*/ 4389 w 7785"/>
                <a:gd name="T65" fmla="*/ 3696 h 6216"/>
                <a:gd name="T66" fmla="*/ 3825 w 7785"/>
                <a:gd name="T67" fmla="*/ 3528 h 6216"/>
                <a:gd name="T68" fmla="*/ 3645 w 7785"/>
                <a:gd name="T69" fmla="*/ 4056 h 6216"/>
                <a:gd name="T70" fmla="*/ 3681 w 7785"/>
                <a:gd name="T71" fmla="*/ 3576 h 6216"/>
                <a:gd name="T72" fmla="*/ 3309 w 7785"/>
                <a:gd name="T73" fmla="*/ 3420 h 6216"/>
                <a:gd name="T74" fmla="*/ 3345 w 7785"/>
                <a:gd name="T75" fmla="*/ 3936 h 6216"/>
                <a:gd name="T76" fmla="*/ 3333 w 7785"/>
                <a:gd name="T77" fmla="*/ 4464 h 6216"/>
                <a:gd name="T78" fmla="*/ 2829 w 7785"/>
                <a:gd name="T79" fmla="*/ 4632 h 6216"/>
                <a:gd name="T80" fmla="*/ 2445 w 7785"/>
                <a:gd name="T81" fmla="*/ 5052 h 6216"/>
                <a:gd name="T82" fmla="*/ 3885 w 7785"/>
                <a:gd name="T83" fmla="*/ 6048 h 6216"/>
                <a:gd name="T84" fmla="*/ 5817 w 7785"/>
                <a:gd name="T85" fmla="*/ 5232 h 6216"/>
                <a:gd name="T86" fmla="*/ 6309 w 7785"/>
                <a:gd name="T87" fmla="*/ 5004 h 6216"/>
                <a:gd name="T88" fmla="*/ 6357 w 7785"/>
                <a:gd name="T89" fmla="*/ 4548 h 6216"/>
                <a:gd name="T90" fmla="*/ 6213 w 7785"/>
                <a:gd name="T91" fmla="*/ 4056 h 6216"/>
                <a:gd name="T92" fmla="*/ 5985 w 7785"/>
                <a:gd name="T93" fmla="*/ 3588 h 6216"/>
                <a:gd name="T94" fmla="*/ 6429 w 7785"/>
                <a:gd name="T95" fmla="*/ 3684 h 6216"/>
                <a:gd name="T96" fmla="*/ 6909 w 7785"/>
                <a:gd name="T97" fmla="*/ 3432 h 6216"/>
                <a:gd name="T98" fmla="*/ 7161 w 7785"/>
                <a:gd name="T99" fmla="*/ 2760 h 6216"/>
                <a:gd name="T100" fmla="*/ 7053 w 7785"/>
                <a:gd name="T101" fmla="*/ 1980 h 6216"/>
                <a:gd name="T102" fmla="*/ 7353 w 7785"/>
                <a:gd name="T103" fmla="*/ 1668 h 6216"/>
                <a:gd name="T104" fmla="*/ 7689 w 7785"/>
                <a:gd name="T105" fmla="*/ 1824 h 6216"/>
                <a:gd name="T106" fmla="*/ 7629 w 7785"/>
                <a:gd name="T107" fmla="*/ 1236 h 6216"/>
                <a:gd name="T108" fmla="*/ 7329 w 7785"/>
                <a:gd name="T109" fmla="*/ 648 h 6216"/>
                <a:gd name="T110" fmla="*/ 6801 w 7785"/>
                <a:gd name="T111" fmla="*/ 840 h 6216"/>
                <a:gd name="T112" fmla="*/ 6165 w 7785"/>
                <a:gd name="T113" fmla="*/ 912 h 6216"/>
                <a:gd name="T114" fmla="*/ 5861 w 7785"/>
                <a:gd name="T115" fmla="*/ 840 h 6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85" h="6216">
                  <a:moveTo>
                    <a:pt x="5861" y="840"/>
                  </a:moveTo>
                  <a:lnTo>
                    <a:pt x="5769" y="900"/>
                  </a:lnTo>
                  <a:lnTo>
                    <a:pt x="5649" y="900"/>
                  </a:lnTo>
                  <a:lnTo>
                    <a:pt x="5577" y="1008"/>
                  </a:lnTo>
                  <a:lnTo>
                    <a:pt x="5493" y="1116"/>
                  </a:lnTo>
                  <a:lnTo>
                    <a:pt x="5385" y="1284"/>
                  </a:lnTo>
                  <a:lnTo>
                    <a:pt x="5235" y="1404"/>
                  </a:lnTo>
                  <a:lnTo>
                    <a:pt x="5253" y="1260"/>
                  </a:lnTo>
                  <a:lnTo>
                    <a:pt x="5169" y="1188"/>
                  </a:lnTo>
                  <a:lnTo>
                    <a:pt x="5133" y="1140"/>
                  </a:lnTo>
                  <a:lnTo>
                    <a:pt x="5025" y="1149"/>
                  </a:lnTo>
                  <a:lnTo>
                    <a:pt x="5001" y="1356"/>
                  </a:lnTo>
                  <a:lnTo>
                    <a:pt x="4905" y="1380"/>
                  </a:lnTo>
                  <a:lnTo>
                    <a:pt x="4797" y="1440"/>
                  </a:lnTo>
                  <a:lnTo>
                    <a:pt x="4725" y="1392"/>
                  </a:lnTo>
                  <a:lnTo>
                    <a:pt x="4617" y="1440"/>
                  </a:lnTo>
                  <a:lnTo>
                    <a:pt x="4557" y="1332"/>
                  </a:lnTo>
                  <a:lnTo>
                    <a:pt x="4605" y="1200"/>
                  </a:lnTo>
                  <a:lnTo>
                    <a:pt x="4653" y="1116"/>
                  </a:lnTo>
                  <a:lnTo>
                    <a:pt x="4557" y="1068"/>
                  </a:lnTo>
                  <a:lnTo>
                    <a:pt x="4557" y="996"/>
                  </a:lnTo>
                  <a:lnTo>
                    <a:pt x="4665" y="960"/>
                  </a:lnTo>
                  <a:lnTo>
                    <a:pt x="4749" y="912"/>
                  </a:lnTo>
                  <a:lnTo>
                    <a:pt x="4677" y="840"/>
                  </a:lnTo>
                  <a:lnTo>
                    <a:pt x="4593" y="852"/>
                  </a:lnTo>
                  <a:lnTo>
                    <a:pt x="4653" y="708"/>
                  </a:lnTo>
                  <a:lnTo>
                    <a:pt x="4653" y="576"/>
                  </a:lnTo>
                  <a:lnTo>
                    <a:pt x="4557" y="600"/>
                  </a:lnTo>
                  <a:lnTo>
                    <a:pt x="4461" y="708"/>
                  </a:lnTo>
                  <a:lnTo>
                    <a:pt x="4377" y="732"/>
                  </a:lnTo>
                  <a:lnTo>
                    <a:pt x="4377" y="624"/>
                  </a:lnTo>
                  <a:lnTo>
                    <a:pt x="4281" y="600"/>
                  </a:lnTo>
                  <a:lnTo>
                    <a:pt x="4197" y="564"/>
                  </a:lnTo>
                  <a:lnTo>
                    <a:pt x="4137" y="420"/>
                  </a:lnTo>
                  <a:lnTo>
                    <a:pt x="4029" y="300"/>
                  </a:lnTo>
                  <a:lnTo>
                    <a:pt x="4125" y="276"/>
                  </a:lnTo>
                  <a:lnTo>
                    <a:pt x="4185" y="204"/>
                  </a:lnTo>
                  <a:lnTo>
                    <a:pt x="4209" y="72"/>
                  </a:lnTo>
                  <a:lnTo>
                    <a:pt x="4101" y="24"/>
                  </a:lnTo>
                  <a:lnTo>
                    <a:pt x="3981" y="12"/>
                  </a:lnTo>
                  <a:lnTo>
                    <a:pt x="3885" y="0"/>
                  </a:lnTo>
                  <a:lnTo>
                    <a:pt x="3860" y="101"/>
                  </a:lnTo>
                  <a:lnTo>
                    <a:pt x="3805" y="219"/>
                  </a:lnTo>
                  <a:lnTo>
                    <a:pt x="3668" y="274"/>
                  </a:lnTo>
                  <a:lnTo>
                    <a:pt x="3512" y="366"/>
                  </a:lnTo>
                  <a:lnTo>
                    <a:pt x="3348" y="457"/>
                  </a:lnTo>
                  <a:lnTo>
                    <a:pt x="3211" y="494"/>
                  </a:lnTo>
                  <a:lnTo>
                    <a:pt x="3092" y="439"/>
                  </a:lnTo>
                  <a:lnTo>
                    <a:pt x="2991" y="347"/>
                  </a:lnTo>
                  <a:lnTo>
                    <a:pt x="2827" y="329"/>
                  </a:lnTo>
                  <a:lnTo>
                    <a:pt x="2717" y="274"/>
                  </a:lnTo>
                  <a:lnTo>
                    <a:pt x="2699" y="183"/>
                  </a:lnTo>
                  <a:lnTo>
                    <a:pt x="2639" y="113"/>
                  </a:lnTo>
                  <a:lnTo>
                    <a:pt x="2541" y="192"/>
                  </a:lnTo>
                  <a:lnTo>
                    <a:pt x="2437" y="168"/>
                  </a:lnTo>
                  <a:lnTo>
                    <a:pt x="2379" y="119"/>
                  </a:lnTo>
                  <a:lnTo>
                    <a:pt x="2278" y="73"/>
                  </a:lnTo>
                  <a:lnTo>
                    <a:pt x="2205" y="155"/>
                  </a:lnTo>
                  <a:lnTo>
                    <a:pt x="2141" y="128"/>
                  </a:lnTo>
                  <a:lnTo>
                    <a:pt x="2121" y="54"/>
                  </a:lnTo>
                  <a:lnTo>
                    <a:pt x="2004" y="137"/>
                  </a:lnTo>
                  <a:lnTo>
                    <a:pt x="1949" y="256"/>
                  </a:lnTo>
                  <a:lnTo>
                    <a:pt x="1858" y="320"/>
                  </a:lnTo>
                  <a:lnTo>
                    <a:pt x="1775" y="347"/>
                  </a:lnTo>
                  <a:lnTo>
                    <a:pt x="1757" y="494"/>
                  </a:lnTo>
                  <a:lnTo>
                    <a:pt x="1794" y="603"/>
                  </a:lnTo>
                  <a:lnTo>
                    <a:pt x="1794" y="695"/>
                  </a:lnTo>
                  <a:lnTo>
                    <a:pt x="1867" y="741"/>
                  </a:lnTo>
                  <a:lnTo>
                    <a:pt x="1940" y="759"/>
                  </a:lnTo>
                  <a:lnTo>
                    <a:pt x="1940" y="905"/>
                  </a:lnTo>
                  <a:lnTo>
                    <a:pt x="1885" y="942"/>
                  </a:lnTo>
                  <a:lnTo>
                    <a:pt x="1812" y="960"/>
                  </a:lnTo>
                  <a:lnTo>
                    <a:pt x="1848" y="1088"/>
                  </a:lnTo>
                  <a:lnTo>
                    <a:pt x="1784" y="1143"/>
                  </a:lnTo>
                  <a:lnTo>
                    <a:pt x="1720" y="1143"/>
                  </a:lnTo>
                  <a:lnTo>
                    <a:pt x="1666" y="1042"/>
                  </a:lnTo>
                  <a:lnTo>
                    <a:pt x="1592" y="978"/>
                  </a:lnTo>
                  <a:lnTo>
                    <a:pt x="1446" y="951"/>
                  </a:lnTo>
                  <a:lnTo>
                    <a:pt x="1437" y="841"/>
                  </a:lnTo>
                  <a:lnTo>
                    <a:pt x="1391" y="777"/>
                  </a:lnTo>
                  <a:lnTo>
                    <a:pt x="1336" y="695"/>
                  </a:lnTo>
                  <a:lnTo>
                    <a:pt x="1227" y="658"/>
                  </a:lnTo>
                  <a:lnTo>
                    <a:pt x="1126" y="631"/>
                  </a:lnTo>
                  <a:lnTo>
                    <a:pt x="1090" y="521"/>
                  </a:lnTo>
                  <a:lnTo>
                    <a:pt x="1035" y="448"/>
                  </a:lnTo>
                  <a:lnTo>
                    <a:pt x="943" y="421"/>
                  </a:lnTo>
                  <a:lnTo>
                    <a:pt x="824" y="421"/>
                  </a:lnTo>
                  <a:lnTo>
                    <a:pt x="788" y="329"/>
                  </a:lnTo>
                  <a:lnTo>
                    <a:pt x="651" y="375"/>
                  </a:lnTo>
                  <a:lnTo>
                    <a:pt x="660" y="494"/>
                  </a:lnTo>
                  <a:lnTo>
                    <a:pt x="605" y="558"/>
                  </a:lnTo>
                  <a:lnTo>
                    <a:pt x="596" y="658"/>
                  </a:lnTo>
                  <a:lnTo>
                    <a:pt x="550" y="741"/>
                  </a:lnTo>
                  <a:lnTo>
                    <a:pt x="450" y="731"/>
                  </a:lnTo>
                  <a:lnTo>
                    <a:pt x="349" y="686"/>
                  </a:lnTo>
                  <a:lnTo>
                    <a:pt x="248" y="658"/>
                  </a:lnTo>
                  <a:lnTo>
                    <a:pt x="312" y="777"/>
                  </a:lnTo>
                  <a:lnTo>
                    <a:pt x="212" y="850"/>
                  </a:lnTo>
                  <a:lnTo>
                    <a:pt x="285" y="914"/>
                  </a:lnTo>
                  <a:lnTo>
                    <a:pt x="239" y="1006"/>
                  </a:lnTo>
                  <a:lnTo>
                    <a:pt x="157" y="1106"/>
                  </a:lnTo>
                  <a:lnTo>
                    <a:pt x="0" y="1083"/>
                  </a:lnTo>
                  <a:lnTo>
                    <a:pt x="11" y="1253"/>
                  </a:lnTo>
                  <a:lnTo>
                    <a:pt x="2" y="1454"/>
                  </a:lnTo>
                  <a:lnTo>
                    <a:pt x="9" y="1632"/>
                  </a:lnTo>
                  <a:lnTo>
                    <a:pt x="117" y="1572"/>
                  </a:lnTo>
                  <a:lnTo>
                    <a:pt x="237" y="1668"/>
                  </a:lnTo>
                  <a:lnTo>
                    <a:pt x="333" y="1740"/>
                  </a:lnTo>
                  <a:lnTo>
                    <a:pt x="417" y="1848"/>
                  </a:lnTo>
                  <a:lnTo>
                    <a:pt x="561" y="1908"/>
                  </a:lnTo>
                  <a:lnTo>
                    <a:pt x="645" y="1980"/>
                  </a:lnTo>
                  <a:lnTo>
                    <a:pt x="765" y="1944"/>
                  </a:lnTo>
                  <a:lnTo>
                    <a:pt x="837" y="2004"/>
                  </a:lnTo>
                  <a:lnTo>
                    <a:pt x="717" y="2052"/>
                  </a:lnTo>
                  <a:lnTo>
                    <a:pt x="729" y="2136"/>
                  </a:lnTo>
                  <a:lnTo>
                    <a:pt x="693" y="2208"/>
                  </a:lnTo>
                  <a:lnTo>
                    <a:pt x="664" y="2290"/>
                  </a:lnTo>
                  <a:lnTo>
                    <a:pt x="669" y="2357"/>
                  </a:lnTo>
                  <a:lnTo>
                    <a:pt x="731" y="2386"/>
                  </a:lnTo>
                  <a:lnTo>
                    <a:pt x="753" y="2460"/>
                  </a:lnTo>
                  <a:lnTo>
                    <a:pt x="873" y="2556"/>
                  </a:lnTo>
                  <a:lnTo>
                    <a:pt x="933" y="2616"/>
                  </a:lnTo>
                  <a:lnTo>
                    <a:pt x="993" y="2612"/>
                  </a:lnTo>
                  <a:lnTo>
                    <a:pt x="1005" y="2472"/>
                  </a:lnTo>
                  <a:lnTo>
                    <a:pt x="1029" y="2340"/>
                  </a:lnTo>
                  <a:lnTo>
                    <a:pt x="1125" y="2244"/>
                  </a:lnTo>
                  <a:lnTo>
                    <a:pt x="1245" y="2208"/>
                  </a:lnTo>
                  <a:lnTo>
                    <a:pt x="1281" y="2280"/>
                  </a:lnTo>
                  <a:lnTo>
                    <a:pt x="1389" y="2232"/>
                  </a:lnTo>
                  <a:lnTo>
                    <a:pt x="1461" y="2184"/>
                  </a:lnTo>
                  <a:lnTo>
                    <a:pt x="1413" y="2100"/>
                  </a:lnTo>
                  <a:lnTo>
                    <a:pt x="1497" y="2040"/>
                  </a:lnTo>
                  <a:lnTo>
                    <a:pt x="1569" y="2124"/>
                  </a:lnTo>
                  <a:lnTo>
                    <a:pt x="1557" y="2220"/>
                  </a:lnTo>
                  <a:lnTo>
                    <a:pt x="1581" y="2292"/>
                  </a:lnTo>
                  <a:lnTo>
                    <a:pt x="1641" y="2340"/>
                  </a:lnTo>
                  <a:lnTo>
                    <a:pt x="1689" y="2412"/>
                  </a:lnTo>
                  <a:lnTo>
                    <a:pt x="1701" y="2496"/>
                  </a:lnTo>
                  <a:lnTo>
                    <a:pt x="1821" y="2556"/>
                  </a:lnTo>
                  <a:lnTo>
                    <a:pt x="1893" y="2616"/>
                  </a:lnTo>
                  <a:lnTo>
                    <a:pt x="2001" y="2664"/>
                  </a:lnTo>
                  <a:lnTo>
                    <a:pt x="2145" y="2676"/>
                  </a:lnTo>
                  <a:lnTo>
                    <a:pt x="2277" y="2736"/>
                  </a:lnTo>
                  <a:lnTo>
                    <a:pt x="2397" y="2796"/>
                  </a:lnTo>
                  <a:lnTo>
                    <a:pt x="2529" y="2820"/>
                  </a:lnTo>
                  <a:lnTo>
                    <a:pt x="2649" y="2808"/>
                  </a:lnTo>
                  <a:lnTo>
                    <a:pt x="2757" y="2760"/>
                  </a:lnTo>
                  <a:lnTo>
                    <a:pt x="2877" y="2676"/>
                  </a:lnTo>
                  <a:lnTo>
                    <a:pt x="2961" y="2544"/>
                  </a:lnTo>
                  <a:lnTo>
                    <a:pt x="2913" y="2400"/>
                  </a:lnTo>
                  <a:lnTo>
                    <a:pt x="2925" y="2280"/>
                  </a:lnTo>
                  <a:lnTo>
                    <a:pt x="2877" y="2160"/>
                  </a:lnTo>
                  <a:lnTo>
                    <a:pt x="2973" y="2148"/>
                  </a:lnTo>
                  <a:lnTo>
                    <a:pt x="3057" y="2184"/>
                  </a:lnTo>
                  <a:lnTo>
                    <a:pt x="3069" y="2052"/>
                  </a:lnTo>
                  <a:lnTo>
                    <a:pt x="3117" y="1968"/>
                  </a:lnTo>
                  <a:lnTo>
                    <a:pt x="2973" y="1908"/>
                  </a:lnTo>
                  <a:lnTo>
                    <a:pt x="2973" y="1800"/>
                  </a:lnTo>
                  <a:lnTo>
                    <a:pt x="3045" y="1764"/>
                  </a:lnTo>
                  <a:lnTo>
                    <a:pt x="3129" y="1800"/>
                  </a:lnTo>
                  <a:lnTo>
                    <a:pt x="3273" y="1812"/>
                  </a:lnTo>
                  <a:lnTo>
                    <a:pt x="3453" y="1788"/>
                  </a:lnTo>
                  <a:lnTo>
                    <a:pt x="3621" y="1776"/>
                  </a:lnTo>
                  <a:lnTo>
                    <a:pt x="3693" y="1788"/>
                  </a:lnTo>
                  <a:lnTo>
                    <a:pt x="3753" y="1896"/>
                  </a:lnTo>
                  <a:lnTo>
                    <a:pt x="3825" y="1824"/>
                  </a:lnTo>
                  <a:lnTo>
                    <a:pt x="3873" y="1728"/>
                  </a:lnTo>
                  <a:lnTo>
                    <a:pt x="3945" y="1752"/>
                  </a:lnTo>
                  <a:lnTo>
                    <a:pt x="4041" y="1824"/>
                  </a:lnTo>
                  <a:lnTo>
                    <a:pt x="4089" y="1944"/>
                  </a:lnTo>
                  <a:lnTo>
                    <a:pt x="4041" y="2052"/>
                  </a:lnTo>
                  <a:lnTo>
                    <a:pt x="3921" y="1920"/>
                  </a:lnTo>
                  <a:lnTo>
                    <a:pt x="3945" y="2040"/>
                  </a:lnTo>
                  <a:lnTo>
                    <a:pt x="3993" y="2172"/>
                  </a:lnTo>
                  <a:lnTo>
                    <a:pt x="3909" y="2268"/>
                  </a:lnTo>
                  <a:lnTo>
                    <a:pt x="3837" y="2376"/>
                  </a:lnTo>
                  <a:lnTo>
                    <a:pt x="3789" y="2508"/>
                  </a:lnTo>
                  <a:lnTo>
                    <a:pt x="3753" y="2604"/>
                  </a:lnTo>
                  <a:lnTo>
                    <a:pt x="3693" y="2736"/>
                  </a:lnTo>
                  <a:lnTo>
                    <a:pt x="3597" y="2808"/>
                  </a:lnTo>
                  <a:lnTo>
                    <a:pt x="3489" y="2856"/>
                  </a:lnTo>
                  <a:lnTo>
                    <a:pt x="3501" y="2964"/>
                  </a:lnTo>
                  <a:lnTo>
                    <a:pt x="3561" y="3024"/>
                  </a:lnTo>
                  <a:lnTo>
                    <a:pt x="3669" y="3000"/>
                  </a:lnTo>
                  <a:lnTo>
                    <a:pt x="3729" y="2916"/>
                  </a:lnTo>
                  <a:lnTo>
                    <a:pt x="3801" y="2928"/>
                  </a:lnTo>
                  <a:lnTo>
                    <a:pt x="3873" y="2916"/>
                  </a:lnTo>
                  <a:lnTo>
                    <a:pt x="3969" y="2916"/>
                  </a:lnTo>
                  <a:lnTo>
                    <a:pt x="4041" y="2988"/>
                  </a:lnTo>
                  <a:lnTo>
                    <a:pt x="4065" y="3084"/>
                  </a:lnTo>
                  <a:lnTo>
                    <a:pt x="4017" y="3168"/>
                  </a:lnTo>
                  <a:lnTo>
                    <a:pt x="4029" y="3252"/>
                  </a:lnTo>
                  <a:lnTo>
                    <a:pt x="4113" y="3300"/>
                  </a:lnTo>
                  <a:lnTo>
                    <a:pt x="4233" y="3324"/>
                  </a:lnTo>
                  <a:lnTo>
                    <a:pt x="4353" y="3396"/>
                  </a:lnTo>
                  <a:lnTo>
                    <a:pt x="4401" y="3492"/>
                  </a:lnTo>
                  <a:lnTo>
                    <a:pt x="4461" y="3636"/>
                  </a:lnTo>
                  <a:lnTo>
                    <a:pt x="4389" y="3696"/>
                  </a:lnTo>
                  <a:lnTo>
                    <a:pt x="4413" y="3804"/>
                  </a:lnTo>
                  <a:lnTo>
                    <a:pt x="4269" y="3744"/>
                  </a:lnTo>
                  <a:lnTo>
                    <a:pt x="4209" y="3636"/>
                  </a:lnTo>
                  <a:lnTo>
                    <a:pt x="4113" y="3564"/>
                  </a:lnTo>
                  <a:lnTo>
                    <a:pt x="3945" y="3540"/>
                  </a:lnTo>
                  <a:lnTo>
                    <a:pt x="3825" y="3528"/>
                  </a:lnTo>
                  <a:lnTo>
                    <a:pt x="3825" y="3648"/>
                  </a:lnTo>
                  <a:lnTo>
                    <a:pt x="3789" y="3756"/>
                  </a:lnTo>
                  <a:lnTo>
                    <a:pt x="3741" y="3840"/>
                  </a:lnTo>
                  <a:lnTo>
                    <a:pt x="3693" y="3924"/>
                  </a:lnTo>
                  <a:lnTo>
                    <a:pt x="3729" y="4020"/>
                  </a:lnTo>
                  <a:lnTo>
                    <a:pt x="3645" y="4056"/>
                  </a:lnTo>
                  <a:lnTo>
                    <a:pt x="3573" y="3984"/>
                  </a:lnTo>
                  <a:lnTo>
                    <a:pt x="3561" y="3900"/>
                  </a:lnTo>
                  <a:lnTo>
                    <a:pt x="3501" y="3804"/>
                  </a:lnTo>
                  <a:lnTo>
                    <a:pt x="3597" y="3744"/>
                  </a:lnTo>
                  <a:lnTo>
                    <a:pt x="3621" y="3612"/>
                  </a:lnTo>
                  <a:lnTo>
                    <a:pt x="3681" y="3576"/>
                  </a:lnTo>
                  <a:lnTo>
                    <a:pt x="3681" y="3516"/>
                  </a:lnTo>
                  <a:lnTo>
                    <a:pt x="3537" y="3516"/>
                  </a:lnTo>
                  <a:lnTo>
                    <a:pt x="3477" y="3456"/>
                  </a:lnTo>
                  <a:lnTo>
                    <a:pt x="3453" y="3396"/>
                  </a:lnTo>
                  <a:lnTo>
                    <a:pt x="3357" y="3420"/>
                  </a:lnTo>
                  <a:lnTo>
                    <a:pt x="3309" y="3420"/>
                  </a:lnTo>
                  <a:lnTo>
                    <a:pt x="3249" y="3504"/>
                  </a:lnTo>
                  <a:lnTo>
                    <a:pt x="3297" y="3624"/>
                  </a:lnTo>
                  <a:lnTo>
                    <a:pt x="3297" y="3732"/>
                  </a:lnTo>
                  <a:lnTo>
                    <a:pt x="3237" y="3828"/>
                  </a:lnTo>
                  <a:lnTo>
                    <a:pt x="3237" y="3924"/>
                  </a:lnTo>
                  <a:lnTo>
                    <a:pt x="3345" y="3936"/>
                  </a:lnTo>
                  <a:lnTo>
                    <a:pt x="3417" y="3960"/>
                  </a:lnTo>
                  <a:lnTo>
                    <a:pt x="3441" y="4104"/>
                  </a:lnTo>
                  <a:lnTo>
                    <a:pt x="3513" y="4188"/>
                  </a:lnTo>
                  <a:lnTo>
                    <a:pt x="3393" y="4272"/>
                  </a:lnTo>
                  <a:lnTo>
                    <a:pt x="3381" y="4404"/>
                  </a:lnTo>
                  <a:lnTo>
                    <a:pt x="3333" y="4464"/>
                  </a:lnTo>
                  <a:lnTo>
                    <a:pt x="3369" y="4584"/>
                  </a:lnTo>
                  <a:lnTo>
                    <a:pt x="3249" y="4572"/>
                  </a:lnTo>
                  <a:lnTo>
                    <a:pt x="3177" y="4560"/>
                  </a:lnTo>
                  <a:lnTo>
                    <a:pt x="3057" y="4548"/>
                  </a:lnTo>
                  <a:lnTo>
                    <a:pt x="2949" y="4644"/>
                  </a:lnTo>
                  <a:lnTo>
                    <a:pt x="2829" y="4632"/>
                  </a:lnTo>
                  <a:lnTo>
                    <a:pt x="2721" y="4608"/>
                  </a:lnTo>
                  <a:lnTo>
                    <a:pt x="2613" y="4632"/>
                  </a:lnTo>
                  <a:lnTo>
                    <a:pt x="2469" y="4668"/>
                  </a:lnTo>
                  <a:lnTo>
                    <a:pt x="2421" y="4848"/>
                  </a:lnTo>
                  <a:lnTo>
                    <a:pt x="2457" y="4980"/>
                  </a:lnTo>
                  <a:lnTo>
                    <a:pt x="2445" y="5052"/>
                  </a:lnTo>
                  <a:lnTo>
                    <a:pt x="2361" y="5184"/>
                  </a:lnTo>
                  <a:lnTo>
                    <a:pt x="2301" y="5274"/>
                  </a:lnTo>
                  <a:lnTo>
                    <a:pt x="2505" y="5340"/>
                  </a:lnTo>
                  <a:lnTo>
                    <a:pt x="2985" y="5640"/>
                  </a:lnTo>
                  <a:lnTo>
                    <a:pt x="3525" y="6036"/>
                  </a:lnTo>
                  <a:lnTo>
                    <a:pt x="3885" y="6048"/>
                  </a:lnTo>
                  <a:lnTo>
                    <a:pt x="4797" y="6216"/>
                  </a:lnTo>
                  <a:lnTo>
                    <a:pt x="4989" y="5952"/>
                  </a:lnTo>
                  <a:lnTo>
                    <a:pt x="5109" y="5820"/>
                  </a:lnTo>
                  <a:lnTo>
                    <a:pt x="5865" y="5448"/>
                  </a:lnTo>
                  <a:lnTo>
                    <a:pt x="5877" y="5352"/>
                  </a:lnTo>
                  <a:lnTo>
                    <a:pt x="5817" y="5232"/>
                  </a:lnTo>
                  <a:lnTo>
                    <a:pt x="5889" y="5184"/>
                  </a:lnTo>
                  <a:lnTo>
                    <a:pt x="5985" y="5220"/>
                  </a:lnTo>
                  <a:lnTo>
                    <a:pt x="6081" y="5124"/>
                  </a:lnTo>
                  <a:lnTo>
                    <a:pt x="6213" y="5088"/>
                  </a:lnTo>
                  <a:lnTo>
                    <a:pt x="6213" y="4980"/>
                  </a:lnTo>
                  <a:lnTo>
                    <a:pt x="6309" y="5004"/>
                  </a:lnTo>
                  <a:lnTo>
                    <a:pt x="6441" y="4980"/>
                  </a:lnTo>
                  <a:lnTo>
                    <a:pt x="6609" y="4992"/>
                  </a:lnTo>
                  <a:lnTo>
                    <a:pt x="6537" y="4860"/>
                  </a:lnTo>
                  <a:lnTo>
                    <a:pt x="6441" y="4776"/>
                  </a:lnTo>
                  <a:lnTo>
                    <a:pt x="6357" y="4680"/>
                  </a:lnTo>
                  <a:lnTo>
                    <a:pt x="6357" y="4548"/>
                  </a:lnTo>
                  <a:lnTo>
                    <a:pt x="6285" y="4404"/>
                  </a:lnTo>
                  <a:lnTo>
                    <a:pt x="6237" y="4344"/>
                  </a:lnTo>
                  <a:lnTo>
                    <a:pt x="6285" y="4296"/>
                  </a:lnTo>
                  <a:lnTo>
                    <a:pt x="6345" y="4152"/>
                  </a:lnTo>
                  <a:lnTo>
                    <a:pt x="6285" y="4116"/>
                  </a:lnTo>
                  <a:lnTo>
                    <a:pt x="6213" y="4056"/>
                  </a:lnTo>
                  <a:lnTo>
                    <a:pt x="6177" y="3948"/>
                  </a:lnTo>
                  <a:lnTo>
                    <a:pt x="6093" y="3948"/>
                  </a:lnTo>
                  <a:lnTo>
                    <a:pt x="6057" y="3852"/>
                  </a:lnTo>
                  <a:lnTo>
                    <a:pt x="5961" y="3816"/>
                  </a:lnTo>
                  <a:lnTo>
                    <a:pt x="5985" y="3708"/>
                  </a:lnTo>
                  <a:lnTo>
                    <a:pt x="5985" y="3588"/>
                  </a:lnTo>
                  <a:lnTo>
                    <a:pt x="6105" y="3588"/>
                  </a:lnTo>
                  <a:lnTo>
                    <a:pt x="6117" y="3492"/>
                  </a:lnTo>
                  <a:lnTo>
                    <a:pt x="6177" y="3336"/>
                  </a:lnTo>
                  <a:lnTo>
                    <a:pt x="6285" y="3444"/>
                  </a:lnTo>
                  <a:lnTo>
                    <a:pt x="6357" y="3552"/>
                  </a:lnTo>
                  <a:lnTo>
                    <a:pt x="6429" y="3684"/>
                  </a:lnTo>
                  <a:lnTo>
                    <a:pt x="6489" y="3756"/>
                  </a:lnTo>
                  <a:lnTo>
                    <a:pt x="6561" y="3828"/>
                  </a:lnTo>
                  <a:lnTo>
                    <a:pt x="6693" y="3720"/>
                  </a:lnTo>
                  <a:lnTo>
                    <a:pt x="6681" y="3576"/>
                  </a:lnTo>
                  <a:lnTo>
                    <a:pt x="6789" y="3456"/>
                  </a:lnTo>
                  <a:lnTo>
                    <a:pt x="6909" y="3432"/>
                  </a:lnTo>
                  <a:lnTo>
                    <a:pt x="6981" y="3384"/>
                  </a:lnTo>
                  <a:lnTo>
                    <a:pt x="7053" y="3252"/>
                  </a:lnTo>
                  <a:lnTo>
                    <a:pt x="7065" y="3108"/>
                  </a:lnTo>
                  <a:lnTo>
                    <a:pt x="7137" y="3024"/>
                  </a:lnTo>
                  <a:lnTo>
                    <a:pt x="7185" y="2868"/>
                  </a:lnTo>
                  <a:lnTo>
                    <a:pt x="7161" y="2760"/>
                  </a:lnTo>
                  <a:lnTo>
                    <a:pt x="7077" y="2640"/>
                  </a:lnTo>
                  <a:lnTo>
                    <a:pt x="7005" y="2556"/>
                  </a:lnTo>
                  <a:lnTo>
                    <a:pt x="7017" y="2436"/>
                  </a:lnTo>
                  <a:lnTo>
                    <a:pt x="6993" y="2316"/>
                  </a:lnTo>
                  <a:lnTo>
                    <a:pt x="7017" y="2172"/>
                  </a:lnTo>
                  <a:lnTo>
                    <a:pt x="7053" y="1980"/>
                  </a:lnTo>
                  <a:lnTo>
                    <a:pt x="7125" y="1860"/>
                  </a:lnTo>
                  <a:lnTo>
                    <a:pt x="7185" y="1752"/>
                  </a:lnTo>
                  <a:lnTo>
                    <a:pt x="7137" y="1632"/>
                  </a:lnTo>
                  <a:lnTo>
                    <a:pt x="7209" y="1560"/>
                  </a:lnTo>
                  <a:lnTo>
                    <a:pt x="7269" y="1632"/>
                  </a:lnTo>
                  <a:lnTo>
                    <a:pt x="7353" y="1668"/>
                  </a:lnTo>
                  <a:lnTo>
                    <a:pt x="7437" y="1704"/>
                  </a:lnTo>
                  <a:lnTo>
                    <a:pt x="7473" y="1800"/>
                  </a:lnTo>
                  <a:lnTo>
                    <a:pt x="7509" y="1932"/>
                  </a:lnTo>
                  <a:lnTo>
                    <a:pt x="7545" y="2004"/>
                  </a:lnTo>
                  <a:lnTo>
                    <a:pt x="7605" y="1932"/>
                  </a:lnTo>
                  <a:lnTo>
                    <a:pt x="7689" y="1824"/>
                  </a:lnTo>
                  <a:lnTo>
                    <a:pt x="7785" y="1788"/>
                  </a:lnTo>
                  <a:lnTo>
                    <a:pt x="7785" y="1632"/>
                  </a:lnTo>
                  <a:lnTo>
                    <a:pt x="7713" y="1560"/>
                  </a:lnTo>
                  <a:lnTo>
                    <a:pt x="7725" y="1440"/>
                  </a:lnTo>
                  <a:lnTo>
                    <a:pt x="7701" y="1368"/>
                  </a:lnTo>
                  <a:lnTo>
                    <a:pt x="7629" y="1236"/>
                  </a:lnTo>
                  <a:lnTo>
                    <a:pt x="7545" y="1152"/>
                  </a:lnTo>
                  <a:lnTo>
                    <a:pt x="7497" y="1068"/>
                  </a:lnTo>
                  <a:lnTo>
                    <a:pt x="7485" y="924"/>
                  </a:lnTo>
                  <a:lnTo>
                    <a:pt x="7401" y="840"/>
                  </a:lnTo>
                  <a:lnTo>
                    <a:pt x="7341" y="744"/>
                  </a:lnTo>
                  <a:lnTo>
                    <a:pt x="7329" y="648"/>
                  </a:lnTo>
                  <a:lnTo>
                    <a:pt x="7257" y="612"/>
                  </a:lnTo>
                  <a:lnTo>
                    <a:pt x="7197" y="648"/>
                  </a:lnTo>
                  <a:lnTo>
                    <a:pt x="7101" y="672"/>
                  </a:lnTo>
                  <a:lnTo>
                    <a:pt x="7077" y="816"/>
                  </a:lnTo>
                  <a:lnTo>
                    <a:pt x="6945" y="804"/>
                  </a:lnTo>
                  <a:lnTo>
                    <a:pt x="6801" y="840"/>
                  </a:lnTo>
                  <a:lnTo>
                    <a:pt x="6705" y="792"/>
                  </a:lnTo>
                  <a:lnTo>
                    <a:pt x="6609" y="816"/>
                  </a:lnTo>
                  <a:lnTo>
                    <a:pt x="6477" y="840"/>
                  </a:lnTo>
                  <a:lnTo>
                    <a:pt x="6357" y="792"/>
                  </a:lnTo>
                  <a:lnTo>
                    <a:pt x="6273" y="840"/>
                  </a:lnTo>
                  <a:lnTo>
                    <a:pt x="6165" y="912"/>
                  </a:lnTo>
                  <a:lnTo>
                    <a:pt x="6081" y="960"/>
                  </a:lnTo>
                  <a:lnTo>
                    <a:pt x="5985" y="984"/>
                  </a:lnTo>
                  <a:lnTo>
                    <a:pt x="5925" y="936"/>
                  </a:lnTo>
                  <a:lnTo>
                    <a:pt x="6021" y="876"/>
                  </a:lnTo>
                  <a:lnTo>
                    <a:pt x="5949" y="828"/>
                  </a:lnTo>
                  <a:lnTo>
                    <a:pt x="5861" y="8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200" b="1" kern="0">
                <a:solidFill>
                  <a:srgbClr val="000000"/>
                </a:solidFill>
                <a:latin typeface="Arial" charset="0"/>
              </a:endParaRPr>
            </a:p>
          </p:txBody>
        </p:sp>
        <p:sp>
          <p:nvSpPr>
            <p:cNvPr id="5" name="Freeform 6">
              <a:extLst>
                <a:ext uri="{FF2B5EF4-FFF2-40B4-BE49-F238E27FC236}">
                  <a16:creationId xmlns:a16="http://schemas.microsoft.com/office/drawing/2014/main" id="{A1ED4CD8-95BC-4D1E-8498-A4BED3F4014A}"/>
                </a:ext>
              </a:extLst>
            </p:cNvPr>
            <p:cNvSpPr>
              <a:spLocks/>
            </p:cNvSpPr>
            <p:nvPr/>
          </p:nvSpPr>
          <p:spPr bwMode="auto">
            <a:xfrm>
              <a:off x="4667679" y="2467363"/>
              <a:ext cx="1816779" cy="1777345"/>
            </a:xfrm>
            <a:custGeom>
              <a:avLst/>
              <a:gdLst>
                <a:gd name="T0" fmla="*/ 84 w 6450"/>
                <a:gd name="T1" fmla="*/ 1236 h 6311"/>
                <a:gd name="T2" fmla="*/ 228 w 6450"/>
                <a:gd name="T3" fmla="*/ 900 h 6311"/>
                <a:gd name="T4" fmla="*/ 372 w 6450"/>
                <a:gd name="T5" fmla="*/ 420 h 6311"/>
                <a:gd name="T6" fmla="*/ 588 w 6450"/>
                <a:gd name="T7" fmla="*/ 84 h 6311"/>
                <a:gd name="T8" fmla="*/ 1500 w 6450"/>
                <a:gd name="T9" fmla="*/ 60 h 6311"/>
                <a:gd name="T10" fmla="*/ 2004 w 6450"/>
                <a:gd name="T11" fmla="*/ 60 h 6311"/>
                <a:gd name="T12" fmla="*/ 1884 w 6450"/>
                <a:gd name="T13" fmla="*/ 624 h 6311"/>
                <a:gd name="T14" fmla="*/ 2112 w 6450"/>
                <a:gd name="T15" fmla="*/ 1020 h 6311"/>
                <a:gd name="T16" fmla="*/ 2436 w 6450"/>
                <a:gd name="T17" fmla="*/ 1404 h 6311"/>
                <a:gd name="T18" fmla="*/ 3072 w 6450"/>
                <a:gd name="T19" fmla="*/ 1884 h 6311"/>
                <a:gd name="T20" fmla="*/ 5652 w 6450"/>
                <a:gd name="T21" fmla="*/ 2748 h 6311"/>
                <a:gd name="T22" fmla="*/ 2964 w 6450"/>
                <a:gd name="T23" fmla="*/ 5460 h 6311"/>
                <a:gd name="T24" fmla="*/ 1992 w 6450"/>
                <a:gd name="T25" fmla="*/ 5940 h 6311"/>
                <a:gd name="T26" fmla="*/ 1017 w 6450"/>
                <a:gd name="T27" fmla="*/ 6311 h 6311"/>
                <a:gd name="T28" fmla="*/ 444 w 6450"/>
                <a:gd name="T29" fmla="*/ 6300 h 6311"/>
                <a:gd name="T30" fmla="*/ 72 w 6450"/>
                <a:gd name="T31" fmla="*/ 5940 h 6311"/>
                <a:gd name="T32" fmla="*/ 180 w 6450"/>
                <a:gd name="T33" fmla="*/ 5808 h 6311"/>
                <a:gd name="T34" fmla="*/ 408 w 6450"/>
                <a:gd name="T35" fmla="*/ 5568 h 6311"/>
                <a:gd name="T36" fmla="*/ 804 w 6450"/>
                <a:gd name="T37" fmla="*/ 5580 h 6311"/>
                <a:gd name="T38" fmla="*/ 552 w 6450"/>
                <a:gd name="T39" fmla="*/ 5268 h 6311"/>
                <a:gd name="T40" fmla="*/ 432 w 6450"/>
                <a:gd name="T41" fmla="*/ 4932 h 6311"/>
                <a:gd name="T42" fmla="*/ 480 w 6450"/>
                <a:gd name="T43" fmla="*/ 4704 h 6311"/>
                <a:gd name="T44" fmla="*/ 288 w 6450"/>
                <a:gd name="T45" fmla="*/ 4536 h 6311"/>
                <a:gd name="T46" fmla="*/ 180 w 6450"/>
                <a:gd name="T47" fmla="*/ 4296 h 6311"/>
                <a:gd name="T48" fmla="*/ 312 w 6450"/>
                <a:gd name="T49" fmla="*/ 4080 h 6311"/>
                <a:gd name="T50" fmla="*/ 552 w 6450"/>
                <a:gd name="T51" fmla="*/ 4140 h 6311"/>
                <a:gd name="T52" fmla="*/ 756 w 6450"/>
                <a:gd name="T53" fmla="*/ 4416 h 6311"/>
                <a:gd name="T54" fmla="*/ 984 w 6450"/>
                <a:gd name="T55" fmla="*/ 4044 h 6311"/>
                <a:gd name="T56" fmla="*/ 1248 w 6450"/>
                <a:gd name="T57" fmla="*/ 3840 h 6311"/>
                <a:gd name="T58" fmla="*/ 1380 w 6450"/>
                <a:gd name="T59" fmla="*/ 3456 h 6311"/>
                <a:gd name="T60" fmla="*/ 1200 w 6450"/>
                <a:gd name="T61" fmla="*/ 3144 h 6311"/>
                <a:gd name="T62" fmla="*/ 1212 w 6450"/>
                <a:gd name="T63" fmla="*/ 2760 h 6311"/>
                <a:gd name="T64" fmla="*/ 1380 w 6450"/>
                <a:gd name="T65" fmla="*/ 2340 h 6311"/>
                <a:gd name="T66" fmla="*/ 1464 w 6450"/>
                <a:gd name="T67" fmla="*/ 2220 h 6311"/>
                <a:gd name="T68" fmla="*/ 1668 w 6450"/>
                <a:gd name="T69" fmla="*/ 2388 h 6311"/>
                <a:gd name="T70" fmla="*/ 1800 w 6450"/>
                <a:gd name="T71" fmla="*/ 2520 h 6311"/>
                <a:gd name="T72" fmla="*/ 1980 w 6450"/>
                <a:gd name="T73" fmla="*/ 2220 h 6311"/>
                <a:gd name="T74" fmla="*/ 1896 w 6450"/>
                <a:gd name="T75" fmla="*/ 1956 h 6311"/>
                <a:gd name="T76" fmla="*/ 1692 w 6450"/>
                <a:gd name="T77" fmla="*/ 1656 h 6311"/>
                <a:gd name="T78" fmla="*/ 1536 w 6450"/>
                <a:gd name="T79" fmla="*/ 1332 h 6311"/>
                <a:gd name="T80" fmla="*/ 1391 w 6450"/>
                <a:gd name="T81" fmla="*/ 1236 h 6311"/>
                <a:gd name="T82" fmla="*/ 1140 w 6450"/>
                <a:gd name="T83" fmla="*/ 1392 h 6311"/>
                <a:gd name="T84" fmla="*/ 804 w 6450"/>
                <a:gd name="T85" fmla="*/ 1404 h 6311"/>
                <a:gd name="T86" fmla="*/ 468 w 6450"/>
                <a:gd name="T87" fmla="*/ 1428 h 6311"/>
                <a:gd name="T88" fmla="*/ 180 w 6450"/>
                <a:gd name="T89" fmla="*/ 1572 h 6311"/>
                <a:gd name="T90" fmla="*/ 144 w 6450"/>
                <a:gd name="T91" fmla="*/ 1416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50" h="6311">
                  <a:moveTo>
                    <a:pt x="56" y="1428"/>
                  </a:moveTo>
                  <a:lnTo>
                    <a:pt x="0" y="1380"/>
                  </a:lnTo>
                  <a:lnTo>
                    <a:pt x="84" y="1236"/>
                  </a:lnTo>
                  <a:lnTo>
                    <a:pt x="144" y="1140"/>
                  </a:lnTo>
                  <a:lnTo>
                    <a:pt x="288" y="1020"/>
                  </a:lnTo>
                  <a:lnTo>
                    <a:pt x="228" y="900"/>
                  </a:lnTo>
                  <a:lnTo>
                    <a:pt x="276" y="756"/>
                  </a:lnTo>
                  <a:lnTo>
                    <a:pt x="324" y="588"/>
                  </a:lnTo>
                  <a:lnTo>
                    <a:pt x="372" y="420"/>
                  </a:lnTo>
                  <a:lnTo>
                    <a:pt x="384" y="300"/>
                  </a:lnTo>
                  <a:lnTo>
                    <a:pt x="480" y="192"/>
                  </a:lnTo>
                  <a:lnTo>
                    <a:pt x="588" y="84"/>
                  </a:lnTo>
                  <a:lnTo>
                    <a:pt x="978" y="84"/>
                  </a:lnTo>
                  <a:lnTo>
                    <a:pt x="1224" y="84"/>
                  </a:lnTo>
                  <a:lnTo>
                    <a:pt x="1500" y="60"/>
                  </a:lnTo>
                  <a:lnTo>
                    <a:pt x="1716" y="0"/>
                  </a:lnTo>
                  <a:lnTo>
                    <a:pt x="1824" y="0"/>
                  </a:lnTo>
                  <a:lnTo>
                    <a:pt x="2004" y="60"/>
                  </a:lnTo>
                  <a:lnTo>
                    <a:pt x="1908" y="228"/>
                  </a:lnTo>
                  <a:lnTo>
                    <a:pt x="1788" y="420"/>
                  </a:lnTo>
                  <a:lnTo>
                    <a:pt x="1884" y="624"/>
                  </a:lnTo>
                  <a:lnTo>
                    <a:pt x="1980" y="780"/>
                  </a:lnTo>
                  <a:lnTo>
                    <a:pt x="2076" y="900"/>
                  </a:lnTo>
                  <a:lnTo>
                    <a:pt x="2112" y="1020"/>
                  </a:lnTo>
                  <a:lnTo>
                    <a:pt x="2268" y="1044"/>
                  </a:lnTo>
                  <a:lnTo>
                    <a:pt x="2340" y="1236"/>
                  </a:lnTo>
                  <a:lnTo>
                    <a:pt x="2436" y="1404"/>
                  </a:lnTo>
                  <a:lnTo>
                    <a:pt x="2640" y="1560"/>
                  </a:lnTo>
                  <a:lnTo>
                    <a:pt x="2892" y="1740"/>
                  </a:lnTo>
                  <a:lnTo>
                    <a:pt x="3072" y="1884"/>
                  </a:lnTo>
                  <a:lnTo>
                    <a:pt x="3792" y="2112"/>
                  </a:lnTo>
                  <a:lnTo>
                    <a:pt x="4668" y="2412"/>
                  </a:lnTo>
                  <a:lnTo>
                    <a:pt x="5652" y="2748"/>
                  </a:lnTo>
                  <a:lnTo>
                    <a:pt x="6450" y="2712"/>
                  </a:lnTo>
                  <a:lnTo>
                    <a:pt x="3840" y="5502"/>
                  </a:lnTo>
                  <a:lnTo>
                    <a:pt x="2964" y="5460"/>
                  </a:lnTo>
                  <a:lnTo>
                    <a:pt x="2412" y="5604"/>
                  </a:lnTo>
                  <a:lnTo>
                    <a:pt x="2172" y="5724"/>
                  </a:lnTo>
                  <a:lnTo>
                    <a:pt x="1992" y="5940"/>
                  </a:lnTo>
                  <a:lnTo>
                    <a:pt x="1752" y="6072"/>
                  </a:lnTo>
                  <a:lnTo>
                    <a:pt x="1260" y="6132"/>
                  </a:lnTo>
                  <a:lnTo>
                    <a:pt x="1017" y="6311"/>
                  </a:lnTo>
                  <a:lnTo>
                    <a:pt x="948" y="6300"/>
                  </a:lnTo>
                  <a:lnTo>
                    <a:pt x="684" y="6300"/>
                  </a:lnTo>
                  <a:lnTo>
                    <a:pt x="444" y="6300"/>
                  </a:lnTo>
                  <a:lnTo>
                    <a:pt x="300" y="6192"/>
                  </a:lnTo>
                  <a:lnTo>
                    <a:pt x="60" y="6036"/>
                  </a:lnTo>
                  <a:lnTo>
                    <a:pt x="72" y="5940"/>
                  </a:lnTo>
                  <a:lnTo>
                    <a:pt x="12" y="5820"/>
                  </a:lnTo>
                  <a:lnTo>
                    <a:pt x="84" y="5772"/>
                  </a:lnTo>
                  <a:lnTo>
                    <a:pt x="180" y="5808"/>
                  </a:lnTo>
                  <a:lnTo>
                    <a:pt x="276" y="5712"/>
                  </a:lnTo>
                  <a:lnTo>
                    <a:pt x="408" y="5676"/>
                  </a:lnTo>
                  <a:lnTo>
                    <a:pt x="408" y="5568"/>
                  </a:lnTo>
                  <a:lnTo>
                    <a:pt x="504" y="5592"/>
                  </a:lnTo>
                  <a:lnTo>
                    <a:pt x="636" y="5568"/>
                  </a:lnTo>
                  <a:lnTo>
                    <a:pt x="804" y="5580"/>
                  </a:lnTo>
                  <a:lnTo>
                    <a:pt x="732" y="5448"/>
                  </a:lnTo>
                  <a:lnTo>
                    <a:pt x="636" y="5364"/>
                  </a:lnTo>
                  <a:lnTo>
                    <a:pt x="552" y="5268"/>
                  </a:lnTo>
                  <a:lnTo>
                    <a:pt x="552" y="5136"/>
                  </a:lnTo>
                  <a:lnTo>
                    <a:pt x="480" y="4992"/>
                  </a:lnTo>
                  <a:lnTo>
                    <a:pt x="432" y="4932"/>
                  </a:lnTo>
                  <a:lnTo>
                    <a:pt x="480" y="4884"/>
                  </a:lnTo>
                  <a:lnTo>
                    <a:pt x="540" y="4740"/>
                  </a:lnTo>
                  <a:lnTo>
                    <a:pt x="480" y="4704"/>
                  </a:lnTo>
                  <a:lnTo>
                    <a:pt x="408" y="4644"/>
                  </a:lnTo>
                  <a:lnTo>
                    <a:pt x="372" y="4536"/>
                  </a:lnTo>
                  <a:lnTo>
                    <a:pt x="288" y="4536"/>
                  </a:lnTo>
                  <a:lnTo>
                    <a:pt x="252" y="4440"/>
                  </a:lnTo>
                  <a:lnTo>
                    <a:pt x="156" y="4404"/>
                  </a:lnTo>
                  <a:lnTo>
                    <a:pt x="180" y="4296"/>
                  </a:lnTo>
                  <a:lnTo>
                    <a:pt x="180" y="4176"/>
                  </a:lnTo>
                  <a:lnTo>
                    <a:pt x="300" y="4176"/>
                  </a:lnTo>
                  <a:lnTo>
                    <a:pt x="312" y="4080"/>
                  </a:lnTo>
                  <a:lnTo>
                    <a:pt x="372" y="3924"/>
                  </a:lnTo>
                  <a:lnTo>
                    <a:pt x="480" y="4032"/>
                  </a:lnTo>
                  <a:lnTo>
                    <a:pt x="552" y="4140"/>
                  </a:lnTo>
                  <a:lnTo>
                    <a:pt x="624" y="4272"/>
                  </a:lnTo>
                  <a:lnTo>
                    <a:pt x="684" y="4344"/>
                  </a:lnTo>
                  <a:lnTo>
                    <a:pt x="756" y="4416"/>
                  </a:lnTo>
                  <a:lnTo>
                    <a:pt x="888" y="4308"/>
                  </a:lnTo>
                  <a:lnTo>
                    <a:pt x="876" y="4164"/>
                  </a:lnTo>
                  <a:lnTo>
                    <a:pt x="984" y="4044"/>
                  </a:lnTo>
                  <a:lnTo>
                    <a:pt x="1104" y="4020"/>
                  </a:lnTo>
                  <a:lnTo>
                    <a:pt x="1176" y="3972"/>
                  </a:lnTo>
                  <a:lnTo>
                    <a:pt x="1248" y="3840"/>
                  </a:lnTo>
                  <a:lnTo>
                    <a:pt x="1260" y="3696"/>
                  </a:lnTo>
                  <a:lnTo>
                    <a:pt x="1332" y="3612"/>
                  </a:lnTo>
                  <a:lnTo>
                    <a:pt x="1380" y="3456"/>
                  </a:lnTo>
                  <a:lnTo>
                    <a:pt x="1356" y="3348"/>
                  </a:lnTo>
                  <a:lnTo>
                    <a:pt x="1272" y="3228"/>
                  </a:lnTo>
                  <a:lnTo>
                    <a:pt x="1200" y="3144"/>
                  </a:lnTo>
                  <a:lnTo>
                    <a:pt x="1212" y="3024"/>
                  </a:lnTo>
                  <a:lnTo>
                    <a:pt x="1188" y="2904"/>
                  </a:lnTo>
                  <a:lnTo>
                    <a:pt x="1212" y="2760"/>
                  </a:lnTo>
                  <a:lnTo>
                    <a:pt x="1248" y="2568"/>
                  </a:lnTo>
                  <a:lnTo>
                    <a:pt x="1320" y="2448"/>
                  </a:lnTo>
                  <a:lnTo>
                    <a:pt x="1380" y="2340"/>
                  </a:lnTo>
                  <a:lnTo>
                    <a:pt x="1332" y="2220"/>
                  </a:lnTo>
                  <a:lnTo>
                    <a:pt x="1404" y="2148"/>
                  </a:lnTo>
                  <a:lnTo>
                    <a:pt x="1464" y="2220"/>
                  </a:lnTo>
                  <a:lnTo>
                    <a:pt x="1548" y="2256"/>
                  </a:lnTo>
                  <a:lnTo>
                    <a:pt x="1632" y="2292"/>
                  </a:lnTo>
                  <a:lnTo>
                    <a:pt x="1668" y="2388"/>
                  </a:lnTo>
                  <a:lnTo>
                    <a:pt x="1704" y="2520"/>
                  </a:lnTo>
                  <a:lnTo>
                    <a:pt x="1740" y="2592"/>
                  </a:lnTo>
                  <a:lnTo>
                    <a:pt x="1800" y="2520"/>
                  </a:lnTo>
                  <a:lnTo>
                    <a:pt x="1884" y="2412"/>
                  </a:lnTo>
                  <a:lnTo>
                    <a:pt x="1980" y="2376"/>
                  </a:lnTo>
                  <a:lnTo>
                    <a:pt x="1980" y="2220"/>
                  </a:lnTo>
                  <a:lnTo>
                    <a:pt x="1908" y="2148"/>
                  </a:lnTo>
                  <a:lnTo>
                    <a:pt x="1920" y="2028"/>
                  </a:lnTo>
                  <a:lnTo>
                    <a:pt x="1896" y="1956"/>
                  </a:lnTo>
                  <a:lnTo>
                    <a:pt x="1824" y="1824"/>
                  </a:lnTo>
                  <a:lnTo>
                    <a:pt x="1740" y="1740"/>
                  </a:lnTo>
                  <a:lnTo>
                    <a:pt x="1692" y="1656"/>
                  </a:lnTo>
                  <a:lnTo>
                    <a:pt x="1680" y="1512"/>
                  </a:lnTo>
                  <a:lnTo>
                    <a:pt x="1596" y="1428"/>
                  </a:lnTo>
                  <a:lnTo>
                    <a:pt x="1536" y="1332"/>
                  </a:lnTo>
                  <a:lnTo>
                    <a:pt x="1524" y="1236"/>
                  </a:lnTo>
                  <a:lnTo>
                    <a:pt x="1452" y="1200"/>
                  </a:lnTo>
                  <a:lnTo>
                    <a:pt x="1391" y="1236"/>
                  </a:lnTo>
                  <a:lnTo>
                    <a:pt x="1295" y="1260"/>
                  </a:lnTo>
                  <a:lnTo>
                    <a:pt x="1272" y="1406"/>
                  </a:lnTo>
                  <a:lnTo>
                    <a:pt x="1140" y="1392"/>
                  </a:lnTo>
                  <a:lnTo>
                    <a:pt x="999" y="1428"/>
                  </a:lnTo>
                  <a:lnTo>
                    <a:pt x="900" y="1380"/>
                  </a:lnTo>
                  <a:lnTo>
                    <a:pt x="804" y="1404"/>
                  </a:lnTo>
                  <a:lnTo>
                    <a:pt x="672" y="1428"/>
                  </a:lnTo>
                  <a:lnTo>
                    <a:pt x="552" y="1380"/>
                  </a:lnTo>
                  <a:lnTo>
                    <a:pt x="468" y="1428"/>
                  </a:lnTo>
                  <a:lnTo>
                    <a:pt x="360" y="1500"/>
                  </a:lnTo>
                  <a:lnTo>
                    <a:pt x="276" y="1548"/>
                  </a:lnTo>
                  <a:lnTo>
                    <a:pt x="180" y="1572"/>
                  </a:lnTo>
                  <a:lnTo>
                    <a:pt x="120" y="1524"/>
                  </a:lnTo>
                  <a:lnTo>
                    <a:pt x="216" y="1464"/>
                  </a:lnTo>
                  <a:lnTo>
                    <a:pt x="144" y="1416"/>
                  </a:lnTo>
                  <a:lnTo>
                    <a:pt x="56" y="1428"/>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sp>
          <p:nvSpPr>
            <p:cNvPr id="6" name="Freeform 7">
              <a:extLst>
                <a:ext uri="{FF2B5EF4-FFF2-40B4-BE49-F238E27FC236}">
                  <a16:creationId xmlns:a16="http://schemas.microsoft.com/office/drawing/2014/main" id="{8CA3BC30-A5DD-4316-BE1C-C175367E9DF4}"/>
                </a:ext>
              </a:extLst>
            </p:cNvPr>
            <p:cNvSpPr>
              <a:spLocks/>
            </p:cNvSpPr>
            <p:nvPr/>
          </p:nvSpPr>
          <p:spPr bwMode="auto">
            <a:xfrm>
              <a:off x="3500153" y="2977188"/>
              <a:ext cx="81685" cy="54926"/>
            </a:xfrm>
            <a:custGeom>
              <a:avLst/>
              <a:gdLst>
                <a:gd name="T0" fmla="*/ 32 w 288"/>
                <a:gd name="T1" fmla="*/ 16 h 192"/>
                <a:gd name="T2" fmla="*/ 0 w 288"/>
                <a:gd name="T3" fmla="*/ 112 h 192"/>
                <a:gd name="T4" fmla="*/ 48 w 288"/>
                <a:gd name="T5" fmla="*/ 160 h 192"/>
                <a:gd name="T6" fmla="*/ 144 w 288"/>
                <a:gd name="T7" fmla="*/ 168 h 192"/>
                <a:gd name="T8" fmla="*/ 208 w 288"/>
                <a:gd name="T9" fmla="*/ 192 h 192"/>
                <a:gd name="T10" fmla="*/ 200 w 288"/>
                <a:gd name="T11" fmla="*/ 136 h 192"/>
                <a:gd name="T12" fmla="*/ 288 w 288"/>
                <a:gd name="T13" fmla="*/ 80 h 192"/>
                <a:gd name="T14" fmla="*/ 248 w 288"/>
                <a:gd name="T15" fmla="*/ 24 h 192"/>
                <a:gd name="T16" fmla="*/ 176 w 288"/>
                <a:gd name="T17" fmla="*/ 32 h 192"/>
                <a:gd name="T18" fmla="*/ 112 w 288"/>
                <a:gd name="T19" fmla="*/ 0 h 192"/>
                <a:gd name="T20" fmla="*/ 32 w 288"/>
                <a:gd name="T2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192">
                  <a:moveTo>
                    <a:pt x="32" y="16"/>
                  </a:moveTo>
                  <a:lnTo>
                    <a:pt x="0" y="112"/>
                  </a:lnTo>
                  <a:lnTo>
                    <a:pt x="48" y="160"/>
                  </a:lnTo>
                  <a:lnTo>
                    <a:pt x="144" y="168"/>
                  </a:lnTo>
                  <a:lnTo>
                    <a:pt x="208" y="192"/>
                  </a:lnTo>
                  <a:lnTo>
                    <a:pt x="200" y="136"/>
                  </a:lnTo>
                  <a:lnTo>
                    <a:pt x="288" y="80"/>
                  </a:lnTo>
                  <a:lnTo>
                    <a:pt x="248" y="24"/>
                  </a:lnTo>
                  <a:lnTo>
                    <a:pt x="176" y="32"/>
                  </a:lnTo>
                  <a:lnTo>
                    <a:pt x="112" y="0"/>
                  </a:lnTo>
                  <a:lnTo>
                    <a:pt x="32" y="16"/>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sp>
          <p:nvSpPr>
            <p:cNvPr id="7" name="Freeform 8">
              <a:extLst>
                <a:ext uri="{FF2B5EF4-FFF2-40B4-BE49-F238E27FC236}">
                  <a16:creationId xmlns:a16="http://schemas.microsoft.com/office/drawing/2014/main" id="{8C059C3C-9636-4A59-9A7E-97925F89D4A6}"/>
                </a:ext>
              </a:extLst>
            </p:cNvPr>
            <p:cNvSpPr>
              <a:spLocks/>
            </p:cNvSpPr>
            <p:nvPr/>
          </p:nvSpPr>
          <p:spPr bwMode="auto">
            <a:xfrm>
              <a:off x="4163488" y="2958880"/>
              <a:ext cx="69010" cy="71827"/>
            </a:xfrm>
            <a:custGeom>
              <a:avLst/>
              <a:gdLst>
                <a:gd name="T0" fmla="*/ 33 w 244"/>
                <a:gd name="T1" fmla="*/ 24 h 254"/>
                <a:gd name="T2" fmla="*/ 0 w 244"/>
                <a:gd name="T3" fmla="*/ 91 h 254"/>
                <a:gd name="T4" fmla="*/ 9 w 244"/>
                <a:gd name="T5" fmla="*/ 153 h 254"/>
                <a:gd name="T6" fmla="*/ 52 w 244"/>
                <a:gd name="T7" fmla="*/ 206 h 254"/>
                <a:gd name="T8" fmla="*/ 105 w 244"/>
                <a:gd name="T9" fmla="*/ 249 h 254"/>
                <a:gd name="T10" fmla="*/ 148 w 244"/>
                <a:gd name="T11" fmla="*/ 254 h 254"/>
                <a:gd name="T12" fmla="*/ 177 w 244"/>
                <a:gd name="T13" fmla="*/ 225 h 254"/>
                <a:gd name="T14" fmla="*/ 196 w 244"/>
                <a:gd name="T15" fmla="*/ 168 h 254"/>
                <a:gd name="T16" fmla="*/ 244 w 244"/>
                <a:gd name="T17" fmla="*/ 125 h 254"/>
                <a:gd name="T18" fmla="*/ 216 w 244"/>
                <a:gd name="T19" fmla="*/ 57 h 254"/>
                <a:gd name="T20" fmla="*/ 192 w 244"/>
                <a:gd name="T21" fmla="*/ 0 h 254"/>
                <a:gd name="T22" fmla="*/ 110 w 244"/>
                <a:gd name="T23" fmla="*/ 14 h 254"/>
                <a:gd name="T24" fmla="*/ 33 w 244"/>
                <a:gd name="T25" fmla="*/ 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4">
                  <a:moveTo>
                    <a:pt x="33" y="24"/>
                  </a:moveTo>
                  <a:lnTo>
                    <a:pt x="0" y="91"/>
                  </a:lnTo>
                  <a:lnTo>
                    <a:pt x="9" y="153"/>
                  </a:lnTo>
                  <a:lnTo>
                    <a:pt x="52" y="206"/>
                  </a:lnTo>
                  <a:lnTo>
                    <a:pt x="105" y="249"/>
                  </a:lnTo>
                  <a:lnTo>
                    <a:pt x="148" y="254"/>
                  </a:lnTo>
                  <a:lnTo>
                    <a:pt x="177" y="225"/>
                  </a:lnTo>
                  <a:lnTo>
                    <a:pt x="196" y="168"/>
                  </a:lnTo>
                  <a:lnTo>
                    <a:pt x="244" y="125"/>
                  </a:lnTo>
                  <a:lnTo>
                    <a:pt x="216" y="57"/>
                  </a:lnTo>
                  <a:lnTo>
                    <a:pt x="192" y="0"/>
                  </a:lnTo>
                  <a:lnTo>
                    <a:pt x="110" y="14"/>
                  </a:lnTo>
                  <a:lnTo>
                    <a:pt x="33" y="24"/>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sp>
          <p:nvSpPr>
            <p:cNvPr id="8" name="Freeform 9">
              <a:extLst>
                <a:ext uri="{FF2B5EF4-FFF2-40B4-BE49-F238E27FC236}">
                  <a16:creationId xmlns:a16="http://schemas.microsoft.com/office/drawing/2014/main" id="{0970ED25-01AD-430F-98C9-C6F5501D55E7}"/>
                </a:ext>
              </a:extLst>
            </p:cNvPr>
            <p:cNvSpPr>
              <a:spLocks/>
            </p:cNvSpPr>
            <p:nvPr/>
          </p:nvSpPr>
          <p:spPr bwMode="auto">
            <a:xfrm>
              <a:off x="5014135" y="2888462"/>
              <a:ext cx="54926" cy="45067"/>
            </a:xfrm>
            <a:custGeom>
              <a:avLst/>
              <a:gdLst>
                <a:gd name="T0" fmla="*/ 67 w 197"/>
                <a:gd name="T1" fmla="*/ 0 h 159"/>
                <a:gd name="T2" fmla="*/ 5 w 197"/>
                <a:gd name="T3" fmla="*/ 63 h 159"/>
                <a:gd name="T4" fmla="*/ 0 w 197"/>
                <a:gd name="T5" fmla="*/ 130 h 159"/>
                <a:gd name="T6" fmla="*/ 48 w 197"/>
                <a:gd name="T7" fmla="*/ 144 h 159"/>
                <a:gd name="T8" fmla="*/ 110 w 197"/>
                <a:gd name="T9" fmla="*/ 159 h 159"/>
                <a:gd name="T10" fmla="*/ 182 w 197"/>
                <a:gd name="T11" fmla="*/ 159 h 159"/>
                <a:gd name="T12" fmla="*/ 197 w 197"/>
                <a:gd name="T13" fmla="*/ 10 h 159"/>
                <a:gd name="T14" fmla="*/ 144 w 197"/>
                <a:gd name="T15" fmla="*/ 15 h 159"/>
                <a:gd name="T16" fmla="*/ 67 w 197"/>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59">
                  <a:moveTo>
                    <a:pt x="67" y="0"/>
                  </a:moveTo>
                  <a:lnTo>
                    <a:pt x="5" y="63"/>
                  </a:lnTo>
                  <a:lnTo>
                    <a:pt x="0" y="130"/>
                  </a:lnTo>
                  <a:lnTo>
                    <a:pt x="48" y="144"/>
                  </a:lnTo>
                  <a:lnTo>
                    <a:pt x="110" y="159"/>
                  </a:lnTo>
                  <a:lnTo>
                    <a:pt x="182" y="159"/>
                  </a:lnTo>
                  <a:lnTo>
                    <a:pt x="197" y="10"/>
                  </a:lnTo>
                  <a:lnTo>
                    <a:pt x="144" y="15"/>
                  </a:lnTo>
                  <a:lnTo>
                    <a:pt x="67"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sp>
          <p:nvSpPr>
            <p:cNvPr id="9" name="Freeform 10">
              <a:extLst>
                <a:ext uri="{FF2B5EF4-FFF2-40B4-BE49-F238E27FC236}">
                  <a16:creationId xmlns:a16="http://schemas.microsoft.com/office/drawing/2014/main" id="{2797C3FC-2B17-4515-9405-13BB5BA8F2E0}"/>
                </a:ext>
              </a:extLst>
            </p:cNvPr>
            <p:cNvSpPr>
              <a:spLocks/>
            </p:cNvSpPr>
            <p:nvPr/>
          </p:nvSpPr>
          <p:spPr bwMode="auto">
            <a:xfrm>
              <a:off x="3590288" y="2850436"/>
              <a:ext cx="36617" cy="43659"/>
            </a:xfrm>
            <a:custGeom>
              <a:avLst/>
              <a:gdLst>
                <a:gd name="T0" fmla="*/ 72 w 130"/>
                <a:gd name="T1" fmla="*/ 0 h 153"/>
                <a:gd name="T2" fmla="*/ 24 w 130"/>
                <a:gd name="T3" fmla="*/ 14 h 153"/>
                <a:gd name="T4" fmla="*/ 0 w 130"/>
                <a:gd name="T5" fmla="*/ 101 h 153"/>
                <a:gd name="T6" fmla="*/ 24 w 130"/>
                <a:gd name="T7" fmla="*/ 153 h 153"/>
                <a:gd name="T8" fmla="*/ 87 w 130"/>
                <a:gd name="T9" fmla="*/ 153 h 153"/>
                <a:gd name="T10" fmla="*/ 87 w 130"/>
                <a:gd name="T11" fmla="*/ 105 h 153"/>
                <a:gd name="T12" fmla="*/ 116 w 130"/>
                <a:gd name="T13" fmla="*/ 77 h 153"/>
                <a:gd name="T14" fmla="*/ 130 w 130"/>
                <a:gd name="T15" fmla="*/ 38 h 153"/>
                <a:gd name="T16" fmla="*/ 111 w 130"/>
                <a:gd name="T17" fmla="*/ 19 h 153"/>
                <a:gd name="T18" fmla="*/ 72 w 130"/>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3">
                  <a:moveTo>
                    <a:pt x="72" y="0"/>
                  </a:moveTo>
                  <a:lnTo>
                    <a:pt x="24" y="14"/>
                  </a:lnTo>
                  <a:lnTo>
                    <a:pt x="0" y="101"/>
                  </a:lnTo>
                  <a:lnTo>
                    <a:pt x="24" y="153"/>
                  </a:lnTo>
                  <a:lnTo>
                    <a:pt x="87" y="153"/>
                  </a:lnTo>
                  <a:lnTo>
                    <a:pt x="87" y="105"/>
                  </a:lnTo>
                  <a:lnTo>
                    <a:pt x="116" y="77"/>
                  </a:lnTo>
                  <a:lnTo>
                    <a:pt x="130" y="38"/>
                  </a:lnTo>
                  <a:lnTo>
                    <a:pt x="111" y="19"/>
                  </a:lnTo>
                  <a:lnTo>
                    <a:pt x="72"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sp>
          <p:nvSpPr>
            <p:cNvPr id="10" name="Freeform 11">
              <a:extLst>
                <a:ext uri="{FF2B5EF4-FFF2-40B4-BE49-F238E27FC236}">
                  <a16:creationId xmlns:a16="http://schemas.microsoft.com/office/drawing/2014/main" id="{3772BADA-3ED4-45D3-896D-5F127B64342B}"/>
                </a:ext>
              </a:extLst>
            </p:cNvPr>
            <p:cNvSpPr>
              <a:spLocks/>
            </p:cNvSpPr>
            <p:nvPr/>
          </p:nvSpPr>
          <p:spPr bwMode="auto">
            <a:xfrm>
              <a:off x="3305800" y="1808253"/>
              <a:ext cx="1250620" cy="1230903"/>
            </a:xfrm>
            <a:custGeom>
              <a:avLst/>
              <a:gdLst>
                <a:gd name="T0" fmla="*/ 852 w 4440"/>
                <a:gd name="T1" fmla="*/ 732 h 4368"/>
                <a:gd name="T2" fmla="*/ 396 w 4440"/>
                <a:gd name="T3" fmla="*/ 924 h 4368"/>
                <a:gd name="T4" fmla="*/ 216 w 4440"/>
                <a:gd name="T5" fmla="*/ 1692 h 4368"/>
                <a:gd name="T6" fmla="*/ 468 w 4440"/>
                <a:gd name="T7" fmla="*/ 1476 h 4368"/>
                <a:gd name="T8" fmla="*/ 708 w 4440"/>
                <a:gd name="T9" fmla="*/ 1608 h 4368"/>
                <a:gd name="T10" fmla="*/ 996 w 4440"/>
                <a:gd name="T11" fmla="*/ 1668 h 4368"/>
                <a:gd name="T12" fmla="*/ 1116 w 4440"/>
                <a:gd name="T13" fmla="*/ 2004 h 4368"/>
                <a:gd name="T14" fmla="*/ 1164 w 4440"/>
                <a:gd name="T15" fmla="*/ 2328 h 4368"/>
                <a:gd name="T16" fmla="*/ 912 w 4440"/>
                <a:gd name="T17" fmla="*/ 2568 h 4368"/>
                <a:gd name="T18" fmla="*/ 1008 w 4440"/>
                <a:gd name="T19" fmla="*/ 2820 h 4368"/>
                <a:gd name="T20" fmla="*/ 1344 w 4440"/>
                <a:gd name="T21" fmla="*/ 2976 h 4368"/>
                <a:gd name="T22" fmla="*/ 1730 w 4440"/>
                <a:gd name="T23" fmla="*/ 3111 h 4368"/>
                <a:gd name="T24" fmla="*/ 2022 w 4440"/>
                <a:gd name="T25" fmla="*/ 3275 h 4368"/>
                <a:gd name="T26" fmla="*/ 2376 w 4440"/>
                <a:gd name="T27" fmla="*/ 3384 h 4368"/>
                <a:gd name="T28" fmla="*/ 2837 w 4440"/>
                <a:gd name="T29" fmla="*/ 3147 h 4368"/>
                <a:gd name="T30" fmla="*/ 3131 w 4440"/>
                <a:gd name="T31" fmla="*/ 2952 h 4368"/>
                <a:gd name="T32" fmla="*/ 3155 w 4440"/>
                <a:gd name="T33" fmla="*/ 3206 h 4368"/>
                <a:gd name="T34" fmla="*/ 3230 w 4440"/>
                <a:gd name="T35" fmla="*/ 3492 h 4368"/>
                <a:gd name="T36" fmla="*/ 3408 w 4440"/>
                <a:gd name="T37" fmla="*/ 3659 h 4368"/>
                <a:gd name="T38" fmla="*/ 3683 w 4440"/>
                <a:gd name="T39" fmla="*/ 3503 h 4368"/>
                <a:gd name="T40" fmla="*/ 3708 w 4440"/>
                <a:gd name="T41" fmla="*/ 3770 h 4368"/>
                <a:gd name="T42" fmla="*/ 3588 w 4440"/>
                <a:gd name="T43" fmla="*/ 3923 h 4368"/>
                <a:gd name="T44" fmla="*/ 3638 w 4440"/>
                <a:gd name="T45" fmla="*/ 4122 h 4368"/>
                <a:gd name="T46" fmla="*/ 3755 w 4440"/>
                <a:gd name="T47" fmla="*/ 4322 h 4368"/>
                <a:gd name="T48" fmla="*/ 4032 w 4440"/>
                <a:gd name="T49" fmla="*/ 4284 h 4368"/>
                <a:gd name="T50" fmla="*/ 4068 w 4440"/>
                <a:gd name="T51" fmla="*/ 3828 h 4368"/>
                <a:gd name="T52" fmla="*/ 4140 w 4440"/>
                <a:gd name="T53" fmla="*/ 3492 h 4368"/>
                <a:gd name="T54" fmla="*/ 4320 w 4440"/>
                <a:gd name="T55" fmla="*/ 3312 h 4368"/>
                <a:gd name="T56" fmla="*/ 4368 w 4440"/>
                <a:gd name="T57" fmla="*/ 3156 h 4368"/>
                <a:gd name="T58" fmla="*/ 4404 w 4440"/>
                <a:gd name="T59" fmla="*/ 2688 h 4368"/>
                <a:gd name="T60" fmla="*/ 4368 w 4440"/>
                <a:gd name="T61" fmla="*/ 2436 h 4368"/>
                <a:gd name="T62" fmla="*/ 4320 w 4440"/>
                <a:gd name="T63" fmla="*/ 2088 h 4368"/>
                <a:gd name="T64" fmla="*/ 4128 w 4440"/>
                <a:gd name="T65" fmla="*/ 1752 h 4368"/>
                <a:gd name="T66" fmla="*/ 4068 w 4440"/>
                <a:gd name="T67" fmla="*/ 1344 h 4368"/>
                <a:gd name="T68" fmla="*/ 3780 w 4440"/>
                <a:gd name="T69" fmla="*/ 1200 h 4368"/>
                <a:gd name="T70" fmla="*/ 3576 w 4440"/>
                <a:gd name="T71" fmla="*/ 1044 h 4368"/>
                <a:gd name="T72" fmla="*/ 3624 w 4440"/>
                <a:gd name="T73" fmla="*/ 780 h 4368"/>
                <a:gd name="T74" fmla="*/ 3420 w 4440"/>
                <a:gd name="T75" fmla="*/ 624 h 4368"/>
                <a:gd name="T76" fmla="*/ 3336 w 4440"/>
                <a:gd name="T77" fmla="*/ 408 h 4368"/>
                <a:gd name="T78" fmla="*/ 3108 w 4440"/>
                <a:gd name="T79" fmla="*/ 228 h 4368"/>
                <a:gd name="T80" fmla="*/ 2856 w 4440"/>
                <a:gd name="T81" fmla="*/ 108 h 4368"/>
                <a:gd name="T82" fmla="*/ 2424 w 4440"/>
                <a:gd name="T83" fmla="*/ 168 h 4368"/>
                <a:gd name="T84" fmla="*/ 2196 w 4440"/>
                <a:gd name="T85" fmla="*/ 240 h 4368"/>
                <a:gd name="T86" fmla="*/ 1740 w 4440"/>
                <a:gd name="T87" fmla="*/ 228 h 4368"/>
                <a:gd name="T88" fmla="*/ 1332 w 4440"/>
                <a:gd name="T89" fmla="*/ 120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40" h="4368">
                  <a:moveTo>
                    <a:pt x="1092" y="0"/>
                  </a:moveTo>
                  <a:lnTo>
                    <a:pt x="840" y="552"/>
                  </a:lnTo>
                  <a:lnTo>
                    <a:pt x="852" y="732"/>
                  </a:lnTo>
                  <a:lnTo>
                    <a:pt x="840" y="876"/>
                  </a:lnTo>
                  <a:lnTo>
                    <a:pt x="648" y="900"/>
                  </a:lnTo>
                  <a:lnTo>
                    <a:pt x="396" y="924"/>
                  </a:lnTo>
                  <a:lnTo>
                    <a:pt x="0" y="1575"/>
                  </a:lnTo>
                  <a:lnTo>
                    <a:pt x="96" y="1656"/>
                  </a:lnTo>
                  <a:lnTo>
                    <a:pt x="216" y="1692"/>
                  </a:lnTo>
                  <a:lnTo>
                    <a:pt x="324" y="1620"/>
                  </a:lnTo>
                  <a:lnTo>
                    <a:pt x="420" y="1560"/>
                  </a:lnTo>
                  <a:lnTo>
                    <a:pt x="468" y="1476"/>
                  </a:lnTo>
                  <a:lnTo>
                    <a:pt x="552" y="1476"/>
                  </a:lnTo>
                  <a:lnTo>
                    <a:pt x="648" y="1500"/>
                  </a:lnTo>
                  <a:lnTo>
                    <a:pt x="708" y="1608"/>
                  </a:lnTo>
                  <a:lnTo>
                    <a:pt x="792" y="1704"/>
                  </a:lnTo>
                  <a:lnTo>
                    <a:pt x="816" y="1764"/>
                  </a:lnTo>
                  <a:lnTo>
                    <a:pt x="996" y="1668"/>
                  </a:lnTo>
                  <a:lnTo>
                    <a:pt x="996" y="1800"/>
                  </a:lnTo>
                  <a:lnTo>
                    <a:pt x="1032" y="1908"/>
                  </a:lnTo>
                  <a:lnTo>
                    <a:pt x="1116" y="2004"/>
                  </a:lnTo>
                  <a:lnTo>
                    <a:pt x="1188" y="2100"/>
                  </a:lnTo>
                  <a:lnTo>
                    <a:pt x="1092" y="2220"/>
                  </a:lnTo>
                  <a:lnTo>
                    <a:pt x="1164" y="2328"/>
                  </a:lnTo>
                  <a:lnTo>
                    <a:pt x="1080" y="2364"/>
                  </a:lnTo>
                  <a:lnTo>
                    <a:pt x="1020" y="2448"/>
                  </a:lnTo>
                  <a:lnTo>
                    <a:pt x="912" y="2568"/>
                  </a:lnTo>
                  <a:lnTo>
                    <a:pt x="1020" y="2640"/>
                  </a:lnTo>
                  <a:lnTo>
                    <a:pt x="960" y="2772"/>
                  </a:lnTo>
                  <a:lnTo>
                    <a:pt x="1008" y="2820"/>
                  </a:lnTo>
                  <a:lnTo>
                    <a:pt x="1104" y="2880"/>
                  </a:lnTo>
                  <a:lnTo>
                    <a:pt x="1164" y="2976"/>
                  </a:lnTo>
                  <a:lnTo>
                    <a:pt x="1344" y="2976"/>
                  </a:lnTo>
                  <a:lnTo>
                    <a:pt x="1572" y="3000"/>
                  </a:lnTo>
                  <a:lnTo>
                    <a:pt x="1671" y="3041"/>
                  </a:lnTo>
                  <a:lnTo>
                    <a:pt x="1730" y="3111"/>
                  </a:lnTo>
                  <a:lnTo>
                    <a:pt x="1748" y="3203"/>
                  </a:lnTo>
                  <a:lnTo>
                    <a:pt x="1856" y="3257"/>
                  </a:lnTo>
                  <a:lnTo>
                    <a:pt x="2022" y="3275"/>
                  </a:lnTo>
                  <a:lnTo>
                    <a:pt x="2123" y="3366"/>
                  </a:lnTo>
                  <a:lnTo>
                    <a:pt x="2243" y="3422"/>
                  </a:lnTo>
                  <a:lnTo>
                    <a:pt x="2376" y="3384"/>
                  </a:lnTo>
                  <a:lnTo>
                    <a:pt x="2514" y="3311"/>
                  </a:lnTo>
                  <a:lnTo>
                    <a:pt x="2693" y="3204"/>
                  </a:lnTo>
                  <a:lnTo>
                    <a:pt x="2837" y="3147"/>
                  </a:lnTo>
                  <a:lnTo>
                    <a:pt x="2889" y="3032"/>
                  </a:lnTo>
                  <a:lnTo>
                    <a:pt x="2916" y="2930"/>
                  </a:lnTo>
                  <a:lnTo>
                    <a:pt x="3131" y="2952"/>
                  </a:lnTo>
                  <a:lnTo>
                    <a:pt x="3240" y="3000"/>
                  </a:lnTo>
                  <a:lnTo>
                    <a:pt x="3216" y="3132"/>
                  </a:lnTo>
                  <a:lnTo>
                    <a:pt x="3155" y="3206"/>
                  </a:lnTo>
                  <a:lnTo>
                    <a:pt x="3059" y="3230"/>
                  </a:lnTo>
                  <a:lnTo>
                    <a:pt x="3165" y="3344"/>
                  </a:lnTo>
                  <a:lnTo>
                    <a:pt x="3230" y="3492"/>
                  </a:lnTo>
                  <a:lnTo>
                    <a:pt x="3314" y="3528"/>
                  </a:lnTo>
                  <a:lnTo>
                    <a:pt x="3407" y="3552"/>
                  </a:lnTo>
                  <a:lnTo>
                    <a:pt x="3408" y="3659"/>
                  </a:lnTo>
                  <a:lnTo>
                    <a:pt x="3494" y="3636"/>
                  </a:lnTo>
                  <a:lnTo>
                    <a:pt x="3585" y="3528"/>
                  </a:lnTo>
                  <a:lnTo>
                    <a:pt x="3683" y="3503"/>
                  </a:lnTo>
                  <a:lnTo>
                    <a:pt x="3684" y="3636"/>
                  </a:lnTo>
                  <a:lnTo>
                    <a:pt x="3624" y="3780"/>
                  </a:lnTo>
                  <a:lnTo>
                    <a:pt x="3708" y="3770"/>
                  </a:lnTo>
                  <a:lnTo>
                    <a:pt x="3777" y="3839"/>
                  </a:lnTo>
                  <a:lnTo>
                    <a:pt x="3690" y="3890"/>
                  </a:lnTo>
                  <a:lnTo>
                    <a:pt x="3588" y="3923"/>
                  </a:lnTo>
                  <a:lnTo>
                    <a:pt x="3587" y="3998"/>
                  </a:lnTo>
                  <a:lnTo>
                    <a:pt x="3684" y="4046"/>
                  </a:lnTo>
                  <a:lnTo>
                    <a:pt x="3638" y="4122"/>
                  </a:lnTo>
                  <a:lnTo>
                    <a:pt x="3588" y="4259"/>
                  </a:lnTo>
                  <a:lnTo>
                    <a:pt x="3648" y="4368"/>
                  </a:lnTo>
                  <a:lnTo>
                    <a:pt x="3755" y="4322"/>
                  </a:lnTo>
                  <a:lnTo>
                    <a:pt x="3830" y="4367"/>
                  </a:lnTo>
                  <a:lnTo>
                    <a:pt x="3938" y="4308"/>
                  </a:lnTo>
                  <a:lnTo>
                    <a:pt x="4032" y="4284"/>
                  </a:lnTo>
                  <a:lnTo>
                    <a:pt x="4056" y="4080"/>
                  </a:lnTo>
                  <a:lnTo>
                    <a:pt x="4152" y="3924"/>
                  </a:lnTo>
                  <a:lnTo>
                    <a:pt x="4068" y="3828"/>
                  </a:lnTo>
                  <a:lnTo>
                    <a:pt x="4164" y="3756"/>
                  </a:lnTo>
                  <a:lnTo>
                    <a:pt x="4152" y="3624"/>
                  </a:lnTo>
                  <a:lnTo>
                    <a:pt x="4140" y="3492"/>
                  </a:lnTo>
                  <a:lnTo>
                    <a:pt x="4272" y="3528"/>
                  </a:lnTo>
                  <a:lnTo>
                    <a:pt x="4284" y="3432"/>
                  </a:lnTo>
                  <a:lnTo>
                    <a:pt x="4320" y="3312"/>
                  </a:lnTo>
                  <a:lnTo>
                    <a:pt x="4248" y="3288"/>
                  </a:lnTo>
                  <a:lnTo>
                    <a:pt x="4248" y="3192"/>
                  </a:lnTo>
                  <a:lnTo>
                    <a:pt x="4368" y="3156"/>
                  </a:lnTo>
                  <a:lnTo>
                    <a:pt x="4368" y="2940"/>
                  </a:lnTo>
                  <a:lnTo>
                    <a:pt x="4392" y="2808"/>
                  </a:lnTo>
                  <a:lnTo>
                    <a:pt x="4404" y="2688"/>
                  </a:lnTo>
                  <a:lnTo>
                    <a:pt x="4320" y="2580"/>
                  </a:lnTo>
                  <a:lnTo>
                    <a:pt x="4380" y="2520"/>
                  </a:lnTo>
                  <a:lnTo>
                    <a:pt x="4368" y="2436"/>
                  </a:lnTo>
                  <a:lnTo>
                    <a:pt x="4440" y="2316"/>
                  </a:lnTo>
                  <a:lnTo>
                    <a:pt x="4392" y="2196"/>
                  </a:lnTo>
                  <a:lnTo>
                    <a:pt x="4320" y="2088"/>
                  </a:lnTo>
                  <a:lnTo>
                    <a:pt x="4284" y="1956"/>
                  </a:lnTo>
                  <a:lnTo>
                    <a:pt x="4224" y="1812"/>
                  </a:lnTo>
                  <a:lnTo>
                    <a:pt x="4128" y="1752"/>
                  </a:lnTo>
                  <a:lnTo>
                    <a:pt x="4140" y="1596"/>
                  </a:lnTo>
                  <a:lnTo>
                    <a:pt x="4080" y="1500"/>
                  </a:lnTo>
                  <a:lnTo>
                    <a:pt x="4068" y="1344"/>
                  </a:lnTo>
                  <a:lnTo>
                    <a:pt x="4044" y="1224"/>
                  </a:lnTo>
                  <a:lnTo>
                    <a:pt x="3864" y="1260"/>
                  </a:lnTo>
                  <a:lnTo>
                    <a:pt x="3780" y="1200"/>
                  </a:lnTo>
                  <a:lnTo>
                    <a:pt x="3624" y="1236"/>
                  </a:lnTo>
                  <a:lnTo>
                    <a:pt x="3564" y="1164"/>
                  </a:lnTo>
                  <a:lnTo>
                    <a:pt x="3576" y="1044"/>
                  </a:lnTo>
                  <a:lnTo>
                    <a:pt x="3516" y="948"/>
                  </a:lnTo>
                  <a:lnTo>
                    <a:pt x="3624" y="888"/>
                  </a:lnTo>
                  <a:lnTo>
                    <a:pt x="3624" y="780"/>
                  </a:lnTo>
                  <a:lnTo>
                    <a:pt x="3588" y="684"/>
                  </a:lnTo>
                  <a:lnTo>
                    <a:pt x="3492" y="576"/>
                  </a:lnTo>
                  <a:lnTo>
                    <a:pt x="3420" y="624"/>
                  </a:lnTo>
                  <a:lnTo>
                    <a:pt x="3360" y="576"/>
                  </a:lnTo>
                  <a:lnTo>
                    <a:pt x="3384" y="492"/>
                  </a:lnTo>
                  <a:lnTo>
                    <a:pt x="3336" y="408"/>
                  </a:lnTo>
                  <a:lnTo>
                    <a:pt x="3228" y="396"/>
                  </a:lnTo>
                  <a:lnTo>
                    <a:pt x="3132" y="408"/>
                  </a:lnTo>
                  <a:lnTo>
                    <a:pt x="3108" y="228"/>
                  </a:lnTo>
                  <a:lnTo>
                    <a:pt x="3036" y="180"/>
                  </a:lnTo>
                  <a:lnTo>
                    <a:pt x="2916" y="216"/>
                  </a:lnTo>
                  <a:lnTo>
                    <a:pt x="2856" y="108"/>
                  </a:lnTo>
                  <a:lnTo>
                    <a:pt x="2724" y="168"/>
                  </a:lnTo>
                  <a:lnTo>
                    <a:pt x="2580" y="204"/>
                  </a:lnTo>
                  <a:lnTo>
                    <a:pt x="2424" y="168"/>
                  </a:lnTo>
                  <a:lnTo>
                    <a:pt x="2292" y="84"/>
                  </a:lnTo>
                  <a:lnTo>
                    <a:pt x="2220" y="120"/>
                  </a:lnTo>
                  <a:lnTo>
                    <a:pt x="2196" y="240"/>
                  </a:lnTo>
                  <a:lnTo>
                    <a:pt x="2040" y="276"/>
                  </a:lnTo>
                  <a:lnTo>
                    <a:pt x="1908" y="300"/>
                  </a:lnTo>
                  <a:lnTo>
                    <a:pt x="1740" y="228"/>
                  </a:lnTo>
                  <a:lnTo>
                    <a:pt x="1608" y="276"/>
                  </a:lnTo>
                  <a:lnTo>
                    <a:pt x="1452" y="252"/>
                  </a:lnTo>
                  <a:lnTo>
                    <a:pt x="1332" y="120"/>
                  </a:lnTo>
                  <a:lnTo>
                    <a:pt x="1200" y="120"/>
                  </a:lnTo>
                  <a:lnTo>
                    <a:pt x="1092" y="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200" b="1" kern="0">
                <a:solidFill>
                  <a:srgbClr val="000000"/>
                </a:solidFill>
                <a:latin typeface="Arial" charset="0"/>
              </a:endParaRPr>
            </a:p>
          </p:txBody>
        </p:sp>
        <p:sp>
          <p:nvSpPr>
            <p:cNvPr id="11" name="Freeform 12">
              <a:extLst>
                <a:ext uri="{FF2B5EF4-FFF2-40B4-BE49-F238E27FC236}">
                  <a16:creationId xmlns:a16="http://schemas.microsoft.com/office/drawing/2014/main" id="{06AA184C-4A02-4814-88D3-572C5B815E62}"/>
                </a:ext>
              </a:extLst>
            </p:cNvPr>
            <p:cNvSpPr>
              <a:spLocks/>
            </p:cNvSpPr>
            <p:nvPr/>
          </p:nvSpPr>
          <p:spPr bwMode="auto">
            <a:xfrm>
              <a:off x="3612821" y="1520949"/>
              <a:ext cx="881631" cy="642210"/>
            </a:xfrm>
            <a:custGeom>
              <a:avLst/>
              <a:gdLst>
                <a:gd name="T0" fmla="*/ 60 w 3132"/>
                <a:gd name="T1" fmla="*/ 888 h 2280"/>
                <a:gd name="T2" fmla="*/ 131 w 3132"/>
                <a:gd name="T3" fmla="*/ 441 h 2280"/>
                <a:gd name="T4" fmla="*/ 492 w 3132"/>
                <a:gd name="T5" fmla="*/ 552 h 2280"/>
                <a:gd name="T6" fmla="*/ 648 w 3132"/>
                <a:gd name="T7" fmla="*/ 384 h 2280"/>
                <a:gd name="T8" fmla="*/ 912 w 3132"/>
                <a:gd name="T9" fmla="*/ 336 h 2280"/>
                <a:gd name="T10" fmla="*/ 1308 w 3132"/>
                <a:gd name="T11" fmla="*/ 0 h 2280"/>
                <a:gd name="T12" fmla="*/ 1596 w 3132"/>
                <a:gd name="T13" fmla="*/ 132 h 2280"/>
                <a:gd name="T14" fmla="*/ 1788 w 3132"/>
                <a:gd name="T15" fmla="*/ 372 h 2280"/>
                <a:gd name="T16" fmla="*/ 2232 w 3132"/>
                <a:gd name="T17" fmla="*/ 276 h 2280"/>
                <a:gd name="T18" fmla="*/ 2400 w 3132"/>
                <a:gd name="T19" fmla="*/ 156 h 2280"/>
                <a:gd name="T20" fmla="*/ 2484 w 3132"/>
                <a:gd name="T21" fmla="*/ 372 h 2280"/>
                <a:gd name="T22" fmla="*/ 2712 w 3132"/>
                <a:gd name="T23" fmla="*/ 312 h 2280"/>
                <a:gd name="T24" fmla="*/ 3132 w 3132"/>
                <a:gd name="T25" fmla="*/ 384 h 2280"/>
                <a:gd name="T26" fmla="*/ 2904 w 3132"/>
                <a:gd name="T27" fmla="*/ 492 h 2280"/>
                <a:gd name="T28" fmla="*/ 2976 w 3132"/>
                <a:gd name="T29" fmla="*/ 732 h 2280"/>
                <a:gd name="T30" fmla="*/ 2976 w 3132"/>
                <a:gd name="T31" fmla="*/ 996 h 2280"/>
                <a:gd name="T32" fmla="*/ 2928 w 3132"/>
                <a:gd name="T33" fmla="*/ 1212 h 2280"/>
                <a:gd name="T34" fmla="*/ 2988 w 3132"/>
                <a:gd name="T35" fmla="*/ 1524 h 2280"/>
                <a:gd name="T36" fmla="*/ 3000 w 3132"/>
                <a:gd name="T37" fmla="*/ 1764 h 2280"/>
                <a:gd name="T38" fmla="*/ 3048 w 3132"/>
                <a:gd name="T39" fmla="*/ 1980 h 2280"/>
                <a:gd name="T40" fmla="*/ 2952 w 3132"/>
                <a:gd name="T41" fmla="*/ 2244 h 2280"/>
                <a:gd name="T42" fmla="*/ 2688 w 3132"/>
                <a:gd name="T43" fmla="*/ 2220 h 2280"/>
                <a:gd name="T44" fmla="*/ 2472 w 3132"/>
                <a:gd name="T45" fmla="*/ 2184 h 2280"/>
                <a:gd name="T46" fmla="*/ 2424 w 3132"/>
                <a:gd name="T47" fmla="*/ 1968 h 2280"/>
                <a:gd name="T48" fmla="*/ 2532 w 3132"/>
                <a:gd name="T49" fmla="*/ 1800 h 2280"/>
                <a:gd name="T50" fmla="*/ 2400 w 3132"/>
                <a:gd name="T51" fmla="*/ 1596 h 2280"/>
                <a:gd name="T52" fmla="*/ 2268 w 3132"/>
                <a:gd name="T53" fmla="*/ 1596 h 2280"/>
                <a:gd name="T54" fmla="*/ 2244 w 3132"/>
                <a:gd name="T55" fmla="*/ 1428 h 2280"/>
                <a:gd name="T56" fmla="*/ 2040 w 3132"/>
                <a:gd name="T57" fmla="*/ 1428 h 2280"/>
                <a:gd name="T58" fmla="*/ 1944 w 3132"/>
                <a:gd name="T59" fmla="*/ 1200 h 2280"/>
                <a:gd name="T60" fmla="*/ 1764 w 3132"/>
                <a:gd name="T61" fmla="*/ 1128 h 2280"/>
                <a:gd name="T62" fmla="*/ 1488 w 3132"/>
                <a:gd name="T63" fmla="*/ 1224 h 2280"/>
                <a:gd name="T64" fmla="*/ 1200 w 3132"/>
                <a:gd name="T65" fmla="*/ 1104 h 2280"/>
                <a:gd name="T66" fmla="*/ 1104 w 3132"/>
                <a:gd name="T67" fmla="*/ 1260 h 2280"/>
                <a:gd name="T68" fmla="*/ 816 w 3132"/>
                <a:gd name="T69" fmla="*/ 1320 h 2280"/>
                <a:gd name="T70" fmla="*/ 516 w 3132"/>
                <a:gd name="T71" fmla="*/ 1296 h 2280"/>
                <a:gd name="T72" fmla="*/ 240 w 3132"/>
                <a:gd name="T73" fmla="*/ 1140 h 2280"/>
                <a:gd name="T74" fmla="*/ 0 w 3132"/>
                <a:gd name="T75" fmla="*/ 1020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32" h="2280">
                  <a:moveTo>
                    <a:pt x="0" y="1020"/>
                  </a:moveTo>
                  <a:lnTo>
                    <a:pt x="60" y="888"/>
                  </a:lnTo>
                  <a:lnTo>
                    <a:pt x="0" y="792"/>
                  </a:lnTo>
                  <a:lnTo>
                    <a:pt x="131" y="441"/>
                  </a:lnTo>
                  <a:lnTo>
                    <a:pt x="336" y="444"/>
                  </a:lnTo>
                  <a:lnTo>
                    <a:pt x="492" y="552"/>
                  </a:lnTo>
                  <a:lnTo>
                    <a:pt x="576" y="456"/>
                  </a:lnTo>
                  <a:lnTo>
                    <a:pt x="648" y="384"/>
                  </a:lnTo>
                  <a:lnTo>
                    <a:pt x="804" y="336"/>
                  </a:lnTo>
                  <a:lnTo>
                    <a:pt x="912" y="336"/>
                  </a:lnTo>
                  <a:lnTo>
                    <a:pt x="1116" y="432"/>
                  </a:lnTo>
                  <a:lnTo>
                    <a:pt x="1308" y="0"/>
                  </a:lnTo>
                  <a:lnTo>
                    <a:pt x="1404" y="96"/>
                  </a:lnTo>
                  <a:lnTo>
                    <a:pt x="1596" y="132"/>
                  </a:lnTo>
                  <a:lnTo>
                    <a:pt x="1656" y="240"/>
                  </a:lnTo>
                  <a:lnTo>
                    <a:pt x="1788" y="372"/>
                  </a:lnTo>
                  <a:lnTo>
                    <a:pt x="2016" y="324"/>
                  </a:lnTo>
                  <a:lnTo>
                    <a:pt x="2232" y="276"/>
                  </a:lnTo>
                  <a:lnTo>
                    <a:pt x="2280" y="168"/>
                  </a:lnTo>
                  <a:lnTo>
                    <a:pt x="2400" y="156"/>
                  </a:lnTo>
                  <a:lnTo>
                    <a:pt x="2460" y="264"/>
                  </a:lnTo>
                  <a:lnTo>
                    <a:pt x="2484" y="372"/>
                  </a:lnTo>
                  <a:lnTo>
                    <a:pt x="2592" y="252"/>
                  </a:lnTo>
                  <a:lnTo>
                    <a:pt x="2712" y="312"/>
                  </a:lnTo>
                  <a:lnTo>
                    <a:pt x="2964" y="324"/>
                  </a:lnTo>
                  <a:lnTo>
                    <a:pt x="3132" y="384"/>
                  </a:lnTo>
                  <a:lnTo>
                    <a:pt x="3000" y="444"/>
                  </a:lnTo>
                  <a:lnTo>
                    <a:pt x="2904" y="492"/>
                  </a:lnTo>
                  <a:lnTo>
                    <a:pt x="2916" y="588"/>
                  </a:lnTo>
                  <a:lnTo>
                    <a:pt x="2976" y="732"/>
                  </a:lnTo>
                  <a:lnTo>
                    <a:pt x="2988" y="864"/>
                  </a:lnTo>
                  <a:lnTo>
                    <a:pt x="2976" y="996"/>
                  </a:lnTo>
                  <a:lnTo>
                    <a:pt x="3000" y="1104"/>
                  </a:lnTo>
                  <a:lnTo>
                    <a:pt x="2928" y="1212"/>
                  </a:lnTo>
                  <a:lnTo>
                    <a:pt x="2916" y="1416"/>
                  </a:lnTo>
                  <a:lnTo>
                    <a:pt x="2988" y="1524"/>
                  </a:lnTo>
                  <a:lnTo>
                    <a:pt x="2916" y="1740"/>
                  </a:lnTo>
                  <a:lnTo>
                    <a:pt x="3000" y="1764"/>
                  </a:lnTo>
                  <a:lnTo>
                    <a:pt x="3072" y="1836"/>
                  </a:lnTo>
                  <a:lnTo>
                    <a:pt x="3048" y="1980"/>
                  </a:lnTo>
                  <a:lnTo>
                    <a:pt x="2952" y="2088"/>
                  </a:lnTo>
                  <a:lnTo>
                    <a:pt x="2952" y="2244"/>
                  </a:lnTo>
                  <a:lnTo>
                    <a:pt x="2772" y="2280"/>
                  </a:lnTo>
                  <a:lnTo>
                    <a:pt x="2688" y="2220"/>
                  </a:lnTo>
                  <a:lnTo>
                    <a:pt x="2532" y="2256"/>
                  </a:lnTo>
                  <a:lnTo>
                    <a:pt x="2472" y="2184"/>
                  </a:lnTo>
                  <a:lnTo>
                    <a:pt x="2484" y="2064"/>
                  </a:lnTo>
                  <a:lnTo>
                    <a:pt x="2424" y="1968"/>
                  </a:lnTo>
                  <a:lnTo>
                    <a:pt x="2532" y="1908"/>
                  </a:lnTo>
                  <a:lnTo>
                    <a:pt x="2532" y="1800"/>
                  </a:lnTo>
                  <a:lnTo>
                    <a:pt x="2496" y="1704"/>
                  </a:lnTo>
                  <a:lnTo>
                    <a:pt x="2400" y="1596"/>
                  </a:lnTo>
                  <a:lnTo>
                    <a:pt x="2328" y="1644"/>
                  </a:lnTo>
                  <a:lnTo>
                    <a:pt x="2268" y="1596"/>
                  </a:lnTo>
                  <a:lnTo>
                    <a:pt x="2292" y="1512"/>
                  </a:lnTo>
                  <a:lnTo>
                    <a:pt x="2244" y="1428"/>
                  </a:lnTo>
                  <a:lnTo>
                    <a:pt x="2136" y="1416"/>
                  </a:lnTo>
                  <a:lnTo>
                    <a:pt x="2040" y="1428"/>
                  </a:lnTo>
                  <a:lnTo>
                    <a:pt x="2016" y="1248"/>
                  </a:lnTo>
                  <a:lnTo>
                    <a:pt x="1944" y="1200"/>
                  </a:lnTo>
                  <a:lnTo>
                    <a:pt x="1824" y="1236"/>
                  </a:lnTo>
                  <a:lnTo>
                    <a:pt x="1764" y="1128"/>
                  </a:lnTo>
                  <a:lnTo>
                    <a:pt x="1632" y="1188"/>
                  </a:lnTo>
                  <a:lnTo>
                    <a:pt x="1488" y="1224"/>
                  </a:lnTo>
                  <a:lnTo>
                    <a:pt x="1332" y="1188"/>
                  </a:lnTo>
                  <a:lnTo>
                    <a:pt x="1200" y="1104"/>
                  </a:lnTo>
                  <a:lnTo>
                    <a:pt x="1128" y="1140"/>
                  </a:lnTo>
                  <a:lnTo>
                    <a:pt x="1104" y="1260"/>
                  </a:lnTo>
                  <a:lnTo>
                    <a:pt x="948" y="1296"/>
                  </a:lnTo>
                  <a:lnTo>
                    <a:pt x="816" y="1320"/>
                  </a:lnTo>
                  <a:lnTo>
                    <a:pt x="648" y="1248"/>
                  </a:lnTo>
                  <a:lnTo>
                    <a:pt x="516" y="1296"/>
                  </a:lnTo>
                  <a:lnTo>
                    <a:pt x="360" y="1272"/>
                  </a:lnTo>
                  <a:lnTo>
                    <a:pt x="240" y="1140"/>
                  </a:lnTo>
                  <a:lnTo>
                    <a:pt x="108" y="1140"/>
                  </a:lnTo>
                  <a:lnTo>
                    <a:pt x="0" y="102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sp>
          <p:nvSpPr>
            <p:cNvPr id="12" name="Freeform 13">
              <a:extLst>
                <a:ext uri="{FF2B5EF4-FFF2-40B4-BE49-F238E27FC236}">
                  <a16:creationId xmlns:a16="http://schemas.microsoft.com/office/drawing/2014/main" id="{A65824BA-D06E-416B-A8F8-018E29DBBF19}"/>
                </a:ext>
              </a:extLst>
            </p:cNvPr>
            <p:cNvSpPr>
              <a:spLocks/>
            </p:cNvSpPr>
            <p:nvPr/>
          </p:nvSpPr>
          <p:spPr bwMode="auto">
            <a:xfrm>
              <a:off x="3021312" y="2223718"/>
              <a:ext cx="754879" cy="730937"/>
            </a:xfrm>
            <a:custGeom>
              <a:avLst/>
              <a:gdLst>
                <a:gd name="T0" fmla="*/ 816 w 2682"/>
                <a:gd name="T1" fmla="*/ 253 h 2595"/>
                <a:gd name="T2" fmla="*/ 840 w 2682"/>
                <a:gd name="T3" fmla="*/ 577 h 2595"/>
                <a:gd name="T4" fmla="*/ 816 w 2682"/>
                <a:gd name="T5" fmla="*/ 793 h 2595"/>
                <a:gd name="T6" fmla="*/ 804 w 2682"/>
                <a:gd name="T7" fmla="*/ 1057 h 2595"/>
                <a:gd name="T8" fmla="*/ 624 w 2682"/>
                <a:gd name="T9" fmla="*/ 1177 h 2595"/>
                <a:gd name="T10" fmla="*/ 480 w 2682"/>
                <a:gd name="T11" fmla="*/ 1021 h 2595"/>
                <a:gd name="T12" fmla="*/ 264 w 2682"/>
                <a:gd name="T13" fmla="*/ 1213 h 2595"/>
                <a:gd name="T14" fmla="*/ 192 w 2682"/>
                <a:gd name="T15" fmla="*/ 1441 h 2595"/>
                <a:gd name="T16" fmla="*/ 240 w 2682"/>
                <a:gd name="T17" fmla="*/ 1657 h 2595"/>
                <a:gd name="T18" fmla="*/ 96 w 2682"/>
                <a:gd name="T19" fmla="*/ 1945 h 2595"/>
                <a:gd name="T20" fmla="*/ 0 w 2682"/>
                <a:gd name="T21" fmla="*/ 2341 h 2595"/>
                <a:gd name="T22" fmla="*/ 195 w 2682"/>
                <a:gd name="T23" fmla="*/ 2559 h 2595"/>
                <a:gd name="T24" fmla="*/ 326 w 2682"/>
                <a:gd name="T25" fmla="*/ 2365 h 2595"/>
                <a:gd name="T26" fmla="*/ 351 w 2682"/>
                <a:gd name="T27" fmla="*/ 2230 h 2595"/>
                <a:gd name="T28" fmla="*/ 393 w 2682"/>
                <a:gd name="T29" fmla="*/ 2139 h 2595"/>
                <a:gd name="T30" fmla="*/ 590 w 2682"/>
                <a:gd name="T31" fmla="*/ 2194 h 2595"/>
                <a:gd name="T32" fmla="*/ 644 w 2682"/>
                <a:gd name="T33" fmla="*/ 2008 h 2595"/>
                <a:gd name="T34" fmla="*/ 690 w 2682"/>
                <a:gd name="T35" fmla="*/ 1830 h 2595"/>
                <a:gd name="T36" fmla="*/ 863 w 2682"/>
                <a:gd name="T37" fmla="*/ 1875 h 2595"/>
                <a:gd name="T38" fmla="*/ 1076 w 2682"/>
                <a:gd name="T39" fmla="*/ 1903 h 2595"/>
                <a:gd name="T40" fmla="*/ 1167 w 2682"/>
                <a:gd name="T41" fmla="*/ 2085 h 2595"/>
                <a:gd name="T42" fmla="*/ 1374 w 2682"/>
                <a:gd name="T43" fmla="*/ 2148 h 2595"/>
                <a:gd name="T44" fmla="*/ 1484 w 2682"/>
                <a:gd name="T45" fmla="*/ 2404 h 2595"/>
                <a:gd name="T46" fmla="*/ 1707 w 2682"/>
                <a:gd name="T47" fmla="*/ 2499 h 2595"/>
                <a:gd name="T48" fmla="*/ 1824 w 2682"/>
                <a:gd name="T49" fmla="*/ 2595 h 2595"/>
                <a:gd name="T50" fmla="*/ 1851 w 2682"/>
                <a:gd name="T51" fmla="*/ 2415 h 2595"/>
                <a:gd name="T52" fmla="*/ 1979 w 2682"/>
                <a:gd name="T53" fmla="*/ 2358 h 2595"/>
                <a:gd name="T54" fmla="*/ 1902 w 2682"/>
                <a:gd name="T55" fmla="*/ 2194 h 2595"/>
                <a:gd name="T56" fmla="*/ 1833 w 2682"/>
                <a:gd name="T57" fmla="*/ 2053 h 2595"/>
                <a:gd name="T58" fmla="*/ 1812 w 2682"/>
                <a:gd name="T59" fmla="*/ 1801 h 2595"/>
                <a:gd name="T60" fmla="*/ 1989 w 2682"/>
                <a:gd name="T61" fmla="*/ 1710 h 2595"/>
                <a:gd name="T62" fmla="*/ 2159 w 2682"/>
                <a:gd name="T63" fmla="*/ 1507 h 2595"/>
                <a:gd name="T64" fmla="*/ 2244 w 2682"/>
                <a:gd name="T65" fmla="*/ 1609 h 2595"/>
                <a:gd name="T66" fmla="*/ 2417 w 2682"/>
                <a:gd name="T67" fmla="*/ 1572 h 2595"/>
                <a:gd name="T68" fmla="*/ 2582 w 2682"/>
                <a:gd name="T69" fmla="*/ 1644 h 2595"/>
                <a:gd name="T70" fmla="*/ 2580 w 2682"/>
                <a:gd name="T71" fmla="*/ 1525 h 2595"/>
                <a:gd name="T72" fmla="*/ 2171 w 2682"/>
                <a:gd name="T73" fmla="*/ 1501 h 2595"/>
                <a:gd name="T74" fmla="*/ 2112 w 2682"/>
                <a:gd name="T75" fmla="*/ 1405 h 2595"/>
                <a:gd name="T76" fmla="*/ 1968 w 2682"/>
                <a:gd name="T77" fmla="*/ 1297 h 2595"/>
                <a:gd name="T78" fmla="*/ 2027 w 2682"/>
                <a:gd name="T79" fmla="*/ 1164 h 2595"/>
                <a:gd name="T80" fmla="*/ 2024 w 2682"/>
                <a:gd name="T81" fmla="*/ 978 h 2595"/>
                <a:gd name="T82" fmla="*/ 2171 w 2682"/>
                <a:gd name="T83" fmla="*/ 853 h 2595"/>
                <a:gd name="T84" fmla="*/ 2196 w 2682"/>
                <a:gd name="T85" fmla="*/ 624 h 2595"/>
                <a:gd name="T86" fmla="*/ 2042 w 2682"/>
                <a:gd name="T87" fmla="*/ 436 h 2595"/>
                <a:gd name="T88" fmla="*/ 2003 w 2682"/>
                <a:gd name="T89" fmla="*/ 195 h 2595"/>
                <a:gd name="T90" fmla="*/ 1800 w 2682"/>
                <a:gd name="T91" fmla="*/ 231 h 2595"/>
                <a:gd name="T92" fmla="*/ 1659 w 2682"/>
                <a:gd name="T93" fmla="*/ 25 h 2595"/>
                <a:gd name="T94" fmla="*/ 1478 w 2682"/>
                <a:gd name="T95" fmla="*/ 0 h 2595"/>
                <a:gd name="T96" fmla="*/ 1224 w 2682"/>
                <a:gd name="T97" fmla="*/ 217 h 2595"/>
                <a:gd name="T98" fmla="*/ 1008 w 2682"/>
                <a:gd name="T99" fmla="*/ 97 h 2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82" h="2595">
                  <a:moveTo>
                    <a:pt x="1008" y="97"/>
                  </a:moveTo>
                  <a:lnTo>
                    <a:pt x="816" y="253"/>
                  </a:lnTo>
                  <a:lnTo>
                    <a:pt x="876" y="445"/>
                  </a:lnTo>
                  <a:lnTo>
                    <a:pt x="840" y="577"/>
                  </a:lnTo>
                  <a:lnTo>
                    <a:pt x="756" y="721"/>
                  </a:lnTo>
                  <a:lnTo>
                    <a:pt x="816" y="793"/>
                  </a:lnTo>
                  <a:lnTo>
                    <a:pt x="768" y="889"/>
                  </a:lnTo>
                  <a:lnTo>
                    <a:pt x="804" y="1057"/>
                  </a:lnTo>
                  <a:lnTo>
                    <a:pt x="708" y="1093"/>
                  </a:lnTo>
                  <a:lnTo>
                    <a:pt x="624" y="1177"/>
                  </a:lnTo>
                  <a:lnTo>
                    <a:pt x="552" y="1093"/>
                  </a:lnTo>
                  <a:lnTo>
                    <a:pt x="480" y="1021"/>
                  </a:lnTo>
                  <a:lnTo>
                    <a:pt x="336" y="1093"/>
                  </a:lnTo>
                  <a:lnTo>
                    <a:pt x="264" y="1213"/>
                  </a:lnTo>
                  <a:lnTo>
                    <a:pt x="180" y="1321"/>
                  </a:lnTo>
                  <a:lnTo>
                    <a:pt x="192" y="1441"/>
                  </a:lnTo>
                  <a:lnTo>
                    <a:pt x="192" y="1561"/>
                  </a:lnTo>
                  <a:lnTo>
                    <a:pt x="240" y="1657"/>
                  </a:lnTo>
                  <a:lnTo>
                    <a:pt x="144" y="1777"/>
                  </a:lnTo>
                  <a:lnTo>
                    <a:pt x="96" y="1945"/>
                  </a:lnTo>
                  <a:lnTo>
                    <a:pt x="12" y="2125"/>
                  </a:lnTo>
                  <a:lnTo>
                    <a:pt x="0" y="2341"/>
                  </a:lnTo>
                  <a:lnTo>
                    <a:pt x="39" y="2536"/>
                  </a:lnTo>
                  <a:lnTo>
                    <a:pt x="195" y="2559"/>
                  </a:lnTo>
                  <a:lnTo>
                    <a:pt x="276" y="2461"/>
                  </a:lnTo>
                  <a:lnTo>
                    <a:pt x="326" y="2365"/>
                  </a:lnTo>
                  <a:lnTo>
                    <a:pt x="254" y="2304"/>
                  </a:lnTo>
                  <a:lnTo>
                    <a:pt x="351" y="2230"/>
                  </a:lnTo>
                  <a:lnTo>
                    <a:pt x="288" y="2110"/>
                  </a:lnTo>
                  <a:lnTo>
                    <a:pt x="393" y="2139"/>
                  </a:lnTo>
                  <a:lnTo>
                    <a:pt x="492" y="2185"/>
                  </a:lnTo>
                  <a:lnTo>
                    <a:pt x="590" y="2194"/>
                  </a:lnTo>
                  <a:lnTo>
                    <a:pt x="635" y="2113"/>
                  </a:lnTo>
                  <a:lnTo>
                    <a:pt x="644" y="2008"/>
                  </a:lnTo>
                  <a:lnTo>
                    <a:pt x="698" y="1948"/>
                  </a:lnTo>
                  <a:lnTo>
                    <a:pt x="690" y="1830"/>
                  </a:lnTo>
                  <a:lnTo>
                    <a:pt x="827" y="1783"/>
                  </a:lnTo>
                  <a:lnTo>
                    <a:pt x="863" y="1875"/>
                  </a:lnTo>
                  <a:lnTo>
                    <a:pt x="984" y="1873"/>
                  </a:lnTo>
                  <a:lnTo>
                    <a:pt x="1076" y="1903"/>
                  </a:lnTo>
                  <a:lnTo>
                    <a:pt x="1128" y="1974"/>
                  </a:lnTo>
                  <a:lnTo>
                    <a:pt x="1167" y="2085"/>
                  </a:lnTo>
                  <a:lnTo>
                    <a:pt x="1271" y="2113"/>
                  </a:lnTo>
                  <a:lnTo>
                    <a:pt x="1374" y="2148"/>
                  </a:lnTo>
                  <a:lnTo>
                    <a:pt x="1478" y="2299"/>
                  </a:lnTo>
                  <a:lnTo>
                    <a:pt x="1484" y="2404"/>
                  </a:lnTo>
                  <a:lnTo>
                    <a:pt x="1634" y="2433"/>
                  </a:lnTo>
                  <a:lnTo>
                    <a:pt x="1707" y="2499"/>
                  </a:lnTo>
                  <a:lnTo>
                    <a:pt x="1758" y="2595"/>
                  </a:lnTo>
                  <a:lnTo>
                    <a:pt x="1824" y="2595"/>
                  </a:lnTo>
                  <a:lnTo>
                    <a:pt x="1887" y="2544"/>
                  </a:lnTo>
                  <a:lnTo>
                    <a:pt x="1851" y="2415"/>
                  </a:lnTo>
                  <a:lnTo>
                    <a:pt x="1929" y="2394"/>
                  </a:lnTo>
                  <a:lnTo>
                    <a:pt x="1979" y="2358"/>
                  </a:lnTo>
                  <a:lnTo>
                    <a:pt x="1977" y="2212"/>
                  </a:lnTo>
                  <a:lnTo>
                    <a:pt x="1902" y="2194"/>
                  </a:lnTo>
                  <a:lnTo>
                    <a:pt x="1832" y="2148"/>
                  </a:lnTo>
                  <a:lnTo>
                    <a:pt x="1833" y="2053"/>
                  </a:lnTo>
                  <a:lnTo>
                    <a:pt x="1797" y="1950"/>
                  </a:lnTo>
                  <a:lnTo>
                    <a:pt x="1812" y="1801"/>
                  </a:lnTo>
                  <a:lnTo>
                    <a:pt x="1896" y="1773"/>
                  </a:lnTo>
                  <a:lnTo>
                    <a:pt x="1989" y="1710"/>
                  </a:lnTo>
                  <a:lnTo>
                    <a:pt x="2043" y="1590"/>
                  </a:lnTo>
                  <a:lnTo>
                    <a:pt x="2159" y="1507"/>
                  </a:lnTo>
                  <a:lnTo>
                    <a:pt x="2181" y="1579"/>
                  </a:lnTo>
                  <a:lnTo>
                    <a:pt x="2244" y="1609"/>
                  </a:lnTo>
                  <a:lnTo>
                    <a:pt x="2316" y="1527"/>
                  </a:lnTo>
                  <a:lnTo>
                    <a:pt x="2417" y="1572"/>
                  </a:lnTo>
                  <a:lnTo>
                    <a:pt x="2475" y="1621"/>
                  </a:lnTo>
                  <a:lnTo>
                    <a:pt x="2582" y="1644"/>
                  </a:lnTo>
                  <a:lnTo>
                    <a:pt x="2682" y="1566"/>
                  </a:lnTo>
                  <a:lnTo>
                    <a:pt x="2580" y="1525"/>
                  </a:lnTo>
                  <a:lnTo>
                    <a:pt x="2351" y="1501"/>
                  </a:lnTo>
                  <a:lnTo>
                    <a:pt x="2171" y="1501"/>
                  </a:lnTo>
                  <a:lnTo>
                    <a:pt x="2141" y="1449"/>
                  </a:lnTo>
                  <a:lnTo>
                    <a:pt x="2112" y="1405"/>
                  </a:lnTo>
                  <a:lnTo>
                    <a:pt x="2018" y="1347"/>
                  </a:lnTo>
                  <a:lnTo>
                    <a:pt x="1968" y="1297"/>
                  </a:lnTo>
                  <a:lnTo>
                    <a:pt x="2004" y="1215"/>
                  </a:lnTo>
                  <a:lnTo>
                    <a:pt x="2027" y="1164"/>
                  </a:lnTo>
                  <a:lnTo>
                    <a:pt x="1919" y="1093"/>
                  </a:lnTo>
                  <a:lnTo>
                    <a:pt x="2024" y="978"/>
                  </a:lnTo>
                  <a:lnTo>
                    <a:pt x="2087" y="889"/>
                  </a:lnTo>
                  <a:lnTo>
                    <a:pt x="2171" y="853"/>
                  </a:lnTo>
                  <a:lnTo>
                    <a:pt x="2099" y="747"/>
                  </a:lnTo>
                  <a:lnTo>
                    <a:pt x="2196" y="624"/>
                  </a:lnTo>
                  <a:lnTo>
                    <a:pt x="2129" y="534"/>
                  </a:lnTo>
                  <a:lnTo>
                    <a:pt x="2042" y="436"/>
                  </a:lnTo>
                  <a:lnTo>
                    <a:pt x="2003" y="319"/>
                  </a:lnTo>
                  <a:lnTo>
                    <a:pt x="2003" y="195"/>
                  </a:lnTo>
                  <a:lnTo>
                    <a:pt x="1823" y="289"/>
                  </a:lnTo>
                  <a:lnTo>
                    <a:pt x="1800" y="231"/>
                  </a:lnTo>
                  <a:lnTo>
                    <a:pt x="1716" y="133"/>
                  </a:lnTo>
                  <a:lnTo>
                    <a:pt x="1659" y="25"/>
                  </a:lnTo>
                  <a:lnTo>
                    <a:pt x="1559" y="3"/>
                  </a:lnTo>
                  <a:lnTo>
                    <a:pt x="1478" y="0"/>
                  </a:lnTo>
                  <a:lnTo>
                    <a:pt x="1427" y="85"/>
                  </a:lnTo>
                  <a:lnTo>
                    <a:pt x="1224" y="217"/>
                  </a:lnTo>
                  <a:lnTo>
                    <a:pt x="1103" y="181"/>
                  </a:lnTo>
                  <a:lnTo>
                    <a:pt x="1008" y="97"/>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sp>
          <p:nvSpPr>
            <p:cNvPr id="13" name="Freeform 14">
              <a:extLst>
                <a:ext uri="{FF2B5EF4-FFF2-40B4-BE49-F238E27FC236}">
                  <a16:creationId xmlns:a16="http://schemas.microsoft.com/office/drawing/2014/main" id="{A65C9C54-A632-432B-9C5C-9479243DAE23}"/>
                </a:ext>
              </a:extLst>
            </p:cNvPr>
            <p:cNvSpPr>
              <a:spLocks/>
            </p:cNvSpPr>
            <p:nvPr/>
          </p:nvSpPr>
          <p:spPr bwMode="auto">
            <a:xfrm>
              <a:off x="2743865" y="3075773"/>
              <a:ext cx="595735" cy="419690"/>
            </a:xfrm>
            <a:custGeom>
              <a:avLst/>
              <a:gdLst>
                <a:gd name="T0" fmla="*/ 2019 w 2112"/>
                <a:gd name="T1" fmla="*/ 1040 h 1488"/>
                <a:gd name="T2" fmla="*/ 1956 w 2112"/>
                <a:gd name="T3" fmla="*/ 1043 h 1488"/>
                <a:gd name="T4" fmla="*/ 1893 w 2112"/>
                <a:gd name="T5" fmla="*/ 981 h 1488"/>
                <a:gd name="T6" fmla="*/ 1775 w 2112"/>
                <a:gd name="T7" fmla="*/ 888 h 1488"/>
                <a:gd name="T8" fmla="*/ 1755 w 2112"/>
                <a:gd name="T9" fmla="*/ 813 h 1488"/>
                <a:gd name="T10" fmla="*/ 1694 w 2112"/>
                <a:gd name="T11" fmla="*/ 785 h 1488"/>
                <a:gd name="T12" fmla="*/ 1686 w 2112"/>
                <a:gd name="T13" fmla="*/ 720 h 1488"/>
                <a:gd name="T14" fmla="*/ 1718 w 2112"/>
                <a:gd name="T15" fmla="*/ 635 h 1488"/>
                <a:gd name="T16" fmla="*/ 1751 w 2112"/>
                <a:gd name="T17" fmla="*/ 561 h 1488"/>
                <a:gd name="T18" fmla="*/ 1742 w 2112"/>
                <a:gd name="T19" fmla="*/ 480 h 1488"/>
                <a:gd name="T20" fmla="*/ 1859 w 2112"/>
                <a:gd name="T21" fmla="*/ 432 h 1488"/>
                <a:gd name="T22" fmla="*/ 1787 w 2112"/>
                <a:gd name="T23" fmla="*/ 372 h 1488"/>
                <a:gd name="T24" fmla="*/ 1667 w 2112"/>
                <a:gd name="T25" fmla="*/ 408 h 1488"/>
                <a:gd name="T26" fmla="*/ 1587 w 2112"/>
                <a:gd name="T27" fmla="*/ 338 h 1488"/>
                <a:gd name="T28" fmla="*/ 1445 w 2112"/>
                <a:gd name="T29" fmla="*/ 279 h 1488"/>
                <a:gd name="T30" fmla="*/ 1359 w 2112"/>
                <a:gd name="T31" fmla="*/ 170 h 1488"/>
                <a:gd name="T32" fmla="*/ 1139 w 2112"/>
                <a:gd name="T33" fmla="*/ 0 h 1488"/>
                <a:gd name="T34" fmla="*/ 1032 w 2112"/>
                <a:gd name="T35" fmla="*/ 62 h 1488"/>
                <a:gd name="T36" fmla="*/ 936 w 2112"/>
                <a:gd name="T37" fmla="*/ 108 h 1488"/>
                <a:gd name="T38" fmla="*/ 816 w 2112"/>
                <a:gd name="T39" fmla="*/ 204 h 1488"/>
                <a:gd name="T40" fmla="*/ 660 w 2112"/>
                <a:gd name="T41" fmla="*/ 228 h 1488"/>
                <a:gd name="T42" fmla="*/ 588 w 2112"/>
                <a:gd name="T43" fmla="*/ 204 h 1488"/>
                <a:gd name="T44" fmla="*/ 480 w 2112"/>
                <a:gd name="T45" fmla="*/ 180 h 1488"/>
                <a:gd name="T46" fmla="*/ 348 w 2112"/>
                <a:gd name="T47" fmla="*/ 192 h 1488"/>
                <a:gd name="T48" fmla="*/ 216 w 2112"/>
                <a:gd name="T49" fmla="*/ 192 h 1488"/>
                <a:gd name="T50" fmla="*/ 192 w 2112"/>
                <a:gd name="T51" fmla="*/ 300 h 1488"/>
                <a:gd name="T52" fmla="*/ 156 w 2112"/>
                <a:gd name="T53" fmla="*/ 408 h 1488"/>
                <a:gd name="T54" fmla="*/ 192 w 2112"/>
                <a:gd name="T55" fmla="*/ 468 h 1488"/>
                <a:gd name="T56" fmla="*/ 96 w 2112"/>
                <a:gd name="T57" fmla="*/ 540 h 1488"/>
                <a:gd name="T58" fmla="*/ 0 w 2112"/>
                <a:gd name="T59" fmla="*/ 660 h 1488"/>
                <a:gd name="T60" fmla="*/ 48 w 2112"/>
                <a:gd name="T61" fmla="*/ 780 h 1488"/>
                <a:gd name="T62" fmla="*/ 168 w 2112"/>
                <a:gd name="T63" fmla="*/ 756 h 1488"/>
                <a:gd name="T64" fmla="*/ 288 w 2112"/>
                <a:gd name="T65" fmla="*/ 852 h 1488"/>
                <a:gd name="T66" fmla="*/ 384 w 2112"/>
                <a:gd name="T67" fmla="*/ 816 h 1488"/>
                <a:gd name="T68" fmla="*/ 492 w 2112"/>
                <a:gd name="T69" fmla="*/ 828 h 1488"/>
                <a:gd name="T70" fmla="*/ 612 w 2112"/>
                <a:gd name="T71" fmla="*/ 840 h 1488"/>
                <a:gd name="T72" fmla="*/ 696 w 2112"/>
                <a:gd name="T73" fmla="*/ 936 h 1488"/>
                <a:gd name="T74" fmla="*/ 780 w 2112"/>
                <a:gd name="T75" fmla="*/ 1032 h 1488"/>
                <a:gd name="T76" fmla="*/ 876 w 2112"/>
                <a:gd name="T77" fmla="*/ 1128 h 1488"/>
                <a:gd name="T78" fmla="*/ 912 w 2112"/>
                <a:gd name="T79" fmla="*/ 1200 h 1488"/>
                <a:gd name="T80" fmla="*/ 948 w 2112"/>
                <a:gd name="T81" fmla="*/ 1284 h 1488"/>
                <a:gd name="T82" fmla="*/ 1080 w 2112"/>
                <a:gd name="T83" fmla="*/ 1392 h 1488"/>
                <a:gd name="T84" fmla="*/ 1200 w 2112"/>
                <a:gd name="T85" fmla="*/ 1416 h 1488"/>
                <a:gd name="T86" fmla="*/ 1332 w 2112"/>
                <a:gd name="T87" fmla="*/ 1392 h 1488"/>
                <a:gd name="T88" fmla="*/ 1452 w 2112"/>
                <a:gd name="T89" fmla="*/ 1488 h 1488"/>
                <a:gd name="T90" fmla="*/ 1536 w 2112"/>
                <a:gd name="T91" fmla="*/ 1452 h 1488"/>
                <a:gd name="T92" fmla="*/ 1584 w 2112"/>
                <a:gd name="T93" fmla="*/ 1368 h 1488"/>
                <a:gd name="T94" fmla="*/ 1704 w 2112"/>
                <a:gd name="T95" fmla="*/ 1356 h 1488"/>
                <a:gd name="T96" fmla="*/ 1788 w 2112"/>
                <a:gd name="T97" fmla="*/ 1296 h 1488"/>
                <a:gd name="T98" fmla="*/ 1884 w 2112"/>
                <a:gd name="T99" fmla="*/ 1344 h 1488"/>
                <a:gd name="T100" fmla="*/ 1992 w 2112"/>
                <a:gd name="T101" fmla="*/ 1356 h 1488"/>
                <a:gd name="T102" fmla="*/ 2112 w 2112"/>
                <a:gd name="T103" fmla="*/ 1344 h 1488"/>
                <a:gd name="T104" fmla="*/ 2088 w 2112"/>
                <a:gd name="T105" fmla="*/ 1212 h 1488"/>
                <a:gd name="T106" fmla="*/ 2088 w 2112"/>
                <a:gd name="T107" fmla="*/ 1104 h 1488"/>
                <a:gd name="T108" fmla="*/ 2019 w 2112"/>
                <a:gd name="T109" fmla="*/ 1040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2" h="1488">
                  <a:moveTo>
                    <a:pt x="2019" y="1040"/>
                  </a:moveTo>
                  <a:lnTo>
                    <a:pt x="1956" y="1043"/>
                  </a:lnTo>
                  <a:lnTo>
                    <a:pt x="1893" y="981"/>
                  </a:lnTo>
                  <a:lnTo>
                    <a:pt x="1775" y="888"/>
                  </a:lnTo>
                  <a:lnTo>
                    <a:pt x="1755" y="813"/>
                  </a:lnTo>
                  <a:lnTo>
                    <a:pt x="1694" y="785"/>
                  </a:lnTo>
                  <a:lnTo>
                    <a:pt x="1686" y="720"/>
                  </a:lnTo>
                  <a:lnTo>
                    <a:pt x="1718" y="635"/>
                  </a:lnTo>
                  <a:lnTo>
                    <a:pt x="1751" y="561"/>
                  </a:lnTo>
                  <a:lnTo>
                    <a:pt x="1742" y="480"/>
                  </a:lnTo>
                  <a:lnTo>
                    <a:pt x="1859" y="432"/>
                  </a:lnTo>
                  <a:lnTo>
                    <a:pt x="1787" y="372"/>
                  </a:lnTo>
                  <a:lnTo>
                    <a:pt x="1667" y="408"/>
                  </a:lnTo>
                  <a:lnTo>
                    <a:pt x="1587" y="338"/>
                  </a:lnTo>
                  <a:lnTo>
                    <a:pt x="1445" y="279"/>
                  </a:lnTo>
                  <a:lnTo>
                    <a:pt x="1359" y="170"/>
                  </a:lnTo>
                  <a:lnTo>
                    <a:pt x="1139" y="0"/>
                  </a:lnTo>
                  <a:lnTo>
                    <a:pt x="1032" y="62"/>
                  </a:lnTo>
                  <a:lnTo>
                    <a:pt x="936" y="108"/>
                  </a:lnTo>
                  <a:lnTo>
                    <a:pt x="816" y="204"/>
                  </a:lnTo>
                  <a:lnTo>
                    <a:pt x="660" y="228"/>
                  </a:lnTo>
                  <a:lnTo>
                    <a:pt x="588" y="204"/>
                  </a:lnTo>
                  <a:lnTo>
                    <a:pt x="480" y="180"/>
                  </a:lnTo>
                  <a:lnTo>
                    <a:pt x="348" y="192"/>
                  </a:lnTo>
                  <a:lnTo>
                    <a:pt x="216" y="192"/>
                  </a:lnTo>
                  <a:lnTo>
                    <a:pt x="192" y="300"/>
                  </a:lnTo>
                  <a:lnTo>
                    <a:pt x="156" y="408"/>
                  </a:lnTo>
                  <a:lnTo>
                    <a:pt x="192" y="468"/>
                  </a:lnTo>
                  <a:lnTo>
                    <a:pt x="96" y="540"/>
                  </a:lnTo>
                  <a:lnTo>
                    <a:pt x="0" y="660"/>
                  </a:lnTo>
                  <a:lnTo>
                    <a:pt x="48" y="780"/>
                  </a:lnTo>
                  <a:lnTo>
                    <a:pt x="168" y="756"/>
                  </a:lnTo>
                  <a:lnTo>
                    <a:pt x="288" y="852"/>
                  </a:lnTo>
                  <a:lnTo>
                    <a:pt x="384" y="816"/>
                  </a:lnTo>
                  <a:lnTo>
                    <a:pt x="492" y="828"/>
                  </a:lnTo>
                  <a:lnTo>
                    <a:pt x="612" y="840"/>
                  </a:lnTo>
                  <a:lnTo>
                    <a:pt x="696" y="936"/>
                  </a:lnTo>
                  <a:lnTo>
                    <a:pt x="780" y="1032"/>
                  </a:lnTo>
                  <a:lnTo>
                    <a:pt x="876" y="1128"/>
                  </a:lnTo>
                  <a:lnTo>
                    <a:pt x="912" y="1200"/>
                  </a:lnTo>
                  <a:lnTo>
                    <a:pt x="948" y="1284"/>
                  </a:lnTo>
                  <a:lnTo>
                    <a:pt x="1080" y="1392"/>
                  </a:lnTo>
                  <a:lnTo>
                    <a:pt x="1200" y="1416"/>
                  </a:lnTo>
                  <a:lnTo>
                    <a:pt x="1332" y="1392"/>
                  </a:lnTo>
                  <a:lnTo>
                    <a:pt x="1452" y="1488"/>
                  </a:lnTo>
                  <a:lnTo>
                    <a:pt x="1536" y="1452"/>
                  </a:lnTo>
                  <a:lnTo>
                    <a:pt x="1584" y="1368"/>
                  </a:lnTo>
                  <a:lnTo>
                    <a:pt x="1704" y="1356"/>
                  </a:lnTo>
                  <a:lnTo>
                    <a:pt x="1788" y="1296"/>
                  </a:lnTo>
                  <a:lnTo>
                    <a:pt x="1884" y="1344"/>
                  </a:lnTo>
                  <a:lnTo>
                    <a:pt x="1992" y="1356"/>
                  </a:lnTo>
                  <a:lnTo>
                    <a:pt x="2112" y="1344"/>
                  </a:lnTo>
                  <a:lnTo>
                    <a:pt x="2088" y="1212"/>
                  </a:lnTo>
                  <a:lnTo>
                    <a:pt x="2088" y="1104"/>
                  </a:lnTo>
                  <a:lnTo>
                    <a:pt x="2019" y="10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sp>
          <p:nvSpPr>
            <p:cNvPr id="14" name="Freeform 15">
              <a:extLst>
                <a:ext uri="{FF2B5EF4-FFF2-40B4-BE49-F238E27FC236}">
                  <a16:creationId xmlns:a16="http://schemas.microsoft.com/office/drawing/2014/main" id="{2F09CB29-910F-4F2D-A5DF-60E09710737E}"/>
                </a:ext>
              </a:extLst>
            </p:cNvPr>
            <p:cNvSpPr>
              <a:spLocks/>
            </p:cNvSpPr>
            <p:nvPr/>
          </p:nvSpPr>
          <p:spPr bwMode="auto">
            <a:xfrm>
              <a:off x="3048070" y="3119433"/>
              <a:ext cx="1240762" cy="1014016"/>
            </a:xfrm>
            <a:custGeom>
              <a:avLst/>
              <a:gdLst>
                <a:gd name="T0" fmla="*/ 971 w 4404"/>
                <a:gd name="T1" fmla="*/ 611 h 3600"/>
                <a:gd name="T2" fmla="*/ 1224 w 4404"/>
                <a:gd name="T3" fmla="*/ 552 h 3600"/>
                <a:gd name="T4" fmla="*/ 1356 w 4404"/>
                <a:gd name="T5" fmla="*/ 371 h 3600"/>
                <a:gd name="T6" fmla="*/ 1500 w 4404"/>
                <a:gd name="T7" fmla="*/ 489 h 3600"/>
                <a:gd name="T8" fmla="*/ 1631 w 4404"/>
                <a:gd name="T9" fmla="*/ 684 h 3600"/>
                <a:gd name="T10" fmla="*/ 1836 w 4404"/>
                <a:gd name="T11" fmla="*/ 890 h 3600"/>
                <a:gd name="T12" fmla="*/ 2337 w 4404"/>
                <a:gd name="T13" fmla="*/ 1065 h 3600"/>
                <a:gd name="T14" fmla="*/ 2696 w 4404"/>
                <a:gd name="T15" fmla="*/ 1032 h 3600"/>
                <a:gd name="T16" fmla="*/ 2855 w 4404"/>
                <a:gd name="T17" fmla="*/ 672 h 3600"/>
                <a:gd name="T18" fmla="*/ 2915 w 4404"/>
                <a:gd name="T19" fmla="*/ 419 h 3600"/>
                <a:gd name="T20" fmla="*/ 3059 w 4404"/>
                <a:gd name="T21" fmla="*/ 240 h 3600"/>
                <a:gd name="T22" fmla="*/ 2990 w 4404"/>
                <a:gd name="T23" fmla="*/ 36 h 3600"/>
                <a:gd name="T24" fmla="*/ 3377 w 4404"/>
                <a:gd name="T25" fmla="*/ 63 h 3600"/>
                <a:gd name="T26" fmla="*/ 3696 w 4404"/>
                <a:gd name="T27" fmla="*/ 167 h 3600"/>
                <a:gd name="T28" fmla="*/ 3893 w 4404"/>
                <a:gd name="T29" fmla="*/ 26 h 3600"/>
                <a:gd name="T30" fmla="*/ 3986 w 4404"/>
                <a:gd name="T31" fmla="*/ 324 h 3600"/>
                <a:gd name="T32" fmla="*/ 3936 w 4404"/>
                <a:gd name="T33" fmla="*/ 447 h 3600"/>
                <a:gd name="T34" fmla="*/ 3692 w 4404"/>
                <a:gd name="T35" fmla="*/ 882 h 3600"/>
                <a:gd name="T36" fmla="*/ 3432 w 4404"/>
                <a:gd name="T37" fmla="*/ 1128 h 3600"/>
                <a:gd name="T38" fmla="*/ 3614 w 4404"/>
                <a:gd name="T39" fmla="*/ 1271 h 3600"/>
                <a:gd name="T40" fmla="*/ 3818 w 4404"/>
                <a:gd name="T41" fmla="*/ 1188 h 3600"/>
                <a:gd name="T42" fmla="*/ 4010 w 4404"/>
                <a:gd name="T43" fmla="*/ 1356 h 3600"/>
                <a:gd name="T44" fmla="*/ 4056 w 4404"/>
                <a:gd name="T45" fmla="*/ 1574 h 3600"/>
                <a:gd name="T46" fmla="*/ 4350 w 4404"/>
                <a:gd name="T47" fmla="*/ 1779 h 3600"/>
                <a:gd name="T48" fmla="*/ 4356 w 4404"/>
                <a:gd name="T49" fmla="*/ 2075 h 3600"/>
                <a:gd name="T50" fmla="*/ 4052 w 4404"/>
                <a:gd name="T51" fmla="*/ 1835 h 3600"/>
                <a:gd name="T52" fmla="*/ 3768 w 4404"/>
                <a:gd name="T53" fmla="*/ 1917 h 3600"/>
                <a:gd name="T54" fmla="*/ 3671 w 4404"/>
                <a:gd name="T55" fmla="*/ 2289 h 3600"/>
                <a:gd name="T56" fmla="*/ 3503 w 4404"/>
                <a:gd name="T57" fmla="*/ 2174 h 3600"/>
                <a:gd name="T58" fmla="*/ 3563 w 4404"/>
                <a:gd name="T59" fmla="*/ 1884 h 3600"/>
                <a:gd name="T60" fmla="*/ 3482 w 4404"/>
                <a:gd name="T61" fmla="*/ 1787 h 3600"/>
                <a:gd name="T62" fmla="*/ 3306 w 4404"/>
                <a:gd name="T63" fmla="*/ 1689 h 3600"/>
                <a:gd name="T64" fmla="*/ 3240 w 4404"/>
                <a:gd name="T65" fmla="*/ 1895 h 3600"/>
                <a:gd name="T66" fmla="*/ 3182 w 4404"/>
                <a:gd name="T67" fmla="*/ 2196 h 3600"/>
                <a:gd name="T68" fmla="*/ 3383 w 4404"/>
                <a:gd name="T69" fmla="*/ 2376 h 3600"/>
                <a:gd name="T70" fmla="*/ 3326 w 4404"/>
                <a:gd name="T71" fmla="*/ 2676 h 3600"/>
                <a:gd name="T72" fmla="*/ 3197 w 4404"/>
                <a:gd name="T73" fmla="*/ 2844 h 3600"/>
                <a:gd name="T74" fmla="*/ 2894 w 4404"/>
                <a:gd name="T75" fmla="*/ 2916 h 3600"/>
                <a:gd name="T76" fmla="*/ 2412 w 4404"/>
                <a:gd name="T77" fmla="*/ 2940 h 3600"/>
                <a:gd name="T78" fmla="*/ 2388 w 4404"/>
                <a:gd name="T79" fmla="*/ 3326 h 3600"/>
                <a:gd name="T80" fmla="*/ 1620 w 4404"/>
                <a:gd name="T81" fmla="*/ 3564 h 3600"/>
                <a:gd name="T82" fmla="*/ 1440 w 4404"/>
                <a:gd name="T83" fmla="*/ 3084 h 3600"/>
                <a:gd name="T84" fmla="*/ 1164 w 4404"/>
                <a:gd name="T85" fmla="*/ 2700 h 3600"/>
                <a:gd name="T86" fmla="*/ 864 w 4404"/>
                <a:gd name="T87" fmla="*/ 2580 h 3600"/>
                <a:gd name="T88" fmla="*/ 684 w 4404"/>
                <a:gd name="T89" fmla="*/ 2100 h 3600"/>
                <a:gd name="T90" fmla="*/ 636 w 4404"/>
                <a:gd name="T91" fmla="*/ 1728 h 3600"/>
                <a:gd name="T92" fmla="*/ 336 w 4404"/>
                <a:gd name="T93" fmla="*/ 1584 h 3600"/>
                <a:gd name="T94" fmla="*/ 84 w 4404"/>
                <a:gd name="T95" fmla="*/ 1356 h 3600"/>
                <a:gd name="T96" fmla="*/ 252 w 4404"/>
                <a:gd name="T97" fmla="*/ 1236 h 3600"/>
                <a:gd name="T98" fmla="*/ 504 w 4404"/>
                <a:gd name="T99" fmla="*/ 1212 h 3600"/>
                <a:gd name="T100" fmla="*/ 804 w 4404"/>
                <a:gd name="T101" fmla="*/ 1188 h 3600"/>
                <a:gd name="T102" fmla="*/ 1008 w 4404"/>
                <a:gd name="T103" fmla="*/ 10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4" h="3600">
                  <a:moveTo>
                    <a:pt x="938" y="884"/>
                  </a:moveTo>
                  <a:lnTo>
                    <a:pt x="947" y="755"/>
                  </a:lnTo>
                  <a:lnTo>
                    <a:pt x="971" y="611"/>
                  </a:lnTo>
                  <a:lnTo>
                    <a:pt x="1067" y="518"/>
                  </a:lnTo>
                  <a:lnTo>
                    <a:pt x="1187" y="479"/>
                  </a:lnTo>
                  <a:lnTo>
                    <a:pt x="1224" y="552"/>
                  </a:lnTo>
                  <a:lnTo>
                    <a:pt x="1332" y="504"/>
                  </a:lnTo>
                  <a:lnTo>
                    <a:pt x="1403" y="456"/>
                  </a:lnTo>
                  <a:lnTo>
                    <a:pt x="1356" y="371"/>
                  </a:lnTo>
                  <a:lnTo>
                    <a:pt x="1439" y="312"/>
                  </a:lnTo>
                  <a:lnTo>
                    <a:pt x="1512" y="395"/>
                  </a:lnTo>
                  <a:lnTo>
                    <a:pt x="1500" y="489"/>
                  </a:lnTo>
                  <a:lnTo>
                    <a:pt x="1526" y="566"/>
                  </a:lnTo>
                  <a:lnTo>
                    <a:pt x="1584" y="611"/>
                  </a:lnTo>
                  <a:lnTo>
                    <a:pt x="1631" y="684"/>
                  </a:lnTo>
                  <a:lnTo>
                    <a:pt x="1646" y="771"/>
                  </a:lnTo>
                  <a:lnTo>
                    <a:pt x="1769" y="828"/>
                  </a:lnTo>
                  <a:lnTo>
                    <a:pt x="1836" y="890"/>
                  </a:lnTo>
                  <a:lnTo>
                    <a:pt x="1946" y="936"/>
                  </a:lnTo>
                  <a:lnTo>
                    <a:pt x="2088" y="947"/>
                  </a:lnTo>
                  <a:lnTo>
                    <a:pt x="2337" y="1065"/>
                  </a:lnTo>
                  <a:lnTo>
                    <a:pt x="2471" y="1094"/>
                  </a:lnTo>
                  <a:lnTo>
                    <a:pt x="2589" y="1080"/>
                  </a:lnTo>
                  <a:lnTo>
                    <a:pt x="2696" y="1032"/>
                  </a:lnTo>
                  <a:lnTo>
                    <a:pt x="2822" y="947"/>
                  </a:lnTo>
                  <a:lnTo>
                    <a:pt x="2904" y="819"/>
                  </a:lnTo>
                  <a:lnTo>
                    <a:pt x="2855" y="672"/>
                  </a:lnTo>
                  <a:lnTo>
                    <a:pt x="2868" y="552"/>
                  </a:lnTo>
                  <a:lnTo>
                    <a:pt x="2823" y="434"/>
                  </a:lnTo>
                  <a:lnTo>
                    <a:pt x="2915" y="419"/>
                  </a:lnTo>
                  <a:lnTo>
                    <a:pt x="3000" y="458"/>
                  </a:lnTo>
                  <a:lnTo>
                    <a:pt x="3012" y="323"/>
                  </a:lnTo>
                  <a:lnTo>
                    <a:pt x="3059" y="240"/>
                  </a:lnTo>
                  <a:lnTo>
                    <a:pt x="2916" y="182"/>
                  </a:lnTo>
                  <a:lnTo>
                    <a:pt x="2918" y="71"/>
                  </a:lnTo>
                  <a:lnTo>
                    <a:pt x="2990" y="36"/>
                  </a:lnTo>
                  <a:lnTo>
                    <a:pt x="3074" y="71"/>
                  </a:lnTo>
                  <a:lnTo>
                    <a:pt x="3212" y="84"/>
                  </a:lnTo>
                  <a:lnTo>
                    <a:pt x="3377" y="63"/>
                  </a:lnTo>
                  <a:lnTo>
                    <a:pt x="3560" y="48"/>
                  </a:lnTo>
                  <a:lnTo>
                    <a:pt x="3636" y="62"/>
                  </a:lnTo>
                  <a:lnTo>
                    <a:pt x="3696" y="167"/>
                  </a:lnTo>
                  <a:lnTo>
                    <a:pt x="3770" y="93"/>
                  </a:lnTo>
                  <a:lnTo>
                    <a:pt x="3815" y="0"/>
                  </a:lnTo>
                  <a:lnTo>
                    <a:pt x="3893" y="26"/>
                  </a:lnTo>
                  <a:lnTo>
                    <a:pt x="3984" y="96"/>
                  </a:lnTo>
                  <a:lnTo>
                    <a:pt x="4032" y="218"/>
                  </a:lnTo>
                  <a:lnTo>
                    <a:pt x="3986" y="324"/>
                  </a:lnTo>
                  <a:lnTo>
                    <a:pt x="3864" y="192"/>
                  </a:lnTo>
                  <a:lnTo>
                    <a:pt x="3890" y="315"/>
                  </a:lnTo>
                  <a:lnTo>
                    <a:pt x="3936" y="447"/>
                  </a:lnTo>
                  <a:lnTo>
                    <a:pt x="3851" y="543"/>
                  </a:lnTo>
                  <a:lnTo>
                    <a:pt x="3779" y="648"/>
                  </a:lnTo>
                  <a:lnTo>
                    <a:pt x="3692" y="882"/>
                  </a:lnTo>
                  <a:lnTo>
                    <a:pt x="3638" y="1008"/>
                  </a:lnTo>
                  <a:lnTo>
                    <a:pt x="3537" y="1082"/>
                  </a:lnTo>
                  <a:lnTo>
                    <a:pt x="3432" y="1128"/>
                  </a:lnTo>
                  <a:lnTo>
                    <a:pt x="3443" y="1235"/>
                  </a:lnTo>
                  <a:lnTo>
                    <a:pt x="3503" y="1296"/>
                  </a:lnTo>
                  <a:lnTo>
                    <a:pt x="3614" y="1271"/>
                  </a:lnTo>
                  <a:lnTo>
                    <a:pt x="3672" y="1188"/>
                  </a:lnTo>
                  <a:lnTo>
                    <a:pt x="3743" y="1200"/>
                  </a:lnTo>
                  <a:lnTo>
                    <a:pt x="3818" y="1188"/>
                  </a:lnTo>
                  <a:lnTo>
                    <a:pt x="3912" y="1188"/>
                  </a:lnTo>
                  <a:lnTo>
                    <a:pt x="3984" y="1262"/>
                  </a:lnTo>
                  <a:lnTo>
                    <a:pt x="4010" y="1356"/>
                  </a:lnTo>
                  <a:lnTo>
                    <a:pt x="3962" y="1440"/>
                  </a:lnTo>
                  <a:lnTo>
                    <a:pt x="3972" y="1524"/>
                  </a:lnTo>
                  <a:lnTo>
                    <a:pt x="4056" y="1574"/>
                  </a:lnTo>
                  <a:lnTo>
                    <a:pt x="4173" y="1595"/>
                  </a:lnTo>
                  <a:lnTo>
                    <a:pt x="4299" y="1670"/>
                  </a:lnTo>
                  <a:lnTo>
                    <a:pt x="4350" y="1779"/>
                  </a:lnTo>
                  <a:lnTo>
                    <a:pt x="4404" y="1910"/>
                  </a:lnTo>
                  <a:lnTo>
                    <a:pt x="4334" y="1968"/>
                  </a:lnTo>
                  <a:lnTo>
                    <a:pt x="4356" y="2075"/>
                  </a:lnTo>
                  <a:lnTo>
                    <a:pt x="4212" y="2016"/>
                  </a:lnTo>
                  <a:lnTo>
                    <a:pt x="4154" y="1908"/>
                  </a:lnTo>
                  <a:lnTo>
                    <a:pt x="4052" y="1835"/>
                  </a:lnTo>
                  <a:lnTo>
                    <a:pt x="3881" y="1809"/>
                  </a:lnTo>
                  <a:lnTo>
                    <a:pt x="3767" y="1802"/>
                  </a:lnTo>
                  <a:lnTo>
                    <a:pt x="3768" y="1917"/>
                  </a:lnTo>
                  <a:lnTo>
                    <a:pt x="3732" y="2031"/>
                  </a:lnTo>
                  <a:lnTo>
                    <a:pt x="3635" y="2198"/>
                  </a:lnTo>
                  <a:lnTo>
                    <a:pt x="3671" y="2289"/>
                  </a:lnTo>
                  <a:lnTo>
                    <a:pt x="3587" y="2327"/>
                  </a:lnTo>
                  <a:lnTo>
                    <a:pt x="3515" y="2258"/>
                  </a:lnTo>
                  <a:lnTo>
                    <a:pt x="3503" y="2174"/>
                  </a:lnTo>
                  <a:lnTo>
                    <a:pt x="3444" y="2076"/>
                  </a:lnTo>
                  <a:lnTo>
                    <a:pt x="3539" y="2016"/>
                  </a:lnTo>
                  <a:lnTo>
                    <a:pt x="3563" y="1884"/>
                  </a:lnTo>
                  <a:lnTo>
                    <a:pt x="3624" y="1850"/>
                  </a:lnTo>
                  <a:lnTo>
                    <a:pt x="3621" y="1787"/>
                  </a:lnTo>
                  <a:lnTo>
                    <a:pt x="3482" y="1787"/>
                  </a:lnTo>
                  <a:lnTo>
                    <a:pt x="3419" y="1730"/>
                  </a:lnTo>
                  <a:lnTo>
                    <a:pt x="3395" y="1668"/>
                  </a:lnTo>
                  <a:lnTo>
                    <a:pt x="3306" y="1689"/>
                  </a:lnTo>
                  <a:lnTo>
                    <a:pt x="3252" y="1691"/>
                  </a:lnTo>
                  <a:lnTo>
                    <a:pt x="3192" y="1776"/>
                  </a:lnTo>
                  <a:lnTo>
                    <a:pt x="3240" y="1895"/>
                  </a:lnTo>
                  <a:lnTo>
                    <a:pt x="3240" y="2004"/>
                  </a:lnTo>
                  <a:lnTo>
                    <a:pt x="3179" y="2100"/>
                  </a:lnTo>
                  <a:lnTo>
                    <a:pt x="3182" y="2196"/>
                  </a:lnTo>
                  <a:lnTo>
                    <a:pt x="3285" y="2207"/>
                  </a:lnTo>
                  <a:lnTo>
                    <a:pt x="3362" y="2234"/>
                  </a:lnTo>
                  <a:lnTo>
                    <a:pt x="3383" y="2376"/>
                  </a:lnTo>
                  <a:lnTo>
                    <a:pt x="3455" y="2462"/>
                  </a:lnTo>
                  <a:lnTo>
                    <a:pt x="3336" y="2543"/>
                  </a:lnTo>
                  <a:lnTo>
                    <a:pt x="3326" y="2676"/>
                  </a:lnTo>
                  <a:lnTo>
                    <a:pt x="3275" y="2739"/>
                  </a:lnTo>
                  <a:lnTo>
                    <a:pt x="3312" y="2856"/>
                  </a:lnTo>
                  <a:lnTo>
                    <a:pt x="3197" y="2844"/>
                  </a:lnTo>
                  <a:lnTo>
                    <a:pt x="3105" y="2831"/>
                  </a:lnTo>
                  <a:lnTo>
                    <a:pt x="3000" y="2820"/>
                  </a:lnTo>
                  <a:lnTo>
                    <a:pt x="2894" y="2916"/>
                  </a:lnTo>
                  <a:lnTo>
                    <a:pt x="2775" y="2906"/>
                  </a:lnTo>
                  <a:lnTo>
                    <a:pt x="2661" y="2880"/>
                  </a:lnTo>
                  <a:lnTo>
                    <a:pt x="2412" y="2940"/>
                  </a:lnTo>
                  <a:lnTo>
                    <a:pt x="2364" y="3119"/>
                  </a:lnTo>
                  <a:lnTo>
                    <a:pt x="2400" y="3251"/>
                  </a:lnTo>
                  <a:lnTo>
                    <a:pt x="2388" y="3326"/>
                  </a:lnTo>
                  <a:lnTo>
                    <a:pt x="2243" y="3545"/>
                  </a:lnTo>
                  <a:lnTo>
                    <a:pt x="1956" y="3600"/>
                  </a:lnTo>
                  <a:lnTo>
                    <a:pt x="1620" y="3564"/>
                  </a:lnTo>
                  <a:lnTo>
                    <a:pt x="1524" y="3444"/>
                  </a:lnTo>
                  <a:lnTo>
                    <a:pt x="1397" y="3408"/>
                  </a:lnTo>
                  <a:lnTo>
                    <a:pt x="1440" y="3084"/>
                  </a:lnTo>
                  <a:lnTo>
                    <a:pt x="1476" y="2820"/>
                  </a:lnTo>
                  <a:lnTo>
                    <a:pt x="1332" y="2772"/>
                  </a:lnTo>
                  <a:lnTo>
                    <a:pt x="1164" y="2700"/>
                  </a:lnTo>
                  <a:lnTo>
                    <a:pt x="984" y="2784"/>
                  </a:lnTo>
                  <a:lnTo>
                    <a:pt x="972" y="2640"/>
                  </a:lnTo>
                  <a:lnTo>
                    <a:pt x="864" y="2580"/>
                  </a:lnTo>
                  <a:lnTo>
                    <a:pt x="780" y="2412"/>
                  </a:lnTo>
                  <a:lnTo>
                    <a:pt x="708" y="2292"/>
                  </a:lnTo>
                  <a:lnTo>
                    <a:pt x="684" y="2100"/>
                  </a:lnTo>
                  <a:lnTo>
                    <a:pt x="684" y="1968"/>
                  </a:lnTo>
                  <a:lnTo>
                    <a:pt x="720" y="1788"/>
                  </a:lnTo>
                  <a:lnTo>
                    <a:pt x="636" y="1728"/>
                  </a:lnTo>
                  <a:lnTo>
                    <a:pt x="516" y="1692"/>
                  </a:lnTo>
                  <a:lnTo>
                    <a:pt x="444" y="1596"/>
                  </a:lnTo>
                  <a:lnTo>
                    <a:pt x="336" y="1584"/>
                  </a:lnTo>
                  <a:lnTo>
                    <a:pt x="252" y="1464"/>
                  </a:lnTo>
                  <a:lnTo>
                    <a:pt x="192" y="1392"/>
                  </a:lnTo>
                  <a:lnTo>
                    <a:pt x="84" y="1356"/>
                  </a:lnTo>
                  <a:lnTo>
                    <a:pt x="0" y="1236"/>
                  </a:lnTo>
                  <a:lnTo>
                    <a:pt x="120" y="1260"/>
                  </a:lnTo>
                  <a:lnTo>
                    <a:pt x="252" y="1236"/>
                  </a:lnTo>
                  <a:lnTo>
                    <a:pt x="372" y="1332"/>
                  </a:lnTo>
                  <a:lnTo>
                    <a:pt x="456" y="1296"/>
                  </a:lnTo>
                  <a:lnTo>
                    <a:pt x="504" y="1212"/>
                  </a:lnTo>
                  <a:lnTo>
                    <a:pt x="624" y="1200"/>
                  </a:lnTo>
                  <a:lnTo>
                    <a:pt x="708" y="1140"/>
                  </a:lnTo>
                  <a:lnTo>
                    <a:pt x="804" y="1188"/>
                  </a:lnTo>
                  <a:lnTo>
                    <a:pt x="912" y="1200"/>
                  </a:lnTo>
                  <a:lnTo>
                    <a:pt x="1032" y="1188"/>
                  </a:lnTo>
                  <a:lnTo>
                    <a:pt x="1008" y="1056"/>
                  </a:lnTo>
                  <a:lnTo>
                    <a:pt x="1008" y="948"/>
                  </a:lnTo>
                  <a:lnTo>
                    <a:pt x="938" y="884"/>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200" b="1" kern="0">
                <a:solidFill>
                  <a:srgbClr val="000000"/>
                </a:solidFill>
                <a:latin typeface="Arial" charset="0"/>
              </a:endParaRPr>
            </a:p>
          </p:txBody>
        </p:sp>
        <p:sp>
          <p:nvSpPr>
            <p:cNvPr id="15" name="Freeform 16">
              <a:extLst>
                <a:ext uri="{FF2B5EF4-FFF2-40B4-BE49-F238E27FC236}">
                  <a16:creationId xmlns:a16="http://schemas.microsoft.com/office/drawing/2014/main" id="{B2CDBC79-DDED-4061-83C0-905D136BC998}"/>
                </a:ext>
              </a:extLst>
            </p:cNvPr>
            <p:cNvSpPr>
              <a:spLocks/>
            </p:cNvSpPr>
            <p:nvPr/>
          </p:nvSpPr>
          <p:spPr bwMode="auto">
            <a:xfrm>
              <a:off x="4431075" y="1606859"/>
              <a:ext cx="653477" cy="1421031"/>
            </a:xfrm>
            <a:custGeom>
              <a:avLst/>
              <a:gdLst>
                <a:gd name="T0" fmla="*/ 102 w 2323"/>
                <a:gd name="T1" fmla="*/ 139 h 5047"/>
                <a:gd name="T2" fmla="*/ 12 w 2323"/>
                <a:gd name="T3" fmla="*/ 280 h 5047"/>
                <a:gd name="T4" fmla="*/ 85 w 2323"/>
                <a:gd name="T5" fmla="*/ 562 h 5047"/>
                <a:gd name="T6" fmla="*/ 97 w 2323"/>
                <a:gd name="T7" fmla="*/ 805 h 5047"/>
                <a:gd name="T8" fmla="*/ 12 w 2323"/>
                <a:gd name="T9" fmla="*/ 1113 h 5047"/>
                <a:gd name="T10" fmla="*/ 12 w 2323"/>
                <a:gd name="T11" fmla="*/ 1440 h 5047"/>
                <a:gd name="T12" fmla="*/ 171 w 2323"/>
                <a:gd name="T13" fmla="*/ 1533 h 5047"/>
                <a:gd name="T14" fmla="*/ 51 w 2323"/>
                <a:gd name="T15" fmla="*/ 1785 h 5047"/>
                <a:gd name="T16" fmla="*/ 72 w 2323"/>
                <a:gd name="T17" fmla="*/ 2058 h 5047"/>
                <a:gd name="T18" fmla="*/ 144 w 2323"/>
                <a:gd name="T19" fmla="*/ 2313 h 5047"/>
                <a:gd name="T20" fmla="*/ 229 w 2323"/>
                <a:gd name="T21" fmla="*/ 2529 h 5047"/>
                <a:gd name="T22" fmla="*/ 327 w 2323"/>
                <a:gd name="T23" fmla="*/ 2811 h 5047"/>
                <a:gd name="T24" fmla="*/ 447 w 2323"/>
                <a:gd name="T25" fmla="*/ 3034 h 5047"/>
                <a:gd name="T26" fmla="*/ 387 w 2323"/>
                <a:gd name="T27" fmla="*/ 3237 h 5047"/>
                <a:gd name="T28" fmla="*/ 408 w 2323"/>
                <a:gd name="T29" fmla="*/ 3406 h 5047"/>
                <a:gd name="T30" fmla="*/ 373 w 2323"/>
                <a:gd name="T31" fmla="*/ 3657 h 5047"/>
                <a:gd name="T32" fmla="*/ 253 w 2323"/>
                <a:gd name="T33" fmla="*/ 3909 h 5047"/>
                <a:gd name="T34" fmla="*/ 322 w 2323"/>
                <a:gd name="T35" fmla="*/ 4030 h 5047"/>
                <a:gd name="T36" fmla="*/ 276 w 2323"/>
                <a:gd name="T37" fmla="*/ 4248 h 5047"/>
                <a:gd name="T38" fmla="*/ 169 w 2323"/>
                <a:gd name="T39" fmla="*/ 4476 h 5047"/>
                <a:gd name="T40" fmla="*/ 156 w 2323"/>
                <a:gd name="T41" fmla="*/ 4644 h 5047"/>
                <a:gd name="T42" fmla="*/ 169 w 2323"/>
                <a:gd name="T43" fmla="*/ 4783 h 5047"/>
                <a:gd name="T44" fmla="*/ 291 w 2323"/>
                <a:gd name="T45" fmla="*/ 4908 h 5047"/>
                <a:gd name="T46" fmla="*/ 421 w 2323"/>
                <a:gd name="T47" fmla="*/ 4932 h 5047"/>
                <a:gd name="T48" fmla="*/ 610 w 2323"/>
                <a:gd name="T49" fmla="*/ 4659 h 5047"/>
                <a:gd name="T50" fmla="*/ 807 w 2323"/>
                <a:gd name="T51" fmla="*/ 4545 h 5047"/>
                <a:gd name="T52" fmla="*/ 841 w 2323"/>
                <a:gd name="T53" fmla="*/ 4438 h 5047"/>
                <a:gd name="T54" fmla="*/ 1129 w 2323"/>
                <a:gd name="T55" fmla="*/ 4080 h 5047"/>
                <a:gd name="T56" fmla="*/ 1123 w 2323"/>
                <a:gd name="T57" fmla="*/ 3799 h 5047"/>
                <a:gd name="T58" fmla="*/ 1225 w 2323"/>
                <a:gd name="T59" fmla="*/ 3361 h 5047"/>
                <a:gd name="T60" fmla="*/ 1428 w 2323"/>
                <a:gd name="T61" fmla="*/ 3142 h 5047"/>
                <a:gd name="T62" fmla="*/ 1837 w 2323"/>
                <a:gd name="T63" fmla="*/ 2926 h 5047"/>
                <a:gd name="T64" fmla="*/ 1837 w 2323"/>
                <a:gd name="T65" fmla="*/ 2548 h 5047"/>
                <a:gd name="T66" fmla="*/ 2071 w 2323"/>
                <a:gd name="T67" fmla="*/ 2296 h 5047"/>
                <a:gd name="T68" fmla="*/ 2323 w 2323"/>
                <a:gd name="T69" fmla="*/ 1864 h 5047"/>
                <a:gd name="T70" fmla="*/ 1836 w 2323"/>
                <a:gd name="T71" fmla="*/ 1173 h 5047"/>
                <a:gd name="T72" fmla="*/ 1384 w 2323"/>
                <a:gd name="T73" fmla="*/ 742 h 5047"/>
                <a:gd name="T74" fmla="*/ 1060 w 2323"/>
                <a:gd name="T75" fmla="*/ 444 h 5047"/>
                <a:gd name="T76" fmla="*/ 552 w 2323"/>
                <a:gd name="T77" fmla="*/ 94 h 5047"/>
                <a:gd name="T78" fmla="*/ 229 w 2323"/>
                <a:gd name="T79" fmla="*/ 82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3" h="5047">
                  <a:moveTo>
                    <a:pt x="229" y="82"/>
                  </a:moveTo>
                  <a:lnTo>
                    <a:pt x="102" y="139"/>
                  </a:lnTo>
                  <a:lnTo>
                    <a:pt x="0" y="190"/>
                  </a:lnTo>
                  <a:lnTo>
                    <a:pt x="12" y="280"/>
                  </a:lnTo>
                  <a:lnTo>
                    <a:pt x="73" y="432"/>
                  </a:lnTo>
                  <a:lnTo>
                    <a:pt x="85" y="562"/>
                  </a:lnTo>
                  <a:lnTo>
                    <a:pt x="72" y="696"/>
                  </a:lnTo>
                  <a:lnTo>
                    <a:pt x="97" y="805"/>
                  </a:lnTo>
                  <a:lnTo>
                    <a:pt x="24" y="913"/>
                  </a:lnTo>
                  <a:lnTo>
                    <a:pt x="12" y="1113"/>
                  </a:lnTo>
                  <a:lnTo>
                    <a:pt x="85" y="1222"/>
                  </a:lnTo>
                  <a:lnTo>
                    <a:pt x="12" y="1440"/>
                  </a:lnTo>
                  <a:lnTo>
                    <a:pt x="93" y="1461"/>
                  </a:lnTo>
                  <a:lnTo>
                    <a:pt x="171" y="1533"/>
                  </a:lnTo>
                  <a:lnTo>
                    <a:pt x="145" y="1678"/>
                  </a:lnTo>
                  <a:lnTo>
                    <a:pt x="51" y="1785"/>
                  </a:lnTo>
                  <a:lnTo>
                    <a:pt x="48" y="1944"/>
                  </a:lnTo>
                  <a:lnTo>
                    <a:pt x="72" y="2058"/>
                  </a:lnTo>
                  <a:lnTo>
                    <a:pt x="84" y="2217"/>
                  </a:lnTo>
                  <a:lnTo>
                    <a:pt x="144" y="2313"/>
                  </a:lnTo>
                  <a:lnTo>
                    <a:pt x="135" y="2470"/>
                  </a:lnTo>
                  <a:lnTo>
                    <a:pt x="229" y="2529"/>
                  </a:lnTo>
                  <a:lnTo>
                    <a:pt x="289" y="2673"/>
                  </a:lnTo>
                  <a:lnTo>
                    <a:pt x="327" y="2811"/>
                  </a:lnTo>
                  <a:lnTo>
                    <a:pt x="394" y="2910"/>
                  </a:lnTo>
                  <a:lnTo>
                    <a:pt x="447" y="3034"/>
                  </a:lnTo>
                  <a:lnTo>
                    <a:pt x="372" y="3153"/>
                  </a:lnTo>
                  <a:lnTo>
                    <a:pt x="387" y="3237"/>
                  </a:lnTo>
                  <a:lnTo>
                    <a:pt x="327" y="3298"/>
                  </a:lnTo>
                  <a:lnTo>
                    <a:pt x="408" y="3406"/>
                  </a:lnTo>
                  <a:lnTo>
                    <a:pt x="397" y="3519"/>
                  </a:lnTo>
                  <a:lnTo>
                    <a:pt x="373" y="3657"/>
                  </a:lnTo>
                  <a:lnTo>
                    <a:pt x="373" y="3874"/>
                  </a:lnTo>
                  <a:lnTo>
                    <a:pt x="253" y="3909"/>
                  </a:lnTo>
                  <a:lnTo>
                    <a:pt x="253" y="4006"/>
                  </a:lnTo>
                  <a:lnTo>
                    <a:pt x="322" y="4030"/>
                  </a:lnTo>
                  <a:lnTo>
                    <a:pt x="291" y="4152"/>
                  </a:lnTo>
                  <a:lnTo>
                    <a:pt x="276" y="4248"/>
                  </a:lnTo>
                  <a:lnTo>
                    <a:pt x="145" y="4210"/>
                  </a:lnTo>
                  <a:lnTo>
                    <a:pt x="169" y="4476"/>
                  </a:lnTo>
                  <a:lnTo>
                    <a:pt x="73" y="4546"/>
                  </a:lnTo>
                  <a:lnTo>
                    <a:pt x="156" y="4644"/>
                  </a:lnTo>
                  <a:lnTo>
                    <a:pt x="61" y="4797"/>
                  </a:lnTo>
                  <a:lnTo>
                    <a:pt x="169" y="4783"/>
                  </a:lnTo>
                  <a:lnTo>
                    <a:pt x="202" y="4834"/>
                  </a:lnTo>
                  <a:lnTo>
                    <a:pt x="291" y="4908"/>
                  </a:lnTo>
                  <a:lnTo>
                    <a:pt x="271" y="5047"/>
                  </a:lnTo>
                  <a:lnTo>
                    <a:pt x="421" y="4932"/>
                  </a:lnTo>
                  <a:lnTo>
                    <a:pt x="526" y="4767"/>
                  </a:lnTo>
                  <a:lnTo>
                    <a:pt x="610" y="4659"/>
                  </a:lnTo>
                  <a:lnTo>
                    <a:pt x="685" y="4548"/>
                  </a:lnTo>
                  <a:lnTo>
                    <a:pt x="807" y="4545"/>
                  </a:lnTo>
                  <a:lnTo>
                    <a:pt x="898" y="4486"/>
                  </a:lnTo>
                  <a:lnTo>
                    <a:pt x="841" y="4438"/>
                  </a:lnTo>
                  <a:lnTo>
                    <a:pt x="984" y="4198"/>
                  </a:lnTo>
                  <a:lnTo>
                    <a:pt x="1129" y="4080"/>
                  </a:lnTo>
                  <a:lnTo>
                    <a:pt x="1068" y="3955"/>
                  </a:lnTo>
                  <a:lnTo>
                    <a:pt x="1123" y="3799"/>
                  </a:lnTo>
                  <a:lnTo>
                    <a:pt x="1213" y="3483"/>
                  </a:lnTo>
                  <a:lnTo>
                    <a:pt x="1225" y="3361"/>
                  </a:lnTo>
                  <a:lnTo>
                    <a:pt x="1309" y="3261"/>
                  </a:lnTo>
                  <a:lnTo>
                    <a:pt x="1428" y="3142"/>
                  </a:lnTo>
                  <a:lnTo>
                    <a:pt x="1824" y="3142"/>
                  </a:lnTo>
                  <a:lnTo>
                    <a:pt x="1837" y="2926"/>
                  </a:lnTo>
                  <a:lnTo>
                    <a:pt x="1783" y="2746"/>
                  </a:lnTo>
                  <a:lnTo>
                    <a:pt x="1837" y="2548"/>
                  </a:lnTo>
                  <a:lnTo>
                    <a:pt x="1927" y="2404"/>
                  </a:lnTo>
                  <a:lnTo>
                    <a:pt x="2071" y="2296"/>
                  </a:lnTo>
                  <a:lnTo>
                    <a:pt x="2161" y="2098"/>
                  </a:lnTo>
                  <a:lnTo>
                    <a:pt x="2323" y="1864"/>
                  </a:lnTo>
                  <a:lnTo>
                    <a:pt x="2061" y="1396"/>
                  </a:lnTo>
                  <a:lnTo>
                    <a:pt x="1836" y="1173"/>
                  </a:lnTo>
                  <a:lnTo>
                    <a:pt x="1614" y="970"/>
                  </a:lnTo>
                  <a:lnTo>
                    <a:pt x="1384" y="742"/>
                  </a:lnTo>
                  <a:lnTo>
                    <a:pt x="1260" y="627"/>
                  </a:lnTo>
                  <a:lnTo>
                    <a:pt x="1060" y="444"/>
                  </a:lnTo>
                  <a:lnTo>
                    <a:pt x="753" y="207"/>
                  </a:lnTo>
                  <a:lnTo>
                    <a:pt x="552" y="94"/>
                  </a:lnTo>
                  <a:lnTo>
                    <a:pt x="331" y="0"/>
                  </a:lnTo>
                  <a:lnTo>
                    <a:pt x="229" y="82"/>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sp>
          <p:nvSpPr>
            <p:cNvPr id="16" name="Freeform 17">
              <a:extLst>
                <a:ext uri="{FF2B5EF4-FFF2-40B4-BE49-F238E27FC236}">
                  <a16:creationId xmlns:a16="http://schemas.microsoft.com/office/drawing/2014/main" id="{2101E7E1-7E72-4DA5-9ED3-0081EC9D0609}"/>
                </a:ext>
              </a:extLst>
            </p:cNvPr>
            <p:cNvSpPr>
              <a:spLocks/>
            </p:cNvSpPr>
            <p:nvPr/>
          </p:nvSpPr>
          <p:spPr bwMode="auto">
            <a:xfrm>
              <a:off x="4921183" y="2784244"/>
              <a:ext cx="154919" cy="85910"/>
            </a:xfrm>
            <a:custGeom>
              <a:avLst/>
              <a:gdLst>
                <a:gd name="T0" fmla="*/ 170 w 547"/>
                <a:gd name="T1" fmla="*/ 101 h 301"/>
                <a:gd name="T2" fmla="*/ 88 w 547"/>
                <a:gd name="T3" fmla="*/ 138 h 301"/>
                <a:gd name="T4" fmla="*/ 24 w 547"/>
                <a:gd name="T5" fmla="*/ 183 h 301"/>
                <a:gd name="T6" fmla="*/ 0 w 547"/>
                <a:gd name="T7" fmla="*/ 256 h 301"/>
                <a:gd name="T8" fmla="*/ 93 w 547"/>
                <a:gd name="T9" fmla="*/ 301 h 301"/>
                <a:gd name="T10" fmla="*/ 237 w 547"/>
                <a:gd name="T11" fmla="*/ 267 h 301"/>
                <a:gd name="T12" fmla="*/ 367 w 547"/>
                <a:gd name="T13" fmla="*/ 279 h 301"/>
                <a:gd name="T14" fmla="*/ 393 w 547"/>
                <a:gd name="T15" fmla="*/ 136 h 301"/>
                <a:gd name="T16" fmla="*/ 490 w 547"/>
                <a:gd name="T17" fmla="*/ 109 h 301"/>
                <a:gd name="T18" fmla="*/ 547 w 547"/>
                <a:gd name="T19" fmla="*/ 73 h 301"/>
                <a:gd name="T20" fmla="*/ 490 w 547"/>
                <a:gd name="T21" fmla="*/ 0 h 301"/>
                <a:gd name="T22" fmla="*/ 435 w 547"/>
                <a:gd name="T23" fmla="*/ 37 h 301"/>
                <a:gd name="T24" fmla="*/ 371 w 547"/>
                <a:gd name="T25" fmla="*/ 83 h 301"/>
                <a:gd name="T26" fmla="*/ 307 w 547"/>
                <a:gd name="T27" fmla="*/ 138 h 301"/>
                <a:gd name="T28" fmla="*/ 252 w 547"/>
                <a:gd name="T29" fmla="*/ 156 h 301"/>
                <a:gd name="T30" fmla="*/ 170 w 547"/>
                <a:gd name="T31" fmla="*/ 1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7" h="301">
                  <a:moveTo>
                    <a:pt x="170" y="101"/>
                  </a:moveTo>
                  <a:lnTo>
                    <a:pt x="88" y="138"/>
                  </a:lnTo>
                  <a:lnTo>
                    <a:pt x="24" y="183"/>
                  </a:lnTo>
                  <a:lnTo>
                    <a:pt x="0" y="256"/>
                  </a:lnTo>
                  <a:lnTo>
                    <a:pt x="93" y="301"/>
                  </a:lnTo>
                  <a:lnTo>
                    <a:pt x="237" y="267"/>
                  </a:lnTo>
                  <a:lnTo>
                    <a:pt x="367" y="279"/>
                  </a:lnTo>
                  <a:lnTo>
                    <a:pt x="393" y="136"/>
                  </a:lnTo>
                  <a:lnTo>
                    <a:pt x="490" y="109"/>
                  </a:lnTo>
                  <a:lnTo>
                    <a:pt x="547" y="73"/>
                  </a:lnTo>
                  <a:lnTo>
                    <a:pt x="490" y="0"/>
                  </a:lnTo>
                  <a:lnTo>
                    <a:pt x="435" y="37"/>
                  </a:lnTo>
                  <a:lnTo>
                    <a:pt x="371" y="83"/>
                  </a:lnTo>
                  <a:lnTo>
                    <a:pt x="307" y="138"/>
                  </a:lnTo>
                  <a:lnTo>
                    <a:pt x="252" y="156"/>
                  </a:lnTo>
                  <a:lnTo>
                    <a:pt x="170" y="101"/>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200" kern="0">
                <a:solidFill>
                  <a:sysClr val="windowText" lastClr="000000"/>
                </a:solidFill>
              </a:endParaRPr>
            </a:p>
          </p:txBody>
        </p:sp>
        <p:grpSp>
          <p:nvGrpSpPr>
            <p:cNvPr id="17" name="组合 64">
              <a:extLst>
                <a:ext uri="{FF2B5EF4-FFF2-40B4-BE49-F238E27FC236}">
                  <a16:creationId xmlns:a16="http://schemas.microsoft.com/office/drawing/2014/main" id="{8D9CDE71-9ED8-43FE-990B-2C5D033BFE16}"/>
                </a:ext>
              </a:extLst>
            </p:cNvPr>
            <p:cNvGrpSpPr/>
            <p:nvPr/>
          </p:nvGrpSpPr>
          <p:grpSpPr>
            <a:xfrm>
              <a:off x="73944" y="1790475"/>
              <a:ext cx="1871590" cy="784117"/>
              <a:chOff x="416520" y="4774171"/>
              <a:chExt cx="2109658" cy="883858"/>
            </a:xfrm>
          </p:grpSpPr>
          <p:sp>
            <p:nvSpPr>
              <p:cNvPr id="18" name="圆角矩形 111">
                <a:extLst>
                  <a:ext uri="{FF2B5EF4-FFF2-40B4-BE49-F238E27FC236}">
                    <a16:creationId xmlns:a16="http://schemas.microsoft.com/office/drawing/2014/main" id="{5E665367-1A08-451A-B772-E816A08577BB}"/>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19" name="圆角矩形 45">
                <a:extLst>
                  <a:ext uri="{FF2B5EF4-FFF2-40B4-BE49-F238E27FC236}">
                    <a16:creationId xmlns:a16="http://schemas.microsoft.com/office/drawing/2014/main" id="{B1677368-A0A9-47C2-8104-CC8A8281FA3A}"/>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a:t> </a:t>
                </a:r>
                <a:r>
                  <a:rPr lang="en-US" altLang="zh-CN" sz="1200" b="1" kern="0" dirty="0" err="1"/>
                  <a:t>Oromia</a:t>
                </a:r>
                <a:endParaRPr lang="en-US" altLang="zh-CN" sz="1200" b="1" kern="0" dirty="0"/>
              </a:p>
            </p:txBody>
          </p:sp>
          <p:sp>
            <p:nvSpPr>
              <p:cNvPr id="20" name="Text Box 16">
                <a:extLst>
                  <a:ext uri="{FF2B5EF4-FFF2-40B4-BE49-F238E27FC236}">
                    <a16:creationId xmlns:a16="http://schemas.microsoft.com/office/drawing/2014/main" id="{4B955912-4766-4979-8275-5D2B3118ABE5}"/>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244</a:t>
                </a:r>
              </a:p>
            </p:txBody>
          </p:sp>
        </p:grpSp>
        <p:sp>
          <p:nvSpPr>
            <p:cNvPr id="21" name="Oval 25">
              <a:extLst>
                <a:ext uri="{FF2B5EF4-FFF2-40B4-BE49-F238E27FC236}">
                  <a16:creationId xmlns:a16="http://schemas.microsoft.com/office/drawing/2014/main" id="{C32D6F10-81A4-41BC-9212-25815DCA592D}"/>
                </a:ext>
              </a:extLst>
            </p:cNvPr>
            <p:cNvSpPr>
              <a:spLocks noChangeArrowheads="1"/>
            </p:cNvSpPr>
            <p:nvPr/>
          </p:nvSpPr>
          <p:spPr bwMode="gray">
            <a:xfrm>
              <a:off x="3727920" y="297025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22" name="肘形连接符 66">
              <a:extLst>
                <a:ext uri="{FF2B5EF4-FFF2-40B4-BE49-F238E27FC236}">
                  <a16:creationId xmlns:a16="http://schemas.microsoft.com/office/drawing/2014/main" id="{355DB5E8-13CB-477D-B1BF-7F8105A96E06}"/>
                </a:ext>
              </a:extLst>
            </p:cNvPr>
            <p:cNvCxnSpPr>
              <a:cxnSpLocks/>
              <a:stCxn id="21" idx="2"/>
              <a:endCxn id="18" idx="3"/>
            </p:cNvCxnSpPr>
            <p:nvPr/>
          </p:nvCxnSpPr>
          <p:spPr>
            <a:xfrm rot="10800000">
              <a:off x="1945534" y="2266776"/>
              <a:ext cx="1782386" cy="751748"/>
            </a:xfrm>
            <a:prstGeom prst="bentConnector3">
              <a:avLst>
                <a:gd name="adj1" fmla="val 69999"/>
              </a:avLst>
            </a:prstGeom>
            <a:noFill/>
            <a:ln w="9525">
              <a:solidFill>
                <a:srgbClr val="C00000"/>
              </a:solidFill>
              <a:prstDash val="sysDash"/>
              <a:miter lim="800000"/>
              <a:headEnd/>
              <a:tailEnd/>
            </a:ln>
          </p:spPr>
        </p:cxnSp>
        <p:grpSp>
          <p:nvGrpSpPr>
            <p:cNvPr id="23" name="组合 67">
              <a:extLst>
                <a:ext uri="{FF2B5EF4-FFF2-40B4-BE49-F238E27FC236}">
                  <a16:creationId xmlns:a16="http://schemas.microsoft.com/office/drawing/2014/main" id="{724F1D65-F89E-4F3C-B6E4-32E281865FAA}"/>
                </a:ext>
              </a:extLst>
            </p:cNvPr>
            <p:cNvGrpSpPr/>
            <p:nvPr/>
          </p:nvGrpSpPr>
          <p:grpSpPr>
            <a:xfrm>
              <a:off x="75498" y="33919"/>
              <a:ext cx="1871590" cy="784118"/>
              <a:chOff x="416520" y="4774171"/>
              <a:chExt cx="2109658" cy="883859"/>
            </a:xfrm>
          </p:grpSpPr>
          <p:sp>
            <p:nvSpPr>
              <p:cNvPr id="24" name="圆角矩形 108">
                <a:extLst>
                  <a:ext uri="{FF2B5EF4-FFF2-40B4-BE49-F238E27FC236}">
                    <a16:creationId xmlns:a16="http://schemas.microsoft.com/office/drawing/2014/main" id="{6FF76637-E745-4F82-B0B7-E94F47B645F7}"/>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25" name="圆角矩形 45">
                <a:extLst>
                  <a:ext uri="{FF2B5EF4-FFF2-40B4-BE49-F238E27FC236}">
                    <a16:creationId xmlns:a16="http://schemas.microsoft.com/office/drawing/2014/main" id="{4D73194C-5A8F-4D37-9268-1AAFC446004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err="1"/>
                  <a:t>Amhara</a:t>
                </a:r>
                <a:endParaRPr lang="en-US" altLang="zh-CN" sz="1200" b="1" kern="0" dirty="0"/>
              </a:p>
            </p:txBody>
          </p:sp>
          <p:sp>
            <p:nvSpPr>
              <p:cNvPr id="26" name="Text Box 16">
                <a:extLst>
                  <a:ext uri="{FF2B5EF4-FFF2-40B4-BE49-F238E27FC236}">
                    <a16:creationId xmlns:a16="http://schemas.microsoft.com/office/drawing/2014/main" id="{A891C8F9-C3A9-4458-B569-EC1333C52D01}"/>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139</a:t>
                </a:r>
              </a:p>
            </p:txBody>
          </p:sp>
        </p:grpSp>
        <p:sp>
          <p:nvSpPr>
            <p:cNvPr id="27" name="Oval 25">
              <a:extLst>
                <a:ext uri="{FF2B5EF4-FFF2-40B4-BE49-F238E27FC236}">
                  <a16:creationId xmlns:a16="http://schemas.microsoft.com/office/drawing/2014/main" id="{1EEF8CB0-238E-4B62-9CB5-151DDCBD984B}"/>
                </a:ext>
              </a:extLst>
            </p:cNvPr>
            <p:cNvSpPr>
              <a:spLocks noChangeArrowheads="1"/>
            </p:cNvSpPr>
            <p:nvPr/>
          </p:nvSpPr>
          <p:spPr bwMode="gray">
            <a:xfrm>
              <a:off x="4063949" y="230496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28" name="肘形连接符 69">
              <a:extLst>
                <a:ext uri="{FF2B5EF4-FFF2-40B4-BE49-F238E27FC236}">
                  <a16:creationId xmlns:a16="http://schemas.microsoft.com/office/drawing/2014/main" id="{1FB619FC-C6C0-4060-A3C7-0EF0D76463DD}"/>
                </a:ext>
              </a:extLst>
            </p:cNvPr>
            <p:cNvCxnSpPr>
              <a:cxnSpLocks/>
              <a:stCxn id="27" idx="2"/>
              <a:endCxn id="24" idx="3"/>
            </p:cNvCxnSpPr>
            <p:nvPr/>
          </p:nvCxnSpPr>
          <p:spPr>
            <a:xfrm rot="10800000">
              <a:off x="1947089" y="510221"/>
              <a:ext cx="2116861" cy="1843014"/>
            </a:xfrm>
            <a:prstGeom prst="bentConnector3">
              <a:avLst>
                <a:gd name="adj1" fmla="val 33527"/>
              </a:avLst>
            </a:prstGeom>
            <a:noFill/>
            <a:ln w="9525">
              <a:solidFill>
                <a:srgbClr val="C00000"/>
              </a:solidFill>
              <a:prstDash val="sysDash"/>
              <a:miter lim="800000"/>
              <a:headEnd/>
              <a:tailEnd/>
            </a:ln>
          </p:spPr>
        </p:cxnSp>
        <p:grpSp>
          <p:nvGrpSpPr>
            <p:cNvPr id="29" name="组合 70">
              <a:extLst>
                <a:ext uri="{FF2B5EF4-FFF2-40B4-BE49-F238E27FC236}">
                  <a16:creationId xmlns:a16="http://schemas.microsoft.com/office/drawing/2014/main" id="{938A93DD-6989-4B28-92C1-3685E1C0601E}"/>
                </a:ext>
              </a:extLst>
            </p:cNvPr>
            <p:cNvGrpSpPr/>
            <p:nvPr/>
          </p:nvGrpSpPr>
          <p:grpSpPr>
            <a:xfrm>
              <a:off x="7145440" y="3821093"/>
              <a:ext cx="1871590" cy="865124"/>
              <a:chOff x="416520" y="4774171"/>
              <a:chExt cx="2109658" cy="975169"/>
            </a:xfrm>
          </p:grpSpPr>
          <p:sp>
            <p:nvSpPr>
              <p:cNvPr id="30" name="圆角矩形 103">
                <a:extLst>
                  <a:ext uri="{FF2B5EF4-FFF2-40B4-BE49-F238E27FC236}">
                    <a16:creationId xmlns:a16="http://schemas.microsoft.com/office/drawing/2014/main" id="{B9D541A9-098D-4F75-B40C-171EFB245E53}"/>
                  </a:ext>
                </a:extLst>
              </p:cNvPr>
              <p:cNvSpPr/>
              <p:nvPr/>
            </p:nvSpPr>
            <p:spPr>
              <a:xfrm>
                <a:off x="416520" y="4964089"/>
                <a:ext cx="2109658" cy="78525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31" name="圆角矩形 45">
                <a:extLst>
                  <a:ext uri="{FF2B5EF4-FFF2-40B4-BE49-F238E27FC236}">
                    <a16:creationId xmlns:a16="http://schemas.microsoft.com/office/drawing/2014/main" id="{7CFAA479-ECD6-470B-A2E8-BD7CCC698FBE}"/>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a:t>Somali</a:t>
                </a:r>
              </a:p>
            </p:txBody>
          </p:sp>
          <p:sp>
            <p:nvSpPr>
              <p:cNvPr id="32" name="Text Box 16">
                <a:extLst>
                  <a:ext uri="{FF2B5EF4-FFF2-40B4-BE49-F238E27FC236}">
                    <a16:creationId xmlns:a16="http://schemas.microsoft.com/office/drawing/2014/main" id="{F322A253-FF51-4587-A795-37FC25BDE30C}"/>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53</a:t>
                </a:r>
              </a:p>
            </p:txBody>
          </p:sp>
        </p:grpSp>
        <p:sp>
          <p:nvSpPr>
            <p:cNvPr id="33" name="Oval 25">
              <a:extLst>
                <a:ext uri="{FF2B5EF4-FFF2-40B4-BE49-F238E27FC236}">
                  <a16:creationId xmlns:a16="http://schemas.microsoft.com/office/drawing/2014/main" id="{75323E5C-5055-492D-B326-05BCB04B538F}"/>
                </a:ext>
              </a:extLst>
            </p:cNvPr>
            <p:cNvSpPr>
              <a:spLocks noChangeArrowheads="1"/>
            </p:cNvSpPr>
            <p:nvPr/>
          </p:nvSpPr>
          <p:spPr bwMode="gray">
            <a:xfrm>
              <a:off x="5606145" y="3365781"/>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34" name="肘形连接符 72">
              <a:extLst>
                <a:ext uri="{FF2B5EF4-FFF2-40B4-BE49-F238E27FC236}">
                  <a16:creationId xmlns:a16="http://schemas.microsoft.com/office/drawing/2014/main" id="{FB45BB5F-12D5-412C-9543-6173A9441769}"/>
                </a:ext>
              </a:extLst>
            </p:cNvPr>
            <p:cNvCxnSpPr>
              <a:cxnSpLocks/>
              <a:stCxn id="33" idx="6"/>
              <a:endCxn id="30" idx="1"/>
            </p:cNvCxnSpPr>
            <p:nvPr/>
          </p:nvCxnSpPr>
          <p:spPr>
            <a:xfrm>
              <a:off x="5702686" y="3414052"/>
              <a:ext cx="1442754" cy="923846"/>
            </a:xfrm>
            <a:prstGeom prst="bentConnector3">
              <a:avLst>
                <a:gd name="adj1" fmla="val 50000"/>
              </a:avLst>
            </a:prstGeom>
            <a:noFill/>
            <a:ln w="9525">
              <a:solidFill>
                <a:srgbClr val="C00000"/>
              </a:solidFill>
              <a:prstDash val="sysDash"/>
              <a:miter lim="800000"/>
              <a:headEnd/>
              <a:tailEnd/>
            </a:ln>
          </p:spPr>
        </p:cxnSp>
        <p:grpSp>
          <p:nvGrpSpPr>
            <p:cNvPr id="35" name="组合 82">
              <a:extLst>
                <a:ext uri="{FF2B5EF4-FFF2-40B4-BE49-F238E27FC236}">
                  <a16:creationId xmlns:a16="http://schemas.microsoft.com/office/drawing/2014/main" id="{2B9DBF8E-98F3-4AAF-AE6D-4CABAE4FB6E0}"/>
                </a:ext>
              </a:extLst>
            </p:cNvPr>
            <p:cNvGrpSpPr/>
            <p:nvPr/>
          </p:nvGrpSpPr>
          <p:grpSpPr>
            <a:xfrm>
              <a:off x="75498" y="3582942"/>
              <a:ext cx="1871590" cy="784118"/>
              <a:chOff x="416520" y="4774171"/>
              <a:chExt cx="2109658" cy="883859"/>
            </a:xfrm>
          </p:grpSpPr>
          <p:sp>
            <p:nvSpPr>
              <p:cNvPr id="36" name="圆角矩形 97">
                <a:extLst>
                  <a:ext uri="{FF2B5EF4-FFF2-40B4-BE49-F238E27FC236}">
                    <a16:creationId xmlns:a16="http://schemas.microsoft.com/office/drawing/2014/main" id="{234A2F52-783F-4160-93B4-CDE4CD679102}"/>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37" name="圆角矩形 45">
                <a:extLst>
                  <a:ext uri="{FF2B5EF4-FFF2-40B4-BE49-F238E27FC236}">
                    <a16:creationId xmlns:a16="http://schemas.microsoft.com/office/drawing/2014/main" id="{D4BC0CC7-5189-44F0-9815-C6290369331E}"/>
                  </a:ext>
                </a:extLst>
              </p:cNvPr>
              <p:cNvSpPr/>
              <p:nvPr/>
            </p:nvSpPr>
            <p:spPr>
              <a:xfrm>
                <a:off x="528442" y="4774171"/>
                <a:ext cx="1885814" cy="536888"/>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00" b="1" kern="0" dirty="0"/>
                  <a:t> Southern Nations, Nationalities, and Peoples' Region</a:t>
                </a:r>
              </a:p>
            </p:txBody>
          </p:sp>
          <p:sp>
            <p:nvSpPr>
              <p:cNvPr id="38" name="Text Box 16">
                <a:extLst>
                  <a:ext uri="{FF2B5EF4-FFF2-40B4-BE49-F238E27FC236}">
                    <a16:creationId xmlns:a16="http://schemas.microsoft.com/office/drawing/2014/main" id="{6E9A6A41-1075-48B6-8869-A1A4A98035A4}"/>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126</a:t>
                </a:r>
              </a:p>
            </p:txBody>
          </p:sp>
        </p:grpSp>
        <p:sp>
          <p:nvSpPr>
            <p:cNvPr id="39" name="Oval 25">
              <a:extLst>
                <a:ext uri="{FF2B5EF4-FFF2-40B4-BE49-F238E27FC236}">
                  <a16:creationId xmlns:a16="http://schemas.microsoft.com/office/drawing/2014/main" id="{7C6F0CAF-6F92-483B-AF87-4CB18571CE66}"/>
                </a:ext>
              </a:extLst>
            </p:cNvPr>
            <p:cNvSpPr>
              <a:spLocks noChangeArrowheads="1"/>
            </p:cNvSpPr>
            <p:nvPr/>
          </p:nvSpPr>
          <p:spPr bwMode="gray">
            <a:xfrm>
              <a:off x="4138838" y="297602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40" name="肘形连接符 96">
              <a:extLst>
                <a:ext uri="{FF2B5EF4-FFF2-40B4-BE49-F238E27FC236}">
                  <a16:creationId xmlns:a16="http://schemas.microsoft.com/office/drawing/2014/main" id="{C98FD2D6-4C85-46F0-9545-E44C0594418E}"/>
                </a:ext>
              </a:extLst>
            </p:cNvPr>
            <p:cNvCxnSpPr>
              <a:cxnSpLocks/>
              <a:stCxn id="39" idx="6"/>
              <a:endCxn id="71" idx="1"/>
            </p:cNvCxnSpPr>
            <p:nvPr/>
          </p:nvCxnSpPr>
          <p:spPr>
            <a:xfrm>
              <a:off x="4235379" y="3024300"/>
              <a:ext cx="303203" cy="1700079"/>
            </a:xfrm>
            <a:prstGeom prst="bentConnector3">
              <a:avLst>
                <a:gd name="adj1" fmla="val 50000"/>
              </a:avLst>
            </a:prstGeom>
            <a:noFill/>
            <a:ln w="9525">
              <a:solidFill>
                <a:srgbClr val="C00000"/>
              </a:solidFill>
              <a:prstDash val="sysDash"/>
              <a:miter lim="800000"/>
              <a:headEnd/>
              <a:tailEnd/>
            </a:ln>
          </p:spPr>
        </p:cxnSp>
        <p:grpSp>
          <p:nvGrpSpPr>
            <p:cNvPr id="41" name="组合 70">
              <a:extLst>
                <a:ext uri="{FF2B5EF4-FFF2-40B4-BE49-F238E27FC236}">
                  <a16:creationId xmlns:a16="http://schemas.microsoft.com/office/drawing/2014/main" id="{4D3D895E-7491-48D6-8994-4271093A8454}"/>
                </a:ext>
              </a:extLst>
            </p:cNvPr>
            <p:cNvGrpSpPr/>
            <p:nvPr/>
          </p:nvGrpSpPr>
          <p:grpSpPr>
            <a:xfrm>
              <a:off x="7141017" y="1747949"/>
              <a:ext cx="1871590" cy="865124"/>
              <a:chOff x="416520" y="4774171"/>
              <a:chExt cx="2109658" cy="975169"/>
            </a:xfrm>
          </p:grpSpPr>
          <p:sp>
            <p:nvSpPr>
              <p:cNvPr id="42" name="圆角矩形 103">
                <a:extLst>
                  <a:ext uri="{FF2B5EF4-FFF2-40B4-BE49-F238E27FC236}">
                    <a16:creationId xmlns:a16="http://schemas.microsoft.com/office/drawing/2014/main" id="{5EE43F11-9F99-4A74-8979-B22B8150CD8C}"/>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43" name="圆角矩形 45">
                <a:extLst>
                  <a:ext uri="{FF2B5EF4-FFF2-40B4-BE49-F238E27FC236}">
                    <a16:creationId xmlns:a16="http://schemas.microsoft.com/office/drawing/2014/main" id="{EB56C34B-CE67-49B7-8237-A35262C14948}"/>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a:t>Dire </a:t>
                </a:r>
                <a:r>
                  <a:rPr lang="en-US" altLang="zh-CN" sz="1200" b="1" kern="0" dirty="0" err="1"/>
                  <a:t>Dawa</a:t>
                </a:r>
                <a:endParaRPr lang="en-US" altLang="zh-CN" sz="1200" b="1" kern="0" dirty="0"/>
              </a:p>
            </p:txBody>
          </p:sp>
          <p:sp>
            <p:nvSpPr>
              <p:cNvPr id="44" name="Text Box 16">
                <a:extLst>
                  <a:ext uri="{FF2B5EF4-FFF2-40B4-BE49-F238E27FC236}">
                    <a16:creationId xmlns:a16="http://schemas.microsoft.com/office/drawing/2014/main" id="{084C8F93-E005-43E3-BB08-E7C50990B26D}"/>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1</a:t>
                </a:r>
              </a:p>
            </p:txBody>
          </p:sp>
        </p:grpSp>
        <p:grpSp>
          <p:nvGrpSpPr>
            <p:cNvPr id="50" name="组合 64">
              <a:extLst>
                <a:ext uri="{FF2B5EF4-FFF2-40B4-BE49-F238E27FC236}">
                  <a16:creationId xmlns:a16="http://schemas.microsoft.com/office/drawing/2014/main" id="{30EAE193-56AF-462A-8CCF-6DFC7FB909B6}"/>
                </a:ext>
              </a:extLst>
            </p:cNvPr>
            <p:cNvGrpSpPr/>
            <p:nvPr/>
          </p:nvGrpSpPr>
          <p:grpSpPr>
            <a:xfrm>
              <a:off x="67968" y="2698049"/>
              <a:ext cx="1871590" cy="784117"/>
              <a:chOff x="416520" y="4774171"/>
              <a:chExt cx="2109658" cy="883858"/>
            </a:xfrm>
          </p:grpSpPr>
          <p:sp>
            <p:nvSpPr>
              <p:cNvPr id="51" name="圆角矩形 111">
                <a:extLst>
                  <a:ext uri="{FF2B5EF4-FFF2-40B4-BE49-F238E27FC236}">
                    <a16:creationId xmlns:a16="http://schemas.microsoft.com/office/drawing/2014/main" id="{AE0E8456-5495-42E5-A73F-87624A45681C}"/>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52" name="圆角矩形 45">
                <a:extLst>
                  <a:ext uri="{FF2B5EF4-FFF2-40B4-BE49-F238E27FC236}">
                    <a16:creationId xmlns:a16="http://schemas.microsoft.com/office/drawing/2014/main" id="{05E25267-7FDA-4CF9-BA84-305BF31792E4}"/>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a:t> </a:t>
                </a:r>
                <a:r>
                  <a:rPr lang="en-US" altLang="zh-CN" sz="1200" b="1" kern="0" dirty="0" err="1"/>
                  <a:t>Gambella</a:t>
                </a:r>
                <a:endParaRPr lang="en-US" altLang="zh-CN" sz="1200" b="1" kern="0" dirty="0"/>
              </a:p>
            </p:txBody>
          </p:sp>
          <p:sp>
            <p:nvSpPr>
              <p:cNvPr id="53" name="Text Box 16">
                <a:extLst>
                  <a:ext uri="{FF2B5EF4-FFF2-40B4-BE49-F238E27FC236}">
                    <a16:creationId xmlns:a16="http://schemas.microsoft.com/office/drawing/2014/main" id="{342572EC-14F0-4DB1-BFB4-95C228B02A25}"/>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13</a:t>
                </a:r>
              </a:p>
            </p:txBody>
          </p:sp>
        </p:grpSp>
        <p:grpSp>
          <p:nvGrpSpPr>
            <p:cNvPr id="54" name="组合 67">
              <a:extLst>
                <a:ext uri="{FF2B5EF4-FFF2-40B4-BE49-F238E27FC236}">
                  <a16:creationId xmlns:a16="http://schemas.microsoft.com/office/drawing/2014/main" id="{6E5B4320-4D97-4B9E-B5FA-B6D0A9D0106E}"/>
                </a:ext>
              </a:extLst>
            </p:cNvPr>
            <p:cNvGrpSpPr/>
            <p:nvPr/>
          </p:nvGrpSpPr>
          <p:grpSpPr>
            <a:xfrm>
              <a:off x="75498" y="893741"/>
              <a:ext cx="1871590" cy="784118"/>
              <a:chOff x="416520" y="4774171"/>
              <a:chExt cx="2109658" cy="883859"/>
            </a:xfrm>
          </p:grpSpPr>
          <p:sp>
            <p:nvSpPr>
              <p:cNvPr id="55" name="圆角矩形 108">
                <a:extLst>
                  <a:ext uri="{FF2B5EF4-FFF2-40B4-BE49-F238E27FC236}">
                    <a16:creationId xmlns:a16="http://schemas.microsoft.com/office/drawing/2014/main" id="{98764514-5B68-4668-86C8-4D9597BDC9E5}"/>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56" name="圆角矩形 45">
                <a:extLst>
                  <a:ext uri="{FF2B5EF4-FFF2-40B4-BE49-F238E27FC236}">
                    <a16:creationId xmlns:a16="http://schemas.microsoft.com/office/drawing/2014/main" id="{32A417A9-B914-463B-A5F7-EEF561C48D79}"/>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a:r>
                  <a:rPr lang="en-US" altLang="zh-CN" sz="1200" b="1" kern="0" dirty="0" err="1"/>
                  <a:t>Benishangu</a:t>
                </a:r>
                <a:endParaRPr lang="en-US" altLang="zh-CN" sz="1200" b="1" kern="0" dirty="0"/>
              </a:p>
            </p:txBody>
          </p:sp>
          <p:sp>
            <p:nvSpPr>
              <p:cNvPr id="57" name="Text Box 16">
                <a:extLst>
                  <a:ext uri="{FF2B5EF4-FFF2-40B4-BE49-F238E27FC236}">
                    <a16:creationId xmlns:a16="http://schemas.microsoft.com/office/drawing/2014/main" id="{7985AD28-3535-497A-8C16-20C20A7AD2CD}"/>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20</a:t>
                </a:r>
              </a:p>
            </p:txBody>
          </p:sp>
        </p:grpSp>
        <p:cxnSp>
          <p:nvCxnSpPr>
            <p:cNvPr id="58" name="肘形连接符 69">
              <a:extLst>
                <a:ext uri="{FF2B5EF4-FFF2-40B4-BE49-F238E27FC236}">
                  <a16:creationId xmlns:a16="http://schemas.microsoft.com/office/drawing/2014/main" id="{88825988-ACC8-4991-8349-89F7708F0544}"/>
                </a:ext>
              </a:extLst>
            </p:cNvPr>
            <p:cNvCxnSpPr>
              <a:cxnSpLocks/>
              <a:stCxn id="62" idx="2"/>
              <a:endCxn id="55" idx="3"/>
            </p:cNvCxnSpPr>
            <p:nvPr/>
          </p:nvCxnSpPr>
          <p:spPr>
            <a:xfrm rot="10800000">
              <a:off x="1947088" y="1370044"/>
              <a:ext cx="1410756" cy="1145591"/>
            </a:xfrm>
            <a:prstGeom prst="bentConnector3">
              <a:avLst>
                <a:gd name="adj1" fmla="val 35169"/>
              </a:avLst>
            </a:prstGeom>
            <a:noFill/>
            <a:ln w="9525">
              <a:solidFill>
                <a:srgbClr val="C00000"/>
              </a:solidFill>
              <a:prstDash val="sysDash"/>
              <a:miter lim="800000"/>
              <a:headEnd/>
              <a:tailEnd/>
            </a:ln>
          </p:spPr>
        </p:cxnSp>
        <p:sp>
          <p:nvSpPr>
            <p:cNvPr id="62" name="Oval 25">
              <a:extLst>
                <a:ext uri="{FF2B5EF4-FFF2-40B4-BE49-F238E27FC236}">
                  <a16:creationId xmlns:a16="http://schemas.microsoft.com/office/drawing/2014/main" id="{C9E1F3BA-5535-4734-A4DA-9EC7D7F665FE}"/>
                </a:ext>
              </a:extLst>
            </p:cNvPr>
            <p:cNvSpPr>
              <a:spLocks noChangeArrowheads="1"/>
            </p:cNvSpPr>
            <p:nvPr/>
          </p:nvSpPr>
          <p:spPr bwMode="gray">
            <a:xfrm>
              <a:off x="3357844" y="24673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64" name="肘形连接符 69">
              <a:extLst>
                <a:ext uri="{FF2B5EF4-FFF2-40B4-BE49-F238E27FC236}">
                  <a16:creationId xmlns:a16="http://schemas.microsoft.com/office/drawing/2014/main" id="{5F881C9B-6FD7-4D13-939C-7381F613CA59}"/>
                </a:ext>
              </a:extLst>
            </p:cNvPr>
            <p:cNvCxnSpPr>
              <a:cxnSpLocks/>
              <a:stCxn id="65" idx="2"/>
              <a:endCxn id="51" idx="3"/>
            </p:cNvCxnSpPr>
            <p:nvPr/>
          </p:nvCxnSpPr>
          <p:spPr>
            <a:xfrm rot="10800000">
              <a:off x="1939558" y="3174350"/>
              <a:ext cx="1086134" cy="155630"/>
            </a:xfrm>
            <a:prstGeom prst="bentConnector3">
              <a:avLst>
                <a:gd name="adj1" fmla="val 50000"/>
              </a:avLst>
            </a:prstGeom>
            <a:noFill/>
            <a:ln w="9525">
              <a:solidFill>
                <a:srgbClr val="C00000"/>
              </a:solidFill>
              <a:prstDash val="sysDash"/>
              <a:miter lim="800000"/>
              <a:headEnd/>
              <a:tailEnd/>
            </a:ln>
          </p:spPr>
        </p:cxnSp>
        <p:sp>
          <p:nvSpPr>
            <p:cNvPr id="65" name="Oval 25">
              <a:extLst>
                <a:ext uri="{FF2B5EF4-FFF2-40B4-BE49-F238E27FC236}">
                  <a16:creationId xmlns:a16="http://schemas.microsoft.com/office/drawing/2014/main" id="{65B295EA-49F4-4C44-8071-5438CBC7096F}"/>
                </a:ext>
              </a:extLst>
            </p:cNvPr>
            <p:cNvSpPr>
              <a:spLocks noChangeArrowheads="1"/>
            </p:cNvSpPr>
            <p:nvPr/>
          </p:nvSpPr>
          <p:spPr bwMode="gray">
            <a:xfrm>
              <a:off x="3025692" y="328170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grpSp>
          <p:nvGrpSpPr>
            <p:cNvPr id="70" name="组合 64">
              <a:extLst>
                <a:ext uri="{FF2B5EF4-FFF2-40B4-BE49-F238E27FC236}">
                  <a16:creationId xmlns:a16="http://schemas.microsoft.com/office/drawing/2014/main" id="{7AAE5CD7-74BF-48C2-BC1F-1EFAF4E64F85}"/>
                </a:ext>
              </a:extLst>
            </p:cNvPr>
            <p:cNvGrpSpPr/>
            <p:nvPr/>
          </p:nvGrpSpPr>
          <p:grpSpPr>
            <a:xfrm>
              <a:off x="4538582" y="4248078"/>
              <a:ext cx="1871590" cy="784117"/>
              <a:chOff x="416520" y="4774171"/>
              <a:chExt cx="2109658" cy="883858"/>
            </a:xfrm>
          </p:grpSpPr>
          <p:sp>
            <p:nvSpPr>
              <p:cNvPr id="71" name="圆角矩形 111">
                <a:extLst>
                  <a:ext uri="{FF2B5EF4-FFF2-40B4-BE49-F238E27FC236}">
                    <a16:creationId xmlns:a16="http://schemas.microsoft.com/office/drawing/2014/main" id="{1F4174F9-786F-4A50-8E2F-6EA8D21B048D}"/>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72" name="圆角矩形 45">
                <a:extLst>
                  <a:ext uri="{FF2B5EF4-FFF2-40B4-BE49-F238E27FC236}">
                    <a16:creationId xmlns:a16="http://schemas.microsoft.com/office/drawing/2014/main" id="{CE30310A-DF3F-4809-B212-ABFDB74F27E8}"/>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a:t> Addis </a:t>
                </a:r>
                <a:r>
                  <a:rPr lang="en-US" altLang="zh-CN" sz="1200" b="1" kern="0" dirty="0" err="1"/>
                  <a:t>Addiba</a:t>
                </a:r>
                <a:endParaRPr lang="en-US" altLang="zh-CN" sz="1200" b="1" kern="0" dirty="0"/>
              </a:p>
            </p:txBody>
          </p:sp>
          <p:sp>
            <p:nvSpPr>
              <p:cNvPr id="73" name="Text Box 16">
                <a:extLst>
                  <a:ext uri="{FF2B5EF4-FFF2-40B4-BE49-F238E27FC236}">
                    <a16:creationId xmlns:a16="http://schemas.microsoft.com/office/drawing/2014/main" id="{B1C3C83E-21F1-4F0F-935D-DD830F78ABCE}"/>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10</a:t>
                </a:r>
              </a:p>
            </p:txBody>
          </p:sp>
        </p:grpSp>
        <p:sp>
          <p:nvSpPr>
            <p:cNvPr id="76" name="Oval 25">
              <a:extLst>
                <a:ext uri="{FF2B5EF4-FFF2-40B4-BE49-F238E27FC236}">
                  <a16:creationId xmlns:a16="http://schemas.microsoft.com/office/drawing/2014/main" id="{BFCCB5BA-6392-496A-91F0-5C152B2CE5A9}"/>
                </a:ext>
              </a:extLst>
            </p:cNvPr>
            <p:cNvSpPr>
              <a:spLocks noChangeArrowheads="1"/>
            </p:cNvSpPr>
            <p:nvPr/>
          </p:nvSpPr>
          <p:spPr bwMode="gray">
            <a:xfrm>
              <a:off x="3542017" y="363233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77" name="肘形连接符 96">
              <a:extLst>
                <a:ext uri="{FF2B5EF4-FFF2-40B4-BE49-F238E27FC236}">
                  <a16:creationId xmlns:a16="http://schemas.microsoft.com/office/drawing/2014/main" id="{D06EE75B-4DD9-44C4-ABC9-4E22A0FDB5A5}"/>
                </a:ext>
              </a:extLst>
            </p:cNvPr>
            <p:cNvCxnSpPr>
              <a:cxnSpLocks/>
              <a:stCxn id="76" idx="4"/>
              <a:endCxn id="36" idx="3"/>
            </p:cNvCxnSpPr>
            <p:nvPr/>
          </p:nvCxnSpPr>
          <p:spPr>
            <a:xfrm rot="5400000">
              <a:off x="2603503" y="3072459"/>
              <a:ext cx="330370" cy="1643200"/>
            </a:xfrm>
            <a:prstGeom prst="bentConnector2">
              <a:avLst/>
            </a:prstGeom>
            <a:noFill/>
            <a:ln w="9525">
              <a:solidFill>
                <a:srgbClr val="C00000"/>
              </a:solidFill>
              <a:prstDash val="sysDash"/>
              <a:miter lim="800000"/>
              <a:headEnd/>
              <a:tailEnd/>
            </a:ln>
          </p:spPr>
        </p:cxnSp>
        <p:grpSp>
          <p:nvGrpSpPr>
            <p:cNvPr id="81" name="组合 64">
              <a:extLst>
                <a:ext uri="{FF2B5EF4-FFF2-40B4-BE49-F238E27FC236}">
                  <a16:creationId xmlns:a16="http://schemas.microsoft.com/office/drawing/2014/main" id="{6A036EA2-C096-476F-9783-983486308285}"/>
                </a:ext>
              </a:extLst>
            </p:cNvPr>
            <p:cNvGrpSpPr/>
            <p:nvPr/>
          </p:nvGrpSpPr>
          <p:grpSpPr>
            <a:xfrm>
              <a:off x="3626905" y="32223"/>
              <a:ext cx="1871590" cy="784117"/>
              <a:chOff x="416520" y="4774171"/>
              <a:chExt cx="2109658" cy="883858"/>
            </a:xfrm>
          </p:grpSpPr>
          <p:sp>
            <p:nvSpPr>
              <p:cNvPr id="82" name="圆角矩形 111">
                <a:extLst>
                  <a:ext uri="{FF2B5EF4-FFF2-40B4-BE49-F238E27FC236}">
                    <a16:creationId xmlns:a16="http://schemas.microsoft.com/office/drawing/2014/main" id="{1CD3CF8F-D4D5-43C1-8237-91BA11C77FEF}"/>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83" name="圆角矩形 45">
                <a:extLst>
                  <a:ext uri="{FF2B5EF4-FFF2-40B4-BE49-F238E27FC236}">
                    <a16:creationId xmlns:a16="http://schemas.microsoft.com/office/drawing/2014/main" id="{79010BF9-A98E-4CC0-ABA2-AB72BFFB0725}"/>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a:t> Tigray</a:t>
                </a:r>
              </a:p>
            </p:txBody>
          </p:sp>
          <p:sp>
            <p:nvSpPr>
              <p:cNvPr id="84" name="Text Box 16">
                <a:extLst>
                  <a:ext uri="{FF2B5EF4-FFF2-40B4-BE49-F238E27FC236}">
                    <a16:creationId xmlns:a16="http://schemas.microsoft.com/office/drawing/2014/main" id="{25538059-5F82-4D24-B589-CE0C0C75BC23}"/>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47</a:t>
                </a:r>
              </a:p>
            </p:txBody>
          </p:sp>
        </p:grpSp>
        <p:sp>
          <p:nvSpPr>
            <p:cNvPr id="86" name="Oval 25">
              <a:extLst>
                <a:ext uri="{FF2B5EF4-FFF2-40B4-BE49-F238E27FC236}">
                  <a16:creationId xmlns:a16="http://schemas.microsoft.com/office/drawing/2014/main" id="{758276CD-4187-49F8-BB54-873A50CD169A}"/>
                </a:ext>
              </a:extLst>
            </p:cNvPr>
            <p:cNvSpPr>
              <a:spLocks noChangeArrowheads="1"/>
            </p:cNvSpPr>
            <p:nvPr/>
          </p:nvSpPr>
          <p:spPr bwMode="gray">
            <a:xfrm>
              <a:off x="3971983" y="169127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87" name="肘形连接符 69">
              <a:extLst>
                <a:ext uri="{FF2B5EF4-FFF2-40B4-BE49-F238E27FC236}">
                  <a16:creationId xmlns:a16="http://schemas.microsoft.com/office/drawing/2014/main" id="{6FFFA2DD-BE46-489F-81DF-CD6E07B4839A}"/>
                </a:ext>
              </a:extLst>
            </p:cNvPr>
            <p:cNvCxnSpPr>
              <a:cxnSpLocks/>
              <a:stCxn id="86" idx="6"/>
              <a:endCxn id="84" idx="2"/>
            </p:cNvCxnSpPr>
            <p:nvPr/>
          </p:nvCxnSpPr>
          <p:spPr>
            <a:xfrm flipV="1">
              <a:off x="4068524" y="791239"/>
              <a:ext cx="493399" cy="948305"/>
            </a:xfrm>
            <a:prstGeom prst="bentConnector2">
              <a:avLst/>
            </a:prstGeom>
            <a:noFill/>
            <a:ln w="9525">
              <a:solidFill>
                <a:srgbClr val="C00000"/>
              </a:solidFill>
              <a:prstDash val="sysDash"/>
              <a:miter lim="800000"/>
              <a:headEnd/>
              <a:tailEnd/>
            </a:ln>
          </p:spPr>
        </p:cxnSp>
        <p:grpSp>
          <p:nvGrpSpPr>
            <p:cNvPr id="90" name="组合 64">
              <a:extLst>
                <a:ext uri="{FF2B5EF4-FFF2-40B4-BE49-F238E27FC236}">
                  <a16:creationId xmlns:a16="http://schemas.microsoft.com/office/drawing/2014/main" id="{036F07BE-20D8-4A55-BE68-2F3D5E331899}"/>
                </a:ext>
              </a:extLst>
            </p:cNvPr>
            <p:cNvGrpSpPr/>
            <p:nvPr/>
          </p:nvGrpSpPr>
          <p:grpSpPr>
            <a:xfrm>
              <a:off x="5623609" y="37095"/>
              <a:ext cx="1871590" cy="784117"/>
              <a:chOff x="416520" y="4774171"/>
              <a:chExt cx="2109658" cy="883858"/>
            </a:xfrm>
          </p:grpSpPr>
          <p:sp>
            <p:nvSpPr>
              <p:cNvPr id="91" name="圆角矩形 111">
                <a:extLst>
                  <a:ext uri="{FF2B5EF4-FFF2-40B4-BE49-F238E27FC236}">
                    <a16:creationId xmlns:a16="http://schemas.microsoft.com/office/drawing/2014/main" id="{FA4A57B1-9C83-4FB5-9CC6-8C92BDCE1318}"/>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92" name="圆角矩形 45">
                <a:extLst>
                  <a:ext uri="{FF2B5EF4-FFF2-40B4-BE49-F238E27FC236}">
                    <a16:creationId xmlns:a16="http://schemas.microsoft.com/office/drawing/2014/main" id="{3544F7C3-1725-472C-A916-C6D97A77FBF9}"/>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a:t> Afar</a:t>
                </a:r>
              </a:p>
            </p:txBody>
          </p:sp>
          <p:sp>
            <p:nvSpPr>
              <p:cNvPr id="93" name="Text Box 16">
                <a:extLst>
                  <a:ext uri="{FF2B5EF4-FFF2-40B4-BE49-F238E27FC236}">
                    <a16:creationId xmlns:a16="http://schemas.microsoft.com/office/drawing/2014/main" id="{61A779D1-8C11-443F-849F-65D265531182}"/>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30</a:t>
                </a:r>
              </a:p>
            </p:txBody>
          </p:sp>
        </p:grpSp>
        <p:sp>
          <p:nvSpPr>
            <p:cNvPr id="94" name="Oval 25">
              <a:extLst>
                <a:ext uri="{FF2B5EF4-FFF2-40B4-BE49-F238E27FC236}">
                  <a16:creationId xmlns:a16="http://schemas.microsoft.com/office/drawing/2014/main" id="{18C7578B-17FD-4219-9A8D-0CAA210EA09F}"/>
                </a:ext>
              </a:extLst>
            </p:cNvPr>
            <p:cNvSpPr>
              <a:spLocks noChangeArrowheads="1"/>
            </p:cNvSpPr>
            <p:nvPr/>
          </p:nvSpPr>
          <p:spPr bwMode="gray">
            <a:xfrm>
              <a:off x="4661272" y="20236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95" name="肘形连接符 69">
              <a:extLst>
                <a:ext uri="{FF2B5EF4-FFF2-40B4-BE49-F238E27FC236}">
                  <a16:creationId xmlns:a16="http://schemas.microsoft.com/office/drawing/2014/main" id="{F5C45099-0DCB-44B9-9EA2-7A12542EF273}"/>
                </a:ext>
              </a:extLst>
            </p:cNvPr>
            <p:cNvCxnSpPr>
              <a:cxnSpLocks/>
              <a:stCxn id="94" idx="6"/>
              <a:endCxn id="93" idx="2"/>
            </p:cNvCxnSpPr>
            <p:nvPr/>
          </p:nvCxnSpPr>
          <p:spPr>
            <a:xfrm flipV="1">
              <a:off x="4757813" y="796111"/>
              <a:ext cx="1800814" cy="1275823"/>
            </a:xfrm>
            <a:prstGeom prst="bentConnector2">
              <a:avLst/>
            </a:prstGeom>
            <a:noFill/>
            <a:ln w="9525">
              <a:solidFill>
                <a:srgbClr val="C00000"/>
              </a:solidFill>
              <a:prstDash val="sysDash"/>
              <a:miter lim="800000"/>
              <a:headEnd/>
              <a:tailEnd/>
            </a:ln>
          </p:spPr>
        </p:cxnSp>
        <p:sp>
          <p:nvSpPr>
            <p:cNvPr id="98" name="Oval 25">
              <a:extLst>
                <a:ext uri="{FF2B5EF4-FFF2-40B4-BE49-F238E27FC236}">
                  <a16:creationId xmlns:a16="http://schemas.microsoft.com/office/drawing/2014/main" id="{51F9F5A8-F636-4FAF-8D88-B591F1714C09}"/>
                </a:ext>
              </a:extLst>
            </p:cNvPr>
            <p:cNvSpPr>
              <a:spLocks noChangeArrowheads="1"/>
            </p:cNvSpPr>
            <p:nvPr/>
          </p:nvSpPr>
          <p:spPr bwMode="gray">
            <a:xfrm>
              <a:off x="4921183" y="275594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99" name="肘形连接符 72">
              <a:extLst>
                <a:ext uri="{FF2B5EF4-FFF2-40B4-BE49-F238E27FC236}">
                  <a16:creationId xmlns:a16="http://schemas.microsoft.com/office/drawing/2014/main" id="{3662F052-CE6C-4A1B-9ACA-0E97C79AE060}"/>
                </a:ext>
              </a:extLst>
            </p:cNvPr>
            <p:cNvCxnSpPr>
              <a:cxnSpLocks/>
              <a:stCxn id="98" idx="0"/>
              <a:endCxn id="42" idx="1"/>
            </p:cNvCxnSpPr>
            <p:nvPr/>
          </p:nvCxnSpPr>
          <p:spPr>
            <a:xfrm rot="5400000" flipH="1" flipV="1">
              <a:off x="5809638" y="1424571"/>
              <a:ext cx="491194" cy="2171563"/>
            </a:xfrm>
            <a:prstGeom prst="bentConnector2">
              <a:avLst/>
            </a:prstGeom>
            <a:noFill/>
            <a:ln w="9525">
              <a:solidFill>
                <a:srgbClr val="C00000"/>
              </a:solidFill>
              <a:prstDash val="sysDash"/>
              <a:miter lim="800000"/>
              <a:headEnd/>
              <a:tailEnd/>
            </a:ln>
          </p:spPr>
        </p:cxnSp>
        <p:grpSp>
          <p:nvGrpSpPr>
            <p:cNvPr id="109" name="组合 70">
              <a:extLst>
                <a:ext uri="{FF2B5EF4-FFF2-40B4-BE49-F238E27FC236}">
                  <a16:creationId xmlns:a16="http://schemas.microsoft.com/office/drawing/2014/main" id="{9BA3ADDF-1C83-4B24-BCE1-A35EFEF8180F}"/>
                </a:ext>
              </a:extLst>
            </p:cNvPr>
            <p:cNvGrpSpPr/>
            <p:nvPr/>
          </p:nvGrpSpPr>
          <p:grpSpPr>
            <a:xfrm>
              <a:off x="7082014" y="2741788"/>
              <a:ext cx="1871590" cy="865124"/>
              <a:chOff x="416520" y="4774171"/>
              <a:chExt cx="2109658" cy="975169"/>
            </a:xfrm>
          </p:grpSpPr>
          <p:sp>
            <p:nvSpPr>
              <p:cNvPr id="110" name="圆角矩形 103">
                <a:extLst>
                  <a:ext uri="{FF2B5EF4-FFF2-40B4-BE49-F238E27FC236}">
                    <a16:creationId xmlns:a16="http://schemas.microsoft.com/office/drawing/2014/main" id="{16F02A84-C5AC-4394-ADC1-72AB539664C1}"/>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111" name="圆角矩形 45">
                <a:extLst>
                  <a:ext uri="{FF2B5EF4-FFF2-40B4-BE49-F238E27FC236}">
                    <a16:creationId xmlns:a16="http://schemas.microsoft.com/office/drawing/2014/main" id="{8464793F-819C-4AD2-BBC9-F202C8C2562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a:t>Harari</a:t>
                </a:r>
              </a:p>
            </p:txBody>
          </p:sp>
          <p:sp>
            <p:nvSpPr>
              <p:cNvPr id="112" name="Text Box 16">
                <a:extLst>
                  <a:ext uri="{FF2B5EF4-FFF2-40B4-BE49-F238E27FC236}">
                    <a16:creationId xmlns:a16="http://schemas.microsoft.com/office/drawing/2014/main" id="{5E4B41EB-05BA-4F44-9652-B86EAB45E2A9}"/>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1</a:t>
                </a:r>
              </a:p>
            </p:txBody>
          </p:sp>
        </p:grpSp>
        <p:sp>
          <p:nvSpPr>
            <p:cNvPr id="114" name="Oval 25">
              <a:extLst>
                <a:ext uri="{FF2B5EF4-FFF2-40B4-BE49-F238E27FC236}">
                  <a16:creationId xmlns:a16="http://schemas.microsoft.com/office/drawing/2014/main" id="{C2B008C3-D01D-4897-9901-A7836F64BA4B}"/>
                </a:ext>
              </a:extLst>
            </p:cNvPr>
            <p:cNvSpPr>
              <a:spLocks noChangeArrowheads="1"/>
            </p:cNvSpPr>
            <p:nvPr/>
          </p:nvSpPr>
          <p:spPr bwMode="gray">
            <a:xfrm>
              <a:off x="4997124" y="2866157"/>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115" name="肘形连接符 72">
              <a:extLst>
                <a:ext uri="{FF2B5EF4-FFF2-40B4-BE49-F238E27FC236}">
                  <a16:creationId xmlns:a16="http://schemas.microsoft.com/office/drawing/2014/main" id="{636E5E82-117A-40E4-BFC5-E0DD940D4473}"/>
                </a:ext>
              </a:extLst>
            </p:cNvPr>
            <p:cNvCxnSpPr>
              <a:cxnSpLocks/>
              <a:stCxn id="114" idx="6"/>
              <a:endCxn id="110" idx="1"/>
            </p:cNvCxnSpPr>
            <p:nvPr/>
          </p:nvCxnSpPr>
          <p:spPr>
            <a:xfrm>
              <a:off x="5093665" y="2914428"/>
              <a:ext cx="1988349" cy="344166"/>
            </a:xfrm>
            <a:prstGeom prst="bentConnector3">
              <a:avLst>
                <a:gd name="adj1" fmla="val 50000"/>
              </a:avLst>
            </a:prstGeom>
            <a:noFill/>
            <a:ln w="9525">
              <a:solidFill>
                <a:srgbClr val="C00000"/>
              </a:solidFill>
              <a:prstDash val="sysDash"/>
              <a:miter lim="800000"/>
              <a:headEnd/>
              <a:tailEnd/>
            </a:ln>
          </p:spPr>
        </p:cxnSp>
        <p:sp>
          <p:nvSpPr>
            <p:cNvPr id="123" name="Oval 25">
              <a:extLst>
                <a:ext uri="{FF2B5EF4-FFF2-40B4-BE49-F238E27FC236}">
                  <a16:creationId xmlns:a16="http://schemas.microsoft.com/office/drawing/2014/main" id="{E93DC02B-9D58-4888-B231-B7EBC787BFDC}"/>
                </a:ext>
              </a:extLst>
            </p:cNvPr>
            <p:cNvSpPr>
              <a:spLocks noChangeArrowheads="1"/>
            </p:cNvSpPr>
            <p:nvPr/>
          </p:nvSpPr>
          <p:spPr bwMode="gray">
            <a:xfrm>
              <a:off x="4149722" y="355038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cxnSp>
          <p:nvCxnSpPr>
            <p:cNvPr id="124" name="肘形连接符 96">
              <a:extLst>
                <a:ext uri="{FF2B5EF4-FFF2-40B4-BE49-F238E27FC236}">
                  <a16:creationId xmlns:a16="http://schemas.microsoft.com/office/drawing/2014/main" id="{72540446-FF33-4D44-A6A4-009F944EC95D}"/>
                </a:ext>
              </a:extLst>
            </p:cNvPr>
            <p:cNvCxnSpPr>
              <a:cxnSpLocks/>
              <a:stCxn id="123" idx="4"/>
              <a:endCxn id="126" idx="3"/>
            </p:cNvCxnSpPr>
            <p:nvPr/>
          </p:nvCxnSpPr>
          <p:spPr>
            <a:xfrm rot="5400000">
              <a:off x="3632788" y="4143122"/>
              <a:ext cx="1061402" cy="69009"/>
            </a:xfrm>
            <a:prstGeom prst="bentConnector2">
              <a:avLst/>
            </a:prstGeom>
            <a:noFill/>
            <a:ln w="9525">
              <a:solidFill>
                <a:srgbClr val="C00000"/>
              </a:solidFill>
              <a:prstDash val="sysDash"/>
              <a:miter lim="800000"/>
              <a:headEnd/>
              <a:tailEnd/>
            </a:ln>
          </p:spPr>
        </p:cxnSp>
        <p:grpSp>
          <p:nvGrpSpPr>
            <p:cNvPr id="125" name="组合 64">
              <a:extLst>
                <a:ext uri="{FF2B5EF4-FFF2-40B4-BE49-F238E27FC236}">
                  <a16:creationId xmlns:a16="http://schemas.microsoft.com/office/drawing/2014/main" id="{13FFB77C-2D13-4FF9-891F-3E5EBC054773}"/>
                </a:ext>
              </a:extLst>
            </p:cNvPr>
            <p:cNvGrpSpPr/>
            <p:nvPr/>
          </p:nvGrpSpPr>
          <p:grpSpPr>
            <a:xfrm>
              <a:off x="2257394" y="4232026"/>
              <a:ext cx="1871590" cy="784117"/>
              <a:chOff x="416520" y="4774171"/>
              <a:chExt cx="2109658" cy="883858"/>
            </a:xfrm>
          </p:grpSpPr>
          <p:sp>
            <p:nvSpPr>
              <p:cNvPr id="126" name="圆角矩形 111">
                <a:extLst>
                  <a:ext uri="{FF2B5EF4-FFF2-40B4-BE49-F238E27FC236}">
                    <a16:creationId xmlns:a16="http://schemas.microsoft.com/office/drawing/2014/main" id="{38FFAE92-199A-45E9-9C4F-ED3E34D38205}"/>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200" kern="0" dirty="0">
                    <a:solidFill>
                      <a:sysClr val="windowText" lastClr="000000"/>
                    </a:solidFill>
                    <a:latin typeface="Calibri" pitchFamily="34" charset="0"/>
                    <a:ea typeface="微软雅黑" pitchFamily="34" charset="-122"/>
                    <a:cs typeface="Calibri" pitchFamily="34" charset="0"/>
                  </a:rPr>
                  <a:t>          </a:t>
                </a:r>
                <a:endParaRPr lang="zh-CN" altLang="en-US" sz="1200" kern="0" dirty="0">
                  <a:solidFill>
                    <a:sysClr val="windowText" lastClr="000000"/>
                  </a:solidFill>
                  <a:latin typeface="Calibri" pitchFamily="34" charset="0"/>
                  <a:ea typeface="微软雅黑" pitchFamily="34" charset="-122"/>
                  <a:cs typeface="Calibri" pitchFamily="34" charset="0"/>
                </a:endParaRPr>
              </a:p>
            </p:txBody>
          </p:sp>
          <p:sp>
            <p:nvSpPr>
              <p:cNvPr id="127" name="圆角矩形 45">
                <a:extLst>
                  <a:ext uri="{FF2B5EF4-FFF2-40B4-BE49-F238E27FC236}">
                    <a16:creationId xmlns:a16="http://schemas.microsoft.com/office/drawing/2014/main" id="{A8335C70-550F-4B71-B369-9540C498C15B}"/>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200" b="1" kern="0" dirty="0" err="1"/>
                  <a:t>Sidama</a:t>
                </a:r>
                <a:endParaRPr lang="en-US" altLang="zh-CN" sz="1200" b="1" kern="0" dirty="0"/>
              </a:p>
            </p:txBody>
          </p:sp>
          <p:sp>
            <p:nvSpPr>
              <p:cNvPr id="128" name="Text Box 16">
                <a:extLst>
                  <a:ext uri="{FF2B5EF4-FFF2-40B4-BE49-F238E27FC236}">
                    <a16:creationId xmlns:a16="http://schemas.microsoft.com/office/drawing/2014/main" id="{72345BE6-B27B-407A-B540-F9CC9632D7C6}"/>
                  </a:ext>
                </a:extLst>
              </p:cNvPr>
              <p:cNvSpPr txBox="1">
                <a:spLocks noChangeArrowheads="1"/>
              </p:cNvSpPr>
              <p:nvPr/>
            </p:nvSpPr>
            <p:spPr bwMode="auto">
              <a:xfrm>
                <a:off x="481277" y="5301819"/>
                <a:ext cx="1978393" cy="327917"/>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200" dirty="0">
                    <a:latin typeface="Calibri" pitchFamily="34" charset="0"/>
                    <a:cs typeface="Calibri" pitchFamily="34" charset="0"/>
                  </a:rPr>
                  <a:t>Sites - 53</a:t>
                </a:r>
              </a:p>
            </p:txBody>
          </p:sp>
        </p:grpSp>
      </p:grpSp>
    </p:spTree>
    <p:extLst>
      <p:ext uri="{BB962C8B-B14F-4D97-AF65-F5344CB8AC3E}">
        <p14:creationId xmlns:p14="http://schemas.microsoft.com/office/powerpoint/2010/main" val="264514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51F3256C-BE97-4ABB-85A5-4DA7D65184A7}"/>
              </a:ext>
            </a:extLst>
          </p:cNvPr>
          <p:cNvGrpSpPr/>
          <p:nvPr/>
        </p:nvGrpSpPr>
        <p:grpSpPr>
          <a:xfrm>
            <a:off x="673520" y="639619"/>
            <a:ext cx="7621852" cy="4456667"/>
            <a:chOff x="67968" y="32224"/>
            <a:chExt cx="8949062" cy="5232716"/>
          </a:xfrm>
        </p:grpSpPr>
        <p:sp>
          <p:nvSpPr>
            <p:cNvPr id="4" name="Freeform 5">
              <a:extLst>
                <a:ext uri="{FF2B5EF4-FFF2-40B4-BE49-F238E27FC236}">
                  <a16:creationId xmlns:a16="http://schemas.microsoft.com/office/drawing/2014/main" id="{4E02DADB-17BF-4D65-9828-BBF2FE40BFFA}"/>
                </a:ext>
              </a:extLst>
            </p:cNvPr>
            <p:cNvSpPr>
              <a:spLocks/>
            </p:cNvSpPr>
            <p:nvPr/>
          </p:nvSpPr>
          <p:spPr bwMode="auto">
            <a:xfrm>
              <a:off x="3032579" y="2633549"/>
              <a:ext cx="2192810" cy="1750586"/>
            </a:xfrm>
            <a:custGeom>
              <a:avLst/>
              <a:gdLst>
                <a:gd name="T0" fmla="*/ 5385 w 7785"/>
                <a:gd name="T1" fmla="*/ 1284 h 6216"/>
                <a:gd name="T2" fmla="*/ 5001 w 7785"/>
                <a:gd name="T3" fmla="*/ 1356 h 6216"/>
                <a:gd name="T4" fmla="*/ 4605 w 7785"/>
                <a:gd name="T5" fmla="*/ 1200 h 6216"/>
                <a:gd name="T6" fmla="*/ 4677 w 7785"/>
                <a:gd name="T7" fmla="*/ 840 h 6216"/>
                <a:gd name="T8" fmla="*/ 4377 w 7785"/>
                <a:gd name="T9" fmla="*/ 732 h 6216"/>
                <a:gd name="T10" fmla="*/ 4125 w 7785"/>
                <a:gd name="T11" fmla="*/ 276 h 6216"/>
                <a:gd name="T12" fmla="*/ 3860 w 7785"/>
                <a:gd name="T13" fmla="*/ 101 h 6216"/>
                <a:gd name="T14" fmla="*/ 3092 w 7785"/>
                <a:gd name="T15" fmla="*/ 439 h 6216"/>
                <a:gd name="T16" fmla="*/ 2541 w 7785"/>
                <a:gd name="T17" fmla="*/ 192 h 6216"/>
                <a:gd name="T18" fmla="*/ 2121 w 7785"/>
                <a:gd name="T19" fmla="*/ 54 h 6216"/>
                <a:gd name="T20" fmla="*/ 1794 w 7785"/>
                <a:gd name="T21" fmla="*/ 603 h 6216"/>
                <a:gd name="T22" fmla="*/ 1812 w 7785"/>
                <a:gd name="T23" fmla="*/ 960 h 6216"/>
                <a:gd name="T24" fmla="*/ 1446 w 7785"/>
                <a:gd name="T25" fmla="*/ 951 h 6216"/>
                <a:gd name="T26" fmla="*/ 1090 w 7785"/>
                <a:gd name="T27" fmla="*/ 521 h 6216"/>
                <a:gd name="T28" fmla="*/ 660 w 7785"/>
                <a:gd name="T29" fmla="*/ 494 h 6216"/>
                <a:gd name="T30" fmla="*/ 248 w 7785"/>
                <a:gd name="T31" fmla="*/ 658 h 6216"/>
                <a:gd name="T32" fmla="*/ 0 w 7785"/>
                <a:gd name="T33" fmla="*/ 1083 h 6216"/>
                <a:gd name="T34" fmla="*/ 333 w 7785"/>
                <a:gd name="T35" fmla="*/ 1740 h 6216"/>
                <a:gd name="T36" fmla="*/ 717 w 7785"/>
                <a:gd name="T37" fmla="*/ 2052 h 6216"/>
                <a:gd name="T38" fmla="*/ 753 w 7785"/>
                <a:gd name="T39" fmla="*/ 2460 h 6216"/>
                <a:gd name="T40" fmla="*/ 1125 w 7785"/>
                <a:gd name="T41" fmla="*/ 2244 h 6216"/>
                <a:gd name="T42" fmla="*/ 1497 w 7785"/>
                <a:gd name="T43" fmla="*/ 2040 h 6216"/>
                <a:gd name="T44" fmla="*/ 1701 w 7785"/>
                <a:gd name="T45" fmla="*/ 2496 h 6216"/>
                <a:gd name="T46" fmla="*/ 2397 w 7785"/>
                <a:gd name="T47" fmla="*/ 2796 h 6216"/>
                <a:gd name="T48" fmla="*/ 2913 w 7785"/>
                <a:gd name="T49" fmla="*/ 2400 h 6216"/>
                <a:gd name="T50" fmla="*/ 3117 w 7785"/>
                <a:gd name="T51" fmla="*/ 1968 h 6216"/>
                <a:gd name="T52" fmla="*/ 3453 w 7785"/>
                <a:gd name="T53" fmla="*/ 1788 h 6216"/>
                <a:gd name="T54" fmla="*/ 3945 w 7785"/>
                <a:gd name="T55" fmla="*/ 1752 h 6216"/>
                <a:gd name="T56" fmla="*/ 3993 w 7785"/>
                <a:gd name="T57" fmla="*/ 2172 h 6216"/>
                <a:gd name="T58" fmla="*/ 3597 w 7785"/>
                <a:gd name="T59" fmla="*/ 2808 h 6216"/>
                <a:gd name="T60" fmla="*/ 3801 w 7785"/>
                <a:gd name="T61" fmla="*/ 2928 h 6216"/>
                <a:gd name="T62" fmla="*/ 4029 w 7785"/>
                <a:gd name="T63" fmla="*/ 3252 h 6216"/>
                <a:gd name="T64" fmla="*/ 4389 w 7785"/>
                <a:gd name="T65" fmla="*/ 3696 h 6216"/>
                <a:gd name="T66" fmla="*/ 3825 w 7785"/>
                <a:gd name="T67" fmla="*/ 3528 h 6216"/>
                <a:gd name="T68" fmla="*/ 3645 w 7785"/>
                <a:gd name="T69" fmla="*/ 4056 h 6216"/>
                <a:gd name="T70" fmla="*/ 3681 w 7785"/>
                <a:gd name="T71" fmla="*/ 3576 h 6216"/>
                <a:gd name="T72" fmla="*/ 3309 w 7785"/>
                <a:gd name="T73" fmla="*/ 3420 h 6216"/>
                <a:gd name="T74" fmla="*/ 3345 w 7785"/>
                <a:gd name="T75" fmla="*/ 3936 h 6216"/>
                <a:gd name="T76" fmla="*/ 3333 w 7785"/>
                <a:gd name="T77" fmla="*/ 4464 h 6216"/>
                <a:gd name="T78" fmla="*/ 2829 w 7785"/>
                <a:gd name="T79" fmla="*/ 4632 h 6216"/>
                <a:gd name="T80" fmla="*/ 2445 w 7785"/>
                <a:gd name="T81" fmla="*/ 5052 h 6216"/>
                <a:gd name="T82" fmla="*/ 3885 w 7785"/>
                <a:gd name="T83" fmla="*/ 6048 h 6216"/>
                <a:gd name="T84" fmla="*/ 5817 w 7785"/>
                <a:gd name="T85" fmla="*/ 5232 h 6216"/>
                <a:gd name="T86" fmla="*/ 6309 w 7785"/>
                <a:gd name="T87" fmla="*/ 5004 h 6216"/>
                <a:gd name="T88" fmla="*/ 6357 w 7785"/>
                <a:gd name="T89" fmla="*/ 4548 h 6216"/>
                <a:gd name="T90" fmla="*/ 6213 w 7785"/>
                <a:gd name="T91" fmla="*/ 4056 h 6216"/>
                <a:gd name="T92" fmla="*/ 5985 w 7785"/>
                <a:gd name="T93" fmla="*/ 3588 h 6216"/>
                <a:gd name="T94" fmla="*/ 6429 w 7785"/>
                <a:gd name="T95" fmla="*/ 3684 h 6216"/>
                <a:gd name="T96" fmla="*/ 6909 w 7785"/>
                <a:gd name="T97" fmla="*/ 3432 h 6216"/>
                <a:gd name="T98" fmla="*/ 7161 w 7785"/>
                <a:gd name="T99" fmla="*/ 2760 h 6216"/>
                <a:gd name="T100" fmla="*/ 7053 w 7785"/>
                <a:gd name="T101" fmla="*/ 1980 h 6216"/>
                <a:gd name="T102" fmla="*/ 7353 w 7785"/>
                <a:gd name="T103" fmla="*/ 1668 h 6216"/>
                <a:gd name="T104" fmla="*/ 7689 w 7785"/>
                <a:gd name="T105" fmla="*/ 1824 h 6216"/>
                <a:gd name="T106" fmla="*/ 7629 w 7785"/>
                <a:gd name="T107" fmla="*/ 1236 h 6216"/>
                <a:gd name="T108" fmla="*/ 7329 w 7785"/>
                <a:gd name="T109" fmla="*/ 648 h 6216"/>
                <a:gd name="T110" fmla="*/ 6801 w 7785"/>
                <a:gd name="T111" fmla="*/ 840 h 6216"/>
                <a:gd name="T112" fmla="*/ 6165 w 7785"/>
                <a:gd name="T113" fmla="*/ 912 h 6216"/>
                <a:gd name="T114" fmla="*/ 5861 w 7785"/>
                <a:gd name="T115" fmla="*/ 840 h 6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85" h="6216">
                  <a:moveTo>
                    <a:pt x="5861" y="840"/>
                  </a:moveTo>
                  <a:lnTo>
                    <a:pt x="5769" y="900"/>
                  </a:lnTo>
                  <a:lnTo>
                    <a:pt x="5649" y="900"/>
                  </a:lnTo>
                  <a:lnTo>
                    <a:pt x="5577" y="1008"/>
                  </a:lnTo>
                  <a:lnTo>
                    <a:pt x="5493" y="1116"/>
                  </a:lnTo>
                  <a:lnTo>
                    <a:pt x="5385" y="1284"/>
                  </a:lnTo>
                  <a:lnTo>
                    <a:pt x="5235" y="1404"/>
                  </a:lnTo>
                  <a:lnTo>
                    <a:pt x="5253" y="1260"/>
                  </a:lnTo>
                  <a:lnTo>
                    <a:pt x="5169" y="1188"/>
                  </a:lnTo>
                  <a:lnTo>
                    <a:pt x="5133" y="1140"/>
                  </a:lnTo>
                  <a:lnTo>
                    <a:pt x="5025" y="1149"/>
                  </a:lnTo>
                  <a:lnTo>
                    <a:pt x="5001" y="1356"/>
                  </a:lnTo>
                  <a:lnTo>
                    <a:pt x="4905" y="1380"/>
                  </a:lnTo>
                  <a:lnTo>
                    <a:pt x="4797" y="1440"/>
                  </a:lnTo>
                  <a:lnTo>
                    <a:pt x="4725" y="1392"/>
                  </a:lnTo>
                  <a:lnTo>
                    <a:pt x="4617" y="1440"/>
                  </a:lnTo>
                  <a:lnTo>
                    <a:pt x="4557" y="1332"/>
                  </a:lnTo>
                  <a:lnTo>
                    <a:pt x="4605" y="1200"/>
                  </a:lnTo>
                  <a:lnTo>
                    <a:pt x="4653" y="1116"/>
                  </a:lnTo>
                  <a:lnTo>
                    <a:pt x="4557" y="1068"/>
                  </a:lnTo>
                  <a:lnTo>
                    <a:pt x="4557" y="996"/>
                  </a:lnTo>
                  <a:lnTo>
                    <a:pt x="4665" y="960"/>
                  </a:lnTo>
                  <a:lnTo>
                    <a:pt x="4749" y="912"/>
                  </a:lnTo>
                  <a:lnTo>
                    <a:pt x="4677" y="840"/>
                  </a:lnTo>
                  <a:lnTo>
                    <a:pt x="4593" y="852"/>
                  </a:lnTo>
                  <a:lnTo>
                    <a:pt x="4653" y="708"/>
                  </a:lnTo>
                  <a:lnTo>
                    <a:pt x="4653" y="576"/>
                  </a:lnTo>
                  <a:lnTo>
                    <a:pt x="4557" y="600"/>
                  </a:lnTo>
                  <a:lnTo>
                    <a:pt x="4461" y="708"/>
                  </a:lnTo>
                  <a:lnTo>
                    <a:pt x="4377" y="732"/>
                  </a:lnTo>
                  <a:lnTo>
                    <a:pt x="4377" y="624"/>
                  </a:lnTo>
                  <a:lnTo>
                    <a:pt x="4281" y="600"/>
                  </a:lnTo>
                  <a:lnTo>
                    <a:pt x="4197" y="564"/>
                  </a:lnTo>
                  <a:lnTo>
                    <a:pt x="4137" y="420"/>
                  </a:lnTo>
                  <a:lnTo>
                    <a:pt x="4029" y="300"/>
                  </a:lnTo>
                  <a:lnTo>
                    <a:pt x="4125" y="276"/>
                  </a:lnTo>
                  <a:lnTo>
                    <a:pt x="4185" y="204"/>
                  </a:lnTo>
                  <a:lnTo>
                    <a:pt x="4209" y="72"/>
                  </a:lnTo>
                  <a:lnTo>
                    <a:pt x="4101" y="24"/>
                  </a:lnTo>
                  <a:lnTo>
                    <a:pt x="3981" y="12"/>
                  </a:lnTo>
                  <a:lnTo>
                    <a:pt x="3885" y="0"/>
                  </a:lnTo>
                  <a:lnTo>
                    <a:pt x="3860" y="101"/>
                  </a:lnTo>
                  <a:lnTo>
                    <a:pt x="3805" y="219"/>
                  </a:lnTo>
                  <a:lnTo>
                    <a:pt x="3668" y="274"/>
                  </a:lnTo>
                  <a:lnTo>
                    <a:pt x="3512" y="366"/>
                  </a:lnTo>
                  <a:lnTo>
                    <a:pt x="3348" y="457"/>
                  </a:lnTo>
                  <a:lnTo>
                    <a:pt x="3211" y="494"/>
                  </a:lnTo>
                  <a:lnTo>
                    <a:pt x="3092" y="439"/>
                  </a:lnTo>
                  <a:lnTo>
                    <a:pt x="2991" y="347"/>
                  </a:lnTo>
                  <a:lnTo>
                    <a:pt x="2827" y="329"/>
                  </a:lnTo>
                  <a:lnTo>
                    <a:pt x="2717" y="274"/>
                  </a:lnTo>
                  <a:lnTo>
                    <a:pt x="2699" y="183"/>
                  </a:lnTo>
                  <a:lnTo>
                    <a:pt x="2639" y="113"/>
                  </a:lnTo>
                  <a:lnTo>
                    <a:pt x="2541" y="192"/>
                  </a:lnTo>
                  <a:lnTo>
                    <a:pt x="2437" y="168"/>
                  </a:lnTo>
                  <a:lnTo>
                    <a:pt x="2379" y="119"/>
                  </a:lnTo>
                  <a:lnTo>
                    <a:pt x="2278" y="73"/>
                  </a:lnTo>
                  <a:lnTo>
                    <a:pt x="2205" y="155"/>
                  </a:lnTo>
                  <a:lnTo>
                    <a:pt x="2141" y="128"/>
                  </a:lnTo>
                  <a:lnTo>
                    <a:pt x="2121" y="54"/>
                  </a:lnTo>
                  <a:lnTo>
                    <a:pt x="2004" y="137"/>
                  </a:lnTo>
                  <a:lnTo>
                    <a:pt x="1949" y="256"/>
                  </a:lnTo>
                  <a:lnTo>
                    <a:pt x="1858" y="320"/>
                  </a:lnTo>
                  <a:lnTo>
                    <a:pt x="1775" y="347"/>
                  </a:lnTo>
                  <a:lnTo>
                    <a:pt x="1757" y="494"/>
                  </a:lnTo>
                  <a:lnTo>
                    <a:pt x="1794" y="603"/>
                  </a:lnTo>
                  <a:lnTo>
                    <a:pt x="1794" y="695"/>
                  </a:lnTo>
                  <a:lnTo>
                    <a:pt x="1867" y="741"/>
                  </a:lnTo>
                  <a:lnTo>
                    <a:pt x="1940" y="759"/>
                  </a:lnTo>
                  <a:lnTo>
                    <a:pt x="1940" y="905"/>
                  </a:lnTo>
                  <a:lnTo>
                    <a:pt x="1885" y="942"/>
                  </a:lnTo>
                  <a:lnTo>
                    <a:pt x="1812" y="960"/>
                  </a:lnTo>
                  <a:lnTo>
                    <a:pt x="1848" y="1088"/>
                  </a:lnTo>
                  <a:lnTo>
                    <a:pt x="1784" y="1143"/>
                  </a:lnTo>
                  <a:lnTo>
                    <a:pt x="1720" y="1143"/>
                  </a:lnTo>
                  <a:lnTo>
                    <a:pt x="1666" y="1042"/>
                  </a:lnTo>
                  <a:lnTo>
                    <a:pt x="1592" y="978"/>
                  </a:lnTo>
                  <a:lnTo>
                    <a:pt x="1446" y="951"/>
                  </a:lnTo>
                  <a:lnTo>
                    <a:pt x="1437" y="841"/>
                  </a:lnTo>
                  <a:lnTo>
                    <a:pt x="1391" y="777"/>
                  </a:lnTo>
                  <a:lnTo>
                    <a:pt x="1336" y="695"/>
                  </a:lnTo>
                  <a:lnTo>
                    <a:pt x="1227" y="658"/>
                  </a:lnTo>
                  <a:lnTo>
                    <a:pt x="1126" y="631"/>
                  </a:lnTo>
                  <a:lnTo>
                    <a:pt x="1090" y="521"/>
                  </a:lnTo>
                  <a:lnTo>
                    <a:pt x="1035" y="448"/>
                  </a:lnTo>
                  <a:lnTo>
                    <a:pt x="943" y="421"/>
                  </a:lnTo>
                  <a:lnTo>
                    <a:pt x="824" y="421"/>
                  </a:lnTo>
                  <a:lnTo>
                    <a:pt x="788" y="329"/>
                  </a:lnTo>
                  <a:lnTo>
                    <a:pt x="651" y="375"/>
                  </a:lnTo>
                  <a:lnTo>
                    <a:pt x="660" y="494"/>
                  </a:lnTo>
                  <a:lnTo>
                    <a:pt x="605" y="558"/>
                  </a:lnTo>
                  <a:lnTo>
                    <a:pt x="596" y="658"/>
                  </a:lnTo>
                  <a:lnTo>
                    <a:pt x="550" y="741"/>
                  </a:lnTo>
                  <a:lnTo>
                    <a:pt x="450" y="731"/>
                  </a:lnTo>
                  <a:lnTo>
                    <a:pt x="349" y="686"/>
                  </a:lnTo>
                  <a:lnTo>
                    <a:pt x="248" y="658"/>
                  </a:lnTo>
                  <a:lnTo>
                    <a:pt x="312" y="777"/>
                  </a:lnTo>
                  <a:lnTo>
                    <a:pt x="212" y="850"/>
                  </a:lnTo>
                  <a:lnTo>
                    <a:pt x="285" y="914"/>
                  </a:lnTo>
                  <a:lnTo>
                    <a:pt x="239" y="1006"/>
                  </a:lnTo>
                  <a:lnTo>
                    <a:pt x="157" y="1106"/>
                  </a:lnTo>
                  <a:lnTo>
                    <a:pt x="0" y="1083"/>
                  </a:lnTo>
                  <a:lnTo>
                    <a:pt x="11" y="1253"/>
                  </a:lnTo>
                  <a:lnTo>
                    <a:pt x="2" y="1454"/>
                  </a:lnTo>
                  <a:lnTo>
                    <a:pt x="9" y="1632"/>
                  </a:lnTo>
                  <a:lnTo>
                    <a:pt x="117" y="1572"/>
                  </a:lnTo>
                  <a:lnTo>
                    <a:pt x="237" y="1668"/>
                  </a:lnTo>
                  <a:lnTo>
                    <a:pt x="333" y="1740"/>
                  </a:lnTo>
                  <a:lnTo>
                    <a:pt x="417" y="1848"/>
                  </a:lnTo>
                  <a:lnTo>
                    <a:pt x="561" y="1908"/>
                  </a:lnTo>
                  <a:lnTo>
                    <a:pt x="645" y="1980"/>
                  </a:lnTo>
                  <a:lnTo>
                    <a:pt x="765" y="1944"/>
                  </a:lnTo>
                  <a:lnTo>
                    <a:pt x="837" y="2004"/>
                  </a:lnTo>
                  <a:lnTo>
                    <a:pt x="717" y="2052"/>
                  </a:lnTo>
                  <a:lnTo>
                    <a:pt x="729" y="2136"/>
                  </a:lnTo>
                  <a:lnTo>
                    <a:pt x="693" y="2208"/>
                  </a:lnTo>
                  <a:lnTo>
                    <a:pt x="664" y="2290"/>
                  </a:lnTo>
                  <a:lnTo>
                    <a:pt x="669" y="2357"/>
                  </a:lnTo>
                  <a:lnTo>
                    <a:pt x="731" y="2386"/>
                  </a:lnTo>
                  <a:lnTo>
                    <a:pt x="753" y="2460"/>
                  </a:lnTo>
                  <a:lnTo>
                    <a:pt x="873" y="2556"/>
                  </a:lnTo>
                  <a:lnTo>
                    <a:pt x="933" y="2616"/>
                  </a:lnTo>
                  <a:lnTo>
                    <a:pt x="993" y="2612"/>
                  </a:lnTo>
                  <a:lnTo>
                    <a:pt x="1005" y="2472"/>
                  </a:lnTo>
                  <a:lnTo>
                    <a:pt x="1029" y="2340"/>
                  </a:lnTo>
                  <a:lnTo>
                    <a:pt x="1125" y="2244"/>
                  </a:lnTo>
                  <a:lnTo>
                    <a:pt x="1245" y="2208"/>
                  </a:lnTo>
                  <a:lnTo>
                    <a:pt x="1281" y="2280"/>
                  </a:lnTo>
                  <a:lnTo>
                    <a:pt x="1389" y="2232"/>
                  </a:lnTo>
                  <a:lnTo>
                    <a:pt x="1461" y="2184"/>
                  </a:lnTo>
                  <a:lnTo>
                    <a:pt x="1413" y="2100"/>
                  </a:lnTo>
                  <a:lnTo>
                    <a:pt x="1497" y="2040"/>
                  </a:lnTo>
                  <a:lnTo>
                    <a:pt x="1569" y="2124"/>
                  </a:lnTo>
                  <a:lnTo>
                    <a:pt x="1557" y="2220"/>
                  </a:lnTo>
                  <a:lnTo>
                    <a:pt x="1581" y="2292"/>
                  </a:lnTo>
                  <a:lnTo>
                    <a:pt x="1641" y="2340"/>
                  </a:lnTo>
                  <a:lnTo>
                    <a:pt x="1689" y="2412"/>
                  </a:lnTo>
                  <a:lnTo>
                    <a:pt x="1701" y="2496"/>
                  </a:lnTo>
                  <a:lnTo>
                    <a:pt x="1821" y="2556"/>
                  </a:lnTo>
                  <a:lnTo>
                    <a:pt x="1893" y="2616"/>
                  </a:lnTo>
                  <a:lnTo>
                    <a:pt x="2001" y="2664"/>
                  </a:lnTo>
                  <a:lnTo>
                    <a:pt x="2145" y="2676"/>
                  </a:lnTo>
                  <a:lnTo>
                    <a:pt x="2277" y="2736"/>
                  </a:lnTo>
                  <a:lnTo>
                    <a:pt x="2397" y="2796"/>
                  </a:lnTo>
                  <a:lnTo>
                    <a:pt x="2529" y="2820"/>
                  </a:lnTo>
                  <a:lnTo>
                    <a:pt x="2649" y="2808"/>
                  </a:lnTo>
                  <a:lnTo>
                    <a:pt x="2757" y="2760"/>
                  </a:lnTo>
                  <a:lnTo>
                    <a:pt x="2877" y="2676"/>
                  </a:lnTo>
                  <a:lnTo>
                    <a:pt x="2961" y="2544"/>
                  </a:lnTo>
                  <a:lnTo>
                    <a:pt x="2913" y="2400"/>
                  </a:lnTo>
                  <a:lnTo>
                    <a:pt x="2925" y="2280"/>
                  </a:lnTo>
                  <a:lnTo>
                    <a:pt x="2877" y="2160"/>
                  </a:lnTo>
                  <a:lnTo>
                    <a:pt x="2973" y="2148"/>
                  </a:lnTo>
                  <a:lnTo>
                    <a:pt x="3057" y="2184"/>
                  </a:lnTo>
                  <a:lnTo>
                    <a:pt x="3069" y="2052"/>
                  </a:lnTo>
                  <a:lnTo>
                    <a:pt x="3117" y="1968"/>
                  </a:lnTo>
                  <a:lnTo>
                    <a:pt x="2973" y="1908"/>
                  </a:lnTo>
                  <a:lnTo>
                    <a:pt x="2973" y="1800"/>
                  </a:lnTo>
                  <a:lnTo>
                    <a:pt x="3045" y="1764"/>
                  </a:lnTo>
                  <a:lnTo>
                    <a:pt x="3129" y="1800"/>
                  </a:lnTo>
                  <a:lnTo>
                    <a:pt x="3273" y="1812"/>
                  </a:lnTo>
                  <a:lnTo>
                    <a:pt x="3453" y="1788"/>
                  </a:lnTo>
                  <a:lnTo>
                    <a:pt x="3621" y="1776"/>
                  </a:lnTo>
                  <a:lnTo>
                    <a:pt x="3693" y="1788"/>
                  </a:lnTo>
                  <a:lnTo>
                    <a:pt x="3753" y="1896"/>
                  </a:lnTo>
                  <a:lnTo>
                    <a:pt x="3825" y="1824"/>
                  </a:lnTo>
                  <a:lnTo>
                    <a:pt x="3873" y="1728"/>
                  </a:lnTo>
                  <a:lnTo>
                    <a:pt x="3945" y="1752"/>
                  </a:lnTo>
                  <a:lnTo>
                    <a:pt x="4041" y="1824"/>
                  </a:lnTo>
                  <a:lnTo>
                    <a:pt x="4089" y="1944"/>
                  </a:lnTo>
                  <a:lnTo>
                    <a:pt x="4041" y="2052"/>
                  </a:lnTo>
                  <a:lnTo>
                    <a:pt x="3921" y="1920"/>
                  </a:lnTo>
                  <a:lnTo>
                    <a:pt x="3945" y="2040"/>
                  </a:lnTo>
                  <a:lnTo>
                    <a:pt x="3993" y="2172"/>
                  </a:lnTo>
                  <a:lnTo>
                    <a:pt x="3909" y="2268"/>
                  </a:lnTo>
                  <a:lnTo>
                    <a:pt x="3837" y="2376"/>
                  </a:lnTo>
                  <a:lnTo>
                    <a:pt x="3789" y="2508"/>
                  </a:lnTo>
                  <a:lnTo>
                    <a:pt x="3753" y="2604"/>
                  </a:lnTo>
                  <a:lnTo>
                    <a:pt x="3693" y="2736"/>
                  </a:lnTo>
                  <a:lnTo>
                    <a:pt x="3597" y="2808"/>
                  </a:lnTo>
                  <a:lnTo>
                    <a:pt x="3489" y="2856"/>
                  </a:lnTo>
                  <a:lnTo>
                    <a:pt x="3501" y="2964"/>
                  </a:lnTo>
                  <a:lnTo>
                    <a:pt x="3561" y="3024"/>
                  </a:lnTo>
                  <a:lnTo>
                    <a:pt x="3669" y="3000"/>
                  </a:lnTo>
                  <a:lnTo>
                    <a:pt x="3729" y="2916"/>
                  </a:lnTo>
                  <a:lnTo>
                    <a:pt x="3801" y="2928"/>
                  </a:lnTo>
                  <a:lnTo>
                    <a:pt x="3873" y="2916"/>
                  </a:lnTo>
                  <a:lnTo>
                    <a:pt x="3969" y="2916"/>
                  </a:lnTo>
                  <a:lnTo>
                    <a:pt x="4041" y="2988"/>
                  </a:lnTo>
                  <a:lnTo>
                    <a:pt x="4065" y="3084"/>
                  </a:lnTo>
                  <a:lnTo>
                    <a:pt x="4017" y="3168"/>
                  </a:lnTo>
                  <a:lnTo>
                    <a:pt x="4029" y="3252"/>
                  </a:lnTo>
                  <a:lnTo>
                    <a:pt x="4113" y="3300"/>
                  </a:lnTo>
                  <a:lnTo>
                    <a:pt x="4233" y="3324"/>
                  </a:lnTo>
                  <a:lnTo>
                    <a:pt x="4353" y="3396"/>
                  </a:lnTo>
                  <a:lnTo>
                    <a:pt x="4401" y="3492"/>
                  </a:lnTo>
                  <a:lnTo>
                    <a:pt x="4461" y="3636"/>
                  </a:lnTo>
                  <a:lnTo>
                    <a:pt x="4389" y="3696"/>
                  </a:lnTo>
                  <a:lnTo>
                    <a:pt x="4413" y="3804"/>
                  </a:lnTo>
                  <a:lnTo>
                    <a:pt x="4269" y="3744"/>
                  </a:lnTo>
                  <a:lnTo>
                    <a:pt x="4209" y="3636"/>
                  </a:lnTo>
                  <a:lnTo>
                    <a:pt x="4113" y="3564"/>
                  </a:lnTo>
                  <a:lnTo>
                    <a:pt x="3945" y="3540"/>
                  </a:lnTo>
                  <a:lnTo>
                    <a:pt x="3825" y="3528"/>
                  </a:lnTo>
                  <a:lnTo>
                    <a:pt x="3825" y="3648"/>
                  </a:lnTo>
                  <a:lnTo>
                    <a:pt x="3789" y="3756"/>
                  </a:lnTo>
                  <a:lnTo>
                    <a:pt x="3741" y="3840"/>
                  </a:lnTo>
                  <a:lnTo>
                    <a:pt x="3693" y="3924"/>
                  </a:lnTo>
                  <a:lnTo>
                    <a:pt x="3729" y="4020"/>
                  </a:lnTo>
                  <a:lnTo>
                    <a:pt x="3645" y="4056"/>
                  </a:lnTo>
                  <a:lnTo>
                    <a:pt x="3573" y="3984"/>
                  </a:lnTo>
                  <a:lnTo>
                    <a:pt x="3561" y="3900"/>
                  </a:lnTo>
                  <a:lnTo>
                    <a:pt x="3501" y="3804"/>
                  </a:lnTo>
                  <a:lnTo>
                    <a:pt x="3597" y="3744"/>
                  </a:lnTo>
                  <a:lnTo>
                    <a:pt x="3621" y="3612"/>
                  </a:lnTo>
                  <a:lnTo>
                    <a:pt x="3681" y="3576"/>
                  </a:lnTo>
                  <a:lnTo>
                    <a:pt x="3681" y="3516"/>
                  </a:lnTo>
                  <a:lnTo>
                    <a:pt x="3537" y="3516"/>
                  </a:lnTo>
                  <a:lnTo>
                    <a:pt x="3477" y="3456"/>
                  </a:lnTo>
                  <a:lnTo>
                    <a:pt x="3453" y="3396"/>
                  </a:lnTo>
                  <a:lnTo>
                    <a:pt x="3357" y="3420"/>
                  </a:lnTo>
                  <a:lnTo>
                    <a:pt x="3309" y="3420"/>
                  </a:lnTo>
                  <a:lnTo>
                    <a:pt x="3249" y="3504"/>
                  </a:lnTo>
                  <a:lnTo>
                    <a:pt x="3297" y="3624"/>
                  </a:lnTo>
                  <a:lnTo>
                    <a:pt x="3297" y="3732"/>
                  </a:lnTo>
                  <a:lnTo>
                    <a:pt x="3237" y="3828"/>
                  </a:lnTo>
                  <a:lnTo>
                    <a:pt x="3237" y="3924"/>
                  </a:lnTo>
                  <a:lnTo>
                    <a:pt x="3345" y="3936"/>
                  </a:lnTo>
                  <a:lnTo>
                    <a:pt x="3417" y="3960"/>
                  </a:lnTo>
                  <a:lnTo>
                    <a:pt x="3441" y="4104"/>
                  </a:lnTo>
                  <a:lnTo>
                    <a:pt x="3513" y="4188"/>
                  </a:lnTo>
                  <a:lnTo>
                    <a:pt x="3393" y="4272"/>
                  </a:lnTo>
                  <a:lnTo>
                    <a:pt x="3381" y="4404"/>
                  </a:lnTo>
                  <a:lnTo>
                    <a:pt x="3333" y="4464"/>
                  </a:lnTo>
                  <a:lnTo>
                    <a:pt x="3369" y="4584"/>
                  </a:lnTo>
                  <a:lnTo>
                    <a:pt x="3249" y="4572"/>
                  </a:lnTo>
                  <a:lnTo>
                    <a:pt x="3177" y="4560"/>
                  </a:lnTo>
                  <a:lnTo>
                    <a:pt x="3057" y="4548"/>
                  </a:lnTo>
                  <a:lnTo>
                    <a:pt x="2949" y="4644"/>
                  </a:lnTo>
                  <a:lnTo>
                    <a:pt x="2829" y="4632"/>
                  </a:lnTo>
                  <a:lnTo>
                    <a:pt x="2721" y="4608"/>
                  </a:lnTo>
                  <a:lnTo>
                    <a:pt x="2613" y="4632"/>
                  </a:lnTo>
                  <a:lnTo>
                    <a:pt x="2469" y="4668"/>
                  </a:lnTo>
                  <a:lnTo>
                    <a:pt x="2421" y="4848"/>
                  </a:lnTo>
                  <a:lnTo>
                    <a:pt x="2457" y="4980"/>
                  </a:lnTo>
                  <a:lnTo>
                    <a:pt x="2445" y="5052"/>
                  </a:lnTo>
                  <a:lnTo>
                    <a:pt x="2361" y="5184"/>
                  </a:lnTo>
                  <a:lnTo>
                    <a:pt x="2301" y="5274"/>
                  </a:lnTo>
                  <a:lnTo>
                    <a:pt x="2505" y="5340"/>
                  </a:lnTo>
                  <a:lnTo>
                    <a:pt x="2985" y="5640"/>
                  </a:lnTo>
                  <a:lnTo>
                    <a:pt x="3525" y="6036"/>
                  </a:lnTo>
                  <a:lnTo>
                    <a:pt x="3885" y="6048"/>
                  </a:lnTo>
                  <a:lnTo>
                    <a:pt x="4797" y="6216"/>
                  </a:lnTo>
                  <a:lnTo>
                    <a:pt x="4989" y="5952"/>
                  </a:lnTo>
                  <a:lnTo>
                    <a:pt x="5109" y="5820"/>
                  </a:lnTo>
                  <a:lnTo>
                    <a:pt x="5865" y="5448"/>
                  </a:lnTo>
                  <a:lnTo>
                    <a:pt x="5877" y="5352"/>
                  </a:lnTo>
                  <a:lnTo>
                    <a:pt x="5817" y="5232"/>
                  </a:lnTo>
                  <a:lnTo>
                    <a:pt x="5889" y="5184"/>
                  </a:lnTo>
                  <a:lnTo>
                    <a:pt x="5985" y="5220"/>
                  </a:lnTo>
                  <a:lnTo>
                    <a:pt x="6081" y="5124"/>
                  </a:lnTo>
                  <a:lnTo>
                    <a:pt x="6213" y="5088"/>
                  </a:lnTo>
                  <a:lnTo>
                    <a:pt x="6213" y="4980"/>
                  </a:lnTo>
                  <a:lnTo>
                    <a:pt x="6309" y="5004"/>
                  </a:lnTo>
                  <a:lnTo>
                    <a:pt x="6441" y="4980"/>
                  </a:lnTo>
                  <a:lnTo>
                    <a:pt x="6609" y="4992"/>
                  </a:lnTo>
                  <a:lnTo>
                    <a:pt x="6537" y="4860"/>
                  </a:lnTo>
                  <a:lnTo>
                    <a:pt x="6441" y="4776"/>
                  </a:lnTo>
                  <a:lnTo>
                    <a:pt x="6357" y="4680"/>
                  </a:lnTo>
                  <a:lnTo>
                    <a:pt x="6357" y="4548"/>
                  </a:lnTo>
                  <a:lnTo>
                    <a:pt x="6285" y="4404"/>
                  </a:lnTo>
                  <a:lnTo>
                    <a:pt x="6237" y="4344"/>
                  </a:lnTo>
                  <a:lnTo>
                    <a:pt x="6285" y="4296"/>
                  </a:lnTo>
                  <a:lnTo>
                    <a:pt x="6345" y="4152"/>
                  </a:lnTo>
                  <a:lnTo>
                    <a:pt x="6285" y="4116"/>
                  </a:lnTo>
                  <a:lnTo>
                    <a:pt x="6213" y="4056"/>
                  </a:lnTo>
                  <a:lnTo>
                    <a:pt x="6177" y="3948"/>
                  </a:lnTo>
                  <a:lnTo>
                    <a:pt x="6093" y="3948"/>
                  </a:lnTo>
                  <a:lnTo>
                    <a:pt x="6057" y="3852"/>
                  </a:lnTo>
                  <a:lnTo>
                    <a:pt x="5961" y="3816"/>
                  </a:lnTo>
                  <a:lnTo>
                    <a:pt x="5985" y="3708"/>
                  </a:lnTo>
                  <a:lnTo>
                    <a:pt x="5985" y="3588"/>
                  </a:lnTo>
                  <a:lnTo>
                    <a:pt x="6105" y="3588"/>
                  </a:lnTo>
                  <a:lnTo>
                    <a:pt x="6117" y="3492"/>
                  </a:lnTo>
                  <a:lnTo>
                    <a:pt x="6177" y="3336"/>
                  </a:lnTo>
                  <a:lnTo>
                    <a:pt x="6285" y="3444"/>
                  </a:lnTo>
                  <a:lnTo>
                    <a:pt x="6357" y="3552"/>
                  </a:lnTo>
                  <a:lnTo>
                    <a:pt x="6429" y="3684"/>
                  </a:lnTo>
                  <a:lnTo>
                    <a:pt x="6489" y="3756"/>
                  </a:lnTo>
                  <a:lnTo>
                    <a:pt x="6561" y="3828"/>
                  </a:lnTo>
                  <a:lnTo>
                    <a:pt x="6693" y="3720"/>
                  </a:lnTo>
                  <a:lnTo>
                    <a:pt x="6681" y="3576"/>
                  </a:lnTo>
                  <a:lnTo>
                    <a:pt x="6789" y="3456"/>
                  </a:lnTo>
                  <a:lnTo>
                    <a:pt x="6909" y="3432"/>
                  </a:lnTo>
                  <a:lnTo>
                    <a:pt x="6981" y="3384"/>
                  </a:lnTo>
                  <a:lnTo>
                    <a:pt x="7053" y="3252"/>
                  </a:lnTo>
                  <a:lnTo>
                    <a:pt x="7065" y="3108"/>
                  </a:lnTo>
                  <a:lnTo>
                    <a:pt x="7137" y="3024"/>
                  </a:lnTo>
                  <a:lnTo>
                    <a:pt x="7185" y="2868"/>
                  </a:lnTo>
                  <a:lnTo>
                    <a:pt x="7161" y="2760"/>
                  </a:lnTo>
                  <a:lnTo>
                    <a:pt x="7077" y="2640"/>
                  </a:lnTo>
                  <a:lnTo>
                    <a:pt x="7005" y="2556"/>
                  </a:lnTo>
                  <a:lnTo>
                    <a:pt x="7017" y="2436"/>
                  </a:lnTo>
                  <a:lnTo>
                    <a:pt x="6993" y="2316"/>
                  </a:lnTo>
                  <a:lnTo>
                    <a:pt x="7017" y="2172"/>
                  </a:lnTo>
                  <a:lnTo>
                    <a:pt x="7053" y="1980"/>
                  </a:lnTo>
                  <a:lnTo>
                    <a:pt x="7125" y="1860"/>
                  </a:lnTo>
                  <a:lnTo>
                    <a:pt x="7185" y="1752"/>
                  </a:lnTo>
                  <a:lnTo>
                    <a:pt x="7137" y="1632"/>
                  </a:lnTo>
                  <a:lnTo>
                    <a:pt x="7209" y="1560"/>
                  </a:lnTo>
                  <a:lnTo>
                    <a:pt x="7269" y="1632"/>
                  </a:lnTo>
                  <a:lnTo>
                    <a:pt x="7353" y="1668"/>
                  </a:lnTo>
                  <a:lnTo>
                    <a:pt x="7437" y="1704"/>
                  </a:lnTo>
                  <a:lnTo>
                    <a:pt x="7473" y="1800"/>
                  </a:lnTo>
                  <a:lnTo>
                    <a:pt x="7509" y="1932"/>
                  </a:lnTo>
                  <a:lnTo>
                    <a:pt x="7545" y="2004"/>
                  </a:lnTo>
                  <a:lnTo>
                    <a:pt x="7605" y="1932"/>
                  </a:lnTo>
                  <a:lnTo>
                    <a:pt x="7689" y="1824"/>
                  </a:lnTo>
                  <a:lnTo>
                    <a:pt x="7785" y="1788"/>
                  </a:lnTo>
                  <a:lnTo>
                    <a:pt x="7785" y="1632"/>
                  </a:lnTo>
                  <a:lnTo>
                    <a:pt x="7713" y="1560"/>
                  </a:lnTo>
                  <a:lnTo>
                    <a:pt x="7725" y="1440"/>
                  </a:lnTo>
                  <a:lnTo>
                    <a:pt x="7701" y="1368"/>
                  </a:lnTo>
                  <a:lnTo>
                    <a:pt x="7629" y="1236"/>
                  </a:lnTo>
                  <a:lnTo>
                    <a:pt x="7545" y="1152"/>
                  </a:lnTo>
                  <a:lnTo>
                    <a:pt x="7497" y="1068"/>
                  </a:lnTo>
                  <a:lnTo>
                    <a:pt x="7485" y="924"/>
                  </a:lnTo>
                  <a:lnTo>
                    <a:pt x="7401" y="840"/>
                  </a:lnTo>
                  <a:lnTo>
                    <a:pt x="7341" y="744"/>
                  </a:lnTo>
                  <a:lnTo>
                    <a:pt x="7329" y="648"/>
                  </a:lnTo>
                  <a:lnTo>
                    <a:pt x="7257" y="612"/>
                  </a:lnTo>
                  <a:lnTo>
                    <a:pt x="7197" y="648"/>
                  </a:lnTo>
                  <a:lnTo>
                    <a:pt x="7101" y="672"/>
                  </a:lnTo>
                  <a:lnTo>
                    <a:pt x="7077" y="816"/>
                  </a:lnTo>
                  <a:lnTo>
                    <a:pt x="6945" y="804"/>
                  </a:lnTo>
                  <a:lnTo>
                    <a:pt x="6801" y="840"/>
                  </a:lnTo>
                  <a:lnTo>
                    <a:pt x="6705" y="792"/>
                  </a:lnTo>
                  <a:lnTo>
                    <a:pt x="6609" y="816"/>
                  </a:lnTo>
                  <a:lnTo>
                    <a:pt x="6477" y="840"/>
                  </a:lnTo>
                  <a:lnTo>
                    <a:pt x="6357" y="792"/>
                  </a:lnTo>
                  <a:lnTo>
                    <a:pt x="6273" y="840"/>
                  </a:lnTo>
                  <a:lnTo>
                    <a:pt x="6165" y="912"/>
                  </a:lnTo>
                  <a:lnTo>
                    <a:pt x="6081" y="960"/>
                  </a:lnTo>
                  <a:lnTo>
                    <a:pt x="5985" y="984"/>
                  </a:lnTo>
                  <a:lnTo>
                    <a:pt x="5925" y="936"/>
                  </a:lnTo>
                  <a:lnTo>
                    <a:pt x="6021" y="876"/>
                  </a:lnTo>
                  <a:lnTo>
                    <a:pt x="5949" y="828"/>
                  </a:lnTo>
                  <a:lnTo>
                    <a:pt x="5861" y="8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5" name="Freeform 6">
              <a:extLst>
                <a:ext uri="{FF2B5EF4-FFF2-40B4-BE49-F238E27FC236}">
                  <a16:creationId xmlns:a16="http://schemas.microsoft.com/office/drawing/2014/main" id="{A1ED4CD8-95BC-4D1E-8498-A4BED3F4014A}"/>
                </a:ext>
              </a:extLst>
            </p:cNvPr>
            <p:cNvSpPr>
              <a:spLocks/>
            </p:cNvSpPr>
            <p:nvPr/>
          </p:nvSpPr>
          <p:spPr bwMode="auto">
            <a:xfrm>
              <a:off x="4667679" y="2467363"/>
              <a:ext cx="1816779" cy="1777345"/>
            </a:xfrm>
            <a:custGeom>
              <a:avLst/>
              <a:gdLst>
                <a:gd name="T0" fmla="*/ 84 w 6450"/>
                <a:gd name="T1" fmla="*/ 1236 h 6311"/>
                <a:gd name="T2" fmla="*/ 228 w 6450"/>
                <a:gd name="T3" fmla="*/ 900 h 6311"/>
                <a:gd name="T4" fmla="*/ 372 w 6450"/>
                <a:gd name="T5" fmla="*/ 420 h 6311"/>
                <a:gd name="T6" fmla="*/ 588 w 6450"/>
                <a:gd name="T7" fmla="*/ 84 h 6311"/>
                <a:gd name="T8" fmla="*/ 1500 w 6450"/>
                <a:gd name="T9" fmla="*/ 60 h 6311"/>
                <a:gd name="T10" fmla="*/ 2004 w 6450"/>
                <a:gd name="T11" fmla="*/ 60 h 6311"/>
                <a:gd name="T12" fmla="*/ 1884 w 6450"/>
                <a:gd name="T13" fmla="*/ 624 h 6311"/>
                <a:gd name="T14" fmla="*/ 2112 w 6450"/>
                <a:gd name="T15" fmla="*/ 1020 h 6311"/>
                <a:gd name="T16" fmla="*/ 2436 w 6450"/>
                <a:gd name="T17" fmla="*/ 1404 h 6311"/>
                <a:gd name="T18" fmla="*/ 3072 w 6450"/>
                <a:gd name="T19" fmla="*/ 1884 h 6311"/>
                <a:gd name="T20" fmla="*/ 5652 w 6450"/>
                <a:gd name="T21" fmla="*/ 2748 h 6311"/>
                <a:gd name="T22" fmla="*/ 2964 w 6450"/>
                <a:gd name="T23" fmla="*/ 5460 h 6311"/>
                <a:gd name="T24" fmla="*/ 1992 w 6450"/>
                <a:gd name="T25" fmla="*/ 5940 h 6311"/>
                <a:gd name="T26" fmla="*/ 1017 w 6450"/>
                <a:gd name="T27" fmla="*/ 6311 h 6311"/>
                <a:gd name="T28" fmla="*/ 444 w 6450"/>
                <a:gd name="T29" fmla="*/ 6300 h 6311"/>
                <a:gd name="T30" fmla="*/ 72 w 6450"/>
                <a:gd name="T31" fmla="*/ 5940 h 6311"/>
                <a:gd name="T32" fmla="*/ 180 w 6450"/>
                <a:gd name="T33" fmla="*/ 5808 h 6311"/>
                <a:gd name="T34" fmla="*/ 408 w 6450"/>
                <a:gd name="T35" fmla="*/ 5568 h 6311"/>
                <a:gd name="T36" fmla="*/ 804 w 6450"/>
                <a:gd name="T37" fmla="*/ 5580 h 6311"/>
                <a:gd name="T38" fmla="*/ 552 w 6450"/>
                <a:gd name="T39" fmla="*/ 5268 h 6311"/>
                <a:gd name="T40" fmla="*/ 432 w 6450"/>
                <a:gd name="T41" fmla="*/ 4932 h 6311"/>
                <a:gd name="T42" fmla="*/ 480 w 6450"/>
                <a:gd name="T43" fmla="*/ 4704 h 6311"/>
                <a:gd name="T44" fmla="*/ 288 w 6450"/>
                <a:gd name="T45" fmla="*/ 4536 h 6311"/>
                <a:gd name="T46" fmla="*/ 180 w 6450"/>
                <a:gd name="T47" fmla="*/ 4296 h 6311"/>
                <a:gd name="T48" fmla="*/ 312 w 6450"/>
                <a:gd name="T49" fmla="*/ 4080 h 6311"/>
                <a:gd name="T50" fmla="*/ 552 w 6450"/>
                <a:gd name="T51" fmla="*/ 4140 h 6311"/>
                <a:gd name="T52" fmla="*/ 756 w 6450"/>
                <a:gd name="T53" fmla="*/ 4416 h 6311"/>
                <a:gd name="T54" fmla="*/ 984 w 6450"/>
                <a:gd name="T55" fmla="*/ 4044 h 6311"/>
                <a:gd name="T56" fmla="*/ 1248 w 6450"/>
                <a:gd name="T57" fmla="*/ 3840 h 6311"/>
                <a:gd name="T58" fmla="*/ 1380 w 6450"/>
                <a:gd name="T59" fmla="*/ 3456 h 6311"/>
                <a:gd name="T60" fmla="*/ 1200 w 6450"/>
                <a:gd name="T61" fmla="*/ 3144 h 6311"/>
                <a:gd name="T62" fmla="*/ 1212 w 6450"/>
                <a:gd name="T63" fmla="*/ 2760 h 6311"/>
                <a:gd name="T64" fmla="*/ 1380 w 6450"/>
                <a:gd name="T65" fmla="*/ 2340 h 6311"/>
                <a:gd name="T66" fmla="*/ 1464 w 6450"/>
                <a:gd name="T67" fmla="*/ 2220 h 6311"/>
                <a:gd name="T68" fmla="*/ 1668 w 6450"/>
                <a:gd name="T69" fmla="*/ 2388 h 6311"/>
                <a:gd name="T70" fmla="*/ 1800 w 6450"/>
                <a:gd name="T71" fmla="*/ 2520 h 6311"/>
                <a:gd name="T72" fmla="*/ 1980 w 6450"/>
                <a:gd name="T73" fmla="*/ 2220 h 6311"/>
                <a:gd name="T74" fmla="*/ 1896 w 6450"/>
                <a:gd name="T75" fmla="*/ 1956 h 6311"/>
                <a:gd name="T76" fmla="*/ 1692 w 6450"/>
                <a:gd name="T77" fmla="*/ 1656 h 6311"/>
                <a:gd name="T78" fmla="*/ 1536 w 6450"/>
                <a:gd name="T79" fmla="*/ 1332 h 6311"/>
                <a:gd name="T80" fmla="*/ 1391 w 6450"/>
                <a:gd name="T81" fmla="*/ 1236 h 6311"/>
                <a:gd name="T82" fmla="*/ 1140 w 6450"/>
                <a:gd name="T83" fmla="*/ 1392 h 6311"/>
                <a:gd name="T84" fmla="*/ 804 w 6450"/>
                <a:gd name="T85" fmla="*/ 1404 h 6311"/>
                <a:gd name="T86" fmla="*/ 468 w 6450"/>
                <a:gd name="T87" fmla="*/ 1428 h 6311"/>
                <a:gd name="T88" fmla="*/ 180 w 6450"/>
                <a:gd name="T89" fmla="*/ 1572 h 6311"/>
                <a:gd name="T90" fmla="*/ 144 w 6450"/>
                <a:gd name="T91" fmla="*/ 1416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50" h="6311">
                  <a:moveTo>
                    <a:pt x="56" y="1428"/>
                  </a:moveTo>
                  <a:lnTo>
                    <a:pt x="0" y="1380"/>
                  </a:lnTo>
                  <a:lnTo>
                    <a:pt x="84" y="1236"/>
                  </a:lnTo>
                  <a:lnTo>
                    <a:pt x="144" y="1140"/>
                  </a:lnTo>
                  <a:lnTo>
                    <a:pt x="288" y="1020"/>
                  </a:lnTo>
                  <a:lnTo>
                    <a:pt x="228" y="900"/>
                  </a:lnTo>
                  <a:lnTo>
                    <a:pt x="276" y="756"/>
                  </a:lnTo>
                  <a:lnTo>
                    <a:pt x="324" y="588"/>
                  </a:lnTo>
                  <a:lnTo>
                    <a:pt x="372" y="420"/>
                  </a:lnTo>
                  <a:lnTo>
                    <a:pt x="384" y="300"/>
                  </a:lnTo>
                  <a:lnTo>
                    <a:pt x="480" y="192"/>
                  </a:lnTo>
                  <a:lnTo>
                    <a:pt x="588" y="84"/>
                  </a:lnTo>
                  <a:lnTo>
                    <a:pt x="978" y="84"/>
                  </a:lnTo>
                  <a:lnTo>
                    <a:pt x="1224" y="84"/>
                  </a:lnTo>
                  <a:lnTo>
                    <a:pt x="1500" y="60"/>
                  </a:lnTo>
                  <a:lnTo>
                    <a:pt x="1716" y="0"/>
                  </a:lnTo>
                  <a:lnTo>
                    <a:pt x="1824" y="0"/>
                  </a:lnTo>
                  <a:lnTo>
                    <a:pt x="2004" y="60"/>
                  </a:lnTo>
                  <a:lnTo>
                    <a:pt x="1908" y="228"/>
                  </a:lnTo>
                  <a:lnTo>
                    <a:pt x="1788" y="420"/>
                  </a:lnTo>
                  <a:lnTo>
                    <a:pt x="1884" y="624"/>
                  </a:lnTo>
                  <a:lnTo>
                    <a:pt x="1980" y="780"/>
                  </a:lnTo>
                  <a:lnTo>
                    <a:pt x="2076" y="900"/>
                  </a:lnTo>
                  <a:lnTo>
                    <a:pt x="2112" y="1020"/>
                  </a:lnTo>
                  <a:lnTo>
                    <a:pt x="2268" y="1044"/>
                  </a:lnTo>
                  <a:lnTo>
                    <a:pt x="2340" y="1236"/>
                  </a:lnTo>
                  <a:lnTo>
                    <a:pt x="2436" y="1404"/>
                  </a:lnTo>
                  <a:lnTo>
                    <a:pt x="2640" y="1560"/>
                  </a:lnTo>
                  <a:lnTo>
                    <a:pt x="2892" y="1740"/>
                  </a:lnTo>
                  <a:lnTo>
                    <a:pt x="3072" y="1884"/>
                  </a:lnTo>
                  <a:lnTo>
                    <a:pt x="3792" y="2112"/>
                  </a:lnTo>
                  <a:lnTo>
                    <a:pt x="4668" y="2412"/>
                  </a:lnTo>
                  <a:lnTo>
                    <a:pt x="5652" y="2748"/>
                  </a:lnTo>
                  <a:lnTo>
                    <a:pt x="6450" y="2712"/>
                  </a:lnTo>
                  <a:lnTo>
                    <a:pt x="3840" y="5502"/>
                  </a:lnTo>
                  <a:lnTo>
                    <a:pt x="2964" y="5460"/>
                  </a:lnTo>
                  <a:lnTo>
                    <a:pt x="2412" y="5604"/>
                  </a:lnTo>
                  <a:lnTo>
                    <a:pt x="2172" y="5724"/>
                  </a:lnTo>
                  <a:lnTo>
                    <a:pt x="1992" y="5940"/>
                  </a:lnTo>
                  <a:lnTo>
                    <a:pt x="1752" y="6072"/>
                  </a:lnTo>
                  <a:lnTo>
                    <a:pt x="1260" y="6132"/>
                  </a:lnTo>
                  <a:lnTo>
                    <a:pt x="1017" y="6311"/>
                  </a:lnTo>
                  <a:lnTo>
                    <a:pt x="948" y="6300"/>
                  </a:lnTo>
                  <a:lnTo>
                    <a:pt x="684" y="6300"/>
                  </a:lnTo>
                  <a:lnTo>
                    <a:pt x="444" y="6300"/>
                  </a:lnTo>
                  <a:lnTo>
                    <a:pt x="300" y="6192"/>
                  </a:lnTo>
                  <a:lnTo>
                    <a:pt x="60" y="6036"/>
                  </a:lnTo>
                  <a:lnTo>
                    <a:pt x="72" y="5940"/>
                  </a:lnTo>
                  <a:lnTo>
                    <a:pt x="12" y="5820"/>
                  </a:lnTo>
                  <a:lnTo>
                    <a:pt x="84" y="5772"/>
                  </a:lnTo>
                  <a:lnTo>
                    <a:pt x="180" y="5808"/>
                  </a:lnTo>
                  <a:lnTo>
                    <a:pt x="276" y="5712"/>
                  </a:lnTo>
                  <a:lnTo>
                    <a:pt x="408" y="5676"/>
                  </a:lnTo>
                  <a:lnTo>
                    <a:pt x="408" y="5568"/>
                  </a:lnTo>
                  <a:lnTo>
                    <a:pt x="504" y="5592"/>
                  </a:lnTo>
                  <a:lnTo>
                    <a:pt x="636" y="5568"/>
                  </a:lnTo>
                  <a:lnTo>
                    <a:pt x="804" y="5580"/>
                  </a:lnTo>
                  <a:lnTo>
                    <a:pt x="732" y="5448"/>
                  </a:lnTo>
                  <a:lnTo>
                    <a:pt x="636" y="5364"/>
                  </a:lnTo>
                  <a:lnTo>
                    <a:pt x="552" y="5268"/>
                  </a:lnTo>
                  <a:lnTo>
                    <a:pt x="552" y="5136"/>
                  </a:lnTo>
                  <a:lnTo>
                    <a:pt x="480" y="4992"/>
                  </a:lnTo>
                  <a:lnTo>
                    <a:pt x="432" y="4932"/>
                  </a:lnTo>
                  <a:lnTo>
                    <a:pt x="480" y="4884"/>
                  </a:lnTo>
                  <a:lnTo>
                    <a:pt x="540" y="4740"/>
                  </a:lnTo>
                  <a:lnTo>
                    <a:pt x="480" y="4704"/>
                  </a:lnTo>
                  <a:lnTo>
                    <a:pt x="408" y="4644"/>
                  </a:lnTo>
                  <a:lnTo>
                    <a:pt x="372" y="4536"/>
                  </a:lnTo>
                  <a:lnTo>
                    <a:pt x="288" y="4536"/>
                  </a:lnTo>
                  <a:lnTo>
                    <a:pt x="252" y="4440"/>
                  </a:lnTo>
                  <a:lnTo>
                    <a:pt x="156" y="4404"/>
                  </a:lnTo>
                  <a:lnTo>
                    <a:pt x="180" y="4296"/>
                  </a:lnTo>
                  <a:lnTo>
                    <a:pt x="180" y="4176"/>
                  </a:lnTo>
                  <a:lnTo>
                    <a:pt x="300" y="4176"/>
                  </a:lnTo>
                  <a:lnTo>
                    <a:pt x="312" y="4080"/>
                  </a:lnTo>
                  <a:lnTo>
                    <a:pt x="372" y="3924"/>
                  </a:lnTo>
                  <a:lnTo>
                    <a:pt x="480" y="4032"/>
                  </a:lnTo>
                  <a:lnTo>
                    <a:pt x="552" y="4140"/>
                  </a:lnTo>
                  <a:lnTo>
                    <a:pt x="624" y="4272"/>
                  </a:lnTo>
                  <a:lnTo>
                    <a:pt x="684" y="4344"/>
                  </a:lnTo>
                  <a:lnTo>
                    <a:pt x="756" y="4416"/>
                  </a:lnTo>
                  <a:lnTo>
                    <a:pt x="888" y="4308"/>
                  </a:lnTo>
                  <a:lnTo>
                    <a:pt x="876" y="4164"/>
                  </a:lnTo>
                  <a:lnTo>
                    <a:pt x="984" y="4044"/>
                  </a:lnTo>
                  <a:lnTo>
                    <a:pt x="1104" y="4020"/>
                  </a:lnTo>
                  <a:lnTo>
                    <a:pt x="1176" y="3972"/>
                  </a:lnTo>
                  <a:lnTo>
                    <a:pt x="1248" y="3840"/>
                  </a:lnTo>
                  <a:lnTo>
                    <a:pt x="1260" y="3696"/>
                  </a:lnTo>
                  <a:lnTo>
                    <a:pt x="1332" y="3612"/>
                  </a:lnTo>
                  <a:lnTo>
                    <a:pt x="1380" y="3456"/>
                  </a:lnTo>
                  <a:lnTo>
                    <a:pt x="1356" y="3348"/>
                  </a:lnTo>
                  <a:lnTo>
                    <a:pt x="1272" y="3228"/>
                  </a:lnTo>
                  <a:lnTo>
                    <a:pt x="1200" y="3144"/>
                  </a:lnTo>
                  <a:lnTo>
                    <a:pt x="1212" y="3024"/>
                  </a:lnTo>
                  <a:lnTo>
                    <a:pt x="1188" y="2904"/>
                  </a:lnTo>
                  <a:lnTo>
                    <a:pt x="1212" y="2760"/>
                  </a:lnTo>
                  <a:lnTo>
                    <a:pt x="1248" y="2568"/>
                  </a:lnTo>
                  <a:lnTo>
                    <a:pt x="1320" y="2448"/>
                  </a:lnTo>
                  <a:lnTo>
                    <a:pt x="1380" y="2340"/>
                  </a:lnTo>
                  <a:lnTo>
                    <a:pt x="1332" y="2220"/>
                  </a:lnTo>
                  <a:lnTo>
                    <a:pt x="1404" y="2148"/>
                  </a:lnTo>
                  <a:lnTo>
                    <a:pt x="1464" y="2220"/>
                  </a:lnTo>
                  <a:lnTo>
                    <a:pt x="1548" y="2256"/>
                  </a:lnTo>
                  <a:lnTo>
                    <a:pt x="1632" y="2292"/>
                  </a:lnTo>
                  <a:lnTo>
                    <a:pt x="1668" y="2388"/>
                  </a:lnTo>
                  <a:lnTo>
                    <a:pt x="1704" y="2520"/>
                  </a:lnTo>
                  <a:lnTo>
                    <a:pt x="1740" y="2592"/>
                  </a:lnTo>
                  <a:lnTo>
                    <a:pt x="1800" y="2520"/>
                  </a:lnTo>
                  <a:lnTo>
                    <a:pt x="1884" y="2412"/>
                  </a:lnTo>
                  <a:lnTo>
                    <a:pt x="1980" y="2376"/>
                  </a:lnTo>
                  <a:lnTo>
                    <a:pt x="1980" y="2220"/>
                  </a:lnTo>
                  <a:lnTo>
                    <a:pt x="1908" y="2148"/>
                  </a:lnTo>
                  <a:lnTo>
                    <a:pt x="1920" y="2028"/>
                  </a:lnTo>
                  <a:lnTo>
                    <a:pt x="1896" y="1956"/>
                  </a:lnTo>
                  <a:lnTo>
                    <a:pt x="1824" y="1824"/>
                  </a:lnTo>
                  <a:lnTo>
                    <a:pt x="1740" y="1740"/>
                  </a:lnTo>
                  <a:lnTo>
                    <a:pt x="1692" y="1656"/>
                  </a:lnTo>
                  <a:lnTo>
                    <a:pt x="1680" y="1512"/>
                  </a:lnTo>
                  <a:lnTo>
                    <a:pt x="1596" y="1428"/>
                  </a:lnTo>
                  <a:lnTo>
                    <a:pt x="1536" y="1332"/>
                  </a:lnTo>
                  <a:lnTo>
                    <a:pt x="1524" y="1236"/>
                  </a:lnTo>
                  <a:lnTo>
                    <a:pt x="1452" y="1200"/>
                  </a:lnTo>
                  <a:lnTo>
                    <a:pt x="1391" y="1236"/>
                  </a:lnTo>
                  <a:lnTo>
                    <a:pt x="1295" y="1260"/>
                  </a:lnTo>
                  <a:lnTo>
                    <a:pt x="1272" y="1406"/>
                  </a:lnTo>
                  <a:lnTo>
                    <a:pt x="1140" y="1392"/>
                  </a:lnTo>
                  <a:lnTo>
                    <a:pt x="999" y="1428"/>
                  </a:lnTo>
                  <a:lnTo>
                    <a:pt x="900" y="1380"/>
                  </a:lnTo>
                  <a:lnTo>
                    <a:pt x="804" y="1404"/>
                  </a:lnTo>
                  <a:lnTo>
                    <a:pt x="672" y="1428"/>
                  </a:lnTo>
                  <a:lnTo>
                    <a:pt x="552" y="1380"/>
                  </a:lnTo>
                  <a:lnTo>
                    <a:pt x="468" y="1428"/>
                  </a:lnTo>
                  <a:lnTo>
                    <a:pt x="360" y="1500"/>
                  </a:lnTo>
                  <a:lnTo>
                    <a:pt x="276" y="1548"/>
                  </a:lnTo>
                  <a:lnTo>
                    <a:pt x="180" y="1572"/>
                  </a:lnTo>
                  <a:lnTo>
                    <a:pt x="120" y="1524"/>
                  </a:lnTo>
                  <a:lnTo>
                    <a:pt x="216" y="1464"/>
                  </a:lnTo>
                  <a:lnTo>
                    <a:pt x="144" y="1416"/>
                  </a:lnTo>
                  <a:lnTo>
                    <a:pt x="56" y="1428"/>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6" name="Freeform 7">
              <a:extLst>
                <a:ext uri="{FF2B5EF4-FFF2-40B4-BE49-F238E27FC236}">
                  <a16:creationId xmlns:a16="http://schemas.microsoft.com/office/drawing/2014/main" id="{8CA3BC30-A5DD-4316-BE1C-C175367E9DF4}"/>
                </a:ext>
              </a:extLst>
            </p:cNvPr>
            <p:cNvSpPr>
              <a:spLocks/>
            </p:cNvSpPr>
            <p:nvPr/>
          </p:nvSpPr>
          <p:spPr bwMode="auto">
            <a:xfrm>
              <a:off x="3500153" y="2977188"/>
              <a:ext cx="81685" cy="54926"/>
            </a:xfrm>
            <a:custGeom>
              <a:avLst/>
              <a:gdLst>
                <a:gd name="T0" fmla="*/ 32 w 288"/>
                <a:gd name="T1" fmla="*/ 16 h 192"/>
                <a:gd name="T2" fmla="*/ 0 w 288"/>
                <a:gd name="T3" fmla="*/ 112 h 192"/>
                <a:gd name="T4" fmla="*/ 48 w 288"/>
                <a:gd name="T5" fmla="*/ 160 h 192"/>
                <a:gd name="T6" fmla="*/ 144 w 288"/>
                <a:gd name="T7" fmla="*/ 168 h 192"/>
                <a:gd name="T8" fmla="*/ 208 w 288"/>
                <a:gd name="T9" fmla="*/ 192 h 192"/>
                <a:gd name="T10" fmla="*/ 200 w 288"/>
                <a:gd name="T11" fmla="*/ 136 h 192"/>
                <a:gd name="T12" fmla="*/ 288 w 288"/>
                <a:gd name="T13" fmla="*/ 80 h 192"/>
                <a:gd name="T14" fmla="*/ 248 w 288"/>
                <a:gd name="T15" fmla="*/ 24 h 192"/>
                <a:gd name="T16" fmla="*/ 176 w 288"/>
                <a:gd name="T17" fmla="*/ 32 h 192"/>
                <a:gd name="T18" fmla="*/ 112 w 288"/>
                <a:gd name="T19" fmla="*/ 0 h 192"/>
                <a:gd name="T20" fmla="*/ 32 w 288"/>
                <a:gd name="T2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192">
                  <a:moveTo>
                    <a:pt x="32" y="16"/>
                  </a:moveTo>
                  <a:lnTo>
                    <a:pt x="0" y="112"/>
                  </a:lnTo>
                  <a:lnTo>
                    <a:pt x="48" y="160"/>
                  </a:lnTo>
                  <a:lnTo>
                    <a:pt x="144" y="168"/>
                  </a:lnTo>
                  <a:lnTo>
                    <a:pt x="208" y="192"/>
                  </a:lnTo>
                  <a:lnTo>
                    <a:pt x="200" y="136"/>
                  </a:lnTo>
                  <a:lnTo>
                    <a:pt x="288" y="80"/>
                  </a:lnTo>
                  <a:lnTo>
                    <a:pt x="248" y="24"/>
                  </a:lnTo>
                  <a:lnTo>
                    <a:pt x="176" y="32"/>
                  </a:lnTo>
                  <a:lnTo>
                    <a:pt x="112" y="0"/>
                  </a:lnTo>
                  <a:lnTo>
                    <a:pt x="32" y="16"/>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7" name="Freeform 8">
              <a:extLst>
                <a:ext uri="{FF2B5EF4-FFF2-40B4-BE49-F238E27FC236}">
                  <a16:creationId xmlns:a16="http://schemas.microsoft.com/office/drawing/2014/main" id="{8C059C3C-9636-4A59-9A7E-97925F89D4A6}"/>
                </a:ext>
              </a:extLst>
            </p:cNvPr>
            <p:cNvSpPr>
              <a:spLocks/>
            </p:cNvSpPr>
            <p:nvPr/>
          </p:nvSpPr>
          <p:spPr bwMode="auto">
            <a:xfrm>
              <a:off x="4163488" y="2958880"/>
              <a:ext cx="69010" cy="71827"/>
            </a:xfrm>
            <a:custGeom>
              <a:avLst/>
              <a:gdLst>
                <a:gd name="T0" fmla="*/ 33 w 244"/>
                <a:gd name="T1" fmla="*/ 24 h 254"/>
                <a:gd name="T2" fmla="*/ 0 w 244"/>
                <a:gd name="T3" fmla="*/ 91 h 254"/>
                <a:gd name="T4" fmla="*/ 9 w 244"/>
                <a:gd name="T5" fmla="*/ 153 h 254"/>
                <a:gd name="T6" fmla="*/ 52 w 244"/>
                <a:gd name="T7" fmla="*/ 206 h 254"/>
                <a:gd name="T8" fmla="*/ 105 w 244"/>
                <a:gd name="T9" fmla="*/ 249 h 254"/>
                <a:gd name="T10" fmla="*/ 148 w 244"/>
                <a:gd name="T11" fmla="*/ 254 h 254"/>
                <a:gd name="T12" fmla="*/ 177 w 244"/>
                <a:gd name="T13" fmla="*/ 225 h 254"/>
                <a:gd name="T14" fmla="*/ 196 w 244"/>
                <a:gd name="T15" fmla="*/ 168 h 254"/>
                <a:gd name="T16" fmla="*/ 244 w 244"/>
                <a:gd name="T17" fmla="*/ 125 h 254"/>
                <a:gd name="T18" fmla="*/ 216 w 244"/>
                <a:gd name="T19" fmla="*/ 57 h 254"/>
                <a:gd name="T20" fmla="*/ 192 w 244"/>
                <a:gd name="T21" fmla="*/ 0 h 254"/>
                <a:gd name="T22" fmla="*/ 110 w 244"/>
                <a:gd name="T23" fmla="*/ 14 h 254"/>
                <a:gd name="T24" fmla="*/ 33 w 244"/>
                <a:gd name="T25" fmla="*/ 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4">
                  <a:moveTo>
                    <a:pt x="33" y="24"/>
                  </a:moveTo>
                  <a:lnTo>
                    <a:pt x="0" y="91"/>
                  </a:lnTo>
                  <a:lnTo>
                    <a:pt x="9" y="153"/>
                  </a:lnTo>
                  <a:lnTo>
                    <a:pt x="52" y="206"/>
                  </a:lnTo>
                  <a:lnTo>
                    <a:pt x="105" y="249"/>
                  </a:lnTo>
                  <a:lnTo>
                    <a:pt x="148" y="254"/>
                  </a:lnTo>
                  <a:lnTo>
                    <a:pt x="177" y="225"/>
                  </a:lnTo>
                  <a:lnTo>
                    <a:pt x="196" y="168"/>
                  </a:lnTo>
                  <a:lnTo>
                    <a:pt x="244" y="125"/>
                  </a:lnTo>
                  <a:lnTo>
                    <a:pt x="216" y="57"/>
                  </a:lnTo>
                  <a:lnTo>
                    <a:pt x="192" y="0"/>
                  </a:lnTo>
                  <a:lnTo>
                    <a:pt x="110" y="14"/>
                  </a:lnTo>
                  <a:lnTo>
                    <a:pt x="33" y="24"/>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8" name="Freeform 9">
              <a:extLst>
                <a:ext uri="{FF2B5EF4-FFF2-40B4-BE49-F238E27FC236}">
                  <a16:creationId xmlns:a16="http://schemas.microsoft.com/office/drawing/2014/main" id="{0970ED25-01AD-430F-98C9-C6F5501D55E7}"/>
                </a:ext>
              </a:extLst>
            </p:cNvPr>
            <p:cNvSpPr>
              <a:spLocks/>
            </p:cNvSpPr>
            <p:nvPr/>
          </p:nvSpPr>
          <p:spPr bwMode="auto">
            <a:xfrm>
              <a:off x="5014135" y="2888462"/>
              <a:ext cx="54926" cy="45067"/>
            </a:xfrm>
            <a:custGeom>
              <a:avLst/>
              <a:gdLst>
                <a:gd name="T0" fmla="*/ 67 w 197"/>
                <a:gd name="T1" fmla="*/ 0 h 159"/>
                <a:gd name="T2" fmla="*/ 5 w 197"/>
                <a:gd name="T3" fmla="*/ 63 h 159"/>
                <a:gd name="T4" fmla="*/ 0 w 197"/>
                <a:gd name="T5" fmla="*/ 130 h 159"/>
                <a:gd name="T6" fmla="*/ 48 w 197"/>
                <a:gd name="T7" fmla="*/ 144 h 159"/>
                <a:gd name="T8" fmla="*/ 110 w 197"/>
                <a:gd name="T9" fmla="*/ 159 h 159"/>
                <a:gd name="T10" fmla="*/ 182 w 197"/>
                <a:gd name="T11" fmla="*/ 159 h 159"/>
                <a:gd name="T12" fmla="*/ 197 w 197"/>
                <a:gd name="T13" fmla="*/ 10 h 159"/>
                <a:gd name="T14" fmla="*/ 144 w 197"/>
                <a:gd name="T15" fmla="*/ 15 h 159"/>
                <a:gd name="T16" fmla="*/ 67 w 197"/>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59">
                  <a:moveTo>
                    <a:pt x="67" y="0"/>
                  </a:moveTo>
                  <a:lnTo>
                    <a:pt x="5" y="63"/>
                  </a:lnTo>
                  <a:lnTo>
                    <a:pt x="0" y="130"/>
                  </a:lnTo>
                  <a:lnTo>
                    <a:pt x="48" y="144"/>
                  </a:lnTo>
                  <a:lnTo>
                    <a:pt x="110" y="159"/>
                  </a:lnTo>
                  <a:lnTo>
                    <a:pt x="182" y="159"/>
                  </a:lnTo>
                  <a:lnTo>
                    <a:pt x="197" y="10"/>
                  </a:lnTo>
                  <a:lnTo>
                    <a:pt x="144" y="15"/>
                  </a:lnTo>
                  <a:lnTo>
                    <a:pt x="67"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9" name="Freeform 10">
              <a:extLst>
                <a:ext uri="{FF2B5EF4-FFF2-40B4-BE49-F238E27FC236}">
                  <a16:creationId xmlns:a16="http://schemas.microsoft.com/office/drawing/2014/main" id="{2797C3FC-2B17-4515-9405-13BB5BA8F2E0}"/>
                </a:ext>
              </a:extLst>
            </p:cNvPr>
            <p:cNvSpPr>
              <a:spLocks/>
            </p:cNvSpPr>
            <p:nvPr/>
          </p:nvSpPr>
          <p:spPr bwMode="auto">
            <a:xfrm>
              <a:off x="3590288" y="2850436"/>
              <a:ext cx="36617" cy="43659"/>
            </a:xfrm>
            <a:custGeom>
              <a:avLst/>
              <a:gdLst>
                <a:gd name="T0" fmla="*/ 72 w 130"/>
                <a:gd name="T1" fmla="*/ 0 h 153"/>
                <a:gd name="T2" fmla="*/ 24 w 130"/>
                <a:gd name="T3" fmla="*/ 14 h 153"/>
                <a:gd name="T4" fmla="*/ 0 w 130"/>
                <a:gd name="T5" fmla="*/ 101 h 153"/>
                <a:gd name="T6" fmla="*/ 24 w 130"/>
                <a:gd name="T7" fmla="*/ 153 h 153"/>
                <a:gd name="T8" fmla="*/ 87 w 130"/>
                <a:gd name="T9" fmla="*/ 153 h 153"/>
                <a:gd name="T10" fmla="*/ 87 w 130"/>
                <a:gd name="T11" fmla="*/ 105 h 153"/>
                <a:gd name="T12" fmla="*/ 116 w 130"/>
                <a:gd name="T13" fmla="*/ 77 h 153"/>
                <a:gd name="T14" fmla="*/ 130 w 130"/>
                <a:gd name="T15" fmla="*/ 38 h 153"/>
                <a:gd name="T16" fmla="*/ 111 w 130"/>
                <a:gd name="T17" fmla="*/ 19 h 153"/>
                <a:gd name="T18" fmla="*/ 72 w 130"/>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3">
                  <a:moveTo>
                    <a:pt x="72" y="0"/>
                  </a:moveTo>
                  <a:lnTo>
                    <a:pt x="24" y="14"/>
                  </a:lnTo>
                  <a:lnTo>
                    <a:pt x="0" y="101"/>
                  </a:lnTo>
                  <a:lnTo>
                    <a:pt x="24" y="153"/>
                  </a:lnTo>
                  <a:lnTo>
                    <a:pt x="87" y="153"/>
                  </a:lnTo>
                  <a:lnTo>
                    <a:pt x="87" y="105"/>
                  </a:lnTo>
                  <a:lnTo>
                    <a:pt x="116" y="77"/>
                  </a:lnTo>
                  <a:lnTo>
                    <a:pt x="130" y="38"/>
                  </a:lnTo>
                  <a:lnTo>
                    <a:pt x="111" y="19"/>
                  </a:lnTo>
                  <a:lnTo>
                    <a:pt x="72"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0" name="Freeform 11">
              <a:extLst>
                <a:ext uri="{FF2B5EF4-FFF2-40B4-BE49-F238E27FC236}">
                  <a16:creationId xmlns:a16="http://schemas.microsoft.com/office/drawing/2014/main" id="{3772BADA-3ED4-45D3-896D-5F127B64342B}"/>
                </a:ext>
              </a:extLst>
            </p:cNvPr>
            <p:cNvSpPr>
              <a:spLocks/>
            </p:cNvSpPr>
            <p:nvPr/>
          </p:nvSpPr>
          <p:spPr bwMode="auto">
            <a:xfrm>
              <a:off x="3305800" y="1808253"/>
              <a:ext cx="1250620" cy="1230903"/>
            </a:xfrm>
            <a:custGeom>
              <a:avLst/>
              <a:gdLst>
                <a:gd name="T0" fmla="*/ 852 w 4440"/>
                <a:gd name="T1" fmla="*/ 732 h 4368"/>
                <a:gd name="T2" fmla="*/ 396 w 4440"/>
                <a:gd name="T3" fmla="*/ 924 h 4368"/>
                <a:gd name="T4" fmla="*/ 216 w 4440"/>
                <a:gd name="T5" fmla="*/ 1692 h 4368"/>
                <a:gd name="T6" fmla="*/ 468 w 4440"/>
                <a:gd name="T7" fmla="*/ 1476 h 4368"/>
                <a:gd name="T8" fmla="*/ 708 w 4440"/>
                <a:gd name="T9" fmla="*/ 1608 h 4368"/>
                <a:gd name="T10" fmla="*/ 996 w 4440"/>
                <a:gd name="T11" fmla="*/ 1668 h 4368"/>
                <a:gd name="T12" fmla="*/ 1116 w 4440"/>
                <a:gd name="T13" fmla="*/ 2004 h 4368"/>
                <a:gd name="T14" fmla="*/ 1164 w 4440"/>
                <a:gd name="T15" fmla="*/ 2328 h 4368"/>
                <a:gd name="T16" fmla="*/ 912 w 4440"/>
                <a:gd name="T17" fmla="*/ 2568 h 4368"/>
                <a:gd name="T18" fmla="*/ 1008 w 4440"/>
                <a:gd name="T19" fmla="*/ 2820 h 4368"/>
                <a:gd name="T20" fmla="*/ 1344 w 4440"/>
                <a:gd name="T21" fmla="*/ 2976 h 4368"/>
                <a:gd name="T22" fmla="*/ 1730 w 4440"/>
                <a:gd name="T23" fmla="*/ 3111 h 4368"/>
                <a:gd name="T24" fmla="*/ 2022 w 4440"/>
                <a:gd name="T25" fmla="*/ 3275 h 4368"/>
                <a:gd name="T26" fmla="*/ 2376 w 4440"/>
                <a:gd name="T27" fmla="*/ 3384 h 4368"/>
                <a:gd name="T28" fmla="*/ 2837 w 4440"/>
                <a:gd name="T29" fmla="*/ 3147 h 4368"/>
                <a:gd name="T30" fmla="*/ 3131 w 4440"/>
                <a:gd name="T31" fmla="*/ 2952 h 4368"/>
                <a:gd name="T32" fmla="*/ 3155 w 4440"/>
                <a:gd name="T33" fmla="*/ 3206 h 4368"/>
                <a:gd name="T34" fmla="*/ 3230 w 4440"/>
                <a:gd name="T35" fmla="*/ 3492 h 4368"/>
                <a:gd name="T36" fmla="*/ 3408 w 4440"/>
                <a:gd name="T37" fmla="*/ 3659 h 4368"/>
                <a:gd name="T38" fmla="*/ 3683 w 4440"/>
                <a:gd name="T39" fmla="*/ 3503 h 4368"/>
                <a:gd name="T40" fmla="*/ 3708 w 4440"/>
                <a:gd name="T41" fmla="*/ 3770 h 4368"/>
                <a:gd name="T42" fmla="*/ 3588 w 4440"/>
                <a:gd name="T43" fmla="*/ 3923 h 4368"/>
                <a:gd name="T44" fmla="*/ 3638 w 4440"/>
                <a:gd name="T45" fmla="*/ 4122 h 4368"/>
                <a:gd name="T46" fmla="*/ 3755 w 4440"/>
                <a:gd name="T47" fmla="*/ 4322 h 4368"/>
                <a:gd name="T48" fmla="*/ 4032 w 4440"/>
                <a:gd name="T49" fmla="*/ 4284 h 4368"/>
                <a:gd name="T50" fmla="*/ 4068 w 4440"/>
                <a:gd name="T51" fmla="*/ 3828 h 4368"/>
                <a:gd name="T52" fmla="*/ 4140 w 4440"/>
                <a:gd name="T53" fmla="*/ 3492 h 4368"/>
                <a:gd name="T54" fmla="*/ 4320 w 4440"/>
                <a:gd name="T55" fmla="*/ 3312 h 4368"/>
                <a:gd name="T56" fmla="*/ 4368 w 4440"/>
                <a:gd name="T57" fmla="*/ 3156 h 4368"/>
                <a:gd name="T58" fmla="*/ 4404 w 4440"/>
                <a:gd name="T59" fmla="*/ 2688 h 4368"/>
                <a:gd name="T60" fmla="*/ 4368 w 4440"/>
                <a:gd name="T61" fmla="*/ 2436 h 4368"/>
                <a:gd name="T62" fmla="*/ 4320 w 4440"/>
                <a:gd name="T63" fmla="*/ 2088 h 4368"/>
                <a:gd name="T64" fmla="*/ 4128 w 4440"/>
                <a:gd name="T65" fmla="*/ 1752 h 4368"/>
                <a:gd name="T66" fmla="*/ 4068 w 4440"/>
                <a:gd name="T67" fmla="*/ 1344 h 4368"/>
                <a:gd name="T68" fmla="*/ 3780 w 4440"/>
                <a:gd name="T69" fmla="*/ 1200 h 4368"/>
                <a:gd name="T70" fmla="*/ 3576 w 4440"/>
                <a:gd name="T71" fmla="*/ 1044 h 4368"/>
                <a:gd name="T72" fmla="*/ 3624 w 4440"/>
                <a:gd name="T73" fmla="*/ 780 h 4368"/>
                <a:gd name="T74" fmla="*/ 3420 w 4440"/>
                <a:gd name="T75" fmla="*/ 624 h 4368"/>
                <a:gd name="T76" fmla="*/ 3336 w 4440"/>
                <a:gd name="T77" fmla="*/ 408 h 4368"/>
                <a:gd name="T78" fmla="*/ 3108 w 4440"/>
                <a:gd name="T79" fmla="*/ 228 h 4368"/>
                <a:gd name="T80" fmla="*/ 2856 w 4440"/>
                <a:gd name="T81" fmla="*/ 108 h 4368"/>
                <a:gd name="T82" fmla="*/ 2424 w 4440"/>
                <a:gd name="T83" fmla="*/ 168 h 4368"/>
                <a:gd name="T84" fmla="*/ 2196 w 4440"/>
                <a:gd name="T85" fmla="*/ 240 h 4368"/>
                <a:gd name="T86" fmla="*/ 1740 w 4440"/>
                <a:gd name="T87" fmla="*/ 228 h 4368"/>
                <a:gd name="T88" fmla="*/ 1332 w 4440"/>
                <a:gd name="T89" fmla="*/ 120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40" h="4368">
                  <a:moveTo>
                    <a:pt x="1092" y="0"/>
                  </a:moveTo>
                  <a:lnTo>
                    <a:pt x="840" y="552"/>
                  </a:lnTo>
                  <a:lnTo>
                    <a:pt x="852" y="732"/>
                  </a:lnTo>
                  <a:lnTo>
                    <a:pt x="840" y="876"/>
                  </a:lnTo>
                  <a:lnTo>
                    <a:pt x="648" y="900"/>
                  </a:lnTo>
                  <a:lnTo>
                    <a:pt x="396" y="924"/>
                  </a:lnTo>
                  <a:lnTo>
                    <a:pt x="0" y="1575"/>
                  </a:lnTo>
                  <a:lnTo>
                    <a:pt x="96" y="1656"/>
                  </a:lnTo>
                  <a:lnTo>
                    <a:pt x="216" y="1692"/>
                  </a:lnTo>
                  <a:lnTo>
                    <a:pt x="324" y="1620"/>
                  </a:lnTo>
                  <a:lnTo>
                    <a:pt x="420" y="1560"/>
                  </a:lnTo>
                  <a:lnTo>
                    <a:pt x="468" y="1476"/>
                  </a:lnTo>
                  <a:lnTo>
                    <a:pt x="552" y="1476"/>
                  </a:lnTo>
                  <a:lnTo>
                    <a:pt x="648" y="1500"/>
                  </a:lnTo>
                  <a:lnTo>
                    <a:pt x="708" y="1608"/>
                  </a:lnTo>
                  <a:lnTo>
                    <a:pt x="792" y="1704"/>
                  </a:lnTo>
                  <a:lnTo>
                    <a:pt x="816" y="1764"/>
                  </a:lnTo>
                  <a:lnTo>
                    <a:pt x="996" y="1668"/>
                  </a:lnTo>
                  <a:lnTo>
                    <a:pt x="996" y="1800"/>
                  </a:lnTo>
                  <a:lnTo>
                    <a:pt x="1032" y="1908"/>
                  </a:lnTo>
                  <a:lnTo>
                    <a:pt x="1116" y="2004"/>
                  </a:lnTo>
                  <a:lnTo>
                    <a:pt x="1188" y="2100"/>
                  </a:lnTo>
                  <a:lnTo>
                    <a:pt x="1092" y="2220"/>
                  </a:lnTo>
                  <a:lnTo>
                    <a:pt x="1164" y="2328"/>
                  </a:lnTo>
                  <a:lnTo>
                    <a:pt x="1080" y="2364"/>
                  </a:lnTo>
                  <a:lnTo>
                    <a:pt x="1020" y="2448"/>
                  </a:lnTo>
                  <a:lnTo>
                    <a:pt x="912" y="2568"/>
                  </a:lnTo>
                  <a:lnTo>
                    <a:pt x="1020" y="2640"/>
                  </a:lnTo>
                  <a:lnTo>
                    <a:pt x="960" y="2772"/>
                  </a:lnTo>
                  <a:lnTo>
                    <a:pt x="1008" y="2820"/>
                  </a:lnTo>
                  <a:lnTo>
                    <a:pt x="1104" y="2880"/>
                  </a:lnTo>
                  <a:lnTo>
                    <a:pt x="1164" y="2976"/>
                  </a:lnTo>
                  <a:lnTo>
                    <a:pt x="1344" y="2976"/>
                  </a:lnTo>
                  <a:lnTo>
                    <a:pt x="1572" y="3000"/>
                  </a:lnTo>
                  <a:lnTo>
                    <a:pt x="1671" y="3041"/>
                  </a:lnTo>
                  <a:lnTo>
                    <a:pt x="1730" y="3111"/>
                  </a:lnTo>
                  <a:lnTo>
                    <a:pt x="1748" y="3203"/>
                  </a:lnTo>
                  <a:lnTo>
                    <a:pt x="1856" y="3257"/>
                  </a:lnTo>
                  <a:lnTo>
                    <a:pt x="2022" y="3275"/>
                  </a:lnTo>
                  <a:lnTo>
                    <a:pt x="2123" y="3366"/>
                  </a:lnTo>
                  <a:lnTo>
                    <a:pt x="2243" y="3422"/>
                  </a:lnTo>
                  <a:lnTo>
                    <a:pt x="2376" y="3384"/>
                  </a:lnTo>
                  <a:lnTo>
                    <a:pt x="2514" y="3311"/>
                  </a:lnTo>
                  <a:lnTo>
                    <a:pt x="2693" y="3204"/>
                  </a:lnTo>
                  <a:lnTo>
                    <a:pt x="2837" y="3147"/>
                  </a:lnTo>
                  <a:lnTo>
                    <a:pt x="2889" y="3032"/>
                  </a:lnTo>
                  <a:lnTo>
                    <a:pt x="2916" y="2930"/>
                  </a:lnTo>
                  <a:lnTo>
                    <a:pt x="3131" y="2952"/>
                  </a:lnTo>
                  <a:lnTo>
                    <a:pt x="3240" y="3000"/>
                  </a:lnTo>
                  <a:lnTo>
                    <a:pt x="3216" y="3132"/>
                  </a:lnTo>
                  <a:lnTo>
                    <a:pt x="3155" y="3206"/>
                  </a:lnTo>
                  <a:lnTo>
                    <a:pt x="3059" y="3230"/>
                  </a:lnTo>
                  <a:lnTo>
                    <a:pt x="3165" y="3344"/>
                  </a:lnTo>
                  <a:lnTo>
                    <a:pt x="3230" y="3492"/>
                  </a:lnTo>
                  <a:lnTo>
                    <a:pt x="3314" y="3528"/>
                  </a:lnTo>
                  <a:lnTo>
                    <a:pt x="3407" y="3552"/>
                  </a:lnTo>
                  <a:lnTo>
                    <a:pt x="3408" y="3659"/>
                  </a:lnTo>
                  <a:lnTo>
                    <a:pt x="3494" y="3636"/>
                  </a:lnTo>
                  <a:lnTo>
                    <a:pt x="3585" y="3528"/>
                  </a:lnTo>
                  <a:lnTo>
                    <a:pt x="3683" y="3503"/>
                  </a:lnTo>
                  <a:lnTo>
                    <a:pt x="3684" y="3636"/>
                  </a:lnTo>
                  <a:lnTo>
                    <a:pt x="3624" y="3780"/>
                  </a:lnTo>
                  <a:lnTo>
                    <a:pt x="3708" y="3770"/>
                  </a:lnTo>
                  <a:lnTo>
                    <a:pt x="3777" y="3839"/>
                  </a:lnTo>
                  <a:lnTo>
                    <a:pt x="3690" y="3890"/>
                  </a:lnTo>
                  <a:lnTo>
                    <a:pt x="3588" y="3923"/>
                  </a:lnTo>
                  <a:lnTo>
                    <a:pt x="3587" y="3998"/>
                  </a:lnTo>
                  <a:lnTo>
                    <a:pt x="3684" y="4046"/>
                  </a:lnTo>
                  <a:lnTo>
                    <a:pt x="3638" y="4122"/>
                  </a:lnTo>
                  <a:lnTo>
                    <a:pt x="3588" y="4259"/>
                  </a:lnTo>
                  <a:lnTo>
                    <a:pt x="3648" y="4368"/>
                  </a:lnTo>
                  <a:lnTo>
                    <a:pt x="3755" y="4322"/>
                  </a:lnTo>
                  <a:lnTo>
                    <a:pt x="3830" y="4367"/>
                  </a:lnTo>
                  <a:lnTo>
                    <a:pt x="3938" y="4308"/>
                  </a:lnTo>
                  <a:lnTo>
                    <a:pt x="4032" y="4284"/>
                  </a:lnTo>
                  <a:lnTo>
                    <a:pt x="4056" y="4080"/>
                  </a:lnTo>
                  <a:lnTo>
                    <a:pt x="4152" y="3924"/>
                  </a:lnTo>
                  <a:lnTo>
                    <a:pt x="4068" y="3828"/>
                  </a:lnTo>
                  <a:lnTo>
                    <a:pt x="4164" y="3756"/>
                  </a:lnTo>
                  <a:lnTo>
                    <a:pt x="4152" y="3624"/>
                  </a:lnTo>
                  <a:lnTo>
                    <a:pt x="4140" y="3492"/>
                  </a:lnTo>
                  <a:lnTo>
                    <a:pt x="4272" y="3528"/>
                  </a:lnTo>
                  <a:lnTo>
                    <a:pt x="4284" y="3432"/>
                  </a:lnTo>
                  <a:lnTo>
                    <a:pt x="4320" y="3312"/>
                  </a:lnTo>
                  <a:lnTo>
                    <a:pt x="4248" y="3288"/>
                  </a:lnTo>
                  <a:lnTo>
                    <a:pt x="4248" y="3192"/>
                  </a:lnTo>
                  <a:lnTo>
                    <a:pt x="4368" y="3156"/>
                  </a:lnTo>
                  <a:lnTo>
                    <a:pt x="4368" y="2940"/>
                  </a:lnTo>
                  <a:lnTo>
                    <a:pt x="4392" y="2808"/>
                  </a:lnTo>
                  <a:lnTo>
                    <a:pt x="4404" y="2688"/>
                  </a:lnTo>
                  <a:lnTo>
                    <a:pt x="4320" y="2580"/>
                  </a:lnTo>
                  <a:lnTo>
                    <a:pt x="4380" y="2520"/>
                  </a:lnTo>
                  <a:lnTo>
                    <a:pt x="4368" y="2436"/>
                  </a:lnTo>
                  <a:lnTo>
                    <a:pt x="4440" y="2316"/>
                  </a:lnTo>
                  <a:lnTo>
                    <a:pt x="4392" y="2196"/>
                  </a:lnTo>
                  <a:lnTo>
                    <a:pt x="4320" y="2088"/>
                  </a:lnTo>
                  <a:lnTo>
                    <a:pt x="4284" y="1956"/>
                  </a:lnTo>
                  <a:lnTo>
                    <a:pt x="4224" y="1812"/>
                  </a:lnTo>
                  <a:lnTo>
                    <a:pt x="4128" y="1752"/>
                  </a:lnTo>
                  <a:lnTo>
                    <a:pt x="4140" y="1596"/>
                  </a:lnTo>
                  <a:lnTo>
                    <a:pt x="4080" y="1500"/>
                  </a:lnTo>
                  <a:lnTo>
                    <a:pt x="4068" y="1344"/>
                  </a:lnTo>
                  <a:lnTo>
                    <a:pt x="4044" y="1224"/>
                  </a:lnTo>
                  <a:lnTo>
                    <a:pt x="3864" y="1260"/>
                  </a:lnTo>
                  <a:lnTo>
                    <a:pt x="3780" y="1200"/>
                  </a:lnTo>
                  <a:lnTo>
                    <a:pt x="3624" y="1236"/>
                  </a:lnTo>
                  <a:lnTo>
                    <a:pt x="3564" y="1164"/>
                  </a:lnTo>
                  <a:lnTo>
                    <a:pt x="3576" y="1044"/>
                  </a:lnTo>
                  <a:lnTo>
                    <a:pt x="3516" y="948"/>
                  </a:lnTo>
                  <a:lnTo>
                    <a:pt x="3624" y="888"/>
                  </a:lnTo>
                  <a:lnTo>
                    <a:pt x="3624" y="780"/>
                  </a:lnTo>
                  <a:lnTo>
                    <a:pt x="3588" y="684"/>
                  </a:lnTo>
                  <a:lnTo>
                    <a:pt x="3492" y="576"/>
                  </a:lnTo>
                  <a:lnTo>
                    <a:pt x="3420" y="624"/>
                  </a:lnTo>
                  <a:lnTo>
                    <a:pt x="3360" y="576"/>
                  </a:lnTo>
                  <a:lnTo>
                    <a:pt x="3384" y="492"/>
                  </a:lnTo>
                  <a:lnTo>
                    <a:pt x="3336" y="408"/>
                  </a:lnTo>
                  <a:lnTo>
                    <a:pt x="3228" y="396"/>
                  </a:lnTo>
                  <a:lnTo>
                    <a:pt x="3132" y="408"/>
                  </a:lnTo>
                  <a:lnTo>
                    <a:pt x="3108" y="228"/>
                  </a:lnTo>
                  <a:lnTo>
                    <a:pt x="3036" y="180"/>
                  </a:lnTo>
                  <a:lnTo>
                    <a:pt x="2916" y="216"/>
                  </a:lnTo>
                  <a:lnTo>
                    <a:pt x="2856" y="108"/>
                  </a:lnTo>
                  <a:lnTo>
                    <a:pt x="2724" y="168"/>
                  </a:lnTo>
                  <a:lnTo>
                    <a:pt x="2580" y="204"/>
                  </a:lnTo>
                  <a:lnTo>
                    <a:pt x="2424" y="168"/>
                  </a:lnTo>
                  <a:lnTo>
                    <a:pt x="2292" y="84"/>
                  </a:lnTo>
                  <a:lnTo>
                    <a:pt x="2220" y="120"/>
                  </a:lnTo>
                  <a:lnTo>
                    <a:pt x="2196" y="240"/>
                  </a:lnTo>
                  <a:lnTo>
                    <a:pt x="2040" y="276"/>
                  </a:lnTo>
                  <a:lnTo>
                    <a:pt x="1908" y="300"/>
                  </a:lnTo>
                  <a:lnTo>
                    <a:pt x="1740" y="228"/>
                  </a:lnTo>
                  <a:lnTo>
                    <a:pt x="1608" y="276"/>
                  </a:lnTo>
                  <a:lnTo>
                    <a:pt x="1452" y="252"/>
                  </a:lnTo>
                  <a:lnTo>
                    <a:pt x="1332" y="120"/>
                  </a:lnTo>
                  <a:lnTo>
                    <a:pt x="1200" y="120"/>
                  </a:lnTo>
                  <a:lnTo>
                    <a:pt x="1092" y="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1" name="Freeform 12">
              <a:extLst>
                <a:ext uri="{FF2B5EF4-FFF2-40B4-BE49-F238E27FC236}">
                  <a16:creationId xmlns:a16="http://schemas.microsoft.com/office/drawing/2014/main" id="{06AA184C-4A02-4814-88D3-572C5B815E62}"/>
                </a:ext>
              </a:extLst>
            </p:cNvPr>
            <p:cNvSpPr>
              <a:spLocks/>
            </p:cNvSpPr>
            <p:nvPr/>
          </p:nvSpPr>
          <p:spPr bwMode="auto">
            <a:xfrm>
              <a:off x="3612821" y="1520949"/>
              <a:ext cx="881631" cy="642210"/>
            </a:xfrm>
            <a:custGeom>
              <a:avLst/>
              <a:gdLst>
                <a:gd name="T0" fmla="*/ 60 w 3132"/>
                <a:gd name="T1" fmla="*/ 888 h 2280"/>
                <a:gd name="T2" fmla="*/ 131 w 3132"/>
                <a:gd name="T3" fmla="*/ 441 h 2280"/>
                <a:gd name="T4" fmla="*/ 492 w 3132"/>
                <a:gd name="T5" fmla="*/ 552 h 2280"/>
                <a:gd name="T6" fmla="*/ 648 w 3132"/>
                <a:gd name="T7" fmla="*/ 384 h 2280"/>
                <a:gd name="T8" fmla="*/ 912 w 3132"/>
                <a:gd name="T9" fmla="*/ 336 h 2280"/>
                <a:gd name="T10" fmla="*/ 1308 w 3132"/>
                <a:gd name="T11" fmla="*/ 0 h 2280"/>
                <a:gd name="T12" fmla="*/ 1596 w 3132"/>
                <a:gd name="T13" fmla="*/ 132 h 2280"/>
                <a:gd name="T14" fmla="*/ 1788 w 3132"/>
                <a:gd name="T15" fmla="*/ 372 h 2280"/>
                <a:gd name="T16" fmla="*/ 2232 w 3132"/>
                <a:gd name="T17" fmla="*/ 276 h 2280"/>
                <a:gd name="T18" fmla="*/ 2400 w 3132"/>
                <a:gd name="T19" fmla="*/ 156 h 2280"/>
                <a:gd name="T20" fmla="*/ 2484 w 3132"/>
                <a:gd name="T21" fmla="*/ 372 h 2280"/>
                <a:gd name="T22" fmla="*/ 2712 w 3132"/>
                <a:gd name="T23" fmla="*/ 312 h 2280"/>
                <a:gd name="T24" fmla="*/ 3132 w 3132"/>
                <a:gd name="T25" fmla="*/ 384 h 2280"/>
                <a:gd name="T26" fmla="*/ 2904 w 3132"/>
                <a:gd name="T27" fmla="*/ 492 h 2280"/>
                <a:gd name="T28" fmla="*/ 2976 w 3132"/>
                <a:gd name="T29" fmla="*/ 732 h 2280"/>
                <a:gd name="T30" fmla="*/ 2976 w 3132"/>
                <a:gd name="T31" fmla="*/ 996 h 2280"/>
                <a:gd name="T32" fmla="*/ 2928 w 3132"/>
                <a:gd name="T33" fmla="*/ 1212 h 2280"/>
                <a:gd name="T34" fmla="*/ 2988 w 3132"/>
                <a:gd name="T35" fmla="*/ 1524 h 2280"/>
                <a:gd name="T36" fmla="*/ 3000 w 3132"/>
                <a:gd name="T37" fmla="*/ 1764 h 2280"/>
                <a:gd name="T38" fmla="*/ 3048 w 3132"/>
                <a:gd name="T39" fmla="*/ 1980 h 2280"/>
                <a:gd name="T40" fmla="*/ 2952 w 3132"/>
                <a:gd name="T41" fmla="*/ 2244 h 2280"/>
                <a:gd name="T42" fmla="*/ 2688 w 3132"/>
                <a:gd name="T43" fmla="*/ 2220 h 2280"/>
                <a:gd name="T44" fmla="*/ 2472 w 3132"/>
                <a:gd name="T45" fmla="*/ 2184 h 2280"/>
                <a:gd name="T46" fmla="*/ 2424 w 3132"/>
                <a:gd name="T47" fmla="*/ 1968 h 2280"/>
                <a:gd name="T48" fmla="*/ 2532 w 3132"/>
                <a:gd name="T49" fmla="*/ 1800 h 2280"/>
                <a:gd name="T50" fmla="*/ 2400 w 3132"/>
                <a:gd name="T51" fmla="*/ 1596 h 2280"/>
                <a:gd name="T52" fmla="*/ 2268 w 3132"/>
                <a:gd name="T53" fmla="*/ 1596 h 2280"/>
                <a:gd name="T54" fmla="*/ 2244 w 3132"/>
                <a:gd name="T55" fmla="*/ 1428 h 2280"/>
                <a:gd name="T56" fmla="*/ 2040 w 3132"/>
                <a:gd name="T57" fmla="*/ 1428 h 2280"/>
                <a:gd name="T58" fmla="*/ 1944 w 3132"/>
                <a:gd name="T59" fmla="*/ 1200 h 2280"/>
                <a:gd name="T60" fmla="*/ 1764 w 3132"/>
                <a:gd name="T61" fmla="*/ 1128 h 2280"/>
                <a:gd name="T62" fmla="*/ 1488 w 3132"/>
                <a:gd name="T63" fmla="*/ 1224 h 2280"/>
                <a:gd name="T64" fmla="*/ 1200 w 3132"/>
                <a:gd name="T65" fmla="*/ 1104 h 2280"/>
                <a:gd name="T66" fmla="*/ 1104 w 3132"/>
                <a:gd name="T67" fmla="*/ 1260 h 2280"/>
                <a:gd name="T68" fmla="*/ 816 w 3132"/>
                <a:gd name="T69" fmla="*/ 1320 h 2280"/>
                <a:gd name="T70" fmla="*/ 516 w 3132"/>
                <a:gd name="T71" fmla="*/ 1296 h 2280"/>
                <a:gd name="T72" fmla="*/ 240 w 3132"/>
                <a:gd name="T73" fmla="*/ 1140 h 2280"/>
                <a:gd name="T74" fmla="*/ 0 w 3132"/>
                <a:gd name="T75" fmla="*/ 1020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32" h="2280">
                  <a:moveTo>
                    <a:pt x="0" y="1020"/>
                  </a:moveTo>
                  <a:lnTo>
                    <a:pt x="60" y="888"/>
                  </a:lnTo>
                  <a:lnTo>
                    <a:pt x="0" y="792"/>
                  </a:lnTo>
                  <a:lnTo>
                    <a:pt x="131" y="441"/>
                  </a:lnTo>
                  <a:lnTo>
                    <a:pt x="336" y="444"/>
                  </a:lnTo>
                  <a:lnTo>
                    <a:pt x="492" y="552"/>
                  </a:lnTo>
                  <a:lnTo>
                    <a:pt x="576" y="456"/>
                  </a:lnTo>
                  <a:lnTo>
                    <a:pt x="648" y="384"/>
                  </a:lnTo>
                  <a:lnTo>
                    <a:pt x="804" y="336"/>
                  </a:lnTo>
                  <a:lnTo>
                    <a:pt x="912" y="336"/>
                  </a:lnTo>
                  <a:lnTo>
                    <a:pt x="1116" y="432"/>
                  </a:lnTo>
                  <a:lnTo>
                    <a:pt x="1308" y="0"/>
                  </a:lnTo>
                  <a:lnTo>
                    <a:pt x="1404" y="96"/>
                  </a:lnTo>
                  <a:lnTo>
                    <a:pt x="1596" y="132"/>
                  </a:lnTo>
                  <a:lnTo>
                    <a:pt x="1656" y="240"/>
                  </a:lnTo>
                  <a:lnTo>
                    <a:pt x="1788" y="372"/>
                  </a:lnTo>
                  <a:lnTo>
                    <a:pt x="2016" y="324"/>
                  </a:lnTo>
                  <a:lnTo>
                    <a:pt x="2232" y="276"/>
                  </a:lnTo>
                  <a:lnTo>
                    <a:pt x="2280" y="168"/>
                  </a:lnTo>
                  <a:lnTo>
                    <a:pt x="2400" y="156"/>
                  </a:lnTo>
                  <a:lnTo>
                    <a:pt x="2460" y="264"/>
                  </a:lnTo>
                  <a:lnTo>
                    <a:pt x="2484" y="372"/>
                  </a:lnTo>
                  <a:lnTo>
                    <a:pt x="2592" y="252"/>
                  </a:lnTo>
                  <a:lnTo>
                    <a:pt x="2712" y="312"/>
                  </a:lnTo>
                  <a:lnTo>
                    <a:pt x="2964" y="324"/>
                  </a:lnTo>
                  <a:lnTo>
                    <a:pt x="3132" y="384"/>
                  </a:lnTo>
                  <a:lnTo>
                    <a:pt x="3000" y="444"/>
                  </a:lnTo>
                  <a:lnTo>
                    <a:pt x="2904" y="492"/>
                  </a:lnTo>
                  <a:lnTo>
                    <a:pt x="2916" y="588"/>
                  </a:lnTo>
                  <a:lnTo>
                    <a:pt x="2976" y="732"/>
                  </a:lnTo>
                  <a:lnTo>
                    <a:pt x="2988" y="864"/>
                  </a:lnTo>
                  <a:lnTo>
                    <a:pt x="2976" y="996"/>
                  </a:lnTo>
                  <a:lnTo>
                    <a:pt x="3000" y="1104"/>
                  </a:lnTo>
                  <a:lnTo>
                    <a:pt x="2928" y="1212"/>
                  </a:lnTo>
                  <a:lnTo>
                    <a:pt x="2916" y="1416"/>
                  </a:lnTo>
                  <a:lnTo>
                    <a:pt x="2988" y="1524"/>
                  </a:lnTo>
                  <a:lnTo>
                    <a:pt x="2916" y="1740"/>
                  </a:lnTo>
                  <a:lnTo>
                    <a:pt x="3000" y="1764"/>
                  </a:lnTo>
                  <a:lnTo>
                    <a:pt x="3072" y="1836"/>
                  </a:lnTo>
                  <a:lnTo>
                    <a:pt x="3048" y="1980"/>
                  </a:lnTo>
                  <a:lnTo>
                    <a:pt x="2952" y="2088"/>
                  </a:lnTo>
                  <a:lnTo>
                    <a:pt x="2952" y="2244"/>
                  </a:lnTo>
                  <a:lnTo>
                    <a:pt x="2772" y="2280"/>
                  </a:lnTo>
                  <a:lnTo>
                    <a:pt x="2688" y="2220"/>
                  </a:lnTo>
                  <a:lnTo>
                    <a:pt x="2532" y="2256"/>
                  </a:lnTo>
                  <a:lnTo>
                    <a:pt x="2472" y="2184"/>
                  </a:lnTo>
                  <a:lnTo>
                    <a:pt x="2484" y="2064"/>
                  </a:lnTo>
                  <a:lnTo>
                    <a:pt x="2424" y="1968"/>
                  </a:lnTo>
                  <a:lnTo>
                    <a:pt x="2532" y="1908"/>
                  </a:lnTo>
                  <a:lnTo>
                    <a:pt x="2532" y="1800"/>
                  </a:lnTo>
                  <a:lnTo>
                    <a:pt x="2496" y="1704"/>
                  </a:lnTo>
                  <a:lnTo>
                    <a:pt x="2400" y="1596"/>
                  </a:lnTo>
                  <a:lnTo>
                    <a:pt x="2328" y="1644"/>
                  </a:lnTo>
                  <a:lnTo>
                    <a:pt x="2268" y="1596"/>
                  </a:lnTo>
                  <a:lnTo>
                    <a:pt x="2292" y="1512"/>
                  </a:lnTo>
                  <a:lnTo>
                    <a:pt x="2244" y="1428"/>
                  </a:lnTo>
                  <a:lnTo>
                    <a:pt x="2136" y="1416"/>
                  </a:lnTo>
                  <a:lnTo>
                    <a:pt x="2040" y="1428"/>
                  </a:lnTo>
                  <a:lnTo>
                    <a:pt x="2016" y="1248"/>
                  </a:lnTo>
                  <a:lnTo>
                    <a:pt x="1944" y="1200"/>
                  </a:lnTo>
                  <a:lnTo>
                    <a:pt x="1824" y="1236"/>
                  </a:lnTo>
                  <a:lnTo>
                    <a:pt x="1764" y="1128"/>
                  </a:lnTo>
                  <a:lnTo>
                    <a:pt x="1632" y="1188"/>
                  </a:lnTo>
                  <a:lnTo>
                    <a:pt x="1488" y="1224"/>
                  </a:lnTo>
                  <a:lnTo>
                    <a:pt x="1332" y="1188"/>
                  </a:lnTo>
                  <a:lnTo>
                    <a:pt x="1200" y="1104"/>
                  </a:lnTo>
                  <a:lnTo>
                    <a:pt x="1128" y="1140"/>
                  </a:lnTo>
                  <a:lnTo>
                    <a:pt x="1104" y="1260"/>
                  </a:lnTo>
                  <a:lnTo>
                    <a:pt x="948" y="1296"/>
                  </a:lnTo>
                  <a:lnTo>
                    <a:pt x="816" y="1320"/>
                  </a:lnTo>
                  <a:lnTo>
                    <a:pt x="648" y="1248"/>
                  </a:lnTo>
                  <a:lnTo>
                    <a:pt x="516" y="1296"/>
                  </a:lnTo>
                  <a:lnTo>
                    <a:pt x="360" y="1272"/>
                  </a:lnTo>
                  <a:lnTo>
                    <a:pt x="240" y="1140"/>
                  </a:lnTo>
                  <a:lnTo>
                    <a:pt x="108" y="1140"/>
                  </a:lnTo>
                  <a:lnTo>
                    <a:pt x="0" y="102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2" name="Freeform 13">
              <a:extLst>
                <a:ext uri="{FF2B5EF4-FFF2-40B4-BE49-F238E27FC236}">
                  <a16:creationId xmlns:a16="http://schemas.microsoft.com/office/drawing/2014/main" id="{A65824BA-D06E-416B-A8F8-018E29DBBF19}"/>
                </a:ext>
              </a:extLst>
            </p:cNvPr>
            <p:cNvSpPr>
              <a:spLocks/>
            </p:cNvSpPr>
            <p:nvPr/>
          </p:nvSpPr>
          <p:spPr bwMode="auto">
            <a:xfrm>
              <a:off x="3021312" y="2223718"/>
              <a:ext cx="754879" cy="730937"/>
            </a:xfrm>
            <a:custGeom>
              <a:avLst/>
              <a:gdLst>
                <a:gd name="T0" fmla="*/ 816 w 2682"/>
                <a:gd name="T1" fmla="*/ 253 h 2595"/>
                <a:gd name="T2" fmla="*/ 840 w 2682"/>
                <a:gd name="T3" fmla="*/ 577 h 2595"/>
                <a:gd name="T4" fmla="*/ 816 w 2682"/>
                <a:gd name="T5" fmla="*/ 793 h 2595"/>
                <a:gd name="T6" fmla="*/ 804 w 2682"/>
                <a:gd name="T7" fmla="*/ 1057 h 2595"/>
                <a:gd name="T8" fmla="*/ 624 w 2682"/>
                <a:gd name="T9" fmla="*/ 1177 h 2595"/>
                <a:gd name="T10" fmla="*/ 480 w 2682"/>
                <a:gd name="T11" fmla="*/ 1021 h 2595"/>
                <a:gd name="T12" fmla="*/ 264 w 2682"/>
                <a:gd name="T13" fmla="*/ 1213 h 2595"/>
                <a:gd name="T14" fmla="*/ 192 w 2682"/>
                <a:gd name="T15" fmla="*/ 1441 h 2595"/>
                <a:gd name="T16" fmla="*/ 240 w 2682"/>
                <a:gd name="T17" fmla="*/ 1657 h 2595"/>
                <a:gd name="T18" fmla="*/ 96 w 2682"/>
                <a:gd name="T19" fmla="*/ 1945 h 2595"/>
                <a:gd name="T20" fmla="*/ 0 w 2682"/>
                <a:gd name="T21" fmla="*/ 2341 h 2595"/>
                <a:gd name="T22" fmla="*/ 195 w 2682"/>
                <a:gd name="T23" fmla="*/ 2559 h 2595"/>
                <a:gd name="T24" fmla="*/ 326 w 2682"/>
                <a:gd name="T25" fmla="*/ 2365 h 2595"/>
                <a:gd name="T26" fmla="*/ 351 w 2682"/>
                <a:gd name="T27" fmla="*/ 2230 h 2595"/>
                <a:gd name="T28" fmla="*/ 393 w 2682"/>
                <a:gd name="T29" fmla="*/ 2139 h 2595"/>
                <a:gd name="T30" fmla="*/ 590 w 2682"/>
                <a:gd name="T31" fmla="*/ 2194 h 2595"/>
                <a:gd name="T32" fmla="*/ 644 w 2682"/>
                <a:gd name="T33" fmla="*/ 2008 h 2595"/>
                <a:gd name="T34" fmla="*/ 690 w 2682"/>
                <a:gd name="T35" fmla="*/ 1830 h 2595"/>
                <a:gd name="T36" fmla="*/ 863 w 2682"/>
                <a:gd name="T37" fmla="*/ 1875 h 2595"/>
                <a:gd name="T38" fmla="*/ 1076 w 2682"/>
                <a:gd name="T39" fmla="*/ 1903 h 2595"/>
                <a:gd name="T40" fmla="*/ 1167 w 2682"/>
                <a:gd name="T41" fmla="*/ 2085 h 2595"/>
                <a:gd name="T42" fmla="*/ 1374 w 2682"/>
                <a:gd name="T43" fmla="*/ 2148 h 2595"/>
                <a:gd name="T44" fmla="*/ 1484 w 2682"/>
                <a:gd name="T45" fmla="*/ 2404 h 2595"/>
                <a:gd name="T46" fmla="*/ 1707 w 2682"/>
                <a:gd name="T47" fmla="*/ 2499 h 2595"/>
                <a:gd name="T48" fmla="*/ 1824 w 2682"/>
                <a:gd name="T49" fmla="*/ 2595 h 2595"/>
                <a:gd name="T50" fmla="*/ 1851 w 2682"/>
                <a:gd name="T51" fmla="*/ 2415 h 2595"/>
                <a:gd name="T52" fmla="*/ 1979 w 2682"/>
                <a:gd name="T53" fmla="*/ 2358 h 2595"/>
                <a:gd name="T54" fmla="*/ 1902 w 2682"/>
                <a:gd name="T55" fmla="*/ 2194 h 2595"/>
                <a:gd name="T56" fmla="*/ 1833 w 2682"/>
                <a:gd name="T57" fmla="*/ 2053 h 2595"/>
                <a:gd name="T58" fmla="*/ 1812 w 2682"/>
                <a:gd name="T59" fmla="*/ 1801 h 2595"/>
                <a:gd name="T60" fmla="*/ 1989 w 2682"/>
                <a:gd name="T61" fmla="*/ 1710 h 2595"/>
                <a:gd name="T62" fmla="*/ 2159 w 2682"/>
                <a:gd name="T63" fmla="*/ 1507 h 2595"/>
                <a:gd name="T64" fmla="*/ 2244 w 2682"/>
                <a:gd name="T65" fmla="*/ 1609 h 2595"/>
                <a:gd name="T66" fmla="*/ 2417 w 2682"/>
                <a:gd name="T67" fmla="*/ 1572 h 2595"/>
                <a:gd name="T68" fmla="*/ 2582 w 2682"/>
                <a:gd name="T69" fmla="*/ 1644 h 2595"/>
                <a:gd name="T70" fmla="*/ 2580 w 2682"/>
                <a:gd name="T71" fmla="*/ 1525 h 2595"/>
                <a:gd name="T72" fmla="*/ 2171 w 2682"/>
                <a:gd name="T73" fmla="*/ 1501 h 2595"/>
                <a:gd name="T74" fmla="*/ 2112 w 2682"/>
                <a:gd name="T75" fmla="*/ 1405 h 2595"/>
                <a:gd name="T76" fmla="*/ 1968 w 2682"/>
                <a:gd name="T77" fmla="*/ 1297 h 2595"/>
                <a:gd name="T78" fmla="*/ 2027 w 2682"/>
                <a:gd name="T79" fmla="*/ 1164 h 2595"/>
                <a:gd name="T80" fmla="*/ 2024 w 2682"/>
                <a:gd name="T81" fmla="*/ 978 h 2595"/>
                <a:gd name="T82" fmla="*/ 2171 w 2682"/>
                <a:gd name="T83" fmla="*/ 853 h 2595"/>
                <a:gd name="T84" fmla="*/ 2196 w 2682"/>
                <a:gd name="T85" fmla="*/ 624 h 2595"/>
                <a:gd name="T86" fmla="*/ 2042 w 2682"/>
                <a:gd name="T87" fmla="*/ 436 h 2595"/>
                <a:gd name="T88" fmla="*/ 2003 w 2682"/>
                <a:gd name="T89" fmla="*/ 195 h 2595"/>
                <a:gd name="T90" fmla="*/ 1800 w 2682"/>
                <a:gd name="T91" fmla="*/ 231 h 2595"/>
                <a:gd name="T92" fmla="*/ 1659 w 2682"/>
                <a:gd name="T93" fmla="*/ 25 h 2595"/>
                <a:gd name="T94" fmla="*/ 1478 w 2682"/>
                <a:gd name="T95" fmla="*/ 0 h 2595"/>
                <a:gd name="T96" fmla="*/ 1224 w 2682"/>
                <a:gd name="T97" fmla="*/ 217 h 2595"/>
                <a:gd name="T98" fmla="*/ 1008 w 2682"/>
                <a:gd name="T99" fmla="*/ 97 h 2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82" h="2595">
                  <a:moveTo>
                    <a:pt x="1008" y="97"/>
                  </a:moveTo>
                  <a:lnTo>
                    <a:pt x="816" y="253"/>
                  </a:lnTo>
                  <a:lnTo>
                    <a:pt x="876" y="445"/>
                  </a:lnTo>
                  <a:lnTo>
                    <a:pt x="840" y="577"/>
                  </a:lnTo>
                  <a:lnTo>
                    <a:pt x="756" y="721"/>
                  </a:lnTo>
                  <a:lnTo>
                    <a:pt x="816" y="793"/>
                  </a:lnTo>
                  <a:lnTo>
                    <a:pt x="768" y="889"/>
                  </a:lnTo>
                  <a:lnTo>
                    <a:pt x="804" y="1057"/>
                  </a:lnTo>
                  <a:lnTo>
                    <a:pt x="708" y="1093"/>
                  </a:lnTo>
                  <a:lnTo>
                    <a:pt x="624" y="1177"/>
                  </a:lnTo>
                  <a:lnTo>
                    <a:pt x="552" y="1093"/>
                  </a:lnTo>
                  <a:lnTo>
                    <a:pt x="480" y="1021"/>
                  </a:lnTo>
                  <a:lnTo>
                    <a:pt x="336" y="1093"/>
                  </a:lnTo>
                  <a:lnTo>
                    <a:pt x="264" y="1213"/>
                  </a:lnTo>
                  <a:lnTo>
                    <a:pt x="180" y="1321"/>
                  </a:lnTo>
                  <a:lnTo>
                    <a:pt x="192" y="1441"/>
                  </a:lnTo>
                  <a:lnTo>
                    <a:pt x="192" y="1561"/>
                  </a:lnTo>
                  <a:lnTo>
                    <a:pt x="240" y="1657"/>
                  </a:lnTo>
                  <a:lnTo>
                    <a:pt x="144" y="1777"/>
                  </a:lnTo>
                  <a:lnTo>
                    <a:pt x="96" y="1945"/>
                  </a:lnTo>
                  <a:lnTo>
                    <a:pt x="12" y="2125"/>
                  </a:lnTo>
                  <a:lnTo>
                    <a:pt x="0" y="2341"/>
                  </a:lnTo>
                  <a:lnTo>
                    <a:pt x="39" y="2536"/>
                  </a:lnTo>
                  <a:lnTo>
                    <a:pt x="195" y="2559"/>
                  </a:lnTo>
                  <a:lnTo>
                    <a:pt x="276" y="2461"/>
                  </a:lnTo>
                  <a:lnTo>
                    <a:pt x="326" y="2365"/>
                  </a:lnTo>
                  <a:lnTo>
                    <a:pt x="254" y="2304"/>
                  </a:lnTo>
                  <a:lnTo>
                    <a:pt x="351" y="2230"/>
                  </a:lnTo>
                  <a:lnTo>
                    <a:pt x="288" y="2110"/>
                  </a:lnTo>
                  <a:lnTo>
                    <a:pt x="393" y="2139"/>
                  </a:lnTo>
                  <a:lnTo>
                    <a:pt x="492" y="2185"/>
                  </a:lnTo>
                  <a:lnTo>
                    <a:pt x="590" y="2194"/>
                  </a:lnTo>
                  <a:lnTo>
                    <a:pt x="635" y="2113"/>
                  </a:lnTo>
                  <a:lnTo>
                    <a:pt x="644" y="2008"/>
                  </a:lnTo>
                  <a:lnTo>
                    <a:pt x="698" y="1948"/>
                  </a:lnTo>
                  <a:lnTo>
                    <a:pt x="690" y="1830"/>
                  </a:lnTo>
                  <a:lnTo>
                    <a:pt x="827" y="1783"/>
                  </a:lnTo>
                  <a:lnTo>
                    <a:pt x="863" y="1875"/>
                  </a:lnTo>
                  <a:lnTo>
                    <a:pt x="984" y="1873"/>
                  </a:lnTo>
                  <a:lnTo>
                    <a:pt x="1076" y="1903"/>
                  </a:lnTo>
                  <a:lnTo>
                    <a:pt x="1128" y="1974"/>
                  </a:lnTo>
                  <a:lnTo>
                    <a:pt x="1167" y="2085"/>
                  </a:lnTo>
                  <a:lnTo>
                    <a:pt x="1271" y="2113"/>
                  </a:lnTo>
                  <a:lnTo>
                    <a:pt x="1374" y="2148"/>
                  </a:lnTo>
                  <a:lnTo>
                    <a:pt x="1478" y="2299"/>
                  </a:lnTo>
                  <a:lnTo>
                    <a:pt x="1484" y="2404"/>
                  </a:lnTo>
                  <a:lnTo>
                    <a:pt x="1634" y="2433"/>
                  </a:lnTo>
                  <a:lnTo>
                    <a:pt x="1707" y="2499"/>
                  </a:lnTo>
                  <a:lnTo>
                    <a:pt x="1758" y="2595"/>
                  </a:lnTo>
                  <a:lnTo>
                    <a:pt x="1824" y="2595"/>
                  </a:lnTo>
                  <a:lnTo>
                    <a:pt x="1887" y="2544"/>
                  </a:lnTo>
                  <a:lnTo>
                    <a:pt x="1851" y="2415"/>
                  </a:lnTo>
                  <a:lnTo>
                    <a:pt x="1929" y="2394"/>
                  </a:lnTo>
                  <a:lnTo>
                    <a:pt x="1979" y="2358"/>
                  </a:lnTo>
                  <a:lnTo>
                    <a:pt x="1977" y="2212"/>
                  </a:lnTo>
                  <a:lnTo>
                    <a:pt x="1902" y="2194"/>
                  </a:lnTo>
                  <a:lnTo>
                    <a:pt x="1832" y="2148"/>
                  </a:lnTo>
                  <a:lnTo>
                    <a:pt x="1833" y="2053"/>
                  </a:lnTo>
                  <a:lnTo>
                    <a:pt x="1797" y="1950"/>
                  </a:lnTo>
                  <a:lnTo>
                    <a:pt x="1812" y="1801"/>
                  </a:lnTo>
                  <a:lnTo>
                    <a:pt x="1896" y="1773"/>
                  </a:lnTo>
                  <a:lnTo>
                    <a:pt x="1989" y="1710"/>
                  </a:lnTo>
                  <a:lnTo>
                    <a:pt x="2043" y="1590"/>
                  </a:lnTo>
                  <a:lnTo>
                    <a:pt x="2159" y="1507"/>
                  </a:lnTo>
                  <a:lnTo>
                    <a:pt x="2181" y="1579"/>
                  </a:lnTo>
                  <a:lnTo>
                    <a:pt x="2244" y="1609"/>
                  </a:lnTo>
                  <a:lnTo>
                    <a:pt x="2316" y="1527"/>
                  </a:lnTo>
                  <a:lnTo>
                    <a:pt x="2417" y="1572"/>
                  </a:lnTo>
                  <a:lnTo>
                    <a:pt x="2475" y="1621"/>
                  </a:lnTo>
                  <a:lnTo>
                    <a:pt x="2582" y="1644"/>
                  </a:lnTo>
                  <a:lnTo>
                    <a:pt x="2682" y="1566"/>
                  </a:lnTo>
                  <a:lnTo>
                    <a:pt x="2580" y="1525"/>
                  </a:lnTo>
                  <a:lnTo>
                    <a:pt x="2351" y="1501"/>
                  </a:lnTo>
                  <a:lnTo>
                    <a:pt x="2171" y="1501"/>
                  </a:lnTo>
                  <a:lnTo>
                    <a:pt x="2141" y="1449"/>
                  </a:lnTo>
                  <a:lnTo>
                    <a:pt x="2112" y="1405"/>
                  </a:lnTo>
                  <a:lnTo>
                    <a:pt x="2018" y="1347"/>
                  </a:lnTo>
                  <a:lnTo>
                    <a:pt x="1968" y="1297"/>
                  </a:lnTo>
                  <a:lnTo>
                    <a:pt x="2004" y="1215"/>
                  </a:lnTo>
                  <a:lnTo>
                    <a:pt x="2027" y="1164"/>
                  </a:lnTo>
                  <a:lnTo>
                    <a:pt x="1919" y="1093"/>
                  </a:lnTo>
                  <a:lnTo>
                    <a:pt x="2024" y="978"/>
                  </a:lnTo>
                  <a:lnTo>
                    <a:pt x="2087" y="889"/>
                  </a:lnTo>
                  <a:lnTo>
                    <a:pt x="2171" y="853"/>
                  </a:lnTo>
                  <a:lnTo>
                    <a:pt x="2099" y="747"/>
                  </a:lnTo>
                  <a:lnTo>
                    <a:pt x="2196" y="624"/>
                  </a:lnTo>
                  <a:lnTo>
                    <a:pt x="2129" y="534"/>
                  </a:lnTo>
                  <a:lnTo>
                    <a:pt x="2042" y="436"/>
                  </a:lnTo>
                  <a:lnTo>
                    <a:pt x="2003" y="319"/>
                  </a:lnTo>
                  <a:lnTo>
                    <a:pt x="2003" y="195"/>
                  </a:lnTo>
                  <a:lnTo>
                    <a:pt x="1823" y="289"/>
                  </a:lnTo>
                  <a:lnTo>
                    <a:pt x="1800" y="231"/>
                  </a:lnTo>
                  <a:lnTo>
                    <a:pt x="1716" y="133"/>
                  </a:lnTo>
                  <a:lnTo>
                    <a:pt x="1659" y="25"/>
                  </a:lnTo>
                  <a:lnTo>
                    <a:pt x="1559" y="3"/>
                  </a:lnTo>
                  <a:lnTo>
                    <a:pt x="1478" y="0"/>
                  </a:lnTo>
                  <a:lnTo>
                    <a:pt x="1427" y="85"/>
                  </a:lnTo>
                  <a:lnTo>
                    <a:pt x="1224" y="217"/>
                  </a:lnTo>
                  <a:lnTo>
                    <a:pt x="1103" y="181"/>
                  </a:lnTo>
                  <a:lnTo>
                    <a:pt x="1008" y="97"/>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3" name="Freeform 14">
              <a:extLst>
                <a:ext uri="{FF2B5EF4-FFF2-40B4-BE49-F238E27FC236}">
                  <a16:creationId xmlns:a16="http://schemas.microsoft.com/office/drawing/2014/main" id="{A65C9C54-A632-432B-9C5C-9479243DAE23}"/>
                </a:ext>
              </a:extLst>
            </p:cNvPr>
            <p:cNvSpPr>
              <a:spLocks/>
            </p:cNvSpPr>
            <p:nvPr/>
          </p:nvSpPr>
          <p:spPr bwMode="auto">
            <a:xfrm>
              <a:off x="2743865" y="3075773"/>
              <a:ext cx="595735" cy="419690"/>
            </a:xfrm>
            <a:custGeom>
              <a:avLst/>
              <a:gdLst>
                <a:gd name="T0" fmla="*/ 2019 w 2112"/>
                <a:gd name="T1" fmla="*/ 1040 h 1488"/>
                <a:gd name="T2" fmla="*/ 1956 w 2112"/>
                <a:gd name="T3" fmla="*/ 1043 h 1488"/>
                <a:gd name="T4" fmla="*/ 1893 w 2112"/>
                <a:gd name="T5" fmla="*/ 981 h 1488"/>
                <a:gd name="T6" fmla="*/ 1775 w 2112"/>
                <a:gd name="T7" fmla="*/ 888 h 1488"/>
                <a:gd name="T8" fmla="*/ 1755 w 2112"/>
                <a:gd name="T9" fmla="*/ 813 h 1488"/>
                <a:gd name="T10" fmla="*/ 1694 w 2112"/>
                <a:gd name="T11" fmla="*/ 785 h 1488"/>
                <a:gd name="T12" fmla="*/ 1686 w 2112"/>
                <a:gd name="T13" fmla="*/ 720 h 1488"/>
                <a:gd name="T14" fmla="*/ 1718 w 2112"/>
                <a:gd name="T15" fmla="*/ 635 h 1488"/>
                <a:gd name="T16" fmla="*/ 1751 w 2112"/>
                <a:gd name="T17" fmla="*/ 561 h 1488"/>
                <a:gd name="T18" fmla="*/ 1742 w 2112"/>
                <a:gd name="T19" fmla="*/ 480 h 1488"/>
                <a:gd name="T20" fmla="*/ 1859 w 2112"/>
                <a:gd name="T21" fmla="*/ 432 h 1488"/>
                <a:gd name="T22" fmla="*/ 1787 w 2112"/>
                <a:gd name="T23" fmla="*/ 372 h 1488"/>
                <a:gd name="T24" fmla="*/ 1667 w 2112"/>
                <a:gd name="T25" fmla="*/ 408 h 1488"/>
                <a:gd name="T26" fmla="*/ 1587 w 2112"/>
                <a:gd name="T27" fmla="*/ 338 h 1488"/>
                <a:gd name="T28" fmla="*/ 1445 w 2112"/>
                <a:gd name="T29" fmla="*/ 279 h 1488"/>
                <a:gd name="T30" fmla="*/ 1359 w 2112"/>
                <a:gd name="T31" fmla="*/ 170 h 1488"/>
                <a:gd name="T32" fmla="*/ 1139 w 2112"/>
                <a:gd name="T33" fmla="*/ 0 h 1488"/>
                <a:gd name="T34" fmla="*/ 1032 w 2112"/>
                <a:gd name="T35" fmla="*/ 62 h 1488"/>
                <a:gd name="T36" fmla="*/ 936 w 2112"/>
                <a:gd name="T37" fmla="*/ 108 h 1488"/>
                <a:gd name="T38" fmla="*/ 816 w 2112"/>
                <a:gd name="T39" fmla="*/ 204 h 1488"/>
                <a:gd name="T40" fmla="*/ 660 w 2112"/>
                <a:gd name="T41" fmla="*/ 228 h 1488"/>
                <a:gd name="T42" fmla="*/ 588 w 2112"/>
                <a:gd name="T43" fmla="*/ 204 h 1488"/>
                <a:gd name="T44" fmla="*/ 480 w 2112"/>
                <a:gd name="T45" fmla="*/ 180 h 1488"/>
                <a:gd name="T46" fmla="*/ 348 w 2112"/>
                <a:gd name="T47" fmla="*/ 192 h 1488"/>
                <a:gd name="T48" fmla="*/ 216 w 2112"/>
                <a:gd name="T49" fmla="*/ 192 h 1488"/>
                <a:gd name="T50" fmla="*/ 192 w 2112"/>
                <a:gd name="T51" fmla="*/ 300 h 1488"/>
                <a:gd name="T52" fmla="*/ 156 w 2112"/>
                <a:gd name="T53" fmla="*/ 408 h 1488"/>
                <a:gd name="T54" fmla="*/ 192 w 2112"/>
                <a:gd name="T55" fmla="*/ 468 h 1488"/>
                <a:gd name="T56" fmla="*/ 96 w 2112"/>
                <a:gd name="T57" fmla="*/ 540 h 1488"/>
                <a:gd name="T58" fmla="*/ 0 w 2112"/>
                <a:gd name="T59" fmla="*/ 660 h 1488"/>
                <a:gd name="T60" fmla="*/ 48 w 2112"/>
                <a:gd name="T61" fmla="*/ 780 h 1488"/>
                <a:gd name="T62" fmla="*/ 168 w 2112"/>
                <a:gd name="T63" fmla="*/ 756 h 1488"/>
                <a:gd name="T64" fmla="*/ 288 w 2112"/>
                <a:gd name="T65" fmla="*/ 852 h 1488"/>
                <a:gd name="T66" fmla="*/ 384 w 2112"/>
                <a:gd name="T67" fmla="*/ 816 h 1488"/>
                <a:gd name="T68" fmla="*/ 492 w 2112"/>
                <a:gd name="T69" fmla="*/ 828 h 1488"/>
                <a:gd name="T70" fmla="*/ 612 w 2112"/>
                <a:gd name="T71" fmla="*/ 840 h 1488"/>
                <a:gd name="T72" fmla="*/ 696 w 2112"/>
                <a:gd name="T73" fmla="*/ 936 h 1488"/>
                <a:gd name="T74" fmla="*/ 780 w 2112"/>
                <a:gd name="T75" fmla="*/ 1032 h 1488"/>
                <a:gd name="T76" fmla="*/ 876 w 2112"/>
                <a:gd name="T77" fmla="*/ 1128 h 1488"/>
                <a:gd name="T78" fmla="*/ 912 w 2112"/>
                <a:gd name="T79" fmla="*/ 1200 h 1488"/>
                <a:gd name="T80" fmla="*/ 948 w 2112"/>
                <a:gd name="T81" fmla="*/ 1284 h 1488"/>
                <a:gd name="T82" fmla="*/ 1080 w 2112"/>
                <a:gd name="T83" fmla="*/ 1392 h 1488"/>
                <a:gd name="T84" fmla="*/ 1200 w 2112"/>
                <a:gd name="T85" fmla="*/ 1416 h 1488"/>
                <a:gd name="T86" fmla="*/ 1332 w 2112"/>
                <a:gd name="T87" fmla="*/ 1392 h 1488"/>
                <a:gd name="T88" fmla="*/ 1452 w 2112"/>
                <a:gd name="T89" fmla="*/ 1488 h 1488"/>
                <a:gd name="T90" fmla="*/ 1536 w 2112"/>
                <a:gd name="T91" fmla="*/ 1452 h 1488"/>
                <a:gd name="T92" fmla="*/ 1584 w 2112"/>
                <a:gd name="T93" fmla="*/ 1368 h 1488"/>
                <a:gd name="T94" fmla="*/ 1704 w 2112"/>
                <a:gd name="T95" fmla="*/ 1356 h 1488"/>
                <a:gd name="T96" fmla="*/ 1788 w 2112"/>
                <a:gd name="T97" fmla="*/ 1296 h 1488"/>
                <a:gd name="T98" fmla="*/ 1884 w 2112"/>
                <a:gd name="T99" fmla="*/ 1344 h 1488"/>
                <a:gd name="T100" fmla="*/ 1992 w 2112"/>
                <a:gd name="T101" fmla="*/ 1356 h 1488"/>
                <a:gd name="T102" fmla="*/ 2112 w 2112"/>
                <a:gd name="T103" fmla="*/ 1344 h 1488"/>
                <a:gd name="T104" fmla="*/ 2088 w 2112"/>
                <a:gd name="T105" fmla="*/ 1212 h 1488"/>
                <a:gd name="T106" fmla="*/ 2088 w 2112"/>
                <a:gd name="T107" fmla="*/ 1104 h 1488"/>
                <a:gd name="T108" fmla="*/ 2019 w 2112"/>
                <a:gd name="T109" fmla="*/ 1040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2" h="1488">
                  <a:moveTo>
                    <a:pt x="2019" y="1040"/>
                  </a:moveTo>
                  <a:lnTo>
                    <a:pt x="1956" y="1043"/>
                  </a:lnTo>
                  <a:lnTo>
                    <a:pt x="1893" y="981"/>
                  </a:lnTo>
                  <a:lnTo>
                    <a:pt x="1775" y="888"/>
                  </a:lnTo>
                  <a:lnTo>
                    <a:pt x="1755" y="813"/>
                  </a:lnTo>
                  <a:lnTo>
                    <a:pt x="1694" y="785"/>
                  </a:lnTo>
                  <a:lnTo>
                    <a:pt x="1686" y="720"/>
                  </a:lnTo>
                  <a:lnTo>
                    <a:pt x="1718" y="635"/>
                  </a:lnTo>
                  <a:lnTo>
                    <a:pt x="1751" y="561"/>
                  </a:lnTo>
                  <a:lnTo>
                    <a:pt x="1742" y="480"/>
                  </a:lnTo>
                  <a:lnTo>
                    <a:pt x="1859" y="432"/>
                  </a:lnTo>
                  <a:lnTo>
                    <a:pt x="1787" y="372"/>
                  </a:lnTo>
                  <a:lnTo>
                    <a:pt x="1667" y="408"/>
                  </a:lnTo>
                  <a:lnTo>
                    <a:pt x="1587" y="338"/>
                  </a:lnTo>
                  <a:lnTo>
                    <a:pt x="1445" y="279"/>
                  </a:lnTo>
                  <a:lnTo>
                    <a:pt x="1359" y="170"/>
                  </a:lnTo>
                  <a:lnTo>
                    <a:pt x="1139" y="0"/>
                  </a:lnTo>
                  <a:lnTo>
                    <a:pt x="1032" y="62"/>
                  </a:lnTo>
                  <a:lnTo>
                    <a:pt x="936" y="108"/>
                  </a:lnTo>
                  <a:lnTo>
                    <a:pt x="816" y="204"/>
                  </a:lnTo>
                  <a:lnTo>
                    <a:pt x="660" y="228"/>
                  </a:lnTo>
                  <a:lnTo>
                    <a:pt x="588" y="204"/>
                  </a:lnTo>
                  <a:lnTo>
                    <a:pt x="480" y="180"/>
                  </a:lnTo>
                  <a:lnTo>
                    <a:pt x="348" y="192"/>
                  </a:lnTo>
                  <a:lnTo>
                    <a:pt x="216" y="192"/>
                  </a:lnTo>
                  <a:lnTo>
                    <a:pt x="192" y="300"/>
                  </a:lnTo>
                  <a:lnTo>
                    <a:pt x="156" y="408"/>
                  </a:lnTo>
                  <a:lnTo>
                    <a:pt x="192" y="468"/>
                  </a:lnTo>
                  <a:lnTo>
                    <a:pt x="96" y="540"/>
                  </a:lnTo>
                  <a:lnTo>
                    <a:pt x="0" y="660"/>
                  </a:lnTo>
                  <a:lnTo>
                    <a:pt x="48" y="780"/>
                  </a:lnTo>
                  <a:lnTo>
                    <a:pt x="168" y="756"/>
                  </a:lnTo>
                  <a:lnTo>
                    <a:pt x="288" y="852"/>
                  </a:lnTo>
                  <a:lnTo>
                    <a:pt x="384" y="816"/>
                  </a:lnTo>
                  <a:lnTo>
                    <a:pt x="492" y="828"/>
                  </a:lnTo>
                  <a:lnTo>
                    <a:pt x="612" y="840"/>
                  </a:lnTo>
                  <a:lnTo>
                    <a:pt x="696" y="936"/>
                  </a:lnTo>
                  <a:lnTo>
                    <a:pt x="780" y="1032"/>
                  </a:lnTo>
                  <a:lnTo>
                    <a:pt x="876" y="1128"/>
                  </a:lnTo>
                  <a:lnTo>
                    <a:pt x="912" y="1200"/>
                  </a:lnTo>
                  <a:lnTo>
                    <a:pt x="948" y="1284"/>
                  </a:lnTo>
                  <a:lnTo>
                    <a:pt x="1080" y="1392"/>
                  </a:lnTo>
                  <a:lnTo>
                    <a:pt x="1200" y="1416"/>
                  </a:lnTo>
                  <a:lnTo>
                    <a:pt x="1332" y="1392"/>
                  </a:lnTo>
                  <a:lnTo>
                    <a:pt x="1452" y="1488"/>
                  </a:lnTo>
                  <a:lnTo>
                    <a:pt x="1536" y="1452"/>
                  </a:lnTo>
                  <a:lnTo>
                    <a:pt x="1584" y="1368"/>
                  </a:lnTo>
                  <a:lnTo>
                    <a:pt x="1704" y="1356"/>
                  </a:lnTo>
                  <a:lnTo>
                    <a:pt x="1788" y="1296"/>
                  </a:lnTo>
                  <a:lnTo>
                    <a:pt x="1884" y="1344"/>
                  </a:lnTo>
                  <a:lnTo>
                    <a:pt x="1992" y="1356"/>
                  </a:lnTo>
                  <a:lnTo>
                    <a:pt x="2112" y="1344"/>
                  </a:lnTo>
                  <a:lnTo>
                    <a:pt x="2088" y="1212"/>
                  </a:lnTo>
                  <a:lnTo>
                    <a:pt x="2088" y="1104"/>
                  </a:lnTo>
                  <a:lnTo>
                    <a:pt x="2019" y="10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4" name="Freeform 15">
              <a:extLst>
                <a:ext uri="{FF2B5EF4-FFF2-40B4-BE49-F238E27FC236}">
                  <a16:creationId xmlns:a16="http://schemas.microsoft.com/office/drawing/2014/main" id="{2F09CB29-910F-4F2D-A5DF-60E09710737E}"/>
                </a:ext>
              </a:extLst>
            </p:cNvPr>
            <p:cNvSpPr>
              <a:spLocks/>
            </p:cNvSpPr>
            <p:nvPr/>
          </p:nvSpPr>
          <p:spPr bwMode="auto">
            <a:xfrm>
              <a:off x="3048070" y="3119433"/>
              <a:ext cx="1240762" cy="1014016"/>
            </a:xfrm>
            <a:custGeom>
              <a:avLst/>
              <a:gdLst>
                <a:gd name="T0" fmla="*/ 971 w 4404"/>
                <a:gd name="T1" fmla="*/ 611 h 3600"/>
                <a:gd name="T2" fmla="*/ 1224 w 4404"/>
                <a:gd name="T3" fmla="*/ 552 h 3600"/>
                <a:gd name="T4" fmla="*/ 1356 w 4404"/>
                <a:gd name="T5" fmla="*/ 371 h 3600"/>
                <a:gd name="T6" fmla="*/ 1500 w 4404"/>
                <a:gd name="T7" fmla="*/ 489 h 3600"/>
                <a:gd name="T8" fmla="*/ 1631 w 4404"/>
                <a:gd name="T9" fmla="*/ 684 h 3600"/>
                <a:gd name="T10" fmla="*/ 1836 w 4404"/>
                <a:gd name="T11" fmla="*/ 890 h 3600"/>
                <a:gd name="T12" fmla="*/ 2337 w 4404"/>
                <a:gd name="T13" fmla="*/ 1065 h 3600"/>
                <a:gd name="T14" fmla="*/ 2696 w 4404"/>
                <a:gd name="T15" fmla="*/ 1032 h 3600"/>
                <a:gd name="T16" fmla="*/ 2855 w 4404"/>
                <a:gd name="T17" fmla="*/ 672 h 3600"/>
                <a:gd name="T18" fmla="*/ 2915 w 4404"/>
                <a:gd name="T19" fmla="*/ 419 h 3600"/>
                <a:gd name="T20" fmla="*/ 3059 w 4404"/>
                <a:gd name="T21" fmla="*/ 240 h 3600"/>
                <a:gd name="T22" fmla="*/ 2990 w 4404"/>
                <a:gd name="T23" fmla="*/ 36 h 3600"/>
                <a:gd name="T24" fmla="*/ 3377 w 4404"/>
                <a:gd name="T25" fmla="*/ 63 h 3600"/>
                <a:gd name="T26" fmla="*/ 3696 w 4404"/>
                <a:gd name="T27" fmla="*/ 167 h 3600"/>
                <a:gd name="T28" fmla="*/ 3893 w 4404"/>
                <a:gd name="T29" fmla="*/ 26 h 3600"/>
                <a:gd name="T30" fmla="*/ 3986 w 4404"/>
                <a:gd name="T31" fmla="*/ 324 h 3600"/>
                <a:gd name="T32" fmla="*/ 3936 w 4404"/>
                <a:gd name="T33" fmla="*/ 447 h 3600"/>
                <a:gd name="T34" fmla="*/ 3692 w 4404"/>
                <a:gd name="T35" fmla="*/ 882 h 3600"/>
                <a:gd name="T36" fmla="*/ 3432 w 4404"/>
                <a:gd name="T37" fmla="*/ 1128 h 3600"/>
                <a:gd name="T38" fmla="*/ 3614 w 4404"/>
                <a:gd name="T39" fmla="*/ 1271 h 3600"/>
                <a:gd name="T40" fmla="*/ 3818 w 4404"/>
                <a:gd name="T41" fmla="*/ 1188 h 3600"/>
                <a:gd name="T42" fmla="*/ 4010 w 4404"/>
                <a:gd name="T43" fmla="*/ 1356 h 3600"/>
                <a:gd name="T44" fmla="*/ 4056 w 4404"/>
                <a:gd name="T45" fmla="*/ 1574 h 3600"/>
                <a:gd name="T46" fmla="*/ 4350 w 4404"/>
                <a:gd name="T47" fmla="*/ 1779 h 3600"/>
                <a:gd name="T48" fmla="*/ 4356 w 4404"/>
                <a:gd name="T49" fmla="*/ 2075 h 3600"/>
                <a:gd name="T50" fmla="*/ 4052 w 4404"/>
                <a:gd name="T51" fmla="*/ 1835 h 3600"/>
                <a:gd name="T52" fmla="*/ 3768 w 4404"/>
                <a:gd name="T53" fmla="*/ 1917 h 3600"/>
                <a:gd name="T54" fmla="*/ 3671 w 4404"/>
                <a:gd name="T55" fmla="*/ 2289 h 3600"/>
                <a:gd name="T56" fmla="*/ 3503 w 4404"/>
                <a:gd name="T57" fmla="*/ 2174 h 3600"/>
                <a:gd name="T58" fmla="*/ 3563 w 4404"/>
                <a:gd name="T59" fmla="*/ 1884 h 3600"/>
                <a:gd name="T60" fmla="*/ 3482 w 4404"/>
                <a:gd name="T61" fmla="*/ 1787 h 3600"/>
                <a:gd name="T62" fmla="*/ 3306 w 4404"/>
                <a:gd name="T63" fmla="*/ 1689 h 3600"/>
                <a:gd name="T64" fmla="*/ 3240 w 4404"/>
                <a:gd name="T65" fmla="*/ 1895 h 3600"/>
                <a:gd name="T66" fmla="*/ 3182 w 4404"/>
                <a:gd name="T67" fmla="*/ 2196 h 3600"/>
                <a:gd name="T68" fmla="*/ 3383 w 4404"/>
                <a:gd name="T69" fmla="*/ 2376 h 3600"/>
                <a:gd name="T70" fmla="*/ 3326 w 4404"/>
                <a:gd name="T71" fmla="*/ 2676 h 3600"/>
                <a:gd name="T72" fmla="*/ 3197 w 4404"/>
                <a:gd name="T73" fmla="*/ 2844 h 3600"/>
                <a:gd name="T74" fmla="*/ 2894 w 4404"/>
                <a:gd name="T75" fmla="*/ 2916 h 3600"/>
                <a:gd name="T76" fmla="*/ 2412 w 4404"/>
                <a:gd name="T77" fmla="*/ 2940 h 3600"/>
                <a:gd name="T78" fmla="*/ 2388 w 4404"/>
                <a:gd name="T79" fmla="*/ 3326 h 3600"/>
                <a:gd name="T80" fmla="*/ 1620 w 4404"/>
                <a:gd name="T81" fmla="*/ 3564 h 3600"/>
                <a:gd name="T82" fmla="*/ 1440 w 4404"/>
                <a:gd name="T83" fmla="*/ 3084 h 3600"/>
                <a:gd name="T84" fmla="*/ 1164 w 4404"/>
                <a:gd name="T85" fmla="*/ 2700 h 3600"/>
                <a:gd name="T86" fmla="*/ 864 w 4404"/>
                <a:gd name="T87" fmla="*/ 2580 h 3600"/>
                <a:gd name="T88" fmla="*/ 684 w 4404"/>
                <a:gd name="T89" fmla="*/ 2100 h 3600"/>
                <a:gd name="T90" fmla="*/ 636 w 4404"/>
                <a:gd name="T91" fmla="*/ 1728 h 3600"/>
                <a:gd name="T92" fmla="*/ 336 w 4404"/>
                <a:gd name="T93" fmla="*/ 1584 h 3600"/>
                <a:gd name="T94" fmla="*/ 84 w 4404"/>
                <a:gd name="T95" fmla="*/ 1356 h 3600"/>
                <a:gd name="T96" fmla="*/ 252 w 4404"/>
                <a:gd name="T97" fmla="*/ 1236 h 3600"/>
                <a:gd name="T98" fmla="*/ 504 w 4404"/>
                <a:gd name="T99" fmla="*/ 1212 h 3600"/>
                <a:gd name="T100" fmla="*/ 804 w 4404"/>
                <a:gd name="T101" fmla="*/ 1188 h 3600"/>
                <a:gd name="T102" fmla="*/ 1008 w 4404"/>
                <a:gd name="T103" fmla="*/ 10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4" h="3600">
                  <a:moveTo>
                    <a:pt x="938" y="884"/>
                  </a:moveTo>
                  <a:lnTo>
                    <a:pt x="947" y="755"/>
                  </a:lnTo>
                  <a:lnTo>
                    <a:pt x="971" y="611"/>
                  </a:lnTo>
                  <a:lnTo>
                    <a:pt x="1067" y="518"/>
                  </a:lnTo>
                  <a:lnTo>
                    <a:pt x="1187" y="479"/>
                  </a:lnTo>
                  <a:lnTo>
                    <a:pt x="1224" y="552"/>
                  </a:lnTo>
                  <a:lnTo>
                    <a:pt x="1332" y="504"/>
                  </a:lnTo>
                  <a:lnTo>
                    <a:pt x="1403" y="456"/>
                  </a:lnTo>
                  <a:lnTo>
                    <a:pt x="1356" y="371"/>
                  </a:lnTo>
                  <a:lnTo>
                    <a:pt x="1439" y="312"/>
                  </a:lnTo>
                  <a:lnTo>
                    <a:pt x="1512" y="395"/>
                  </a:lnTo>
                  <a:lnTo>
                    <a:pt x="1500" y="489"/>
                  </a:lnTo>
                  <a:lnTo>
                    <a:pt x="1526" y="566"/>
                  </a:lnTo>
                  <a:lnTo>
                    <a:pt x="1584" y="611"/>
                  </a:lnTo>
                  <a:lnTo>
                    <a:pt x="1631" y="684"/>
                  </a:lnTo>
                  <a:lnTo>
                    <a:pt x="1646" y="771"/>
                  </a:lnTo>
                  <a:lnTo>
                    <a:pt x="1769" y="828"/>
                  </a:lnTo>
                  <a:lnTo>
                    <a:pt x="1836" y="890"/>
                  </a:lnTo>
                  <a:lnTo>
                    <a:pt x="1946" y="936"/>
                  </a:lnTo>
                  <a:lnTo>
                    <a:pt x="2088" y="947"/>
                  </a:lnTo>
                  <a:lnTo>
                    <a:pt x="2337" y="1065"/>
                  </a:lnTo>
                  <a:lnTo>
                    <a:pt x="2471" y="1094"/>
                  </a:lnTo>
                  <a:lnTo>
                    <a:pt x="2589" y="1080"/>
                  </a:lnTo>
                  <a:lnTo>
                    <a:pt x="2696" y="1032"/>
                  </a:lnTo>
                  <a:lnTo>
                    <a:pt x="2822" y="947"/>
                  </a:lnTo>
                  <a:lnTo>
                    <a:pt x="2904" y="819"/>
                  </a:lnTo>
                  <a:lnTo>
                    <a:pt x="2855" y="672"/>
                  </a:lnTo>
                  <a:lnTo>
                    <a:pt x="2868" y="552"/>
                  </a:lnTo>
                  <a:lnTo>
                    <a:pt x="2823" y="434"/>
                  </a:lnTo>
                  <a:lnTo>
                    <a:pt x="2915" y="419"/>
                  </a:lnTo>
                  <a:lnTo>
                    <a:pt x="3000" y="458"/>
                  </a:lnTo>
                  <a:lnTo>
                    <a:pt x="3012" y="323"/>
                  </a:lnTo>
                  <a:lnTo>
                    <a:pt x="3059" y="240"/>
                  </a:lnTo>
                  <a:lnTo>
                    <a:pt x="2916" y="182"/>
                  </a:lnTo>
                  <a:lnTo>
                    <a:pt x="2918" y="71"/>
                  </a:lnTo>
                  <a:lnTo>
                    <a:pt x="2990" y="36"/>
                  </a:lnTo>
                  <a:lnTo>
                    <a:pt x="3074" y="71"/>
                  </a:lnTo>
                  <a:lnTo>
                    <a:pt x="3212" y="84"/>
                  </a:lnTo>
                  <a:lnTo>
                    <a:pt x="3377" y="63"/>
                  </a:lnTo>
                  <a:lnTo>
                    <a:pt x="3560" y="48"/>
                  </a:lnTo>
                  <a:lnTo>
                    <a:pt x="3636" y="62"/>
                  </a:lnTo>
                  <a:lnTo>
                    <a:pt x="3696" y="167"/>
                  </a:lnTo>
                  <a:lnTo>
                    <a:pt x="3770" y="93"/>
                  </a:lnTo>
                  <a:lnTo>
                    <a:pt x="3815" y="0"/>
                  </a:lnTo>
                  <a:lnTo>
                    <a:pt x="3893" y="26"/>
                  </a:lnTo>
                  <a:lnTo>
                    <a:pt x="3984" y="96"/>
                  </a:lnTo>
                  <a:lnTo>
                    <a:pt x="4032" y="218"/>
                  </a:lnTo>
                  <a:lnTo>
                    <a:pt x="3986" y="324"/>
                  </a:lnTo>
                  <a:lnTo>
                    <a:pt x="3864" y="192"/>
                  </a:lnTo>
                  <a:lnTo>
                    <a:pt x="3890" y="315"/>
                  </a:lnTo>
                  <a:lnTo>
                    <a:pt x="3936" y="447"/>
                  </a:lnTo>
                  <a:lnTo>
                    <a:pt x="3851" y="543"/>
                  </a:lnTo>
                  <a:lnTo>
                    <a:pt x="3779" y="648"/>
                  </a:lnTo>
                  <a:lnTo>
                    <a:pt x="3692" y="882"/>
                  </a:lnTo>
                  <a:lnTo>
                    <a:pt x="3638" y="1008"/>
                  </a:lnTo>
                  <a:lnTo>
                    <a:pt x="3537" y="1082"/>
                  </a:lnTo>
                  <a:lnTo>
                    <a:pt x="3432" y="1128"/>
                  </a:lnTo>
                  <a:lnTo>
                    <a:pt x="3443" y="1235"/>
                  </a:lnTo>
                  <a:lnTo>
                    <a:pt x="3503" y="1296"/>
                  </a:lnTo>
                  <a:lnTo>
                    <a:pt x="3614" y="1271"/>
                  </a:lnTo>
                  <a:lnTo>
                    <a:pt x="3672" y="1188"/>
                  </a:lnTo>
                  <a:lnTo>
                    <a:pt x="3743" y="1200"/>
                  </a:lnTo>
                  <a:lnTo>
                    <a:pt x="3818" y="1188"/>
                  </a:lnTo>
                  <a:lnTo>
                    <a:pt x="3912" y="1188"/>
                  </a:lnTo>
                  <a:lnTo>
                    <a:pt x="3984" y="1262"/>
                  </a:lnTo>
                  <a:lnTo>
                    <a:pt x="4010" y="1356"/>
                  </a:lnTo>
                  <a:lnTo>
                    <a:pt x="3962" y="1440"/>
                  </a:lnTo>
                  <a:lnTo>
                    <a:pt x="3972" y="1524"/>
                  </a:lnTo>
                  <a:lnTo>
                    <a:pt x="4056" y="1574"/>
                  </a:lnTo>
                  <a:lnTo>
                    <a:pt x="4173" y="1595"/>
                  </a:lnTo>
                  <a:lnTo>
                    <a:pt x="4299" y="1670"/>
                  </a:lnTo>
                  <a:lnTo>
                    <a:pt x="4350" y="1779"/>
                  </a:lnTo>
                  <a:lnTo>
                    <a:pt x="4404" y="1910"/>
                  </a:lnTo>
                  <a:lnTo>
                    <a:pt x="4334" y="1968"/>
                  </a:lnTo>
                  <a:lnTo>
                    <a:pt x="4356" y="2075"/>
                  </a:lnTo>
                  <a:lnTo>
                    <a:pt x="4212" y="2016"/>
                  </a:lnTo>
                  <a:lnTo>
                    <a:pt x="4154" y="1908"/>
                  </a:lnTo>
                  <a:lnTo>
                    <a:pt x="4052" y="1835"/>
                  </a:lnTo>
                  <a:lnTo>
                    <a:pt x="3881" y="1809"/>
                  </a:lnTo>
                  <a:lnTo>
                    <a:pt x="3767" y="1802"/>
                  </a:lnTo>
                  <a:lnTo>
                    <a:pt x="3768" y="1917"/>
                  </a:lnTo>
                  <a:lnTo>
                    <a:pt x="3732" y="2031"/>
                  </a:lnTo>
                  <a:lnTo>
                    <a:pt x="3635" y="2198"/>
                  </a:lnTo>
                  <a:lnTo>
                    <a:pt x="3671" y="2289"/>
                  </a:lnTo>
                  <a:lnTo>
                    <a:pt x="3587" y="2327"/>
                  </a:lnTo>
                  <a:lnTo>
                    <a:pt x="3515" y="2258"/>
                  </a:lnTo>
                  <a:lnTo>
                    <a:pt x="3503" y="2174"/>
                  </a:lnTo>
                  <a:lnTo>
                    <a:pt x="3444" y="2076"/>
                  </a:lnTo>
                  <a:lnTo>
                    <a:pt x="3539" y="2016"/>
                  </a:lnTo>
                  <a:lnTo>
                    <a:pt x="3563" y="1884"/>
                  </a:lnTo>
                  <a:lnTo>
                    <a:pt x="3624" y="1850"/>
                  </a:lnTo>
                  <a:lnTo>
                    <a:pt x="3621" y="1787"/>
                  </a:lnTo>
                  <a:lnTo>
                    <a:pt x="3482" y="1787"/>
                  </a:lnTo>
                  <a:lnTo>
                    <a:pt x="3419" y="1730"/>
                  </a:lnTo>
                  <a:lnTo>
                    <a:pt x="3395" y="1668"/>
                  </a:lnTo>
                  <a:lnTo>
                    <a:pt x="3306" y="1689"/>
                  </a:lnTo>
                  <a:lnTo>
                    <a:pt x="3252" y="1691"/>
                  </a:lnTo>
                  <a:lnTo>
                    <a:pt x="3192" y="1776"/>
                  </a:lnTo>
                  <a:lnTo>
                    <a:pt x="3240" y="1895"/>
                  </a:lnTo>
                  <a:lnTo>
                    <a:pt x="3240" y="2004"/>
                  </a:lnTo>
                  <a:lnTo>
                    <a:pt x="3179" y="2100"/>
                  </a:lnTo>
                  <a:lnTo>
                    <a:pt x="3182" y="2196"/>
                  </a:lnTo>
                  <a:lnTo>
                    <a:pt x="3285" y="2207"/>
                  </a:lnTo>
                  <a:lnTo>
                    <a:pt x="3362" y="2234"/>
                  </a:lnTo>
                  <a:lnTo>
                    <a:pt x="3383" y="2376"/>
                  </a:lnTo>
                  <a:lnTo>
                    <a:pt x="3455" y="2462"/>
                  </a:lnTo>
                  <a:lnTo>
                    <a:pt x="3336" y="2543"/>
                  </a:lnTo>
                  <a:lnTo>
                    <a:pt x="3326" y="2676"/>
                  </a:lnTo>
                  <a:lnTo>
                    <a:pt x="3275" y="2739"/>
                  </a:lnTo>
                  <a:lnTo>
                    <a:pt x="3312" y="2856"/>
                  </a:lnTo>
                  <a:lnTo>
                    <a:pt x="3197" y="2844"/>
                  </a:lnTo>
                  <a:lnTo>
                    <a:pt x="3105" y="2831"/>
                  </a:lnTo>
                  <a:lnTo>
                    <a:pt x="3000" y="2820"/>
                  </a:lnTo>
                  <a:lnTo>
                    <a:pt x="2894" y="2916"/>
                  </a:lnTo>
                  <a:lnTo>
                    <a:pt x="2775" y="2906"/>
                  </a:lnTo>
                  <a:lnTo>
                    <a:pt x="2661" y="2880"/>
                  </a:lnTo>
                  <a:lnTo>
                    <a:pt x="2412" y="2940"/>
                  </a:lnTo>
                  <a:lnTo>
                    <a:pt x="2364" y="3119"/>
                  </a:lnTo>
                  <a:lnTo>
                    <a:pt x="2400" y="3251"/>
                  </a:lnTo>
                  <a:lnTo>
                    <a:pt x="2388" y="3326"/>
                  </a:lnTo>
                  <a:lnTo>
                    <a:pt x="2243" y="3545"/>
                  </a:lnTo>
                  <a:lnTo>
                    <a:pt x="1956" y="3600"/>
                  </a:lnTo>
                  <a:lnTo>
                    <a:pt x="1620" y="3564"/>
                  </a:lnTo>
                  <a:lnTo>
                    <a:pt x="1524" y="3444"/>
                  </a:lnTo>
                  <a:lnTo>
                    <a:pt x="1397" y="3408"/>
                  </a:lnTo>
                  <a:lnTo>
                    <a:pt x="1440" y="3084"/>
                  </a:lnTo>
                  <a:lnTo>
                    <a:pt x="1476" y="2820"/>
                  </a:lnTo>
                  <a:lnTo>
                    <a:pt x="1332" y="2772"/>
                  </a:lnTo>
                  <a:lnTo>
                    <a:pt x="1164" y="2700"/>
                  </a:lnTo>
                  <a:lnTo>
                    <a:pt x="984" y="2784"/>
                  </a:lnTo>
                  <a:lnTo>
                    <a:pt x="972" y="2640"/>
                  </a:lnTo>
                  <a:lnTo>
                    <a:pt x="864" y="2580"/>
                  </a:lnTo>
                  <a:lnTo>
                    <a:pt x="780" y="2412"/>
                  </a:lnTo>
                  <a:lnTo>
                    <a:pt x="708" y="2292"/>
                  </a:lnTo>
                  <a:lnTo>
                    <a:pt x="684" y="2100"/>
                  </a:lnTo>
                  <a:lnTo>
                    <a:pt x="684" y="1968"/>
                  </a:lnTo>
                  <a:lnTo>
                    <a:pt x="720" y="1788"/>
                  </a:lnTo>
                  <a:lnTo>
                    <a:pt x="636" y="1728"/>
                  </a:lnTo>
                  <a:lnTo>
                    <a:pt x="516" y="1692"/>
                  </a:lnTo>
                  <a:lnTo>
                    <a:pt x="444" y="1596"/>
                  </a:lnTo>
                  <a:lnTo>
                    <a:pt x="336" y="1584"/>
                  </a:lnTo>
                  <a:lnTo>
                    <a:pt x="252" y="1464"/>
                  </a:lnTo>
                  <a:lnTo>
                    <a:pt x="192" y="1392"/>
                  </a:lnTo>
                  <a:lnTo>
                    <a:pt x="84" y="1356"/>
                  </a:lnTo>
                  <a:lnTo>
                    <a:pt x="0" y="1236"/>
                  </a:lnTo>
                  <a:lnTo>
                    <a:pt x="120" y="1260"/>
                  </a:lnTo>
                  <a:lnTo>
                    <a:pt x="252" y="1236"/>
                  </a:lnTo>
                  <a:lnTo>
                    <a:pt x="372" y="1332"/>
                  </a:lnTo>
                  <a:lnTo>
                    <a:pt x="456" y="1296"/>
                  </a:lnTo>
                  <a:lnTo>
                    <a:pt x="504" y="1212"/>
                  </a:lnTo>
                  <a:lnTo>
                    <a:pt x="624" y="1200"/>
                  </a:lnTo>
                  <a:lnTo>
                    <a:pt x="708" y="1140"/>
                  </a:lnTo>
                  <a:lnTo>
                    <a:pt x="804" y="1188"/>
                  </a:lnTo>
                  <a:lnTo>
                    <a:pt x="912" y="1200"/>
                  </a:lnTo>
                  <a:lnTo>
                    <a:pt x="1032" y="1188"/>
                  </a:lnTo>
                  <a:lnTo>
                    <a:pt x="1008" y="1056"/>
                  </a:lnTo>
                  <a:lnTo>
                    <a:pt x="1008" y="948"/>
                  </a:lnTo>
                  <a:lnTo>
                    <a:pt x="938" y="884"/>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5" name="Freeform 16">
              <a:extLst>
                <a:ext uri="{FF2B5EF4-FFF2-40B4-BE49-F238E27FC236}">
                  <a16:creationId xmlns:a16="http://schemas.microsoft.com/office/drawing/2014/main" id="{B2CDBC79-DDED-4061-83C0-905D136BC998}"/>
                </a:ext>
              </a:extLst>
            </p:cNvPr>
            <p:cNvSpPr>
              <a:spLocks/>
            </p:cNvSpPr>
            <p:nvPr/>
          </p:nvSpPr>
          <p:spPr bwMode="auto">
            <a:xfrm>
              <a:off x="4431075" y="1606859"/>
              <a:ext cx="653477" cy="1421031"/>
            </a:xfrm>
            <a:custGeom>
              <a:avLst/>
              <a:gdLst>
                <a:gd name="T0" fmla="*/ 102 w 2323"/>
                <a:gd name="T1" fmla="*/ 139 h 5047"/>
                <a:gd name="T2" fmla="*/ 12 w 2323"/>
                <a:gd name="T3" fmla="*/ 280 h 5047"/>
                <a:gd name="T4" fmla="*/ 85 w 2323"/>
                <a:gd name="T5" fmla="*/ 562 h 5047"/>
                <a:gd name="T6" fmla="*/ 97 w 2323"/>
                <a:gd name="T7" fmla="*/ 805 h 5047"/>
                <a:gd name="T8" fmla="*/ 12 w 2323"/>
                <a:gd name="T9" fmla="*/ 1113 h 5047"/>
                <a:gd name="T10" fmla="*/ 12 w 2323"/>
                <a:gd name="T11" fmla="*/ 1440 h 5047"/>
                <a:gd name="T12" fmla="*/ 171 w 2323"/>
                <a:gd name="T13" fmla="*/ 1533 h 5047"/>
                <a:gd name="T14" fmla="*/ 51 w 2323"/>
                <a:gd name="T15" fmla="*/ 1785 h 5047"/>
                <a:gd name="T16" fmla="*/ 72 w 2323"/>
                <a:gd name="T17" fmla="*/ 2058 h 5047"/>
                <a:gd name="T18" fmla="*/ 144 w 2323"/>
                <a:gd name="T19" fmla="*/ 2313 h 5047"/>
                <a:gd name="T20" fmla="*/ 229 w 2323"/>
                <a:gd name="T21" fmla="*/ 2529 h 5047"/>
                <a:gd name="T22" fmla="*/ 327 w 2323"/>
                <a:gd name="T23" fmla="*/ 2811 h 5047"/>
                <a:gd name="T24" fmla="*/ 447 w 2323"/>
                <a:gd name="T25" fmla="*/ 3034 h 5047"/>
                <a:gd name="T26" fmla="*/ 387 w 2323"/>
                <a:gd name="T27" fmla="*/ 3237 h 5047"/>
                <a:gd name="T28" fmla="*/ 408 w 2323"/>
                <a:gd name="T29" fmla="*/ 3406 h 5047"/>
                <a:gd name="T30" fmla="*/ 373 w 2323"/>
                <a:gd name="T31" fmla="*/ 3657 h 5047"/>
                <a:gd name="T32" fmla="*/ 253 w 2323"/>
                <a:gd name="T33" fmla="*/ 3909 h 5047"/>
                <a:gd name="T34" fmla="*/ 322 w 2323"/>
                <a:gd name="T35" fmla="*/ 4030 h 5047"/>
                <a:gd name="T36" fmla="*/ 276 w 2323"/>
                <a:gd name="T37" fmla="*/ 4248 h 5047"/>
                <a:gd name="T38" fmla="*/ 169 w 2323"/>
                <a:gd name="T39" fmla="*/ 4476 h 5047"/>
                <a:gd name="T40" fmla="*/ 156 w 2323"/>
                <a:gd name="T41" fmla="*/ 4644 h 5047"/>
                <a:gd name="T42" fmla="*/ 169 w 2323"/>
                <a:gd name="T43" fmla="*/ 4783 h 5047"/>
                <a:gd name="T44" fmla="*/ 291 w 2323"/>
                <a:gd name="T45" fmla="*/ 4908 h 5047"/>
                <a:gd name="T46" fmla="*/ 421 w 2323"/>
                <a:gd name="T47" fmla="*/ 4932 h 5047"/>
                <a:gd name="T48" fmla="*/ 610 w 2323"/>
                <a:gd name="T49" fmla="*/ 4659 h 5047"/>
                <a:gd name="T50" fmla="*/ 807 w 2323"/>
                <a:gd name="T51" fmla="*/ 4545 h 5047"/>
                <a:gd name="T52" fmla="*/ 841 w 2323"/>
                <a:gd name="T53" fmla="*/ 4438 h 5047"/>
                <a:gd name="T54" fmla="*/ 1129 w 2323"/>
                <a:gd name="T55" fmla="*/ 4080 h 5047"/>
                <a:gd name="T56" fmla="*/ 1123 w 2323"/>
                <a:gd name="T57" fmla="*/ 3799 h 5047"/>
                <a:gd name="T58" fmla="*/ 1225 w 2323"/>
                <a:gd name="T59" fmla="*/ 3361 h 5047"/>
                <a:gd name="T60" fmla="*/ 1428 w 2323"/>
                <a:gd name="T61" fmla="*/ 3142 h 5047"/>
                <a:gd name="T62" fmla="*/ 1837 w 2323"/>
                <a:gd name="T63" fmla="*/ 2926 h 5047"/>
                <a:gd name="T64" fmla="*/ 1837 w 2323"/>
                <a:gd name="T65" fmla="*/ 2548 h 5047"/>
                <a:gd name="T66" fmla="*/ 2071 w 2323"/>
                <a:gd name="T67" fmla="*/ 2296 h 5047"/>
                <a:gd name="T68" fmla="*/ 2323 w 2323"/>
                <a:gd name="T69" fmla="*/ 1864 h 5047"/>
                <a:gd name="T70" fmla="*/ 1836 w 2323"/>
                <a:gd name="T71" fmla="*/ 1173 h 5047"/>
                <a:gd name="T72" fmla="*/ 1384 w 2323"/>
                <a:gd name="T73" fmla="*/ 742 h 5047"/>
                <a:gd name="T74" fmla="*/ 1060 w 2323"/>
                <a:gd name="T75" fmla="*/ 444 h 5047"/>
                <a:gd name="T76" fmla="*/ 552 w 2323"/>
                <a:gd name="T77" fmla="*/ 94 h 5047"/>
                <a:gd name="T78" fmla="*/ 229 w 2323"/>
                <a:gd name="T79" fmla="*/ 82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3" h="5047">
                  <a:moveTo>
                    <a:pt x="229" y="82"/>
                  </a:moveTo>
                  <a:lnTo>
                    <a:pt x="102" y="139"/>
                  </a:lnTo>
                  <a:lnTo>
                    <a:pt x="0" y="190"/>
                  </a:lnTo>
                  <a:lnTo>
                    <a:pt x="12" y="280"/>
                  </a:lnTo>
                  <a:lnTo>
                    <a:pt x="73" y="432"/>
                  </a:lnTo>
                  <a:lnTo>
                    <a:pt x="85" y="562"/>
                  </a:lnTo>
                  <a:lnTo>
                    <a:pt x="72" y="696"/>
                  </a:lnTo>
                  <a:lnTo>
                    <a:pt x="97" y="805"/>
                  </a:lnTo>
                  <a:lnTo>
                    <a:pt x="24" y="913"/>
                  </a:lnTo>
                  <a:lnTo>
                    <a:pt x="12" y="1113"/>
                  </a:lnTo>
                  <a:lnTo>
                    <a:pt x="85" y="1222"/>
                  </a:lnTo>
                  <a:lnTo>
                    <a:pt x="12" y="1440"/>
                  </a:lnTo>
                  <a:lnTo>
                    <a:pt x="93" y="1461"/>
                  </a:lnTo>
                  <a:lnTo>
                    <a:pt x="171" y="1533"/>
                  </a:lnTo>
                  <a:lnTo>
                    <a:pt x="145" y="1678"/>
                  </a:lnTo>
                  <a:lnTo>
                    <a:pt x="51" y="1785"/>
                  </a:lnTo>
                  <a:lnTo>
                    <a:pt x="48" y="1944"/>
                  </a:lnTo>
                  <a:lnTo>
                    <a:pt x="72" y="2058"/>
                  </a:lnTo>
                  <a:lnTo>
                    <a:pt x="84" y="2217"/>
                  </a:lnTo>
                  <a:lnTo>
                    <a:pt x="144" y="2313"/>
                  </a:lnTo>
                  <a:lnTo>
                    <a:pt x="135" y="2470"/>
                  </a:lnTo>
                  <a:lnTo>
                    <a:pt x="229" y="2529"/>
                  </a:lnTo>
                  <a:lnTo>
                    <a:pt x="289" y="2673"/>
                  </a:lnTo>
                  <a:lnTo>
                    <a:pt x="327" y="2811"/>
                  </a:lnTo>
                  <a:lnTo>
                    <a:pt x="394" y="2910"/>
                  </a:lnTo>
                  <a:lnTo>
                    <a:pt x="447" y="3034"/>
                  </a:lnTo>
                  <a:lnTo>
                    <a:pt x="372" y="3153"/>
                  </a:lnTo>
                  <a:lnTo>
                    <a:pt x="387" y="3237"/>
                  </a:lnTo>
                  <a:lnTo>
                    <a:pt x="327" y="3298"/>
                  </a:lnTo>
                  <a:lnTo>
                    <a:pt x="408" y="3406"/>
                  </a:lnTo>
                  <a:lnTo>
                    <a:pt x="397" y="3519"/>
                  </a:lnTo>
                  <a:lnTo>
                    <a:pt x="373" y="3657"/>
                  </a:lnTo>
                  <a:lnTo>
                    <a:pt x="373" y="3874"/>
                  </a:lnTo>
                  <a:lnTo>
                    <a:pt x="253" y="3909"/>
                  </a:lnTo>
                  <a:lnTo>
                    <a:pt x="253" y="4006"/>
                  </a:lnTo>
                  <a:lnTo>
                    <a:pt x="322" y="4030"/>
                  </a:lnTo>
                  <a:lnTo>
                    <a:pt x="291" y="4152"/>
                  </a:lnTo>
                  <a:lnTo>
                    <a:pt x="276" y="4248"/>
                  </a:lnTo>
                  <a:lnTo>
                    <a:pt x="145" y="4210"/>
                  </a:lnTo>
                  <a:lnTo>
                    <a:pt x="169" y="4476"/>
                  </a:lnTo>
                  <a:lnTo>
                    <a:pt x="73" y="4546"/>
                  </a:lnTo>
                  <a:lnTo>
                    <a:pt x="156" y="4644"/>
                  </a:lnTo>
                  <a:lnTo>
                    <a:pt x="61" y="4797"/>
                  </a:lnTo>
                  <a:lnTo>
                    <a:pt x="169" y="4783"/>
                  </a:lnTo>
                  <a:lnTo>
                    <a:pt x="202" y="4834"/>
                  </a:lnTo>
                  <a:lnTo>
                    <a:pt x="291" y="4908"/>
                  </a:lnTo>
                  <a:lnTo>
                    <a:pt x="271" y="5047"/>
                  </a:lnTo>
                  <a:lnTo>
                    <a:pt x="421" y="4932"/>
                  </a:lnTo>
                  <a:lnTo>
                    <a:pt x="526" y="4767"/>
                  </a:lnTo>
                  <a:lnTo>
                    <a:pt x="610" y="4659"/>
                  </a:lnTo>
                  <a:lnTo>
                    <a:pt x="685" y="4548"/>
                  </a:lnTo>
                  <a:lnTo>
                    <a:pt x="807" y="4545"/>
                  </a:lnTo>
                  <a:lnTo>
                    <a:pt x="898" y="4486"/>
                  </a:lnTo>
                  <a:lnTo>
                    <a:pt x="841" y="4438"/>
                  </a:lnTo>
                  <a:lnTo>
                    <a:pt x="984" y="4198"/>
                  </a:lnTo>
                  <a:lnTo>
                    <a:pt x="1129" y="4080"/>
                  </a:lnTo>
                  <a:lnTo>
                    <a:pt x="1068" y="3955"/>
                  </a:lnTo>
                  <a:lnTo>
                    <a:pt x="1123" y="3799"/>
                  </a:lnTo>
                  <a:lnTo>
                    <a:pt x="1213" y="3483"/>
                  </a:lnTo>
                  <a:lnTo>
                    <a:pt x="1225" y="3361"/>
                  </a:lnTo>
                  <a:lnTo>
                    <a:pt x="1309" y="3261"/>
                  </a:lnTo>
                  <a:lnTo>
                    <a:pt x="1428" y="3142"/>
                  </a:lnTo>
                  <a:lnTo>
                    <a:pt x="1824" y="3142"/>
                  </a:lnTo>
                  <a:lnTo>
                    <a:pt x="1837" y="2926"/>
                  </a:lnTo>
                  <a:lnTo>
                    <a:pt x="1783" y="2746"/>
                  </a:lnTo>
                  <a:lnTo>
                    <a:pt x="1837" y="2548"/>
                  </a:lnTo>
                  <a:lnTo>
                    <a:pt x="1927" y="2404"/>
                  </a:lnTo>
                  <a:lnTo>
                    <a:pt x="2071" y="2296"/>
                  </a:lnTo>
                  <a:lnTo>
                    <a:pt x="2161" y="2098"/>
                  </a:lnTo>
                  <a:lnTo>
                    <a:pt x="2323" y="1864"/>
                  </a:lnTo>
                  <a:lnTo>
                    <a:pt x="2061" y="1396"/>
                  </a:lnTo>
                  <a:lnTo>
                    <a:pt x="1836" y="1173"/>
                  </a:lnTo>
                  <a:lnTo>
                    <a:pt x="1614" y="970"/>
                  </a:lnTo>
                  <a:lnTo>
                    <a:pt x="1384" y="742"/>
                  </a:lnTo>
                  <a:lnTo>
                    <a:pt x="1260" y="627"/>
                  </a:lnTo>
                  <a:lnTo>
                    <a:pt x="1060" y="444"/>
                  </a:lnTo>
                  <a:lnTo>
                    <a:pt x="753" y="207"/>
                  </a:lnTo>
                  <a:lnTo>
                    <a:pt x="552" y="94"/>
                  </a:lnTo>
                  <a:lnTo>
                    <a:pt x="331" y="0"/>
                  </a:lnTo>
                  <a:lnTo>
                    <a:pt x="229" y="82"/>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6" name="Freeform 17">
              <a:extLst>
                <a:ext uri="{FF2B5EF4-FFF2-40B4-BE49-F238E27FC236}">
                  <a16:creationId xmlns:a16="http://schemas.microsoft.com/office/drawing/2014/main" id="{2101E7E1-7E72-4DA5-9ED3-0081EC9D0609}"/>
                </a:ext>
              </a:extLst>
            </p:cNvPr>
            <p:cNvSpPr>
              <a:spLocks/>
            </p:cNvSpPr>
            <p:nvPr/>
          </p:nvSpPr>
          <p:spPr bwMode="auto">
            <a:xfrm>
              <a:off x="4921183" y="2784244"/>
              <a:ext cx="154919" cy="85910"/>
            </a:xfrm>
            <a:custGeom>
              <a:avLst/>
              <a:gdLst>
                <a:gd name="T0" fmla="*/ 170 w 547"/>
                <a:gd name="T1" fmla="*/ 101 h 301"/>
                <a:gd name="T2" fmla="*/ 88 w 547"/>
                <a:gd name="T3" fmla="*/ 138 h 301"/>
                <a:gd name="T4" fmla="*/ 24 w 547"/>
                <a:gd name="T5" fmla="*/ 183 h 301"/>
                <a:gd name="T6" fmla="*/ 0 w 547"/>
                <a:gd name="T7" fmla="*/ 256 h 301"/>
                <a:gd name="T8" fmla="*/ 93 w 547"/>
                <a:gd name="T9" fmla="*/ 301 h 301"/>
                <a:gd name="T10" fmla="*/ 237 w 547"/>
                <a:gd name="T11" fmla="*/ 267 h 301"/>
                <a:gd name="T12" fmla="*/ 367 w 547"/>
                <a:gd name="T13" fmla="*/ 279 h 301"/>
                <a:gd name="T14" fmla="*/ 393 w 547"/>
                <a:gd name="T15" fmla="*/ 136 h 301"/>
                <a:gd name="T16" fmla="*/ 490 w 547"/>
                <a:gd name="T17" fmla="*/ 109 h 301"/>
                <a:gd name="T18" fmla="*/ 547 w 547"/>
                <a:gd name="T19" fmla="*/ 73 h 301"/>
                <a:gd name="T20" fmla="*/ 490 w 547"/>
                <a:gd name="T21" fmla="*/ 0 h 301"/>
                <a:gd name="T22" fmla="*/ 435 w 547"/>
                <a:gd name="T23" fmla="*/ 37 h 301"/>
                <a:gd name="T24" fmla="*/ 371 w 547"/>
                <a:gd name="T25" fmla="*/ 83 h 301"/>
                <a:gd name="T26" fmla="*/ 307 w 547"/>
                <a:gd name="T27" fmla="*/ 138 h 301"/>
                <a:gd name="T28" fmla="*/ 252 w 547"/>
                <a:gd name="T29" fmla="*/ 156 h 301"/>
                <a:gd name="T30" fmla="*/ 170 w 547"/>
                <a:gd name="T31" fmla="*/ 1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7" h="301">
                  <a:moveTo>
                    <a:pt x="170" y="101"/>
                  </a:moveTo>
                  <a:lnTo>
                    <a:pt x="88" y="138"/>
                  </a:lnTo>
                  <a:lnTo>
                    <a:pt x="24" y="183"/>
                  </a:lnTo>
                  <a:lnTo>
                    <a:pt x="0" y="256"/>
                  </a:lnTo>
                  <a:lnTo>
                    <a:pt x="93" y="301"/>
                  </a:lnTo>
                  <a:lnTo>
                    <a:pt x="237" y="267"/>
                  </a:lnTo>
                  <a:lnTo>
                    <a:pt x="367" y="279"/>
                  </a:lnTo>
                  <a:lnTo>
                    <a:pt x="393" y="136"/>
                  </a:lnTo>
                  <a:lnTo>
                    <a:pt x="490" y="109"/>
                  </a:lnTo>
                  <a:lnTo>
                    <a:pt x="547" y="73"/>
                  </a:lnTo>
                  <a:lnTo>
                    <a:pt x="490" y="0"/>
                  </a:lnTo>
                  <a:lnTo>
                    <a:pt x="435" y="37"/>
                  </a:lnTo>
                  <a:lnTo>
                    <a:pt x="371" y="83"/>
                  </a:lnTo>
                  <a:lnTo>
                    <a:pt x="307" y="138"/>
                  </a:lnTo>
                  <a:lnTo>
                    <a:pt x="252" y="156"/>
                  </a:lnTo>
                  <a:lnTo>
                    <a:pt x="170" y="101"/>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grpSp>
          <p:nvGrpSpPr>
            <p:cNvPr id="17" name="组合 64">
              <a:extLst>
                <a:ext uri="{FF2B5EF4-FFF2-40B4-BE49-F238E27FC236}">
                  <a16:creationId xmlns:a16="http://schemas.microsoft.com/office/drawing/2014/main" id="{8D9CDE71-9ED8-43FE-990B-2C5D033BFE16}"/>
                </a:ext>
              </a:extLst>
            </p:cNvPr>
            <p:cNvGrpSpPr/>
            <p:nvPr/>
          </p:nvGrpSpPr>
          <p:grpSpPr>
            <a:xfrm>
              <a:off x="73944" y="1790476"/>
              <a:ext cx="1871590" cy="790251"/>
              <a:chOff x="416520" y="4774171"/>
              <a:chExt cx="2109658" cy="890772"/>
            </a:xfrm>
          </p:grpSpPr>
          <p:sp>
            <p:nvSpPr>
              <p:cNvPr id="18" name="圆角矩形 111">
                <a:extLst>
                  <a:ext uri="{FF2B5EF4-FFF2-40B4-BE49-F238E27FC236}">
                    <a16:creationId xmlns:a16="http://schemas.microsoft.com/office/drawing/2014/main" id="{5E665367-1A08-451A-B772-E816A08577BB}"/>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9" name="圆角矩形 45">
                <a:extLst>
                  <a:ext uri="{FF2B5EF4-FFF2-40B4-BE49-F238E27FC236}">
                    <a16:creationId xmlns:a16="http://schemas.microsoft.com/office/drawing/2014/main" id="{B1677368-A0A9-47C2-8104-CC8A8281FA3A}"/>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Oromia</a:t>
                </a:r>
                <a:endParaRPr lang="en-US" altLang="zh-CN" sz="1050" b="1" kern="0" dirty="0"/>
              </a:p>
            </p:txBody>
          </p:sp>
          <p:sp>
            <p:nvSpPr>
              <p:cNvPr id="20" name="Text Box 16">
                <a:extLst>
                  <a:ext uri="{FF2B5EF4-FFF2-40B4-BE49-F238E27FC236}">
                    <a16:creationId xmlns:a16="http://schemas.microsoft.com/office/drawing/2014/main" id="{4B955912-4766-4979-8275-5D2B3118ABE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4</a:t>
                </a:r>
              </a:p>
            </p:txBody>
          </p:sp>
        </p:grpSp>
        <p:sp>
          <p:nvSpPr>
            <p:cNvPr id="21" name="Oval 25">
              <a:extLst>
                <a:ext uri="{FF2B5EF4-FFF2-40B4-BE49-F238E27FC236}">
                  <a16:creationId xmlns:a16="http://schemas.microsoft.com/office/drawing/2014/main" id="{C32D6F10-81A4-41BC-9212-25815DCA592D}"/>
                </a:ext>
              </a:extLst>
            </p:cNvPr>
            <p:cNvSpPr>
              <a:spLocks noChangeArrowheads="1"/>
            </p:cNvSpPr>
            <p:nvPr/>
          </p:nvSpPr>
          <p:spPr bwMode="gray">
            <a:xfrm>
              <a:off x="3727920" y="297025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2" name="肘形连接符 66">
              <a:extLst>
                <a:ext uri="{FF2B5EF4-FFF2-40B4-BE49-F238E27FC236}">
                  <a16:creationId xmlns:a16="http://schemas.microsoft.com/office/drawing/2014/main" id="{355DB5E8-13CB-477D-B1BF-7F8105A96E06}"/>
                </a:ext>
              </a:extLst>
            </p:cNvPr>
            <p:cNvCxnSpPr>
              <a:cxnSpLocks/>
              <a:stCxn id="21" idx="2"/>
              <a:endCxn id="18" idx="3"/>
            </p:cNvCxnSpPr>
            <p:nvPr/>
          </p:nvCxnSpPr>
          <p:spPr>
            <a:xfrm rot="10800000">
              <a:off x="1945534" y="2266776"/>
              <a:ext cx="1782386" cy="751748"/>
            </a:xfrm>
            <a:prstGeom prst="bentConnector3">
              <a:avLst>
                <a:gd name="adj1" fmla="val 69999"/>
              </a:avLst>
            </a:prstGeom>
            <a:noFill/>
            <a:ln w="9525">
              <a:solidFill>
                <a:srgbClr val="C00000"/>
              </a:solidFill>
              <a:prstDash val="sysDash"/>
              <a:miter lim="800000"/>
              <a:headEnd/>
              <a:tailEnd/>
            </a:ln>
          </p:spPr>
        </p:cxnSp>
        <p:grpSp>
          <p:nvGrpSpPr>
            <p:cNvPr id="23" name="组合 67">
              <a:extLst>
                <a:ext uri="{FF2B5EF4-FFF2-40B4-BE49-F238E27FC236}">
                  <a16:creationId xmlns:a16="http://schemas.microsoft.com/office/drawing/2014/main" id="{724F1D65-F89E-4F3C-B6E4-32E281865FAA}"/>
                </a:ext>
              </a:extLst>
            </p:cNvPr>
            <p:cNvGrpSpPr/>
            <p:nvPr/>
          </p:nvGrpSpPr>
          <p:grpSpPr>
            <a:xfrm>
              <a:off x="75498" y="33920"/>
              <a:ext cx="1871590" cy="790251"/>
              <a:chOff x="416520" y="4774171"/>
              <a:chExt cx="2109658" cy="890772"/>
            </a:xfrm>
          </p:grpSpPr>
          <p:sp>
            <p:nvSpPr>
              <p:cNvPr id="24" name="圆角矩形 108">
                <a:extLst>
                  <a:ext uri="{FF2B5EF4-FFF2-40B4-BE49-F238E27FC236}">
                    <a16:creationId xmlns:a16="http://schemas.microsoft.com/office/drawing/2014/main" id="{6FF76637-E745-4F82-B0B7-E94F47B645F7}"/>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25" name="圆角矩形 45">
                <a:extLst>
                  <a:ext uri="{FF2B5EF4-FFF2-40B4-BE49-F238E27FC236}">
                    <a16:creationId xmlns:a16="http://schemas.microsoft.com/office/drawing/2014/main" id="{4D73194C-5A8F-4D37-9268-1AAFC446004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Amhara</a:t>
                </a:r>
                <a:endParaRPr lang="en-US" altLang="zh-CN" sz="1050" b="1" kern="0" dirty="0"/>
              </a:p>
            </p:txBody>
          </p:sp>
          <p:sp>
            <p:nvSpPr>
              <p:cNvPr id="26" name="Text Box 16">
                <a:extLst>
                  <a:ext uri="{FF2B5EF4-FFF2-40B4-BE49-F238E27FC236}">
                    <a16:creationId xmlns:a16="http://schemas.microsoft.com/office/drawing/2014/main" id="{A891C8F9-C3A9-4458-B569-EC1333C52D01}"/>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37</a:t>
                </a:r>
              </a:p>
            </p:txBody>
          </p:sp>
        </p:grpSp>
        <p:sp>
          <p:nvSpPr>
            <p:cNvPr id="27" name="Oval 25">
              <a:extLst>
                <a:ext uri="{FF2B5EF4-FFF2-40B4-BE49-F238E27FC236}">
                  <a16:creationId xmlns:a16="http://schemas.microsoft.com/office/drawing/2014/main" id="{1EEF8CB0-238E-4B62-9CB5-151DDCBD984B}"/>
                </a:ext>
              </a:extLst>
            </p:cNvPr>
            <p:cNvSpPr>
              <a:spLocks noChangeArrowheads="1"/>
            </p:cNvSpPr>
            <p:nvPr/>
          </p:nvSpPr>
          <p:spPr bwMode="gray">
            <a:xfrm>
              <a:off x="4063949" y="230496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8" name="肘形连接符 69">
              <a:extLst>
                <a:ext uri="{FF2B5EF4-FFF2-40B4-BE49-F238E27FC236}">
                  <a16:creationId xmlns:a16="http://schemas.microsoft.com/office/drawing/2014/main" id="{1FB619FC-C6C0-4060-A3C7-0EF0D76463DD}"/>
                </a:ext>
              </a:extLst>
            </p:cNvPr>
            <p:cNvCxnSpPr>
              <a:cxnSpLocks/>
              <a:stCxn id="27" idx="2"/>
              <a:endCxn id="24" idx="3"/>
            </p:cNvCxnSpPr>
            <p:nvPr/>
          </p:nvCxnSpPr>
          <p:spPr>
            <a:xfrm rot="10800000">
              <a:off x="1947089" y="510221"/>
              <a:ext cx="2116861" cy="1843014"/>
            </a:xfrm>
            <a:prstGeom prst="bentConnector3">
              <a:avLst>
                <a:gd name="adj1" fmla="val 33527"/>
              </a:avLst>
            </a:prstGeom>
            <a:noFill/>
            <a:ln w="9525">
              <a:solidFill>
                <a:srgbClr val="C00000"/>
              </a:solidFill>
              <a:prstDash val="sysDash"/>
              <a:miter lim="800000"/>
              <a:headEnd/>
              <a:tailEnd/>
            </a:ln>
          </p:spPr>
        </p:cxnSp>
        <p:grpSp>
          <p:nvGrpSpPr>
            <p:cNvPr id="29" name="组合 70">
              <a:extLst>
                <a:ext uri="{FF2B5EF4-FFF2-40B4-BE49-F238E27FC236}">
                  <a16:creationId xmlns:a16="http://schemas.microsoft.com/office/drawing/2014/main" id="{938A93DD-6989-4B28-92C1-3685E1C0601E}"/>
                </a:ext>
              </a:extLst>
            </p:cNvPr>
            <p:cNvGrpSpPr/>
            <p:nvPr/>
          </p:nvGrpSpPr>
          <p:grpSpPr>
            <a:xfrm>
              <a:off x="7145440" y="3821093"/>
              <a:ext cx="1871590" cy="865124"/>
              <a:chOff x="416520" y="4774171"/>
              <a:chExt cx="2109658" cy="975169"/>
            </a:xfrm>
          </p:grpSpPr>
          <p:sp>
            <p:nvSpPr>
              <p:cNvPr id="30" name="圆角矩形 103">
                <a:extLst>
                  <a:ext uri="{FF2B5EF4-FFF2-40B4-BE49-F238E27FC236}">
                    <a16:creationId xmlns:a16="http://schemas.microsoft.com/office/drawing/2014/main" id="{B9D541A9-098D-4F75-B40C-171EFB245E53}"/>
                  </a:ext>
                </a:extLst>
              </p:cNvPr>
              <p:cNvSpPr/>
              <p:nvPr/>
            </p:nvSpPr>
            <p:spPr>
              <a:xfrm>
                <a:off x="416520" y="4964089"/>
                <a:ext cx="2109658" cy="78525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1" name="圆角矩形 45">
                <a:extLst>
                  <a:ext uri="{FF2B5EF4-FFF2-40B4-BE49-F238E27FC236}">
                    <a16:creationId xmlns:a16="http://schemas.microsoft.com/office/drawing/2014/main" id="{7CFAA479-ECD6-470B-A2E8-BD7CCC698FBE}"/>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omali</a:t>
                </a:r>
              </a:p>
            </p:txBody>
          </p:sp>
          <p:sp>
            <p:nvSpPr>
              <p:cNvPr id="32" name="Text Box 16">
                <a:extLst>
                  <a:ext uri="{FF2B5EF4-FFF2-40B4-BE49-F238E27FC236}">
                    <a16:creationId xmlns:a16="http://schemas.microsoft.com/office/drawing/2014/main" id="{F322A253-FF51-4587-A795-37FC25BDE30C}"/>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6</a:t>
                </a:r>
              </a:p>
            </p:txBody>
          </p:sp>
        </p:grpSp>
        <p:sp>
          <p:nvSpPr>
            <p:cNvPr id="33" name="Oval 25">
              <a:extLst>
                <a:ext uri="{FF2B5EF4-FFF2-40B4-BE49-F238E27FC236}">
                  <a16:creationId xmlns:a16="http://schemas.microsoft.com/office/drawing/2014/main" id="{75323E5C-5055-492D-B326-05BCB04B538F}"/>
                </a:ext>
              </a:extLst>
            </p:cNvPr>
            <p:cNvSpPr>
              <a:spLocks noChangeArrowheads="1"/>
            </p:cNvSpPr>
            <p:nvPr/>
          </p:nvSpPr>
          <p:spPr bwMode="gray">
            <a:xfrm>
              <a:off x="5606145" y="3365781"/>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34" name="肘形连接符 72">
              <a:extLst>
                <a:ext uri="{FF2B5EF4-FFF2-40B4-BE49-F238E27FC236}">
                  <a16:creationId xmlns:a16="http://schemas.microsoft.com/office/drawing/2014/main" id="{FB45BB5F-12D5-412C-9543-6173A9441769}"/>
                </a:ext>
              </a:extLst>
            </p:cNvPr>
            <p:cNvCxnSpPr>
              <a:cxnSpLocks/>
              <a:stCxn id="33" idx="6"/>
              <a:endCxn id="30" idx="1"/>
            </p:cNvCxnSpPr>
            <p:nvPr/>
          </p:nvCxnSpPr>
          <p:spPr>
            <a:xfrm>
              <a:off x="5702686" y="3414052"/>
              <a:ext cx="1442754" cy="923847"/>
            </a:xfrm>
            <a:prstGeom prst="bentConnector3">
              <a:avLst>
                <a:gd name="adj1" fmla="val 50000"/>
              </a:avLst>
            </a:prstGeom>
            <a:noFill/>
            <a:ln w="9525">
              <a:solidFill>
                <a:srgbClr val="C00000"/>
              </a:solidFill>
              <a:prstDash val="sysDash"/>
              <a:miter lim="800000"/>
              <a:headEnd/>
              <a:tailEnd/>
            </a:ln>
          </p:spPr>
        </p:cxnSp>
        <p:grpSp>
          <p:nvGrpSpPr>
            <p:cNvPr id="35" name="组合 82">
              <a:extLst>
                <a:ext uri="{FF2B5EF4-FFF2-40B4-BE49-F238E27FC236}">
                  <a16:creationId xmlns:a16="http://schemas.microsoft.com/office/drawing/2014/main" id="{2B9DBF8E-98F3-4AAF-AE6D-4CABAE4FB6E0}"/>
                </a:ext>
              </a:extLst>
            </p:cNvPr>
            <p:cNvGrpSpPr/>
            <p:nvPr/>
          </p:nvGrpSpPr>
          <p:grpSpPr>
            <a:xfrm>
              <a:off x="75498" y="3582943"/>
              <a:ext cx="1871590" cy="790251"/>
              <a:chOff x="416520" y="4774171"/>
              <a:chExt cx="2109658" cy="890772"/>
            </a:xfrm>
          </p:grpSpPr>
          <p:sp>
            <p:nvSpPr>
              <p:cNvPr id="36" name="圆角矩形 97">
                <a:extLst>
                  <a:ext uri="{FF2B5EF4-FFF2-40B4-BE49-F238E27FC236}">
                    <a16:creationId xmlns:a16="http://schemas.microsoft.com/office/drawing/2014/main" id="{234A2F52-783F-4160-93B4-CDE4CD679102}"/>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7" name="圆角矩形 45">
                <a:extLst>
                  <a:ext uri="{FF2B5EF4-FFF2-40B4-BE49-F238E27FC236}">
                    <a16:creationId xmlns:a16="http://schemas.microsoft.com/office/drawing/2014/main" id="{D4BC0CC7-5189-44F0-9815-C6290369331E}"/>
                  </a:ext>
                </a:extLst>
              </p:cNvPr>
              <p:cNvSpPr/>
              <p:nvPr/>
            </p:nvSpPr>
            <p:spPr>
              <a:xfrm>
                <a:off x="528442" y="4774171"/>
                <a:ext cx="1885814" cy="536888"/>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NNPR</a:t>
                </a:r>
              </a:p>
            </p:txBody>
          </p:sp>
          <p:sp>
            <p:nvSpPr>
              <p:cNvPr id="38" name="Text Box 16">
                <a:extLst>
                  <a:ext uri="{FF2B5EF4-FFF2-40B4-BE49-F238E27FC236}">
                    <a16:creationId xmlns:a16="http://schemas.microsoft.com/office/drawing/2014/main" id="{6E9A6A41-1075-48B6-8869-A1A4A98035A4}"/>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5</a:t>
                </a:r>
              </a:p>
            </p:txBody>
          </p:sp>
        </p:grpSp>
        <p:sp>
          <p:nvSpPr>
            <p:cNvPr id="39" name="Oval 25">
              <a:extLst>
                <a:ext uri="{FF2B5EF4-FFF2-40B4-BE49-F238E27FC236}">
                  <a16:creationId xmlns:a16="http://schemas.microsoft.com/office/drawing/2014/main" id="{7C6F0CAF-6F92-483B-AF87-4CB18571CE66}"/>
                </a:ext>
              </a:extLst>
            </p:cNvPr>
            <p:cNvSpPr>
              <a:spLocks noChangeArrowheads="1"/>
            </p:cNvSpPr>
            <p:nvPr/>
          </p:nvSpPr>
          <p:spPr bwMode="gray">
            <a:xfrm>
              <a:off x="4138838" y="297602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40" name="肘形连接符 96">
              <a:extLst>
                <a:ext uri="{FF2B5EF4-FFF2-40B4-BE49-F238E27FC236}">
                  <a16:creationId xmlns:a16="http://schemas.microsoft.com/office/drawing/2014/main" id="{C98FD2D6-4C85-46F0-9545-E44C0594418E}"/>
                </a:ext>
              </a:extLst>
            </p:cNvPr>
            <p:cNvCxnSpPr>
              <a:cxnSpLocks/>
              <a:stCxn id="39" idx="6"/>
              <a:endCxn id="71" idx="1"/>
            </p:cNvCxnSpPr>
            <p:nvPr/>
          </p:nvCxnSpPr>
          <p:spPr>
            <a:xfrm>
              <a:off x="4235379" y="3024300"/>
              <a:ext cx="303203" cy="1700079"/>
            </a:xfrm>
            <a:prstGeom prst="bentConnector3">
              <a:avLst>
                <a:gd name="adj1" fmla="val 50000"/>
              </a:avLst>
            </a:prstGeom>
            <a:noFill/>
            <a:ln w="9525">
              <a:solidFill>
                <a:srgbClr val="C00000"/>
              </a:solidFill>
              <a:prstDash val="sysDash"/>
              <a:miter lim="800000"/>
              <a:headEnd/>
              <a:tailEnd/>
            </a:ln>
          </p:spPr>
        </p:cxnSp>
        <p:grpSp>
          <p:nvGrpSpPr>
            <p:cNvPr id="41" name="组合 70">
              <a:extLst>
                <a:ext uri="{FF2B5EF4-FFF2-40B4-BE49-F238E27FC236}">
                  <a16:creationId xmlns:a16="http://schemas.microsoft.com/office/drawing/2014/main" id="{4D3D895E-7491-48D6-8994-4271093A8454}"/>
                </a:ext>
              </a:extLst>
            </p:cNvPr>
            <p:cNvGrpSpPr/>
            <p:nvPr/>
          </p:nvGrpSpPr>
          <p:grpSpPr>
            <a:xfrm>
              <a:off x="7141017" y="1747949"/>
              <a:ext cx="1871590" cy="865124"/>
              <a:chOff x="416520" y="4774171"/>
              <a:chExt cx="2109658" cy="975169"/>
            </a:xfrm>
          </p:grpSpPr>
          <p:sp>
            <p:nvSpPr>
              <p:cNvPr id="42" name="圆角矩形 103">
                <a:extLst>
                  <a:ext uri="{FF2B5EF4-FFF2-40B4-BE49-F238E27FC236}">
                    <a16:creationId xmlns:a16="http://schemas.microsoft.com/office/drawing/2014/main" id="{5EE43F11-9F99-4A74-8979-B22B8150CD8C}"/>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43" name="圆角矩形 45">
                <a:extLst>
                  <a:ext uri="{FF2B5EF4-FFF2-40B4-BE49-F238E27FC236}">
                    <a16:creationId xmlns:a16="http://schemas.microsoft.com/office/drawing/2014/main" id="{EB56C34B-CE67-49B7-8237-A35262C14948}"/>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Dire </a:t>
                </a:r>
                <a:r>
                  <a:rPr lang="en-US" altLang="zh-CN" sz="1050" b="1" kern="0" dirty="0" err="1"/>
                  <a:t>Dawa</a:t>
                </a:r>
                <a:endParaRPr lang="en-US" altLang="zh-CN" sz="1050" b="1" kern="0" dirty="0"/>
              </a:p>
            </p:txBody>
          </p:sp>
          <p:sp>
            <p:nvSpPr>
              <p:cNvPr id="44" name="Text Box 16">
                <a:extLst>
                  <a:ext uri="{FF2B5EF4-FFF2-40B4-BE49-F238E27FC236}">
                    <a16:creationId xmlns:a16="http://schemas.microsoft.com/office/drawing/2014/main" id="{084C8F93-E005-43E3-BB08-E7C50990B26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a:t>
                </a:r>
              </a:p>
            </p:txBody>
          </p:sp>
        </p:grpSp>
        <p:grpSp>
          <p:nvGrpSpPr>
            <p:cNvPr id="50" name="组合 64">
              <a:extLst>
                <a:ext uri="{FF2B5EF4-FFF2-40B4-BE49-F238E27FC236}">
                  <a16:creationId xmlns:a16="http://schemas.microsoft.com/office/drawing/2014/main" id="{30EAE193-56AF-462A-8CCF-6DFC7FB909B6}"/>
                </a:ext>
              </a:extLst>
            </p:cNvPr>
            <p:cNvGrpSpPr/>
            <p:nvPr/>
          </p:nvGrpSpPr>
          <p:grpSpPr>
            <a:xfrm>
              <a:off x="67968" y="2698050"/>
              <a:ext cx="1871590" cy="790251"/>
              <a:chOff x="416520" y="4774171"/>
              <a:chExt cx="2109658" cy="890772"/>
            </a:xfrm>
          </p:grpSpPr>
          <p:sp>
            <p:nvSpPr>
              <p:cNvPr id="51" name="圆角矩形 111">
                <a:extLst>
                  <a:ext uri="{FF2B5EF4-FFF2-40B4-BE49-F238E27FC236}">
                    <a16:creationId xmlns:a16="http://schemas.microsoft.com/office/drawing/2014/main" id="{AE0E8456-5495-42E5-A73F-87624A45681C}"/>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2" name="圆角矩形 45">
                <a:extLst>
                  <a:ext uri="{FF2B5EF4-FFF2-40B4-BE49-F238E27FC236}">
                    <a16:creationId xmlns:a16="http://schemas.microsoft.com/office/drawing/2014/main" id="{05E25267-7FDA-4CF9-BA84-305BF31792E4}"/>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Gambella</a:t>
                </a:r>
                <a:endParaRPr lang="en-US" altLang="zh-CN" sz="1050" b="1" kern="0" dirty="0"/>
              </a:p>
            </p:txBody>
          </p:sp>
          <p:sp>
            <p:nvSpPr>
              <p:cNvPr id="53" name="Text Box 16">
                <a:extLst>
                  <a:ext uri="{FF2B5EF4-FFF2-40B4-BE49-F238E27FC236}">
                    <a16:creationId xmlns:a16="http://schemas.microsoft.com/office/drawing/2014/main" id="{342572EC-14F0-4DB1-BFB4-95C228B02A2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a:t>
                </a:r>
              </a:p>
            </p:txBody>
          </p:sp>
        </p:grpSp>
        <p:grpSp>
          <p:nvGrpSpPr>
            <p:cNvPr id="54" name="组合 67">
              <a:extLst>
                <a:ext uri="{FF2B5EF4-FFF2-40B4-BE49-F238E27FC236}">
                  <a16:creationId xmlns:a16="http://schemas.microsoft.com/office/drawing/2014/main" id="{6E5B4320-4D97-4B9E-B5FA-B6D0A9D0106E}"/>
                </a:ext>
              </a:extLst>
            </p:cNvPr>
            <p:cNvGrpSpPr/>
            <p:nvPr/>
          </p:nvGrpSpPr>
          <p:grpSpPr>
            <a:xfrm>
              <a:off x="75498" y="893742"/>
              <a:ext cx="1871590" cy="790251"/>
              <a:chOff x="416520" y="4774171"/>
              <a:chExt cx="2109658" cy="890772"/>
            </a:xfrm>
          </p:grpSpPr>
          <p:sp>
            <p:nvSpPr>
              <p:cNvPr id="55" name="圆角矩形 108">
                <a:extLst>
                  <a:ext uri="{FF2B5EF4-FFF2-40B4-BE49-F238E27FC236}">
                    <a16:creationId xmlns:a16="http://schemas.microsoft.com/office/drawing/2014/main" id="{98764514-5B68-4668-86C8-4D9597BDC9E5}"/>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6" name="圆角矩形 45">
                <a:extLst>
                  <a:ext uri="{FF2B5EF4-FFF2-40B4-BE49-F238E27FC236}">
                    <a16:creationId xmlns:a16="http://schemas.microsoft.com/office/drawing/2014/main" id="{32A417A9-B914-463B-A5F7-EEF561C48D79}"/>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a:r>
                  <a:rPr lang="en-US" altLang="zh-CN" sz="1050" b="1" kern="0" dirty="0" err="1"/>
                  <a:t>Benishangu</a:t>
                </a:r>
                <a:endParaRPr lang="en-US" altLang="zh-CN" sz="1050" b="1" kern="0" dirty="0"/>
              </a:p>
            </p:txBody>
          </p:sp>
          <p:sp>
            <p:nvSpPr>
              <p:cNvPr id="57" name="Text Box 16">
                <a:extLst>
                  <a:ext uri="{FF2B5EF4-FFF2-40B4-BE49-F238E27FC236}">
                    <a16:creationId xmlns:a16="http://schemas.microsoft.com/office/drawing/2014/main" id="{7985AD28-3535-497A-8C16-20C20A7AD2C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a:t>
                </a:r>
              </a:p>
            </p:txBody>
          </p:sp>
        </p:grpSp>
        <p:cxnSp>
          <p:nvCxnSpPr>
            <p:cNvPr id="58" name="肘形连接符 69">
              <a:extLst>
                <a:ext uri="{FF2B5EF4-FFF2-40B4-BE49-F238E27FC236}">
                  <a16:creationId xmlns:a16="http://schemas.microsoft.com/office/drawing/2014/main" id="{88825988-ACC8-4991-8349-89F7708F0544}"/>
                </a:ext>
              </a:extLst>
            </p:cNvPr>
            <p:cNvCxnSpPr>
              <a:cxnSpLocks/>
              <a:stCxn id="62" idx="2"/>
              <a:endCxn id="55" idx="3"/>
            </p:cNvCxnSpPr>
            <p:nvPr/>
          </p:nvCxnSpPr>
          <p:spPr>
            <a:xfrm rot="10800000">
              <a:off x="1947088" y="1370044"/>
              <a:ext cx="1410756" cy="1145591"/>
            </a:xfrm>
            <a:prstGeom prst="bentConnector3">
              <a:avLst>
                <a:gd name="adj1" fmla="val 35169"/>
              </a:avLst>
            </a:prstGeom>
            <a:noFill/>
            <a:ln w="9525">
              <a:solidFill>
                <a:srgbClr val="C00000"/>
              </a:solidFill>
              <a:prstDash val="sysDash"/>
              <a:miter lim="800000"/>
              <a:headEnd/>
              <a:tailEnd/>
            </a:ln>
          </p:spPr>
        </p:cxnSp>
        <p:sp>
          <p:nvSpPr>
            <p:cNvPr id="62" name="Oval 25">
              <a:extLst>
                <a:ext uri="{FF2B5EF4-FFF2-40B4-BE49-F238E27FC236}">
                  <a16:creationId xmlns:a16="http://schemas.microsoft.com/office/drawing/2014/main" id="{C9E1F3BA-5535-4734-A4DA-9EC7D7F665FE}"/>
                </a:ext>
              </a:extLst>
            </p:cNvPr>
            <p:cNvSpPr>
              <a:spLocks noChangeArrowheads="1"/>
            </p:cNvSpPr>
            <p:nvPr/>
          </p:nvSpPr>
          <p:spPr bwMode="gray">
            <a:xfrm>
              <a:off x="3357844" y="24673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64" name="肘形连接符 69">
              <a:extLst>
                <a:ext uri="{FF2B5EF4-FFF2-40B4-BE49-F238E27FC236}">
                  <a16:creationId xmlns:a16="http://schemas.microsoft.com/office/drawing/2014/main" id="{5F881C9B-6FD7-4D13-939C-7381F613CA59}"/>
                </a:ext>
              </a:extLst>
            </p:cNvPr>
            <p:cNvCxnSpPr>
              <a:cxnSpLocks/>
              <a:stCxn id="65" idx="2"/>
              <a:endCxn id="51" idx="3"/>
            </p:cNvCxnSpPr>
            <p:nvPr/>
          </p:nvCxnSpPr>
          <p:spPr>
            <a:xfrm rot="10800000">
              <a:off x="1939558" y="3174350"/>
              <a:ext cx="1086134" cy="155630"/>
            </a:xfrm>
            <a:prstGeom prst="bentConnector3">
              <a:avLst>
                <a:gd name="adj1" fmla="val 50000"/>
              </a:avLst>
            </a:prstGeom>
            <a:noFill/>
            <a:ln w="9525">
              <a:solidFill>
                <a:srgbClr val="C00000"/>
              </a:solidFill>
              <a:prstDash val="sysDash"/>
              <a:miter lim="800000"/>
              <a:headEnd/>
              <a:tailEnd/>
            </a:ln>
          </p:spPr>
        </p:cxnSp>
        <p:sp>
          <p:nvSpPr>
            <p:cNvPr id="65" name="Oval 25">
              <a:extLst>
                <a:ext uri="{FF2B5EF4-FFF2-40B4-BE49-F238E27FC236}">
                  <a16:creationId xmlns:a16="http://schemas.microsoft.com/office/drawing/2014/main" id="{65B295EA-49F4-4C44-8071-5438CBC7096F}"/>
                </a:ext>
              </a:extLst>
            </p:cNvPr>
            <p:cNvSpPr>
              <a:spLocks noChangeArrowheads="1"/>
            </p:cNvSpPr>
            <p:nvPr/>
          </p:nvSpPr>
          <p:spPr bwMode="gray">
            <a:xfrm>
              <a:off x="3025692" y="328170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grpSp>
          <p:nvGrpSpPr>
            <p:cNvPr id="70" name="组合 64">
              <a:extLst>
                <a:ext uri="{FF2B5EF4-FFF2-40B4-BE49-F238E27FC236}">
                  <a16:creationId xmlns:a16="http://schemas.microsoft.com/office/drawing/2014/main" id="{7AAE5CD7-74BF-48C2-BC1F-1EFAF4E64F85}"/>
                </a:ext>
              </a:extLst>
            </p:cNvPr>
            <p:cNvGrpSpPr/>
            <p:nvPr/>
          </p:nvGrpSpPr>
          <p:grpSpPr>
            <a:xfrm>
              <a:off x="4538582" y="4248080"/>
              <a:ext cx="1871590" cy="1016860"/>
              <a:chOff x="416520" y="4774171"/>
              <a:chExt cx="2109658" cy="1146206"/>
            </a:xfrm>
          </p:grpSpPr>
          <p:sp>
            <p:nvSpPr>
              <p:cNvPr id="71" name="圆角矩形 111">
                <a:extLst>
                  <a:ext uri="{FF2B5EF4-FFF2-40B4-BE49-F238E27FC236}">
                    <a16:creationId xmlns:a16="http://schemas.microsoft.com/office/drawing/2014/main" id="{1F4174F9-786F-4A50-8E2F-6EA8D21B048D}"/>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72" name="圆角矩形 45">
                <a:extLst>
                  <a:ext uri="{FF2B5EF4-FFF2-40B4-BE49-F238E27FC236}">
                    <a16:creationId xmlns:a16="http://schemas.microsoft.com/office/drawing/2014/main" id="{CE30310A-DF3F-4809-B212-ABFDB74F27E8}"/>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ddis </a:t>
                </a:r>
                <a:r>
                  <a:rPr lang="en-US" altLang="zh-CN" sz="1050" b="1" kern="0" dirty="0" err="1"/>
                  <a:t>Addiba</a:t>
                </a:r>
                <a:endParaRPr lang="en-US" altLang="zh-CN" sz="1050" b="1" kern="0" dirty="0"/>
              </a:p>
            </p:txBody>
          </p:sp>
          <p:sp>
            <p:nvSpPr>
              <p:cNvPr id="73" name="Text Box 16">
                <a:extLst>
                  <a:ext uri="{FF2B5EF4-FFF2-40B4-BE49-F238E27FC236}">
                    <a16:creationId xmlns:a16="http://schemas.microsoft.com/office/drawing/2014/main" id="{B1C3C83E-21F1-4F0F-935D-DD830F78ABCE}"/>
                  </a:ext>
                </a:extLst>
              </p:cNvPr>
              <p:cNvSpPr txBox="1">
                <a:spLocks noChangeArrowheads="1"/>
              </p:cNvSpPr>
              <p:nvPr/>
            </p:nvSpPr>
            <p:spPr bwMode="auto">
              <a:xfrm>
                <a:off x="481277" y="5301818"/>
                <a:ext cx="1978394" cy="61855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0</a:t>
                </a:r>
              </a:p>
              <a:p>
                <a:pPr marL="117475" indent="-117475">
                  <a:lnSpc>
                    <a:spcPct val="114000"/>
                  </a:lnSpc>
                  <a:buClr>
                    <a:schemeClr val="bg1">
                      <a:lumMod val="50000"/>
                    </a:schemeClr>
                  </a:buClr>
                  <a:buSzPct val="50000"/>
                  <a:buFont typeface="Wingdings" pitchFamily="2" charset="2"/>
                  <a:buChar char="l"/>
                </a:pPr>
                <a:endParaRPr lang="en-US" altLang="zh-CN" sz="1050" dirty="0">
                  <a:latin typeface="Calibri" pitchFamily="34" charset="0"/>
                  <a:cs typeface="Calibri" pitchFamily="34" charset="0"/>
                </a:endParaRPr>
              </a:p>
            </p:txBody>
          </p:sp>
        </p:grpSp>
        <p:sp>
          <p:nvSpPr>
            <p:cNvPr id="76" name="Oval 25">
              <a:extLst>
                <a:ext uri="{FF2B5EF4-FFF2-40B4-BE49-F238E27FC236}">
                  <a16:creationId xmlns:a16="http://schemas.microsoft.com/office/drawing/2014/main" id="{BFCCB5BA-6392-496A-91F0-5C152B2CE5A9}"/>
                </a:ext>
              </a:extLst>
            </p:cNvPr>
            <p:cNvSpPr>
              <a:spLocks noChangeArrowheads="1"/>
            </p:cNvSpPr>
            <p:nvPr/>
          </p:nvSpPr>
          <p:spPr bwMode="gray">
            <a:xfrm>
              <a:off x="3542017" y="363233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77" name="肘形连接符 96">
              <a:extLst>
                <a:ext uri="{FF2B5EF4-FFF2-40B4-BE49-F238E27FC236}">
                  <a16:creationId xmlns:a16="http://schemas.microsoft.com/office/drawing/2014/main" id="{D06EE75B-4DD9-44C4-ABC9-4E22A0FDB5A5}"/>
                </a:ext>
              </a:extLst>
            </p:cNvPr>
            <p:cNvCxnSpPr>
              <a:cxnSpLocks/>
              <a:stCxn id="76" idx="4"/>
              <a:endCxn id="36" idx="3"/>
            </p:cNvCxnSpPr>
            <p:nvPr/>
          </p:nvCxnSpPr>
          <p:spPr>
            <a:xfrm rot="5400000">
              <a:off x="2603503" y="3072459"/>
              <a:ext cx="330370" cy="1643200"/>
            </a:xfrm>
            <a:prstGeom prst="bentConnector2">
              <a:avLst/>
            </a:prstGeom>
            <a:noFill/>
            <a:ln w="9525">
              <a:solidFill>
                <a:srgbClr val="C00000"/>
              </a:solidFill>
              <a:prstDash val="sysDash"/>
              <a:miter lim="800000"/>
              <a:headEnd/>
              <a:tailEnd/>
            </a:ln>
          </p:spPr>
        </p:cxnSp>
        <p:grpSp>
          <p:nvGrpSpPr>
            <p:cNvPr id="81" name="组合 64">
              <a:extLst>
                <a:ext uri="{FF2B5EF4-FFF2-40B4-BE49-F238E27FC236}">
                  <a16:creationId xmlns:a16="http://schemas.microsoft.com/office/drawing/2014/main" id="{6A036EA2-C096-476F-9783-983486308285}"/>
                </a:ext>
              </a:extLst>
            </p:cNvPr>
            <p:cNvGrpSpPr/>
            <p:nvPr/>
          </p:nvGrpSpPr>
          <p:grpSpPr>
            <a:xfrm>
              <a:off x="3626905" y="32224"/>
              <a:ext cx="1871590" cy="790251"/>
              <a:chOff x="416520" y="4774171"/>
              <a:chExt cx="2109658" cy="890772"/>
            </a:xfrm>
          </p:grpSpPr>
          <p:sp>
            <p:nvSpPr>
              <p:cNvPr id="82" name="圆角矩形 111">
                <a:extLst>
                  <a:ext uri="{FF2B5EF4-FFF2-40B4-BE49-F238E27FC236}">
                    <a16:creationId xmlns:a16="http://schemas.microsoft.com/office/drawing/2014/main" id="{1CD3CF8F-D4D5-43C1-8237-91BA11C77FEF}"/>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83" name="圆角矩形 45">
                <a:extLst>
                  <a:ext uri="{FF2B5EF4-FFF2-40B4-BE49-F238E27FC236}">
                    <a16:creationId xmlns:a16="http://schemas.microsoft.com/office/drawing/2014/main" id="{79010BF9-A98E-4CC0-ABA2-AB72BFFB0725}"/>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Tigray</a:t>
                </a:r>
              </a:p>
            </p:txBody>
          </p:sp>
          <p:sp>
            <p:nvSpPr>
              <p:cNvPr id="84" name="Text Box 16">
                <a:extLst>
                  <a:ext uri="{FF2B5EF4-FFF2-40B4-BE49-F238E27FC236}">
                    <a16:creationId xmlns:a16="http://schemas.microsoft.com/office/drawing/2014/main" id="{25538059-5F82-4D24-B589-CE0C0C75BC23}"/>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7</a:t>
                </a:r>
              </a:p>
            </p:txBody>
          </p:sp>
        </p:grpSp>
        <p:sp>
          <p:nvSpPr>
            <p:cNvPr id="86" name="Oval 25">
              <a:extLst>
                <a:ext uri="{FF2B5EF4-FFF2-40B4-BE49-F238E27FC236}">
                  <a16:creationId xmlns:a16="http://schemas.microsoft.com/office/drawing/2014/main" id="{758276CD-4187-49F8-BB54-873A50CD169A}"/>
                </a:ext>
              </a:extLst>
            </p:cNvPr>
            <p:cNvSpPr>
              <a:spLocks noChangeArrowheads="1"/>
            </p:cNvSpPr>
            <p:nvPr/>
          </p:nvSpPr>
          <p:spPr bwMode="gray">
            <a:xfrm>
              <a:off x="3971983" y="169127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87" name="肘形连接符 69">
              <a:extLst>
                <a:ext uri="{FF2B5EF4-FFF2-40B4-BE49-F238E27FC236}">
                  <a16:creationId xmlns:a16="http://schemas.microsoft.com/office/drawing/2014/main" id="{6FFFA2DD-BE46-489F-81DF-CD6E07B4839A}"/>
                </a:ext>
              </a:extLst>
            </p:cNvPr>
            <p:cNvCxnSpPr>
              <a:cxnSpLocks/>
              <a:stCxn id="86" idx="6"/>
              <a:endCxn id="84" idx="2"/>
            </p:cNvCxnSpPr>
            <p:nvPr/>
          </p:nvCxnSpPr>
          <p:spPr>
            <a:xfrm flipV="1">
              <a:off x="4068524" y="822475"/>
              <a:ext cx="493400" cy="917069"/>
            </a:xfrm>
            <a:prstGeom prst="bentConnector2">
              <a:avLst/>
            </a:prstGeom>
            <a:noFill/>
            <a:ln w="9525">
              <a:solidFill>
                <a:srgbClr val="C00000"/>
              </a:solidFill>
              <a:prstDash val="sysDash"/>
              <a:miter lim="800000"/>
              <a:headEnd/>
              <a:tailEnd/>
            </a:ln>
          </p:spPr>
        </p:cxnSp>
        <p:grpSp>
          <p:nvGrpSpPr>
            <p:cNvPr id="90" name="组合 64">
              <a:extLst>
                <a:ext uri="{FF2B5EF4-FFF2-40B4-BE49-F238E27FC236}">
                  <a16:creationId xmlns:a16="http://schemas.microsoft.com/office/drawing/2014/main" id="{036F07BE-20D8-4A55-BE68-2F3D5E331899}"/>
                </a:ext>
              </a:extLst>
            </p:cNvPr>
            <p:cNvGrpSpPr/>
            <p:nvPr/>
          </p:nvGrpSpPr>
          <p:grpSpPr>
            <a:xfrm>
              <a:off x="5623609" y="37096"/>
              <a:ext cx="1871590" cy="790251"/>
              <a:chOff x="416520" y="4774171"/>
              <a:chExt cx="2109658" cy="890772"/>
            </a:xfrm>
          </p:grpSpPr>
          <p:sp>
            <p:nvSpPr>
              <p:cNvPr id="91" name="圆角矩形 111">
                <a:extLst>
                  <a:ext uri="{FF2B5EF4-FFF2-40B4-BE49-F238E27FC236}">
                    <a16:creationId xmlns:a16="http://schemas.microsoft.com/office/drawing/2014/main" id="{FA4A57B1-9C83-4FB5-9CC6-8C92BDCE1318}"/>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92" name="圆角矩形 45">
                <a:extLst>
                  <a:ext uri="{FF2B5EF4-FFF2-40B4-BE49-F238E27FC236}">
                    <a16:creationId xmlns:a16="http://schemas.microsoft.com/office/drawing/2014/main" id="{3544F7C3-1725-472C-A916-C6D97A77FBF9}"/>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far</a:t>
                </a:r>
              </a:p>
            </p:txBody>
          </p:sp>
          <p:sp>
            <p:nvSpPr>
              <p:cNvPr id="93" name="Text Box 16">
                <a:extLst>
                  <a:ext uri="{FF2B5EF4-FFF2-40B4-BE49-F238E27FC236}">
                    <a16:creationId xmlns:a16="http://schemas.microsoft.com/office/drawing/2014/main" id="{61A779D1-8C11-443F-849F-65D265531182}"/>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2</a:t>
                </a:r>
              </a:p>
            </p:txBody>
          </p:sp>
        </p:grpSp>
        <p:sp>
          <p:nvSpPr>
            <p:cNvPr id="94" name="Oval 25">
              <a:extLst>
                <a:ext uri="{FF2B5EF4-FFF2-40B4-BE49-F238E27FC236}">
                  <a16:creationId xmlns:a16="http://schemas.microsoft.com/office/drawing/2014/main" id="{18C7578B-17FD-4219-9A8D-0CAA210EA09F}"/>
                </a:ext>
              </a:extLst>
            </p:cNvPr>
            <p:cNvSpPr>
              <a:spLocks noChangeArrowheads="1"/>
            </p:cNvSpPr>
            <p:nvPr/>
          </p:nvSpPr>
          <p:spPr bwMode="gray">
            <a:xfrm>
              <a:off x="4661272" y="20236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5" name="肘形连接符 69">
              <a:extLst>
                <a:ext uri="{FF2B5EF4-FFF2-40B4-BE49-F238E27FC236}">
                  <a16:creationId xmlns:a16="http://schemas.microsoft.com/office/drawing/2014/main" id="{F5C45099-0DCB-44B9-9EA2-7A12542EF273}"/>
                </a:ext>
              </a:extLst>
            </p:cNvPr>
            <p:cNvCxnSpPr>
              <a:cxnSpLocks/>
              <a:stCxn id="94" idx="6"/>
              <a:endCxn id="93" idx="2"/>
            </p:cNvCxnSpPr>
            <p:nvPr/>
          </p:nvCxnSpPr>
          <p:spPr>
            <a:xfrm flipV="1">
              <a:off x="4757813" y="827346"/>
              <a:ext cx="1800816" cy="1244587"/>
            </a:xfrm>
            <a:prstGeom prst="bentConnector2">
              <a:avLst/>
            </a:prstGeom>
            <a:noFill/>
            <a:ln w="9525">
              <a:solidFill>
                <a:srgbClr val="C00000"/>
              </a:solidFill>
              <a:prstDash val="sysDash"/>
              <a:miter lim="800000"/>
              <a:headEnd/>
              <a:tailEnd/>
            </a:ln>
          </p:spPr>
        </p:cxnSp>
        <p:sp>
          <p:nvSpPr>
            <p:cNvPr id="98" name="Oval 25">
              <a:extLst>
                <a:ext uri="{FF2B5EF4-FFF2-40B4-BE49-F238E27FC236}">
                  <a16:creationId xmlns:a16="http://schemas.microsoft.com/office/drawing/2014/main" id="{51F9F5A8-F636-4FAF-8D88-B591F1714C09}"/>
                </a:ext>
              </a:extLst>
            </p:cNvPr>
            <p:cNvSpPr>
              <a:spLocks noChangeArrowheads="1"/>
            </p:cNvSpPr>
            <p:nvPr/>
          </p:nvSpPr>
          <p:spPr bwMode="gray">
            <a:xfrm>
              <a:off x="4921183" y="275594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9" name="肘形连接符 72">
              <a:extLst>
                <a:ext uri="{FF2B5EF4-FFF2-40B4-BE49-F238E27FC236}">
                  <a16:creationId xmlns:a16="http://schemas.microsoft.com/office/drawing/2014/main" id="{3662F052-CE6C-4A1B-9ACA-0E97C79AE060}"/>
                </a:ext>
              </a:extLst>
            </p:cNvPr>
            <p:cNvCxnSpPr>
              <a:cxnSpLocks/>
              <a:stCxn id="98" idx="0"/>
              <a:endCxn id="42" idx="1"/>
            </p:cNvCxnSpPr>
            <p:nvPr/>
          </p:nvCxnSpPr>
          <p:spPr>
            <a:xfrm rot="5400000" flipH="1" flipV="1">
              <a:off x="5809638" y="1424571"/>
              <a:ext cx="491194" cy="2171563"/>
            </a:xfrm>
            <a:prstGeom prst="bentConnector2">
              <a:avLst/>
            </a:prstGeom>
            <a:noFill/>
            <a:ln w="9525">
              <a:solidFill>
                <a:srgbClr val="C00000"/>
              </a:solidFill>
              <a:prstDash val="sysDash"/>
              <a:miter lim="800000"/>
              <a:headEnd/>
              <a:tailEnd/>
            </a:ln>
          </p:spPr>
        </p:cxnSp>
        <p:grpSp>
          <p:nvGrpSpPr>
            <p:cNvPr id="109" name="组合 70">
              <a:extLst>
                <a:ext uri="{FF2B5EF4-FFF2-40B4-BE49-F238E27FC236}">
                  <a16:creationId xmlns:a16="http://schemas.microsoft.com/office/drawing/2014/main" id="{9BA3ADDF-1C83-4B24-BCE1-A35EFEF8180F}"/>
                </a:ext>
              </a:extLst>
            </p:cNvPr>
            <p:cNvGrpSpPr/>
            <p:nvPr/>
          </p:nvGrpSpPr>
          <p:grpSpPr>
            <a:xfrm>
              <a:off x="7082014" y="2741788"/>
              <a:ext cx="1871590" cy="865124"/>
              <a:chOff x="416520" y="4774171"/>
              <a:chExt cx="2109658" cy="975169"/>
            </a:xfrm>
          </p:grpSpPr>
          <p:sp>
            <p:nvSpPr>
              <p:cNvPr id="110" name="圆角矩形 103">
                <a:extLst>
                  <a:ext uri="{FF2B5EF4-FFF2-40B4-BE49-F238E27FC236}">
                    <a16:creationId xmlns:a16="http://schemas.microsoft.com/office/drawing/2014/main" id="{16F02A84-C5AC-4394-ADC1-72AB539664C1}"/>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11" name="圆角矩形 45">
                <a:extLst>
                  <a:ext uri="{FF2B5EF4-FFF2-40B4-BE49-F238E27FC236}">
                    <a16:creationId xmlns:a16="http://schemas.microsoft.com/office/drawing/2014/main" id="{8464793F-819C-4AD2-BBC9-F202C8C2562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Harari</a:t>
                </a:r>
              </a:p>
            </p:txBody>
          </p:sp>
          <p:sp>
            <p:nvSpPr>
              <p:cNvPr id="112" name="Text Box 16">
                <a:extLst>
                  <a:ext uri="{FF2B5EF4-FFF2-40B4-BE49-F238E27FC236}">
                    <a16:creationId xmlns:a16="http://schemas.microsoft.com/office/drawing/2014/main" id="{5E4B41EB-05BA-4F44-9652-B86EAB45E2A9}"/>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sp>
          <p:nvSpPr>
            <p:cNvPr id="114" name="Oval 25">
              <a:extLst>
                <a:ext uri="{FF2B5EF4-FFF2-40B4-BE49-F238E27FC236}">
                  <a16:creationId xmlns:a16="http://schemas.microsoft.com/office/drawing/2014/main" id="{C2B008C3-D01D-4897-9901-A7836F64BA4B}"/>
                </a:ext>
              </a:extLst>
            </p:cNvPr>
            <p:cNvSpPr>
              <a:spLocks noChangeArrowheads="1"/>
            </p:cNvSpPr>
            <p:nvPr/>
          </p:nvSpPr>
          <p:spPr bwMode="gray">
            <a:xfrm>
              <a:off x="4997124" y="2866157"/>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15" name="肘形连接符 72">
              <a:extLst>
                <a:ext uri="{FF2B5EF4-FFF2-40B4-BE49-F238E27FC236}">
                  <a16:creationId xmlns:a16="http://schemas.microsoft.com/office/drawing/2014/main" id="{636E5E82-117A-40E4-BFC5-E0DD940D4473}"/>
                </a:ext>
              </a:extLst>
            </p:cNvPr>
            <p:cNvCxnSpPr>
              <a:cxnSpLocks/>
              <a:stCxn id="114" idx="6"/>
              <a:endCxn id="110" idx="1"/>
            </p:cNvCxnSpPr>
            <p:nvPr/>
          </p:nvCxnSpPr>
          <p:spPr>
            <a:xfrm>
              <a:off x="5093665" y="2914428"/>
              <a:ext cx="1988349" cy="344166"/>
            </a:xfrm>
            <a:prstGeom prst="bentConnector3">
              <a:avLst>
                <a:gd name="adj1" fmla="val 50000"/>
              </a:avLst>
            </a:prstGeom>
            <a:noFill/>
            <a:ln w="9525">
              <a:solidFill>
                <a:srgbClr val="C00000"/>
              </a:solidFill>
              <a:prstDash val="sysDash"/>
              <a:miter lim="800000"/>
              <a:headEnd/>
              <a:tailEnd/>
            </a:ln>
          </p:spPr>
        </p:cxnSp>
        <p:sp>
          <p:nvSpPr>
            <p:cNvPr id="123" name="Oval 25">
              <a:extLst>
                <a:ext uri="{FF2B5EF4-FFF2-40B4-BE49-F238E27FC236}">
                  <a16:creationId xmlns:a16="http://schemas.microsoft.com/office/drawing/2014/main" id="{E93DC02B-9D58-4888-B231-B7EBC787BFDC}"/>
                </a:ext>
              </a:extLst>
            </p:cNvPr>
            <p:cNvSpPr>
              <a:spLocks noChangeArrowheads="1"/>
            </p:cNvSpPr>
            <p:nvPr/>
          </p:nvSpPr>
          <p:spPr bwMode="gray">
            <a:xfrm>
              <a:off x="4149722" y="355038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24" name="肘形连接符 96">
              <a:extLst>
                <a:ext uri="{FF2B5EF4-FFF2-40B4-BE49-F238E27FC236}">
                  <a16:creationId xmlns:a16="http://schemas.microsoft.com/office/drawing/2014/main" id="{72540446-FF33-4D44-A6A4-009F944EC95D}"/>
                </a:ext>
              </a:extLst>
            </p:cNvPr>
            <p:cNvCxnSpPr>
              <a:cxnSpLocks/>
              <a:stCxn id="123" idx="4"/>
              <a:endCxn id="126" idx="3"/>
            </p:cNvCxnSpPr>
            <p:nvPr/>
          </p:nvCxnSpPr>
          <p:spPr>
            <a:xfrm rot="5400000">
              <a:off x="3632788" y="4143122"/>
              <a:ext cx="1061402" cy="69009"/>
            </a:xfrm>
            <a:prstGeom prst="bentConnector2">
              <a:avLst/>
            </a:prstGeom>
            <a:noFill/>
            <a:ln w="9525">
              <a:solidFill>
                <a:srgbClr val="C00000"/>
              </a:solidFill>
              <a:prstDash val="sysDash"/>
              <a:miter lim="800000"/>
              <a:headEnd/>
              <a:tailEnd/>
            </a:ln>
          </p:spPr>
        </p:cxnSp>
        <p:grpSp>
          <p:nvGrpSpPr>
            <p:cNvPr id="125" name="组合 64">
              <a:extLst>
                <a:ext uri="{FF2B5EF4-FFF2-40B4-BE49-F238E27FC236}">
                  <a16:creationId xmlns:a16="http://schemas.microsoft.com/office/drawing/2014/main" id="{13FFB77C-2D13-4FF9-891F-3E5EBC054773}"/>
                </a:ext>
              </a:extLst>
            </p:cNvPr>
            <p:cNvGrpSpPr/>
            <p:nvPr/>
          </p:nvGrpSpPr>
          <p:grpSpPr>
            <a:xfrm>
              <a:off x="2257394" y="4232027"/>
              <a:ext cx="1871590" cy="790251"/>
              <a:chOff x="416520" y="4774171"/>
              <a:chExt cx="2109658" cy="890772"/>
            </a:xfrm>
          </p:grpSpPr>
          <p:sp>
            <p:nvSpPr>
              <p:cNvPr id="126" name="圆角矩形 111">
                <a:extLst>
                  <a:ext uri="{FF2B5EF4-FFF2-40B4-BE49-F238E27FC236}">
                    <a16:creationId xmlns:a16="http://schemas.microsoft.com/office/drawing/2014/main" id="{38FFAE92-199A-45E9-9C4F-ED3E34D38205}"/>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27" name="圆角矩形 45">
                <a:extLst>
                  <a:ext uri="{FF2B5EF4-FFF2-40B4-BE49-F238E27FC236}">
                    <a16:creationId xmlns:a16="http://schemas.microsoft.com/office/drawing/2014/main" id="{A8335C70-550F-4B71-B369-9540C498C15B}"/>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Sidama</a:t>
                </a:r>
                <a:endParaRPr lang="en-US" altLang="zh-CN" sz="1050" b="1" kern="0" dirty="0"/>
              </a:p>
            </p:txBody>
          </p:sp>
          <p:sp>
            <p:nvSpPr>
              <p:cNvPr id="128" name="Text Box 16">
                <a:extLst>
                  <a:ext uri="{FF2B5EF4-FFF2-40B4-BE49-F238E27FC236}">
                    <a16:creationId xmlns:a16="http://schemas.microsoft.com/office/drawing/2014/main" id="{72345BE6-B27B-407A-B540-F9CC9632D7C6}"/>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0</a:t>
                </a:r>
              </a:p>
            </p:txBody>
          </p:sp>
        </p:grpSp>
      </p:grpSp>
      <p:sp>
        <p:nvSpPr>
          <p:cNvPr id="2" name="Title 1">
            <a:extLst>
              <a:ext uri="{FF2B5EF4-FFF2-40B4-BE49-F238E27FC236}">
                <a16:creationId xmlns:a16="http://schemas.microsoft.com/office/drawing/2014/main" id="{93C0B23C-FB28-4192-8F94-1288B3F7D3CE}"/>
              </a:ext>
            </a:extLst>
          </p:cNvPr>
          <p:cNvSpPr>
            <a:spLocks noGrp="1"/>
          </p:cNvSpPr>
          <p:nvPr>
            <p:ph type="title"/>
          </p:nvPr>
        </p:nvSpPr>
        <p:spPr>
          <a:xfrm>
            <a:off x="0" y="0"/>
            <a:ext cx="8513064" cy="765432"/>
          </a:xfrm>
        </p:spPr>
        <p:txBody>
          <a:bodyPr/>
          <a:lstStyle/>
          <a:p>
            <a:r>
              <a:rPr lang="en-ZA" dirty="0"/>
              <a:t>Year 0 – Sites Per Region</a:t>
            </a:r>
            <a:endParaRPr lang="en-GB" dirty="0"/>
          </a:p>
        </p:txBody>
      </p:sp>
      <p:sp>
        <p:nvSpPr>
          <p:cNvPr id="45" name="Rectangle: Rounded Corners 44">
            <a:extLst>
              <a:ext uri="{FF2B5EF4-FFF2-40B4-BE49-F238E27FC236}">
                <a16:creationId xmlns:a16="http://schemas.microsoft.com/office/drawing/2014/main" id="{3FB45524-9C92-4928-AC43-6C1730390060}"/>
              </a:ext>
            </a:extLst>
          </p:cNvPr>
          <p:cNvSpPr/>
          <p:nvPr/>
        </p:nvSpPr>
        <p:spPr>
          <a:xfrm>
            <a:off x="6594247" y="2922046"/>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2817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51F3256C-BE97-4ABB-85A5-4DA7D65184A7}"/>
              </a:ext>
            </a:extLst>
          </p:cNvPr>
          <p:cNvGrpSpPr/>
          <p:nvPr/>
        </p:nvGrpSpPr>
        <p:grpSpPr>
          <a:xfrm>
            <a:off x="673520" y="639619"/>
            <a:ext cx="7621852" cy="4456667"/>
            <a:chOff x="67968" y="32224"/>
            <a:chExt cx="8949062" cy="5232716"/>
          </a:xfrm>
        </p:grpSpPr>
        <p:sp>
          <p:nvSpPr>
            <p:cNvPr id="4" name="Freeform 5">
              <a:extLst>
                <a:ext uri="{FF2B5EF4-FFF2-40B4-BE49-F238E27FC236}">
                  <a16:creationId xmlns:a16="http://schemas.microsoft.com/office/drawing/2014/main" id="{4E02DADB-17BF-4D65-9828-BBF2FE40BFFA}"/>
                </a:ext>
              </a:extLst>
            </p:cNvPr>
            <p:cNvSpPr>
              <a:spLocks/>
            </p:cNvSpPr>
            <p:nvPr/>
          </p:nvSpPr>
          <p:spPr bwMode="auto">
            <a:xfrm>
              <a:off x="3032579" y="2633549"/>
              <a:ext cx="2192810" cy="1750586"/>
            </a:xfrm>
            <a:custGeom>
              <a:avLst/>
              <a:gdLst>
                <a:gd name="T0" fmla="*/ 5385 w 7785"/>
                <a:gd name="T1" fmla="*/ 1284 h 6216"/>
                <a:gd name="T2" fmla="*/ 5001 w 7785"/>
                <a:gd name="T3" fmla="*/ 1356 h 6216"/>
                <a:gd name="T4" fmla="*/ 4605 w 7785"/>
                <a:gd name="T5" fmla="*/ 1200 h 6216"/>
                <a:gd name="T6" fmla="*/ 4677 w 7785"/>
                <a:gd name="T7" fmla="*/ 840 h 6216"/>
                <a:gd name="T8" fmla="*/ 4377 w 7785"/>
                <a:gd name="T9" fmla="*/ 732 h 6216"/>
                <a:gd name="T10" fmla="*/ 4125 w 7785"/>
                <a:gd name="T11" fmla="*/ 276 h 6216"/>
                <a:gd name="T12" fmla="*/ 3860 w 7785"/>
                <a:gd name="T13" fmla="*/ 101 h 6216"/>
                <a:gd name="T14" fmla="*/ 3092 w 7785"/>
                <a:gd name="T15" fmla="*/ 439 h 6216"/>
                <a:gd name="T16" fmla="*/ 2541 w 7785"/>
                <a:gd name="T17" fmla="*/ 192 h 6216"/>
                <a:gd name="T18" fmla="*/ 2121 w 7785"/>
                <a:gd name="T19" fmla="*/ 54 h 6216"/>
                <a:gd name="T20" fmla="*/ 1794 w 7785"/>
                <a:gd name="T21" fmla="*/ 603 h 6216"/>
                <a:gd name="T22" fmla="*/ 1812 w 7785"/>
                <a:gd name="T23" fmla="*/ 960 h 6216"/>
                <a:gd name="T24" fmla="*/ 1446 w 7785"/>
                <a:gd name="T25" fmla="*/ 951 h 6216"/>
                <a:gd name="T26" fmla="*/ 1090 w 7785"/>
                <a:gd name="T27" fmla="*/ 521 h 6216"/>
                <a:gd name="T28" fmla="*/ 660 w 7785"/>
                <a:gd name="T29" fmla="*/ 494 h 6216"/>
                <a:gd name="T30" fmla="*/ 248 w 7785"/>
                <a:gd name="T31" fmla="*/ 658 h 6216"/>
                <a:gd name="T32" fmla="*/ 0 w 7785"/>
                <a:gd name="T33" fmla="*/ 1083 h 6216"/>
                <a:gd name="T34" fmla="*/ 333 w 7785"/>
                <a:gd name="T35" fmla="*/ 1740 h 6216"/>
                <a:gd name="T36" fmla="*/ 717 w 7785"/>
                <a:gd name="T37" fmla="*/ 2052 h 6216"/>
                <a:gd name="T38" fmla="*/ 753 w 7785"/>
                <a:gd name="T39" fmla="*/ 2460 h 6216"/>
                <a:gd name="T40" fmla="*/ 1125 w 7785"/>
                <a:gd name="T41" fmla="*/ 2244 h 6216"/>
                <a:gd name="T42" fmla="*/ 1497 w 7785"/>
                <a:gd name="T43" fmla="*/ 2040 h 6216"/>
                <a:gd name="T44" fmla="*/ 1701 w 7785"/>
                <a:gd name="T45" fmla="*/ 2496 h 6216"/>
                <a:gd name="T46" fmla="*/ 2397 w 7785"/>
                <a:gd name="T47" fmla="*/ 2796 h 6216"/>
                <a:gd name="T48" fmla="*/ 2913 w 7785"/>
                <a:gd name="T49" fmla="*/ 2400 h 6216"/>
                <a:gd name="T50" fmla="*/ 3117 w 7785"/>
                <a:gd name="T51" fmla="*/ 1968 h 6216"/>
                <a:gd name="T52" fmla="*/ 3453 w 7785"/>
                <a:gd name="T53" fmla="*/ 1788 h 6216"/>
                <a:gd name="T54" fmla="*/ 3945 w 7785"/>
                <a:gd name="T55" fmla="*/ 1752 h 6216"/>
                <a:gd name="T56" fmla="*/ 3993 w 7785"/>
                <a:gd name="T57" fmla="*/ 2172 h 6216"/>
                <a:gd name="T58" fmla="*/ 3597 w 7785"/>
                <a:gd name="T59" fmla="*/ 2808 h 6216"/>
                <a:gd name="T60" fmla="*/ 3801 w 7785"/>
                <a:gd name="T61" fmla="*/ 2928 h 6216"/>
                <a:gd name="T62" fmla="*/ 4029 w 7785"/>
                <a:gd name="T63" fmla="*/ 3252 h 6216"/>
                <a:gd name="T64" fmla="*/ 4389 w 7785"/>
                <a:gd name="T65" fmla="*/ 3696 h 6216"/>
                <a:gd name="T66" fmla="*/ 3825 w 7785"/>
                <a:gd name="T67" fmla="*/ 3528 h 6216"/>
                <a:gd name="T68" fmla="*/ 3645 w 7785"/>
                <a:gd name="T69" fmla="*/ 4056 h 6216"/>
                <a:gd name="T70" fmla="*/ 3681 w 7785"/>
                <a:gd name="T71" fmla="*/ 3576 h 6216"/>
                <a:gd name="T72" fmla="*/ 3309 w 7785"/>
                <a:gd name="T73" fmla="*/ 3420 h 6216"/>
                <a:gd name="T74" fmla="*/ 3345 w 7785"/>
                <a:gd name="T75" fmla="*/ 3936 h 6216"/>
                <a:gd name="T76" fmla="*/ 3333 w 7785"/>
                <a:gd name="T77" fmla="*/ 4464 h 6216"/>
                <a:gd name="T78" fmla="*/ 2829 w 7785"/>
                <a:gd name="T79" fmla="*/ 4632 h 6216"/>
                <a:gd name="T80" fmla="*/ 2445 w 7785"/>
                <a:gd name="T81" fmla="*/ 5052 h 6216"/>
                <a:gd name="T82" fmla="*/ 3885 w 7785"/>
                <a:gd name="T83" fmla="*/ 6048 h 6216"/>
                <a:gd name="T84" fmla="*/ 5817 w 7785"/>
                <a:gd name="T85" fmla="*/ 5232 h 6216"/>
                <a:gd name="T86" fmla="*/ 6309 w 7785"/>
                <a:gd name="T87" fmla="*/ 5004 h 6216"/>
                <a:gd name="T88" fmla="*/ 6357 w 7785"/>
                <a:gd name="T89" fmla="*/ 4548 h 6216"/>
                <a:gd name="T90" fmla="*/ 6213 w 7785"/>
                <a:gd name="T91" fmla="*/ 4056 h 6216"/>
                <a:gd name="T92" fmla="*/ 5985 w 7785"/>
                <a:gd name="T93" fmla="*/ 3588 h 6216"/>
                <a:gd name="T94" fmla="*/ 6429 w 7785"/>
                <a:gd name="T95" fmla="*/ 3684 h 6216"/>
                <a:gd name="T96" fmla="*/ 6909 w 7785"/>
                <a:gd name="T97" fmla="*/ 3432 h 6216"/>
                <a:gd name="T98" fmla="*/ 7161 w 7785"/>
                <a:gd name="T99" fmla="*/ 2760 h 6216"/>
                <a:gd name="T100" fmla="*/ 7053 w 7785"/>
                <a:gd name="T101" fmla="*/ 1980 h 6216"/>
                <a:gd name="T102" fmla="*/ 7353 w 7785"/>
                <a:gd name="T103" fmla="*/ 1668 h 6216"/>
                <a:gd name="T104" fmla="*/ 7689 w 7785"/>
                <a:gd name="T105" fmla="*/ 1824 h 6216"/>
                <a:gd name="T106" fmla="*/ 7629 w 7785"/>
                <a:gd name="T107" fmla="*/ 1236 h 6216"/>
                <a:gd name="T108" fmla="*/ 7329 w 7785"/>
                <a:gd name="T109" fmla="*/ 648 h 6216"/>
                <a:gd name="T110" fmla="*/ 6801 w 7785"/>
                <a:gd name="T111" fmla="*/ 840 h 6216"/>
                <a:gd name="T112" fmla="*/ 6165 w 7785"/>
                <a:gd name="T113" fmla="*/ 912 h 6216"/>
                <a:gd name="T114" fmla="*/ 5861 w 7785"/>
                <a:gd name="T115" fmla="*/ 840 h 6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85" h="6216">
                  <a:moveTo>
                    <a:pt x="5861" y="840"/>
                  </a:moveTo>
                  <a:lnTo>
                    <a:pt x="5769" y="900"/>
                  </a:lnTo>
                  <a:lnTo>
                    <a:pt x="5649" y="900"/>
                  </a:lnTo>
                  <a:lnTo>
                    <a:pt x="5577" y="1008"/>
                  </a:lnTo>
                  <a:lnTo>
                    <a:pt x="5493" y="1116"/>
                  </a:lnTo>
                  <a:lnTo>
                    <a:pt x="5385" y="1284"/>
                  </a:lnTo>
                  <a:lnTo>
                    <a:pt x="5235" y="1404"/>
                  </a:lnTo>
                  <a:lnTo>
                    <a:pt x="5253" y="1260"/>
                  </a:lnTo>
                  <a:lnTo>
                    <a:pt x="5169" y="1188"/>
                  </a:lnTo>
                  <a:lnTo>
                    <a:pt x="5133" y="1140"/>
                  </a:lnTo>
                  <a:lnTo>
                    <a:pt x="5025" y="1149"/>
                  </a:lnTo>
                  <a:lnTo>
                    <a:pt x="5001" y="1356"/>
                  </a:lnTo>
                  <a:lnTo>
                    <a:pt x="4905" y="1380"/>
                  </a:lnTo>
                  <a:lnTo>
                    <a:pt x="4797" y="1440"/>
                  </a:lnTo>
                  <a:lnTo>
                    <a:pt x="4725" y="1392"/>
                  </a:lnTo>
                  <a:lnTo>
                    <a:pt x="4617" y="1440"/>
                  </a:lnTo>
                  <a:lnTo>
                    <a:pt x="4557" y="1332"/>
                  </a:lnTo>
                  <a:lnTo>
                    <a:pt x="4605" y="1200"/>
                  </a:lnTo>
                  <a:lnTo>
                    <a:pt x="4653" y="1116"/>
                  </a:lnTo>
                  <a:lnTo>
                    <a:pt x="4557" y="1068"/>
                  </a:lnTo>
                  <a:lnTo>
                    <a:pt x="4557" y="996"/>
                  </a:lnTo>
                  <a:lnTo>
                    <a:pt x="4665" y="960"/>
                  </a:lnTo>
                  <a:lnTo>
                    <a:pt x="4749" y="912"/>
                  </a:lnTo>
                  <a:lnTo>
                    <a:pt x="4677" y="840"/>
                  </a:lnTo>
                  <a:lnTo>
                    <a:pt x="4593" y="852"/>
                  </a:lnTo>
                  <a:lnTo>
                    <a:pt x="4653" y="708"/>
                  </a:lnTo>
                  <a:lnTo>
                    <a:pt x="4653" y="576"/>
                  </a:lnTo>
                  <a:lnTo>
                    <a:pt x="4557" y="600"/>
                  </a:lnTo>
                  <a:lnTo>
                    <a:pt x="4461" y="708"/>
                  </a:lnTo>
                  <a:lnTo>
                    <a:pt x="4377" y="732"/>
                  </a:lnTo>
                  <a:lnTo>
                    <a:pt x="4377" y="624"/>
                  </a:lnTo>
                  <a:lnTo>
                    <a:pt x="4281" y="600"/>
                  </a:lnTo>
                  <a:lnTo>
                    <a:pt x="4197" y="564"/>
                  </a:lnTo>
                  <a:lnTo>
                    <a:pt x="4137" y="420"/>
                  </a:lnTo>
                  <a:lnTo>
                    <a:pt x="4029" y="300"/>
                  </a:lnTo>
                  <a:lnTo>
                    <a:pt x="4125" y="276"/>
                  </a:lnTo>
                  <a:lnTo>
                    <a:pt x="4185" y="204"/>
                  </a:lnTo>
                  <a:lnTo>
                    <a:pt x="4209" y="72"/>
                  </a:lnTo>
                  <a:lnTo>
                    <a:pt x="4101" y="24"/>
                  </a:lnTo>
                  <a:lnTo>
                    <a:pt x="3981" y="12"/>
                  </a:lnTo>
                  <a:lnTo>
                    <a:pt x="3885" y="0"/>
                  </a:lnTo>
                  <a:lnTo>
                    <a:pt x="3860" y="101"/>
                  </a:lnTo>
                  <a:lnTo>
                    <a:pt x="3805" y="219"/>
                  </a:lnTo>
                  <a:lnTo>
                    <a:pt x="3668" y="274"/>
                  </a:lnTo>
                  <a:lnTo>
                    <a:pt x="3512" y="366"/>
                  </a:lnTo>
                  <a:lnTo>
                    <a:pt x="3348" y="457"/>
                  </a:lnTo>
                  <a:lnTo>
                    <a:pt x="3211" y="494"/>
                  </a:lnTo>
                  <a:lnTo>
                    <a:pt x="3092" y="439"/>
                  </a:lnTo>
                  <a:lnTo>
                    <a:pt x="2991" y="347"/>
                  </a:lnTo>
                  <a:lnTo>
                    <a:pt x="2827" y="329"/>
                  </a:lnTo>
                  <a:lnTo>
                    <a:pt x="2717" y="274"/>
                  </a:lnTo>
                  <a:lnTo>
                    <a:pt x="2699" y="183"/>
                  </a:lnTo>
                  <a:lnTo>
                    <a:pt x="2639" y="113"/>
                  </a:lnTo>
                  <a:lnTo>
                    <a:pt x="2541" y="192"/>
                  </a:lnTo>
                  <a:lnTo>
                    <a:pt x="2437" y="168"/>
                  </a:lnTo>
                  <a:lnTo>
                    <a:pt x="2379" y="119"/>
                  </a:lnTo>
                  <a:lnTo>
                    <a:pt x="2278" y="73"/>
                  </a:lnTo>
                  <a:lnTo>
                    <a:pt x="2205" y="155"/>
                  </a:lnTo>
                  <a:lnTo>
                    <a:pt x="2141" y="128"/>
                  </a:lnTo>
                  <a:lnTo>
                    <a:pt x="2121" y="54"/>
                  </a:lnTo>
                  <a:lnTo>
                    <a:pt x="2004" y="137"/>
                  </a:lnTo>
                  <a:lnTo>
                    <a:pt x="1949" y="256"/>
                  </a:lnTo>
                  <a:lnTo>
                    <a:pt x="1858" y="320"/>
                  </a:lnTo>
                  <a:lnTo>
                    <a:pt x="1775" y="347"/>
                  </a:lnTo>
                  <a:lnTo>
                    <a:pt x="1757" y="494"/>
                  </a:lnTo>
                  <a:lnTo>
                    <a:pt x="1794" y="603"/>
                  </a:lnTo>
                  <a:lnTo>
                    <a:pt x="1794" y="695"/>
                  </a:lnTo>
                  <a:lnTo>
                    <a:pt x="1867" y="741"/>
                  </a:lnTo>
                  <a:lnTo>
                    <a:pt x="1940" y="759"/>
                  </a:lnTo>
                  <a:lnTo>
                    <a:pt x="1940" y="905"/>
                  </a:lnTo>
                  <a:lnTo>
                    <a:pt x="1885" y="942"/>
                  </a:lnTo>
                  <a:lnTo>
                    <a:pt x="1812" y="960"/>
                  </a:lnTo>
                  <a:lnTo>
                    <a:pt x="1848" y="1088"/>
                  </a:lnTo>
                  <a:lnTo>
                    <a:pt x="1784" y="1143"/>
                  </a:lnTo>
                  <a:lnTo>
                    <a:pt x="1720" y="1143"/>
                  </a:lnTo>
                  <a:lnTo>
                    <a:pt x="1666" y="1042"/>
                  </a:lnTo>
                  <a:lnTo>
                    <a:pt x="1592" y="978"/>
                  </a:lnTo>
                  <a:lnTo>
                    <a:pt x="1446" y="951"/>
                  </a:lnTo>
                  <a:lnTo>
                    <a:pt x="1437" y="841"/>
                  </a:lnTo>
                  <a:lnTo>
                    <a:pt x="1391" y="777"/>
                  </a:lnTo>
                  <a:lnTo>
                    <a:pt x="1336" y="695"/>
                  </a:lnTo>
                  <a:lnTo>
                    <a:pt x="1227" y="658"/>
                  </a:lnTo>
                  <a:lnTo>
                    <a:pt x="1126" y="631"/>
                  </a:lnTo>
                  <a:lnTo>
                    <a:pt x="1090" y="521"/>
                  </a:lnTo>
                  <a:lnTo>
                    <a:pt x="1035" y="448"/>
                  </a:lnTo>
                  <a:lnTo>
                    <a:pt x="943" y="421"/>
                  </a:lnTo>
                  <a:lnTo>
                    <a:pt x="824" y="421"/>
                  </a:lnTo>
                  <a:lnTo>
                    <a:pt x="788" y="329"/>
                  </a:lnTo>
                  <a:lnTo>
                    <a:pt x="651" y="375"/>
                  </a:lnTo>
                  <a:lnTo>
                    <a:pt x="660" y="494"/>
                  </a:lnTo>
                  <a:lnTo>
                    <a:pt x="605" y="558"/>
                  </a:lnTo>
                  <a:lnTo>
                    <a:pt x="596" y="658"/>
                  </a:lnTo>
                  <a:lnTo>
                    <a:pt x="550" y="741"/>
                  </a:lnTo>
                  <a:lnTo>
                    <a:pt x="450" y="731"/>
                  </a:lnTo>
                  <a:lnTo>
                    <a:pt x="349" y="686"/>
                  </a:lnTo>
                  <a:lnTo>
                    <a:pt x="248" y="658"/>
                  </a:lnTo>
                  <a:lnTo>
                    <a:pt x="312" y="777"/>
                  </a:lnTo>
                  <a:lnTo>
                    <a:pt x="212" y="850"/>
                  </a:lnTo>
                  <a:lnTo>
                    <a:pt x="285" y="914"/>
                  </a:lnTo>
                  <a:lnTo>
                    <a:pt x="239" y="1006"/>
                  </a:lnTo>
                  <a:lnTo>
                    <a:pt x="157" y="1106"/>
                  </a:lnTo>
                  <a:lnTo>
                    <a:pt x="0" y="1083"/>
                  </a:lnTo>
                  <a:lnTo>
                    <a:pt x="11" y="1253"/>
                  </a:lnTo>
                  <a:lnTo>
                    <a:pt x="2" y="1454"/>
                  </a:lnTo>
                  <a:lnTo>
                    <a:pt x="9" y="1632"/>
                  </a:lnTo>
                  <a:lnTo>
                    <a:pt x="117" y="1572"/>
                  </a:lnTo>
                  <a:lnTo>
                    <a:pt x="237" y="1668"/>
                  </a:lnTo>
                  <a:lnTo>
                    <a:pt x="333" y="1740"/>
                  </a:lnTo>
                  <a:lnTo>
                    <a:pt x="417" y="1848"/>
                  </a:lnTo>
                  <a:lnTo>
                    <a:pt x="561" y="1908"/>
                  </a:lnTo>
                  <a:lnTo>
                    <a:pt x="645" y="1980"/>
                  </a:lnTo>
                  <a:lnTo>
                    <a:pt x="765" y="1944"/>
                  </a:lnTo>
                  <a:lnTo>
                    <a:pt x="837" y="2004"/>
                  </a:lnTo>
                  <a:lnTo>
                    <a:pt x="717" y="2052"/>
                  </a:lnTo>
                  <a:lnTo>
                    <a:pt x="729" y="2136"/>
                  </a:lnTo>
                  <a:lnTo>
                    <a:pt x="693" y="2208"/>
                  </a:lnTo>
                  <a:lnTo>
                    <a:pt x="664" y="2290"/>
                  </a:lnTo>
                  <a:lnTo>
                    <a:pt x="669" y="2357"/>
                  </a:lnTo>
                  <a:lnTo>
                    <a:pt x="731" y="2386"/>
                  </a:lnTo>
                  <a:lnTo>
                    <a:pt x="753" y="2460"/>
                  </a:lnTo>
                  <a:lnTo>
                    <a:pt x="873" y="2556"/>
                  </a:lnTo>
                  <a:lnTo>
                    <a:pt x="933" y="2616"/>
                  </a:lnTo>
                  <a:lnTo>
                    <a:pt x="993" y="2612"/>
                  </a:lnTo>
                  <a:lnTo>
                    <a:pt x="1005" y="2472"/>
                  </a:lnTo>
                  <a:lnTo>
                    <a:pt x="1029" y="2340"/>
                  </a:lnTo>
                  <a:lnTo>
                    <a:pt x="1125" y="2244"/>
                  </a:lnTo>
                  <a:lnTo>
                    <a:pt x="1245" y="2208"/>
                  </a:lnTo>
                  <a:lnTo>
                    <a:pt x="1281" y="2280"/>
                  </a:lnTo>
                  <a:lnTo>
                    <a:pt x="1389" y="2232"/>
                  </a:lnTo>
                  <a:lnTo>
                    <a:pt x="1461" y="2184"/>
                  </a:lnTo>
                  <a:lnTo>
                    <a:pt x="1413" y="2100"/>
                  </a:lnTo>
                  <a:lnTo>
                    <a:pt x="1497" y="2040"/>
                  </a:lnTo>
                  <a:lnTo>
                    <a:pt x="1569" y="2124"/>
                  </a:lnTo>
                  <a:lnTo>
                    <a:pt x="1557" y="2220"/>
                  </a:lnTo>
                  <a:lnTo>
                    <a:pt x="1581" y="2292"/>
                  </a:lnTo>
                  <a:lnTo>
                    <a:pt x="1641" y="2340"/>
                  </a:lnTo>
                  <a:lnTo>
                    <a:pt x="1689" y="2412"/>
                  </a:lnTo>
                  <a:lnTo>
                    <a:pt x="1701" y="2496"/>
                  </a:lnTo>
                  <a:lnTo>
                    <a:pt x="1821" y="2556"/>
                  </a:lnTo>
                  <a:lnTo>
                    <a:pt x="1893" y="2616"/>
                  </a:lnTo>
                  <a:lnTo>
                    <a:pt x="2001" y="2664"/>
                  </a:lnTo>
                  <a:lnTo>
                    <a:pt x="2145" y="2676"/>
                  </a:lnTo>
                  <a:lnTo>
                    <a:pt x="2277" y="2736"/>
                  </a:lnTo>
                  <a:lnTo>
                    <a:pt x="2397" y="2796"/>
                  </a:lnTo>
                  <a:lnTo>
                    <a:pt x="2529" y="2820"/>
                  </a:lnTo>
                  <a:lnTo>
                    <a:pt x="2649" y="2808"/>
                  </a:lnTo>
                  <a:lnTo>
                    <a:pt x="2757" y="2760"/>
                  </a:lnTo>
                  <a:lnTo>
                    <a:pt x="2877" y="2676"/>
                  </a:lnTo>
                  <a:lnTo>
                    <a:pt x="2961" y="2544"/>
                  </a:lnTo>
                  <a:lnTo>
                    <a:pt x="2913" y="2400"/>
                  </a:lnTo>
                  <a:lnTo>
                    <a:pt x="2925" y="2280"/>
                  </a:lnTo>
                  <a:lnTo>
                    <a:pt x="2877" y="2160"/>
                  </a:lnTo>
                  <a:lnTo>
                    <a:pt x="2973" y="2148"/>
                  </a:lnTo>
                  <a:lnTo>
                    <a:pt x="3057" y="2184"/>
                  </a:lnTo>
                  <a:lnTo>
                    <a:pt x="3069" y="2052"/>
                  </a:lnTo>
                  <a:lnTo>
                    <a:pt x="3117" y="1968"/>
                  </a:lnTo>
                  <a:lnTo>
                    <a:pt x="2973" y="1908"/>
                  </a:lnTo>
                  <a:lnTo>
                    <a:pt x="2973" y="1800"/>
                  </a:lnTo>
                  <a:lnTo>
                    <a:pt x="3045" y="1764"/>
                  </a:lnTo>
                  <a:lnTo>
                    <a:pt x="3129" y="1800"/>
                  </a:lnTo>
                  <a:lnTo>
                    <a:pt x="3273" y="1812"/>
                  </a:lnTo>
                  <a:lnTo>
                    <a:pt x="3453" y="1788"/>
                  </a:lnTo>
                  <a:lnTo>
                    <a:pt x="3621" y="1776"/>
                  </a:lnTo>
                  <a:lnTo>
                    <a:pt x="3693" y="1788"/>
                  </a:lnTo>
                  <a:lnTo>
                    <a:pt x="3753" y="1896"/>
                  </a:lnTo>
                  <a:lnTo>
                    <a:pt x="3825" y="1824"/>
                  </a:lnTo>
                  <a:lnTo>
                    <a:pt x="3873" y="1728"/>
                  </a:lnTo>
                  <a:lnTo>
                    <a:pt x="3945" y="1752"/>
                  </a:lnTo>
                  <a:lnTo>
                    <a:pt x="4041" y="1824"/>
                  </a:lnTo>
                  <a:lnTo>
                    <a:pt x="4089" y="1944"/>
                  </a:lnTo>
                  <a:lnTo>
                    <a:pt x="4041" y="2052"/>
                  </a:lnTo>
                  <a:lnTo>
                    <a:pt x="3921" y="1920"/>
                  </a:lnTo>
                  <a:lnTo>
                    <a:pt x="3945" y="2040"/>
                  </a:lnTo>
                  <a:lnTo>
                    <a:pt x="3993" y="2172"/>
                  </a:lnTo>
                  <a:lnTo>
                    <a:pt x="3909" y="2268"/>
                  </a:lnTo>
                  <a:lnTo>
                    <a:pt x="3837" y="2376"/>
                  </a:lnTo>
                  <a:lnTo>
                    <a:pt x="3789" y="2508"/>
                  </a:lnTo>
                  <a:lnTo>
                    <a:pt x="3753" y="2604"/>
                  </a:lnTo>
                  <a:lnTo>
                    <a:pt x="3693" y="2736"/>
                  </a:lnTo>
                  <a:lnTo>
                    <a:pt x="3597" y="2808"/>
                  </a:lnTo>
                  <a:lnTo>
                    <a:pt x="3489" y="2856"/>
                  </a:lnTo>
                  <a:lnTo>
                    <a:pt x="3501" y="2964"/>
                  </a:lnTo>
                  <a:lnTo>
                    <a:pt x="3561" y="3024"/>
                  </a:lnTo>
                  <a:lnTo>
                    <a:pt x="3669" y="3000"/>
                  </a:lnTo>
                  <a:lnTo>
                    <a:pt x="3729" y="2916"/>
                  </a:lnTo>
                  <a:lnTo>
                    <a:pt x="3801" y="2928"/>
                  </a:lnTo>
                  <a:lnTo>
                    <a:pt x="3873" y="2916"/>
                  </a:lnTo>
                  <a:lnTo>
                    <a:pt x="3969" y="2916"/>
                  </a:lnTo>
                  <a:lnTo>
                    <a:pt x="4041" y="2988"/>
                  </a:lnTo>
                  <a:lnTo>
                    <a:pt x="4065" y="3084"/>
                  </a:lnTo>
                  <a:lnTo>
                    <a:pt x="4017" y="3168"/>
                  </a:lnTo>
                  <a:lnTo>
                    <a:pt x="4029" y="3252"/>
                  </a:lnTo>
                  <a:lnTo>
                    <a:pt x="4113" y="3300"/>
                  </a:lnTo>
                  <a:lnTo>
                    <a:pt x="4233" y="3324"/>
                  </a:lnTo>
                  <a:lnTo>
                    <a:pt x="4353" y="3396"/>
                  </a:lnTo>
                  <a:lnTo>
                    <a:pt x="4401" y="3492"/>
                  </a:lnTo>
                  <a:lnTo>
                    <a:pt x="4461" y="3636"/>
                  </a:lnTo>
                  <a:lnTo>
                    <a:pt x="4389" y="3696"/>
                  </a:lnTo>
                  <a:lnTo>
                    <a:pt x="4413" y="3804"/>
                  </a:lnTo>
                  <a:lnTo>
                    <a:pt x="4269" y="3744"/>
                  </a:lnTo>
                  <a:lnTo>
                    <a:pt x="4209" y="3636"/>
                  </a:lnTo>
                  <a:lnTo>
                    <a:pt x="4113" y="3564"/>
                  </a:lnTo>
                  <a:lnTo>
                    <a:pt x="3945" y="3540"/>
                  </a:lnTo>
                  <a:lnTo>
                    <a:pt x="3825" y="3528"/>
                  </a:lnTo>
                  <a:lnTo>
                    <a:pt x="3825" y="3648"/>
                  </a:lnTo>
                  <a:lnTo>
                    <a:pt x="3789" y="3756"/>
                  </a:lnTo>
                  <a:lnTo>
                    <a:pt x="3741" y="3840"/>
                  </a:lnTo>
                  <a:lnTo>
                    <a:pt x="3693" y="3924"/>
                  </a:lnTo>
                  <a:lnTo>
                    <a:pt x="3729" y="4020"/>
                  </a:lnTo>
                  <a:lnTo>
                    <a:pt x="3645" y="4056"/>
                  </a:lnTo>
                  <a:lnTo>
                    <a:pt x="3573" y="3984"/>
                  </a:lnTo>
                  <a:lnTo>
                    <a:pt x="3561" y="3900"/>
                  </a:lnTo>
                  <a:lnTo>
                    <a:pt x="3501" y="3804"/>
                  </a:lnTo>
                  <a:lnTo>
                    <a:pt x="3597" y="3744"/>
                  </a:lnTo>
                  <a:lnTo>
                    <a:pt x="3621" y="3612"/>
                  </a:lnTo>
                  <a:lnTo>
                    <a:pt x="3681" y="3576"/>
                  </a:lnTo>
                  <a:lnTo>
                    <a:pt x="3681" y="3516"/>
                  </a:lnTo>
                  <a:lnTo>
                    <a:pt x="3537" y="3516"/>
                  </a:lnTo>
                  <a:lnTo>
                    <a:pt x="3477" y="3456"/>
                  </a:lnTo>
                  <a:lnTo>
                    <a:pt x="3453" y="3396"/>
                  </a:lnTo>
                  <a:lnTo>
                    <a:pt x="3357" y="3420"/>
                  </a:lnTo>
                  <a:lnTo>
                    <a:pt x="3309" y="3420"/>
                  </a:lnTo>
                  <a:lnTo>
                    <a:pt x="3249" y="3504"/>
                  </a:lnTo>
                  <a:lnTo>
                    <a:pt x="3297" y="3624"/>
                  </a:lnTo>
                  <a:lnTo>
                    <a:pt x="3297" y="3732"/>
                  </a:lnTo>
                  <a:lnTo>
                    <a:pt x="3237" y="3828"/>
                  </a:lnTo>
                  <a:lnTo>
                    <a:pt x="3237" y="3924"/>
                  </a:lnTo>
                  <a:lnTo>
                    <a:pt x="3345" y="3936"/>
                  </a:lnTo>
                  <a:lnTo>
                    <a:pt x="3417" y="3960"/>
                  </a:lnTo>
                  <a:lnTo>
                    <a:pt x="3441" y="4104"/>
                  </a:lnTo>
                  <a:lnTo>
                    <a:pt x="3513" y="4188"/>
                  </a:lnTo>
                  <a:lnTo>
                    <a:pt x="3393" y="4272"/>
                  </a:lnTo>
                  <a:lnTo>
                    <a:pt x="3381" y="4404"/>
                  </a:lnTo>
                  <a:lnTo>
                    <a:pt x="3333" y="4464"/>
                  </a:lnTo>
                  <a:lnTo>
                    <a:pt x="3369" y="4584"/>
                  </a:lnTo>
                  <a:lnTo>
                    <a:pt x="3249" y="4572"/>
                  </a:lnTo>
                  <a:lnTo>
                    <a:pt x="3177" y="4560"/>
                  </a:lnTo>
                  <a:lnTo>
                    <a:pt x="3057" y="4548"/>
                  </a:lnTo>
                  <a:lnTo>
                    <a:pt x="2949" y="4644"/>
                  </a:lnTo>
                  <a:lnTo>
                    <a:pt x="2829" y="4632"/>
                  </a:lnTo>
                  <a:lnTo>
                    <a:pt x="2721" y="4608"/>
                  </a:lnTo>
                  <a:lnTo>
                    <a:pt x="2613" y="4632"/>
                  </a:lnTo>
                  <a:lnTo>
                    <a:pt x="2469" y="4668"/>
                  </a:lnTo>
                  <a:lnTo>
                    <a:pt x="2421" y="4848"/>
                  </a:lnTo>
                  <a:lnTo>
                    <a:pt x="2457" y="4980"/>
                  </a:lnTo>
                  <a:lnTo>
                    <a:pt x="2445" y="5052"/>
                  </a:lnTo>
                  <a:lnTo>
                    <a:pt x="2361" y="5184"/>
                  </a:lnTo>
                  <a:lnTo>
                    <a:pt x="2301" y="5274"/>
                  </a:lnTo>
                  <a:lnTo>
                    <a:pt x="2505" y="5340"/>
                  </a:lnTo>
                  <a:lnTo>
                    <a:pt x="2985" y="5640"/>
                  </a:lnTo>
                  <a:lnTo>
                    <a:pt x="3525" y="6036"/>
                  </a:lnTo>
                  <a:lnTo>
                    <a:pt x="3885" y="6048"/>
                  </a:lnTo>
                  <a:lnTo>
                    <a:pt x="4797" y="6216"/>
                  </a:lnTo>
                  <a:lnTo>
                    <a:pt x="4989" y="5952"/>
                  </a:lnTo>
                  <a:lnTo>
                    <a:pt x="5109" y="5820"/>
                  </a:lnTo>
                  <a:lnTo>
                    <a:pt x="5865" y="5448"/>
                  </a:lnTo>
                  <a:lnTo>
                    <a:pt x="5877" y="5352"/>
                  </a:lnTo>
                  <a:lnTo>
                    <a:pt x="5817" y="5232"/>
                  </a:lnTo>
                  <a:lnTo>
                    <a:pt x="5889" y="5184"/>
                  </a:lnTo>
                  <a:lnTo>
                    <a:pt x="5985" y="5220"/>
                  </a:lnTo>
                  <a:lnTo>
                    <a:pt x="6081" y="5124"/>
                  </a:lnTo>
                  <a:lnTo>
                    <a:pt x="6213" y="5088"/>
                  </a:lnTo>
                  <a:lnTo>
                    <a:pt x="6213" y="4980"/>
                  </a:lnTo>
                  <a:lnTo>
                    <a:pt x="6309" y="5004"/>
                  </a:lnTo>
                  <a:lnTo>
                    <a:pt x="6441" y="4980"/>
                  </a:lnTo>
                  <a:lnTo>
                    <a:pt x="6609" y="4992"/>
                  </a:lnTo>
                  <a:lnTo>
                    <a:pt x="6537" y="4860"/>
                  </a:lnTo>
                  <a:lnTo>
                    <a:pt x="6441" y="4776"/>
                  </a:lnTo>
                  <a:lnTo>
                    <a:pt x="6357" y="4680"/>
                  </a:lnTo>
                  <a:lnTo>
                    <a:pt x="6357" y="4548"/>
                  </a:lnTo>
                  <a:lnTo>
                    <a:pt x="6285" y="4404"/>
                  </a:lnTo>
                  <a:lnTo>
                    <a:pt x="6237" y="4344"/>
                  </a:lnTo>
                  <a:lnTo>
                    <a:pt x="6285" y="4296"/>
                  </a:lnTo>
                  <a:lnTo>
                    <a:pt x="6345" y="4152"/>
                  </a:lnTo>
                  <a:lnTo>
                    <a:pt x="6285" y="4116"/>
                  </a:lnTo>
                  <a:lnTo>
                    <a:pt x="6213" y="4056"/>
                  </a:lnTo>
                  <a:lnTo>
                    <a:pt x="6177" y="3948"/>
                  </a:lnTo>
                  <a:lnTo>
                    <a:pt x="6093" y="3948"/>
                  </a:lnTo>
                  <a:lnTo>
                    <a:pt x="6057" y="3852"/>
                  </a:lnTo>
                  <a:lnTo>
                    <a:pt x="5961" y="3816"/>
                  </a:lnTo>
                  <a:lnTo>
                    <a:pt x="5985" y="3708"/>
                  </a:lnTo>
                  <a:lnTo>
                    <a:pt x="5985" y="3588"/>
                  </a:lnTo>
                  <a:lnTo>
                    <a:pt x="6105" y="3588"/>
                  </a:lnTo>
                  <a:lnTo>
                    <a:pt x="6117" y="3492"/>
                  </a:lnTo>
                  <a:lnTo>
                    <a:pt x="6177" y="3336"/>
                  </a:lnTo>
                  <a:lnTo>
                    <a:pt x="6285" y="3444"/>
                  </a:lnTo>
                  <a:lnTo>
                    <a:pt x="6357" y="3552"/>
                  </a:lnTo>
                  <a:lnTo>
                    <a:pt x="6429" y="3684"/>
                  </a:lnTo>
                  <a:lnTo>
                    <a:pt x="6489" y="3756"/>
                  </a:lnTo>
                  <a:lnTo>
                    <a:pt x="6561" y="3828"/>
                  </a:lnTo>
                  <a:lnTo>
                    <a:pt x="6693" y="3720"/>
                  </a:lnTo>
                  <a:lnTo>
                    <a:pt x="6681" y="3576"/>
                  </a:lnTo>
                  <a:lnTo>
                    <a:pt x="6789" y="3456"/>
                  </a:lnTo>
                  <a:lnTo>
                    <a:pt x="6909" y="3432"/>
                  </a:lnTo>
                  <a:lnTo>
                    <a:pt x="6981" y="3384"/>
                  </a:lnTo>
                  <a:lnTo>
                    <a:pt x="7053" y="3252"/>
                  </a:lnTo>
                  <a:lnTo>
                    <a:pt x="7065" y="3108"/>
                  </a:lnTo>
                  <a:lnTo>
                    <a:pt x="7137" y="3024"/>
                  </a:lnTo>
                  <a:lnTo>
                    <a:pt x="7185" y="2868"/>
                  </a:lnTo>
                  <a:lnTo>
                    <a:pt x="7161" y="2760"/>
                  </a:lnTo>
                  <a:lnTo>
                    <a:pt x="7077" y="2640"/>
                  </a:lnTo>
                  <a:lnTo>
                    <a:pt x="7005" y="2556"/>
                  </a:lnTo>
                  <a:lnTo>
                    <a:pt x="7017" y="2436"/>
                  </a:lnTo>
                  <a:lnTo>
                    <a:pt x="6993" y="2316"/>
                  </a:lnTo>
                  <a:lnTo>
                    <a:pt x="7017" y="2172"/>
                  </a:lnTo>
                  <a:lnTo>
                    <a:pt x="7053" y="1980"/>
                  </a:lnTo>
                  <a:lnTo>
                    <a:pt x="7125" y="1860"/>
                  </a:lnTo>
                  <a:lnTo>
                    <a:pt x="7185" y="1752"/>
                  </a:lnTo>
                  <a:lnTo>
                    <a:pt x="7137" y="1632"/>
                  </a:lnTo>
                  <a:lnTo>
                    <a:pt x="7209" y="1560"/>
                  </a:lnTo>
                  <a:lnTo>
                    <a:pt x="7269" y="1632"/>
                  </a:lnTo>
                  <a:lnTo>
                    <a:pt x="7353" y="1668"/>
                  </a:lnTo>
                  <a:lnTo>
                    <a:pt x="7437" y="1704"/>
                  </a:lnTo>
                  <a:lnTo>
                    <a:pt x="7473" y="1800"/>
                  </a:lnTo>
                  <a:lnTo>
                    <a:pt x="7509" y="1932"/>
                  </a:lnTo>
                  <a:lnTo>
                    <a:pt x="7545" y="2004"/>
                  </a:lnTo>
                  <a:lnTo>
                    <a:pt x="7605" y="1932"/>
                  </a:lnTo>
                  <a:lnTo>
                    <a:pt x="7689" y="1824"/>
                  </a:lnTo>
                  <a:lnTo>
                    <a:pt x="7785" y="1788"/>
                  </a:lnTo>
                  <a:lnTo>
                    <a:pt x="7785" y="1632"/>
                  </a:lnTo>
                  <a:lnTo>
                    <a:pt x="7713" y="1560"/>
                  </a:lnTo>
                  <a:lnTo>
                    <a:pt x="7725" y="1440"/>
                  </a:lnTo>
                  <a:lnTo>
                    <a:pt x="7701" y="1368"/>
                  </a:lnTo>
                  <a:lnTo>
                    <a:pt x="7629" y="1236"/>
                  </a:lnTo>
                  <a:lnTo>
                    <a:pt x="7545" y="1152"/>
                  </a:lnTo>
                  <a:lnTo>
                    <a:pt x="7497" y="1068"/>
                  </a:lnTo>
                  <a:lnTo>
                    <a:pt x="7485" y="924"/>
                  </a:lnTo>
                  <a:lnTo>
                    <a:pt x="7401" y="840"/>
                  </a:lnTo>
                  <a:lnTo>
                    <a:pt x="7341" y="744"/>
                  </a:lnTo>
                  <a:lnTo>
                    <a:pt x="7329" y="648"/>
                  </a:lnTo>
                  <a:lnTo>
                    <a:pt x="7257" y="612"/>
                  </a:lnTo>
                  <a:lnTo>
                    <a:pt x="7197" y="648"/>
                  </a:lnTo>
                  <a:lnTo>
                    <a:pt x="7101" y="672"/>
                  </a:lnTo>
                  <a:lnTo>
                    <a:pt x="7077" y="816"/>
                  </a:lnTo>
                  <a:lnTo>
                    <a:pt x="6945" y="804"/>
                  </a:lnTo>
                  <a:lnTo>
                    <a:pt x="6801" y="840"/>
                  </a:lnTo>
                  <a:lnTo>
                    <a:pt x="6705" y="792"/>
                  </a:lnTo>
                  <a:lnTo>
                    <a:pt x="6609" y="816"/>
                  </a:lnTo>
                  <a:lnTo>
                    <a:pt x="6477" y="840"/>
                  </a:lnTo>
                  <a:lnTo>
                    <a:pt x="6357" y="792"/>
                  </a:lnTo>
                  <a:lnTo>
                    <a:pt x="6273" y="840"/>
                  </a:lnTo>
                  <a:lnTo>
                    <a:pt x="6165" y="912"/>
                  </a:lnTo>
                  <a:lnTo>
                    <a:pt x="6081" y="960"/>
                  </a:lnTo>
                  <a:lnTo>
                    <a:pt x="5985" y="984"/>
                  </a:lnTo>
                  <a:lnTo>
                    <a:pt x="5925" y="936"/>
                  </a:lnTo>
                  <a:lnTo>
                    <a:pt x="6021" y="876"/>
                  </a:lnTo>
                  <a:lnTo>
                    <a:pt x="5949" y="828"/>
                  </a:lnTo>
                  <a:lnTo>
                    <a:pt x="5861" y="8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5" name="Freeform 6">
              <a:extLst>
                <a:ext uri="{FF2B5EF4-FFF2-40B4-BE49-F238E27FC236}">
                  <a16:creationId xmlns:a16="http://schemas.microsoft.com/office/drawing/2014/main" id="{A1ED4CD8-95BC-4D1E-8498-A4BED3F4014A}"/>
                </a:ext>
              </a:extLst>
            </p:cNvPr>
            <p:cNvSpPr>
              <a:spLocks/>
            </p:cNvSpPr>
            <p:nvPr/>
          </p:nvSpPr>
          <p:spPr bwMode="auto">
            <a:xfrm>
              <a:off x="4667679" y="2467363"/>
              <a:ext cx="1816779" cy="1777345"/>
            </a:xfrm>
            <a:custGeom>
              <a:avLst/>
              <a:gdLst>
                <a:gd name="T0" fmla="*/ 84 w 6450"/>
                <a:gd name="T1" fmla="*/ 1236 h 6311"/>
                <a:gd name="T2" fmla="*/ 228 w 6450"/>
                <a:gd name="T3" fmla="*/ 900 h 6311"/>
                <a:gd name="T4" fmla="*/ 372 w 6450"/>
                <a:gd name="T5" fmla="*/ 420 h 6311"/>
                <a:gd name="T6" fmla="*/ 588 w 6450"/>
                <a:gd name="T7" fmla="*/ 84 h 6311"/>
                <a:gd name="T8" fmla="*/ 1500 w 6450"/>
                <a:gd name="T9" fmla="*/ 60 h 6311"/>
                <a:gd name="T10" fmla="*/ 2004 w 6450"/>
                <a:gd name="T11" fmla="*/ 60 h 6311"/>
                <a:gd name="T12" fmla="*/ 1884 w 6450"/>
                <a:gd name="T13" fmla="*/ 624 h 6311"/>
                <a:gd name="T14" fmla="*/ 2112 w 6450"/>
                <a:gd name="T15" fmla="*/ 1020 h 6311"/>
                <a:gd name="T16" fmla="*/ 2436 w 6450"/>
                <a:gd name="T17" fmla="*/ 1404 h 6311"/>
                <a:gd name="T18" fmla="*/ 3072 w 6450"/>
                <a:gd name="T19" fmla="*/ 1884 h 6311"/>
                <a:gd name="T20" fmla="*/ 5652 w 6450"/>
                <a:gd name="T21" fmla="*/ 2748 h 6311"/>
                <a:gd name="T22" fmla="*/ 2964 w 6450"/>
                <a:gd name="T23" fmla="*/ 5460 h 6311"/>
                <a:gd name="T24" fmla="*/ 1992 w 6450"/>
                <a:gd name="T25" fmla="*/ 5940 h 6311"/>
                <a:gd name="T26" fmla="*/ 1017 w 6450"/>
                <a:gd name="T27" fmla="*/ 6311 h 6311"/>
                <a:gd name="T28" fmla="*/ 444 w 6450"/>
                <a:gd name="T29" fmla="*/ 6300 h 6311"/>
                <a:gd name="T30" fmla="*/ 72 w 6450"/>
                <a:gd name="T31" fmla="*/ 5940 h 6311"/>
                <a:gd name="T32" fmla="*/ 180 w 6450"/>
                <a:gd name="T33" fmla="*/ 5808 h 6311"/>
                <a:gd name="T34" fmla="*/ 408 w 6450"/>
                <a:gd name="T35" fmla="*/ 5568 h 6311"/>
                <a:gd name="T36" fmla="*/ 804 w 6450"/>
                <a:gd name="T37" fmla="*/ 5580 h 6311"/>
                <a:gd name="T38" fmla="*/ 552 w 6450"/>
                <a:gd name="T39" fmla="*/ 5268 h 6311"/>
                <a:gd name="T40" fmla="*/ 432 w 6450"/>
                <a:gd name="T41" fmla="*/ 4932 h 6311"/>
                <a:gd name="T42" fmla="*/ 480 w 6450"/>
                <a:gd name="T43" fmla="*/ 4704 h 6311"/>
                <a:gd name="T44" fmla="*/ 288 w 6450"/>
                <a:gd name="T45" fmla="*/ 4536 h 6311"/>
                <a:gd name="T46" fmla="*/ 180 w 6450"/>
                <a:gd name="T47" fmla="*/ 4296 h 6311"/>
                <a:gd name="T48" fmla="*/ 312 w 6450"/>
                <a:gd name="T49" fmla="*/ 4080 h 6311"/>
                <a:gd name="T50" fmla="*/ 552 w 6450"/>
                <a:gd name="T51" fmla="*/ 4140 h 6311"/>
                <a:gd name="T52" fmla="*/ 756 w 6450"/>
                <a:gd name="T53" fmla="*/ 4416 h 6311"/>
                <a:gd name="T54" fmla="*/ 984 w 6450"/>
                <a:gd name="T55" fmla="*/ 4044 h 6311"/>
                <a:gd name="T56" fmla="*/ 1248 w 6450"/>
                <a:gd name="T57" fmla="*/ 3840 h 6311"/>
                <a:gd name="T58" fmla="*/ 1380 w 6450"/>
                <a:gd name="T59" fmla="*/ 3456 h 6311"/>
                <a:gd name="T60" fmla="*/ 1200 w 6450"/>
                <a:gd name="T61" fmla="*/ 3144 h 6311"/>
                <a:gd name="T62" fmla="*/ 1212 w 6450"/>
                <a:gd name="T63" fmla="*/ 2760 h 6311"/>
                <a:gd name="T64" fmla="*/ 1380 w 6450"/>
                <a:gd name="T65" fmla="*/ 2340 h 6311"/>
                <a:gd name="T66" fmla="*/ 1464 w 6450"/>
                <a:gd name="T67" fmla="*/ 2220 h 6311"/>
                <a:gd name="T68" fmla="*/ 1668 w 6450"/>
                <a:gd name="T69" fmla="*/ 2388 h 6311"/>
                <a:gd name="T70" fmla="*/ 1800 w 6450"/>
                <a:gd name="T71" fmla="*/ 2520 h 6311"/>
                <a:gd name="T72" fmla="*/ 1980 w 6450"/>
                <a:gd name="T73" fmla="*/ 2220 h 6311"/>
                <a:gd name="T74" fmla="*/ 1896 w 6450"/>
                <a:gd name="T75" fmla="*/ 1956 h 6311"/>
                <a:gd name="T76" fmla="*/ 1692 w 6450"/>
                <a:gd name="T77" fmla="*/ 1656 h 6311"/>
                <a:gd name="T78" fmla="*/ 1536 w 6450"/>
                <a:gd name="T79" fmla="*/ 1332 h 6311"/>
                <a:gd name="T80" fmla="*/ 1391 w 6450"/>
                <a:gd name="T81" fmla="*/ 1236 h 6311"/>
                <a:gd name="T82" fmla="*/ 1140 w 6450"/>
                <a:gd name="T83" fmla="*/ 1392 h 6311"/>
                <a:gd name="T84" fmla="*/ 804 w 6450"/>
                <a:gd name="T85" fmla="*/ 1404 h 6311"/>
                <a:gd name="T86" fmla="*/ 468 w 6450"/>
                <a:gd name="T87" fmla="*/ 1428 h 6311"/>
                <a:gd name="T88" fmla="*/ 180 w 6450"/>
                <a:gd name="T89" fmla="*/ 1572 h 6311"/>
                <a:gd name="T90" fmla="*/ 144 w 6450"/>
                <a:gd name="T91" fmla="*/ 1416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50" h="6311">
                  <a:moveTo>
                    <a:pt x="56" y="1428"/>
                  </a:moveTo>
                  <a:lnTo>
                    <a:pt x="0" y="1380"/>
                  </a:lnTo>
                  <a:lnTo>
                    <a:pt x="84" y="1236"/>
                  </a:lnTo>
                  <a:lnTo>
                    <a:pt x="144" y="1140"/>
                  </a:lnTo>
                  <a:lnTo>
                    <a:pt x="288" y="1020"/>
                  </a:lnTo>
                  <a:lnTo>
                    <a:pt x="228" y="900"/>
                  </a:lnTo>
                  <a:lnTo>
                    <a:pt x="276" y="756"/>
                  </a:lnTo>
                  <a:lnTo>
                    <a:pt x="324" y="588"/>
                  </a:lnTo>
                  <a:lnTo>
                    <a:pt x="372" y="420"/>
                  </a:lnTo>
                  <a:lnTo>
                    <a:pt x="384" y="300"/>
                  </a:lnTo>
                  <a:lnTo>
                    <a:pt x="480" y="192"/>
                  </a:lnTo>
                  <a:lnTo>
                    <a:pt x="588" y="84"/>
                  </a:lnTo>
                  <a:lnTo>
                    <a:pt x="978" y="84"/>
                  </a:lnTo>
                  <a:lnTo>
                    <a:pt x="1224" y="84"/>
                  </a:lnTo>
                  <a:lnTo>
                    <a:pt x="1500" y="60"/>
                  </a:lnTo>
                  <a:lnTo>
                    <a:pt x="1716" y="0"/>
                  </a:lnTo>
                  <a:lnTo>
                    <a:pt x="1824" y="0"/>
                  </a:lnTo>
                  <a:lnTo>
                    <a:pt x="2004" y="60"/>
                  </a:lnTo>
                  <a:lnTo>
                    <a:pt x="1908" y="228"/>
                  </a:lnTo>
                  <a:lnTo>
                    <a:pt x="1788" y="420"/>
                  </a:lnTo>
                  <a:lnTo>
                    <a:pt x="1884" y="624"/>
                  </a:lnTo>
                  <a:lnTo>
                    <a:pt x="1980" y="780"/>
                  </a:lnTo>
                  <a:lnTo>
                    <a:pt x="2076" y="900"/>
                  </a:lnTo>
                  <a:lnTo>
                    <a:pt x="2112" y="1020"/>
                  </a:lnTo>
                  <a:lnTo>
                    <a:pt x="2268" y="1044"/>
                  </a:lnTo>
                  <a:lnTo>
                    <a:pt x="2340" y="1236"/>
                  </a:lnTo>
                  <a:lnTo>
                    <a:pt x="2436" y="1404"/>
                  </a:lnTo>
                  <a:lnTo>
                    <a:pt x="2640" y="1560"/>
                  </a:lnTo>
                  <a:lnTo>
                    <a:pt x="2892" y="1740"/>
                  </a:lnTo>
                  <a:lnTo>
                    <a:pt x="3072" y="1884"/>
                  </a:lnTo>
                  <a:lnTo>
                    <a:pt x="3792" y="2112"/>
                  </a:lnTo>
                  <a:lnTo>
                    <a:pt x="4668" y="2412"/>
                  </a:lnTo>
                  <a:lnTo>
                    <a:pt x="5652" y="2748"/>
                  </a:lnTo>
                  <a:lnTo>
                    <a:pt x="6450" y="2712"/>
                  </a:lnTo>
                  <a:lnTo>
                    <a:pt x="3840" y="5502"/>
                  </a:lnTo>
                  <a:lnTo>
                    <a:pt x="2964" y="5460"/>
                  </a:lnTo>
                  <a:lnTo>
                    <a:pt x="2412" y="5604"/>
                  </a:lnTo>
                  <a:lnTo>
                    <a:pt x="2172" y="5724"/>
                  </a:lnTo>
                  <a:lnTo>
                    <a:pt x="1992" y="5940"/>
                  </a:lnTo>
                  <a:lnTo>
                    <a:pt x="1752" y="6072"/>
                  </a:lnTo>
                  <a:lnTo>
                    <a:pt x="1260" y="6132"/>
                  </a:lnTo>
                  <a:lnTo>
                    <a:pt x="1017" y="6311"/>
                  </a:lnTo>
                  <a:lnTo>
                    <a:pt x="948" y="6300"/>
                  </a:lnTo>
                  <a:lnTo>
                    <a:pt x="684" y="6300"/>
                  </a:lnTo>
                  <a:lnTo>
                    <a:pt x="444" y="6300"/>
                  </a:lnTo>
                  <a:lnTo>
                    <a:pt x="300" y="6192"/>
                  </a:lnTo>
                  <a:lnTo>
                    <a:pt x="60" y="6036"/>
                  </a:lnTo>
                  <a:lnTo>
                    <a:pt x="72" y="5940"/>
                  </a:lnTo>
                  <a:lnTo>
                    <a:pt x="12" y="5820"/>
                  </a:lnTo>
                  <a:lnTo>
                    <a:pt x="84" y="5772"/>
                  </a:lnTo>
                  <a:lnTo>
                    <a:pt x="180" y="5808"/>
                  </a:lnTo>
                  <a:lnTo>
                    <a:pt x="276" y="5712"/>
                  </a:lnTo>
                  <a:lnTo>
                    <a:pt x="408" y="5676"/>
                  </a:lnTo>
                  <a:lnTo>
                    <a:pt x="408" y="5568"/>
                  </a:lnTo>
                  <a:lnTo>
                    <a:pt x="504" y="5592"/>
                  </a:lnTo>
                  <a:lnTo>
                    <a:pt x="636" y="5568"/>
                  </a:lnTo>
                  <a:lnTo>
                    <a:pt x="804" y="5580"/>
                  </a:lnTo>
                  <a:lnTo>
                    <a:pt x="732" y="5448"/>
                  </a:lnTo>
                  <a:lnTo>
                    <a:pt x="636" y="5364"/>
                  </a:lnTo>
                  <a:lnTo>
                    <a:pt x="552" y="5268"/>
                  </a:lnTo>
                  <a:lnTo>
                    <a:pt x="552" y="5136"/>
                  </a:lnTo>
                  <a:lnTo>
                    <a:pt x="480" y="4992"/>
                  </a:lnTo>
                  <a:lnTo>
                    <a:pt x="432" y="4932"/>
                  </a:lnTo>
                  <a:lnTo>
                    <a:pt x="480" y="4884"/>
                  </a:lnTo>
                  <a:lnTo>
                    <a:pt x="540" y="4740"/>
                  </a:lnTo>
                  <a:lnTo>
                    <a:pt x="480" y="4704"/>
                  </a:lnTo>
                  <a:lnTo>
                    <a:pt x="408" y="4644"/>
                  </a:lnTo>
                  <a:lnTo>
                    <a:pt x="372" y="4536"/>
                  </a:lnTo>
                  <a:lnTo>
                    <a:pt x="288" y="4536"/>
                  </a:lnTo>
                  <a:lnTo>
                    <a:pt x="252" y="4440"/>
                  </a:lnTo>
                  <a:lnTo>
                    <a:pt x="156" y="4404"/>
                  </a:lnTo>
                  <a:lnTo>
                    <a:pt x="180" y="4296"/>
                  </a:lnTo>
                  <a:lnTo>
                    <a:pt x="180" y="4176"/>
                  </a:lnTo>
                  <a:lnTo>
                    <a:pt x="300" y="4176"/>
                  </a:lnTo>
                  <a:lnTo>
                    <a:pt x="312" y="4080"/>
                  </a:lnTo>
                  <a:lnTo>
                    <a:pt x="372" y="3924"/>
                  </a:lnTo>
                  <a:lnTo>
                    <a:pt x="480" y="4032"/>
                  </a:lnTo>
                  <a:lnTo>
                    <a:pt x="552" y="4140"/>
                  </a:lnTo>
                  <a:lnTo>
                    <a:pt x="624" y="4272"/>
                  </a:lnTo>
                  <a:lnTo>
                    <a:pt x="684" y="4344"/>
                  </a:lnTo>
                  <a:lnTo>
                    <a:pt x="756" y="4416"/>
                  </a:lnTo>
                  <a:lnTo>
                    <a:pt x="888" y="4308"/>
                  </a:lnTo>
                  <a:lnTo>
                    <a:pt x="876" y="4164"/>
                  </a:lnTo>
                  <a:lnTo>
                    <a:pt x="984" y="4044"/>
                  </a:lnTo>
                  <a:lnTo>
                    <a:pt x="1104" y="4020"/>
                  </a:lnTo>
                  <a:lnTo>
                    <a:pt x="1176" y="3972"/>
                  </a:lnTo>
                  <a:lnTo>
                    <a:pt x="1248" y="3840"/>
                  </a:lnTo>
                  <a:lnTo>
                    <a:pt x="1260" y="3696"/>
                  </a:lnTo>
                  <a:lnTo>
                    <a:pt x="1332" y="3612"/>
                  </a:lnTo>
                  <a:lnTo>
                    <a:pt x="1380" y="3456"/>
                  </a:lnTo>
                  <a:lnTo>
                    <a:pt x="1356" y="3348"/>
                  </a:lnTo>
                  <a:lnTo>
                    <a:pt x="1272" y="3228"/>
                  </a:lnTo>
                  <a:lnTo>
                    <a:pt x="1200" y="3144"/>
                  </a:lnTo>
                  <a:lnTo>
                    <a:pt x="1212" y="3024"/>
                  </a:lnTo>
                  <a:lnTo>
                    <a:pt x="1188" y="2904"/>
                  </a:lnTo>
                  <a:lnTo>
                    <a:pt x="1212" y="2760"/>
                  </a:lnTo>
                  <a:lnTo>
                    <a:pt x="1248" y="2568"/>
                  </a:lnTo>
                  <a:lnTo>
                    <a:pt x="1320" y="2448"/>
                  </a:lnTo>
                  <a:lnTo>
                    <a:pt x="1380" y="2340"/>
                  </a:lnTo>
                  <a:lnTo>
                    <a:pt x="1332" y="2220"/>
                  </a:lnTo>
                  <a:lnTo>
                    <a:pt x="1404" y="2148"/>
                  </a:lnTo>
                  <a:lnTo>
                    <a:pt x="1464" y="2220"/>
                  </a:lnTo>
                  <a:lnTo>
                    <a:pt x="1548" y="2256"/>
                  </a:lnTo>
                  <a:lnTo>
                    <a:pt x="1632" y="2292"/>
                  </a:lnTo>
                  <a:lnTo>
                    <a:pt x="1668" y="2388"/>
                  </a:lnTo>
                  <a:lnTo>
                    <a:pt x="1704" y="2520"/>
                  </a:lnTo>
                  <a:lnTo>
                    <a:pt x="1740" y="2592"/>
                  </a:lnTo>
                  <a:lnTo>
                    <a:pt x="1800" y="2520"/>
                  </a:lnTo>
                  <a:lnTo>
                    <a:pt x="1884" y="2412"/>
                  </a:lnTo>
                  <a:lnTo>
                    <a:pt x="1980" y="2376"/>
                  </a:lnTo>
                  <a:lnTo>
                    <a:pt x="1980" y="2220"/>
                  </a:lnTo>
                  <a:lnTo>
                    <a:pt x="1908" y="2148"/>
                  </a:lnTo>
                  <a:lnTo>
                    <a:pt x="1920" y="2028"/>
                  </a:lnTo>
                  <a:lnTo>
                    <a:pt x="1896" y="1956"/>
                  </a:lnTo>
                  <a:lnTo>
                    <a:pt x="1824" y="1824"/>
                  </a:lnTo>
                  <a:lnTo>
                    <a:pt x="1740" y="1740"/>
                  </a:lnTo>
                  <a:lnTo>
                    <a:pt x="1692" y="1656"/>
                  </a:lnTo>
                  <a:lnTo>
                    <a:pt x="1680" y="1512"/>
                  </a:lnTo>
                  <a:lnTo>
                    <a:pt x="1596" y="1428"/>
                  </a:lnTo>
                  <a:lnTo>
                    <a:pt x="1536" y="1332"/>
                  </a:lnTo>
                  <a:lnTo>
                    <a:pt x="1524" y="1236"/>
                  </a:lnTo>
                  <a:lnTo>
                    <a:pt x="1452" y="1200"/>
                  </a:lnTo>
                  <a:lnTo>
                    <a:pt x="1391" y="1236"/>
                  </a:lnTo>
                  <a:lnTo>
                    <a:pt x="1295" y="1260"/>
                  </a:lnTo>
                  <a:lnTo>
                    <a:pt x="1272" y="1406"/>
                  </a:lnTo>
                  <a:lnTo>
                    <a:pt x="1140" y="1392"/>
                  </a:lnTo>
                  <a:lnTo>
                    <a:pt x="999" y="1428"/>
                  </a:lnTo>
                  <a:lnTo>
                    <a:pt x="900" y="1380"/>
                  </a:lnTo>
                  <a:lnTo>
                    <a:pt x="804" y="1404"/>
                  </a:lnTo>
                  <a:lnTo>
                    <a:pt x="672" y="1428"/>
                  </a:lnTo>
                  <a:lnTo>
                    <a:pt x="552" y="1380"/>
                  </a:lnTo>
                  <a:lnTo>
                    <a:pt x="468" y="1428"/>
                  </a:lnTo>
                  <a:lnTo>
                    <a:pt x="360" y="1500"/>
                  </a:lnTo>
                  <a:lnTo>
                    <a:pt x="276" y="1548"/>
                  </a:lnTo>
                  <a:lnTo>
                    <a:pt x="180" y="1572"/>
                  </a:lnTo>
                  <a:lnTo>
                    <a:pt x="120" y="1524"/>
                  </a:lnTo>
                  <a:lnTo>
                    <a:pt x="216" y="1464"/>
                  </a:lnTo>
                  <a:lnTo>
                    <a:pt x="144" y="1416"/>
                  </a:lnTo>
                  <a:lnTo>
                    <a:pt x="56" y="1428"/>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6" name="Freeform 7">
              <a:extLst>
                <a:ext uri="{FF2B5EF4-FFF2-40B4-BE49-F238E27FC236}">
                  <a16:creationId xmlns:a16="http://schemas.microsoft.com/office/drawing/2014/main" id="{8CA3BC30-A5DD-4316-BE1C-C175367E9DF4}"/>
                </a:ext>
              </a:extLst>
            </p:cNvPr>
            <p:cNvSpPr>
              <a:spLocks/>
            </p:cNvSpPr>
            <p:nvPr/>
          </p:nvSpPr>
          <p:spPr bwMode="auto">
            <a:xfrm>
              <a:off x="3500153" y="2977188"/>
              <a:ext cx="81685" cy="54926"/>
            </a:xfrm>
            <a:custGeom>
              <a:avLst/>
              <a:gdLst>
                <a:gd name="T0" fmla="*/ 32 w 288"/>
                <a:gd name="T1" fmla="*/ 16 h 192"/>
                <a:gd name="T2" fmla="*/ 0 w 288"/>
                <a:gd name="T3" fmla="*/ 112 h 192"/>
                <a:gd name="T4" fmla="*/ 48 w 288"/>
                <a:gd name="T5" fmla="*/ 160 h 192"/>
                <a:gd name="T6" fmla="*/ 144 w 288"/>
                <a:gd name="T7" fmla="*/ 168 h 192"/>
                <a:gd name="T8" fmla="*/ 208 w 288"/>
                <a:gd name="T9" fmla="*/ 192 h 192"/>
                <a:gd name="T10" fmla="*/ 200 w 288"/>
                <a:gd name="T11" fmla="*/ 136 h 192"/>
                <a:gd name="T12" fmla="*/ 288 w 288"/>
                <a:gd name="T13" fmla="*/ 80 h 192"/>
                <a:gd name="T14" fmla="*/ 248 w 288"/>
                <a:gd name="T15" fmla="*/ 24 h 192"/>
                <a:gd name="T16" fmla="*/ 176 w 288"/>
                <a:gd name="T17" fmla="*/ 32 h 192"/>
                <a:gd name="T18" fmla="*/ 112 w 288"/>
                <a:gd name="T19" fmla="*/ 0 h 192"/>
                <a:gd name="T20" fmla="*/ 32 w 288"/>
                <a:gd name="T2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192">
                  <a:moveTo>
                    <a:pt x="32" y="16"/>
                  </a:moveTo>
                  <a:lnTo>
                    <a:pt x="0" y="112"/>
                  </a:lnTo>
                  <a:lnTo>
                    <a:pt x="48" y="160"/>
                  </a:lnTo>
                  <a:lnTo>
                    <a:pt x="144" y="168"/>
                  </a:lnTo>
                  <a:lnTo>
                    <a:pt x="208" y="192"/>
                  </a:lnTo>
                  <a:lnTo>
                    <a:pt x="200" y="136"/>
                  </a:lnTo>
                  <a:lnTo>
                    <a:pt x="288" y="80"/>
                  </a:lnTo>
                  <a:lnTo>
                    <a:pt x="248" y="24"/>
                  </a:lnTo>
                  <a:lnTo>
                    <a:pt x="176" y="32"/>
                  </a:lnTo>
                  <a:lnTo>
                    <a:pt x="112" y="0"/>
                  </a:lnTo>
                  <a:lnTo>
                    <a:pt x="32" y="16"/>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7" name="Freeform 8">
              <a:extLst>
                <a:ext uri="{FF2B5EF4-FFF2-40B4-BE49-F238E27FC236}">
                  <a16:creationId xmlns:a16="http://schemas.microsoft.com/office/drawing/2014/main" id="{8C059C3C-9636-4A59-9A7E-97925F89D4A6}"/>
                </a:ext>
              </a:extLst>
            </p:cNvPr>
            <p:cNvSpPr>
              <a:spLocks/>
            </p:cNvSpPr>
            <p:nvPr/>
          </p:nvSpPr>
          <p:spPr bwMode="auto">
            <a:xfrm>
              <a:off x="4163488" y="2958880"/>
              <a:ext cx="69010" cy="71827"/>
            </a:xfrm>
            <a:custGeom>
              <a:avLst/>
              <a:gdLst>
                <a:gd name="T0" fmla="*/ 33 w 244"/>
                <a:gd name="T1" fmla="*/ 24 h 254"/>
                <a:gd name="T2" fmla="*/ 0 w 244"/>
                <a:gd name="T3" fmla="*/ 91 h 254"/>
                <a:gd name="T4" fmla="*/ 9 w 244"/>
                <a:gd name="T5" fmla="*/ 153 h 254"/>
                <a:gd name="T6" fmla="*/ 52 w 244"/>
                <a:gd name="T7" fmla="*/ 206 h 254"/>
                <a:gd name="T8" fmla="*/ 105 w 244"/>
                <a:gd name="T9" fmla="*/ 249 h 254"/>
                <a:gd name="T10" fmla="*/ 148 w 244"/>
                <a:gd name="T11" fmla="*/ 254 h 254"/>
                <a:gd name="T12" fmla="*/ 177 w 244"/>
                <a:gd name="T13" fmla="*/ 225 h 254"/>
                <a:gd name="T14" fmla="*/ 196 w 244"/>
                <a:gd name="T15" fmla="*/ 168 h 254"/>
                <a:gd name="T16" fmla="*/ 244 w 244"/>
                <a:gd name="T17" fmla="*/ 125 h 254"/>
                <a:gd name="T18" fmla="*/ 216 w 244"/>
                <a:gd name="T19" fmla="*/ 57 h 254"/>
                <a:gd name="T20" fmla="*/ 192 w 244"/>
                <a:gd name="T21" fmla="*/ 0 h 254"/>
                <a:gd name="T22" fmla="*/ 110 w 244"/>
                <a:gd name="T23" fmla="*/ 14 h 254"/>
                <a:gd name="T24" fmla="*/ 33 w 244"/>
                <a:gd name="T25" fmla="*/ 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4">
                  <a:moveTo>
                    <a:pt x="33" y="24"/>
                  </a:moveTo>
                  <a:lnTo>
                    <a:pt x="0" y="91"/>
                  </a:lnTo>
                  <a:lnTo>
                    <a:pt x="9" y="153"/>
                  </a:lnTo>
                  <a:lnTo>
                    <a:pt x="52" y="206"/>
                  </a:lnTo>
                  <a:lnTo>
                    <a:pt x="105" y="249"/>
                  </a:lnTo>
                  <a:lnTo>
                    <a:pt x="148" y="254"/>
                  </a:lnTo>
                  <a:lnTo>
                    <a:pt x="177" y="225"/>
                  </a:lnTo>
                  <a:lnTo>
                    <a:pt x="196" y="168"/>
                  </a:lnTo>
                  <a:lnTo>
                    <a:pt x="244" y="125"/>
                  </a:lnTo>
                  <a:lnTo>
                    <a:pt x="216" y="57"/>
                  </a:lnTo>
                  <a:lnTo>
                    <a:pt x="192" y="0"/>
                  </a:lnTo>
                  <a:lnTo>
                    <a:pt x="110" y="14"/>
                  </a:lnTo>
                  <a:lnTo>
                    <a:pt x="33" y="24"/>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8" name="Freeform 9">
              <a:extLst>
                <a:ext uri="{FF2B5EF4-FFF2-40B4-BE49-F238E27FC236}">
                  <a16:creationId xmlns:a16="http://schemas.microsoft.com/office/drawing/2014/main" id="{0970ED25-01AD-430F-98C9-C6F5501D55E7}"/>
                </a:ext>
              </a:extLst>
            </p:cNvPr>
            <p:cNvSpPr>
              <a:spLocks/>
            </p:cNvSpPr>
            <p:nvPr/>
          </p:nvSpPr>
          <p:spPr bwMode="auto">
            <a:xfrm>
              <a:off x="5014135" y="2888462"/>
              <a:ext cx="54926" cy="45067"/>
            </a:xfrm>
            <a:custGeom>
              <a:avLst/>
              <a:gdLst>
                <a:gd name="T0" fmla="*/ 67 w 197"/>
                <a:gd name="T1" fmla="*/ 0 h 159"/>
                <a:gd name="T2" fmla="*/ 5 w 197"/>
                <a:gd name="T3" fmla="*/ 63 h 159"/>
                <a:gd name="T4" fmla="*/ 0 w 197"/>
                <a:gd name="T5" fmla="*/ 130 h 159"/>
                <a:gd name="T6" fmla="*/ 48 w 197"/>
                <a:gd name="T7" fmla="*/ 144 h 159"/>
                <a:gd name="T8" fmla="*/ 110 w 197"/>
                <a:gd name="T9" fmla="*/ 159 h 159"/>
                <a:gd name="T10" fmla="*/ 182 w 197"/>
                <a:gd name="T11" fmla="*/ 159 h 159"/>
                <a:gd name="T12" fmla="*/ 197 w 197"/>
                <a:gd name="T13" fmla="*/ 10 h 159"/>
                <a:gd name="T14" fmla="*/ 144 w 197"/>
                <a:gd name="T15" fmla="*/ 15 h 159"/>
                <a:gd name="T16" fmla="*/ 67 w 197"/>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59">
                  <a:moveTo>
                    <a:pt x="67" y="0"/>
                  </a:moveTo>
                  <a:lnTo>
                    <a:pt x="5" y="63"/>
                  </a:lnTo>
                  <a:lnTo>
                    <a:pt x="0" y="130"/>
                  </a:lnTo>
                  <a:lnTo>
                    <a:pt x="48" y="144"/>
                  </a:lnTo>
                  <a:lnTo>
                    <a:pt x="110" y="159"/>
                  </a:lnTo>
                  <a:lnTo>
                    <a:pt x="182" y="159"/>
                  </a:lnTo>
                  <a:lnTo>
                    <a:pt x="197" y="10"/>
                  </a:lnTo>
                  <a:lnTo>
                    <a:pt x="144" y="15"/>
                  </a:lnTo>
                  <a:lnTo>
                    <a:pt x="67"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9" name="Freeform 10">
              <a:extLst>
                <a:ext uri="{FF2B5EF4-FFF2-40B4-BE49-F238E27FC236}">
                  <a16:creationId xmlns:a16="http://schemas.microsoft.com/office/drawing/2014/main" id="{2797C3FC-2B17-4515-9405-13BB5BA8F2E0}"/>
                </a:ext>
              </a:extLst>
            </p:cNvPr>
            <p:cNvSpPr>
              <a:spLocks/>
            </p:cNvSpPr>
            <p:nvPr/>
          </p:nvSpPr>
          <p:spPr bwMode="auto">
            <a:xfrm>
              <a:off x="3590288" y="2850436"/>
              <a:ext cx="36617" cy="43659"/>
            </a:xfrm>
            <a:custGeom>
              <a:avLst/>
              <a:gdLst>
                <a:gd name="T0" fmla="*/ 72 w 130"/>
                <a:gd name="T1" fmla="*/ 0 h 153"/>
                <a:gd name="T2" fmla="*/ 24 w 130"/>
                <a:gd name="T3" fmla="*/ 14 h 153"/>
                <a:gd name="T4" fmla="*/ 0 w 130"/>
                <a:gd name="T5" fmla="*/ 101 h 153"/>
                <a:gd name="T6" fmla="*/ 24 w 130"/>
                <a:gd name="T7" fmla="*/ 153 h 153"/>
                <a:gd name="T8" fmla="*/ 87 w 130"/>
                <a:gd name="T9" fmla="*/ 153 h 153"/>
                <a:gd name="T10" fmla="*/ 87 w 130"/>
                <a:gd name="T11" fmla="*/ 105 h 153"/>
                <a:gd name="T12" fmla="*/ 116 w 130"/>
                <a:gd name="T13" fmla="*/ 77 h 153"/>
                <a:gd name="T14" fmla="*/ 130 w 130"/>
                <a:gd name="T15" fmla="*/ 38 h 153"/>
                <a:gd name="T16" fmla="*/ 111 w 130"/>
                <a:gd name="T17" fmla="*/ 19 h 153"/>
                <a:gd name="T18" fmla="*/ 72 w 130"/>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3">
                  <a:moveTo>
                    <a:pt x="72" y="0"/>
                  </a:moveTo>
                  <a:lnTo>
                    <a:pt x="24" y="14"/>
                  </a:lnTo>
                  <a:lnTo>
                    <a:pt x="0" y="101"/>
                  </a:lnTo>
                  <a:lnTo>
                    <a:pt x="24" y="153"/>
                  </a:lnTo>
                  <a:lnTo>
                    <a:pt x="87" y="153"/>
                  </a:lnTo>
                  <a:lnTo>
                    <a:pt x="87" y="105"/>
                  </a:lnTo>
                  <a:lnTo>
                    <a:pt x="116" y="77"/>
                  </a:lnTo>
                  <a:lnTo>
                    <a:pt x="130" y="38"/>
                  </a:lnTo>
                  <a:lnTo>
                    <a:pt x="111" y="19"/>
                  </a:lnTo>
                  <a:lnTo>
                    <a:pt x="72"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0" name="Freeform 11">
              <a:extLst>
                <a:ext uri="{FF2B5EF4-FFF2-40B4-BE49-F238E27FC236}">
                  <a16:creationId xmlns:a16="http://schemas.microsoft.com/office/drawing/2014/main" id="{3772BADA-3ED4-45D3-896D-5F127B64342B}"/>
                </a:ext>
              </a:extLst>
            </p:cNvPr>
            <p:cNvSpPr>
              <a:spLocks/>
            </p:cNvSpPr>
            <p:nvPr/>
          </p:nvSpPr>
          <p:spPr bwMode="auto">
            <a:xfrm>
              <a:off x="3305800" y="1808253"/>
              <a:ext cx="1250620" cy="1230903"/>
            </a:xfrm>
            <a:custGeom>
              <a:avLst/>
              <a:gdLst>
                <a:gd name="T0" fmla="*/ 852 w 4440"/>
                <a:gd name="T1" fmla="*/ 732 h 4368"/>
                <a:gd name="T2" fmla="*/ 396 w 4440"/>
                <a:gd name="T3" fmla="*/ 924 h 4368"/>
                <a:gd name="T4" fmla="*/ 216 w 4440"/>
                <a:gd name="T5" fmla="*/ 1692 h 4368"/>
                <a:gd name="T6" fmla="*/ 468 w 4440"/>
                <a:gd name="T7" fmla="*/ 1476 h 4368"/>
                <a:gd name="T8" fmla="*/ 708 w 4440"/>
                <a:gd name="T9" fmla="*/ 1608 h 4368"/>
                <a:gd name="T10" fmla="*/ 996 w 4440"/>
                <a:gd name="T11" fmla="*/ 1668 h 4368"/>
                <a:gd name="T12" fmla="*/ 1116 w 4440"/>
                <a:gd name="T13" fmla="*/ 2004 h 4368"/>
                <a:gd name="T14" fmla="*/ 1164 w 4440"/>
                <a:gd name="T15" fmla="*/ 2328 h 4368"/>
                <a:gd name="T16" fmla="*/ 912 w 4440"/>
                <a:gd name="T17" fmla="*/ 2568 h 4368"/>
                <a:gd name="T18" fmla="*/ 1008 w 4440"/>
                <a:gd name="T19" fmla="*/ 2820 h 4368"/>
                <a:gd name="T20" fmla="*/ 1344 w 4440"/>
                <a:gd name="T21" fmla="*/ 2976 h 4368"/>
                <a:gd name="T22" fmla="*/ 1730 w 4440"/>
                <a:gd name="T23" fmla="*/ 3111 h 4368"/>
                <a:gd name="T24" fmla="*/ 2022 w 4440"/>
                <a:gd name="T25" fmla="*/ 3275 h 4368"/>
                <a:gd name="T26" fmla="*/ 2376 w 4440"/>
                <a:gd name="T27" fmla="*/ 3384 h 4368"/>
                <a:gd name="T28" fmla="*/ 2837 w 4440"/>
                <a:gd name="T29" fmla="*/ 3147 h 4368"/>
                <a:gd name="T30" fmla="*/ 3131 w 4440"/>
                <a:gd name="T31" fmla="*/ 2952 h 4368"/>
                <a:gd name="T32" fmla="*/ 3155 w 4440"/>
                <a:gd name="T33" fmla="*/ 3206 h 4368"/>
                <a:gd name="T34" fmla="*/ 3230 w 4440"/>
                <a:gd name="T35" fmla="*/ 3492 h 4368"/>
                <a:gd name="T36" fmla="*/ 3408 w 4440"/>
                <a:gd name="T37" fmla="*/ 3659 h 4368"/>
                <a:gd name="T38" fmla="*/ 3683 w 4440"/>
                <a:gd name="T39" fmla="*/ 3503 h 4368"/>
                <a:gd name="T40" fmla="*/ 3708 w 4440"/>
                <a:gd name="T41" fmla="*/ 3770 h 4368"/>
                <a:gd name="T42" fmla="*/ 3588 w 4440"/>
                <a:gd name="T43" fmla="*/ 3923 h 4368"/>
                <a:gd name="T44" fmla="*/ 3638 w 4440"/>
                <a:gd name="T45" fmla="*/ 4122 h 4368"/>
                <a:gd name="T46" fmla="*/ 3755 w 4440"/>
                <a:gd name="T47" fmla="*/ 4322 h 4368"/>
                <a:gd name="T48" fmla="*/ 4032 w 4440"/>
                <a:gd name="T49" fmla="*/ 4284 h 4368"/>
                <a:gd name="T50" fmla="*/ 4068 w 4440"/>
                <a:gd name="T51" fmla="*/ 3828 h 4368"/>
                <a:gd name="T52" fmla="*/ 4140 w 4440"/>
                <a:gd name="T53" fmla="*/ 3492 h 4368"/>
                <a:gd name="T54" fmla="*/ 4320 w 4440"/>
                <a:gd name="T55" fmla="*/ 3312 h 4368"/>
                <a:gd name="T56" fmla="*/ 4368 w 4440"/>
                <a:gd name="T57" fmla="*/ 3156 h 4368"/>
                <a:gd name="T58" fmla="*/ 4404 w 4440"/>
                <a:gd name="T59" fmla="*/ 2688 h 4368"/>
                <a:gd name="T60" fmla="*/ 4368 w 4440"/>
                <a:gd name="T61" fmla="*/ 2436 h 4368"/>
                <a:gd name="T62" fmla="*/ 4320 w 4440"/>
                <a:gd name="T63" fmla="*/ 2088 h 4368"/>
                <a:gd name="T64" fmla="*/ 4128 w 4440"/>
                <a:gd name="T65" fmla="*/ 1752 h 4368"/>
                <a:gd name="T66" fmla="*/ 4068 w 4440"/>
                <a:gd name="T67" fmla="*/ 1344 h 4368"/>
                <a:gd name="T68" fmla="*/ 3780 w 4440"/>
                <a:gd name="T69" fmla="*/ 1200 h 4368"/>
                <a:gd name="T70" fmla="*/ 3576 w 4440"/>
                <a:gd name="T71" fmla="*/ 1044 h 4368"/>
                <a:gd name="T72" fmla="*/ 3624 w 4440"/>
                <a:gd name="T73" fmla="*/ 780 h 4368"/>
                <a:gd name="T74" fmla="*/ 3420 w 4440"/>
                <a:gd name="T75" fmla="*/ 624 h 4368"/>
                <a:gd name="T76" fmla="*/ 3336 w 4440"/>
                <a:gd name="T77" fmla="*/ 408 h 4368"/>
                <a:gd name="T78" fmla="*/ 3108 w 4440"/>
                <a:gd name="T79" fmla="*/ 228 h 4368"/>
                <a:gd name="T80" fmla="*/ 2856 w 4440"/>
                <a:gd name="T81" fmla="*/ 108 h 4368"/>
                <a:gd name="T82" fmla="*/ 2424 w 4440"/>
                <a:gd name="T83" fmla="*/ 168 h 4368"/>
                <a:gd name="T84" fmla="*/ 2196 w 4440"/>
                <a:gd name="T85" fmla="*/ 240 h 4368"/>
                <a:gd name="T86" fmla="*/ 1740 w 4440"/>
                <a:gd name="T87" fmla="*/ 228 h 4368"/>
                <a:gd name="T88" fmla="*/ 1332 w 4440"/>
                <a:gd name="T89" fmla="*/ 120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40" h="4368">
                  <a:moveTo>
                    <a:pt x="1092" y="0"/>
                  </a:moveTo>
                  <a:lnTo>
                    <a:pt x="840" y="552"/>
                  </a:lnTo>
                  <a:lnTo>
                    <a:pt x="852" y="732"/>
                  </a:lnTo>
                  <a:lnTo>
                    <a:pt x="840" y="876"/>
                  </a:lnTo>
                  <a:lnTo>
                    <a:pt x="648" y="900"/>
                  </a:lnTo>
                  <a:lnTo>
                    <a:pt x="396" y="924"/>
                  </a:lnTo>
                  <a:lnTo>
                    <a:pt x="0" y="1575"/>
                  </a:lnTo>
                  <a:lnTo>
                    <a:pt x="96" y="1656"/>
                  </a:lnTo>
                  <a:lnTo>
                    <a:pt x="216" y="1692"/>
                  </a:lnTo>
                  <a:lnTo>
                    <a:pt x="324" y="1620"/>
                  </a:lnTo>
                  <a:lnTo>
                    <a:pt x="420" y="1560"/>
                  </a:lnTo>
                  <a:lnTo>
                    <a:pt x="468" y="1476"/>
                  </a:lnTo>
                  <a:lnTo>
                    <a:pt x="552" y="1476"/>
                  </a:lnTo>
                  <a:lnTo>
                    <a:pt x="648" y="1500"/>
                  </a:lnTo>
                  <a:lnTo>
                    <a:pt x="708" y="1608"/>
                  </a:lnTo>
                  <a:lnTo>
                    <a:pt x="792" y="1704"/>
                  </a:lnTo>
                  <a:lnTo>
                    <a:pt x="816" y="1764"/>
                  </a:lnTo>
                  <a:lnTo>
                    <a:pt x="996" y="1668"/>
                  </a:lnTo>
                  <a:lnTo>
                    <a:pt x="996" y="1800"/>
                  </a:lnTo>
                  <a:lnTo>
                    <a:pt x="1032" y="1908"/>
                  </a:lnTo>
                  <a:lnTo>
                    <a:pt x="1116" y="2004"/>
                  </a:lnTo>
                  <a:lnTo>
                    <a:pt x="1188" y="2100"/>
                  </a:lnTo>
                  <a:lnTo>
                    <a:pt x="1092" y="2220"/>
                  </a:lnTo>
                  <a:lnTo>
                    <a:pt x="1164" y="2328"/>
                  </a:lnTo>
                  <a:lnTo>
                    <a:pt x="1080" y="2364"/>
                  </a:lnTo>
                  <a:lnTo>
                    <a:pt x="1020" y="2448"/>
                  </a:lnTo>
                  <a:lnTo>
                    <a:pt x="912" y="2568"/>
                  </a:lnTo>
                  <a:lnTo>
                    <a:pt x="1020" y="2640"/>
                  </a:lnTo>
                  <a:lnTo>
                    <a:pt x="960" y="2772"/>
                  </a:lnTo>
                  <a:lnTo>
                    <a:pt x="1008" y="2820"/>
                  </a:lnTo>
                  <a:lnTo>
                    <a:pt x="1104" y="2880"/>
                  </a:lnTo>
                  <a:lnTo>
                    <a:pt x="1164" y="2976"/>
                  </a:lnTo>
                  <a:lnTo>
                    <a:pt x="1344" y="2976"/>
                  </a:lnTo>
                  <a:lnTo>
                    <a:pt x="1572" y="3000"/>
                  </a:lnTo>
                  <a:lnTo>
                    <a:pt x="1671" y="3041"/>
                  </a:lnTo>
                  <a:lnTo>
                    <a:pt x="1730" y="3111"/>
                  </a:lnTo>
                  <a:lnTo>
                    <a:pt x="1748" y="3203"/>
                  </a:lnTo>
                  <a:lnTo>
                    <a:pt x="1856" y="3257"/>
                  </a:lnTo>
                  <a:lnTo>
                    <a:pt x="2022" y="3275"/>
                  </a:lnTo>
                  <a:lnTo>
                    <a:pt x="2123" y="3366"/>
                  </a:lnTo>
                  <a:lnTo>
                    <a:pt x="2243" y="3422"/>
                  </a:lnTo>
                  <a:lnTo>
                    <a:pt x="2376" y="3384"/>
                  </a:lnTo>
                  <a:lnTo>
                    <a:pt x="2514" y="3311"/>
                  </a:lnTo>
                  <a:lnTo>
                    <a:pt x="2693" y="3204"/>
                  </a:lnTo>
                  <a:lnTo>
                    <a:pt x="2837" y="3147"/>
                  </a:lnTo>
                  <a:lnTo>
                    <a:pt x="2889" y="3032"/>
                  </a:lnTo>
                  <a:lnTo>
                    <a:pt x="2916" y="2930"/>
                  </a:lnTo>
                  <a:lnTo>
                    <a:pt x="3131" y="2952"/>
                  </a:lnTo>
                  <a:lnTo>
                    <a:pt x="3240" y="3000"/>
                  </a:lnTo>
                  <a:lnTo>
                    <a:pt x="3216" y="3132"/>
                  </a:lnTo>
                  <a:lnTo>
                    <a:pt x="3155" y="3206"/>
                  </a:lnTo>
                  <a:lnTo>
                    <a:pt x="3059" y="3230"/>
                  </a:lnTo>
                  <a:lnTo>
                    <a:pt x="3165" y="3344"/>
                  </a:lnTo>
                  <a:lnTo>
                    <a:pt x="3230" y="3492"/>
                  </a:lnTo>
                  <a:lnTo>
                    <a:pt x="3314" y="3528"/>
                  </a:lnTo>
                  <a:lnTo>
                    <a:pt x="3407" y="3552"/>
                  </a:lnTo>
                  <a:lnTo>
                    <a:pt x="3408" y="3659"/>
                  </a:lnTo>
                  <a:lnTo>
                    <a:pt x="3494" y="3636"/>
                  </a:lnTo>
                  <a:lnTo>
                    <a:pt x="3585" y="3528"/>
                  </a:lnTo>
                  <a:lnTo>
                    <a:pt x="3683" y="3503"/>
                  </a:lnTo>
                  <a:lnTo>
                    <a:pt x="3684" y="3636"/>
                  </a:lnTo>
                  <a:lnTo>
                    <a:pt x="3624" y="3780"/>
                  </a:lnTo>
                  <a:lnTo>
                    <a:pt x="3708" y="3770"/>
                  </a:lnTo>
                  <a:lnTo>
                    <a:pt x="3777" y="3839"/>
                  </a:lnTo>
                  <a:lnTo>
                    <a:pt x="3690" y="3890"/>
                  </a:lnTo>
                  <a:lnTo>
                    <a:pt x="3588" y="3923"/>
                  </a:lnTo>
                  <a:lnTo>
                    <a:pt x="3587" y="3998"/>
                  </a:lnTo>
                  <a:lnTo>
                    <a:pt x="3684" y="4046"/>
                  </a:lnTo>
                  <a:lnTo>
                    <a:pt x="3638" y="4122"/>
                  </a:lnTo>
                  <a:lnTo>
                    <a:pt x="3588" y="4259"/>
                  </a:lnTo>
                  <a:lnTo>
                    <a:pt x="3648" y="4368"/>
                  </a:lnTo>
                  <a:lnTo>
                    <a:pt x="3755" y="4322"/>
                  </a:lnTo>
                  <a:lnTo>
                    <a:pt x="3830" y="4367"/>
                  </a:lnTo>
                  <a:lnTo>
                    <a:pt x="3938" y="4308"/>
                  </a:lnTo>
                  <a:lnTo>
                    <a:pt x="4032" y="4284"/>
                  </a:lnTo>
                  <a:lnTo>
                    <a:pt x="4056" y="4080"/>
                  </a:lnTo>
                  <a:lnTo>
                    <a:pt x="4152" y="3924"/>
                  </a:lnTo>
                  <a:lnTo>
                    <a:pt x="4068" y="3828"/>
                  </a:lnTo>
                  <a:lnTo>
                    <a:pt x="4164" y="3756"/>
                  </a:lnTo>
                  <a:lnTo>
                    <a:pt x="4152" y="3624"/>
                  </a:lnTo>
                  <a:lnTo>
                    <a:pt x="4140" y="3492"/>
                  </a:lnTo>
                  <a:lnTo>
                    <a:pt x="4272" y="3528"/>
                  </a:lnTo>
                  <a:lnTo>
                    <a:pt x="4284" y="3432"/>
                  </a:lnTo>
                  <a:lnTo>
                    <a:pt x="4320" y="3312"/>
                  </a:lnTo>
                  <a:lnTo>
                    <a:pt x="4248" y="3288"/>
                  </a:lnTo>
                  <a:lnTo>
                    <a:pt x="4248" y="3192"/>
                  </a:lnTo>
                  <a:lnTo>
                    <a:pt x="4368" y="3156"/>
                  </a:lnTo>
                  <a:lnTo>
                    <a:pt x="4368" y="2940"/>
                  </a:lnTo>
                  <a:lnTo>
                    <a:pt x="4392" y="2808"/>
                  </a:lnTo>
                  <a:lnTo>
                    <a:pt x="4404" y="2688"/>
                  </a:lnTo>
                  <a:lnTo>
                    <a:pt x="4320" y="2580"/>
                  </a:lnTo>
                  <a:lnTo>
                    <a:pt x="4380" y="2520"/>
                  </a:lnTo>
                  <a:lnTo>
                    <a:pt x="4368" y="2436"/>
                  </a:lnTo>
                  <a:lnTo>
                    <a:pt x="4440" y="2316"/>
                  </a:lnTo>
                  <a:lnTo>
                    <a:pt x="4392" y="2196"/>
                  </a:lnTo>
                  <a:lnTo>
                    <a:pt x="4320" y="2088"/>
                  </a:lnTo>
                  <a:lnTo>
                    <a:pt x="4284" y="1956"/>
                  </a:lnTo>
                  <a:lnTo>
                    <a:pt x="4224" y="1812"/>
                  </a:lnTo>
                  <a:lnTo>
                    <a:pt x="4128" y="1752"/>
                  </a:lnTo>
                  <a:lnTo>
                    <a:pt x="4140" y="1596"/>
                  </a:lnTo>
                  <a:lnTo>
                    <a:pt x="4080" y="1500"/>
                  </a:lnTo>
                  <a:lnTo>
                    <a:pt x="4068" y="1344"/>
                  </a:lnTo>
                  <a:lnTo>
                    <a:pt x="4044" y="1224"/>
                  </a:lnTo>
                  <a:lnTo>
                    <a:pt x="3864" y="1260"/>
                  </a:lnTo>
                  <a:lnTo>
                    <a:pt x="3780" y="1200"/>
                  </a:lnTo>
                  <a:lnTo>
                    <a:pt x="3624" y="1236"/>
                  </a:lnTo>
                  <a:lnTo>
                    <a:pt x="3564" y="1164"/>
                  </a:lnTo>
                  <a:lnTo>
                    <a:pt x="3576" y="1044"/>
                  </a:lnTo>
                  <a:lnTo>
                    <a:pt x="3516" y="948"/>
                  </a:lnTo>
                  <a:lnTo>
                    <a:pt x="3624" y="888"/>
                  </a:lnTo>
                  <a:lnTo>
                    <a:pt x="3624" y="780"/>
                  </a:lnTo>
                  <a:lnTo>
                    <a:pt x="3588" y="684"/>
                  </a:lnTo>
                  <a:lnTo>
                    <a:pt x="3492" y="576"/>
                  </a:lnTo>
                  <a:lnTo>
                    <a:pt x="3420" y="624"/>
                  </a:lnTo>
                  <a:lnTo>
                    <a:pt x="3360" y="576"/>
                  </a:lnTo>
                  <a:lnTo>
                    <a:pt x="3384" y="492"/>
                  </a:lnTo>
                  <a:lnTo>
                    <a:pt x="3336" y="408"/>
                  </a:lnTo>
                  <a:lnTo>
                    <a:pt x="3228" y="396"/>
                  </a:lnTo>
                  <a:lnTo>
                    <a:pt x="3132" y="408"/>
                  </a:lnTo>
                  <a:lnTo>
                    <a:pt x="3108" y="228"/>
                  </a:lnTo>
                  <a:lnTo>
                    <a:pt x="3036" y="180"/>
                  </a:lnTo>
                  <a:lnTo>
                    <a:pt x="2916" y="216"/>
                  </a:lnTo>
                  <a:lnTo>
                    <a:pt x="2856" y="108"/>
                  </a:lnTo>
                  <a:lnTo>
                    <a:pt x="2724" y="168"/>
                  </a:lnTo>
                  <a:lnTo>
                    <a:pt x="2580" y="204"/>
                  </a:lnTo>
                  <a:lnTo>
                    <a:pt x="2424" y="168"/>
                  </a:lnTo>
                  <a:lnTo>
                    <a:pt x="2292" y="84"/>
                  </a:lnTo>
                  <a:lnTo>
                    <a:pt x="2220" y="120"/>
                  </a:lnTo>
                  <a:lnTo>
                    <a:pt x="2196" y="240"/>
                  </a:lnTo>
                  <a:lnTo>
                    <a:pt x="2040" y="276"/>
                  </a:lnTo>
                  <a:lnTo>
                    <a:pt x="1908" y="300"/>
                  </a:lnTo>
                  <a:lnTo>
                    <a:pt x="1740" y="228"/>
                  </a:lnTo>
                  <a:lnTo>
                    <a:pt x="1608" y="276"/>
                  </a:lnTo>
                  <a:lnTo>
                    <a:pt x="1452" y="252"/>
                  </a:lnTo>
                  <a:lnTo>
                    <a:pt x="1332" y="120"/>
                  </a:lnTo>
                  <a:lnTo>
                    <a:pt x="1200" y="120"/>
                  </a:lnTo>
                  <a:lnTo>
                    <a:pt x="1092" y="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1" name="Freeform 12">
              <a:extLst>
                <a:ext uri="{FF2B5EF4-FFF2-40B4-BE49-F238E27FC236}">
                  <a16:creationId xmlns:a16="http://schemas.microsoft.com/office/drawing/2014/main" id="{06AA184C-4A02-4814-88D3-572C5B815E62}"/>
                </a:ext>
              </a:extLst>
            </p:cNvPr>
            <p:cNvSpPr>
              <a:spLocks/>
            </p:cNvSpPr>
            <p:nvPr/>
          </p:nvSpPr>
          <p:spPr bwMode="auto">
            <a:xfrm>
              <a:off x="3612821" y="1520949"/>
              <a:ext cx="881631" cy="642210"/>
            </a:xfrm>
            <a:custGeom>
              <a:avLst/>
              <a:gdLst>
                <a:gd name="T0" fmla="*/ 60 w 3132"/>
                <a:gd name="T1" fmla="*/ 888 h 2280"/>
                <a:gd name="T2" fmla="*/ 131 w 3132"/>
                <a:gd name="T3" fmla="*/ 441 h 2280"/>
                <a:gd name="T4" fmla="*/ 492 w 3132"/>
                <a:gd name="T5" fmla="*/ 552 h 2280"/>
                <a:gd name="T6" fmla="*/ 648 w 3132"/>
                <a:gd name="T7" fmla="*/ 384 h 2280"/>
                <a:gd name="T8" fmla="*/ 912 w 3132"/>
                <a:gd name="T9" fmla="*/ 336 h 2280"/>
                <a:gd name="T10" fmla="*/ 1308 w 3132"/>
                <a:gd name="T11" fmla="*/ 0 h 2280"/>
                <a:gd name="T12" fmla="*/ 1596 w 3132"/>
                <a:gd name="T13" fmla="*/ 132 h 2280"/>
                <a:gd name="T14" fmla="*/ 1788 w 3132"/>
                <a:gd name="T15" fmla="*/ 372 h 2280"/>
                <a:gd name="T16" fmla="*/ 2232 w 3132"/>
                <a:gd name="T17" fmla="*/ 276 h 2280"/>
                <a:gd name="T18" fmla="*/ 2400 w 3132"/>
                <a:gd name="T19" fmla="*/ 156 h 2280"/>
                <a:gd name="T20" fmla="*/ 2484 w 3132"/>
                <a:gd name="T21" fmla="*/ 372 h 2280"/>
                <a:gd name="T22" fmla="*/ 2712 w 3132"/>
                <a:gd name="T23" fmla="*/ 312 h 2280"/>
                <a:gd name="T24" fmla="*/ 3132 w 3132"/>
                <a:gd name="T25" fmla="*/ 384 h 2280"/>
                <a:gd name="T26" fmla="*/ 2904 w 3132"/>
                <a:gd name="T27" fmla="*/ 492 h 2280"/>
                <a:gd name="T28" fmla="*/ 2976 w 3132"/>
                <a:gd name="T29" fmla="*/ 732 h 2280"/>
                <a:gd name="T30" fmla="*/ 2976 w 3132"/>
                <a:gd name="T31" fmla="*/ 996 h 2280"/>
                <a:gd name="T32" fmla="*/ 2928 w 3132"/>
                <a:gd name="T33" fmla="*/ 1212 h 2280"/>
                <a:gd name="T34" fmla="*/ 2988 w 3132"/>
                <a:gd name="T35" fmla="*/ 1524 h 2280"/>
                <a:gd name="T36" fmla="*/ 3000 w 3132"/>
                <a:gd name="T37" fmla="*/ 1764 h 2280"/>
                <a:gd name="T38" fmla="*/ 3048 w 3132"/>
                <a:gd name="T39" fmla="*/ 1980 h 2280"/>
                <a:gd name="T40" fmla="*/ 2952 w 3132"/>
                <a:gd name="T41" fmla="*/ 2244 h 2280"/>
                <a:gd name="T42" fmla="*/ 2688 w 3132"/>
                <a:gd name="T43" fmla="*/ 2220 h 2280"/>
                <a:gd name="T44" fmla="*/ 2472 w 3132"/>
                <a:gd name="T45" fmla="*/ 2184 h 2280"/>
                <a:gd name="T46" fmla="*/ 2424 w 3132"/>
                <a:gd name="T47" fmla="*/ 1968 h 2280"/>
                <a:gd name="T48" fmla="*/ 2532 w 3132"/>
                <a:gd name="T49" fmla="*/ 1800 h 2280"/>
                <a:gd name="T50" fmla="*/ 2400 w 3132"/>
                <a:gd name="T51" fmla="*/ 1596 h 2280"/>
                <a:gd name="T52" fmla="*/ 2268 w 3132"/>
                <a:gd name="T53" fmla="*/ 1596 h 2280"/>
                <a:gd name="T54" fmla="*/ 2244 w 3132"/>
                <a:gd name="T55" fmla="*/ 1428 h 2280"/>
                <a:gd name="T56" fmla="*/ 2040 w 3132"/>
                <a:gd name="T57" fmla="*/ 1428 h 2280"/>
                <a:gd name="T58" fmla="*/ 1944 w 3132"/>
                <a:gd name="T59" fmla="*/ 1200 h 2280"/>
                <a:gd name="T60" fmla="*/ 1764 w 3132"/>
                <a:gd name="T61" fmla="*/ 1128 h 2280"/>
                <a:gd name="T62" fmla="*/ 1488 w 3132"/>
                <a:gd name="T63" fmla="*/ 1224 h 2280"/>
                <a:gd name="T64" fmla="*/ 1200 w 3132"/>
                <a:gd name="T65" fmla="*/ 1104 h 2280"/>
                <a:gd name="T66" fmla="*/ 1104 w 3132"/>
                <a:gd name="T67" fmla="*/ 1260 h 2280"/>
                <a:gd name="T68" fmla="*/ 816 w 3132"/>
                <a:gd name="T69" fmla="*/ 1320 h 2280"/>
                <a:gd name="T70" fmla="*/ 516 w 3132"/>
                <a:gd name="T71" fmla="*/ 1296 h 2280"/>
                <a:gd name="T72" fmla="*/ 240 w 3132"/>
                <a:gd name="T73" fmla="*/ 1140 h 2280"/>
                <a:gd name="T74" fmla="*/ 0 w 3132"/>
                <a:gd name="T75" fmla="*/ 1020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32" h="2280">
                  <a:moveTo>
                    <a:pt x="0" y="1020"/>
                  </a:moveTo>
                  <a:lnTo>
                    <a:pt x="60" y="888"/>
                  </a:lnTo>
                  <a:lnTo>
                    <a:pt x="0" y="792"/>
                  </a:lnTo>
                  <a:lnTo>
                    <a:pt x="131" y="441"/>
                  </a:lnTo>
                  <a:lnTo>
                    <a:pt x="336" y="444"/>
                  </a:lnTo>
                  <a:lnTo>
                    <a:pt x="492" y="552"/>
                  </a:lnTo>
                  <a:lnTo>
                    <a:pt x="576" y="456"/>
                  </a:lnTo>
                  <a:lnTo>
                    <a:pt x="648" y="384"/>
                  </a:lnTo>
                  <a:lnTo>
                    <a:pt x="804" y="336"/>
                  </a:lnTo>
                  <a:lnTo>
                    <a:pt x="912" y="336"/>
                  </a:lnTo>
                  <a:lnTo>
                    <a:pt x="1116" y="432"/>
                  </a:lnTo>
                  <a:lnTo>
                    <a:pt x="1308" y="0"/>
                  </a:lnTo>
                  <a:lnTo>
                    <a:pt x="1404" y="96"/>
                  </a:lnTo>
                  <a:lnTo>
                    <a:pt x="1596" y="132"/>
                  </a:lnTo>
                  <a:lnTo>
                    <a:pt x="1656" y="240"/>
                  </a:lnTo>
                  <a:lnTo>
                    <a:pt x="1788" y="372"/>
                  </a:lnTo>
                  <a:lnTo>
                    <a:pt x="2016" y="324"/>
                  </a:lnTo>
                  <a:lnTo>
                    <a:pt x="2232" y="276"/>
                  </a:lnTo>
                  <a:lnTo>
                    <a:pt x="2280" y="168"/>
                  </a:lnTo>
                  <a:lnTo>
                    <a:pt x="2400" y="156"/>
                  </a:lnTo>
                  <a:lnTo>
                    <a:pt x="2460" y="264"/>
                  </a:lnTo>
                  <a:lnTo>
                    <a:pt x="2484" y="372"/>
                  </a:lnTo>
                  <a:lnTo>
                    <a:pt x="2592" y="252"/>
                  </a:lnTo>
                  <a:lnTo>
                    <a:pt x="2712" y="312"/>
                  </a:lnTo>
                  <a:lnTo>
                    <a:pt x="2964" y="324"/>
                  </a:lnTo>
                  <a:lnTo>
                    <a:pt x="3132" y="384"/>
                  </a:lnTo>
                  <a:lnTo>
                    <a:pt x="3000" y="444"/>
                  </a:lnTo>
                  <a:lnTo>
                    <a:pt x="2904" y="492"/>
                  </a:lnTo>
                  <a:lnTo>
                    <a:pt x="2916" y="588"/>
                  </a:lnTo>
                  <a:lnTo>
                    <a:pt x="2976" y="732"/>
                  </a:lnTo>
                  <a:lnTo>
                    <a:pt x="2988" y="864"/>
                  </a:lnTo>
                  <a:lnTo>
                    <a:pt x="2976" y="996"/>
                  </a:lnTo>
                  <a:lnTo>
                    <a:pt x="3000" y="1104"/>
                  </a:lnTo>
                  <a:lnTo>
                    <a:pt x="2928" y="1212"/>
                  </a:lnTo>
                  <a:lnTo>
                    <a:pt x="2916" y="1416"/>
                  </a:lnTo>
                  <a:lnTo>
                    <a:pt x="2988" y="1524"/>
                  </a:lnTo>
                  <a:lnTo>
                    <a:pt x="2916" y="1740"/>
                  </a:lnTo>
                  <a:lnTo>
                    <a:pt x="3000" y="1764"/>
                  </a:lnTo>
                  <a:lnTo>
                    <a:pt x="3072" y="1836"/>
                  </a:lnTo>
                  <a:lnTo>
                    <a:pt x="3048" y="1980"/>
                  </a:lnTo>
                  <a:lnTo>
                    <a:pt x="2952" y="2088"/>
                  </a:lnTo>
                  <a:lnTo>
                    <a:pt x="2952" y="2244"/>
                  </a:lnTo>
                  <a:lnTo>
                    <a:pt x="2772" y="2280"/>
                  </a:lnTo>
                  <a:lnTo>
                    <a:pt x="2688" y="2220"/>
                  </a:lnTo>
                  <a:lnTo>
                    <a:pt x="2532" y="2256"/>
                  </a:lnTo>
                  <a:lnTo>
                    <a:pt x="2472" y="2184"/>
                  </a:lnTo>
                  <a:lnTo>
                    <a:pt x="2484" y="2064"/>
                  </a:lnTo>
                  <a:lnTo>
                    <a:pt x="2424" y="1968"/>
                  </a:lnTo>
                  <a:lnTo>
                    <a:pt x="2532" y="1908"/>
                  </a:lnTo>
                  <a:lnTo>
                    <a:pt x="2532" y="1800"/>
                  </a:lnTo>
                  <a:lnTo>
                    <a:pt x="2496" y="1704"/>
                  </a:lnTo>
                  <a:lnTo>
                    <a:pt x="2400" y="1596"/>
                  </a:lnTo>
                  <a:lnTo>
                    <a:pt x="2328" y="1644"/>
                  </a:lnTo>
                  <a:lnTo>
                    <a:pt x="2268" y="1596"/>
                  </a:lnTo>
                  <a:lnTo>
                    <a:pt x="2292" y="1512"/>
                  </a:lnTo>
                  <a:lnTo>
                    <a:pt x="2244" y="1428"/>
                  </a:lnTo>
                  <a:lnTo>
                    <a:pt x="2136" y="1416"/>
                  </a:lnTo>
                  <a:lnTo>
                    <a:pt x="2040" y="1428"/>
                  </a:lnTo>
                  <a:lnTo>
                    <a:pt x="2016" y="1248"/>
                  </a:lnTo>
                  <a:lnTo>
                    <a:pt x="1944" y="1200"/>
                  </a:lnTo>
                  <a:lnTo>
                    <a:pt x="1824" y="1236"/>
                  </a:lnTo>
                  <a:lnTo>
                    <a:pt x="1764" y="1128"/>
                  </a:lnTo>
                  <a:lnTo>
                    <a:pt x="1632" y="1188"/>
                  </a:lnTo>
                  <a:lnTo>
                    <a:pt x="1488" y="1224"/>
                  </a:lnTo>
                  <a:lnTo>
                    <a:pt x="1332" y="1188"/>
                  </a:lnTo>
                  <a:lnTo>
                    <a:pt x="1200" y="1104"/>
                  </a:lnTo>
                  <a:lnTo>
                    <a:pt x="1128" y="1140"/>
                  </a:lnTo>
                  <a:lnTo>
                    <a:pt x="1104" y="1260"/>
                  </a:lnTo>
                  <a:lnTo>
                    <a:pt x="948" y="1296"/>
                  </a:lnTo>
                  <a:lnTo>
                    <a:pt x="816" y="1320"/>
                  </a:lnTo>
                  <a:lnTo>
                    <a:pt x="648" y="1248"/>
                  </a:lnTo>
                  <a:lnTo>
                    <a:pt x="516" y="1296"/>
                  </a:lnTo>
                  <a:lnTo>
                    <a:pt x="360" y="1272"/>
                  </a:lnTo>
                  <a:lnTo>
                    <a:pt x="240" y="1140"/>
                  </a:lnTo>
                  <a:lnTo>
                    <a:pt x="108" y="1140"/>
                  </a:lnTo>
                  <a:lnTo>
                    <a:pt x="0" y="102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2" name="Freeform 13">
              <a:extLst>
                <a:ext uri="{FF2B5EF4-FFF2-40B4-BE49-F238E27FC236}">
                  <a16:creationId xmlns:a16="http://schemas.microsoft.com/office/drawing/2014/main" id="{A65824BA-D06E-416B-A8F8-018E29DBBF19}"/>
                </a:ext>
              </a:extLst>
            </p:cNvPr>
            <p:cNvSpPr>
              <a:spLocks/>
            </p:cNvSpPr>
            <p:nvPr/>
          </p:nvSpPr>
          <p:spPr bwMode="auto">
            <a:xfrm>
              <a:off x="3021312" y="2223718"/>
              <a:ext cx="754879" cy="730937"/>
            </a:xfrm>
            <a:custGeom>
              <a:avLst/>
              <a:gdLst>
                <a:gd name="T0" fmla="*/ 816 w 2682"/>
                <a:gd name="T1" fmla="*/ 253 h 2595"/>
                <a:gd name="T2" fmla="*/ 840 w 2682"/>
                <a:gd name="T3" fmla="*/ 577 h 2595"/>
                <a:gd name="T4" fmla="*/ 816 w 2682"/>
                <a:gd name="T5" fmla="*/ 793 h 2595"/>
                <a:gd name="T6" fmla="*/ 804 w 2682"/>
                <a:gd name="T7" fmla="*/ 1057 h 2595"/>
                <a:gd name="T8" fmla="*/ 624 w 2682"/>
                <a:gd name="T9" fmla="*/ 1177 h 2595"/>
                <a:gd name="T10" fmla="*/ 480 w 2682"/>
                <a:gd name="T11" fmla="*/ 1021 h 2595"/>
                <a:gd name="T12" fmla="*/ 264 w 2682"/>
                <a:gd name="T13" fmla="*/ 1213 h 2595"/>
                <a:gd name="T14" fmla="*/ 192 w 2682"/>
                <a:gd name="T15" fmla="*/ 1441 h 2595"/>
                <a:gd name="T16" fmla="*/ 240 w 2682"/>
                <a:gd name="T17" fmla="*/ 1657 h 2595"/>
                <a:gd name="T18" fmla="*/ 96 w 2682"/>
                <a:gd name="T19" fmla="*/ 1945 h 2595"/>
                <a:gd name="T20" fmla="*/ 0 w 2682"/>
                <a:gd name="T21" fmla="*/ 2341 h 2595"/>
                <a:gd name="T22" fmla="*/ 195 w 2682"/>
                <a:gd name="T23" fmla="*/ 2559 h 2595"/>
                <a:gd name="T24" fmla="*/ 326 w 2682"/>
                <a:gd name="T25" fmla="*/ 2365 h 2595"/>
                <a:gd name="T26" fmla="*/ 351 w 2682"/>
                <a:gd name="T27" fmla="*/ 2230 h 2595"/>
                <a:gd name="T28" fmla="*/ 393 w 2682"/>
                <a:gd name="T29" fmla="*/ 2139 h 2595"/>
                <a:gd name="T30" fmla="*/ 590 w 2682"/>
                <a:gd name="T31" fmla="*/ 2194 h 2595"/>
                <a:gd name="T32" fmla="*/ 644 w 2682"/>
                <a:gd name="T33" fmla="*/ 2008 h 2595"/>
                <a:gd name="T34" fmla="*/ 690 w 2682"/>
                <a:gd name="T35" fmla="*/ 1830 h 2595"/>
                <a:gd name="T36" fmla="*/ 863 w 2682"/>
                <a:gd name="T37" fmla="*/ 1875 h 2595"/>
                <a:gd name="T38" fmla="*/ 1076 w 2682"/>
                <a:gd name="T39" fmla="*/ 1903 h 2595"/>
                <a:gd name="T40" fmla="*/ 1167 w 2682"/>
                <a:gd name="T41" fmla="*/ 2085 h 2595"/>
                <a:gd name="T42" fmla="*/ 1374 w 2682"/>
                <a:gd name="T43" fmla="*/ 2148 h 2595"/>
                <a:gd name="T44" fmla="*/ 1484 w 2682"/>
                <a:gd name="T45" fmla="*/ 2404 h 2595"/>
                <a:gd name="T46" fmla="*/ 1707 w 2682"/>
                <a:gd name="T47" fmla="*/ 2499 h 2595"/>
                <a:gd name="T48" fmla="*/ 1824 w 2682"/>
                <a:gd name="T49" fmla="*/ 2595 h 2595"/>
                <a:gd name="T50" fmla="*/ 1851 w 2682"/>
                <a:gd name="T51" fmla="*/ 2415 h 2595"/>
                <a:gd name="T52" fmla="*/ 1979 w 2682"/>
                <a:gd name="T53" fmla="*/ 2358 h 2595"/>
                <a:gd name="T54" fmla="*/ 1902 w 2682"/>
                <a:gd name="T55" fmla="*/ 2194 h 2595"/>
                <a:gd name="T56" fmla="*/ 1833 w 2682"/>
                <a:gd name="T57" fmla="*/ 2053 h 2595"/>
                <a:gd name="T58" fmla="*/ 1812 w 2682"/>
                <a:gd name="T59" fmla="*/ 1801 h 2595"/>
                <a:gd name="T60" fmla="*/ 1989 w 2682"/>
                <a:gd name="T61" fmla="*/ 1710 h 2595"/>
                <a:gd name="T62" fmla="*/ 2159 w 2682"/>
                <a:gd name="T63" fmla="*/ 1507 h 2595"/>
                <a:gd name="T64" fmla="*/ 2244 w 2682"/>
                <a:gd name="T65" fmla="*/ 1609 h 2595"/>
                <a:gd name="T66" fmla="*/ 2417 w 2682"/>
                <a:gd name="T67" fmla="*/ 1572 h 2595"/>
                <a:gd name="T68" fmla="*/ 2582 w 2682"/>
                <a:gd name="T69" fmla="*/ 1644 h 2595"/>
                <a:gd name="T70" fmla="*/ 2580 w 2682"/>
                <a:gd name="T71" fmla="*/ 1525 h 2595"/>
                <a:gd name="T72" fmla="*/ 2171 w 2682"/>
                <a:gd name="T73" fmla="*/ 1501 h 2595"/>
                <a:gd name="T74" fmla="*/ 2112 w 2682"/>
                <a:gd name="T75" fmla="*/ 1405 h 2595"/>
                <a:gd name="T76" fmla="*/ 1968 w 2682"/>
                <a:gd name="T77" fmla="*/ 1297 h 2595"/>
                <a:gd name="T78" fmla="*/ 2027 w 2682"/>
                <a:gd name="T79" fmla="*/ 1164 h 2595"/>
                <a:gd name="T80" fmla="*/ 2024 w 2682"/>
                <a:gd name="T81" fmla="*/ 978 h 2595"/>
                <a:gd name="T82" fmla="*/ 2171 w 2682"/>
                <a:gd name="T83" fmla="*/ 853 h 2595"/>
                <a:gd name="T84" fmla="*/ 2196 w 2682"/>
                <a:gd name="T85" fmla="*/ 624 h 2595"/>
                <a:gd name="T86" fmla="*/ 2042 w 2682"/>
                <a:gd name="T87" fmla="*/ 436 h 2595"/>
                <a:gd name="T88" fmla="*/ 2003 w 2682"/>
                <a:gd name="T89" fmla="*/ 195 h 2595"/>
                <a:gd name="T90" fmla="*/ 1800 w 2682"/>
                <a:gd name="T91" fmla="*/ 231 h 2595"/>
                <a:gd name="T92" fmla="*/ 1659 w 2682"/>
                <a:gd name="T93" fmla="*/ 25 h 2595"/>
                <a:gd name="T94" fmla="*/ 1478 w 2682"/>
                <a:gd name="T95" fmla="*/ 0 h 2595"/>
                <a:gd name="T96" fmla="*/ 1224 w 2682"/>
                <a:gd name="T97" fmla="*/ 217 h 2595"/>
                <a:gd name="T98" fmla="*/ 1008 w 2682"/>
                <a:gd name="T99" fmla="*/ 97 h 2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82" h="2595">
                  <a:moveTo>
                    <a:pt x="1008" y="97"/>
                  </a:moveTo>
                  <a:lnTo>
                    <a:pt x="816" y="253"/>
                  </a:lnTo>
                  <a:lnTo>
                    <a:pt x="876" y="445"/>
                  </a:lnTo>
                  <a:lnTo>
                    <a:pt x="840" y="577"/>
                  </a:lnTo>
                  <a:lnTo>
                    <a:pt x="756" y="721"/>
                  </a:lnTo>
                  <a:lnTo>
                    <a:pt x="816" y="793"/>
                  </a:lnTo>
                  <a:lnTo>
                    <a:pt x="768" y="889"/>
                  </a:lnTo>
                  <a:lnTo>
                    <a:pt x="804" y="1057"/>
                  </a:lnTo>
                  <a:lnTo>
                    <a:pt x="708" y="1093"/>
                  </a:lnTo>
                  <a:lnTo>
                    <a:pt x="624" y="1177"/>
                  </a:lnTo>
                  <a:lnTo>
                    <a:pt x="552" y="1093"/>
                  </a:lnTo>
                  <a:lnTo>
                    <a:pt x="480" y="1021"/>
                  </a:lnTo>
                  <a:lnTo>
                    <a:pt x="336" y="1093"/>
                  </a:lnTo>
                  <a:lnTo>
                    <a:pt x="264" y="1213"/>
                  </a:lnTo>
                  <a:lnTo>
                    <a:pt x="180" y="1321"/>
                  </a:lnTo>
                  <a:lnTo>
                    <a:pt x="192" y="1441"/>
                  </a:lnTo>
                  <a:lnTo>
                    <a:pt x="192" y="1561"/>
                  </a:lnTo>
                  <a:lnTo>
                    <a:pt x="240" y="1657"/>
                  </a:lnTo>
                  <a:lnTo>
                    <a:pt x="144" y="1777"/>
                  </a:lnTo>
                  <a:lnTo>
                    <a:pt x="96" y="1945"/>
                  </a:lnTo>
                  <a:lnTo>
                    <a:pt x="12" y="2125"/>
                  </a:lnTo>
                  <a:lnTo>
                    <a:pt x="0" y="2341"/>
                  </a:lnTo>
                  <a:lnTo>
                    <a:pt x="39" y="2536"/>
                  </a:lnTo>
                  <a:lnTo>
                    <a:pt x="195" y="2559"/>
                  </a:lnTo>
                  <a:lnTo>
                    <a:pt x="276" y="2461"/>
                  </a:lnTo>
                  <a:lnTo>
                    <a:pt x="326" y="2365"/>
                  </a:lnTo>
                  <a:lnTo>
                    <a:pt x="254" y="2304"/>
                  </a:lnTo>
                  <a:lnTo>
                    <a:pt x="351" y="2230"/>
                  </a:lnTo>
                  <a:lnTo>
                    <a:pt x="288" y="2110"/>
                  </a:lnTo>
                  <a:lnTo>
                    <a:pt x="393" y="2139"/>
                  </a:lnTo>
                  <a:lnTo>
                    <a:pt x="492" y="2185"/>
                  </a:lnTo>
                  <a:lnTo>
                    <a:pt x="590" y="2194"/>
                  </a:lnTo>
                  <a:lnTo>
                    <a:pt x="635" y="2113"/>
                  </a:lnTo>
                  <a:lnTo>
                    <a:pt x="644" y="2008"/>
                  </a:lnTo>
                  <a:lnTo>
                    <a:pt x="698" y="1948"/>
                  </a:lnTo>
                  <a:lnTo>
                    <a:pt x="690" y="1830"/>
                  </a:lnTo>
                  <a:lnTo>
                    <a:pt x="827" y="1783"/>
                  </a:lnTo>
                  <a:lnTo>
                    <a:pt x="863" y="1875"/>
                  </a:lnTo>
                  <a:lnTo>
                    <a:pt x="984" y="1873"/>
                  </a:lnTo>
                  <a:lnTo>
                    <a:pt x="1076" y="1903"/>
                  </a:lnTo>
                  <a:lnTo>
                    <a:pt x="1128" y="1974"/>
                  </a:lnTo>
                  <a:lnTo>
                    <a:pt x="1167" y="2085"/>
                  </a:lnTo>
                  <a:lnTo>
                    <a:pt x="1271" y="2113"/>
                  </a:lnTo>
                  <a:lnTo>
                    <a:pt x="1374" y="2148"/>
                  </a:lnTo>
                  <a:lnTo>
                    <a:pt x="1478" y="2299"/>
                  </a:lnTo>
                  <a:lnTo>
                    <a:pt x="1484" y="2404"/>
                  </a:lnTo>
                  <a:lnTo>
                    <a:pt x="1634" y="2433"/>
                  </a:lnTo>
                  <a:lnTo>
                    <a:pt x="1707" y="2499"/>
                  </a:lnTo>
                  <a:lnTo>
                    <a:pt x="1758" y="2595"/>
                  </a:lnTo>
                  <a:lnTo>
                    <a:pt x="1824" y="2595"/>
                  </a:lnTo>
                  <a:lnTo>
                    <a:pt x="1887" y="2544"/>
                  </a:lnTo>
                  <a:lnTo>
                    <a:pt x="1851" y="2415"/>
                  </a:lnTo>
                  <a:lnTo>
                    <a:pt x="1929" y="2394"/>
                  </a:lnTo>
                  <a:lnTo>
                    <a:pt x="1979" y="2358"/>
                  </a:lnTo>
                  <a:lnTo>
                    <a:pt x="1977" y="2212"/>
                  </a:lnTo>
                  <a:lnTo>
                    <a:pt x="1902" y="2194"/>
                  </a:lnTo>
                  <a:lnTo>
                    <a:pt x="1832" y="2148"/>
                  </a:lnTo>
                  <a:lnTo>
                    <a:pt x="1833" y="2053"/>
                  </a:lnTo>
                  <a:lnTo>
                    <a:pt x="1797" y="1950"/>
                  </a:lnTo>
                  <a:lnTo>
                    <a:pt x="1812" y="1801"/>
                  </a:lnTo>
                  <a:lnTo>
                    <a:pt x="1896" y="1773"/>
                  </a:lnTo>
                  <a:lnTo>
                    <a:pt x="1989" y="1710"/>
                  </a:lnTo>
                  <a:lnTo>
                    <a:pt x="2043" y="1590"/>
                  </a:lnTo>
                  <a:lnTo>
                    <a:pt x="2159" y="1507"/>
                  </a:lnTo>
                  <a:lnTo>
                    <a:pt x="2181" y="1579"/>
                  </a:lnTo>
                  <a:lnTo>
                    <a:pt x="2244" y="1609"/>
                  </a:lnTo>
                  <a:lnTo>
                    <a:pt x="2316" y="1527"/>
                  </a:lnTo>
                  <a:lnTo>
                    <a:pt x="2417" y="1572"/>
                  </a:lnTo>
                  <a:lnTo>
                    <a:pt x="2475" y="1621"/>
                  </a:lnTo>
                  <a:lnTo>
                    <a:pt x="2582" y="1644"/>
                  </a:lnTo>
                  <a:lnTo>
                    <a:pt x="2682" y="1566"/>
                  </a:lnTo>
                  <a:lnTo>
                    <a:pt x="2580" y="1525"/>
                  </a:lnTo>
                  <a:lnTo>
                    <a:pt x="2351" y="1501"/>
                  </a:lnTo>
                  <a:lnTo>
                    <a:pt x="2171" y="1501"/>
                  </a:lnTo>
                  <a:lnTo>
                    <a:pt x="2141" y="1449"/>
                  </a:lnTo>
                  <a:lnTo>
                    <a:pt x="2112" y="1405"/>
                  </a:lnTo>
                  <a:lnTo>
                    <a:pt x="2018" y="1347"/>
                  </a:lnTo>
                  <a:lnTo>
                    <a:pt x="1968" y="1297"/>
                  </a:lnTo>
                  <a:lnTo>
                    <a:pt x="2004" y="1215"/>
                  </a:lnTo>
                  <a:lnTo>
                    <a:pt x="2027" y="1164"/>
                  </a:lnTo>
                  <a:lnTo>
                    <a:pt x="1919" y="1093"/>
                  </a:lnTo>
                  <a:lnTo>
                    <a:pt x="2024" y="978"/>
                  </a:lnTo>
                  <a:lnTo>
                    <a:pt x="2087" y="889"/>
                  </a:lnTo>
                  <a:lnTo>
                    <a:pt x="2171" y="853"/>
                  </a:lnTo>
                  <a:lnTo>
                    <a:pt x="2099" y="747"/>
                  </a:lnTo>
                  <a:lnTo>
                    <a:pt x="2196" y="624"/>
                  </a:lnTo>
                  <a:lnTo>
                    <a:pt x="2129" y="534"/>
                  </a:lnTo>
                  <a:lnTo>
                    <a:pt x="2042" y="436"/>
                  </a:lnTo>
                  <a:lnTo>
                    <a:pt x="2003" y="319"/>
                  </a:lnTo>
                  <a:lnTo>
                    <a:pt x="2003" y="195"/>
                  </a:lnTo>
                  <a:lnTo>
                    <a:pt x="1823" y="289"/>
                  </a:lnTo>
                  <a:lnTo>
                    <a:pt x="1800" y="231"/>
                  </a:lnTo>
                  <a:lnTo>
                    <a:pt x="1716" y="133"/>
                  </a:lnTo>
                  <a:lnTo>
                    <a:pt x="1659" y="25"/>
                  </a:lnTo>
                  <a:lnTo>
                    <a:pt x="1559" y="3"/>
                  </a:lnTo>
                  <a:lnTo>
                    <a:pt x="1478" y="0"/>
                  </a:lnTo>
                  <a:lnTo>
                    <a:pt x="1427" y="85"/>
                  </a:lnTo>
                  <a:lnTo>
                    <a:pt x="1224" y="217"/>
                  </a:lnTo>
                  <a:lnTo>
                    <a:pt x="1103" y="181"/>
                  </a:lnTo>
                  <a:lnTo>
                    <a:pt x="1008" y="97"/>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3" name="Freeform 14">
              <a:extLst>
                <a:ext uri="{FF2B5EF4-FFF2-40B4-BE49-F238E27FC236}">
                  <a16:creationId xmlns:a16="http://schemas.microsoft.com/office/drawing/2014/main" id="{A65C9C54-A632-432B-9C5C-9479243DAE23}"/>
                </a:ext>
              </a:extLst>
            </p:cNvPr>
            <p:cNvSpPr>
              <a:spLocks/>
            </p:cNvSpPr>
            <p:nvPr/>
          </p:nvSpPr>
          <p:spPr bwMode="auto">
            <a:xfrm>
              <a:off x="2743865" y="3075773"/>
              <a:ext cx="595735" cy="419690"/>
            </a:xfrm>
            <a:custGeom>
              <a:avLst/>
              <a:gdLst>
                <a:gd name="T0" fmla="*/ 2019 w 2112"/>
                <a:gd name="T1" fmla="*/ 1040 h 1488"/>
                <a:gd name="T2" fmla="*/ 1956 w 2112"/>
                <a:gd name="T3" fmla="*/ 1043 h 1488"/>
                <a:gd name="T4" fmla="*/ 1893 w 2112"/>
                <a:gd name="T5" fmla="*/ 981 h 1488"/>
                <a:gd name="T6" fmla="*/ 1775 w 2112"/>
                <a:gd name="T7" fmla="*/ 888 h 1488"/>
                <a:gd name="T8" fmla="*/ 1755 w 2112"/>
                <a:gd name="T9" fmla="*/ 813 h 1488"/>
                <a:gd name="T10" fmla="*/ 1694 w 2112"/>
                <a:gd name="T11" fmla="*/ 785 h 1488"/>
                <a:gd name="T12" fmla="*/ 1686 w 2112"/>
                <a:gd name="T13" fmla="*/ 720 h 1488"/>
                <a:gd name="T14" fmla="*/ 1718 w 2112"/>
                <a:gd name="T15" fmla="*/ 635 h 1488"/>
                <a:gd name="T16" fmla="*/ 1751 w 2112"/>
                <a:gd name="T17" fmla="*/ 561 h 1488"/>
                <a:gd name="T18" fmla="*/ 1742 w 2112"/>
                <a:gd name="T19" fmla="*/ 480 h 1488"/>
                <a:gd name="T20" fmla="*/ 1859 w 2112"/>
                <a:gd name="T21" fmla="*/ 432 h 1488"/>
                <a:gd name="T22" fmla="*/ 1787 w 2112"/>
                <a:gd name="T23" fmla="*/ 372 h 1488"/>
                <a:gd name="T24" fmla="*/ 1667 w 2112"/>
                <a:gd name="T25" fmla="*/ 408 h 1488"/>
                <a:gd name="T26" fmla="*/ 1587 w 2112"/>
                <a:gd name="T27" fmla="*/ 338 h 1488"/>
                <a:gd name="T28" fmla="*/ 1445 w 2112"/>
                <a:gd name="T29" fmla="*/ 279 h 1488"/>
                <a:gd name="T30" fmla="*/ 1359 w 2112"/>
                <a:gd name="T31" fmla="*/ 170 h 1488"/>
                <a:gd name="T32" fmla="*/ 1139 w 2112"/>
                <a:gd name="T33" fmla="*/ 0 h 1488"/>
                <a:gd name="T34" fmla="*/ 1032 w 2112"/>
                <a:gd name="T35" fmla="*/ 62 h 1488"/>
                <a:gd name="T36" fmla="*/ 936 w 2112"/>
                <a:gd name="T37" fmla="*/ 108 h 1488"/>
                <a:gd name="T38" fmla="*/ 816 w 2112"/>
                <a:gd name="T39" fmla="*/ 204 h 1488"/>
                <a:gd name="T40" fmla="*/ 660 w 2112"/>
                <a:gd name="T41" fmla="*/ 228 h 1488"/>
                <a:gd name="T42" fmla="*/ 588 w 2112"/>
                <a:gd name="T43" fmla="*/ 204 h 1488"/>
                <a:gd name="T44" fmla="*/ 480 w 2112"/>
                <a:gd name="T45" fmla="*/ 180 h 1488"/>
                <a:gd name="T46" fmla="*/ 348 w 2112"/>
                <a:gd name="T47" fmla="*/ 192 h 1488"/>
                <a:gd name="T48" fmla="*/ 216 w 2112"/>
                <a:gd name="T49" fmla="*/ 192 h 1488"/>
                <a:gd name="T50" fmla="*/ 192 w 2112"/>
                <a:gd name="T51" fmla="*/ 300 h 1488"/>
                <a:gd name="T52" fmla="*/ 156 w 2112"/>
                <a:gd name="T53" fmla="*/ 408 h 1488"/>
                <a:gd name="T54" fmla="*/ 192 w 2112"/>
                <a:gd name="T55" fmla="*/ 468 h 1488"/>
                <a:gd name="T56" fmla="*/ 96 w 2112"/>
                <a:gd name="T57" fmla="*/ 540 h 1488"/>
                <a:gd name="T58" fmla="*/ 0 w 2112"/>
                <a:gd name="T59" fmla="*/ 660 h 1488"/>
                <a:gd name="T60" fmla="*/ 48 w 2112"/>
                <a:gd name="T61" fmla="*/ 780 h 1488"/>
                <a:gd name="T62" fmla="*/ 168 w 2112"/>
                <a:gd name="T63" fmla="*/ 756 h 1488"/>
                <a:gd name="T64" fmla="*/ 288 w 2112"/>
                <a:gd name="T65" fmla="*/ 852 h 1488"/>
                <a:gd name="T66" fmla="*/ 384 w 2112"/>
                <a:gd name="T67" fmla="*/ 816 h 1488"/>
                <a:gd name="T68" fmla="*/ 492 w 2112"/>
                <a:gd name="T69" fmla="*/ 828 h 1488"/>
                <a:gd name="T70" fmla="*/ 612 w 2112"/>
                <a:gd name="T71" fmla="*/ 840 h 1488"/>
                <a:gd name="T72" fmla="*/ 696 w 2112"/>
                <a:gd name="T73" fmla="*/ 936 h 1488"/>
                <a:gd name="T74" fmla="*/ 780 w 2112"/>
                <a:gd name="T75" fmla="*/ 1032 h 1488"/>
                <a:gd name="T76" fmla="*/ 876 w 2112"/>
                <a:gd name="T77" fmla="*/ 1128 h 1488"/>
                <a:gd name="T78" fmla="*/ 912 w 2112"/>
                <a:gd name="T79" fmla="*/ 1200 h 1488"/>
                <a:gd name="T80" fmla="*/ 948 w 2112"/>
                <a:gd name="T81" fmla="*/ 1284 h 1488"/>
                <a:gd name="T82" fmla="*/ 1080 w 2112"/>
                <a:gd name="T83" fmla="*/ 1392 h 1488"/>
                <a:gd name="T84" fmla="*/ 1200 w 2112"/>
                <a:gd name="T85" fmla="*/ 1416 h 1488"/>
                <a:gd name="T86" fmla="*/ 1332 w 2112"/>
                <a:gd name="T87" fmla="*/ 1392 h 1488"/>
                <a:gd name="T88" fmla="*/ 1452 w 2112"/>
                <a:gd name="T89" fmla="*/ 1488 h 1488"/>
                <a:gd name="T90" fmla="*/ 1536 w 2112"/>
                <a:gd name="T91" fmla="*/ 1452 h 1488"/>
                <a:gd name="T92" fmla="*/ 1584 w 2112"/>
                <a:gd name="T93" fmla="*/ 1368 h 1488"/>
                <a:gd name="T94" fmla="*/ 1704 w 2112"/>
                <a:gd name="T95" fmla="*/ 1356 h 1488"/>
                <a:gd name="T96" fmla="*/ 1788 w 2112"/>
                <a:gd name="T97" fmla="*/ 1296 h 1488"/>
                <a:gd name="T98" fmla="*/ 1884 w 2112"/>
                <a:gd name="T99" fmla="*/ 1344 h 1488"/>
                <a:gd name="T100" fmla="*/ 1992 w 2112"/>
                <a:gd name="T101" fmla="*/ 1356 h 1488"/>
                <a:gd name="T102" fmla="*/ 2112 w 2112"/>
                <a:gd name="T103" fmla="*/ 1344 h 1488"/>
                <a:gd name="T104" fmla="*/ 2088 w 2112"/>
                <a:gd name="T105" fmla="*/ 1212 h 1488"/>
                <a:gd name="T106" fmla="*/ 2088 w 2112"/>
                <a:gd name="T107" fmla="*/ 1104 h 1488"/>
                <a:gd name="T108" fmla="*/ 2019 w 2112"/>
                <a:gd name="T109" fmla="*/ 1040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2" h="1488">
                  <a:moveTo>
                    <a:pt x="2019" y="1040"/>
                  </a:moveTo>
                  <a:lnTo>
                    <a:pt x="1956" y="1043"/>
                  </a:lnTo>
                  <a:lnTo>
                    <a:pt x="1893" y="981"/>
                  </a:lnTo>
                  <a:lnTo>
                    <a:pt x="1775" y="888"/>
                  </a:lnTo>
                  <a:lnTo>
                    <a:pt x="1755" y="813"/>
                  </a:lnTo>
                  <a:lnTo>
                    <a:pt x="1694" y="785"/>
                  </a:lnTo>
                  <a:lnTo>
                    <a:pt x="1686" y="720"/>
                  </a:lnTo>
                  <a:lnTo>
                    <a:pt x="1718" y="635"/>
                  </a:lnTo>
                  <a:lnTo>
                    <a:pt x="1751" y="561"/>
                  </a:lnTo>
                  <a:lnTo>
                    <a:pt x="1742" y="480"/>
                  </a:lnTo>
                  <a:lnTo>
                    <a:pt x="1859" y="432"/>
                  </a:lnTo>
                  <a:lnTo>
                    <a:pt x="1787" y="372"/>
                  </a:lnTo>
                  <a:lnTo>
                    <a:pt x="1667" y="408"/>
                  </a:lnTo>
                  <a:lnTo>
                    <a:pt x="1587" y="338"/>
                  </a:lnTo>
                  <a:lnTo>
                    <a:pt x="1445" y="279"/>
                  </a:lnTo>
                  <a:lnTo>
                    <a:pt x="1359" y="170"/>
                  </a:lnTo>
                  <a:lnTo>
                    <a:pt x="1139" y="0"/>
                  </a:lnTo>
                  <a:lnTo>
                    <a:pt x="1032" y="62"/>
                  </a:lnTo>
                  <a:lnTo>
                    <a:pt x="936" y="108"/>
                  </a:lnTo>
                  <a:lnTo>
                    <a:pt x="816" y="204"/>
                  </a:lnTo>
                  <a:lnTo>
                    <a:pt x="660" y="228"/>
                  </a:lnTo>
                  <a:lnTo>
                    <a:pt x="588" y="204"/>
                  </a:lnTo>
                  <a:lnTo>
                    <a:pt x="480" y="180"/>
                  </a:lnTo>
                  <a:lnTo>
                    <a:pt x="348" y="192"/>
                  </a:lnTo>
                  <a:lnTo>
                    <a:pt x="216" y="192"/>
                  </a:lnTo>
                  <a:lnTo>
                    <a:pt x="192" y="300"/>
                  </a:lnTo>
                  <a:lnTo>
                    <a:pt x="156" y="408"/>
                  </a:lnTo>
                  <a:lnTo>
                    <a:pt x="192" y="468"/>
                  </a:lnTo>
                  <a:lnTo>
                    <a:pt x="96" y="540"/>
                  </a:lnTo>
                  <a:lnTo>
                    <a:pt x="0" y="660"/>
                  </a:lnTo>
                  <a:lnTo>
                    <a:pt x="48" y="780"/>
                  </a:lnTo>
                  <a:lnTo>
                    <a:pt x="168" y="756"/>
                  </a:lnTo>
                  <a:lnTo>
                    <a:pt x="288" y="852"/>
                  </a:lnTo>
                  <a:lnTo>
                    <a:pt x="384" y="816"/>
                  </a:lnTo>
                  <a:lnTo>
                    <a:pt x="492" y="828"/>
                  </a:lnTo>
                  <a:lnTo>
                    <a:pt x="612" y="840"/>
                  </a:lnTo>
                  <a:lnTo>
                    <a:pt x="696" y="936"/>
                  </a:lnTo>
                  <a:lnTo>
                    <a:pt x="780" y="1032"/>
                  </a:lnTo>
                  <a:lnTo>
                    <a:pt x="876" y="1128"/>
                  </a:lnTo>
                  <a:lnTo>
                    <a:pt x="912" y="1200"/>
                  </a:lnTo>
                  <a:lnTo>
                    <a:pt x="948" y="1284"/>
                  </a:lnTo>
                  <a:lnTo>
                    <a:pt x="1080" y="1392"/>
                  </a:lnTo>
                  <a:lnTo>
                    <a:pt x="1200" y="1416"/>
                  </a:lnTo>
                  <a:lnTo>
                    <a:pt x="1332" y="1392"/>
                  </a:lnTo>
                  <a:lnTo>
                    <a:pt x="1452" y="1488"/>
                  </a:lnTo>
                  <a:lnTo>
                    <a:pt x="1536" y="1452"/>
                  </a:lnTo>
                  <a:lnTo>
                    <a:pt x="1584" y="1368"/>
                  </a:lnTo>
                  <a:lnTo>
                    <a:pt x="1704" y="1356"/>
                  </a:lnTo>
                  <a:lnTo>
                    <a:pt x="1788" y="1296"/>
                  </a:lnTo>
                  <a:lnTo>
                    <a:pt x="1884" y="1344"/>
                  </a:lnTo>
                  <a:lnTo>
                    <a:pt x="1992" y="1356"/>
                  </a:lnTo>
                  <a:lnTo>
                    <a:pt x="2112" y="1344"/>
                  </a:lnTo>
                  <a:lnTo>
                    <a:pt x="2088" y="1212"/>
                  </a:lnTo>
                  <a:lnTo>
                    <a:pt x="2088" y="1104"/>
                  </a:lnTo>
                  <a:lnTo>
                    <a:pt x="2019" y="10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4" name="Freeform 15">
              <a:extLst>
                <a:ext uri="{FF2B5EF4-FFF2-40B4-BE49-F238E27FC236}">
                  <a16:creationId xmlns:a16="http://schemas.microsoft.com/office/drawing/2014/main" id="{2F09CB29-910F-4F2D-A5DF-60E09710737E}"/>
                </a:ext>
              </a:extLst>
            </p:cNvPr>
            <p:cNvSpPr>
              <a:spLocks/>
            </p:cNvSpPr>
            <p:nvPr/>
          </p:nvSpPr>
          <p:spPr bwMode="auto">
            <a:xfrm>
              <a:off x="3048070" y="3119433"/>
              <a:ext cx="1240762" cy="1014016"/>
            </a:xfrm>
            <a:custGeom>
              <a:avLst/>
              <a:gdLst>
                <a:gd name="T0" fmla="*/ 971 w 4404"/>
                <a:gd name="T1" fmla="*/ 611 h 3600"/>
                <a:gd name="T2" fmla="*/ 1224 w 4404"/>
                <a:gd name="T3" fmla="*/ 552 h 3600"/>
                <a:gd name="T4" fmla="*/ 1356 w 4404"/>
                <a:gd name="T5" fmla="*/ 371 h 3600"/>
                <a:gd name="T6" fmla="*/ 1500 w 4404"/>
                <a:gd name="T7" fmla="*/ 489 h 3600"/>
                <a:gd name="T8" fmla="*/ 1631 w 4404"/>
                <a:gd name="T9" fmla="*/ 684 h 3600"/>
                <a:gd name="T10" fmla="*/ 1836 w 4404"/>
                <a:gd name="T11" fmla="*/ 890 h 3600"/>
                <a:gd name="T12" fmla="*/ 2337 w 4404"/>
                <a:gd name="T13" fmla="*/ 1065 h 3600"/>
                <a:gd name="T14" fmla="*/ 2696 w 4404"/>
                <a:gd name="T15" fmla="*/ 1032 h 3600"/>
                <a:gd name="T16" fmla="*/ 2855 w 4404"/>
                <a:gd name="T17" fmla="*/ 672 h 3600"/>
                <a:gd name="T18" fmla="*/ 2915 w 4404"/>
                <a:gd name="T19" fmla="*/ 419 h 3600"/>
                <a:gd name="T20" fmla="*/ 3059 w 4404"/>
                <a:gd name="T21" fmla="*/ 240 h 3600"/>
                <a:gd name="T22" fmla="*/ 2990 w 4404"/>
                <a:gd name="T23" fmla="*/ 36 h 3600"/>
                <a:gd name="T24" fmla="*/ 3377 w 4404"/>
                <a:gd name="T25" fmla="*/ 63 h 3600"/>
                <a:gd name="T26" fmla="*/ 3696 w 4404"/>
                <a:gd name="T27" fmla="*/ 167 h 3600"/>
                <a:gd name="T28" fmla="*/ 3893 w 4404"/>
                <a:gd name="T29" fmla="*/ 26 h 3600"/>
                <a:gd name="T30" fmla="*/ 3986 w 4404"/>
                <a:gd name="T31" fmla="*/ 324 h 3600"/>
                <a:gd name="T32" fmla="*/ 3936 w 4404"/>
                <a:gd name="T33" fmla="*/ 447 h 3600"/>
                <a:gd name="T34" fmla="*/ 3692 w 4404"/>
                <a:gd name="T35" fmla="*/ 882 h 3600"/>
                <a:gd name="T36" fmla="*/ 3432 w 4404"/>
                <a:gd name="T37" fmla="*/ 1128 h 3600"/>
                <a:gd name="T38" fmla="*/ 3614 w 4404"/>
                <a:gd name="T39" fmla="*/ 1271 h 3600"/>
                <a:gd name="T40" fmla="*/ 3818 w 4404"/>
                <a:gd name="T41" fmla="*/ 1188 h 3600"/>
                <a:gd name="T42" fmla="*/ 4010 w 4404"/>
                <a:gd name="T43" fmla="*/ 1356 h 3600"/>
                <a:gd name="T44" fmla="*/ 4056 w 4404"/>
                <a:gd name="T45" fmla="*/ 1574 h 3600"/>
                <a:gd name="T46" fmla="*/ 4350 w 4404"/>
                <a:gd name="T47" fmla="*/ 1779 h 3600"/>
                <a:gd name="T48" fmla="*/ 4356 w 4404"/>
                <a:gd name="T49" fmla="*/ 2075 h 3600"/>
                <a:gd name="T50" fmla="*/ 4052 w 4404"/>
                <a:gd name="T51" fmla="*/ 1835 h 3600"/>
                <a:gd name="T52" fmla="*/ 3768 w 4404"/>
                <a:gd name="T53" fmla="*/ 1917 h 3600"/>
                <a:gd name="T54" fmla="*/ 3671 w 4404"/>
                <a:gd name="T55" fmla="*/ 2289 h 3600"/>
                <a:gd name="T56" fmla="*/ 3503 w 4404"/>
                <a:gd name="T57" fmla="*/ 2174 h 3600"/>
                <a:gd name="T58" fmla="*/ 3563 w 4404"/>
                <a:gd name="T59" fmla="*/ 1884 h 3600"/>
                <a:gd name="T60" fmla="*/ 3482 w 4404"/>
                <a:gd name="T61" fmla="*/ 1787 h 3600"/>
                <a:gd name="T62" fmla="*/ 3306 w 4404"/>
                <a:gd name="T63" fmla="*/ 1689 h 3600"/>
                <a:gd name="T64" fmla="*/ 3240 w 4404"/>
                <a:gd name="T65" fmla="*/ 1895 h 3600"/>
                <a:gd name="T66" fmla="*/ 3182 w 4404"/>
                <a:gd name="T67" fmla="*/ 2196 h 3600"/>
                <a:gd name="T68" fmla="*/ 3383 w 4404"/>
                <a:gd name="T69" fmla="*/ 2376 h 3600"/>
                <a:gd name="T70" fmla="*/ 3326 w 4404"/>
                <a:gd name="T71" fmla="*/ 2676 h 3600"/>
                <a:gd name="T72" fmla="*/ 3197 w 4404"/>
                <a:gd name="T73" fmla="*/ 2844 h 3600"/>
                <a:gd name="T74" fmla="*/ 2894 w 4404"/>
                <a:gd name="T75" fmla="*/ 2916 h 3600"/>
                <a:gd name="T76" fmla="*/ 2412 w 4404"/>
                <a:gd name="T77" fmla="*/ 2940 h 3600"/>
                <a:gd name="T78" fmla="*/ 2388 w 4404"/>
                <a:gd name="T79" fmla="*/ 3326 h 3600"/>
                <a:gd name="T80" fmla="*/ 1620 w 4404"/>
                <a:gd name="T81" fmla="*/ 3564 h 3600"/>
                <a:gd name="T82" fmla="*/ 1440 w 4404"/>
                <a:gd name="T83" fmla="*/ 3084 h 3600"/>
                <a:gd name="T84" fmla="*/ 1164 w 4404"/>
                <a:gd name="T85" fmla="*/ 2700 h 3600"/>
                <a:gd name="T86" fmla="*/ 864 w 4404"/>
                <a:gd name="T87" fmla="*/ 2580 h 3600"/>
                <a:gd name="T88" fmla="*/ 684 w 4404"/>
                <a:gd name="T89" fmla="*/ 2100 h 3600"/>
                <a:gd name="T90" fmla="*/ 636 w 4404"/>
                <a:gd name="T91" fmla="*/ 1728 h 3600"/>
                <a:gd name="T92" fmla="*/ 336 w 4404"/>
                <a:gd name="T93" fmla="*/ 1584 h 3600"/>
                <a:gd name="T94" fmla="*/ 84 w 4404"/>
                <a:gd name="T95" fmla="*/ 1356 h 3600"/>
                <a:gd name="T96" fmla="*/ 252 w 4404"/>
                <a:gd name="T97" fmla="*/ 1236 h 3600"/>
                <a:gd name="T98" fmla="*/ 504 w 4404"/>
                <a:gd name="T99" fmla="*/ 1212 h 3600"/>
                <a:gd name="T100" fmla="*/ 804 w 4404"/>
                <a:gd name="T101" fmla="*/ 1188 h 3600"/>
                <a:gd name="T102" fmla="*/ 1008 w 4404"/>
                <a:gd name="T103" fmla="*/ 10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4" h="3600">
                  <a:moveTo>
                    <a:pt x="938" y="884"/>
                  </a:moveTo>
                  <a:lnTo>
                    <a:pt x="947" y="755"/>
                  </a:lnTo>
                  <a:lnTo>
                    <a:pt x="971" y="611"/>
                  </a:lnTo>
                  <a:lnTo>
                    <a:pt x="1067" y="518"/>
                  </a:lnTo>
                  <a:lnTo>
                    <a:pt x="1187" y="479"/>
                  </a:lnTo>
                  <a:lnTo>
                    <a:pt x="1224" y="552"/>
                  </a:lnTo>
                  <a:lnTo>
                    <a:pt x="1332" y="504"/>
                  </a:lnTo>
                  <a:lnTo>
                    <a:pt x="1403" y="456"/>
                  </a:lnTo>
                  <a:lnTo>
                    <a:pt x="1356" y="371"/>
                  </a:lnTo>
                  <a:lnTo>
                    <a:pt x="1439" y="312"/>
                  </a:lnTo>
                  <a:lnTo>
                    <a:pt x="1512" y="395"/>
                  </a:lnTo>
                  <a:lnTo>
                    <a:pt x="1500" y="489"/>
                  </a:lnTo>
                  <a:lnTo>
                    <a:pt x="1526" y="566"/>
                  </a:lnTo>
                  <a:lnTo>
                    <a:pt x="1584" y="611"/>
                  </a:lnTo>
                  <a:lnTo>
                    <a:pt x="1631" y="684"/>
                  </a:lnTo>
                  <a:lnTo>
                    <a:pt x="1646" y="771"/>
                  </a:lnTo>
                  <a:lnTo>
                    <a:pt x="1769" y="828"/>
                  </a:lnTo>
                  <a:lnTo>
                    <a:pt x="1836" y="890"/>
                  </a:lnTo>
                  <a:lnTo>
                    <a:pt x="1946" y="936"/>
                  </a:lnTo>
                  <a:lnTo>
                    <a:pt x="2088" y="947"/>
                  </a:lnTo>
                  <a:lnTo>
                    <a:pt x="2337" y="1065"/>
                  </a:lnTo>
                  <a:lnTo>
                    <a:pt x="2471" y="1094"/>
                  </a:lnTo>
                  <a:lnTo>
                    <a:pt x="2589" y="1080"/>
                  </a:lnTo>
                  <a:lnTo>
                    <a:pt x="2696" y="1032"/>
                  </a:lnTo>
                  <a:lnTo>
                    <a:pt x="2822" y="947"/>
                  </a:lnTo>
                  <a:lnTo>
                    <a:pt x="2904" y="819"/>
                  </a:lnTo>
                  <a:lnTo>
                    <a:pt x="2855" y="672"/>
                  </a:lnTo>
                  <a:lnTo>
                    <a:pt x="2868" y="552"/>
                  </a:lnTo>
                  <a:lnTo>
                    <a:pt x="2823" y="434"/>
                  </a:lnTo>
                  <a:lnTo>
                    <a:pt x="2915" y="419"/>
                  </a:lnTo>
                  <a:lnTo>
                    <a:pt x="3000" y="458"/>
                  </a:lnTo>
                  <a:lnTo>
                    <a:pt x="3012" y="323"/>
                  </a:lnTo>
                  <a:lnTo>
                    <a:pt x="3059" y="240"/>
                  </a:lnTo>
                  <a:lnTo>
                    <a:pt x="2916" y="182"/>
                  </a:lnTo>
                  <a:lnTo>
                    <a:pt x="2918" y="71"/>
                  </a:lnTo>
                  <a:lnTo>
                    <a:pt x="2990" y="36"/>
                  </a:lnTo>
                  <a:lnTo>
                    <a:pt x="3074" y="71"/>
                  </a:lnTo>
                  <a:lnTo>
                    <a:pt x="3212" y="84"/>
                  </a:lnTo>
                  <a:lnTo>
                    <a:pt x="3377" y="63"/>
                  </a:lnTo>
                  <a:lnTo>
                    <a:pt x="3560" y="48"/>
                  </a:lnTo>
                  <a:lnTo>
                    <a:pt x="3636" y="62"/>
                  </a:lnTo>
                  <a:lnTo>
                    <a:pt x="3696" y="167"/>
                  </a:lnTo>
                  <a:lnTo>
                    <a:pt x="3770" y="93"/>
                  </a:lnTo>
                  <a:lnTo>
                    <a:pt x="3815" y="0"/>
                  </a:lnTo>
                  <a:lnTo>
                    <a:pt x="3893" y="26"/>
                  </a:lnTo>
                  <a:lnTo>
                    <a:pt x="3984" y="96"/>
                  </a:lnTo>
                  <a:lnTo>
                    <a:pt x="4032" y="218"/>
                  </a:lnTo>
                  <a:lnTo>
                    <a:pt x="3986" y="324"/>
                  </a:lnTo>
                  <a:lnTo>
                    <a:pt x="3864" y="192"/>
                  </a:lnTo>
                  <a:lnTo>
                    <a:pt x="3890" y="315"/>
                  </a:lnTo>
                  <a:lnTo>
                    <a:pt x="3936" y="447"/>
                  </a:lnTo>
                  <a:lnTo>
                    <a:pt x="3851" y="543"/>
                  </a:lnTo>
                  <a:lnTo>
                    <a:pt x="3779" y="648"/>
                  </a:lnTo>
                  <a:lnTo>
                    <a:pt x="3692" y="882"/>
                  </a:lnTo>
                  <a:lnTo>
                    <a:pt x="3638" y="1008"/>
                  </a:lnTo>
                  <a:lnTo>
                    <a:pt x="3537" y="1082"/>
                  </a:lnTo>
                  <a:lnTo>
                    <a:pt x="3432" y="1128"/>
                  </a:lnTo>
                  <a:lnTo>
                    <a:pt x="3443" y="1235"/>
                  </a:lnTo>
                  <a:lnTo>
                    <a:pt x="3503" y="1296"/>
                  </a:lnTo>
                  <a:lnTo>
                    <a:pt x="3614" y="1271"/>
                  </a:lnTo>
                  <a:lnTo>
                    <a:pt x="3672" y="1188"/>
                  </a:lnTo>
                  <a:lnTo>
                    <a:pt x="3743" y="1200"/>
                  </a:lnTo>
                  <a:lnTo>
                    <a:pt x="3818" y="1188"/>
                  </a:lnTo>
                  <a:lnTo>
                    <a:pt x="3912" y="1188"/>
                  </a:lnTo>
                  <a:lnTo>
                    <a:pt x="3984" y="1262"/>
                  </a:lnTo>
                  <a:lnTo>
                    <a:pt x="4010" y="1356"/>
                  </a:lnTo>
                  <a:lnTo>
                    <a:pt x="3962" y="1440"/>
                  </a:lnTo>
                  <a:lnTo>
                    <a:pt x="3972" y="1524"/>
                  </a:lnTo>
                  <a:lnTo>
                    <a:pt x="4056" y="1574"/>
                  </a:lnTo>
                  <a:lnTo>
                    <a:pt x="4173" y="1595"/>
                  </a:lnTo>
                  <a:lnTo>
                    <a:pt x="4299" y="1670"/>
                  </a:lnTo>
                  <a:lnTo>
                    <a:pt x="4350" y="1779"/>
                  </a:lnTo>
                  <a:lnTo>
                    <a:pt x="4404" y="1910"/>
                  </a:lnTo>
                  <a:lnTo>
                    <a:pt x="4334" y="1968"/>
                  </a:lnTo>
                  <a:lnTo>
                    <a:pt x="4356" y="2075"/>
                  </a:lnTo>
                  <a:lnTo>
                    <a:pt x="4212" y="2016"/>
                  </a:lnTo>
                  <a:lnTo>
                    <a:pt x="4154" y="1908"/>
                  </a:lnTo>
                  <a:lnTo>
                    <a:pt x="4052" y="1835"/>
                  </a:lnTo>
                  <a:lnTo>
                    <a:pt x="3881" y="1809"/>
                  </a:lnTo>
                  <a:lnTo>
                    <a:pt x="3767" y="1802"/>
                  </a:lnTo>
                  <a:lnTo>
                    <a:pt x="3768" y="1917"/>
                  </a:lnTo>
                  <a:lnTo>
                    <a:pt x="3732" y="2031"/>
                  </a:lnTo>
                  <a:lnTo>
                    <a:pt x="3635" y="2198"/>
                  </a:lnTo>
                  <a:lnTo>
                    <a:pt x="3671" y="2289"/>
                  </a:lnTo>
                  <a:lnTo>
                    <a:pt x="3587" y="2327"/>
                  </a:lnTo>
                  <a:lnTo>
                    <a:pt x="3515" y="2258"/>
                  </a:lnTo>
                  <a:lnTo>
                    <a:pt x="3503" y="2174"/>
                  </a:lnTo>
                  <a:lnTo>
                    <a:pt x="3444" y="2076"/>
                  </a:lnTo>
                  <a:lnTo>
                    <a:pt x="3539" y="2016"/>
                  </a:lnTo>
                  <a:lnTo>
                    <a:pt x="3563" y="1884"/>
                  </a:lnTo>
                  <a:lnTo>
                    <a:pt x="3624" y="1850"/>
                  </a:lnTo>
                  <a:lnTo>
                    <a:pt x="3621" y="1787"/>
                  </a:lnTo>
                  <a:lnTo>
                    <a:pt x="3482" y="1787"/>
                  </a:lnTo>
                  <a:lnTo>
                    <a:pt x="3419" y="1730"/>
                  </a:lnTo>
                  <a:lnTo>
                    <a:pt x="3395" y="1668"/>
                  </a:lnTo>
                  <a:lnTo>
                    <a:pt x="3306" y="1689"/>
                  </a:lnTo>
                  <a:lnTo>
                    <a:pt x="3252" y="1691"/>
                  </a:lnTo>
                  <a:lnTo>
                    <a:pt x="3192" y="1776"/>
                  </a:lnTo>
                  <a:lnTo>
                    <a:pt x="3240" y="1895"/>
                  </a:lnTo>
                  <a:lnTo>
                    <a:pt x="3240" y="2004"/>
                  </a:lnTo>
                  <a:lnTo>
                    <a:pt x="3179" y="2100"/>
                  </a:lnTo>
                  <a:lnTo>
                    <a:pt x="3182" y="2196"/>
                  </a:lnTo>
                  <a:lnTo>
                    <a:pt x="3285" y="2207"/>
                  </a:lnTo>
                  <a:lnTo>
                    <a:pt x="3362" y="2234"/>
                  </a:lnTo>
                  <a:lnTo>
                    <a:pt x="3383" y="2376"/>
                  </a:lnTo>
                  <a:lnTo>
                    <a:pt x="3455" y="2462"/>
                  </a:lnTo>
                  <a:lnTo>
                    <a:pt x="3336" y="2543"/>
                  </a:lnTo>
                  <a:lnTo>
                    <a:pt x="3326" y="2676"/>
                  </a:lnTo>
                  <a:lnTo>
                    <a:pt x="3275" y="2739"/>
                  </a:lnTo>
                  <a:lnTo>
                    <a:pt x="3312" y="2856"/>
                  </a:lnTo>
                  <a:lnTo>
                    <a:pt x="3197" y="2844"/>
                  </a:lnTo>
                  <a:lnTo>
                    <a:pt x="3105" y="2831"/>
                  </a:lnTo>
                  <a:lnTo>
                    <a:pt x="3000" y="2820"/>
                  </a:lnTo>
                  <a:lnTo>
                    <a:pt x="2894" y="2916"/>
                  </a:lnTo>
                  <a:lnTo>
                    <a:pt x="2775" y="2906"/>
                  </a:lnTo>
                  <a:lnTo>
                    <a:pt x="2661" y="2880"/>
                  </a:lnTo>
                  <a:lnTo>
                    <a:pt x="2412" y="2940"/>
                  </a:lnTo>
                  <a:lnTo>
                    <a:pt x="2364" y="3119"/>
                  </a:lnTo>
                  <a:lnTo>
                    <a:pt x="2400" y="3251"/>
                  </a:lnTo>
                  <a:lnTo>
                    <a:pt x="2388" y="3326"/>
                  </a:lnTo>
                  <a:lnTo>
                    <a:pt x="2243" y="3545"/>
                  </a:lnTo>
                  <a:lnTo>
                    <a:pt x="1956" y="3600"/>
                  </a:lnTo>
                  <a:lnTo>
                    <a:pt x="1620" y="3564"/>
                  </a:lnTo>
                  <a:lnTo>
                    <a:pt x="1524" y="3444"/>
                  </a:lnTo>
                  <a:lnTo>
                    <a:pt x="1397" y="3408"/>
                  </a:lnTo>
                  <a:lnTo>
                    <a:pt x="1440" y="3084"/>
                  </a:lnTo>
                  <a:lnTo>
                    <a:pt x="1476" y="2820"/>
                  </a:lnTo>
                  <a:lnTo>
                    <a:pt x="1332" y="2772"/>
                  </a:lnTo>
                  <a:lnTo>
                    <a:pt x="1164" y="2700"/>
                  </a:lnTo>
                  <a:lnTo>
                    <a:pt x="984" y="2784"/>
                  </a:lnTo>
                  <a:lnTo>
                    <a:pt x="972" y="2640"/>
                  </a:lnTo>
                  <a:lnTo>
                    <a:pt x="864" y="2580"/>
                  </a:lnTo>
                  <a:lnTo>
                    <a:pt x="780" y="2412"/>
                  </a:lnTo>
                  <a:lnTo>
                    <a:pt x="708" y="2292"/>
                  </a:lnTo>
                  <a:lnTo>
                    <a:pt x="684" y="2100"/>
                  </a:lnTo>
                  <a:lnTo>
                    <a:pt x="684" y="1968"/>
                  </a:lnTo>
                  <a:lnTo>
                    <a:pt x="720" y="1788"/>
                  </a:lnTo>
                  <a:lnTo>
                    <a:pt x="636" y="1728"/>
                  </a:lnTo>
                  <a:lnTo>
                    <a:pt x="516" y="1692"/>
                  </a:lnTo>
                  <a:lnTo>
                    <a:pt x="444" y="1596"/>
                  </a:lnTo>
                  <a:lnTo>
                    <a:pt x="336" y="1584"/>
                  </a:lnTo>
                  <a:lnTo>
                    <a:pt x="252" y="1464"/>
                  </a:lnTo>
                  <a:lnTo>
                    <a:pt x="192" y="1392"/>
                  </a:lnTo>
                  <a:lnTo>
                    <a:pt x="84" y="1356"/>
                  </a:lnTo>
                  <a:lnTo>
                    <a:pt x="0" y="1236"/>
                  </a:lnTo>
                  <a:lnTo>
                    <a:pt x="120" y="1260"/>
                  </a:lnTo>
                  <a:lnTo>
                    <a:pt x="252" y="1236"/>
                  </a:lnTo>
                  <a:lnTo>
                    <a:pt x="372" y="1332"/>
                  </a:lnTo>
                  <a:lnTo>
                    <a:pt x="456" y="1296"/>
                  </a:lnTo>
                  <a:lnTo>
                    <a:pt x="504" y="1212"/>
                  </a:lnTo>
                  <a:lnTo>
                    <a:pt x="624" y="1200"/>
                  </a:lnTo>
                  <a:lnTo>
                    <a:pt x="708" y="1140"/>
                  </a:lnTo>
                  <a:lnTo>
                    <a:pt x="804" y="1188"/>
                  </a:lnTo>
                  <a:lnTo>
                    <a:pt x="912" y="1200"/>
                  </a:lnTo>
                  <a:lnTo>
                    <a:pt x="1032" y="1188"/>
                  </a:lnTo>
                  <a:lnTo>
                    <a:pt x="1008" y="1056"/>
                  </a:lnTo>
                  <a:lnTo>
                    <a:pt x="1008" y="948"/>
                  </a:lnTo>
                  <a:lnTo>
                    <a:pt x="938" y="884"/>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5" name="Freeform 16">
              <a:extLst>
                <a:ext uri="{FF2B5EF4-FFF2-40B4-BE49-F238E27FC236}">
                  <a16:creationId xmlns:a16="http://schemas.microsoft.com/office/drawing/2014/main" id="{B2CDBC79-DDED-4061-83C0-905D136BC998}"/>
                </a:ext>
              </a:extLst>
            </p:cNvPr>
            <p:cNvSpPr>
              <a:spLocks/>
            </p:cNvSpPr>
            <p:nvPr/>
          </p:nvSpPr>
          <p:spPr bwMode="auto">
            <a:xfrm>
              <a:off x="4431075" y="1606859"/>
              <a:ext cx="653477" cy="1421031"/>
            </a:xfrm>
            <a:custGeom>
              <a:avLst/>
              <a:gdLst>
                <a:gd name="T0" fmla="*/ 102 w 2323"/>
                <a:gd name="T1" fmla="*/ 139 h 5047"/>
                <a:gd name="T2" fmla="*/ 12 w 2323"/>
                <a:gd name="T3" fmla="*/ 280 h 5047"/>
                <a:gd name="T4" fmla="*/ 85 w 2323"/>
                <a:gd name="T5" fmla="*/ 562 h 5047"/>
                <a:gd name="T6" fmla="*/ 97 w 2323"/>
                <a:gd name="T7" fmla="*/ 805 h 5047"/>
                <a:gd name="T8" fmla="*/ 12 w 2323"/>
                <a:gd name="T9" fmla="*/ 1113 h 5047"/>
                <a:gd name="T10" fmla="*/ 12 w 2323"/>
                <a:gd name="T11" fmla="*/ 1440 h 5047"/>
                <a:gd name="T12" fmla="*/ 171 w 2323"/>
                <a:gd name="T13" fmla="*/ 1533 h 5047"/>
                <a:gd name="T14" fmla="*/ 51 w 2323"/>
                <a:gd name="T15" fmla="*/ 1785 h 5047"/>
                <a:gd name="T16" fmla="*/ 72 w 2323"/>
                <a:gd name="T17" fmla="*/ 2058 h 5047"/>
                <a:gd name="T18" fmla="*/ 144 w 2323"/>
                <a:gd name="T19" fmla="*/ 2313 h 5047"/>
                <a:gd name="T20" fmla="*/ 229 w 2323"/>
                <a:gd name="T21" fmla="*/ 2529 h 5047"/>
                <a:gd name="T22" fmla="*/ 327 w 2323"/>
                <a:gd name="T23" fmla="*/ 2811 h 5047"/>
                <a:gd name="T24" fmla="*/ 447 w 2323"/>
                <a:gd name="T25" fmla="*/ 3034 h 5047"/>
                <a:gd name="T26" fmla="*/ 387 w 2323"/>
                <a:gd name="T27" fmla="*/ 3237 h 5047"/>
                <a:gd name="T28" fmla="*/ 408 w 2323"/>
                <a:gd name="T29" fmla="*/ 3406 h 5047"/>
                <a:gd name="T30" fmla="*/ 373 w 2323"/>
                <a:gd name="T31" fmla="*/ 3657 h 5047"/>
                <a:gd name="T32" fmla="*/ 253 w 2323"/>
                <a:gd name="T33" fmla="*/ 3909 h 5047"/>
                <a:gd name="T34" fmla="*/ 322 w 2323"/>
                <a:gd name="T35" fmla="*/ 4030 h 5047"/>
                <a:gd name="T36" fmla="*/ 276 w 2323"/>
                <a:gd name="T37" fmla="*/ 4248 h 5047"/>
                <a:gd name="T38" fmla="*/ 169 w 2323"/>
                <a:gd name="T39" fmla="*/ 4476 h 5047"/>
                <a:gd name="T40" fmla="*/ 156 w 2323"/>
                <a:gd name="T41" fmla="*/ 4644 h 5047"/>
                <a:gd name="T42" fmla="*/ 169 w 2323"/>
                <a:gd name="T43" fmla="*/ 4783 h 5047"/>
                <a:gd name="T44" fmla="*/ 291 w 2323"/>
                <a:gd name="T45" fmla="*/ 4908 h 5047"/>
                <a:gd name="T46" fmla="*/ 421 w 2323"/>
                <a:gd name="T47" fmla="*/ 4932 h 5047"/>
                <a:gd name="T48" fmla="*/ 610 w 2323"/>
                <a:gd name="T49" fmla="*/ 4659 h 5047"/>
                <a:gd name="T50" fmla="*/ 807 w 2323"/>
                <a:gd name="T51" fmla="*/ 4545 h 5047"/>
                <a:gd name="T52" fmla="*/ 841 w 2323"/>
                <a:gd name="T53" fmla="*/ 4438 h 5047"/>
                <a:gd name="T54" fmla="*/ 1129 w 2323"/>
                <a:gd name="T55" fmla="*/ 4080 h 5047"/>
                <a:gd name="T56" fmla="*/ 1123 w 2323"/>
                <a:gd name="T57" fmla="*/ 3799 h 5047"/>
                <a:gd name="T58" fmla="*/ 1225 w 2323"/>
                <a:gd name="T59" fmla="*/ 3361 h 5047"/>
                <a:gd name="T60" fmla="*/ 1428 w 2323"/>
                <a:gd name="T61" fmla="*/ 3142 h 5047"/>
                <a:gd name="T62" fmla="*/ 1837 w 2323"/>
                <a:gd name="T63" fmla="*/ 2926 h 5047"/>
                <a:gd name="T64" fmla="*/ 1837 w 2323"/>
                <a:gd name="T65" fmla="*/ 2548 h 5047"/>
                <a:gd name="T66" fmla="*/ 2071 w 2323"/>
                <a:gd name="T67" fmla="*/ 2296 h 5047"/>
                <a:gd name="T68" fmla="*/ 2323 w 2323"/>
                <a:gd name="T69" fmla="*/ 1864 h 5047"/>
                <a:gd name="T70" fmla="*/ 1836 w 2323"/>
                <a:gd name="T71" fmla="*/ 1173 h 5047"/>
                <a:gd name="T72" fmla="*/ 1384 w 2323"/>
                <a:gd name="T73" fmla="*/ 742 h 5047"/>
                <a:gd name="T74" fmla="*/ 1060 w 2323"/>
                <a:gd name="T75" fmla="*/ 444 h 5047"/>
                <a:gd name="T76" fmla="*/ 552 w 2323"/>
                <a:gd name="T77" fmla="*/ 94 h 5047"/>
                <a:gd name="T78" fmla="*/ 229 w 2323"/>
                <a:gd name="T79" fmla="*/ 82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3" h="5047">
                  <a:moveTo>
                    <a:pt x="229" y="82"/>
                  </a:moveTo>
                  <a:lnTo>
                    <a:pt x="102" y="139"/>
                  </a:lnTo>
                  <a:lnTo>
                    <a:pt x="0" y="190"/>
                  </a:lnTo>
                  <a:lnTo>
                    <a:pt x="12" y="280"/>
                  </a:lnTo>
                  <a:lnTo>
                    <a:pt x="73" y="432"/>
                  </a:lnTo>
                  <a:lnTo>
                    <a:pt x="85" y="562"/>
                  </a:lnTo>
                  <a:lnTo>
                    <a:pt x="72" y="696"/>
                  </a:lnTo>
                  <a:lnTo>
                    <a:pt x="97" y="805"/>
                  </a:lnTo>
                  <a:lnTo>
                    <a:pt x="24" y="913"/>
                  </a:lnTo>
                  <a:lnTo>
                    <a:pt x="12" y="1113"/>
                  </a:lnTo>
                  <a:lnTo>
                    <a:pt x="85" y="1222"/>
                  </a:lnTo>
                  <a:lnTo>
                    <a:pt x="12" y="1440"/>
                  </a:lnTo>
                  <a:lnTo>
                    <a:pt x="93" y="1461"/>
                  </a:lnTo>
                  <a:lnTo>
                    <a:pt x="171" y="1533"/>
                  </a:lnTo>
                  <a:lnTo>
                    <a:pt x="145" y="1678"/>
                  </a:lnTo>
                  <a:lnTo>
                    <a:pt x="51" y="1785"/>
                  </a:lnTo>
                  <a:lnTo>
                    <a:pt x="48" y="1944"/>
                  </a:lnTo>
                  <a:lnTo>
                    <a:pt x="72" y="2058"/>
                  </a:lnTo>
                  <a:lnTo>
                    <a:pt x="84" y="2217"/>
                  </a:lnTo>
                  <a:lnTo>
                    <a:pt x="144" y="2313"/>
                  </a:lnTo>
                  <a:lnTo>
                    <a:pt x="135" y="2470"/>
                  </a:lnTo>
                  <a:lnTo>
                    <a:pt x="229" y="2529"/>
                  </a:lnTo>
                  <a:lnTo>
                    <a:pt x="289" y="2673"/>
                  </a:lnTo>
                  <a:lnTo>
                    <a:pt x="327" y="2811"/>
                  </a:lnTo>
                  <a:lnTo>
                    <a:pt x="394" y="2910"/>
                  </a:lnTo>
                  <a:lnTo>
                    <a:pt x="447" y="3034"/>
                  </a:lnTo>
                  <a:lnTo>
                    <a:pt x="372" y="3153"/>
                  </a:lnTo>
                  <a:lnTo>
                    <a:pt x="387" y="3237"/>
                  </a:lnTo>
                  <a:lnTo>
                    <a:pt x="327" y="3298"/>
                  </a:lnTo>
                  <a:lnTo>
                    <a:pt x="408" y="3406"/>
                  </a:lnTo>
                  <a:lnTo>
                    <a:pt x="397" y="3519"/>
                  </a:lnTo>
                  <a:lnTo>
                    <a:pt x="373" y="3657"/>
                  </a:lnTo>
                  <a:lnTo>
                    <a:pt x="373" y="3874"/>
                  </a:lnTo>
                  <a:lnTo>
                    <a:pt x="253" y="3909"/>
                  </a:lnTo>
                  <a:lnTo>
                    <a:pt x="253" y="4006"/>
                  </a:lnTo>
                  <a:lnTo>
                    <a:pt x="322" y="4030"/>
                  </a:lnTo>
                  <a:lnTo>
                    <a:pt x="291" y="4152"/>
                  </a:lnTo>
                  <a:lnTo>
                    <a:pt x="276" y="4248"/>
                  </a:lnTo>
                  <a:lnTo>
                    <a:pt x="145" y="4210"/>
                  </a:lnTo>
                  <a:lnTo>
                    <a:pt x="169" y="4476"/>
                  </a:lnTo>
                  <a:lnTo>
                    <a:pt x="73" y="4546"/>
                  </a:lnTo>
                  <a:lnTo>
                    <a:pt x="156" y="4644"/>
                  </a:lnTo>
                  <a:lnTo>
                    <a:pt x="61" y="4797"/>
                  </a:lnTo>
                  <a:lnTo>
                    <a:pt x="169" y="4783"/>
                  </a:lnTo>
                  <a:lnTo>
                    <a:pt x="202" y="4834"/>
                  </a:lnTo>
                  <a:lnTo>
                    <a:pt x="291" y="4908"/>
                  </a:lnTo>
                  <a:lnTo>
                    <a:pt x="271" y="5047"/>
                  </a:lnTo>
                  <a:lnTo>
                    <a:pt x="421" y="4932"/>
                  </a:lnTo>
                  <a:lnTo>
                    <a:pt x="526" y="4767"/>
                  </a:lnTo>
                  <a:lnTo>
                    <a:pt x="610" y="4659"/>
                  </a:lnTo>
                  <a:lnTo>
                    <a:pt x="685" y="4548"/>
                  </a:lnTo>
                  <a:lnTo>
                    <a:pt x="807" y="4545"/>
                  </a:lnTo>
                  <a:lnTo>
                    <a:pt x="898" y="4486"/>
                  </a:lnTo>
                  <a:lnTo>
                    <a:pt x="841" y="4438"/>
                  </a:lnTo>
                  <a:lnTo>
                    <a:pt x="984" y="4198"/>
                  </a:lnTo>
                  <a:lnTo>
                    <a:pt x="1129" y="4080"/>
                  </a:lnTo>
                  <a:lnTo>
                    <a:pt x="1068" y="3955"/>
                  </a:lnTo>
                  <a:lnTo>
                    <a:pt x="1123" y="3799"/>
                  </a:lnTo>
                  <a:lnTo>
                    <a:pt x="1213" y="3483"/>
                  </a:lnTo>
                  <a:lnTo>
                    <a:pt x="1225" y="3361"/>
                  </a:lnTo>
                  <a:lnTo>
                    <a:pt x="1309" y="3261"/>
                  </a:lnTo>
                  <a:lnTo>
                    <a:pt x="1428" y="3142"/>
                  </a:lnTo>
                  <a:lnTo>
                    <a:pt x="1824" y="3142"/>
                  </a:lnTo>
                  <a:lnTo>
                    <a:pt x="1837" y="2926"/>
                  </a:lnTo>
                  <a:lnTo>
                    <a:pt x="1783" y="2746"/>
                  </a:lnTo>
                  <a:lnTo>
                    <a:pt x="1837" y="2548"/>
                  </a:lnTo>
                  <a:lnTo>
                    <a:pt x="1927" y="2404"/>
                  </a:lnTo>
                  <a:lnTo>
                    <a:pt x="2071" y="2296"/>
                  </a:lnTo>
                  <a:lnTo>
                    <a:pt x="2161" y="2098"/>
                  </a:lnTo>
                  <a:lnTo>
                    <a:pt x="2323" y="1864"/>
                  </a:lnTo>
                  <a:lnTo>
                    <a:pt x="2061" y="1396"/>
                  </a:lnTo>
                  <a:lnTo>
                    <a:pt x="1836" y="1173"/>
                  </a:lnTo>
                  <a:lnTo>
                    <a:pt x="1614" y="970"/>
                  </a:lnTo>
                  <a:lnTo>
                    <a:pt x="1384" y="742"/>
                  </a:lnTo>
                  <a:lnTo>
                    <a:pt x="1260" y="627"/>
                  </a:lnTo>
                  <a:lnTo>
                    <a:pt x="1060" y="444"/>
                  </a:lnTo>
                  <a:lnTo>
                    <a:pt x="753" y="207"/>
                  </a:lnTo>
                  <a:lnTo>
                    <a:pt x="552" y="94"/>
                  </a:lnTo>
                  <a:lnTo>
                    <a:pt x="331" y="0"/>
                  </a:lnTo>
                  <a:lnTo>
                    <a:pt x="229" y="82"/>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6" name="Freeform 17">
              <a:extLst>
                <a:ext uri="{FF2B5EF4-FFF2-40B4-BE49-F238E27FC236}">
                  <a16:creationId xmlns:a16="http://schemas.microsoft.com/office/drawing/2014/main" id="{2101E7E1-7E72-4DA5-9ED3-0081EC9D0609}"/>
                </a:ext>
              </a:extLst>
            </p:cNvPr>
            <p:cNvSpPr>
              <a:spLocks/>
            </p:cNvSpPr>
            <p:nvPr/>
          </p:nvSpPr>
          <p:spPr bwMode="auto">
            <a:xfrm>
              <a:off x="4921183" y="2784244"/>
              <a:ext cx="154919" cy="85910"/>
            </a:xfrm>
            <a:custGeom>
              <a:avLst/>
              <a:gdLst>
                <a:gd name="T0" fmla="*/ 170 w 547"/>
                <a:gd name="T1" fmla="*/ 101 h 301"/>
                <a:gd name="T2" fmla="*/ 88 w 547"/>
                <a:gd name="T3" fmla="*/ 138 h 301"/>
                <a:gd name="T4" fmla="*/ 24 w 547"/>
                <a:gd name="T5" fmla="*/ 183 h 301"/>
                <a:gd name="T6" fmla="*/ 0 w 547"/>
                <a:gd name="T7" fmla="*/ 256 h 301"/>
                <a:gd name="T8" fmla="*/ 93 w 547"/>
                <a:gd name="T9" fmla="*/ 301 h 301"/>
                <a:gd name="T10" fmla="*/ 237 w 547"/>
                <a:gd name="T11" fmla="*/ 267 h 301"/>
                <a:gd name="T12" fmla="*/ 367 w 547"/>
                <a:gd name="T13" fmla="*/ 279 h 301"/>
                <a:gd name="T14" fmla="*/ 393 w 547"/>
                <a:gd name="T15" fmla="*/ 136 h 301"/>
                <a:gd name="T16" fmla="*/ 490 w 547"/>
                <a:gd name="T17" fmla="*/ 109 h 301"/>
                <a:gd name="T18" fmla="*/ 547 w 547"/>
                <a:gd name="T19" fmla="*/ 73 h 301"/>
                <a:gd name="T20" fmla="*/ 490 w 547"/>
                <a:gd name="T21" fmla="*/ 0 h 301"/>
                <a:gd name="T22" fmla="*/ 435 w 547"/>
                <a:gd name="T23" fmla="*/ 37 h 301"/>
                <a:gd name="T24" fmla="*/ 371 w 547"/>
                <a:gd name="T25" fmla="*/ 83 h 301"/>
                <a:gd name="T26" fmla="*/ 307 w 547"/>
                <a:gd name="T27" fmla="*/ 138 h 301"/>
                <a:gd name="T28" fmla="*/ 252 w 547"/>
                <a:gd name="T29" fmla="*/ 156 h 301"/>
                <a:gd name="T30" fmla="*/ 170 w 547"/>
                <a:gd name="T31" fmla="*/ 1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7" h="301">
                  <a:moveTo>
                    <a:pt x="170" y="101"/>
                  </a:moveTo>
                  <a:lnTo>
                    <a:pt x="88" y="138"/>
                  </a:lnTo>
                  <a:lnTo>
                    <a:pt x="24" y="183"/>
                  </a:lnTo>
                  <a:lnTo>
                    <a:pt x="0" y="256"/>
                  </a:lnTo>
                  <a:lnTo>
                    <a:pt x="93" y="301"/>
                  </a:lnTo>
                  <a:lnTo>
                    <a:pt x="237" y="267"/>
                  </a:lnTo>
                  <a:lnTo>
                    <a:pt x="367" y="279"/>
                  </a:lnTo>
                  <a:lnTo>
                    <a:pt x="393" y="136"/>
                  </a:lnTo>
                  <a:lnTo>
                    <a:pt x="490" y="109"/>
                  </a:lnTo>
                  <a:lnTo>
                    <a:pt x="547" y="73"/>
                  </a:lnTo>
                  <a:lnTo>
                    <a:pt x="490" y="0"/>
                  </a:lnTo>
                  <a:lnTo>
                    <a:pt x="435" y="37"/>
                  </a:lnTo>
                  <a:lnTo>
                    <a:pt x="371" y="83"/>
                  </a:lnTo>
                  <a:lnTo>
                    <a:pt x="307" y="138"/>
                  </a:lnTo>
                  <a:lnTo>
                    <a:pt x="252" y="156"/>
                  </a:lnTo>
                  <a:lnTo>
                    <a:pt x="170" y="101"/>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grpSp>
          <p:nvGrpSpPr>
            <p:cNvPr id="17" name="组合 64">
              <a:extLst>
                <a:ext uri="{FF2B5EF4-FFF2-40B4-BE49-F238E27FC236}">
                  <a16:creationId xmlns:a16="http://schemas.microsoft.com/office/drawing/2014/main" id="{8D9CDE71-9ED8-43FE-990B-2C5D033BFE16}"/>
                </a:ext>
              </a:extLst>
            </p:cNvPr>
            <p:cNvGrpSpPr/>
            <p:nvPr/>
          </p:nvGrpSpPr>
          <p:grpSpPr>
            <a:xfrm>
              <a:off x="73944" y="1790476"/>
              <a:ext cx="1871590" cy="790251"/>
              <a:chOff x="416520" y="4774171"/>
              <a:chExt cx="2109658" cy="890772"/>
            </a:xfrm>
          </p:grpSpPr>
          <p:sp>
            <p:nvSpPr>
              <p:cNvPr id="18" name="圆角矩形 111">
                <a:extLst>
                  <a:ext uri="{FF2B5EF4-FFF2-40B4-BE49-F238E27FC236}">
                    <a16:creationId xmlns:a16="http://schemas.microsoft.com/office/drawing/2014/main" id="{5E665367-1A08-451A-B772-E816A08577BB}"/>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9" name="圆角矩形 45">
                <a:extLst>
                  <a:ext uri="{FF2B5EF4-FFF2-40B4-BE49-F238E27FC236}">
                    <a16:creationId xmlns:a16="http://schemas.microsoft.com/office/drawing/2014/main" id="{B1677368-A0A9-47C2-8104-CC8A8281FA3A}"/>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Oromia</a:t>
                </a:r>
                <a:endParaRPr lang="en-US" altLang="zh-CN" sz="1050" b="1" kern="0" dirty="0"/>
              </a:p>
            </p:txBody>
          </p:sp>
          <p:sp>
            <p:nvSpPr>
              <p:cNvPr id="20" name="Text Box 16">
                <a:extLst>
                  <a:ext uri="{FF2B5EF4-FFF2-40B4-BE49-F238E27FC236}">
                    <a16:creationId xmlns:a16="http://schemas.microsoft.com/office/drawing/2014/main" id="{4B955912-4766-4979-8275-5D2B3118ABE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39</a:t>
                </a:r>
              </a:p>
            </p:txBody>
          </p:sp>
        </p:grpSp>
        <p:sp>
          <p:nvSpPr>
            <p:cNvPr id="21" name="Oval 25">
              <a:extLst>
                <a:ext uri="{FF2B5EF4-FFF2-40B4-BE49-F238E27FC236}">
                  <a16:creationId xmlns:a16="http://schemas.microsoft.com/office/drawing/2014/main" id="{C32D6F10-81A4-41BC-9212-25815DCA592D}"/>
                </a:ext>
              </a:extLst>
            </p:cNvPr>
            <p:cNvSpPr>
              <a:spLocks noChangeArrowheads="1"/>
            </p:cNvSpPr>
            <p:nvPr/>
          </p:nvSpPr>
          <p:spPr bwMode="gray">
            <a:xfrm>
              <a:off x="3727920" y="297025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2" name="肘形连接符 66">
              <a:extLst>
                <a:ext uri="{FF2B5EF4-FFF2-40B4-BE49-F238E27FC236}">
                  <a16:creationId xmlns:a16="http://schemas.microsoft.com/office/drawing/2014/main" id="{355DB5E8-13CB-477D-B1BF-7F8105A96E06}"/>
                </a:ext>
              </a:extLst>
            </p:cNvPr>
            <p:cNvCxnSpPr>
              <a:cxnSpLocks/>
              <a:stCxn id="21" idx="2"/>
              <a:endCxn id="18" idx="3"/>
            </p:cNvCxnSpPr>
            <p:nvPr/>
          </p:nvCxnSpPr>
          <p:spPr>
            <a:xfrm rot="10800000">
              <a:off x="1945534" y="2266776"/>
              <a:ext cx="1782386" cy="751748"/>
            </a:xfrm>
            <a:prstGeom prst="bentConnector3">
              <a:avLst>
                <a:gd name="adj1" fmla="val 69999"/>
              </a:avLst>
            </a:prstGeom>
            <a:noFill/>
            <a:ln w="9525">
              <a:solidFill>
                <a:srgbClr val="C00000"/>
              </a:solidFill>
              <a:prstDash val="sysDash"/>
              <a:miter lim="800000"/>
              <a:headEnd/>
              <a:tailEnd/>
            </a:ln>
          </p:spPr>
        </p:cxnSp>
        <p:grpSp>
          <p:nvGrpSpPr>
            <p:cNvPr id="23" name="组合 67">
              <a:extLst>
                <a:ext uri="{FF2B5EF4-FFF2-40B4-BE49-F238E27FC236}">
                  <a16:creationId xmlns:a16="http://schemas.microsoft.com/office/drawing/2014/main" id="{724F1D65-F89E-4F3C-B6E4-32E281865FAA}"/>
                </a:ext>
              </a:extLst>
            </p:cNvPr>
            <p:cNvGrpSpPr/>
            <p:nvPr/>
          </p:nvGrpSpPr>
          <p:grpSpPr>
            <a:xfrm>
              <a:off x="75498" y="33920"/>
              <a:ext cx="1871590" cy="790251"/>
              <a:chOff x="416520" y="4774171"/>
              <a:chExt cx="2109658" cy="890772"/>
            </a:xfrm>
          </p:grpSpPr>
          <p:sp>
            <p:nvSpPr>
              <p:cNvPr id="24" name="圆角矩形 108">
                <a:extLst>
                  <a:ext uri="{FF2B5EF4-FFF2-40B4-BE49-F238E27FC236}">
                    <a16:creationId xmlns:a16="http://schemas.microsoft.com/office/drawing/2014/main" id="{6FF76637-E745-4F82-B0B7-E94F47B645F7}"/>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25" name="圆角矩形 45">
                <a:extLst>
                  <a:ext uri="{FF2B5EF4-FFF2-40B4-BE49-F238E27FC236}">
                    <a16:creationId xmlns:a16="http://schemas.microsoft.com/office/drawing/2014/main" id="{4D73194C-5A8F-4D37-9268-1AAFC446004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Amhara</a:t>
                </a:r>
                <a:endParaRPr lang="en-US" altLang="zh-CN" sz="1050" b="1" kern="0" dirty="0"/>
              </a:p>
            </p:txBody>
          </p:sp>
          <p:sp>
            <p:nvSpPr>
              <p:cNvPr id="26" name="Text Box 16">
                <a:extLst>
                  <a:ext uri="{FF2B5EF4-FFF2-40B4-BE49-F238E27FC236}">
                    <a16:creationId xmlns:a16="http://schemas.microsoft.com/office/drawing/2014/main" id="{A891C8F9-C3A9-4458-B569-EC1333C52D01}"/>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47</a:t>
                </a:r>
              </a:p>
            </p:txBody>
          </p:sp>
        </p:grpSp>
        <p:sp>
          <p:nvSpPr>
            <p:cNvPr id="27" name="Oval 25">
              <a:extLst>
                <a:ext uri="{FF2B5EF4-FFF2-40B4-BE49-F238E27FC236}">
                  <a16:creationId xmlns:a16="http://schemas.microsoft.com/office/drawing/2014/main" id="{1EEF8CB0-238E-4B62-9CB5-151DDCBD984B}"/>
                </a:ext>
              </a:extLst>
            </p:cNvPr>
            <p:cNvSpPr>
              <a:spLocks noChangeArrowheads="1"/>
            </p:cNvSpPr>
            <p:nvPr/>
          </p:nvSpPr>
          <p:spPr bwMode="gray">
            <a:xfrm>
              <a:off x="4063949" y="230496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8" name="肘形连接符 69">
              <a:extLst>
                <a:ext uri="{FF2B5EF4-FFF2-40B4-BE49-F238E27FC236}">
                  <a16:creationId xmlns:a16="http://schemas.microsoft.com/office/drawing/2014/main" id="{1FB619FC-C6C0-4060-A3C7-0EF0D76463DD}"/>
                </a:ext>
              </a:extLst>
            </p:cNvPr>
            <p:cNvCxnSpPr>
              <a:cxnSpLocks/>
              <a:stCxn id="27" idx="2"/>
              <a:endCxn id="24" idx="3"/>
            </p:cNvCxnSpPr>
            <p:nvPr/>
          </p:nvCxnSpPr>
          <p:spPr>
            <a:xfrm rot="10800000">
              <a:off x="1947089" y="510221"/>
              <a:ext cx="2116861" cy="1843014"/>
            </a:xfrm>
            <a:prstGeom prst="bentConnector3">
              <a:avLst>
                <a:gd name="adj1" fmla="val 33527"/>
              </a:avLst>
            </a:prstGeom>
            <a:noFill/>
            <a:ln w="9525">
              <a:solidFill>
                <a:srgbClr val="C00000"/>
              </a:solidFill>
              <a:prstDash val="sysDash"/>
              <a:miter lim="800000"/>
              <a:headEnd/>
              <a:tailEnd/>
            </a:ln>
          </p:spPr>
        </p:cxnSp>
        <p:grpSp>
          <p:nvGrpSpPr>
            <p:cNvPr id="29" name="组合 70">
              <a:extLst>
                <a:ext uri="{FF2B5EF4-FFF2-40B4-BE49-F238E27FC236}">
                  <a16:creationId xmlns:a16="http://schemas.microsoft.com/office/drawing/2014/main" id="{938A93DD-6989-4B28-92C1-3685E1C0601E}"/>
                </a:ext>
              </a:extLst>
            </p:cNvPr>
            <p:cNvGrpSpPr/>
            <p:nvPr/>
          </p:nvGrpSpPr>
          <p:grpSpPr>
            <a:xfrm>
              <a:off x="7145440" y="3821093"/>
              <a:ext cx="1871590" cy="865124"/>
              <a:chOff x="416520" y="4774171"/>
              <a:chExt cx="2109658" cy="975169"/>
            </a:xfrm>
          </p:grpSpPr>
          <p:sp>
            <p:nvSpPr>
              <p:cNvPr id="30" name="圆角矩形 103">
                <a:extLst>
                  <a:ext uri="{FF2B5EF4-FFF2-40B4-BE49-F238E27FC236}">
                    <a16:creationId xmlns:a16="http://schemas.microsoft.com/office/drawing/2014/main" id="{B9D541A9-098D-4F75-B40C-171EFB245E53}"/>
                  </a:ext>
                </a:extLst>
              </p:cNvPr>
              <p:cNvSpPr/>
              <p:nvPr/>
            </p:nvSpPr>
            <p:spPr>
              <a:xfrm>
                <a:off x="416520" y="4964089"/>
                <a:ext cx="2109658" cy="78525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1" name="圆角矩形 45">
                <a:extLst>
                  <a:ext uri="{FF2B5EF4-FFF2-40B4-BE49-F238E27FC236}">
                    <a16:creationId xmlns:a16="http://schemas.microsoft.com/office/drawing/2014/main" id="{7CFAA479-ECD6-470B-A2E8-BD7CCC698FBE}"/>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omali</a:t>
                </a:r>
              </a:p>
            </p:txBody>
          </p:sp>
          <p:sp>
            <p:nvSpPr>
              <p:cNvPr id="32" name="Text Box 16">
                <a:extLst>
                  <a:ext uri="{FF2B5EF4-FFF2-40B4-BE49-F238E27FC236}">
                    <a16:creationId xmlns:a16="http://schemas.microsoft.com/office/drawing/2014/main" id="{F322A253-FF51-4587-A795-37FC25BDE30C}"/>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a:t>
                </a:r>
              </a:p>
            </p:txBody>
          </p:sp>
        </p:grpSp>
        <p:sp>
          <p:nvSpPr>
            <p:cNvPr id="33" name="Oval 25">
              <a:extLst>
                <a:ext uri="{FF2B5EF4-FFF2-40B4-BE49-F238E27FC236}">
                  <a16:creationId xmlns:a16="http://schemas.microsoft.com/office/drawing/2014/main" id="{75323E5C-5055-492D-B326-05BCB04B538F}"/>
                </a:ext>
              </a:extLst>
            </p:cNvPr>
            <p:cNvSpPr>
              <a:spLocks noChangeArrowheads="1"/>
            </p:cNvSpPr>
            <p:nvPr/>
          </p:nvSpPr>
          <p:spPr bwMode="gray">
            <a:xfrm>
              <a:off x="5606145" y="3365781"/>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34" name="肘形连接符 72">
              <a:extLst>
                <a:ext uri="{FF2B5EF4-FFF2-40B4-BE49-F238E27FC236}">
                  <a16:creationId xmlns:a16="http://schemas.microsoft.com/office/drawing/2014/main" id="{FB45BB5F-12D5-412C-9543-6173A9441769}"/>
                </a:ext>
              </a:extLst>
            </p:cNvPr>
            <p:cNvCxnSpPr>
              <a:cxnSpLocks/>
              <a:stCxn id="33" idx="6"/>
              <a:endCxn id="30" idx="1"/>
            </p:cNvCxnSpPr>
            <p:nvPr/>
          </p:nvCxnSpPr>
          <p:spPr>
            <a:xfrm>
              <a:off x="5702686" y="3414052"/>
              <a:ext cx="1442754" cy="923847"/>
            </a:xfrm>
            <a:prstGeom prst="bentConnector3">
              <a:avLst>
                <a:gd name="adj1" fmla="val 50000"/>
              </a:avLst>
            </a:prstGeom>
            <a:noFill/>
            <a:ln w="9525">
              <a:solidFill>
                <a:srgbClr val="C00000"/>
              </a:solidFill>
              <a:prstDash val="sysDash"/>
              <a:miter lim="800000"/>
              <a:headEnd/>
              <a:tailEnd/>
            </a:ln>
          </p:spPr>
        </p:cxnSp>
        <p:grpSp>
          <p:nvGrpSpPr>
            <p:cNvPr id="35" name="组合 82">
              <a:extLst>
                <a:ext uri="{FF2B5EF4-FFF2-40B4-BE49-F238E27FC236}">
                  <a16:creationId xmlns:a16="http://schemas.microsoft.com/office/drawing/2014/main" id="{2B9DBF8E-98F3-4AAF-AE6D-4CABAE4FB6E0}"/>
                </a:ext>
              </a:extLst>
            </p:cNvPr>
            <p:cNvGrpSpPr/>
            <p:nvPr/>
          </p:nvGrpSpPr>
          <p:grpSpPr>
            <a:xfrm>
              <a:off x="75498" y="3582943"/>
              <a:ext cx="1871590" cy="790251"/>
              <a:chOff x="416520" y="4774171"/>
              <a:chExt cx="2109658" cy="890772"/>
            </a:xfrm>
          </p:grpSpPr>
          <p:sp>
            <p:nvSpPr>
              <p:cNvPr id="36" name="圆角矩形 97">
                <a:extLst>
                  <a:ext uri="{FF2B5EF4-FFF2-40B4-BE49-F238E27FC236}">
                    <a16:creationId xmlns:a16="http://schemas.microsoft.com/office/drawing/2014/main" id="{234A2F52-783F-4160-93B4-CDE4CD679102}"/>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7" name="圆角矩形 45">
                <a:extLst>
                  <a:ext uri="{FF2B5EF4-FFF2-40B4-BE49-F238E27FC236}">
                    <a16:creationId xmlns:a16="http://schemas.microsoft.com/office/drawing/2014/main" id="{D4BC0CC7-5189-44F0-9815-C6290369331E}"/>
                  </a:ext>
                </a:extLst>
              </p:cNvPr>
              <p:cNvSpPr/>
              <p:nvPr/>
            </p:nvSpPr>
            <p:spPr>
              <a:xfrm>
                <a:off x="528442" y="4774171"/>
                <a:ext cx="1885814" cy="536888"/>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NNPR</a:t>
                </a:r>
              </a:p>
            </p:txBody>
          </p:sp>
          <p:sp>
            <p:nvSpPr>
              <p:cNvPr id="38" name="Text Box 16">
                <a:extLst>
                  <a:ext uri="{FF2B5EF4-FFF2-40B4-BE49-F238E27FC236}">
                    <a16:creationId xmlns:a16="http://schemas.microsoft.com/office/drawing/2014/main" id="{6E9A6A41-1075-48B6-8869-A1A4A98035A4}"/>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8</a:t>
                </a:r>
              </a:p>
            </p:txBody>
          </p:sp>
        </p:grpSp>
        <p:sp>
          <p:nvSpPr>
            <p:cNvPr id="39" name="Oval 25">
              <a:extLst>
                <a:ext uri="{FF2B5EF4-FFF2-40B4-BE49-F238E27FC236}">
                  <a16:creationId xmlns:a16="http://schemas.microsoft.com/office/drawing/2014/main" id="{7C6F0CAF-6F92-483B-AF87-4CB18571CE66}"/>
                </a:ext>
              </a:extLst>
            </p:cNvPr>
            <p:cNvSpPr>
              <a:spLocks noChangeArrowheads="1"/>
            </p:cNvSpPr>
            <p:nvPr/>
          </p:nvSpPr>
          <p:spPr bwMode="gray">
            <a:xfrm>
              <a:off x="4138838" y="297602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40" name="肘形连接符 96">
              <a:extLst>
                <a:ext uri="{FF2B5EF4-FFF2-40B4-BE49-F238E27FC236}">
                  <a16:creationId xmlns:a16="http://schemas.microsoft.com/office/drawing/2014/main" id="{C98FD2D6-4C85-46F0-9545-E44C0594418E}"/>
                </a:ext>
              </a:extLst>
            </p:cNvPr>
            <p:cNvCxnSpPr>
              <a:cxnSpLocks/>
              <a:stCxn id="39" idx="6"/>
              <a:endCxn id="71" idx="1"/>
            </p:cNvCxnSpPr>
            <p:nvPr/>
          </p:nvCxnSpPr>
          <p:spPr>
            <a:xfrm>
              <a:off x="4235379" y="3024300"/>
              <a:ext cx="303203" cy="1700079"/>
            </a:xfrm>
            <a:prstGeom prst="bentConnector3">
              <a:avLst>
                <a:gd name="adj1" fmla="val 50000"/>
              </a:avLst>
            </a:prstGeom>
            <a:noFill/>
            <a:ln w="9525">
              <a:solidFill>
                <a:srgbClr val="C00000"/>
              </a:solidFill>
              <a:prstDash val="sysDash"/>
              <a:miter lim="800000"/>
              <a:headEnd/>
              <a:tailEnd/>
            </a:ln>
          </p:spPr>
        </p:cxnSp>
        <p:grpSp>
          <p:nvGrpSpPr>
            <p:cNvPr id="41" name="组合 70">
              <a:extLst>
                <a:ext uri="{FF2B5EF4-FFF2-40B4-BE49-F238E27FC236}">
                  <a16:creationId xmlns:a16="http://schemas.microsoft.com/office/drawing/2014/main" id="{4D3D895E-7491-48D6-8994-4271093A8454}"/>
                </a:ext>
              </a:extLst>
            </p:cNvPr>
            <p:cNvGrpSpPr/>
            <p:nvPr/>
          </p:nvGrpSpPr>
          <p:grpSpPr>
            <a:xfrm>
              <a:off x="7141017" y="1747949"/>
              <a:ext cx="1871590" cy="865124"/>
              <a:chOff x="416520" y="4774171"/>
              <a:chExt cx="2109658" cy="975169"/>
            </a:xfrm>
          </p:grpSpPr>
          <p:sp>
            <p:nvSpPr>
              <p:cNvPr id="42" name="圆角矩形 103">
                <a:extLst>
                  <a:ext uri="{FF2B5EF4-FFF2-40B4-BE49-F238E27FC236}">
                    <a16:creationId xmlns:a16="http://schemas.microsoft.com/office/drawing/2014/main" id="{5EE43F11-9F99-4A74-8979-B22B8150CD8C}"/>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43" name="圆角矩形 45">
                <a:extLst>
                  <a:ext uri="{FF2B5EF4-FFF2-40B4-BE49-F238E27FC236}">
                    <a16:creationId xmlns:a16="http://schemas.microsoft.com/office/drawing/2014/main" id="{EB56C34B-CE67-49B7-8237-A35262C14948}"/>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Dire </a:t>
                </a:r>
                <a:r>
                  <a:rPr lang="en-US" altLang="zh-CN" sz="1050" b="1" kern="0" dirty="0" err="1"/>
                  <a:t>Dawa</a:t>
                </a:r>
                <a:endParaRPr lang="en-US" altLang="zh-CN" sz="1050" b="1" kern="0" dirty="0"/>
              </a:p>
            </p:txBody>
          </p:sp>
          <p:sp>
            <p:nvSpPr>
              <p:cNvPr id="44" name="Text Box 16">
                <a:extLst>
                  <a:ext uri="{FF2B5EF4-FFF2-40B4-BE49-F238E27FC236}">
                    <a16:creationId xmlns:a16="http://schemas.microsoft.com/office/drawing/2014/main" id="{084C8F93-E005-43E3-BB08-E7C50990B26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0" name="组合 64">
              <a:extLst>
                <a:ext uri="{FF2B5EF4-FFF2-40B4-BE49-F238E27FC236}">
                  <a16:creationId xmlns:a16="http://schemas.microsoft.com/office/drawing/2014/main" id="{30EAE193-56AF-462A-8CCF-6DFC7FB909B6}"/>
                </a:ext>
              </a:extLst>
            </p:cNvPr>
            <p:cNvGrpSpPr/>
            <p:nvPr/>
          </p:nvGrpSpPr>
          <p:grpSpPr>
            <a:xfrm>
              <a:off x="67968" y="2698050"/>
              <a:ext cx="1871590" cy="790251"/>
              <a:chOff x="416520" y="4774171"/>
              <a:chExt cx="2109658" cy="890772"/>
            </a:xfrm>
          </p:grpSpPr>
          <p:sp>
            <p:nvSpPr>
              <p:cNvPr id="51" name="圆角矩形 111">
                <a:extLst>
                  <a:ext uri="{FF2B5EF4-FFF2-40B4-BE49-F238E27FC236}">
                    <a16:creationId xmlns:a16="http://schemas.microsoft.com/office/drawing/2014/main" id="{AE0E8456-5495-42E5-A73F-87624A45681C}"/>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2" name="圆角矩形 45">
                <a:extLst>
                  <a:ext uri="{FF2B5EF4-FFF2-40B4-BE49-F238E27FC236}">
                    <a16:creationId xmlns:a16="http://schemas.microsoft.com/office/drawing/2014/main" id="{05E25267-7FDA-4CF9-BA84-305BF31792E4}"/>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Gambella</a:t>
                </a:r>
                <a:endParaRPr lang="en-US" altLang="zh-CN" sz="1050" b="1" kern="0" dirty="0"/>
              </a:p>
            </p:txBody>
          </p:sp>
          <p:sp>
            <p:nvSpPr>
              <p:cNvPr id="53" name="Text Box 16">
                <a:extLst>
                  <a:ext uri="{FF2B5EF4-FFF2-40B4-BE49-F238E27FC236}">
                    <a16:creationId xmlns:a16="http://schemas.microsoft.com/office/drawing/2014/main" id="{342572EC-14F0-4DB1-BFB4-95C228B02A2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4" name="组合 67">
              <a:extLst>
                <a:ext uri="{FF2B5EF4-FFF2-40B4-BE49-F238E27FC236}">
                  <a16:creationId xmlns:a16="http://schemas.microsoft.com/office/drawing/2014/main" id="{6E5B4320-4D97-4B9E-B5FA-B6D0A9D0106E}"/>
                </a:ext>
              </a:extLst>
            </p:cNvPr>
            <p:cNvGrpSpPr/>
            <p:nvPr/>
          </p:nvGrpSpPr>
          <p:grpSpPr>
            <a:xfrm>
              <a:off x="75498" y="893742"/>
              <a:ext cx="1871590" cy="790251"/>
              <a:chOff x="416520" y="4774171"/>
              <a:chExt cx="2109658" cy="890772"/>
            </a:xfrm>
          </p:grpSpPr>
          <p:sp>
            <p:nvSpPr>
              <p:cNvPr id="55" name="圆角矩形 108">
                <a:extLst>
                  <a:ext uri="{FF2B5EF4-FFF2-40B4-BE49-F238E27FC236}">
                    <a16:creationId xmlns:a16="http://schemas.microsoft.com/office/drawing/2014/main" id="{98764514-5B68-4668-86C8-4D9597BDC9E5}"/>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6" name="圆角矩形 45">
                <a:extLst>
                  <a:ext uri="{FF2B5EF4-FFF2-40B4-BE49-F238E27FC236}">
                    <a16:creationId xmlns:a16="http://schemas.microsoft.com/office/drawing/2014/main" id="{32A417A9-B914-463B-A5F7-EEF561C48D79}"/>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a:r>
                  <a:rPr lang="en-US" altLang="zh-CN" sz="1050" b="1" kern="0" dirty="0" err="1"/>
                  <a:t>Benishangu</a:t>
                </a:r>
                <a:endParaRPr lang="en-US" altLang="zh-CN" sz="1050" b="1" kern="0" dirty="0"/>
              </a:p>
            </p:txBody>
          </p:sp>
          <p:sp>
            <p:nvSpPr>
              <p:cNvPr id="57" name="Text Box 16">
                <a:extLst>
                  <a:ext uri="{FF2B5EF4-FFF2-40B4-BE49-F238E27FC236}">
                    <a16:creationId xmlns:a16="http://schemas.microsoft.com/office/drawing/2014/main" id="{7985AD28-3535-497A-8C16-20C20A7AD2C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cxnSp>
          <p:nvCxnSpPr>
            <p:cNvPr id="58" name="肘形连接符 69">
              <a:extLst>
                <a:ext uri="{FF2B5EF4-FFF2-40B4-BE49-F238E27FC236}">
                  <a16:creationId xmlns:a16="http://schemas.microsoft.com/office/drawing/2014/main" id="{88825988-ACC8-4991-8349-89F7708F0544}"/>
                </a:ext>
              </a:extLst>
            </p:cNvPr>
            <p:cNvCxnSpPr>
              <a:cxnSpLocks/>
              <a:stCxn id="62" idx="2"/>
              <a:endCxn id="55" idx="3"/>
            </p:cNvCxnSpPr>
            <p:nvPr/>
          </p:nvCxnSpPr>
          <p:spPr>
            <a:xfrm rot="10800000">
              <a:off x="1947088" y="1370044"/>
              <a:ext cx="1410756" cy="1145591"/>
            </a:xfrm>
            <a:prstGeom prst="bentConnector3">
              <a:avLst>
                <a:gd name="adj1" fmla="val 35169"/>
              </a:avLst>
            </a:prstGeom>
            <a:noFill/>
            <a:ln w="9525">
              <a:solidFill>
                <a:srgbClr val="C00000"/>
              </a:solidFill>
              <a:prstDash val="sysDash"/>
              <a:miter lim="800000"/>
              <a:headEnd/>
              <a:tailEnd/>
            </a:ln>
          </p:spPr>
        </p:cxnSp>
        <p:sp>
          <p:nvSpPr>
            <p:cNvPr id="62" name="Oval 25">
              <a:extLst>
                <a:ext uri="{FF2B5EF4-FFF2-40B4-BE49-F238E27FC236}">
                  <a16:creationId xmlns:a16="http://schemas.microsoft.com/office/drawing/2014/main" id="{C9E1F3BA-5535-4734-A4DA-9EC7D7F665FE}"/>
                </a:ext>
              </a:extLst>
            </p:cNvPr>
            <p:cNvSpPr>
              <a:spLocks noChangeArrowheads="1"/>
            </p:cNvSpPr>
            <p:nvPr/>
          </p:nvSpPr>
          <p:spPr bwMode="gray">
            <a:xfrm>
              <a:off x="3357844" y="24673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64" name="肘形连接符 69">
              <a:extLst>
                <a:ext uri="{FF2B5EF4-FFF2-40B4-BE49-F238E27FC236}">
                  <a16:creationId xmlns:a16="http://schemas.microsoft.com/office/drawing/2014/main" id="{5F881C9B-6FD7-4D13-939C-7381F613CA59}"/>
                </a:ext>
              </a:extLst>
            </p:cNvPr>
            <p:cNvCxnSpPr>
              <a:cxnSpLocks/>
              <a:stCxn id="65" idx="2"/>
              <a:endCxn id="51" idx="3"/>
            </p:cNvCxnSpPr>
            <p:nvPr/>
          </p:nvCxnSpPr>
          <p:spPr>
            <a:xfrm rot="10800000">
              <a:off x="1939558" y="3174350"/>
              <a:ext cx="1086134" cy="155630"/>
            </a:xfrm>
            <a:prstGeom prst="bentConnector3">
              <a:avLst>
                <a:gd name="adj1" fmla="val 50000"/>
              </a:avLst>
            </a:prstGeom>
            <a:noFill/>
            <a:ln w="9525">
              <a:solidFill>
                <a:srgbClr val="C00000"/>
              </a:solidFill>
              <a:prstDash val="sysDash"/>
              <a:miter lim="800000"/>
              <a:headEnd/>
              <a:tailEnd/>
            </a:ln>
          </p:spPr>
        </p:cxnSp>
        <p:sp>
          <p:nvSpPr>
            <p:cNvPr id="65" name="Oval 25">
              <a:extLst>
                <a:ext uri="{FF2B5EF4-FFF2-40B4-BE49-F238E27FC236}">
                  <a16:creationId xmlns:a16="http://schemas.microsoft.com/office/drawing/2014/main" id="{65B295EA-49F4-4C44-8071-5438CBC7096F}"/>
                </a:ext>
              </a:extLst>
            </p:cNvPr>
            <p:cNvSpPr>
              <a:spLocks noChangeArrowheads="1"/>
            </p:cNvSpPr>
            <p:nvPr/>
          </p:nvSpPr>
          <p:spPr bwMode="gray">
            <a:xfrm>
              <a:off x="3025692" y="328170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grpSp>
          <p:nvGrpSpPr>
            <p:cNvPr id="70" name="组合 64">
              <a:extLst>
                <a:ext uri="{FF2B5EF4-FFF2-40B4-BE49-F238E27FC236}">
                  <a16:creationId xmlns:a16="http://schemas.microsoft.com/office/drawing/2014/main" id="{7AAE5CD7-74BF-48C2-BC1F-1EFAF4E64F85}"/>
                </a:ext>
              </a:extLst>
            </p:cNvPr>
            <p:cNvGrpSpPr/>
            <p:nvPr/>
          </p:nvGrpSpPr>
          <p:grpSpPr>
            <a:xfrm>
              <a:off x="4538582" y="4248080"/>
              <a:ext cx="1871590" cy="1016860"/>
              <a:chOff x="416520" y="4774171"/>
              <a:chExt cx="2109658" cy="1146206"/>
            </a:xfrm>
          </p:grpSpPr>
          <p:sp>
            <p:nvSpPr>
              <p:cNvPr id="71" name="圆角矩形 111">
                <a:extLst>
                  <a:ext uri="{FF2B5EF4-FFF2-40B4-BE49-F238E27FC236}">
                    <a16:creationId xmlns:a16="http://schemas.microsoft.com/office/drawing/2014/main" id="{1F4174F9-786F-4A50-8E2F-6EA8D21B048D}"/>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72" name="圆角矩形 45">
                <a:extLst>
                  <a:ext uri="{FF2B5EF4-FFF2-40B4-BE49-F238E27FC236}">
                    <a16:creationId xmlns:a16="http://schemas.microsoft.com/office/drawing/2014/main" id="{CE30310A-DF3F-4809-B212-ABFDB74F27E8}"/>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ddis </a:t>
                </a:r>
                <a:r>
                  <a:rPr lang="en-US" altLang="zh-CN" sz="1050" b="1" kern="0" dirty="0" err="1"/>
                  <a:t>Addiba</a:t>
                </a:r>
                <a:endParaRPr lang="en-US" altLang="zh-CN" sz="1050" b="1" kern="0" dirty="0"/>
              </a:p>
            </p:txBody>
          </p:sp>
          <p:sp>
            <p:nvSpPr>
              <p:cNvPr id="73" name="Text Box 16">
                <a:extLst>
                  <a:ext uri="{FF2B5EF4-FFF2-40B4-BE49-F238E27FC236}">
                    <a16:creationId xmlns:a16="http://schemas.microsoft.com/office/drawing/2014/main" id="{B1C3C83E-21F1-4F0F-935D-DD830F78ABCE}"/>
                  </a:ext>
                </a:extLst>
              </p:cNvPr>
              <p:cNvSpPr txBox="1">
                <a:spLocks noChangeArrowheads="1"/>
              </p:cNvSpPr>
              <p:nvPr/>
            </p:nvSpPr>
            <p:spPr bwMode="auto">
              <a:xfrm>
                <a:off x="481277" y="5301818"/>
                <a:ext cx="1978394" cy="61855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a:p>
                <a:pPr marL="117475" indent="-117475">
                  <a:lnSpc>
                    <a:spcPct val="114000"/>
                  </a:lnSpc>
                  <a:buClr>
                    <a:schemeClr val="bg1">
                      <a:lumMod val="50000"/>
                    </a:schemeClr>
                  </a:buClr>
                  <a:buSzPct val="50000"/>
                  <a:buFont typeface="Wingdings" pitchFamily="2" charset="2"/>
                  <a:buChar char="l"/>
                </a:pPr>
                <a:endParaRPr lang="en-US" altLang="zh-CN" sz="1050" dirty="0">
                  <a:latin typeface="Calibri" pitchFamily="34" charset="0"/>
                  <a:cs typeface="Calibri" pitchFamily="34" charset="0"/>
                </a:endParaRPr>
              </a:p>
            </p:txBody>
          </p:sp>
        </p:grpSp>
        <p:sp>
          <p:nvSpPr>
            <p:cNvPr id="76" name="Oval 25">
              <a:extLst>
                <a:ext uri="{FF2B5EF4-FFF2-40B4-BE49-F238E27FC236}">
                  <a16:creationId xmlns:a16="http://schemas.microsoft.com/office/drawing/2014/main" id="{BFCCB5BA-6392-496A-91F0-5C152B2CE5A9}"/>
                </a:ext>
              </a:extLst>
            </p:cNvPr>
            <p:cNvSpPr>
              <a:spLocks noChangeArrowheads="1"/>
            </p:cNvSpPr>
            <p:nvPr/>
          </p:nvSpPr>
          <p:spPr bwMode="gray">
            <a:xfrm>
              <a:off x="3542017" y="363233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77" name="肘形连接符 96">
              <a:extLst>
                <a:ext uri="{FF2B5EF4-FFF2-40B4-BE49-F238E27FC236}">
                  <a16:creationId xmlns:a16="http://schemas.microsoft.com/office/drawing/2014/main" id="{D06EE75B-4DD9-44C4-ABC9-4E22A0FDB5A5}"/>
                </a:ext>
              </a:extLst>
            </p:cNvPr>
            <p:cNvCxnSpPr>
              <a:cxnSpLocks/>
              <a:stCxn id="76" idx="4"/>
              <a:endCxn id="36" idx="3"/>
            </p:cNvCxnSpPr>
            <p:nvPr/>
          </p:nvCxnSpPr>
          <p:spPr>
            <a:xfrm rot="5400000">
              <a:off x="2603503" y="3072459"/>
              <a:ext cx="330370" cy="1643200"/>
            </a:xfrm>
            <a:prstGeom prst="bentConnector2">
              <a:avLst/>
            </a:prstGeom>
            <a:noFill/>
            <a:ln w="9525">
              <a:solidFill>
                <a:srgbClr val="C00000"/>
              </a:solidFill>
              <a:prstDash val="sysDash"/>
              <a:miter lim="800000"/>
              <a:headEnd/>
              <a:tailEnd/>
            </a:ln>
          </p:spPr>
        </p:cxnSp>
        <p:grpSp>
          <p:nvGrpSpPr>
            <p:cNvPr id="81" name="组合 64">
              <a:extLst>
                <a:ext uri="{FF2B5EF4-FFF2-40B4-BE49-F238E27FC236}">
                  <a16:creationId xmlns:a16="http://schemas.microsoft.com/office/drawing/2014/main" id="{6A036EA2-C096-476F-9783-983486308285}"/>
                </a:ext>
              </a:extLst>
            </p:cNvPr>
            <p:cNvGrpSpPr/>
            <p:nvPr/>
          </p:nvGrpSpPr>
          <p:grpSpPr>
            <a:xfrm>
              <a:off x="3626905" y="32224"/>
              <a:ext cx="1871590" cy="790251"/>
              <a:chOff x="416520" y="4774171"/>
              <a:chExt cx="2109658" cy="890772"/>
            </a:xfrm>
          </p:grpSpPr>
          <p:sp>
            <p:nvSpPr>
              <p:cNvPr id="82" name="圆角矩形 111">
                <a:extLst>
                  <a:ext uri="{FF2B5EF4-FFF2-40B4-BE49-F238E27FC236}">
                    <a16:creationId xmlns:a16="http://schemas.microsoft.com/office/drawing/2014/main" id="{1CD3CF8F-D4D5-43C1-8237-91BA11C77FEF}"/>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83" name="圆角矩形 45">
                <a:extLst>
                  <a:ext uri="{FF2B5EF4-FFF2-40B4-BE49-F238E27FC236}">
                    <a16:creationId xmlns:a16="http://schemas.microsoft.com/office/drawing/2014/main" id="{79010BF9-A98E-4CC0-ABA2-AB72BFFB0725}"/>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Tigray</a:t>
                </a:r>
              </a:p>
            </p:txBody>
          </p:sp>
          <p:sp>
            <p:nvSpPr>
              <p:cNvPr id="84" name="Text Box 16">
                <a:extLst>
                  <a:ext uri="{FF2B5EF4-FFF2-40B4-BE49-F238E27FC236}">
                    <a16:creationId xmlns:a16="http://schemas.microsoft.com/office/drawing/2014/main" id="{25538059-5F82-4D24-B589-CE0C0C75BC23}"/>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7</a:t>
                </a:r>
              </a:p>
            </p:txBody>
          </p:sp>
        </p:grpSp>
        <p:sp>
          <p:nvSpPr>
            <p:cNvPr id="86" name="Oval 25">
              <a:extLst>
                <a:ext uri="{FF2B5EF4-FFF2-40B4-BE49-F238E27FC236}">
                  <a16:creationId xmlns:a16="http://schemas.microsoft.com/office/drawing/2014/main" id="{758276CD-4187-49F8-BB54-873A50CD169A}"/>
                </a:ext>
              </a:extLst>
            </p:cNvPr>
            <p:cNvSpPr>
              <a:spLocks noChangeArrowheads="1"/>
            </p:cNvSpPr>
            <p:nvPr/>
          </p:nvSpPr>
          <p:spPr bwMode="gray">
            <a:xfrm>
              <a:off x="3971983" y="169127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87" name="肘形连接符 69">
              <a:extLst>
                <a:ext uri="{FF2B5EF4-FFF2-40B4-BE49-F238E27FC236}">
                  <a16:creationId xmlns:a16="http://schemas.microsoft.com/office/drawing/2014/main" id="{6FFFA2DD-BE46-489F-81DF-CD6E07B4839A}"/>
                </a:ext>
              </a:extLst>
            </p:cNvPr>
            <p:cNvCxnSpPr>
              <a:cxnSpLocks/>
              <a:stCxn id="86" idx="6"/>
              <a:endCxn id="84" idx="2"/>
            </p:cNvCxnSpPr>
            <p:nvPr/>
          </p:nvCxnSpPr>
          <p:spPr>
            <a:xfrm flipV="1">
              <a:off x="4068524" y="822475"/>
              <a:ext cx="493400" cy="917069"/>
            </a:xfrm>
            <a:prstGeom prst="bentConnector2">
              <a:avLst/>
            </a:prstGeom>
            <a:noFill/>
            <a:ln w="9525">
              <a:solidFill>
                <a:srgbClr val="C00000"/>
              </a:solidFill>
              <a:prstDash val="sysDash"/>
              <a:miter lim="800000"/>
              <a:headEnd/>
              <a:tailEnd/>
            </a:ln>
          </p:spPr>
        </p:cxnSp>
        <p:grpSp>
          <p:nvGrpSpPr>
            <p:cNvPr id="90" name="组合 64">
              <a:extLst>
                <a:ext uri="{FF2B5EF4-FFF2-40B4-BE49-F238E27FC236}">
                  <a16:creationId xmlns:a16="http://schemas.microsoft.com/office/drawing/2014/main" id="{036F07BE-20D8-4A55-BE68-2F3D5E331899}"/>
                </a:ext>
              </a:extLst>
            </p:cNvPr>
            <p:cNvGrpSpPr/>
            <p:nvPr/>
          </p:nvGrpSpPr>
          <p:grpSpPr>
            <a:xfrm>
              <a:off x="5623609" y="37096"/>
              <a:ext cx="1871590" cy="790251"/>
              <a:chOff x="416520" y="4774171"/>
              <a:chExt cx="2109658" cy="890772"/>
            </a:xfrm>
          </p:grpSpPr>
          <p:sp>
            <p:nvSpPr>
              <p:cNvPr id="91" name="圆角矩形 111">
                <a:extLst>
                  <a:ext uri="{FF2B5EF4-FFF2-40B4-BE49-F238E27FC236}">
                    <a16:creationId xmlns:a16="http://schemas.microsoft.com/office/drawing/2014/main" id="{FA4A57B1-9C83-4FB5-9CC6-8C92BDCE1318}"/>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92" name="圆角矩形 45">
                <a:extLst>
                  <a:ext uri="{FF2B5EF4-FFF2-40B4-BE49-F238E27FC236}">
                    <a16:creationId xmlns:a16="http://schemas.microsoft.com/office/drawing/2014/main" id="{3544F7C3-1725-472C-A916-C6D97A77FBF9}"/>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far</a:t>
                </a:r>
              </a:p>
            </p:txBody>
          </p:sp>
          <p:sp>
            <p:nvSpPr>
              <p:cNvPr id="93" name="Text Box 16">
                <a:extLst>
                  <a:ext uri="{FF2B5EF4-FFF2-40B4-BE49-F238E27FC236}">
                    <a16:creationId xmlns:a16="http://schemas.microsoft.com/office/drawing/2014/main" id="{61A779D1-8C11-443F-849F-65D265531182}"/>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sp>
          <p:nvSpPr>
            <p:cNvPr id="94" name="Oval 25">
              <a:extLst>
                <a:ext uri="{FF2B5EF4-FFF2-40B4-BE49-F238E27FC236}">
                  <a16:creationId xmlns:a16="http://schemas.microsoft.com/office/drawing/2014/main" id="{18C7578B-17FD-4219-9A8D-0CAA210EA09F}"/>
                </a:ext>
              </a:extLst>
            </p:cNvPr>
            <p:cNvSpPr>
              <a:spLocks noChangeArrowheads="1"/>
            </p:cNvSpPr>
            <p:nvPr/>
          </p:nvSpPr>
          <p:spPr bwMode="gray">
            <a:xfrm>
              <a:off x="4661272" y="20236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5" name="肘形连接符 69">
              <a:extLst>
                <a:ext uri="{FF2B5EF4-FFF2-40B4-BE49-F238E27FC236}">
                  <a16:creationId xmlns:a16="http://schemas.microsoft.com/office/drawing/2014/main" id="{F5C45099-0DCB-44B9-9EA2-7A12542EF273}"/>
                </a:ext>
              </a:extLst>
            </p:cNvPr>
            <p:cNvCxnSpPr>
              <a:cxnSpLocks/>
              <a:stCxn id="94" idx="6"/>
              <a:endCxn id="93" idx="2"/>
            </p:cNvCxnSpPr>
            <p:nvPr/>
          </p:nvCxnSpPr>
          <p:spPr>
            <a:xfrm flipV="1">
              <a:off x="4757813" y="827346"/>
              <a:ext cx="1800816" cy="1244587"/>
            </a:xfrm>
            <a:prstGeom prst="bentConnector2">
              <a:avLst/>
            </a:prstGeom>
            <a:noFill/>
            <a:ln w="9525">
              <a:solidFill>
                <a:srgbClr val="C00000"/>
              </a:solidFill>
              <a:prstDash val="sysDash"/>
              <a:miter lim="800000"/>
              <a:headEnd/>
              <a:tailEnd/>
            </a:ln>
          </p:spPr>
        </p:cxnSp>
        <p:sp>
          <p:nvSpPr>
            <p:cNvPr id="98" name="Oval 25">
              <a:extLst>
                <a:ext uri="{FF2B5EF4-FFF2-40B4-BE49-F238E27FC236}">
                  <a16:creationId xmlns:a16="http://schemas.microsoft.com/office/drawing/2014/main" id="{51F9F5A8-F636-4FAF-8D88-B591F1714C09}"/>
                </a:ext>
              </a:extLst>
            </p:cNvPr>
            <p:cNvSpPr>
              <a:spLocks noChangeArrowheads="1"/>
            </p:cNvSpPr>
            <p:nvPr/>
          </p:nvSpPr>
          <p:spPr bwMode="gray">
            <a:xfrm>
              <a:off x="4921183" y="275594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9" name="肘形连接符 72">
              <a:extLst>
                <a:ext uri="{FF2B5EF4-FFF2-40B4-BE49-F238E27FC236}">
                  <a16:creationId xmlns:a16="http://schemas.microsoft.com/office/drawing/2014/main" id="{3662F052-CE6C-4A1B-9ACA-0E97C79AE060}"/>
                </a:ext>
              </a:extLst>
            </p:cNvPr>
            <p:cNvCxnSpPr>
              <a:cxnSpLocks/>
              <a:stCxn id="98" idx="0"/>
              <a:endCxn id="42" idx="1"/>
            </p:cNvCxnSpPr>
            <p:nvPr/>
          </p:nvCxnSpPr>
          <p:spPr>
            <a:xfrm rot="5400000" flipH="1" flipV="1">
              <a:off x="5809638" y="1424571"/>
              <a:ext cx="491194" cy="2171563"/>
            </a:xfrm>
            <a:prstGeom prst="bentConnector2">
              <a:avLst/>
            </a:prstGeom>
            <a:noFill/>
            <a:ln w="9525">
              <a:solidFill>
                <a:srgbClr val="C00000"/>
              </a:solidFill>
              <a:prstDash val="sysDash"/>
              <a:miter lim="800000"/>
              <a:headEnd/>
              <a:tailEnd/>
            </a:ln>
          </p:spPr>
        </p:cxnSp>
        <p:grpSp>
          <p:nvGrpSpPr>
            <p:cNvPr id="109" name="组合 70">
              <a:extLst>
                <a:ext uri="{FF2B5EF4-FFF2-40B4-BE49-F238E27FC236}">
                  <a16:creationId xmlns:a16="http://schemas.microsoft.com/office/drawing/2014/main" id="{9BA3ADDF-1C83-4B24-BCE1-A35EFEF8180F}"/>
                </a:ext>
              </a:extLst>
            </p:cNvPr>
            <p:cNvGrpSpPr/>
            <p:nvPr/>
          </p:nvGrpSpPr>
          <p:grpSpPr>
            <a:xfrm>
              <a:off x="7082014" y="2741788"/>
              <a:ext cx="1871590" cy="865124"/>
              <a:chOff x="416520" y="4774171"/>
              <a:chExt cx="2109658" cy="975169"/>
            </a:xfrm>
          </p:grpSpPr>
          <p:sp>
            <p:nvSpPr>
              <p:cNvPr id="110" name="圆角矩形 103">
                <a:extLst>
                  <a:ext uri="{FF2B5EF4-FFF2-40B4-BE49-F238E27FC236}">
                    <a16:creationId xmlns:a16="http://schemas.microsoft.com/office/drawing/2014/main" id="{16F02A84-C5AC-4394-ADC1-72AB539664C1}"/>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11" name="圆角矩形 45">
                <a:extLst>
                  <a:ext uri="{FF2B5EF4-FFF2-40B4-BE49-F238E27FC236}">
                    <a16:creationId xmlns:a16="http://schemas.microsoft.com/office/drawing/2014/main" id="{8464793F-819C-4AD2-BBC9-F202C8C2562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Harari</a:t>
                </a:r>
              </a:p>
            </p:txBody>
          </p:sp>
          <p:sp>
            <p:nvSpPr>
              <p:cNvPr id="112" name="Text Box 16">
                <a:extLst>
                  <a:ext uri="{FF2B5EF4-FFF2-40B4-BE49-F238E27FC236}">
                    <a16:creationId xmlns:a16="http://schemas.microsoft.com/office/drawing/2014/main" id="{5E4B41EB-05BA-4F44-9652-B86EAB45E2A9}"/>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a:t>
                </a:r>
              </a:p>
            </p:txBody>
          </p:sp>
        </p:grpSp>
        <p:sp>
          <p:nvSpPr>
            <p:cNvPr id="114" name="Oval 25">
              <a:extLst>
                <a:ext uri="{FF2B5EF4-FFF2-40B4-BE49-F238E27FC236}">
                  <a16:creationId xmlns:a16="http://schemas.microsoft.com/office/drawing/2014/main" id="{C2B008C3-D01D-4897-9901-A7836F64BA4B}"/>
                </a:ext>
              </a:extLst>
            </p:cNvPr>
            <p:cNvSpPr>
              <a:spLocks noChangeArrowheads="1"/>
            </p:cNvSpPr>
            <p:nvPr/>
          </p:nvSpPr>
          <p:spPr bwMode="gray">
            <a:xfrm>
              <a:off x="4997124" y="2866157"/>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15" name="肘形连接符 72">
              <a:extLst>
                <a:ext uri="{FF2B5EF4-FFF2-40B4-BE49-F238E27FC236}">
                  <a16:creationId xmlns:a16="http://schemas.microsoft.com/office/drawing/2014/main" id="{636E5E82-117A-40E4-BFC5-E0DD940D4473}"/>
                </a:ext>
              </a:extLst>
            </p:cNvPr>
            <p:cNvCxnSpPr>
              <a:cxnSpLocks/>
              <a:stCxn id="114" idx="6"/>
              <a:endCxn id="110" idx="1"/>
            </p:cNvCxnSpPr>
            <p:nvPr/>
          </p:nvCxnSpPr>
          <p:spPr>
            <a:xfrm>
              <a:off x="5093665" y="2914428"/>
              <a:ext cx="1988349" cy="344166"/>
            </a:xfrm>
            <a:prstGeom prst="bentConnector3">
              <a:avLst>
                <a:gd name="adj1" fmla="val 50000"/>
              </a:avLst>
            </a:prstGeom>
            <a:noFill/>
            <a:ln w="9525">
              <a:solidFill>
                <a:srgbClr val="C00000"/>
              </a:solidFill>
              <a:prstDash val="sysDash"/>
              <a:miter lim="800000"/>
              <a:headEnd/>
              <a:tailEnd/>
            </a:ln>
          </p:spPr>
        </p:cxnSp>
        <p:sp>
          <p:nvSpPr>
            <p:cNvPr id="123" name="Oval 25">
              <a:extLst>
                <a:ext uri="{FF2B5EF4-FFF2-40B4-BE49-F238E27FC236}">
                  <a16:creationId xmlns:a16="http://schemas.microsoft.com/office/drawing/2014/main" id="{E93DC02B-9D58-4888-B231-B7EBC787BFDC}"/>
                </a:ext>
              </a:extLst>
            </p:cNvPr>
            <p:cNvSpPr>
              <a:spLocks noChangeArrowheads="1"/>
            </p:cNvSpPr>
            <p:nvPr/>
          </p:nvSpPr>
          <p:spPr bwMode="gray">
            <a:xfrm>
              <a:off x="4149722" y="355038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24" name="肘形连接符 96">
              <a:extLst>
                <a:ext uri="{FF2B5EF4-FFF2-40B4-BE49-F238E27FC236}">
                  <a16:creationId xmlns:a16="http://schemas.microsoft.com/office/drawing/2014/main" id="{72540446-FF33-4D44-A6A4-009F944EC95D}"/>
                </a:ext>
              </a:extLst>
            </p:cNvPr>
            <p:cNvCxnSpPr>
              <a:cxnSpLocks/>
              <a:stCxn id="123" idx="4"/>
              <a:endCxn id="126" idx="3"/>
            </p:cNvCxnSpPr>
            <p:nvPr/>
          </p:nvCxnSpPr>
          <p:spPr>
            <a:xfrm rot="5400000">
              <a:off x="3632788" y="4143122"/>
              <a:ext cx="1061402" cy="69009"/>
            </a:xfrm>
            <a:prstGeom prst="bentConnector2">
              <a:avLst/>
            </a:prstGeom>
            <a:noFill/>
            <a:ln w="9525">
              <a:solidFill>
                <a:srgbClr val="C00000"/>
              </a:solidFill>
              <a:prstDash val="sysDash"/>
              <a:miter lim="800000"/>
              <a:headEnd/>
              <a:tailEnd/>
            </a:ln>
          </p:spPr>
        </p:cxnSp>
        <p:grpSp>
          <p:nvGrpSpPr>
            <p:cNvPr id="125" name="组合 64">
              <a:extLst>
                <a:ext uri="{FF2B5EF4-FFF2-40B4-BE49-F238E27FC236}">
                  <a16:creationId xmlns:a16="http://schemas.microsoft.com/office/drawing/2014/main" id="{13FFB77C-2D13-4FF9-891F-3E5EBC054773}"/>
                </a:ext>
              </a:extLst>
            </p:cNvPr>
            <p:cNvGrpSpPr/>
            <p:nvPr/>
          </p:nvGrpSpPr>
          <p:grpSpPr>
            <a:xfrm>
              <a:off x="2257394" y="4232027"/>
              <a:ext cx="1871590" cy="790251"/>
              <a:chOff x="416520" y="4774171"/>
              <a:chExt cx="2109658" cy="890772"/>
            </a:xfrm>
          </p:grpSpPr>
          <p:sp>
            <p:nvSpPr>
              <p:cNvPr id="126" name="圆角矩形 111">
                <a:extLst>
                  <a:ext uri="{FF2B5EF4-FFF2-40B4-BE49-F238E27FC236}">
                    <a16:creationId xmlns:a16="http://schemas.microsoft.com/office/drawing/2014/main" id="{38FFAE92-199A-45E9-9C4F-ED3E34D38205}"/>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27" name="圆角矩形 45">
                <a:extLst>
                  <a:ext uri="{FF2B5EF4-FFF2-40B4-BE49-F238E27FC236}">
                    <a16:creationId xmlns:a16="http://schemas.microsoft.com/office/drawing/2014/main" id="{A8335C70-550F-4B71-B369-9540C498C15B}"/>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Sidama</a:t>
                </a:r>
                <a:endParaRPr lang="en-US" altLang="zh-CN" sz="1050" b="1" kern="0" dirty="0"/>
              </a:p>
            </p:txBody>
          </p:sp>
          <p:sp>
            <p:nvSpPr>
              <p:cNvPr id="128" name="Text Box 16">
                <a:extLst>
                  <a:ext uri="{FF2B5EF4-FFF2-40B4-BE49-F238E27FC236}">
                    <a16:creationId xmlns:a16="http://schemas.microsoft.com/office/drawing/2014/main" id="{72345BE6-B27B-407A-B540-F9CC9632D7C6}"/>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6</a:t>
                </a:r>
              </a:p>
            </p:txBody>
          </p:sp>
        </p:grpSp>
      </p:grpSp>
      <p:sp>
        <p:nvSpPr>
          <p:cNvPr id="2" name="Title 1">
            <a:extLst>
              <a:ext uri="{FF2B5EF4-FFF2-40B4-BE49-F238E27FC236}">
                <a16:creationId xmlns:a16="http://schemas.microsoft.com/office/drawing/2014/main" id="{93C0B23C-FB28-4192-8F94-1288B3F7D3CE}"/>
              </a:ext>
            </a:extLst>
          </p:cNvPr>
          <p:cNvSpPr>
            <a:spLocks noGrp="1"/>
          </p:cNvSpPr>
          <p:nvPr>
            <p:ph type="title"/>
          </p:nvPr>
        </p:nvSpPr>
        <p:spPr>
          <a:xfrm>
            <a:off x="0" y="0"/>
            <a:ext cx="8513064" cy="765432"/>
          </a:xfrm>
        </p:spPr>
        <p:txBody>
          <a:bodyPr/>
          <a:lstStyle/>
          <a:p>
            <a:r>
              <a:rPr lang="en-ZA" dirty="0"/>
              <a:t>Year 1 – Sites Per Region</a:t>
            </a:r>
            <a:endParaRPr lang="en-GB" dirty="0"/>
          </a:p>
        </p:txBody>
      </p:sp>
      <p:sp>
        <p:nvSpPr>
          <p:cNvPr id="89" name="Rectangle: Rounded Corners 88">
            <a:extLst>
              <a:ext uri="{FF2B5EF4-FFF2-40B4-BE49-F238E27FC236}">
                <a16:creationId xmlns:a16="http://schemas.microsoft.com/office/drawing/2014/main" id="{47B98AA0-D4A4-400E-8AB9-52C3774416FB}"/>
              </a:ext>
            </a:extLst>
          </p:cNvPr>
          <p:cNvSpPr/>
          <p:nvPr/>
        </p:nvSpPr>
        <p:spPr>
          <a:xfrm>
            <a:off x="6645720" y="209326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96" name="Rectangle: Rounded Corners 95">
            <a:extLst>
              <a:ext uri="{FF2B5EF4-FFF2-40B4-BE49-F238E27FC236}">
                <a16:creationId xmlns:a16="http://schemas.microsoft.com/office/drawing/2014/main" id="{1AF6C6EE-312B-4A71-9188-C311D01BFD0C}"/>
              </a:ext>
            </a:extLst>
          </p:cNvPr>
          <p:cNvSpPr/>
          <p:nvPr/>
        </p:nvSpPr>
        <p:spPr>
          <a:xfrm>
            <a:off x="654553" y="2864498"/>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97" name="Rectangle: Rounded Corners 96">
            <a:extLst>
              <a:ext uri="{FF2B5EF4-FFF2-40B4-BE49-F238E27FC236}">
                <a16:creationId xmlns:a16="http://schemas.microsoft.com/office/drawing/2014/main" id="{C9FDB938-D734-4292-9673-BC0110CA372E}"/>
              </a:ext>
            </a:extLst>
          </p:cNvPr>
          <p:cNvSpPr/>
          <p:nvPr/>
        </p:nvSpPr>
        <p:spPr>
          <a:xfrm>
            <a:off x="654036" y="129305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0" name="Rectangle: Rounded Corners 99">
            <a:extLst>
              <a:ext uri="{FF2B5EF4-FFF2-40B4-BE49-F238E27FC236}">
                <a16:creationId xmlns:a16="http://schemas.microsoft.com/office/drawing/2014/main" id="{02020E38-E555-4171-B765-A302DF7F6022}"/>
              </a:ext>
            </a:extLst>
          </p:cNvPr>
          <p:cNvSpPr/>
          <p:nvPr/>
        </p:nvSpPr>
        <p:spPr>
          <a:xfrm>
            <a:off x="5364730" y="575592"/>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1" name="Rectangle: Rounded Corners 100">
            <a:extLst>
              <a:ext uri="{FF2B5EF4-FFF2-40B4-BE49-F238E27FC236}">
                <a16:creationId xmlns:a16="http://schemas.microsoft.com/office/drawing/2014/main" id="{C9C55B69-0EDD-40E4-862F-0E3838FD35BE}"/>
              </a:ext>
            </a:extLst>
          </p:cNvPr>
          <p:cNvSpPr/>
          <p:nvPr/>
        </p:nvSpPr>
        <p:spPr>
          <a:xfrm>
            <a:off x="4412483" y="4224995"/>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752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27591A-3260-4B64-987A-3CDEE56D530D}"/>
              </a:ext>
            </a:extLst>
          </p:cNvPr>
          <p:cNvPicPr>
            <a:picLocks noChangeAspect="1"/>
          </p:cNvPicPr>
          <p:nvPr/>
        </p:nvPicPr>
        <p:blipFill>
          <a:blip r:embed="rId2"/>
          <a:stretch>
            <a:fillRect/>
          </a:stretch>
        </p:blipFill>
        <p:spPr>
          <a:xfrm>
            <a:off x="0" y="1073150"/>
            <a:ext cx="5047926" cy="2456901"/>
          </a:xfrm>
          <a:prstGeom prst="rect">
            <a:avLst/>
          </a:prstGeom>
        </p:spPr>
      </p:pic>
      <p:sp>
        <p:nvSpPr>
          <p:cNvPr id="4" name="Title 3">
            <a:extLst>
              <a:ext uri="{FF2B5EF4-FFF2-40B4-BE49-F238E27FC236}">
                <a16:creationId xmlns:a16="http://schemas.microsoft.com/office/drawing/2014/main" id="{818073CA-5F23-4801-BABC-623D18B704DE}"/>
              </a:ext>
            </a:extLst>
          </p:cNvPr>
          <p:cNvSpPr>
            <a:spLocks noGrp="1"/>
          </p:cNvSpPr>
          <p:nvPr>
            <p:ph type="title"/>
          </p:nvPr>
        </p:nvSpPr>
        <p:spPr/>
        <p:txBody>
          <a:bodyPr/>
          <a:lstStyle/>
          <a:p>
            <a:r>
              <a:rPr lang="en-ZA" dirty="0"/>
              <a:t>Ethiopia by Numbers</a:t>
            </a:r>
          </a:p>
        </p:txBody>
      </p:sp>
      <p:pic>
        <p:nvPicPr>
          <p:cNvPr id="4098" name="Picture 2" descr="Machine generated alternative text:&#10;Population of Cities in Ethiopia (2019) &#10;Over 1 Million &#10;100,000 to 1 Million &#10;10,000 to 100,000 ">
            <a:extLst>
              <a:ext uri="{FF2B5EF4-FFF2-40B4-BE49-F238E27FC236}">
                <a16:creationId xmlns:a16="http://schemas.microsoft.com/office/drawing/2014/main" id="{88687B26-5275-4B81-A333-93DAA79478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099" y="3616324"/>
            <a:ext cx="4629150" cy="141124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Machine generated alternative text:&#10;Khartoum &#10;e Sana'a ' &#10;Ethiopia &#10;2015 by (pp/knß) &#10;ddis A baba &#10;Year &#10;Built-up Area &#10;(OOOS krn2) &#10;Average Pop. &#10;Density &#10;(pp/km2 of Bu Area) &#10;Population &#10;1975 &#10;32.5m &#10;2000 &#10;11.8 &#10;4.92 &#10;4.65 &#10;47 .gm &#10;2015 &#10;21.1 &#10;4.13 &#10;99.1m ">
            <a:extLst>
              <a:ext uri="{FF2B5EF4-FFF2-40B4-BE49-F238E27FC236}">
                <a16:creationId xmlns:a16="http://schemas.microsoft.com/office/drawing/2014/main" id="{F376E0C2-D112-4DCA-BD8D-85FA4FB2DD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8249" y="1116012"/>
            <a:ext cx="4095751" cy="262881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336AB27-DA67-42E5-8744-848BD9BF16D7}"/>
              </a:ext>
            </a:extLst>
          </p:cNvPr>
          <p:cNvSpPr/>
          <p:nvPr/>
        </p:nvSpPr>
        <p:spPr>
          <a:xfrm>
            <a:off x="812799" y="1079504"/>
            <a:ext cx="3943350" cy="48895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285750" indent="-285750">
              <a:buFont typeface="Arial" panose="020B0604020202020204" pitchFamily="34" charset="0"/>
              <a:buChar char="•"/>
            </a:pPr>
            <a:r>
              <a:rPr lang="en-ZA" sz="1400" dirty="0"/>
              <a:t>Next 100 Cities/Towns – 4,1M Residents </a:t>
            </a:r>
          </a:p>
        </p:txBody>
      </p:sp>
      <p:sp>
        <p:nvSpPr>
          <p:cNvPr id="8" name="Rectangle 7">
            <a:extLst>
              <a:ext uri="{FF2B5EF4-FFF2-40B4-BE49-F238E27FC236}">
                <a16:creationId xmlns:a16="http://schemas.microsoft.com/office/drawing/2014/main" id="{0E0533C3-4298-4780-96B5-FC8C7B3D79B0}"/>
              </a:ext>
            </a:extLst>
          </p:cNvPr>
          <p:cNvSpPr/>
          <p:nvPr/>
        </p:nvSpPr>
        <p:spPr>
          <a:xfrm>
            <a:off x="5048249" y="4027488"/>
            <a:ext cx="3943350" cy="45085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285750" indent="-285750">
              <a:buFont typeface="Arial" panose="020B0604020202020204" pitchFamily="34" charset="0"/>
              <a:buChar char="•"/>
            </a:pPr>
            <a:r>
              <a:rPr lang="en-ZA" sz="1400" dirty="0"/>
              <a:t>Addis Adiba - 2,75M Residents</a:t>
            </a:r>
          </a:p>
        </p:txBody>
      </p:sp>
      <p:sp>
        <p:nvSpPr>
          <p:cNvPr id="3" name="Left Brace 2">
            <a:extLst>
              <a:ext uri="{FF2B5EF4-FFF2-40B4-BE49-F238E27FC236}">
                <a16:creationId xmlns:a16="http://schemas.microsoft.com/office/drawing/2014/main" id="{EF72D931-5AE6-4556-A87F-C30A4FBDB0F6}"/>
              </a:ext>
            </a:extLst>
          </p:cNvPr>
          <p:cNvSpPr/>
          <p:nvPr/>
        </p:nvSpPr>
        <p:spPr>
          <a:xfrm rot="5847062">
            <a:off x="2617786" y="-217486"/>
            <a:ext cx="314326" cy="4241798"/>
          </a:xfrm>
          <a:prstGeom prst="leftBrace">
            <a:avLst>
              <a:gd name="adj1" fmla="val 8333"/>
              <a:gd name="adj2" fmla="val 7570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dirty="0"/>
          </a:p>
        </p:txBody>
      </p:sp>
      <p:sp>
        <p:nvSpPr>
          <p:cNvPr id="5" name="Arrow: Down 4">
            <a:extLst>
              <a:ext uri="{FF2B5EF4-FFF2-40B4-BE49-F238E27FC236}">
                <a16:creationId xmlns:a16="http://schemas.microsoft.com/office/drawing/2014/main" id="{6146EE3F-17B2-48AC-9483-892938D35A90}"/>
              </a:ext>
            </a:extLst>
          </p:cNvPr>
          <p:cNvSpPr/>
          <p:nvPr/>
        </p:nvSpPr>
        <p:spPr>
          <a:xfrm rot="10800000">
            <a:off x="6121400" y="2673350"/>
            <a:ext cx="241300" cy="1295400"/>
          </a:xfrm>
          <a:prstGeom prst="down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a:extLst>
              <a:ext uri="{FF2B5EF4-FFF2-40B4-BE49-F238E27FC236}">
                <a16:creationId xmlns:a16="http://schemas.microsoft.com/office/drawing/2014/main" id="{0566284C-B4D4-4DC8-AC14-C4BE086DECBF}"/>
              </a:ext>
            </a:extLst>
          </p:cNvPr>
          <p:cNvSpPr/>
          <p:nvPr/>
        </p:nvSpPr>
        <p:spPr>
          <a:xfrm>
            <a:off x="5048249" y="4546838"/>
            <a:ext cx="3943350" cy="48895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285750" indent="-285750">
              <a:buFont typeface="Arial" panose="020B0604020202020204" pitchFamily="34" charset="0"/>
              <a:buChar char="•"/>
            </a:pPr>
            <a:r>
              <a:rPr lang="en-ZA" sz="1400" dirty="0"/>
              <a:t>Total Population – 120M </a:t>
            </a:r>
          </a:p>
        </p:txBody>
      </p:sp>
    </p:spTree>
    <p:extLst>
      <p:ext uri="{BB962C8B-B14F-4D97-AF65-F5344CB8AC3E}">
        <p14:creationId xmlns:p14="http://schemas.microsoft.com/office/powerpoint/2010/main" val="3170985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51F3256C-BE97-4ABB-85A5-4DA7D65184A7}"/>
              </a:ext>
            </a:extLst>
          </p:cNvPr>
          <p:cNvGrpSpPr/>
          <p:nvPr/>
        </p:nvGrpSpPr>
        <p:grpSpPr>
          <a:xfrm>
            <a:off x="673520" y="639619"/>
            <a:ext cx="7621852" cy="4456667"/>
            <a:chOff x="67968" y="32224"/>
            <a:chExt cx="8949062" cy="5232716"/>
          </a:xfrm>
        </p:grpSpPr>
        <p:sp>
          <p:nvSpPr>
            <p:cNvPr id="4" name="Freeform 5">
              <a:extLst>
                <a:ext uri="{FF2B5EF4-FFF2-40B4-BE49-F238E27FC236}">
                  <a16:creationId xmlns:a16="http://schemas.microsoft.com/office/drawing/2014/main" id="{4E02DADB-17BF-4D65-9828-BBF2FE40BFFA}"/>
                </a:ext>
              </a:extLst>
            </p:cNvPr>
            <p:cNvSpPr>
              <a:spLocks/>
            </p:cNvSpPr>
            <p:nvPr/>
          </p:nvSpPr>
          <p:spPr bwMode="auto">
            <a:xfrm>
              <a:off x="3032579" y="2633549"/>
              <a:ext cx="2192810" cy="1750586"/>
            </a:xfrm>
            <a:custGeom>
              <a:avLst/>
              <a:gdLst>
                <a:gd name="T0" fmla="*/ 5385 w 7785"/>
                <a:gd name="T1" fmla="*/ 1284 h 6216"/>
                <a:gd name="T2" fmla="*/ 5001 w 7785"/>
                <a:gd name="T3" fmla="*/ 1356 h 6216"/>
                <a:gd name="T4" fmla="*/ 4605 w 7785"/>
                <a:gd name="T5" fmla="*/ 1200 h 6216"/>
                <a:gd name="T6" fmla="*/ 4677 w 7785"/>
                <a:gd name="T7" fmla="*/ 840 h 6216"/>
                <a:gd name="T8" fmla="*/ 4377 w 7785"/>
                <a:gd name="T9" fmla="*/ 732 h 6216"/>
                <a:gd name="T10" fmla="*/ 4125 w 7785"/>
                <a:gd name="T11" fmla="*/ 276 h 6216"/>
                <a:gd name="T12" fmla="*/ 3860 w 7785"/>
                <a:gd name="T13" fmla="*/ 101 h 6216"/>
                <a:gd name="T14" fmla="*/ 3092 w 7785"/>
                <a:gd name="T15" fmla="*/ 439 h 6216"/>
                <a:gd name="T16" fmla="*/ 2541 w 7785"/>
                <a:gd name="T17" fmla="*/ 192 h 6216"/>
                <a:gd name="T18" fmla="*/ 2121 w 7785"/>
                <a:gd name="T19" fmla="*/ 54 h 6216"/>
                <a:gd name="T20" fmla="*/ 1794 w 7785"/>
                <a:gd name="T21" fmla="*/ 603 h 6216"/>
                <a:gd name="T22" fmla="*/ 1812 w 7785"/>
                <a:gd name="T23" fmla="*/ 960 h 6216"/>
                <a:gd name="T24" fmla="*/ 1446 w 7785"/>
                <a:gd name="T25" fmla="*/ 951 h 6216"/>
                <a:gd name="T26" fmla="*/ 1090 w 7785"/>
                <a:gd name="T27" fmla="*/ 521 h 6216"/>
                <a:gd name="T28" fmla="*/ 660 w 7785"/>
                <a:gd name="T29" fmla="*/ 494 h 6216"/>
                <a:gd name="T30" fmla="*/ 248 w 7785"/>
                <a:gd name="T31" fmla="*/ 658 h 6216"/>
                <a:gd name="T32" fmla="*/ 0 w 7785"/>
                <a:gd name="T33" fmla="*/ 1083 h 6216"/>
                <a:gd name="T34" fmla="*/ 333 w 7785"/>
                <a:gd name="T35" fmla="*/ 1740 h 6216"/>
                <a:gd name="T36" fmla="*/ 717 w 7785"/>
                <a:gd name="T37" fmla="*/ 2052 h 6216"/>
                <a:gd name="T38" fmla="*/ 753 w 7785"/>
                <a:gd name="T39" fmla="*/ 2460 h 6216"/>
                <a:gd name="T40" fmla="*/ 1125 w 7785"/>
                <a:gd name="T41" fmla="*/ 2244 h 6216"/>
                <a:gd name="T42" fmla="*/ 1497 w 7785"/>
                <a:gd name="T43" fmla="*/ 2040 h 6216"/>
                <a:gd name="T44" fmla="*/ 1701 w 7785"/>
                <a:gd name="T45" fmla="*/ 2496 h 6216"/>
                <a:gd name="T46" fmla="*/ 2397 w 7785"/>
                <a:gd name="T47" fmla="*/ 2796 h 6216"/>
                <a:gd name="T48" fmla="*/ 2913 w 7785"/>
                <a:gd name="T49" fmla="*/ 2400 h 6216"/>
                <a:gd name="T50" fmla="*/ 3117 w 7785"/>
                <a:gd name="T51" fmla="*/ 1968 h 6216"/>
                <a:gd name="T52" fmla="*/ 3453 w 7785"/>
                <a:gd name="T53" fmla="*/ 1788 h 6216"/>
                <a:gd name="T54" fmla="*/ 3945 w 7785"/>
                <a:gd name="T55" fmla="*/ 1752 h 6216"/>
                <a:gd name="T56" fmla="*/ 3993 w 7785"/>
                <a:gd name="T57" fmla="*/ 2172 h 6216"/>
                <a:gd name="T58" fmla="*/ 3597 w 7785"/>
                <a:gd name="T59" fmla="*/ 2808 h 6216"/>
                <a:gd name="T60" fmla="*/ 3801 w 7785"/>
                <a:gd name="T61" fmla="*/ 2928 h 6216"/>
                <a:gd name="T62" fmla="*/ 4029 w 7785"/>
                <a:gd name="T63" fmla="*/ 3252 h 6216"/>
                <a:gd name="T64" fmla="*/ 4389 w 7785"/>
                <a:gd name="T65" fmla="*/ 3696 h 6216"/>
                <a:gd name="T66" fmla="*/ 3825 w 7785"/>
                <a:gd name="T67" fmla="*/ 3528 h 6216"/>
                <a:gd name="T68" fmla="*/ 3645 w 7785"/>
                <a:gd name="T69" fmla="*/ 4056 h 6216"/>
                <a:gd name="T70" fmla="*/ 3681 w 7785"/>
                <a:gd name="T71" fmla="*/ 3576 h 6216"/>
                <a:gd name="T72" fmla="*/ 3309 w 7785"/>
                <a:gd name="T73" fmla="*/ 3420 h 6216"/>
                <a:gd name="T74" fmla="*/ 3345 w 7785"/>
                <a:gd name="T75" fmla="*/ 3936 h 6216"/>
                <a:gd name="T76" fmla="*/ 3333 w 7785"/>
                <a:gd name="T77" fmla="*/ 4464 h 6216"/>
                <a:gd name="T78" fmla="*/ 2829 w 7785"/>
                <a:gd name="T79" fmla="*/ 4632 h 6216"/>
                <a:gd name="T80" fmla="*/ 2445 w 7785"/>
                <a:gd name="T81" fmla="*/ 5052 h 6216"/>
                <a:gd name="T82" fmla="*/ 3885 w 7785"/>
                <a:gd name="T83" fmla="*/ 6048 h 6216"/>
                <a:gd name="T84" fmla="*/ 5817 w 7785"/>
                <a:gd name="T85" fmla="*/ 5232 h 6216"/>
                <a:gd name="T86" fmla="*/ 6309 w 7785"/>
                <a:gd name="T87" fmla="*/ 5004 h 6216"/>
                <a:gd name="T88" fmla="*/ 6357 w 7785"/>
                <a:gd name="T89" fmla="*/ 4548 h 6216"/>
                <a:gd name="T90" fmla="*/ 6213 w 7785"/>
                <a:gd name="T91" fmla="*/ 4056 h 6216"/>
                <a:gd name="T92" fmla="*/ 5985 w 7785"/>
                <a:gd name="T93" fmla="*/ 3588 h 6216"/>
                <a:gd name="T94" fmla="*/ 6429 w 7785"/>
                <a:gd name="T95" fmla="*/ 3684 h 6216"/>
                <a:gd name="T96" fmla="*/ 6909 w 7785"/>
                <a:gd name="T97" fmla="*/ 3432 h 6216"/>
                <a:gd name="T98" fmla="*/ 7161 w 7785"/>
                <a:gd name="T99" fmla="*/ 2760 h 6216"/>
                <a:gd name="T100" fmla="*/ 7053 w 7785"/>
                <a:gd name="T101" fmla="*/ 1980 h 6216"/>
                <a:gd name="T102" fmla="*/ 7353 w 7785"/>
                <a:gd name="T103" fmla="*/ 1668 h 6216"/>
                <a:gd name="T104" fmla="*/ 7689 w 7785"/>
                <a:gd name="T105" fmla="*/ 1824 h 6216"/>
                <a:gd name="T106" fmla="*/ 7629 w 7785"/>
                <a:gd name="T107" fmla="*/ 1236 h 6216"/>
                <a:gd name="T108" fmla="*/ 7329 w 7785"/>
                <a:gd name="T109" fmla="*/ 648 h 6216"/>
                <a:gd name="T110" fmla="*/ 6801 w 7785"/>
                <a:gd name="T111" fmla="*/ 840 h 6216"/>
                <a:gd name="T112" fmla="*/ 6165 w 7785"/>
                <a:gd name="T113" fmla="*/ 912 h 6216"/>
                <a:gd name="T114" fmla="*/ 5861 w 7785"/>
                <a:gd name="T115" fmla="*/ 840 h 6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85" h="6216">
                  <a:moveTo>
                    <a:pt x="5861" y="840"/>
                  </a:moveTo>
                  <a:lnTo>
                    <a:pt x="5769" y="900"/>
                  </a:lnTo>
                  <a:lnTo>
                    <a:pt x="5649" y="900"/>
                  </a:lnTo>
                  <a:lnTo>
                    <a:pt x="5577" y="1008"/>
                  </a:lnTo>
                  <a:lnTo>
                    <a:pt x="5493" y="1116"/>
                  </a:lnTo>
                  <a:lnTo>
                    <a:pt x="5385" y="1284"/>
                  </a:lnTo>
                  <a:lnTo>
                    <a:pt x="5235" y="1404"/>
                  </a:lnTo>
                  <a:lnTo>
                    <a:pt x="5253" y="1260"/>
                  </a:lnTo>
                  <a:lnTo>
                    <a:pt x="5169" y="1188"/>
                  </a:lnTo>
                  <a:lnTo>
                    <a:pt x="5133" y="1140"/>
                  </a:lnTo>
                  <a:lnTo>
                    <a:pt x="5025" y="1149"/>
                  </a:lnTo>
                  <a:lnTo>
                    <a:pt x="5001" y="1356"/>
                  </a:lnTo>
                  <a:lnTo>
                    <a:pt x="4905" y="1380"/>
                  </a:lnTo>
                  <a:lnTo>
                    <a:pt x="4797" y="1440"/>
                  </a:lnTo>
                  <a:lnTo>
                    <a:pt x="4725" y="1392"/>
                  </a:lnTo>
                  <a:lnTo>
                    <a:pt x="4617" y="1440"/>
                  </a:lnTo>
                  <a:lnTo>
                    <a:pt x="4557" y="1332"/>
                  </a:lnTo>
                  <a:lnTo>
                    <a:pt x="4605" y="1200"/>
                  </a:lnTo>
                  <a:lnTo>
                    <a:pt x="4653" y="1116"/>
                  </a:lnTo>
                  <a:lnTo>
                    <a:pt x="4557" y="1068"/>
                  </a:lnTo>
                  <a:lnTo>
                    <a:pt x="4557" y="996"/>
                  </a:lnTo>
                  <a:lnTo>
                    <a:pt x="4665" y="960"/>
                  </a:lnTo>
                  <a:lnTo>
                    <a:pt x="4749" y="912"/>
                  </a:lnTo>
                  <a:lnTo>
                    <a:pt x="4677" y="840"/>
                  </a:lnTo>
                  <a:lnTo>
                    <a:pt x="4593" y="852"/>
                  </a:lnTo>
                  <a:lnTo>
                    <a:pt x="4653" y="708"/>
                  </a:lnTo>
                  <a:lnTo>
                    <a:pt x="4653" y="576"/>
                  </a:lnTo>
                  <a:lnTo>
                    <a:pt x="4557" y="600"/>
                  </a:lnTo>
                  <a:lnTo>
                    <a:pt x="4461" y="708"/>
                  </a:lnTo>
                  <a:lnTo>
                    <a:pt x="4377" y="732"/>
                  </a:lnTo>
                  <a:lnTo>
                    <a:pt x="4377" y="624"/>
                  </a:lnTo>
                  <a:lnTo>
                    <a:pt x="4281" y="600"/>
                  </a:lnTo>
                  <a:lnTo>
                    <a:pt x="4197" y="564"/>
                  </a:lnTo>
                  <a:lnTo>
                    <a:pt x="4137" y="420"/>
                  </a:lnTo>
                  <a:lnTo>
                    <a:pt x="4029" y="300"/>
                  </a:lnTo>
                  <a:lnTo>
                    <a:pt x="4125" y="276"/>
                  </a:lnTo>
                  <a:lnTo>
                    <a:pt x="4185" y="204"/>
                  </a:lnTo>
                  <a:lnTo>
                    <a:pt x="4209" y="72"/>
                  </a:lnTo>
                  <a:lnTo>
                    <a:pt x="4101" y="24"/>
                  </a:lnTo>
                  <a:lnTo>
                    <a:pt x="3981" y="12"/>
                  </a:lnTo>
                  <a:lnTo>
                    <a:pt x="3885" y="0"/>
                  </a:lnTo>
                  <a:lnTo>
                    <a:pt x="3860" y="101"/>
                  </a:lnTo>
                  <a:lnTo>
                    <a:pt x="3805" y="219"/>
                  </a:lnTo>
                  <a:lnTo>
                    <a:pt x="3668" y="274"/>
                  </a:lnTo>
                  <a:lnTo>
                    <a:pt x="3512" y="366"/>
                  </a:lnTo>
                  <a:lnTo>
                    <a:pt x="3348" y="457"/>
                  </a:lnTo>
                  <a:lnTo>
                    <a:pt x="3211" y="494"/>
                  </a:lnTo>
                  <a:lnTo>
                    <a:pt x="3092" y="439"/>
                  </a:lnTo>
                  <a:lnTo>
                    <a:pt x="2991" y="347"/>
                  </a:lnTo>
                  <a:lnTo>
                    <a:pt x="2827" y="329"/>
                  </a:lnTo>
                  <a:lnTo>
                    <a:pt x="2717" y="274"/>
                  </a:lnTo>
                  <a:lnTo>
                    <a:pt x="2699" y="183"/>
                  </a:lnTo>
                  <a:lnTo>
                    <a:pt x="2639" y="113"/>
                  </a:lnTo>
                  <a:lnTo>
                    <a:pt x="2541" y="192"/>
                  </a:lnTo>
                  <a:lnTo>
                    <a:pt x="2437" y="168"/>
                  </a:lnTo>
                  <a:lnTo>
                    <a:pt x="2379" y="119"/>
                  </a:lnTo>
                  <a:lnTo>
                    <a:pt x="2278" y="73"/>
                  </a:lnTo>
                  <a:lnTo>
                    <a:pt x="2205" y="155"/>
                  </a:lnTo>
                  <a:lnTo>
                    <a:pt x="2141" y="128"/>
                  </a:lnTo>
                  <a:lnTo>
                    <a:pt x="2121" y="54"/>
                  </a:lnTo>
                  <a:lnTo>
                    <a:pt x="2004" y="137"/>
                  </a:lnTo>
                  <a:lnTo>
                    <a:pt x="1949" y="256"/>
                  </a:lnTo>
                  <a:lnTo>
                    <a:pt x="1858" y="320"/>
                  </a:lnTo>
                  <a:lnTo>
                    <a:pt x="1775" y="347"/>
                  </a:lnTo>
                  <a:lnTo>
                    <a:pt x="1757" y="494"/>
                  </a:lnTo>
                  <a:lnTo>
                    <a:pt x="1794" y="603"/>
                  </a:lnTo>
                  <a:lnTo>
                    <a:pt x="1794" y="695"/>
                  </a:lnTo>
                  <a:lnTo>
                    <a:pt x="1867" y="741"/>
                  </a:lnTo>
                  <a:lnTo>
                    <a:pt x="1940" y="759"/>
                  </a:lnTo>
                  <a:lnTo>
                    <a:pt x="1940" y="905"/>
                  </a:lnTo>
                  <a:lnTo>
                    <a:pt x="1885" y="942"/>
                  </a:lnTo>
                  <a:lnTo>
                    <a:pt x="1812" y="960"/>
                  </a:lnTo>
                  <a:lnTo>
                    <a:pt x="1848" y="1088"/>
                  </a:lnTo>
                  <a:lnTo>
                    <a:pt x="1784" y="1143"/>
                  </a:lnTo>
                  <a:lnTo>
                    <a:pt x="1720" y="1143"/>
                  </a:lnTo>
                  <a:lnTo>
                    <a:pt x="1666" y="1042"/>
                  </a:lnTo>
                  <a:lnTo>
                    <a:pt x="1592" y="978"/>
                  </a:lnTo>
                  <a:lnTo>
                    <a:pt x="1446" y="951"/>
                  </a:lnTo>
                  <a:lnTo>
                    <a:pt x="1437" y="841"/>
                  </a:lnTo>
                  <a:lnTo>
                    <a:pt x="1391" y="777"/>
                  </a:lnTo>
                  <a:lnTo>
                    <a:pt x="1336" y="695"/>
                  </a:lnTo>
                  <a:lnTo>
                    <a:pt x="1227" y="658"/>
                  </a:lnTo>
                  <a:lnTo>
                    <a:pt x="1126" y="631"/>
                  </a:lnTo>
                  <a:lnTo>
                    <a:pt x="1090" y="521"/>
                  </a:lnTo>
                  <a:lnTo>
                    <a:pt x="1035" y="448"/>
                  </a:lnTo>
                  <a:lnTo>
                    <a:pt x="943" y="421"/>
                  </a:lnTo>
                  <a:lnTo>
                    <a:pt x="824" y="421"/>
                  </a:lnTo>
                  <a:lnTo>
                    <a:pt x="788" y="329"/>
                  </a:lnTo>
                  <a:lnTo>
                    <a:pt x="651" y="375"/>
                  </a:lnTo>
                  <a:lnTo>
                    <a:pt x="660" y="494"/>
                  </a:lnTo>
                  <a:lnTo>
                    <a:pt x="605" y="558"/>
                  </a:lnTo>
                  <a:lnTo>
                    <a:pt x="596" y="658"/>
                  </a:lnTo>
                  <a:lnTo>
                    <a:pt x="550" y="741"/>
                  </a:lnTo>
                  <a:lnTo>
                    <a:pt x="450" y="731"/>
                  </a:lnTo>
                  <a:lnTo>
                    <a:pt x="349" y="686"/>
                  </a:lnTo>
                  <a:lnTo>
                    <a:pt x="248" y="658"/>
                  </a:lnTo>
                  <a:lnTo>
                    <a:pt x="312" y="777"/>
                  </a:lnTo>
                  <a:lnTo>
                    <a:pt x="212" y="850"/>
                  </a:lnTo>
                  <a:lnTo>
                    <a:pt x="285" y="914"/>
                  </a:lnTo>
                  <a:lnTo>
                    <a:pt x="239" y="1006"/>
                  </a:lnTo>
                  <a:lnTo>
                    <a:pt x="157" y="1106"/>
                  </a:lnTo>
                  <a:lnTo>
                    <a:pt x="0" y="1083"/>
                  </a:lnTo>
                  <a:lnTo>
                    <a:pt x="11" y="1253"/>
                  </a:lnTo>
                  <a:lnTo>
                    <a:pt x="2" y="1454"/>
                  </a:lnTo>
                  <a:lnTo>
                    <a:pt x="9" y="1632"/>
                  </a:lnTo>
                  <a:lnTo>
                    <a:pt x="117" y="1572"/>
                  </a:lnTo>
                  <a:lnTo>
                    <a:pt x="237" y="1668"/>
                  </a:lnTo>
                  <a:lnTo>
                    <a:pt x="333" y="1740"/>
                  </a:lnTo>
                  <a:lnTo>
                    <a:pt x="417" y="1848"/>
                  </a:lnTo>
                  <a:lnTo>
                    <a:pt x="561" y="1908"/>
                  </a:lnTo>
                  <a:lnTo>
                    <a:pt x="645" y="1980"/>
                  </a:lnTo>
                  <a:lnTo>
                    <a:pt x="765" y="1944"/>
                  </a:lnTo>
                  <a:lnTo>
                    <a:pt x="837" y="2004"/>
                  </a:lnTo>
                  <a:lnTo>
                    <a:pt x="717" y="2052"/>
                  </a:lnTo>
                  <a:lnTo>
                    <a:pt x="729" y="2136"/>
                  </a:lnTo>
                  <a:lnTo>
                    <a:pt x="693" y="2208"/>
                  </a:lnTo>
                  <a:lnTo>
                    <a:pt x="664" y="2290"/>
                  </a:lnTo>
                  <a:lnTo>
                    <a:pt x="669" y="2357"/>
                  </a:lnTo>
                  <a:lnTo>
                    <a:pt x="731" y="2386"/>
                  </a:lnTo>
                  <a:lnTo>
                    <a:pt x="753" y="2460"/>
                  </a:lnTo>
                  <a:lnTo>
                    <a:pt x="873" y="2556"/>
                  </a:lnTo>
                  <a:lnTo>
                    <a:pt x="933" y="2616"/>
                  </a:lnTo>
                  <a:lnTo>
                    <a:pt x="993" y="2612"/>
                  </a:lnTo>
                  <a:lnTo>
                    <a:pt x="1005" y="2472"/>
                  </a:lnTo>
                  <a:lnTo>
                    <a:pt x="1029" y="2340"/>
                  </a:lnTo>
                  <a:lnTo>
                    <a:pt x="1125" y="2244"/>
                  </a:lnTo>
                  <a:lnTo>
                    <a:pt x="1245" y="2208"/>
                  </a:lnTo>
                  <a:lnTo>
                    <a:pt x="1281" y="2280"/>
                  </a:lnTo>
                  <a:lnTo>
                    <a:pt x="1389" y="2232"/>
                  </a:lnTo>
                  <a:lnTo>
                    <a:pt x="1461" y="2184"/>
                  </a:lnTo>
                  <a:lnTo>
                    <a:pt x="1413" y="2100"/>
                  </a:lnTo>
                  <a:lnTo>
                    <a:pt x="1497" y="2040"/>
                  </a:lnTo>
                  <a:lnTo>
                    <a:pt x="1569" y="2124"/>
                  </a:lnTo>
                  <a:lnTo>
                    <a:pt x="1557" y="2220"/>
                  </a:lnTo>
                  <a:lnTo>
                    <a:pt x="1581" y="2292"/>
                  </a:lnTo>
                  <a:lnTo>
                    <a:pt x="1641" y="2340"/>
                  </a:lnTo>
                  <a:lnTo>
                    <a:pt x="1689" y="2412"/>
                  </a:lnTo>
                  <a:lnTo>
                    <a:pt x="1701" y="2496"/>
                  </a:lnTo>
                  <a:lnTo>
                    <a:pt x="1821" y="2556"/>
                  </a:lnTo>
                  <a:lnTo>
                    <a:pt x="1893" y="2616"/>
                  </a:lnTo>
                  <a:lnTo>
                    <a:pt x="2001" y="2664"/>
                  </a:lnTo>
                  <a:lnTo>
                    <a:pt x="2145" y="2676"/>
                  </a:lnTo>
                  <a:lnTo>
                    <a:pt x="2277" y="2736"/>
                  </a:lnTo>
                  <a:lnTo>
                    <a:pt x="2397" y="2796"/>
                  </a:lnTo>
                  <a:lnTo>
                    <a:pt x="2529" y="2820"/>
                  </a:lnTo>
                  <a:lnTo>
                    <a:pt x="2649" y="2808"/>
                  </a:lnTo>
                  <a:lnTo>
                    <a:pt x="2757" y="2760"/>
                  </a:lnTo>
                  <a:lnTo>
                    <a:pt x="2877" y="2676"/>
                  </a:lnTo>
                  <a:lnTo>
                    <a:pt x="2961" y="2544"/>
                  </a:lnTo>
                  <a:lnTo>
                    <a:pt x="2913" y="2400"/>
                  </a:lnTo>
                  <a:lnTo>
                    <a:pt x="2925" y="2280"/>
                  </a:lnTo>
                  <a:lnTo>
                    <a:pt x="2877" y="2160"/>
                  </a:lnTo>
                  <a:lnTo>
                    <a:pt x="2973" y="2148"/>
                  </a:lnTo>
                  <a:lnTo>
                    <a:pt x="3057" y="2184"/>
                  </a:lnTo>
                  <a:lnTo>
                    <a:pt x="3069" y="2052"/>
                  </a:lnTo>
                  <a:lnTo>
                    <a:pt x="3117" y="1968"/>
                  </a:lnTo>
                  <a:lnTo>
                    <a:pt x="2973" y="1908"/>
                  </a:lnTo>
                  <a:lnTo>
                    <a:pt x="2973" y="1800"/>
                  </a:lnTo>
                  <a:lnTo>
                    <a:pt x="3045" y="1764"/>
                  </a:lnTo>
                  <a:lnTo>
                    <a:pt x="3129" y="1800"/>
                  </a:lnTo>
                  <a:lnTo>
                    <a:pt x="3273" y="1812"/>
                  </a:lnTo>
                  <a:lnTo>
                    <a:pt x="3453" y="1788"/>
                  </a:lnTo>
                  <a:lnTo>
                    <a:pt x="3621" y="1776"/>
                  </a:lnTo>
                  <a:lnTo>
                    <a:pt x="3693" y="1788"/>
                  </a:lnTo>
                  <a:lnTo>
                    <a:pt x="3753" y="1896"/>
                  </a:lnTo>
                  <a:lnTo>
                    <a:pt x="3825" y="1824"/>
                  </a:lnTo>
                  <a:lnTo>
                    <a:pt x="3873" y="1728"/>
                  </a:lnTo>
                  <a:lnTo>
                    <a:pt x="3945" y="1752"/>
                  </a:lnTo>
                  <a:lnTo>
                    <a:pt x="4041" y="1824"/>
                  </a:lnTo>
                  <a:lnTo>
                    <a:pt x="4089" y="1944"/>
                  </a:lnTo>
                  <a:lnTo>
                    <a:pt x="4041" y="2052"/>
                  </a:lnTo>
                  <a:lnTo>
                    <a:pt x="3921" y="1920"/>
                  </a:lnTo>
                  <a:lnTo>
                    <a:pt x="3945" y="2040"/>
                  </a:lnTo>
                  <a:lnTo>
                    <a:pt x="3993" y="2172"/>
                  </a:lnTo>
                  <a:lnTo>
                    <a:pt x="3909" y="2268"/>
                  </a:lnTo>
                  <a:lnTo>
                    <a:pt x="3837" y="2376"/>
                  </a:lnTo>
                  <a:lnTo>
                    <a:pt x="3789" y="2508"/>
                  </a:lnTo>
                  <a:lnTo>
                    <a:pt x="3753" y="2604"/>
                  </a:lnTo>
                  <a:lnTo>
                    <a:pt x="3693" y="2736"/>
                  </a:lnTo>
                  <a:lnTo>
                    <a:pt x="3597" y="2808"/>
                  </a:lnTo>
                  <a:lnTo>
                    <a:pt x="3489" y="2856"/>
                  </a:lnTo>
                  <a:lnTo>
                    <a:pt x="3501" y="2964"/>
                  </a:lnTo>
                  <a:lnTo>
                    <a:pt x="3561" y="3024"/>
                  </a:lnTo>
                  <a:lnTo>
                    <a:pt x="3669" y="3000"/>
                  </a:lnTo>
                  <a:lnTo>
                    <a:pt x="3729" y="2916"/>
                  </a:lnTo>
                  <a:lnTo>
                    <a:pt x="3801" y="2928"/>
                  </a:lnTo>
                  <a:lnTo>
                    <a:pt x="3873" y="2916"/>
                  </a:lnTo>
                  <a:lnTo>
                    <a:pt x="3969" y="2916"/>
                  </a:lnTo>
                  <a:lnTo>
                    <a:pt x="4041" y="2988"/>
                  </a:lnTo>
                  <a:lnTo>
                    <a:pt x="4065" y="3084"/>
                  </a:lnTo>
                  <a:lnTo>
                    <a:pt x="4017" y="3168"/>
                  </a:lnTo>
                  <a:lnTo>
                    <a:pt x="4029" y="3252"/>
                  </a:lnTo>
                  <a:lnTo>
                    <a:pt x="4113" y="3300"/>
                  </a:lnTo>
                  <a:lnTo>
                    <a:pt x="4233" y="3324"/>
                  </a:lnTo>
                  <a:lnTo>
                    <a:pt x="4353" y="3396"/>
                  </a:lnTo>
                  <a:lnTo>
                    <a:pt x="4401" y="3492"/>
                  </a:lnTo>
                  <a:lnTo>
                    <a:pt x="4461" y="3636"/>
                  </a:lnTo>
                  <a:lnTo>
                    <a:pt x="4389" y="3696"/>
                  </a:lnTo>
                  <a:lnTo>
                    <a:pt x="4413" y="3804"/>
                  </a:lnTo>
                  <a:lnTo>
                    <a:pt x="4269" y="3744"/>
                  </a:lnTo>
                  <a:lnTo>
                    <a:pt x="4209" y="3636"/>
                  </a:lnTo>
                  <a:lnTo>
                    <a:pt x="4113" y="3564"/>
                  </a:lnTo>
                  <a:lnTo>
                    <a:pt x="3945" y="3540"/>
                  </a:lnTo>
                  <a:lnTo>
                    <a:pt x="3825" y="3528"/>
                  </a:lnTo>
                  <a:lnTo>
                    <a:pt x="3825" y="3648"/>
                  </a:lnTo>
                  <a:lnTo>
                    <a:pt x="3789" y="3756"/>
                  </a:lnTo>
                  <a:lnTo>
                    <a:pt x="3741" y="3840"/>
                  </a:lnTo>
                  <a:lnTo>
                    <a:pt x="3693" y="3924"/>
                  </a:lnTo>
                  <a:lnTo>
                    <a:pt x="3729" y="4020"/>
                  </a:lnTo>
                  <a:lnTo>
                    <a:pt x="3645" y="4056"/>
                  </a:lnTo>
                  <a:lnTo>
                    <a:pt x="3573" y="3984"/>
                  </a:lnTo>
                  <a:lnTo>
                    <a:pt x="3561" y="3900"/>
                  </a:lnTo>
                  <a:lnTo>
                    <a:pt x="3501" y="3804"/>
                  </a:lnTo>
                  <a:lnTo>
                    <a:pt x="3597" y="3744"/>
                  </a:lnTo>
                  <a:lnTo>
                    <a:pt x="3621" y="3612"/>
                  </a:lnTo>
                  <a:lnTo>
                    <a:pt x="3681" y="3576"/>
                  </a:lnTo>
                  <a:lnTo>
                    <a:pt x="3681" y="3516"/>
                  </a:lnTo>
                  <a:lnTo>
                    <a:pt x="3537" y="3516"/>
                  </a:lnTo>
                  <a:lnTo>
                    <a:pt x="3477" y="3456"/>
                  </a:lnTo>
                  <a:lnTo>
                    <a:pt x="3453" y="3396"/>
                  </a:lnTo>
                  <a:lnTo>
                    <a:pt x="3357" y="3420"/>
                  </a:lnTo>
                  <a:lnTo>
                    <a:pt x="3309" y="3420"/>
                  </a:lnTo>
                  <a:lnTo>
                    <a:pt x="3249" y="3504"/>
                  </a:lnTo>
                  <a:lnTo>
                    <a:pt x="3297" y="3624"/>
                  </a:lnTo>
                  <a:lnTo>
                    <a:pt x="3297" y="3732"/>
                  </a:lnTo>
                  <a:lnTo>
                    <a:pt x="3237" y="3828"/>
                  </a:lnTo>
                  <a:lnTo>
                    <a:pt x="3237" y="3924"/>
                  </a:lnTo>
                  <a:lnTo>
                    <a:pt x="3345" y="3936"/>
                  </a:lnTo>
                  <a:lnTo>
                    <a:pt x="3417" y="3960"/>
                  </a:lnTo>
                  <a:lnTo>
                    <a:pt x="3441" y="4104"/>
                  </a:lnTo>
                  <a:lnTo>
                    <a:pt x="3513" y="4188"/>
                  </a:lnTo>
                  <a:lnTo>
                    <a:pt x="3393" y="4272"/>
                  </a:lnTo>
                  <a:lnTo>
                    <a:pt x="3381" y="4404"/>
                  </a:lnTo>
                  <a:lnTo>
                    <a:pt x="3333" y="4464"/>
                  </a:lnTo>
                  <a:lnTo>
                    <a:pt x="3369" y="4584"/>
                  </a:lnTo>
                  <a:lnTo>
                    <a:pt x="3249" y="4572"/>
                  </a:lnTo>
                  <a:lnTo>
                    <a:pt x="3177" y="4560"/>
                  </a:lnTo>
                  <a:lnTo>
                    <a:pt x="3057" y="4548"/>
                  </a:lnTo>
                  <a:lnTo>
                    <a:pt x="2949" y="4644"/>
                  </a:lnTo>
                  <a:lnTo>
                    <a:pt x="2829" y="4632"/>
                  </a:lnTo>
                  <a:lnTo>
                    <a:pt x="2721" y="4608"/>
                  </a:lnTo>
                  <a:lnTo>
                    <a:pt x="2613" y="4632"/>
                  </a:lnTo>
                  <a:lnTo>
                    <a:pt x="2469" y="4668"/>
                  </a:lnTo>
                  <a:lnTo>
                    <a:pt x="2421" y="4848"/>
                  </a:lnTo>
                  <a:lnTo>
                    <a:pt x="2457" y="4980"/>
                  </a:lnTo>
                  <a:lnTo>
                    <a:pt x="2445" y="5052"/>
                  </a:lnTo>
                  <a:lnTo>
                    <a:pt x="2361" y="5184"/>
                  </a:lnTo>
                  <a:lnTo>
                    <a:pt x="2301" y="5274"/>
                  </a:lnTo>
                  <a:lnTo>
                    <a:pt x="2505" y="5340"/>
                  </a:lnTo>
                  <a:lnTo>
                    <a:pt x="2985" y="5640"/>
                  </a:lnTo>
                  <a:lnTo>
                    <a:pt x="3525" y="6036"/>
                  </a:lnTo>
                  <a:lnTo>
                    <a:pt x="3885" y="6048"/>
                  </a:lnTo>
                  <a:lnTo>
                    <a:pt x="4797" y="6216"/>
                  </a:lnTo>
                  <a:lnTo>
                    <a:pt x="4989" y="5952"/>
                  </a:lnTo>
                  <a:lnTo>
                    <a:pt x="5109" y="5820"/>
                  </a:lnTo>
                  <a:lnTo>
                    <a:pt x="5865" y="5448"/>
                  </a:lnTo>
                  <a:lnTo>
                    <a:pt x="5877" y="5352"/>
                  </a:lnTo>
                  <a:lnTo>
                    <a:pt x="5817" y="5232"/>
                  </a:lnTo>
                  <a:lnTo>
                    <a:pt x="5889" y="5184"/>
                  </a:lnTo>
                  <a:lnTo>
                    <a:pt x="5985" y="5220"/>
                  </a:lnTo>
                  <a:lnTo>
                    <a:pt x="6081" y="5124"/>
                  </a:lnTo>
                  <a:lnTo>
                    <a:pt x="6213" y="5088"/>
                  </a:lnTo>
                  <a:lnTo>
                    <a:pt x="6213" y="4980"/>
                  </a:lnTo>
                  <a:lnTo>
                    <a:pt x="6309" y="5004"/>
                  </a:lnTo>
                  <a:lnTo>
                    <a:pt x="6441" y="4980"/>
                  </a:lnTo>
                  <a:lnTo>
                    <a:pt x="6609" y="4992"/>
                  </a:lnTo>
                  <a:lnTo>
                    <a:pt x="6537" y="4860"/>
                  </a:lnTo>
                  <a:lnTo>
                    <a:pt x="6441" y="4776"/>
                  </a:lnTo>
                  <a:lnTo>
                    <a:pt x="6357" y="4680"/>
                  </a:lnTo>
                  <a:lnTo>
                    <a:pt x="6357" y="4548"/>
                  </a:lnTo>
                  <a:lnTo>
                    <a:pt x="6285" y="4404"/>
                  </a:lnTo>
                  <a:lnTo>
                    <a:pt x="6237" y="4344"/>
                  </a:lnTo>
                  <a:lnTo>
                    <a:pt x="6285" y="4296"/>
                  </a:lnTo>
                  <a:lnTo>
                    <a:pt x="6345" y="4152"/>
                  </a:lnTo>
                  <a:lnTo>
                    <a:pt x="6285" y="4116"/>
                  </a:lnTo>
                  <a:lnTo>
                    <a:pt x="6213" y="4056"/>
                  </a:lnTo>
                  <a:lnTo>
                    <a:pt x="6177" y="3948"/>
                  </a:lnTo>
                  <a:lnTo>
                    <a:pt x="6093" y="3948"/>
                  </a:lnTo>
                  <a:lnTo>
                    <a:pt x="6057" y="3852"/>
                  </a:lnTo>
                  <a:lnTo>
                    <a:pt x="5961" y="3816"/>
                  </a:lnTo>
                  <a:lnTo>
                    <a:pt x="5985" y="3708"/>
                  </a:lnTo>
                  <a:lnTo>
                    <a:pt x="5985" y="3588"/>
                  </a:lnTo>
                  <a:lnTo>
                    <a:pt x="6105" y="3588"/>
                  </a:lnTo>
                  <a:lnTo>
                    <a:pt x="6117" y="3492"/>
                  </a:lnTo>
                  <a:lnTo>
                    <a:pt x="6177" y="3336"/>
                  </a:lnTo>
                  <a:lnTo>
                    <a:pt x="6285" y="3444"/>
                  </a:lnTo>
                  <a:lnTo>
                    <a:pt x="6357" y="3552"/>
                  </a:lnTo>
                  <a:lnTo>
                    <a:pt x="6429" y="3684"/>
                  </a:lnTo>
                  <a:lnTo>
                    <a:pt x="6489" y="3756"/>
                  </a:lnTo>
                  <a:lnTo>
                    <a:pt x="6561" y="3828"/>
                  </a:lnTo>
                  <a:lnTo>
                    <a:pt x="6693" y="3720"/>
                  </a:lnTo>
                  <a:lnTo>
                    <a:pt x="6681" y="3576"/>
                  </a:lnTo>
                  <a:lnTo>
                    <a:pt x="6789" y="3456"/>
                  </a:lnTo>
                  <a:lnTo>
                    <a:pt x="6909" y="3432"/>
                  </a:lnTo>
                  <a:lnTo>
                    <a:pt x="6981" y="3384"/>
                  </a:lnTo>
                  <a:lnTo>
                    <a:pt x="7053" y="3252"/>
                  </a:lnTo>
                  <a:lnTo>
                    <a:pt x="7065" y="3108"/>
                  </a:lnTo>
                  <a:lnTo>
                    <a:pt x="7137" y="3024"/>
                  </a:lnTo>
                  <a:lnTo>
                    <a:pt x="7185" y="2868"/>
                  </a:lnTo>
                  <a:lnTo>
                    <a:pt x="7161" y="2760"/>
                  </a:lnTo>
                  <a:lnTo>
                    <a:pt x="7077" y="2640"/>
                  </a:lnTo>
                  <a:lnTo>
                    <a:pt x="7005" y="2556"/>
                  </a:lnTo>
                  <a:lnTo>
                    <a:pt x="7017" y="2436"/>
                  </a:lnTo>
                  <a:lnTo>
                    <a:pt x="6993" y="2316"/>
                  </a:lnTo>
                  <a:lnTo>
                    <a:pt x="7017" y="2172"/>
                  </a:lnTo>
                  <a:lnTo>
                    <a:pt x="7053" y="1980"/>
                  </a:lnTo>
                  <a:lnTo>
                    <a:pt x="7125" y="1860"/>
                  </a:lnTo>
                  <a:lnTo>
                    <a:pt x="7185" y="1752"/>
                  </a:lnTo>
                  <a:lnTo>
                    <a:pt x="7137" y="1632"/>
                  </a:lnTo>
                  <a:lnTo>
                    <a:pt x="7209" y="1560"/>
                  </a:lnTo>
                  <a:lnTo>
                    <a:pt x="7269" y="1632"/>
                  </a:lnTo>
                  <a:lnTo>
                    <a:pt x="7353" y="1668"/>
                  </a:lnTo>
                  <a:lnTo>
                    <a:pt x="7437" y="1704"/>
                  </a:lnTo>
                  <a:lnTo>
                    <a:pt x="7473" y="1800"/>
                  </a:lnTo>
                  <a:lnTo>
                    <a:pt x="7509" y="1932"/>
                  </a:lnTo>
                  <a:lnTo>
                    <a:pt x="7545" y="2004"/>
                  </a:lnTo>
                  <a:lnTo>
                    <a:pt x="7605" y="1932"/>
                  </a:lnTo>
                  <a:lnTo>
                    <a:pt x="7689" y="1824"/>
                  </a:lnTo>
                  <a:lnTo>
                    <a:pt x="7785" y="1788"/>
                  </a:lnTo>
                  <a:lnTo>
                    <a:pt x="7785" y="1632"/>
                  </a:lnTo>
                  <a:lnTo>
                    <a:pt x="7713" y="1560"/>
                  </a:lnTo>
                  <a:lnTo>
                    <a:pt x="7725" y="1440"/>
                  </a:lnTo>
                  <a:lnTo>
                    <a:pt x="7701" y="1368"/>
                  </a:lnTo>
                  <a:lnTo>
                    <a:pt x="7629" y="1236"/>
                  </a:lnTo>
                  <a:lnTo>
                    <a:pt x="7545" y="1152"/>
                  </a:lnTo>
                  <a:lnTo>
                    <a:pt x="7497" y="1068"/>
                  </a:lnTo>
                  <a:lnTo>
                    <a:pt x="7485" y="924"/>
                  </a:lnTo>
                  <a:lnTo>
                    <a:pt x="7401" y="840"/>
                  </a:lnTo>
                  <a:lnTo>
                    <a:pt x="7341" y="744"/>
                  </a:lnTo>
                  <a:lnTo>
                    <a:pt x="7329" y="648"/>
                  </a:lnTo>
                  <a:lnTo>
                    <a:pt x="7257" y="612"/>
                  </a:lnTo>
                  <a:lnTo>
                    <a:pt x="7197" y="648"/>
                  </a:lnTo>
                  <a:lnTo>
                    <a:pt x="7101" y="672"/>
                  </a:lnTo>
                  <a:lnTo>
                    <a:pt x="7077" y="816"/>
                  </a:lnTo>
                  <a:lnTo>
                    <a:pt x="6945" y="804"/>
                  </a:lnTo>
                  <a:lnTo>
                    <a:pt x="6801" y="840"/>
                  </a:lnTo>
                  <a:lnTo>
                    <a:pt x="6705" y="792"/>
                  </a:lnTo>
                  <a:lnTo>
                    <a:pt x="6609" y="816"/>
                  </a:lnTo>
                  <a:lnTo>
                    <a:pt x="6477" y="840"/>
                  </a:lnTo>
                  <a:lnTo>
                    <a:pt x="6357" y="792"/>
                  </a:lnTo>
                  <a:lnTo>
                    <a:pt x="6273" y="840"/>
                  </a:lnTo>
                  <a:lnTo>
                    <a:pt x="6165" y="912"/>
                  </a:lnTo>
                  <a:lnTo>
                    <a:pt x="6081" y="960"/>
                  </a:lnTo>
                  <a:lnTo>
                    <a:pt x="5985" y="984"/>
                  </a:lnTo>
                  <a:lnTo>
                    <a:pt x="5925" y="936"/>
                  </a:lnTo>
                  <a:lnTo>
                    <a:pt x="6021" y="876"/>
                  </a:lnTo>
                  <a:lnTo>
                    <a:pt x="5949" y="828"/>
                  </a:lnTo>
                  <a:lnTo>
                    <a:pt x="5861" y="8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5" name="Freeform 6">
              <a:extLst>
                <a:ext uri="{FF2B5EF4-FFF2-40B4-BE49-F238E27FC236}">
                  <a16:creationId xmlns:a16="http://schemas.microsoft.com/office/drawing/2014/main" id="{A1ED4CD8-95BC-4D1E-8498-A4BED3F4014A}"/>
                </a:ext>
              </a:extLst>
            </p:cNvPr>
            <p:cNvSpPr>
              <a:spLocks/>
            </p:cNvSpPr>
            <p:nvPr/>
          </p:nvSpPr>
          <p:spPr bwMode="auto">
            <a:xfrm>
              <a:off x="4667679" y="2467363"/>
              <a:ext cx="1816779" cy="1777345"/>
            </a:xfrm>
            <a:custGeom>
              <a:avLst/>
              <a:gdLst>
                <a:gd name="T0" fmla="*/ 84 w 6450"/>
                <a:gd name="T1" fmla="*/ 1236 h 6311"/>
                <a:gd name="T2" fmla="*/ 228 w 6450"/>
                <a:gd name="T3" fmla="*/ 900 h 6311"/>
                <a:gd name="T4" fmla="*/ 372 w 6450"/>
                <a:gd name="T5" fmla="*/ 420 h 6311"/>
                <a:gd name="T6" fmla="*/ 588 w 6450"/>
                <a:gd name="T7" fmla="*/ 84 h 6311"/>
                <a:gd name="T8" fmla="*/ 1500 w 6450"/>
                <a:gd name="T9" fmla="*/ 60 h 6311"/>
                <a:gd name="T10" fmla="*/ 2004 w 6450"/>
                <a:gd name="T11" fmla="*/ 60 h 6311"/>
                <a:gd name="T12" fmla="*/ 1884 w 6450"/>
                <a:gd name="T13" fmla="*/ 624 h 6311"/>
                <a:gd name="T14" fmla="*/ 2112 w 6450"/>
                <a:gd name="T15" fmla="*/ 1020 h 6311"/>
                <a:gd name="T16" fmla="*/ 2436 w 6450"/>
                <a:gd name="T17" fmla="*/ 1404 h 6311"/>
                <a:gd name="T18" fmla="*/ 3072 w 6450"/>
                <a:gd name="T19" fmla="*/ 1884 h 6311"/>
                <a:gd name="T20" fmla="*/ 5652 w 6450"/>
                <a:gd name="T21" fmla="*/ 2748 h 6311"/>
                <a:gd name="T22" fmla="*/ 2964 w 6450"/>
                <a:gd name="T23" fmla="*/ 5460 h 6311"/>
                <a:gd name="T24" fmla="*/ 1992 w 6450"/>
                <a:gd name="T25" fmla="*/ 5940 h 6311"/>
                <a:gd name="T26" fmla="*/ 1017 w 6450"/>
                <a:gd name="T27" fmla="*/ 6311 h 6311"/>
                <a:gd name="T28" fmla="*/ 444 w 6450"/>
                <a:gd name="T29" fmla="*/ 6300 h 6311"/>
                <a:gd name="T30" fmla="*/ 72 w 6450"/>
                <a:gd name="T31" fmla="*/ 5940 h 6311"/>
                <a:gd name="T32" fmla="*/ 180 w 6450"/>
                <a:gd name="T33" fmla="*/ 5808 h 6311"/>
                <a:gd name="T34" fmla="*/ 408 w 6450"/>
                <a:gd name="T35" fmla="*/ 5568 h 6311"/>
                <a:gd name="T36" fmla="*/ 804 w 6450"/>
                <a:gd name="T37" fmla="*/ 5580 h 6311"/>
                <a:gd name="T38" fmla="*/ 552 w 6450"/>
                <a:gd name="T39" fmla="*/ 5268 h 6311"/>
                <a:gd name="T40" fmla="*/ 432 w 6450"/>
                <a:gd name="T41" fmla="*/ 4932 h 6311"/>
                <a:gd name="T42" fmla="*/ 480 w 6450"/>
                <a:gd name="T43" fmla="*/ 4704 h 6311"/>
                <a:gd name="T44" fmla="*/ 288 w 6450"/>
                <a:gd name="T45" fmla="*/ 4536 h 6311"/>
                <a:gd name="T46" fmla="*/ 180 w 6450"/>
                <a:gd name="T47" fmla="*/ 4296 h 6311"/>
                <a:gd name="T48" fmla="*/ 312 w 6450"/>
                <a:gd name="T49" fmla="*/ 4080 h 6311"/>
                <a:gd name="T50" fmla="*/ 552 w 6450"/>
                <a:gd name="T51" fmla="*/ 4140 h 6311"/>
                <a:gd name="T52" fmla="*/ 756 w 6450"/>
                <a:gd name="T53" fmla="*/ 4416 h 6311"/>
                <a:gd name="T54" fmla="*/ 984 w 6450"/>
                <a:gd name="T55" fmla="*/ 4044 h 6311"/>
                <a:gd name="T56" fmla="*/ 1248 w 6450"/>
                <a:gd name="T57" fmla="*/ 3840 h 6311"/>
                <a:gd name="T58" fmla="*/ 1380 w 6450"/>
                <a:gd name="T59" fmla="*/ 3456 h 6311"/>
                <a:gd name="T60" fmla="*/ 1200 w 6450"/>
                <a:gd name="T61" fmla="*/ 3144 h 6311"/>
                <a:gd name="T62" fmla="*/ 1212 w 6450"/>
                <a:gd name="T63" fmla="*/ 2760 h 6311"/>
                <a:gd name="T64" fmla="*/ 1380 w 6450"/>
                <a:gd name="T65" fmla="*/ 2340 h 6311"/>
                <a:gd name="T66" fmla="*/ 1464 w 6450"/>
                <a:gd name="T67" fmla="*/ 2220 h 6311"/>
                <a:gd name="T68" fmla="*/ 1668 w 6450"/>
                <a:gd name="T69" fmla="*/ 2388 h 6311"/>
                <a:gd name="T70" fmla="*/ 1800 w 6450"/>
                <a:gd name="T71" fmla="*/ 2520 h 6311"/>
                <a:gd name="T72" fmla="*/ 1980 w 6450"/>
                <a:gd name="T73" fmla="*/ 2220 h 6311"/>
                <a:gd name="T74" fmla="*/ 1896 w 6450"/>
                <a:gd name="T75" fmla="*/ 1956 h 6311"/>
                <a:gd name="T76" fmla="*/ 1692 w 6450"/>
                <a:gd name="T77" fmla="*/ 1656 h 6311"/>
                <a:gd name="T78" fmla="*/ 1536 w 6450"/>
                <a:gd name="T79" fmla="*/ 1332 h 6311"/>
                <a:gd name="T80" fmla="*/ 1391 w 6450"/>
                <a:gd name="T81" fmla="*/ 1236 h 6311"/>
                <a:gd name="T82" fmla="*/ 1140 w 6450"/>
                <a:gd name="T83" fmla="*/ 1392 h 6311"/>
                <a:gd name="T84" fmla="*/ 804 w 6450"/>
                <a:gd name="T85" fmla="*/ 1404 h 6311"/>
                <a:gd name="T86" fmla="*/ 468 w 6450"/>
                <a:gd name="T87" fmla="*/ 1428 h 6311"/>
                <a:gd name="T88" fmla="*/ 180 w 6450"/>
                <a:gd name="T89" fmla="*/ 1572 h 6311"/>
                <a:gd name="T90" fmla="*/ 144 w 6450"/>
                <a:gd name="T91" fmla="*/ 1416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50" h="6311">
                  <a:moveTo>
                    <a:pt x="56" y="1428"/>
                  </a:moveTo>
                  <a:lnTo>
                    <a:pt x="0" y="1380"/>
                  </a:lnTo>
                  <a:lnTo>
                    <a:pt x="84" y="1236"/>
                  </a:lnTo>
                  <a:lnTo>
                    <a:pt x="144" y="1140"/>
                  </a:lnTo>
                  <a:lnTo>
                    <a:pt x="288" y="1020"/>
                  </a:lnTo>
                  <a:lnTo>
                    <a:pt x="228" y="900"/>
                  </a:lnTo>
                  <a:lnTo>
                    <a:pt x="276" y="756"/>
                  </a:lnTo>
                  <a:lnTo>
                    <a:pt x="324" y="588"/>
                  </a:lnTo>
                  <a:lnTo>
                    <a:pt x="372" y="420"/>
                  </a:lnTo>
                  <a:lnTo>
                    <a:pt x="384" y="300"/>
                  </a:lnTo>
                  <a:lnTo>
                    <a:pt x="480" y="192"/>
                  </a:lnTo>
                  <a:lnTo>
                    <a:pt x="588" y="84"/>
                  </a:lnTo>
                  <a:lnTo>
                    <a:pt x="978" y="84"/>
                  </a:lnTo>
                  <a:lnTo>
                    <a:pt x="1224" y="84"/>
                  </a:lnTo>
                  <a:lnTo>
                    <a:pt x="1500" y="60"/>
                  </a:lnTo>
                  <a:lnTo>
                    <a:pt x="1716" y="0"/>
                  </a:lnTo>
                  <a:lnTo>
                    <a:pt x="1824" y="0"/>
                  </a:lnTo>
                  <a:lnTo>
                    <a:pt x="2004" y="60"/>
                  </a:lnTo>
                  <a:lnTo>
                    <a:pt x="1908" y="228"/>
                  </a:lnTo>
                  <a:lnTo>
                    <a:pt x="1788" y="420"/>
                  </a:lnTo>
                  <a:lnTo>
                    <a:pt x="1884" y="624"/>
                  </a:lnTo>
                  <a:lnTo>
                    <a:pt x="1980" y="780"/>
                  </a:lnTo>
                  <a:lnTo>
                    <a:pt x="2076" y="900"/>
                  </a:lnTo>
                  <a:lnTo>
                    <a:pt x="2112" y="1020"/>
                  </a:lnTo>
                  <a:lnTo>
                    <a:pt x="2268" y="1044"/>
                  </a:lnTo>
                  <a:lnTo>
                    <a:pt x="2340" y="1236"/>
                  </a:lnTo>
                  <a:lnTo>
                    <a:pt x="2436" y="1404"/>
                  </a:lnTo>
                  <a:lnTo>
                    <a:pt x="2640" y="1560"/>
                  </a:lnTo>
                  <a:lnTo>
                    <a:pt x="2892" y="1740"/>
                  </a:lnTo>
                  <a:lnTo>
                    <a:pt x="3072" y="1884"/>
                  </a:lnTo>
                  <a:lnTo>
                    <a:pt x="3792" y="2112"/>
                  </a:lnTo>
                  <a:lnTo>
                    <a:pt x="4668" y="2412"/>
                  </a:lnTo>
                  <a:lnTo>
                    <a:pt x="5652" y="2748"/>
                  </a:lnTo>
                  <a:lnTo>
                    <a:pt x="6450" y="2712"/>
                  </a:lnTo>
                  <a:lnTo>
                    <a:pt x="3840" y="5502"/>
                  </a:lnTo>
                  <a:lnTo>
                    <a:pt x="2964" y="5460"/>
                  </a:lnTo>
                  <a:lnTo>
                    <a:pt x="2412" y="5604"/>
                  </a:lnTo>
                  <a:lnTo>
                    <a:pt x="2172" y="5724"/>
                  </a:lnTo>
                  <a:lnTo>
                    <a:pt x="1992" y="5940"/>
                  </a:lnTo>
                  <a:lnTo>
                    <a:pt x="1752" y="6072"/>
                  </a:lnTo>
                  <a:lnTo>
                    <a:pt x="1260" y="6132"/>
                  </a:lnTo>
                  <a:lnTo>
                    <a:pt x="1017" y="6311"/>
                  </a:lnTo>
                  <a:lnTo>
                    <a:pt x="948" y="6300"/>
                  </a:lnTo>
                  <a:lnTo>
                    <a:pt x="684" y="6300"/>
                  </a:lnTo>
                  <a:lnTo>
                    <a:pt x="444" y="6300"/>
                  </a:lnTo>
                  <a:lnTo>
                    <a:pt x="300" y="6192"/>
                  </a:lnTo>
                  <a:lnTo>
                    <a:pt x="60" y="6036"/>
                  </a:lnTo>
                  <a:lnTo>
                    <a:pt x="72" y="5940"/>
                  </a:lnTo>
                  <a:lnTo>
                    <a:pt x="12" y="5820"/>
                  </a:lnTo>
                  <a:lnTo>
                    <a:pt x="84" y="5772"/>
                  </a:lnTo>
                  <a:lnTo>
                    <a:pt x="180" y="5808"/>
                  </a:lnTo>
                  <a:lnTo>
                    <a:pt x="276" y="5712"/>
                  </a:lnTo>
                  <a:lnTo>
                    <a:pt x="408" y="5676"/>
                  </a:lnTo>
                  <a:lnTo>
                    <a:pt x="408" y="5568"/>
                  </a:lnTo>
                  <a:lnTo>
                    <a:pt x="504" y="5592"/>
                  </a:lnTo>
                  <a:lnTo>
                    <a:pt x="636" y="5568"/>
                  </a:lnTo>
                  <a:lnTo>
                    <a:pt x="804" y="5580"/>
                  </a:lnTo>
                  <a:lnTo>
                    <a:pt x="732" y="5448"/>
                  </a:lnTo>
                  <a:lnTo>
                    <a:pt x="636" y="5364"/>
                  </a:lnTo>
                  <a:lnTo>
                    <a:pt x="552" y="5268"/>
                  </a:lnTo>
                  <a:lnTo>
                    <a:pt x="552" y="5136"/>
                  </a:lnTo>
                  <a:lnTo>
                    <a:pt x="480" y="4992"/>
                  </a:lnTo>
                  <a:lnTo>
                    <a:pt x="432" y="4932"/>
                  </a:lnTo>
                  <a:lnTo>
                    <a:pt x="480" y="4884"/>
                  </a:lnTo>
                  <a:lnTo>
                    <a:pt x="540" y="4740"/>
                  </a:lnTo>
                  <a:lnTo>
                    <a:pt x="480" y="4704"/>
                  </a:lnTo>
                  <a:lnTo>
                    <a:pt x="408" y="4644"/>
                  </a:lnTo>
                  <a:lnTo>
                    <a:pt x="372" y="4536"/>
                  </a:lnTo>
                  <a:lnTo>
                    <a:pt x="288" y="4536"/>
                  </a:lnTo>
                  <a:lnTo>
                    <a:pt x="252" y="4440"/>
                  </a:lnTo>
                  <a:lnTo>
                    <a:pt x="156" y="4404"/>
                  </a:lnTo>
                  <a:lnTo>
                    <a:pt x="180" y="4296"/>
                  </a:lnTo>
                  <a:lnTo>
                    <a:pt x="180" y="4176"/>
                  </a:lnTo>
                  <a:lnTo>
                    <a:pt x="300" y="4176"/>
                  </a:lnTo>
                  <a:lnTo>
                    <a:pt x="312" y="4080"/>
                  </a:lnTo>
                  <a:lnTo>
                    <a:pt x="372" y="3924"/>
                  </a:lnTo>
                  <a:lnTo>
                    <a:pt x="480" y="4032"/>
                  </a:lnTo>
                  <a:lnTo>
                    <a:pt x="552" y="4140"/>
                  </a:lnTo>
                  <a:lnTo>
                    <a:pt x="624" y="4272"/>
                  </a:lnTo>
                  <a:lnTo>
                    <a:pt x="684" y="4344"/>
                  </a:lnTo>
                  <a:lnTo>
                    <a:pt x="756" y="4416"/>
                  </a:lnTo>
                  <a:lnTo>
                    <a:pt x="888" y="4308"/>
                  </a:lnTo>
                  <a:lnTo>
                    <a:pt x="876" y="4164"/>
                  </a:lnTo>
                  <a:lnTo>
                    <a:pt x="984" y="4044"/>
                  </a:lnTo>
                  <a:lnTo>
                    <a:pt x="1104" y="4020"/>
                  </a:lnTo>
                  <a:lnTo>
                    <a:pt x="1176" y="3972"/>
                  </a:lnTo>
                  <a:lnTo>
                    <a:pt x="1248" y="3840"/>
                  </a:lnTo>
                  <a:lnTo>
                    <a:pt x="1260" y="3696"/>
                  </a:lnTo>
                  <a:lnTo>
                    <a:pt x="1332" y="3612"/>
                  </a:lnTo>
                  <a:lnTo>
                    <a:pt x="1380" y="3456"/>
                  </a:lnTo>
                  <a:lnTo>
                    <a:pt x="1356" y="3348"/>
                  </a:lnTo>
                  <a:lnTo>
                    <a:pt x="1272" y="3228"/>
                  </a:lnTo>
                  <a:lnTo>
                    <a:pt x="1200" y="3144"/>
                  </a:lnTo>
                  <a:lnTo>
                    <a:pt x="1212" y="3024"/>
                  </a:lnTo>
                  <a:lnTo>
                    <a:pt x="1188" y="2904"/>
                  </a:lnTo>
                  <a:lnTo>
                    <a:pt x="1212" y="2760"/>
                  </a:lnTo>
                  <a:lnTo>
                    <a:pt x="1248" y="2568"/>
                  </a:lnTo>
                  <a:lnTo>
                    <a:pt x="1320" y="2448"/>
                  </a:lnTo>
                  <a:lnTo>
                    <a:pt x="1380" y="2340"/>
                  </a:lnTo>
                  <a:lnTo>
                    <a:pt x="1332" y="2220"/>
                  </a:lnTo>
                  <a:lnTo>
                    <a:pt x="1404" y="2148"/>
                  </a:lnTo>
                  <a:lnTo>
                    <a:pt x="1464" y="2220"/>
                  </a:lnTo>
                  <a:lnTo>
                    <a:pt x="1548" y="2256"/>
                  </a:lnTo>
                  <a:lnTo>
                    <a:pt x="1632" y="2292"/>
                  </a:lnTo>
                  <a:lnTo>
                    <a:pt x="1668" y="2388"/>
                  </a:lnTo>
                  <a:lnTo>
                    <a:pt x="1704" y="2520"/>
                  </a:lnTo>
                  <a:lnTo>
                    <a:pt x="1740" y="2592"/>
                  </a:lnTo>
                  <a:lnTo>
                    <a:pt x="1800" y="2520"/>
                  </a:lnTo>
                  <a:lnTo>
                    <a:pt x="1884" y="2412"/>
                  </a:lnTo>
                  <a:lnTo>
                    <a:pt x="1980" y="2376"/>
                  </a:lnTo>
                  <a:lnTo>
                    <a:pt x="1980" y="2220"/>
                  </a:lnTo>
                  <a:lnTo>
                    <a:pt x="1908" y="2148"/>
                  </a:lnTo>
                  <a:lnTo>
                    <a:pt x="1920" y="2028"/>
                  </a:lnTo>
                  <a:lnTo>
                    <a:pt x="1896" y="1956"/>
                  </a:lnTo>
                  <a:lnTo>
                    <a:pt x="1824" y="1824"/>
                  </a:lnTo>
                  <a:lnTo>
                    <a:pt x="1740" y="1740"/>
                  </a:lnTo>
                  <a:lnTo>
                    <a:pt x="1692" y="1656"/>
                  </a:lnTo>
                  <a:lnTo>
                    <a:pt x="1680" y="1512"/>
                  </a:lnTo>
                  <a:lnTo>
                    <a:pt x="1596" y="1428"/>
                  </a:lnTo>
                  <a:lnTo>
                    <a:pt x="1536" y="1332"/>
                  </a:lnTo>
                  <a:lnTo>
                    <a:pt x="1524" y="1236"/>
                  </a:lnTo>
                  <a:lnTo>
                    <a:pt x="1452" y="1200"/>
                  </a:lnTo>
                  <a:lnTo>
                    <a:pt x="1391" y="1236"/>
                  </a:lnTo>
                  <a:lnTo>
                    <a:pt x="1295" y="1260"/>
                  </a:lnTo>
                  <a:lnTo>
                    <a:pt x="1272" y="1406"/>
                  </a:lnTo>
                  <a:lnTo>
                    <a:pt x="1140" y="1392"/>
                  </a:lnTo>
                  <a:lnTo>
                    <a:pt x="999" y="1428"/>
                  </a:lnTo>
                  <a:lnTo>
                    <a:pt x="900" y="1380"/>
                  </a:lnTo>
                  <a:lnTo>
                    <a:pt x="804" y="1404"/>
                  </a:lnTo>
                  <a:lnTo>
                    <a:pt x="672" y="1428"/>
                  </a:lnTo>
                  <a:lnTo>
                    <a:pt x="552" y="1380"/>
                  </a:lnTo>
                  <a:lnTo>
                    <a:pt x="468" y="1428"/>
                  </a:lnTo>
                  <a:lnTo>
                    <a:pt x="360" y="1500"/>
                  </a:lnTo>
                  <a:lnTo>
                    <a:pt x="276" y="1548"/>
                  </a:lnTo>
                  <a:lnTo>
                    <a:pt x="180" y="1572"/>
                  </a:lnTo>
                  <a:lnTo>
                    <a:pt x="120" y="1524"/>
                  </a:lnTo>
                  <a:lnTo>
                    <a:pt x="216" y="1464"/>
                  </a:lnTo>
                  <a:lnTo>
                    <a:pt x="144" y="1416"/>
                  </a:lnTo>
                  <a:lnTo>
                    <a:pt x="56" y="1428"/>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6" name="Freeform 7">
              <a:extLst>
                <a:ext uri="{FF2B5EF4-FFF2-40B4-BE49-F238E27FC236}">
                  <a16:creationId xmlns:a16="http://schemas.microsoft.com/office/drawing/2014/main" id="{8CA3BC30-A5DD-4316-BE1C-C175367E9DF4}"/>
                </a:ext>
              </a:extLst>
            </p:cNvPr>
            <p:cNvSpPr>
              <a:spLocks/>
            </p:cNvSpPr>
            <p:nvPr/>
          </p:nvSpPr>
          <p:spPr bwMode="auto">
            <a:xfrm>
              <a:off x="3500153" y="2977188"/>
              <a:ext cx="81685" cy="54926"/>
            </a:xfrm>
            <a:custGeom>
              <a:avLst/>
              <a:gdLst>
                <a:gd name="T0" fmla="*/ 32 w 288"/>
                <a:gd name="T1" fmla="*/ 16 h 192"/>
                <a:gd name="T2" fmla="*/ 0 w 288"/>
                <a:gd name="T3" fmla="*/ 112 h 192"/>
                <a:gd name="T4" fmla="*/ 48 w 288"/>
                <a:gd name="T5" fmla="*/ 160 h 192"/>
                <a:gd name="T6" fmla="*/ 144 w 288"/>
                <a:gd name="T7" fmla="*/ 168 h 192"/>
                <a:gd name="T8" fmla="*/ 208 w 288"/>
                <a:gd name="T9" fmla="*/ 192 h 192"/>
                <a:gd name="T10" fmla="*/ 200 w 288"/>
                <a:gd name="T11" fmla="*/ 136 h 192"/>
                <a:gd name="T12" fmla="*/ 288 w 288"/>
                <a:gd name="T13" fmla="*/ 80 h 192"/>
                <a:gd name="T14" fmla="*/ 248 w 288"/>
                <a:gd name="T15" fmla="*/ 24 h 192"/>
                <a:gd name="T16" fmla="*/ 176 w 288"/>
                <a:gd name="T17" fmla="*/ 32 h 192"/>
                <a:gd name="T18" fmla="*/ 112 w 288"/>
                <a:gd name="T19" fmla="*/ 0 h 192"/>
                <a:gd name="T20" fmla="*/ 32 w 288"/>
                <a:gd name="T2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192">
                  <a:moveTo>
                    <a:pt x="32" y="16"/>
                  </a:moveTo>
                  <a:lnTo>
                    <a:pt x="0" y="112"/>
                  </a:lnTo>
                  <a:lnTo>
                    <a:pt x="48" y="160"/>
                  </a:lnTo>
                  <a:lnTo>
                    <a:pt x="144" y="168"/>
                  </a:lnTo>
                  <a:lnTo>
                    <a:pt x="208" y="192"/>
                  </a:lnTo>
                  <a:lnTo>
                    <a:pt x="200" y="136"/>
                  </a:lnTo>
                  <a:lnTo>
                    <a:pt x="288" y="80"/>
                  </a:lnTo>
                  <a:lnTo>
                    <a:pt x="248" y="24"/>
                  </a:lnTo>
                  <a:lnTo>
                    <a:pt x="176" y="32"/>
                  </a:lnTo>
                  <a:lnTo>
                    <a:pt x="112" y="0"/>
                  </a:lnTo>
                  <a:lnTo>
                    <a:pt x="32" y="16"/>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7" name="Freeform 8">
              <a:extLst>
                <a:ext uri="{FF2B5EF4-FFF2-40B4-BE49-F238E27FC236}">
                  <a16:creationId xmlns:a16="http://schemas.microsoft.com/office/drawing/2014/main" id="{8C059C3C-9636-4A59-9A7E-97925F89D4A6}"/>
                </a:ext>
              </a:extLst>
            </p:cNvPr>
            <p:cNvSpPr>
              <a:spLocks/>
            </p:cNvSpPr>
            <p:nvPr/>
          </p:nvSpPr>
          <p:spPr bwMode="auto">
            <a:xfrm>
              <a:off x="4163488" y="2958880"/>
              <a:ext cx="69010" cy="71827"/>
            </a:xfrm>
            <a:custGeom>
              <a:avLst/>
              <a:gdLst>
                <a:gd name="T0" fmla="*/ 33 w 244"/>
                <a:gd name="T1" fmla="*/ 24 h 254"/>
                <a:gd name="T2" fmla="*/ 0 w 244"/>
                <a:gd name="T3" fmla="*/ 91 h 254"/>
                <a:gd name="T4" fmla="*/ 9 w 244"/>
                <a:gd name="T5" fmla="*/ 153 h 254"/>
                <a:gd name="T6" fmla="*/ 52 w 244"/>
                <a:gd name="T7" fmla="*/ 206 h 254"/>
                <a:gd name="T8" fmla="*/ 105 w 244"/>
                <a:gd name="T9" fmla="*/ 249 h 254"/>
                <a:gd name="T10" fmla="*/ 148 w 244"/>
                <a:gd name="T11" fmla="*/ 254 h 254"/>
                <a:gd name="T12" fmla="*/ 177 w 244"/>
                <a:gd name="T13" fmla="*/ 225 h 254"/>
                <a:gd name="T14" fmla="*/ 196 w 244"/>
                <a:gd name="T15" fmla="*/ 168 h 254"/>
                <a:gd name="T16" fmla="*/ 244 w 244"/>
                <a:gd name="T17" fmla="*/ 125 h 254"/>
                <a:gd name="T18" fmla="*/ 216 w 244"/>
                <a:gd name="T19" fmla="*/ 57 h 254"/>
                <a:gd name="T20" fmla="*/ 192 w 244"/>
                <a:gd name="T21" fmla="*/ 0 h 254"/>
                <a:gd name="T22" fmla="*/ 110 w 244"/>
                <a:gd name="T23" fmla="*/ 14 h 254"/>
                <a:gd name="T24" fmla="*/ 33 w 244"/>
                <a:gd name="T25" fmla="*/ 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4">
                  <a:moveTo>
                    <a:pt x="33" y="24"/>
                  </a:moveTo>
                  <a:lnTo>
                    <a:pt x="0" y="91"/>
                  </a:lnTo>
                  <a:lnTo>
                    <a:pt x="9" y="153"/>
                  </a:lnTo>
                  <a:lnTo>
                    <a:pt x="52" y="206"/>
                  </a:lnTo>
                  <a:lnTo>
                    <a:pt x="105" y="249"/>
                  </a:lnTo>
                  <a:lnTo>
                    <a:pt x="148" y="254"/>
                  </a:lnTo>
                  <a:lnTo>
                    <a:pt x="177" y="225"/>
                  </a:lnTo>
                  <a:lnTo>
                    <a:pt x="196" y="168"/>
                  </a:lnTo>
                  <a:lnTo>
                    <a:pt x="244" y="125"/>
                  </a:lnTo>
                  <a:lnTo>
                    <a:pt x="216" y="57"/>
                  </a:lnTo>
                  <a:lnTo>
                    <a:pt x="192" y="0"/>
                  </a:lnTo>
                  <a:lnTo>
                    <a:pt x="110" y="14"/>
                  </a:lnTo>
                  <a:lnTo>
                    <a:pt x="33" y="24"/>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8" name="Freeform 9">
              <a:extLst>
                <a:ext uri="{FF2B5EF4-FFF2-40B4-BE49-F238E27FC236}">
                  <a16:creationId xmlns:a16="http://schemas.microsoft.com/office/drawing/2014/main" id="{0970ED25-01AD-430F-98C9-C6F5501D55E7}"/>
                </a:ext>
              </a:extLst>
            </p:cNvPr>
            <p:cNvSpPr>
              <a:spLocks/>
            </p:cNvSpPr>
            <p:nvPr/>
          </p:nvSpPr>
          <p:spPr bwMode="auto">
            <a:xfrm>
              <a:off x="5014135" y="2888462"/>
              <a:ext cx="54926" cy="45067"/>
            </a:xfrm>
            <a:custGeom>
              <a:avLst/>
              <a:gdLst>
                <a:gd name="T0" fmla="*/ 67 w 197"/>
                <a:gd name="T1" fmla="*/ 0 h 159"/>
                <a:gd name="T2" fmla="*/ 5 w 197"/>
                <a:gd name="T3" fmla="*/ 63 h 159"/>
                <a:gd name="T4" fmla="*/ 0 w 197"/>
                <a:gd name="T5" fmla="*/ 130 h 159"/>
                <a:gd name="T6" fmla="*/ 48 w 197"/>
                <a:gd name="T7" fmla="*/ 144 h 159"/>
                <a:gd name="T8" fmla="*/ 110 w 197"/>
                <a:gd name="T9" fmla="*/ 159 h 159"/>
                <a:gd name="T10" fmla="*/ 182 w 197"/>
                <a:gd name="T11" fmla="*/ 159 h 159"/>
                <a:gd name="T12" fmla="*/ 197 w 197"/>
                <a:gd name="T13" fmla="*/ 10 h 159"/>
                <a:gd name="T14" fmla="*/ 144 w 197"/>
                <a:gd name="T15" fmla="*/ 15 h 159"/>
                <a:gd name="T16" fmla="*/ 67 w 197"/>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59">
                  <a:moveTo>
                    <a:pt x="67" y="0"/>
                  </a:moveTo>
                  <a:lnTo>
                    <a:pt x="5" y="63"/>
                  </a:lnTo>
                  <a:lnTo>
                    <a:pt x="0" y="130"/>
                  </a:lnTo>
                  <a:lnTo>
                    <a:pt x="48" y="144"/>
                  </a:lnTo>
                  <a:lnTo>
                    <a:pt x="110" y="159"/>
                  </a:lnTo>
                  <a:lnTo>
                    <a:pt x="182" y="159"/>
                  </a:lnTo>
                  <a:lnTo>
                    <a:pt x="197" y="10"/>
                  </a:lnTo>
                  <a:lnTo>
                    <a:pt x="144" y="15"/>
                  </a:lnTo>
                  <a:lnTo>
                    <a:pt x="67"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9" name="Freeform 10">
              <a:extLst>
                <a:ext uri="{FF2B5EF4-FFF2-40B4-BE49-F238E27FC236}">
                  <a16:creationId xmlns:a16="http://schemas.microsoft.com/office/drawing/2014/main" id="{2797C3FC-2B17-4515-9405-13BB5BA8F2E0}"/>
                </a:ext>
              </a:extLst>
            </p:cNvPr>
            <p:cNvSpPr>
              <a:spLocks/>
            </p:cNvSpPr>
            <p:nvPr/>
          </p:nvSpPr>
          <p:spPr bwMode="auto">
            <a:xfrm>
              <a:off x="3590288" y="2850436"/>
              <a:ext cx="36617" cy="43659"/>
            </a:xfrm>
            <a:custGeom>
              <a:avLst/>
              <a:gdLst>
                <a:gd name="T0" fmla="*/ 72 w 130"/>
                <a:gd name="T1" fmla="*/ 0 h 153"/>
                <a:gd name="T2" fmla="*/ 24 w 130"/>
                <a:gd name="T3" fmla="*/ 14 h 153"/>
                <a:gd name="T4" fmla="*/ 0 w 130"/>
                <a:gd name="T5" fmla="*/ 101 h 153"/>
                <a:gd name="T6" fmla="*/ 24 w 130"/>
                <a:gd name="T7" fmla="*/ 153 h 153"/>
                <a:gd name="T8" fmla="*/ 87 w 130"/>
                <a:gd name="T9" fmla="*/ 153 h 153"/>
                <a:gd name="T10" fmla="*/ 87 w 130"/>
                <a:gd name="T11" fmla="*/ 105 h 153"/>
                <a:gd name="T12" fmla="*/ 116 w 130"/>
                <a:gd name="T13" fmla="*/ 77 h 153"/>
                <a:gd name="T14" fmla="*/ 130 w 130"/>
                <a:gd name="T15" fmla="*/ 38 h 153"/>
                <a:gd name="T16" fmla="*/ 111 w 130"/>
                <a:gd name="T17" fmla="*/ 19 h 153"/>
                <a:gd name="T18" fmla="*/ 72 w 130"/>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3">
                  <a:moveTo>
                    <a:pt x="72" y="0"/>
                  </a:moveTo>
                  <a:lnTo>
                    <a:pt x="24" y="14"/>
                  </a:lnTo>
                  <a:lnTo>
                    <a:pt x="0" y="101"/>
                  </a:lnTo>
                  <a:lnTo>
                    <a:pt x="24" y="153"/>
                  </a:lnTo>
                  <a:lnTo>
                    <a:pt x="87" y="153"/>
                  </a:lnTo>
                  <a:lnTo>
                    <a:pt x="87" y="105"/>
                  </a:lnTo>
                  <a:lnTo>
                    <a:pt x="116" y="77"/>
                  </a:lnTo>
                  <a:lnTo>
                    <a:pt x="130" y="38"/>
                  </a:lnTo>
                  <a:lnTo>
                    <a:pt x="111" y="19"/>
                  </a:lnTo>
                  <a:lnTo>
                    <a:pt x="72"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0" name="Freeform 11">
              <a:extLst>
                <a:ext uri="{FF2B5EF4-FFF2-40B4-BE49-F238E27FC236}">
                  <a16:creationId xmlns:a16="http://schemas.microsoft.com/office/drawing/2014/main" id="{3772BADA-3ED4-45D3-896D-5F127B64342B}"/>
                </a:ext>
              </a:extLst>
            </p:cNvPr>
            <p:cNvSpPr>
              <a:spLocks/>
            </p:cNvSpPr>
            <p:nvPr/>
          </p:nvSpPr>
          <p:spPr bwMode="auto">
            <a:xfrm>
              <a:off x="3305800" y="1808253"/>
              <a:ext cx="1250620" cy="1230903"/>
            </a:xfrm>
            <a:custGeom>
              <a:avLst/>
              <a:gdLst>
                <a:gd name="T0" fmla="*/ 852 w 4440"/>
                <a:gd name="T1" fmla="*/ 732 h 4368"/>
                <a:gd name="T2" fmla="*/ 396 w 4440"/>
                <a:gd name="T3" fmla="*/ 924 h 4368"/>
                <a:gd name="T4" fmla="*/ 216 w 4440"/>
                <a:gd name="T5" fmla="*/ 1692 h 4368"/>
                <a:gd name="T6" fmla="*/ 468 w 4440"/>
                <a:gd name="T7" fmla="*/ 1476 h 4368"/>
                <a:gd name="T8" fmla="*/ 708 w 4440"/>
                <a:gd name="T9" fmla="*/ 1608 h 4368"/>
                <a:gd name="T10" fmla="*/ 996 w 4440"/>
                <a:gd name="T11" fmla="*/ 1668 h 4368"/>
                <a:gd name="T12" fmla="*/ 1116 w 4440"/>
                <a:gd name="T13" fmla="*/ 2004 h 4368"/>
                <a:gd name="T14" fmla="*/ 1164 w 4440"/>
                <a:gd name="T15" fmla="*/ 2328 h 4368"/>
                <a:gd name="T16" fmla="*/ 912 w 4440"/>
                <a:gd name="T17" fmla="*/ 2568 h 4368"/>
                <a:gd name="T18" fmla="*/ 1008 w 4440"/>
                <a:gd name="T19" fmla="*/ 2820 h 4368"/>
                <a:gd name="T20" fmla="*/ 1344 w 4440"/>
                <a:gd name="T21" fmla="*/ 2976 h 4368"/>
                <a:gd name="T22" fmla="*/ 1730 w 4440"/>
                <a:gd name="T23" fmla="*/ 3111 h 4368"/>
                <a:gd name="T24" fmla="*/ 2022 w 4440"/>
                <a:gd name="T25" fmla="*/ 3275 h 4368"/>
                <a:gd name="T26" fmla="*/ 2376 w 4440"/>
                <a:gd name="T27" fmla="*/ 3384 h 4368"/>
                <a:gd name="T28" fmla="*/ 2837 w 4440"/>
                <a:gd name="T29" fmla="*/ 3147 h 4368"/>
                <a:gd name="T30" fmla="*/ 3131 w 4440"/>
                <a:gd name="T31" fmla="*/ 2952 h 4368"/>
                <a:gd name="T32" fmla="*/ 3155 w 4440"/>
                <a:gd name="T33" fmla="*/ 3206 h 4368"/>
                <a:gd name="T34" fmla="*/ 3230 w 4440"/>
                <a:gd name="T35" fmla="*/ 3492 h 4368"/>
                <a:gd name="T36" fmla="*/ 3408 w 4440"/>
                <a:gd name="T37" fmla="*/ 3659 h 4368"/>
                <a:gd name="T38" fmla="*/ 3683 w 4440"/>
                <a:gd name="T39" fmla="*/ 3503 h 4368"/>
                <a:gd name="T40" fmla="*/ 3708 w 4440"/>
                <a:gd name="T41" fmla="*/ 3770 h 4368"/>
                <a:gd name="T42" fmla="*/ 3588 w 4440"/>
                <a:gd name="T43" fmla="*/ 3923 h 4368"/>
                <a:gd name="T44" fmla="*/ 3638 w 4440"/>
                <a:gd name="T45" fmla="*/ 4122 h 4368"/>
                <a:gd name="T46" fmla="*/ 3755 w 4440"/>
                <a:gd name="T47" fmla="*/ 4322 h 4368"/>
                <a:gd name="T48" fmla="*/ 4032 w 4440"/>
                <a:gd name="T49" fmla="*/ 4284 h 4368"/>
                <a:gd name="T50" fmla="*/ 4068 w 4440"/>
                <a:gd name="T51" fmla="*/ 3828 h 4368"/>
                <a:gd name="T52" fmla="*/ 4140 w 4440"/>
                <a:gd name="T53" fmla="*/ 3492 h 4368"/>
                <a:gd name="T54" fmla="*/ 4320 w 4440"/>
                <a:gd name="T55" fmla="*/ 3312 h 4368"/>
                <a:gd name="T56" fmla="*/ 4368 w 4440"/>
                <a:gd name="T57" fmla="*/ 3156 h 4368"/>
                <a:gd name="T58" fmla="*/ 4404 w 4440"/>
                <a:gd name="T59" fmla="*/ 2688 h 4368"/>
                <a:gd name="T60" fmla="*/ 4368 w 4440"/>
                <a:gd name="T61" fmla="*/ 2436 h 4368"/>
                <a:gd name="T62" fmla="*/ 4320 w 4440"/>
                <a:gd name="T63" fmla="*/ 2088 h 4368"/>
                <a:gd name="T64" fmla="*/ 4128 w 4440"/>
                <a:gd name="T65" fmla="*/ 1752 h 4368"/>
                <a:gd name="T66" fmla="*/ 4068 w 4440"/>
                <a:gd name="T67" fmla="*/ 1344 h 4368"/>
                <a:gd name="T68" fmla="*/ 3780 w 4440"/>
                <a:gd name="T69" fmla="*/ 1200 h 4368"/>
                <a:gd name="T70" fmla="*/ 3576 w 4440"/>
                <a:gd name="T71" fmla="*/ 1044 h 4368"/>
                <a:gd name="T72" fmla="*/ 3624 w 4440"/>
                <a:gd name="T73" fmla="*/ 780 h 4368"/>
                <a:gd name="T74" fmla="*/ 3420 w 4440"/>
                <a:gd name="T75" fmla="*/ 624 h 4368"/>
                <a:gd name="T76" fmla="*/ 3336 w 4440"/>
                <a:gd name="T77" fmla="*/ 408 h 4368"/>
                <a:gd name="T78" fmla="*/ 3108 w 4440"/>
                <a:gd name="T79" fmla="*/ 228 h 4368"/>
                <a:gd name="T80" fmla="*/ 2856 w 4440"/>
                <a:gd name="T81" fmla="*/ 108 h 4368"/>
                <a:gd name="T82" fmla="*/ 2424 w 4440"/>
                <a:gd name="T83" fmla="*/ 168 h 4368"/>
                <a:gd name="T84" fmla="*/ 2196 w 4440"/>
                <a:gd name="T85" fmla="*/ 240 h 4368"/>
                <a:gd name="T86" fmla="*/ 1740 w 4440"/>
                <a:gd name="T87" fmla="*/ 228 h 4368"/>
                <a:gd name="T88" fmla="*/ 1332 w 4440"/>
                <a:gd name="T89" fmla="*/ 120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40" h="4368">
                  <a:moveTo>
                    <a:pt x="1092" y="0"/>
                  </a:moveTo>
                  <a:lnTo>
                    <a:pt x="840" y="552"/>
                  </a:lnTo>
                  <a:lnTo>
                    <a:pt x="852" y="732"/>
                  </a:lnTo>
                  <a:lnTo>
                    <a:pt x="840" y="876"/>
                  </a:lnTo>
                  <a:lnTo>
                    <a:pt x="648" y="900"/>
                  </a:lnTo>
                  <a:lnTo>
                    <a:pt x="396" y="924"/>
                  </a:lnTo>
                  <a:lnTo>
                    <a:pt x="0" y="1575"/>
                  </a:lnTo>
                  <a:lnTo>
                    <a:pt x="96" y="1656"/>
                  </a:lnTo>
                  <a:lnTo>
                    <a:pt x="216" y="1692"/>
                  </a:lnTo>
                  <a:lnTo>
                    <a:pt x="324" y="1620"/>
                  </a:lnTo>
                  <a:lnTo>
                    <a:pt x="420" y="1560"/>
                  </a:lnTo>
                  <a:lnTo>
                    <a:pt x="468" y="1476"/>
                  </a:lnTo>
                  <a:lnTo>
                    <a:pt x="552" y="1476"/>
                  </a:lnTo>
                  <a:lnTo>
                    <a:pt x="648" y="1500"/>
                  </a:lnTo>
                  <a:lnTo>
                    <a:pt x="708" y="1608"/>
                  </a:lnTo>
                  <a:lnTo>
                    <a:pt x="792" y="1704"/>
                  </a:lnTo>
                  <a:lnTo>
                    <a:pt x="816" y="1764"/>
                  </a:lnTo>
                  <a:lnTo>
                    <a:pt x="996" y="1668"/>
                  </a:lnTo>
                  <a:lnTo>
                    <a:pt x="996" y="1800"/>
                  </a:lnTo>
                  <a:lnTo>
                    <a:pt x="1032" y="1908"/>
                  </a:lnTo>
                  <a:lnTo>
                    <a:pt x="1116" y="2004"/>
                  </a:lnTo>
                  <a:lnTo>
                    <a:pt x="1188" y="2100"/>
                  </a:lnTo>
                  <a:lnTo>
                    <a:pt x="1092" y="2220"/>
                  </a:lnTo>
                  <a:lnTo>
                    <a:pt x="1164" y="2328"/>
                  </a:lnTo>
                  <a:lnTo>
                    <a:pt x="1080" y="2364"/>
                  </a:lnTo>
                  <a:lnTo>
                    <a:pt x="1020" y="2448"/>
                  </a:lnTo>
                  <a:lnTo>
                    <a:pt x="912" y="2568"/>
                  </a:lnTo>
                  <a:lnTo>
                    <a:pt x="1020" y="2640"/>
                  </a:lnTo>
                  <a:lnTo>
                    <a:pt x="960" y="2772"/>
                  </a:lnTo>
                  <a:lnTo>
                    <a:pt x="1008" y="2820"/>
                  </a:lnTo>
                  <a:lnTo>
                    <a:pt x="1104" y="2880"/>
                  </a:lnTo>
                  <a:lnTo>
                    <a:pt x="1164" y="2976"/>
                  </a:lnTo>
                  <a:lnTo>
                    <a:pt x="1344" y="2976"/>
                  </a:lnTo>
                  <a:lnTo>
                    <a:pt x="1572" y="3000"/>
                  </a:lnTo>
                  <a:lnTo>
                    <a:pt x="1671" y="3041"/>
                  </a:lnTo>
                  <a:lnTo>
                    <a:pt x="1730" y="3111"/>
                  </a:lnTo>
                  <a:lnTo>
                    <a:pt x="1748" y="3203"/>
                  </a:lnTo>
                  <a:lnTo>
                    <a:pt x="1856" y="3257"/>
                  </a:lnTo>
                  <a:lnTo>
                    <a:pt x="2022" y="3275"/>
                  </a:lnTo>
                  <a:lnTo>
                    <a:pt x="2123" y="3366"/>
                  </a:lnTo>
                  <a:lnTo>
                    <a:pt x="2243" y="3422"/>
                  </a:lnTo>
                  <a:lnTo>
                    <a:pt x="2376" y="3384"/>
                  </a:lnTo>
                  <a:lnTo>
                    <a:pt x="2514" y="3311"/>
                  </a:lnTo>
                  <a:lnTo>
                    <a:pt x="2693" y="3204"/>
                  </a:lnTo>
                  <a:lnTo>
                    <a:pt x="2837" y="3147"/>
                  </a:lnTo>
                  <a:lnTo>
                    <a:pt x="2889" y="3032"/>
                  </a:lnTo>
                  <a:lnTo>
                    <a:pt x="2916" y="2930"/>
                  </a:lnTo>
                  <a:lnTo>
                    <a:pt x="3131" y="2952"/>
                  </a:lnTo>
                  <a:lnTo>
                    <a:pt x="3240" y="3000"/>
                  </a:lnTo>
                  <a:lnTo>
                    <a:pt x="3216" y="3132"/>
                  </a:lnTo>
                  <a:lnTo>
                    <a:pt x="3155" y="3206"/>
                  </a:lnTo>
                  <a:lnTo>
                    <a:pt x="3059" y="3230"/>
                  </a:lnTo>
                  <a:lnTo>
                    <a:pt x="3165" y="3344"/>
                  </a:lnTo>
                  <a:lnTo>
                    <a:pt x="3230" y="3492"/>
                  </a:lnTo>
                  <a:lnTo>
                    <a:pt x="3314" y="3528"/>
                  </a:lnTo>
                  <a:lnTo>
                    <a:pt x="3407" y="3552"/>
                  </a:lnTo>
                  <a:lnTo>
                    <a:pt x="3408" y="3659"/>
                  </a:lnTo>
                  <a:lnTo>
                    <a:pt x="3494" y="3636"/>
                  </a:lnTo>
                  <a:lnTo>
                    <a:pt x="3585" y="3528"/>
                  </a:lnTo>
                  <a:lnTo>
                    <a:pt x="3683" y="3503"/>
                  </a:lnTo>
                  <a:lnTo>
                    <a:pt x="3684" y="3636"/>
                  </a:lnTo>
                  <a:lnTo>
                    <a:pt x="3624" y="3780"/>
                  </a:lnTo>
                  <a:lnTo>
                    <a:pt x="3708" y="3770"/>
                  </a:lnTo>
                  <a:lnTo>
                    <a:pt x="3777" y="3839"/>
                  </a:lnTo>
                  <a:lnTo>
                    <a:pt x="3690" y="3890"/>
                  </a:lnTo>
                  <a:lnTo>
                    <a:pt x="3588" y="3923"/>
                  </a:lnTo>
                  <a:lnTo>
                    <a:pt x="3587" y="3998"/>
                  </a:lnTo>
                  <a:lnTo>
                    <a:pt x="3684" y="4046"/>
                  </a:lnTo>
                  <a:lnTo>
                    <a:pt x="3638" y="4122"/>
                  </a:lnTo>
                  <a:lnTo>
                    <a:pt x="3588" y="4259"/>
                  </a:lnTo>
                  <a:lnTo>
                    <a:pt x="3648" y="4368"/>
                  </a:lnTo>
                  <a:lnTo>
                    <a:pt x="3755" y="4322"/>
                  </a:lnTo>
                  <a:lnTo>
                    <a:pt x="3830" y="4367"/>
                  </a:lnTo>
                  <a:lnTo>
                    <a:pt x="3938" y="4308"/>
                  </a:lnTo>
                  <a:lnTo>
                    <a:pt x="4032" y="4284"/>
                  </a:lnTo>
                  <a:lnTo>
                    <a:pt x="4056" y="4080"/>
                  </a:lnTo>
                  <a:lnTo>
                    <a:pt x="4152" y="3924"/>
                  </a:lnTo>
                  <a:lnTo>
                    <a:pt x="4068" y="3828"/>
                  </a:lnTo>
                  <a:lnTo>
                    <a:pt x="4164" y="3756"/>
                  </a:lnTo>
                  <a:lnTo>
                    <a:pt x="4152" y="3624"/>
                  </a:lnTo>
                  <a:lnTo>
                    <a:pt x="4140" y="3492"/>
                  </a:lnTo>
                  <a:lnTo>
                    <a:pt x="4272" y="3528"/>
                  </a:lnTo>
                  <a:lnTo>
                    <a:pt x="4284" y="3432"/>
                  </a:lnTo>
                  <a:lnTo>
                    <a:pt x="4320" y="3312"/>
                  </a:lnTo>
                  <a:lnTo>
                    <a:pt x="4248" y="3288"/>
                  </a:lnTo>
                  <a:lnTo>
                    <a:pt x="4248" y="3192"/>
                  </a:lnTo>
                  <a:lnTo>
                    <a:pt x="4368" y="3156"/>
                  </a:lnTo>
                  <a:lnTo>
                    <a:pt x="4368" y="2940"/>
                  </a:lnTo>
                  <a:lnTo>
                    <a:pt x="4392" y="2808"/>
                  </a:lnTo>
                  <a:lnTo>
                    <a:pt x="4404" y="2688"/>
                  </a:lnTo>
                  <a:lnTo>
                    <a:pt x="4320" y="2580"/>
                  </a:lnTo>
                  <a:lnTo>
                    <a:pt x="4380" y="2520"/>
                  </a:lnTo>
                  <a:lnTo>
                    <a:pt x="4368" y="2436"/>
                  </a:lnTo>
                  <a:lnTo>
                    <a:pt x="4440" y="2316"/>
                  </a:lnTo>
                  <a:lnTo>
                    <a:pt x="4392" y="2196"/>
                  </a:lnTo>
                  <a:lnTo>
                    <a:pt x="4320" y="2088"/>
                  </a:lnTo>
                  <a:lnTo>
                    <a:pt x="4284" y="1956"/>
                  </a:lnTo>
                  <a:lnTo>
                    <a:pt x="4224" y="1812"/>
                  </a:lnTo>
                  <a:lnTo>
                    <a:pt x="4128" y="1752"/>
                  </a:lnTo>
                  <a:lnTo>
                    <a:pt x="4140" y="1596"/>
                  </a:lnTo>
                  <a:lnTo>
                    <a:pt x="4080" y="1500"/>
                  </a:lnTo>
                  <a:lnTo>
                    <a:pt x="4068" y="1344"/>
                  </a:lnTo>
                  <a:lnTo>
                    <a:pt x="4044" y="1224"/>
                  </a:lnTo>
                  <a:lnTo>
                    <a:pt x="3864" y="1260"/>
                  </a:lnTo>
                  <a:lnTo>
                    <a:pt x="3780" y="1200"/>
                  </a:lnTo>
                  <a:lnTo>
                    <a:pt x="3624" y="1236"/>
                  </a:lnTo>
                  <a:lnTo>
                    <a:pt x="3564" y="1164"/>
                  </a:lnTo>
                  <a:lnTo>
                    <a:pt x="3576" y="1044"/>
                  </a:lnTo>
                  <a:lnTo>
                    <a:pt x="3516" y="948"/>
                  </a:lnTo>
                  <a:lnTo>
                    <a:pt x="3624" y="888"/>
                  </a:lnTo>
                  <a:lnTo>
                    <a:pt x="3624" y="780"/>
                  </a:lnTo>
                  <a:lnTo>
                    <a:pt x="3588" y="684"/>
                  </a:lnTo>
                  <a:lnTo>
                    <a:pt x="3492" y="576"/>
                  </a:lnTo>
                  <a:lnTo>
                    <a:pt x="3420" y="624"/>
                  </a:lnTo>
                  <a:lnTo>
                    <a:pt x="3360" y="576"/>
                  </a:lnTo>
                  <a:lnTo>
                    <a:pt x="3384" y="492"/>
                  </a:lnTo>
                  <a:lnTo>
                    <a:pt x="3336" y="408"/>
                  </a:lnTo>
                  <a:lnTo>
                    <a:pt x="3228" y="396"/>
                  </a:lnTo>
                  <a:lnTo>
                    <a:pt x="3132" y="408"/>
                  </a:lnTo>
                  <a:lnTo>
                    <a:pt x="3108" y="228"/>
                  </a:lnTo>
                  <a:lnTo>
                    <a:pt x="3036" y="180"/>
                  </a:lnTo>
                  <a:lnTo>
                    <a:pt x="2916" y="216"/>
                  </a:lnTo>
                  <a:lnTo>
                    <a:pt x="2856" y="108"/>
                  </a:lnTo>
                  <a:lnTo>
                    <a:pt x="2724" y="168"/>
                  </a:lnTo>
                  <a:lnTo>
                    <a:pt x="2580" y="204"/>
                  </a:lnTo>
                  <a:lnTo>
                    <a:pt x="2424" y="168"/>
                  </a:lnTo>
                  <a:lnTo>
                    <a:pt x="2292" y="84"/>
                  </a:lnTo>
                  <a:lnTo>
                    <a:pt x="2220" y="120"/>
                  </a:lnTo>
                  <a:lnTo>
                    <a:pt x="2196" y="240"/>
                  </a:lnTo>
                  <a:lnTo>
                    <a:pt x="2040" y="276"/>
                  </a:lnTo>
                  <a:lnTo>
                    <a:pt x="1908" y="300"/>
                  </a:lnTo>
                  <a:lnTo>
                    <a:pt x="1740" y="228"/>
                  </a:lnTo>
                  <a:lnTo>
                    <a:pt x="1608" y="276"/>
                  </a:lnTo>
                  <a:lnTo>
                    <a:pt x="1452" y="252"/>
                  </a:lnTo>
                  <a:lnTo>
                    <a:pt x="1332" y="120"/>
                  </a:lnTo>
                  <a:lnTo>
                    <a:pt x="1200" y="120"/>
                  </a:lnTo>
                  <a:lnTo>
                    <a:pt x="1092" y="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1" name="Freeform 12">
              <a:extLst>
                <a:ext uri="{FF2B5EF4-FFF2-40B4-BE49-F238E27FC236}">
                  <a16:creationId xmlns:a16="http://schemas.microsoft.com/office/drawing/2014/main" id="{06AA184C-4A02-4814-88D3-572C5B815E62}"/>
                </a:ext>
              </a:extLst>
            </p:cNvPr>
            <p:cNvSpPr>
              <a:spLocks/>
            </p:cNvSpPr>
            <p:nvPr/>
          </p:nvSpPr>
          <p:spPr bwMode="auto">
            <a:xfrm>
              <a:off x="3612821" y="1520949"/>
              <a:ext cx="881631" cy="642210"/>
            </a:xfrm>
            <a:custGeom>
              <a:avLst/>
              <a:gdLst>
                <a:gd name="T0" fmla="*/ 60 w 3132"/>
                <a:gd name="T1" fmla="*/ 888 h 2280"/>
                <a:gd name="T2" fmla="*/ 131 w 3132"/>
                <a:gd name="T3" fmla="*/ 441 h 2280"/>
                <a:gd name="T4" fmla="*/ 492 w 3132"/>
                <a:gd name="T5" fmla="*/ 552 h 2280"/>
                <a:gd name="T6" fmla="*/ 648 w 3132"/>
                <a:gd name="T7" fmla="*/ 384 h 2280"/>
                <a:gd name="T8" fmla="*/ 912 w 3132"/>
                <a:gd name="T9" fmla="*/ 336 h 2280"/>
                <a:gd name="T10" fmla="*/ 1308 w 3132"/>
                <a:gd name="T11" fmla="*/ 0 h 2280"/>
                <a:gd name="T12" fmla="*/ 1596 w 3132"/>
                <a:gd name="T13" fmla="*/ 132 h 2280"/>
                <a:gd name="T14" fmla="*/ 1788 w 3132"/>
                <a:gd name="T15" fmla="*/ 372 h 2280"/>
                <a:gd name="T16" fmla="*/ 2232 w 3132"/>
                <a:gd name="T17" fmla="*/ 276 h 2280"/>
                <a:gd name="T18" fmla="*/ 2400 w 3132"/>
                <a:gd name="T19" fmla="*/ 156 h 2280"/>
                <a:gd name="T20" fmla="*/ 2484 w 3132"/>
                <a:gd name="T21" fmla="*/ 372 h 2280"/>
                <a:gd name="T22" fmla="*/ 2712 w 3132"/>
                <a:gd name="T23" fmla="*/ 312 h 2280"/>
                <a:gd name="T24" fmla="*/ 3132 w 3132"/>
                <a:gd name="T25" fmla="*/ 384 h 2280"/>
                <a:gd name="T26" fmla="*/ 2904 w 3132"/>
                <a:gd name="T27" fmla="*/ 492 h 2280"/>
                <a:gd name="T28" fmla="*/ 2976 w 3132"/>
                <a:gd name="T29" fmla="*/ 732 h 2280"/>
                <a:gd name="T30" fmla="*/ 2976 w 3132"/>
                <a:gd name="T31" fmla="*/ 996 h 2280"/>
                <a:gd name="T32" fmla="*/ 2928 w 3132"/>
                <a:gd name="T33" fmla="*/ 1212 h 2280"/>
                <a:gd name="T34" fmla="*/ 2988 w 3132"/>
                <a:gd name="T35" fmla="*/ 1524 h 2280"/>
                <a:gd name="T36" fmla="*/ 3000 w 3132"/>
                <a:gd name="T37" fmla="*/ 1764 h 2280"/>
                <a:gd name="T38" fmla="*/ 3048 w 3132"/>
                <a:gd name="T39" fmla="*/ 1980 h 2280"/>
                <a:gd name="T40" fmla="*/ 2952 w 3132"/>
                <a:gd name="T41" fmla="*/ 2244 h 2280"/>
                <a:gd name="T42" fmla="*/ 2688 w 3132"/>
                <a:gd name="T43" fmla="*/ 2220 h 2280"/>
                <a:gd name="T44" fmla="*/ 2472 w 3132"/>
                <a:gd name="T45" fmla="*/ 2184 h 2280"/>
                <a:gd name="T46" fmla="*/ 2424 w 3132"/>
                <a:gd name="T47" fmla="*/ 1968 h 2280"/>
                <a:gd name="T48" fmla="*/ 2532 w 3132"/>
                <a:gd name="T49" fmla="*/ 1800 h 2280"/>
                <a:gd name="T50" fmla="*/ 2400 w 3132"/>
                <a:gd name="T51" fmla="*/ 1596 h 2280"/>
                <a:gd name="T52" fmla="*/ 2268 w 3132"/>
                <a:gd name="T53" fmla="*/ 1596 h 2280"/>
                <a:gd name="T54" fmla="*/ 2244 w 3132"/>
                <a:gd name="T55" fmla="*/ 1428 h 2280"/>
                <a:gd name="T56" fmla="*/ 2040 w 3132"/>
                <a:gd name="T57" fmla="*/ 1428 h 2280"/>
                <a:gd name="T58" fmla="*/ 1944 w 3132"/>
                <a:gd name="T59" fmla="*/ 1200 h 2280"/>
                <a:gd name="T60" fmla="*/ 1764 w 3132"/>
                <a:gd name="T61" fmla="*/ 1128 h 2280"/>
                <a:gd name="T62" fmla="*/ 1488 w 3132"/>
                <a:gd name="T63" fmla="*/ 1224 h 2280"/>
                <a:gd name="T64" fmla="*/ 1200 w 3132"/>
                <a:gd name="T65" fmla="*/ 1104 h 2280"/>
                <a:gd name="T66" fmla="*/ 1104 w 3132"/>
                <a:gd name="T67" fmla="*/ 1260 h 2280"/>
                <a:gd name="T68" fmla="*/ 816 w 3132"/>
                <a:gd name="T69" fmla="*/ 1320 h 2280"/>
                <a:gd name="T70" fmla="*/ 516 w 3132"/>
                <a:gd name="T71" fmla="*/ 1296 h 2280"/>
                <a:gd name="T72" fmla="*/ 240 w 3132"/>
                <a:gd name="T73" fmla="*/ 1140 h 2280"/>
                <a:gd name="T74" fmla="*/ 0 w 3132"/>
                <a:gd name="T75" fmla="*/ 1020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32" h="2280">
                  <a:moveTo>
                    <a:pt x="0" y="1020"/>
                  </a:moveTo>
                  <a:lnTo>
                    <a:pt x="60" y="888"/>
                  </a:lnTo>
                  <a:lnTo>
                    <a:pt x="0" y="792"/>
                  </a:lnTo>
                  <a:lnTo>
                    <a:pt x="131" y="441"/>
                  </a:lnTo>
                  <a:lnTo>
                    <a:pt x="336" y="444"/>
                  </a:lnTo>
                  <a:lnTo>
                    <a:pt x="492" y="552"/>
                  </a:lnTo>
                  <a:lnTo>
                    <a:pt x="576" y="456"/>
                  </a:lnTo>
                  <a:lnTo>
                    <a:pt x="648" y="384"/>
                  </a:lnTo>
                  <a:lnTo>
                    <a:pt x="804" y="336"/>
                  </a:lnTo>
                  <a:lnTo>
                    <a:pt x="912" y="336"/>
                  </a:lnTo>
                  <a:lnTo>
                    <a:pt x="1116" y="432"/>
                  </a:lnTo>
                  <a:lnTo>
                    <a:pt x="1308" y="0"/>
                  </a:lnTo>
                  <a:lnTo>
                    <a:pt x="1404" y="96"/>
                  </a:lnTo>
                  <a:lnTo>
                    <a:pt x="1596" y="132"/>
                  </a:lnTo>
                  <a:lnTo>
                    <a:pt x="1656" y="240"/>
                  </a:lnTo>
                  <a:lnTo>
                    <a:pt x="1788" y="372"/>
                  </a:lnTo>
                  <a:lnTo>
                    <a:pt x="2016" y="324"/>
                  </a:lnTo>
                  <a:lnTo>
                    <a:pt x="2232" y="276"/>
                  </a:lnTo>
                  <a:lnTo>
                    <a:pt x="2280" y="168"/>
                  </a:lnTo>
                  <a:lnTo>
                    <a:pt x="2400" y="156"/>
                  </a:lnTo>
                  <a:lnTo>
                    <a:pt x="2460" y="264"/>
                  </a:lnTo>
                  <a:lnTo>
                    <a:pt x="2484" y="372"/>
                  </a:lnTo>
                  <a:lnTo>
                    <a:pt x="2592" y="252"/>
                  </a:lnTo>
                  <a:lnTo>
                    <a:pt x="2712" y="312"/>
                  </a:lnTo>
                  <a:lnTo>
                    <a:pt x="2964" y="324"/>
                  </a:lnTo>
                  <a:lnTo>
                    <a:pt x="3132" y="384"/>
                  </a:lnTo>
                  <a:lnTo>
                    <a:pt x="3000" y="444"/>
                  </a:lnTo>
                  <a:lnTo>
                    <a:pt x="2904" y="492"/>
                  </a:lnTo>
                  <a:lnTo>
                    <a:pt x="2916" y="588"/>
                  </a:lnTo>
                  <a:lnTo>
                    <a:pt x="2976" y="732"/>
                  </a:lnTo>
                  <a:lnTo>
                    <a:pt x="2988" y="864"/>
                  </a:lnTo>
                  <a:lnTo>
                    <a:pt x="2976" y="996"/>
                  </a:lnTo>
                  <a:lnTo>
                    <a:pt x="3000" y="1104"/>
                  </a:lnTo>
                  <a:lnTo>
                    <a:pt x="2928" y="1212"/>
                  </a:lnTo>
                  <a:lnTo>
                    <a:pt x="2916" y="1416"/>
                  </a:lnTo>
                  <a:lnTo>
                    <a:pt x="2988" y="1524"/>
                  </a:lnTo>
                  <a:lnTo>
                    <a:pt x="2916" y="1740"/>
                  </a:lnTo>
                  <a:lnTo>
                    <a:pt x="3000" y="1764"/>
                  </a:lnTo>
                  <a:lnTo>
                    <a:pt x="3072" y="1836"/>
                  </a:lnTo>
                  <a:lnTo>
                    <a:pt x="3048" y="1980"/>
                  </a:lnTo>
                  <a:lnTo>
                    <a:pt x="2952" y="2088"/>
                  </a:lnTo>
                  <a:lnTo>
                    <a:pt x="2952" y="2244"/>
                  </a:lnTo>
                  <a:lnTo>
                    <a:pt x="2772" y="2280"/>
                  </a:lnTo>
                  <a:lnTo>
                    <a:pt x="2688" y="2220"/>
                  </a:lnTo>
                  <a:lnTo>
                    <a:pt x="2532" y="2256"/>
                  </a:lnTo>
                  <a:lnTo>
                    <a:pt x="2472" y="2184"/>
                  </a:lnTo>
                  <a:lnTo>
                    <a:pt x="2484" y="2064"/>
                  </a:lnTo>
                  <a:lnTo>
                    <a:pt x="2424" y="1968"/>
                  </a:lnTo>
                  <a:lnTo>
                    <a:pt x="2532" y="1908"/>
                  </a:lnTo>
                  <a:lnTo>
                    <a:pt x="2532" y="1800"/>
                  </a:lnTo>
                  <a:lnTo>
                    <a:pt x="2496" y="1704"/>
                  </a:lnTo>
                  <a:lnTo>
                    <a:pt x="2400" y="1596"/>
                  </a:lnTo>
                  <a:lnTo>
                    <a:pt x="2328" y="1644"/>
                  </a:lnTo>
                  <a:lnTo>
                    <a:pt x="2268" y="1596"/>
                  </a:lnTo>
                  <a:lnTo>
                    <a:pt x="2292" y="1512"/>
                  </a:lnTo>
                  <a:lnTo>
                    <a:pt x="2244" y="1428"/>
                  </a:lnTo>
                  <a:lnTo>
                    <a:pt x="2136" y="1416"/>
                  </a:lnTo>
                  <a:lnTo>
                    <a:pt x="2040" y="1428"/>
                  </a:lnTo>
                  <a:lnTo>
                    <a:pt x="2016" y="1248"/>
                  </a:lnTo>
                  <a:lnTo>
                    <a:pt x="1944" y="1200"/>
                  </a:lnTo>
                  <a:lnTo>
                    <a:pt x="1824" y="1236"/>
                  </a:lnTo>
                  <a:lnTo>
                    <a:pt x="1764" y="1128"/>
                  </a:lnTo>
                  <a:lnTo>
                    <a:pt x="1632" y="1188"/>
                  </a:lnTo>
                  <a:lnTo>
                    <a:pt x="1488" y="1224"/>
                  </a:lnTo>
                  <a:lnTo>
                    <a:pt x="1332" y="1188"/>
                  </a:lnTo>
                  <a:lnTo>
                    <a:pt x="1200" y="1104"/>
                  </a:lnTo>
                  <a:lnTo>
                    <a:pt x="1128" y="1140"/>
                  </a:lnTo>
                  <a:lnTo>
                    <a:pt x="1104" y="1260"/>
                  </a:lnTo>
                  <a:lnTo>
                    <a:pt x="948" y="1296"/>
                  </a:lnTo>
                  <a:lnTo>
                    <a:pt x="816" y="1320"/>
                  </a:lnTo>
                  <a:lnTo>
                    <a:pt x="648" y="1248"/>
                  </a:lnTo>
                  <a:lnTo>
                    <a:pt x="516" y="1296"/>
                  </a:lnTo>
                  <a:lnTo>
                    <a:pt x="360" y="1272"/>
                  </a:lnTo>
                  <a:lnTo>
                    <a:pt x="240" y="1140"/>
                  </a:lnTo>
                  <a:lnTo>
                    <a:pt x="108" y="1140"/>
                  </a:lnTo>
                  <a:lnTo>
                    <a:pt x="0" y="102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2" name="Freeform 13">
              <a:extLst>
                <a:ext uri="{FF2B5EF4-FFF2-40B4-BE49-F238E27FC236}">
                  <a16:creationId xmlns:a16="http://schemas.microsoft.com/office/drawing/2014/main" id="{A65824BA-D06E-416B-A8F8-018E29DBBF19}"/>
                </a:ext>
              </a:extLst>
            </p:cNvPr>
            <p:cNvSpPr>
              <a:spLocks/>
            </p:cNvSpPr>
            <p:nvPr/>
          </p:nvSpPr>
          <p:spPr bwMode="auto">
            <a:xfrm>
              <a:off x="3021312" y="2223718"/>
              <a:ext cx="754879" cy="730937"/>
            </a:xfrm>
            <a:custGeom>
              <a:avLst/>
              <a:gdLst>
                <a:gd name="T0" fmla="*/ 816 w 2682"/>
                <a:gd name="T1" fmla="*/ 253 h 2595"/>
                <a:gd name="T2" fmla="*/ 840 w 2682"/>
                <a:gd name="T3" fmla="*/ 577 h 2595"/>
                <a:gd name="T4" fmla="*/ 816 w 2682"/>
                <a:gd name="T5" fmla="*/ 793 h 2595"/>
                <a:gd name="T6" fmla="*/ 804 w 2682"/>
                <a:gd name="T7" fmla="*/ 1057 h 2595"/>
                <a:gd name="T8" fmla="*/ 624 w 2682"/>
                <a:gd name="T9" fmla="*/ 1177 h 2595"/>
                <a:gd name="T10" fmla="*/ 480 w 2682"/>
                <a:gd name="T11" fmla="*/ 1021 h 2595"/>
                <a:gd name="T12" fmla="*/ 264 w 2682"/>
                <a:gd name="T13" fmla="*/ 1213 h 2595"/>
                <a:gd name="T14" fmla="*/ 192 w 2682"/>
                <a:gd name="T15" fmla="*/ 1441 h 2595"/>
                <a:gd name="T16" fmla="*/ 240 w 2682"/>
                <a:gd name="T17" fmla="*/ 1657 h 2595"/>
                <a:gd name="T18" fmla="*/ 96 w 2682"/>
                <a:gd name="T19" fmla="*/ 1945 h 2595"/>
                <a:gd name="T20" fmla="*/ 0 w 2682"/>
                <a:gd name="T21" fmla="*/ 2341 h 2595"/>
                <a:gd name="T22" fmla="*/ 195 w 2682"/>
                <a:gd name="T23" fmla="*/ 2559 h 2595"/>
                <a:gd name="T24" fmla="*/ 326 w 2682"/>
                <a:gd name="T25" fmla="*/ 2365 h 2595"/>
                <a:gd name="T26" fmla="*/ 351 w 2682"/>
                <a:gd name="T27" fmla="*/ 2230 h 2595"/>
                <a:gd name="T28" fmla="*/ 393 w 2682"/>
                <a:gd name="T29" fmla="*/ 2139 h 2595"/>
                <a:gd name="T30" fmla="*/ 590 w 2682"/>
                <a:gd name="T31" fmla="*/ 2194 h 2595"/>
                <a:gd name="T32" fmla="*/ 644 w 2682"/>
                <a:gd name="T33" fmla="*/ 2008 h 2595"/>
                <a:gd name="T34" fmla="*/ 690 w 2682"/>
                <a:gd name="T35" fmla="*/ 1830 h 2595"/>
                <a:gd name="T36" fmla="*/ 863 w 2682"/>
                <a:gd name="T37" fmla="*/ 1875 h 2595"/>
                <a:gd name="T38" fmla="*/ 1076 w 2682"/>
                <a:gd name="T39" fmla="*/ 1903 h 2595"/>
                <a:gd name="T40" fmla="*/ 1167 w 2682"/>
                <a:gd name="T41" fmla="*/ 2085 h 2595"/>
                <a:gd name="T42" fmla="*/ 1374 w 2682"/>
                <a:gd name="T43" fmla="*/ 2148 h 2595"/>
                <a:gd name="T44" fmla="*/ 1484 w 2682"/>
                <a:gd name="T45" fmla="*/ 2404 h 2595"/>
                <a:gd name="T46" fmla="*/ 1707 w 2682"/>
                <a:gd name="T47" fmla="*/ 2499 h 2595"/>
                <a:gd name="T48" fmla="*/ 1824 w 2682"/>
                <a:gd name="T49" fmla="*/ 2595 h 2595"/>
                <a:gd name="T50" fmla="*/ 1851 w 2682"/>
                <a:gd name="T51" fmla="*/ 2415 h 2595"/>
                <a:gd name="T52" fmla="*/ 1979 w 2682"/>
                <a:gd name="T53" fmla="*/ 2358 h 2595"/>
                <a:gd name="T54" fmla="*/ 1902 w 2682"/>
                <a:gd name="T55" fmla="*/ 2194 h 2595"/>
                <a:gd name="T56" fmla="*/ 1833 w 2682"/>
                <a:gd name="T57" fmla="*/ 2053 h 2595"/>
                <a:gd name="T58" fmla="*/ 1812 w 2682"/>
                <a:gd name="T59" fmla="*/ 1801 h 2595"/>
                <a:gd name="T60" fmla="*/ 1989 w 2682"/>
                <a:gd name="T61" fmla="*/ 1710 h 2595"/>
                <a:gd name="T62" fmla="*/ 2159 w 2682"/>
                <a:gd name="T63" fmla="*/ 1507 h 2595"/>
                <a:gd name="T64" fmla="*/ 2244 w 2682"/>
                <a:gd name="T65" fmla="*/ 1609 h 2595"/>
                <a:gd name="T66" fmla="*/ 2417 w 2682"/>
                <a:gd name="T67" fmla="*/ 1572 h 2595"/>
                <a:gd name="T68" fmla="*/ 2582 w 2682"/>
                <a:gd name="T69" fmla="*/ 1644 h 2595"/>
                <a:gd name="T70" fmla="*/ 2580 w 2682"/>
                <a:gd name="T71" fmla="*/ 1525 h 2595"/>
                <a:gd name="T72" fmla="*/ 2171 w 2682"/>
                <a:gd name="T73" fmla="*/ 1501 h 2595"/>
                <a:gd name="T74" fmla="*/ 2112 w 2682"/>
                <a:gd name="T75" fmla="*/ 1405 h 2595"/>
                <a:gd name="T76" fmla="*/ 1968 w 2682"/>
                <a:gd name="T77" fmla="*/ 1297 h 2595"/>
                <a:gd name="T78" fmla="*/ 2027 w 2682"/>
                <a:gd name="T79" fmla="*/ 1164 h 2595"/>
                <a:gd name="T80" fmla="*/ 2024 w 2682"/>
                <a:gd name="T81" fmla="*/ 978 h 2595"/>
                <a:gd name="T82" fmla="*/ 2171 w 2682"/>
                <a:gd name="T83" fmla="*/ 853 h 2595"/>
                <a:gd name="T84" fmla="*/ 2196 w 2682"/>
                <a:gd name="T85" fmla="*/ 624 h 2595"/>
                <a:gd name="T86" fmla="*/ 2042 w 2682"/>
                <a:gd name="T87" fmla="*/ 436 h 2595"/>
                <a:gd name="T88" fmla="*/ 2003 w 2682"/>
                <a:gd name="T89" fmla="*/ 195 h 2595"/>
                <a:gd name="T90" fmla="*/ 1800 w 2682"/>
                <a:gd name="T91" fmla="*/ 231 h 2595"/>
                <a:gd name="T92" fmla="*/ 1659 w 2682"/>
                <a:gd name="T93" fmla="*/ 25 h 2595"/>
                <a:gd name="T94" fmla="*/ 1478 w 2682"/>
                <a:gd name="T95" fmla="*/ 0 h 2595"/>
                <a:gd name="T96" fmla="*/ 1224 w 2682"/>
                <a:gd name="T97" fmla="*/ 217 h 2595"/>
                <a:gd name="T98" fmla="*/ 1008 w 2682"/>
                <a:gd name="T99" fmla="*/ 97 h 2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82" h="2595">
                  <a:moveTo>
                    <a:pt x="1008" y="97"/>
                  </a:moveTo>
                  <a:lnTo>
                    <a:pt x="816" y="253"/>
                  </a:lnTo>
                  <a:lnTo>
                    <a:pt x="876" y="445"/>
                  </a:lnTo>
                  <a:lnTo>
                    <a:pt x="840" y="577"/>
                  </a:lnTo>
                  <a:lnTo>
                    <a:pt x="756" y="721"/>
                  </a:lnTo>
                  <a:lnTo>
                    <a:pt x="816" y="793"/>
                  </a:lnTo>
                  <a:lnTo>
                    <a:pt x="768" y="889"/>
                  </a:lnTo>
                  <a:lnTo>
                    <a:pt x="804" y="1057"/>
                  </a:lnTo>
                  <a:lnTo>
                    <a:pt x="708" y="1093"/>
                  </a:lnTo>
                  <a:lnTo>
                    <a:pt x="624" y="1177"/>
                  </a:lnTo>
                  <a:lnTo>
                    <a:pt x="552" y="1093"/>
                  </a:lnTo>
                  <a:lnTo>
                    <a:pt x="480" y="1021"/>
                  </a:lnTo>
                  <a:lnTo>
                    <a:pt x="336" y="1093"/>
                  </a:lnTo>
                  <a:lnTo>
                    <a:pt x="264" y="1213"/>
                  </a:lnTo>
                  <a:lnTo>
                    <a:pt x="180" y="1321"/>
                  </a:lnTo>
                  <a:lnTo>
                    <a:pt x="192" y="1441"/>
                  </a:lnTo>
                  <a:lnTo>
                    <a:pt x="192" y="1561"/>
                  </a:lnTo>
                  <a:lnTo>
                    <a:pt x="240" y="1657"/>
                  </a:lnTo>
                  <a:lnTo>
                    <a:pt x="144" y="1777"/>
                  </a:lnTo>
                  <a:lnTo>
                    <a:pt x="96" y="1945"/>
                  </a:lnTo>
                  <a:lnTo>
                    <a:pt x="12" y="2125"/>
                  </a:lnTo>
                  <a:lnTo>
                    <a:pt x="0" y="2341"/>
                  </a:lnTo>
                  <a:lnTo>
                    <a:pt x="39" y="2536"/>
                  </a:lnTo>
                  <a:lnTo>
                    <a:pt x="195" y="2559"/>
                  </a:lnTo>
                  <a:lnTo>
                    <a:pt x="276" y="2461"/>
                  </a:lnTo>
                  <a:lnTo>
                    <a:pt x="326" y="2365"/>
                  </a:lnTo>
                  <a:lnTo>
                    <a:pt x="254" y="2304"/>
                  </a:lnTo>
                  <a:lnTo>
                    <a:pt x="351" y="2230"/>
                  </a:lnTo>
                  <a:lnTo>
                    <a:pt x="288" y="2110"/>
                  </a:lnTo>
                  <a:lnTo>
                    <a:pt x="393" y="2139"/>
                  </a:lnTo>
                  <a:lnTo>
                    <a:pt x="492" y="2185"/>
                  </a:lnTo>
                  <a:lnTo>
                    <a:pt x="590" y="2194"/>
                  </a:lnTo>
                  <a:lnTo>
                    <a:pt x="635" y="2113"/>
                  </a:lnTo>
                  <a:lnTo>
                    <a:pt x="644" y="2008"/>
                  </a:lnTo>
                  <a:lnTo>
                    <a:pt x="698" y="1948"/>
                  </a:lnTo>
                  <a:lnTo>
                    <a:pt x="690" y="1830"/>
                  </a:lnTo>
                  <a:lnTo>
                    <a:pt x="827" y="1783"/>
                  </a:lnTo>
                  <a:lnTo>
                    <a:pt x="863" y="1875"/>
                  </a:lnTo>
                  <a:lnTo>
                    <a:pt x="984" y="1873"/>
                  </a:lnTo>
                  <a:lnTo>
                    <a:pt x="1076" y="1903"/>
                  </a:lnTo>
                  <a:lnTo>
                    <a:pt x="1128" y="1974"/>
                  </a:lnTo>
                  <a:lnTo>
                    <a:pt x="1167" y="2085"/>
                  </a:lnTo>
                  <a:lnTo>
                    <a:pt x="1271" y="2113"/>
                  </a:lnTo>
                  <a:lnTo>
                    <a:pt x="1374" y="2148"/>
                  </a:lnTo>
                  <a:lnTo>
                    <a:pt x="1478" y="2299"/>
                  </a:lnTo>
                  <a:lnTo>
                    <a:pt x="1484" y="2404"/>
                  </a:lnTo>
                  <a:lnTo>
                    <a:pt x="1634" y="2433"/>
                  </a:lnTo>
                  <a:lnTo>
                    <a:pt x="1707" y="2499"/>
                  </a:lnTo>
                  <a:lnTo>
                    <a:pt x="1758" y="2595"/>
                  </a:lnTo>
                  <a:lnTo>
                    <a:pt x="1824" y="2595"/>
                  </a:lnTo>
                  <a:lnTo>
                    <a:pt x="1887" y="2544"/>
                  </a:lnTo>
                  <a:lnTo>
                    <a:pt x="1851" y="2415"/>
                  </a:lnTo>
                  <a:lnTo>
                    <a:pt x="1929" y="2394"/>
                  </a:lnTo>
                  <a:lnTo>
                    <a:pt x="1979" y="2358"/>
                  </a:lnTo>
                  <a:lnTo>
                    <a:pt x="1977" y="2212"/>
                  </a:lnTo>
                  <a:lnTo>
                    <a:pt x="1902" y="2194"/>
                  </a:lnTo>
                  <a:lnTo>
                    <a:pt x="1832" y="2148"/>
                  </a:lnTo>
                  <a:lnTo>
                    <a:pt x="1833" y="2053"/>
                  </a:lnTo>
                  <a:lnTo>
                    <a:pt x="1797" y="1950"/>
                  </a:lnTo>
                  <a:lnTo>
                    <a:pt x="1812" y="1801"/>
                  </a:lnTo>
                  <a:lnTo>
                    <a:pt x="1896" y="1773"/>
                  </a:lnTo>
                  <a:lnTo>
                    <a:pt x="1989" y="1710"/>
                  </a:lnTo>
                  <a:lnTo>
                    <a:pt x="2043" y="1590"/>
                  </a:lnTo>
                  <a:lnTo>
                    <a:pt x="2159" y="1507"/>
                  </a:lnTo>
                  <a:lnTo>
                    <a:pt x="2181" y="1579"/>
                  </a:lnTo>
                  <a:lnTo>
                    <a:pt x="2244" y="1609"/>
                  </a:lnTo>
                  <a:lnTo>
                    <a:pt x="2316" y="1527"/>
                  </a:lnTo>
                  <a:lnTo>
                    <a:pt x="2417" y="1572"/>
                  </a:lnTo>
                  <a:lnTo>
                    <a:pt x="2475" y="1621"/>
                  </a:lnTo>
                  <a:lnTo>
                    <a:pt x="2582" y="1644"/>
                  </a:lnTo>
                  <a:lnTo>
                    <a:pt x="2682" y="1566"/>
                  </a:lnTo>
                  <a:lnTo>
                    <a:pt x="2580" y="1525"/>
                  </a:lnTo>
                  <a:lnTo>
                    <a:pt x="2351" y="1501"/>
                  </a:lnTo>
                  <a:lnTo>
                    <a:pt x="2171" y="1501"/>
                  </a:lnTo>
                  <a:lnTo>
                    <a:pt x="2141" y="1449"/>
                  </a:lnTo>
                  <a:lnTo>
                    <a:pt x="2112" y="1405"/>
                  </a:lnTo>
                  <a:lnTo>
                    <a:pt x="2018" y="1347"/>
                  </a:lnTo>
                  <a:lnTo>
                    <a:pt x="1968" y="1297"/>
                  </a:lnTo>
                  <a:lnTo>
                    <a:pt x="2004" y="1215"/>
                  </a:lnTo>
                  <a:lnTo>
                    <a:pt x="2027" y="1164"/>
                  </a:lnTo>
                  <a:lnTo>
                    <a:pt x="1919" y="1093"/>
                  </a:lnTo>
                  <a:lnTo>
                    <a:pt x="2024" y="978"/>
                  </a:lnTo>
                  <a:lnTo>
                    <a:pt x="2087" y="889"/>
                  </a:lnTo>
                  <a:lnTo>
                    <a:pt x="2171" y="853"/>
                  </a:lnTo>
                  <a:lnTo>
                    <a:pt x="2099" y="747"/>
                  </a:lnTo>
                  <a:lnTo>
                    <a:pt x="2196" y="624"/>
                  </a:lnTo>
                  <a:lnTo>
                    <a:pt x="2129" y="534"/>
                  </a:lnTo>
                  <a:lnTo>
                    <a:pt x="2042" y="436"/>
                  </a:lnTo>
                  <a:lnTo>
                    <a:pt x="2003" y="319"/>
                  </a:lnTo>
                  <a:lnTo>
                    <a:pt x="2003" y="195"/>
                  </a:lnTo>
                  <a:lnTo>
                    <a:pt x="1823" y="289"/>
                  </a:lnTo>
                  <a:lnTo>
                    <a:pt x="1800" y="231"/>
                  </a:lnTo>
                  <a:lnTo>
                    <a:pt x="1716" y="133"/>
                  </a:lnTo>
                  <a:lnTo>
                    <a:pt x="1659" y="25"/>
                  </a:lnTo>
                  <a:lnTo>
                    <a:pt x="1559" y="3"/>
                  </a:lnTo>
                  <a:lnTo>
                    <a:pt x="1478" y="0"/>
                  </a:lnTo>
                  <a:lnTo>
                    <a:pt x="1427" y="85"/>
                  </a:lnTo>
                  <a:lnTo>
                    <a:pt x="1224" y="217"/>
                  </a:lnTo>
                  <a:lnTo>
                    <a:pt x="1103" y="181"/>
                  </a:lnTo>
                  <a:lnTo>
                    <a:pt x="1008" y="97"/>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3" name="Freeform 14">
              <a:extLst>
                <a:ext uri="{FF2B5EF4-FFF2-40B4-BE49-F238E27FC236}">
                  <a16:creationId xmlns:a16="http://schemas.microsoft.com/office/drawing/2014/main" id="{A65C9C54-A632-432B-9C5C-9479243DAE23}"/>
                </a:ext>
              </a:extLst>
            </p:cNvPr>
            <p:cNvSpPr>
              <a:spLocks/>
            </p:cNvSpPr>
            <p:nvPr/>
          </p:nvSpPr>
          <p:spPr bwMode="auto">
            <a:xfrm>
              <a:off x="2743865" y="3075773"/>
              <a:ext cx="595735" cy="419690"/>
            </a:xfrm>
            <a:custGeom>
              <a:avLst/>
              <a:gdLst>
                <a:gd name="T0" fmla="*/ 2019 w 2112"/>
                <a:gd name="T1" fmla="*/ 1040 h 1488"/>
                <a:gd name="T2" fmla="*/ 1956 w 2112"/>
                <a:gd name="T3" fmla="*/ 1043 h 1488"/>
                <a:gd name="T4" fmla="*/ 1893 w 2112"/>
                <a:gd name="T5" fmla="*/ 981 h 1488"/>
                <a:gd name="T6" fmla="*/ 1775 w 2112"/>
                <a:gd name="T7" fmla="*/ 888 h 1488"/>
                <a:gd name="T8" fmla="*/ 1755 w 2112"/>
                <a:gd name="T9" fmla="*/ 813 h 1488"/>
                <a:gd name="T10" fmla="*/ 1694 w 2112"/>
                <a:gd name="T11" fmla="*/ 785 h 1488"/>
                <a:gd name="T12" fmla="*/ 1686 w 2112"/>
                <a:gd name="T13" fmla="*/ 720 h 1488"/>
                <a:gd name="T14" fmla="*/ 1718 w 2112"/>
                <a:gd name="T15" fmla="*/ 635 h 1488"/>
                <a:gd name="T16" fmla="*/ 1751 w 2112"/>
                <a:gd name="T17" fmla="*/ 561 h 1488"/>
                <a:gd name="T18" fmla="*/ 1742 w 2112"/>
                <a:gd name="T19" fmla="*/ 480 h 1488"/>
                <a:gd name="T20" fmla="*/ 1859 w 2112"/>
                <a:gd name="T21" fmla="*/ 432 h 1488"/>
                <a:gd name="T22" fmla="*/ 1787 w 2112"/>
                <a:gd name="T23" fmla="*/ 372 h 1488"/>
                <a:gd name="T24" fmla="*/ 1667 w 2112"/>
                <a:gd name="T25" fmla="*/ 408 h 1488"/>
                <a:gd name="T26" fmla="*/ 1587 w 2112"/>
                <a:gd name="T27" fmla="*/ 338 h 1488"/>
                <a:gd name="T28" fmla="*/ 1445 w 2112"/>
                <a:gd name="T29" fmla="*/ 279 h 1488"/>
                <a:gd name="T30" fmla="*/ 1359 w 2112"/>
                <a:gd name="T31" fmla="*/ 170 h 1488"/>
                <a:gd name="T32" fmla="*/ 1139 w 2112"/>
                <a:gd name="T33" fmla="*/ 0 h 1488"/>
                <a:gd name="T34" fmla="*/ 1032 w 2112"/>
                <a:gd name="T35" fmla="*/ 62 h 1488"/>
                <a:gd name="T36" fmla="*/ 936 w 2112"/>
                <a:gd name="T37" fmla="*/ 108 h 1488"/>
                <a:gd name="T38" fmla="*/ 816 w 2112"/>
                <a:gd name="T39" fmla="*/ 204 h 1488"/>
                <a:gd name="T40" fmla="*/ 660 w 2112"/>
                <a:gd name="T41" fmla="*/ 228 h 1488"/>
                <a:gd name="T42" fmla="*/ 588 w 2112"/>
                <a:gd name="T43" fmla="*/ 204 h 1488"/>
                <a:gd name="T44" fmla="*/ 480 w 2112"/>
                <a:gd name="T45" fmla="*/ 180 h 1488"/>
                <a:gd name="T46" fmla="*/ 348 w 2112"/>
                <a:gd name="T47" fmla="*/ 192 h 1488"/>
                <a:gd name="T48" fmla="*/ 216 w 2112"/>
                <a:gd name="T49" fmla="*/ 192 h 1488"/>
                <a:gd name="T50" fmla="*/ 192 w 2112"/>
                <a:gd name="T51" fmla="*/ 300 h 1488"/>
                <a:gd name="T52" fmla="*/ 156 w 2112"/>
                <a:gd name="T53" fmla="*/ 408 h 1488"/>
                <a:gd name="T54" fmla="*/ 192 w 2112"/>
                <a:gd name="T55" fmla="*/ 468 h 1488"/>
                <a:gd name="T56" fmla="*/ 96 w 2112"/>
                <a:gd name="T57" fmla="*/ 540 h 1488"/>
                <a:gd name="T58" fmla="*/ 0 w 2112"/>
                <a:gd name="T59" fmla="*/ 660 h 1488"/>
                <a:gd name="T60" fmla="*/ 48 w 2112"/>
                <a:gd name="T61" fmla="*/ 780 h 1488"/>
                <a:gd name="T62" fmla="*/ 168 w 2112"/>
                <a:gd name="T63" fmla="*/ 756 h 1488"/>
                <a:gd name="T64" fmla="*/ 288 w 2112"/>
                <a:gd name="T65" fmla="*/ 852 h 1488"/>
                <a:gd name="T66" fmla="*/ 384 w 2112"/>
                <a:gd name="T67" fmla="*/ 816 h 1488"/>
                <a:gd name="T68" fmla="*/ 492 w 2112"/>
                <a:gd name="T69" fmla="*/ 828 h 1488"/>
                <a:gd name="T70" fmla="*/ 612 w 2112"/>
                <a:gd name="T71" fmla="*/ 840 h 1488"/>
                <a:gd name="T72" fmla="*/ 696 w 2112"/>
                <a:gd name="T73" fmla="*/ 936 h 1488"/>
                <a:gd name="T74" fmla="*/ 780 w 2112"/>
                <a:gd name="T75" fmla="*/ 1032 h 1488"/>
                <a:gd name="T76" fmla="*/ 876 w 2112"/>
                <a:gd name="T77" fmla="*/ 1128 h 1488"/>
                <a:gd name="T78" fmla="*/ 912 w 2112"/>
                <a:gd name="T79" fmla="*/ 1200 h 1488"/>
                <a:gd name="T80" fmla="*/ 948 w 2112"/>
                <a:gd name="T81" fmla="*/ 1284 h 1488"/>
                <a:gd name="T82" fmla="*/ 1080 w 2112"/>
                <a:gd name="T83" fmla="*/ 1392 h 1488"/>
                <a:gd name="T84" fmla="*/ 1200 w 2112"/>
                <a:gd name="T85" fmla="*/ 1416 h 1488"/>
                <a:gd name="T86" fmla="*/ 1332 w 2112"/>
                <a:gd name="T87" fmla="*/ 1392 h 1488"/>
                <a:gd name="T88" fmla="*/ 1452 w 2112"/>
                <a:gd name="T89" fmla="*/ 1488 h 1488"/>
                <a:gd name="T90" fmla="*/ 1536 w 2112"/>
                <a:gd name="T91" fmla="*/ 1452 h 1488"/>
                <a:gd name="T92" fmla="*/ 1584 w 2112"/>
                <a:gd name="T93" fmla="*/ 1368 h 1488"/>
                <a:gd name="T94" fmla="*/ 1704 w 2112"/>
                <a:gd name="T95" fmla="*/ 1356 h 1488"/>
                <a:gd name="T96" fmla="*/ 1788 w 2112"/>
                <a:gd name="T97" fmla="*/ 1296 h 1488"/>
                <a:gd name="T98" fmla="*/ 1884 w 2112"/>
                <a:gd name="T99" fmla="*/ 1344 h 1488"/>
                <a:gd name="T100" fmla="*/ 1992 w 2112"/>
                <a:gd name="T101" fmla="*/ 1356 h 1488"/>
                <a:gd name="T102" fmla="*/ 2112 w 2112"/>
                <a:gd name="T103" fmla="*/ 1344 h 1488"/>
                <a:gd name="T104" fmla="*/ 2088 w 2112"/>
                <a:gd name="T105" fmla="*/ 1212 h 1488"/>
                <a:gd name="T106" fmla="*/ 2088 w 2112"/>
                <a:gd name="T107" fmla="*/ 1104 h 1488"/>
                <a:gd name="T108" fmla="*/ 2019 w 2112"/>
                <a:gd name="T109" fmla="*/ 1040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2" h="1488">
                  <a:moveTo>
                    <a:pt x="2019" y="1040"/>
                  </a:moveTo>
                  <a:lnTo>
                    <a:pt x="1956" y="1043"/>
                  </a:lnTo>
                  <a:lnTo>
                    <a:pt x="1893" y="981"/>
                  </a:lnTo>
                  <a:lnTo>
                    <a:pt x="1775" y="888"/>
                  </a:lnTo>
                  <a:lnTo>
                    <a:pt x="1755" y="813"/>
                  </a:lnTo>
                  <a:lnTo>
                    <a:pt x="1694" y="785"/>
                  </a:lnTo>
                  <a:lnTo>
                    <a:pt x="1686" y="720"/>
                  </a:lnTo>
                  <a:lnTo>
                    <a:pt x="1718" y="635"/>
                  </a:lnTo>
                  <a:lnTo>
                    <a:pt x="1751" y="561"/>
                  </a:lnTo>
                  <a:lnTo>
                    <a:pt x="1742" y="480"/>
                  </a:lnTo>
                  <a:lnTo>
                    <a:pt x="1859" y="432"/>
                  </a:lnTo>
                  <a:lnTo>
                    <a:pt x="1787" y="372"/>
                  </a:lnTo>
                  <a:lnTo>
                    <a:pt x="1667" y="408"/>
                  </a:lnTo>
                  <a:lnTo>
                    <a:pt x="1587" y="338"/>
                  </a:lnTo>
                  <a:lnTo>
                    <a:pt x="1445" y="279"/>
                  </a:lnTo>
                  <a:lnTo>
                    <a:pt x="1359" y="170"/>
                  </a:lnTo>
                  <a:lnTo>
                    <a:pt x="1139" y="0"/>
                  </a:lnTo>
                  <a:lnTo>
                    <a:pt x="1032" y="62"/>
                  </a:lnTo>
                  <a:lnTo>
                    <a:pt x="936" y="108"/>
                  </a:lnTo>
                  <a:lnTo>
                    <a:pt x="816" y="204"/>
                  </a:lnTo>
                  <a:lnTo>
                    <a:pt x="660" y="228"/>
                  </a:lnTo>
                  <a:lnTo>
                    <a:pt x="588" y="204"/>
                  </a:lnTo>
                  <a:lnTo>
                    <a:pt x="480" y="180"/>
                  </a:lnTo>
                  <a:lnTo>
                    <a:pt x="348" y="192"/>
                  </a:lnTo>
                  <a:lnTo>
                    <a:pt x="216" y="192"/>
                  </a:lnTo>
                  <a:lnTo>
                    <a:pt x="192" y="300"/>
                  </a:lnTo>
                  <a:lnTo>
                    <a:pt x="156" y="408"/>
                  </a:lnTo>
                  <a:lnTo>
                    <a:pt x="192" y="468"/>
                  </a:lnTo>
                  <a:lnTo>
                    <a:pt x="96" y="540"/>
                  </a:lnTo>
                  <a:lnTo>
                    <a:pt x="0" y="660"/>
                  </a:lnTo>
                  <a:lnTo>
                    <a:pt x="48" y="780"/>
                  </a:lnTo>
                  <a:lnTo>
                    <a:pt x="168" y="756"/>
                  </a:lnTo>
                  <a:lnTo>
                    <a:pt x="288" y="852"/>
                  </a:lnTo>
                  <a:lnTo>
                    <a:pt x="384" y="816"/>
                  </a:lnTo>
                  <a:lnTo>
                    <a:pt x="492" y="828"/>
                  </a:lnTo>
                  <a:lnTo>
                    <a:pt x="612" y="840"/>
                  </a:lnTo>
                  <a:lnTo>
                    <a:pt x="696" y="936"/>
                  </a:lnTo>
                  <a:lnTo>
                    <a:pt x="780" y="1032"/>
                  </a:lnTo>
                  <a:lnTo>
                    <a:pt x="876" y="1128"/>
                  </a:lnTo>
                  <a:lnTo>
                    <a:pt x="912" y="1200"/>
                  </a:lnTo>
                  <a:lnTo>
                    <a:pt x="948" y="1284"/>
                  </a:lnTo>
                  <a:lnTo>
                    <a:pt x="1080" y="1392"/>
                  </a:lnTo>
                  <a:lnTo>
                    <a:pt x="1200" y="1416"/>
                  </a:lnTo>
                  <a:lnTo>
                    <a:pt x="1332" y="1392"/>
                  </a:lnTo>
                  <a:lnTo>
                    <a:pt x="1452" y="1488"/>
                  </a:lnTo>
                  <a:lnTo>
                    <a:pt x="1536" y="1452"/>
                  </a:lnTo>
                  <a:lnTo>
                    <a:pt x="1584" y="1368"/>
                  </a:lnTo>
                  <a:lnTo>
                    <a:pt x="1704" y="1356"/>
                  </a:lnTo>
                  <a:lnTo>
                    <a:pt x="1788" y="1296"/>
                  </a:lnTo>
                  <a:lnTo>
                    <a:pt x="1884" y="1344"/>
                  </a:lnTo>
                  <a:lnTo>
                    <a:pt x="1992" y="1356"/>
                  </a:lnTo>
                  <a:lnTo>
                    <a:pt x="2112" y="1344"/>
                  </a:lnTo>
                  <a:lnTo>
                    <a:pt x="2088" y="1212"/>
                  </a:lnTo>
                  <a:lnTo>
                    <a:pt x="2088" y="1104"/>
                  </a:lnTo>
                  <a:lnTo>
                    <a:pt x="2019" y="10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4" name="Freeform 15">
              <a:extLst>
                <a:ext uri="{FF2B5EF4-FFF2-40B4-BE49-F238E27FC236}">
                  <a16:creationId xmlns:a16="http://schemas.microsoft.com/office/drawing/2014/main" id="{2F09CB29-910F-4F2D-A5DF-60E09710737E}"/>
                </a:ext>
              </a:extLst>
            </p:cNvPr>
            <p:cNvSpPr>
              <a:spLocks/>
            </p:cNvSpPr>
            <p:nvPr/>
          </p:nvSpPr>
          <p:spPr bwMode="auto">
            <a:xfrm>
              <a:off x="3048070" y="3119433"/>
              <a:ext cx="1240762" cy="1014016"/>
            </a:xfrm>
            <a:custGeom>
              <a:avLst/>
              <a:gdLst>
                <a:gd name="T0" fmla="*/ 971 w 4404"/>
                <a:gd name="T1" fmla="*/ 611 h 3600"/>
                <a:gd name="T2" fmla="*/ 1224 w 4404"/>
                <a:gd name="T3" fmla="*/ 552 h 3600"/>
                <a:gd name="T4" fmla="*/ 1356 w 4404"/>
                <a:gd name="T5" fmla="*/ 371 h 3600"/>
                <a:gd name="T6" fmla="*/ 1500 w 4404"/>
                <a:gd name="T7" fmla="*/ 489 h 3600"/>
                <a:gd name="T8" fmla="*/ 1631 w 4404"/>
                <a:gd name="T9" fmla="*/ 684 h 3600"/>
                <a:gd name="T10" fmla="*/ 1836 w 4404"/>
                <a:gd name="T11" fmla="*/ 890 h 3600"/>
                <a:gd name="T12" fmla="*/ 2337 w 4404"/>
                <a:gd name="T13" fmla="*/ 1065 h 3600"/>
                <a:gd name="T14" fmla="*/ 2696 w 4404"/>
                <a:gd name="T15" fmla="*/ 1032 h 3600"/>
                <a:gd name="T16" fmla="*/ 2855 w 4404"/>
                <a:gd name="T17" fmla="*/ 672 h 3600"/>
                <a:gd name="T18" fmla="*/ 2915 w 4404"/>
                <a:gd name="T19" fmla="*/ 419 h 3600"/>
                <a:gd name="T20" fmla="*/ 3059 w 4404"/>
                <a:gd name="T21" fmla="*/ 240 h 3600"/>
                <a:gd name="T22" fmla="*/ 2990 w 4404"/>
                <a:gd name="T23" fmla="*/ 36 h 3600"/>
                <a:gd name="T24" fmla="*/ 3377 w 4404"/>
                <a:gd name="T25" fmla="*/ 63 h 3600"/>
                <a:gd name="T26" fmla="*/ 3696 w 4404"/>
                <a:gd name="T27" fmla="*/ 167 h 3600"/>
                <a:gd name="T28" fmla="*/ 3893 w 4404"/>
                <a:gd name="T29" fmla="*/ 26 h 3600"/>
                <a:gd name="T30" fmla="*/ 3986 w 4404"/>
                <a:gd name="T31" fmla="*/ 324 h 3600"/>
                <a:gd name="T32" fmla="*/ 3936 w 4404"/>
                <a:gd name="T33" fmla="*/ 447 h 3600"/>
                <a:gd name="T34" fmla="*/ 3692 w 4404"/>
                <a:gd name="T35" fmla="*/ 882 h 3600"/>
                <a:gd name="T36" fmla="*/ 3432 w 4404"/>
                <a:gd name="T37" fmla="*/ 1128 h 3600"/>
                <a:gd name="T38" fmla="*/ 3614 w 4404"/>
                <a:gd name="T39" fmla="*/ 1271 h 3600"/>
                <a:gd name="T40" fmla="*/ 3818 w 4404"/>
                <a:gd name="T41" fmla="*/ 1188 h 3600"/>
                <a:gd name="T42" fmla="*/ 4010 w 4404"/>
                <a:gd name="T43" fmla="*/ 1356 h 3600"/>
                <a:gd name="T44" fmla="*/ 4056 w 4404"/>
                <a:gd name="T45" fmla="*/ 1574 h 3600"/>
                <a:gd name="T46" fmla="*/ 4350 w 4404"/>
                <a:gd name="T47" fmla="*/ 1779 h 3600"/>
                <a:gd name="T48" fmla="*/ 4356 w 4404"/>
                <a:gd name="T49" fmla="*/ 2075 h 3600"/>
                <a:gd name="T50" fmla="*/ 4052 w 4404"/>
                <a:gd name="T51" fmla="*/ 1835 h 3600"/>
                <a:gd name="T52" fmla="*/ 3768 w 4404"/>
                <a:gd name="T53" fmla="*/ 1917 h 3600"/>
                <a:gd name="T54" fmla="*/ 3671 w 4404"/>
                <a:gd name="T55" fmla="*/ 2289 h 3600"/>
                <a:gd name="T56" fmla="*/ 3503 w 4404"/>
                <a:gd name="T57" fmla="*/ 2174 h 3600"/>
                <a:gd name="T58" fmla="*/ 3563 w 4404"/>
                <a:gd name="T59" fmla="*/ 1884 h 3600"/>
                <a:gd name="T60" fmla="*/ 3482 w 4404"/>
                <a:gd name="T61" fmla="*/ 1787 h 3600"/>
                <a:gd name="T62" fmla="*/ 3306 w 4404"/>
                <a:gd name="T63" fmla="*/ 1689 h 3600"/>
                <a:gd name="T64" fmla="*/ 3240 w 4404"/>
                <a:gd name="T65" fmla="*/ 1895 h 3600"/>
                <a:gd name="T66" fmla="*/ 3182 w 4404"/>
                <a:gd name="T67" fmla="*/ 2196 h 3600"/>
                <a:gd name="T68" fmla="*/ 3383 w 4404"/>
                <a:gd name="T69" fmla="*/ 2376 h 3600"/>
                <a:gd name="T70" fmla="*/ 3326 w 4404"/>
                <a:gd name="T71" fmla="*/ 2676 h 3600"/>
                <a:gd name="T72" fmla="*/ 3197 w 4404"/>
                <a:gd name="T73" fmla="*/ 2844 h 3600"/>
                <a:gd name="T74" fmla="*/ 2894 w 4404"/>
                <a:gd name="T75" fmla="*/ 2916 h 3600"/>
                <a:gd name="T76" fmla="*/ 2412 w 4404"/>
                <a:gd name="T77" fmla="*/ 2940 h 3600"/>
                <a:gd name="T78" fmla="*/ 2388 w 4404"/>
                <a:gd name="T79" fmla="*/ 3326 h 3600"/>
                <a:gd name="T80" fmla="*/ 1620 w 4404"/>
                <a:gd name="T81" fmla="*/ 3564 h 3600"/>
                <a:gd name="T82" fmla="*/ 1440 w 4404"/>
                <a:gd name="T83" fmla="*/ 3084 h 3600"/>
                <a:gd name="T84" fmla="*/ 1164 w 4404"/>
                <a:gd name="T85" fmla="*/ 2700 h 3600"/>
                <a:gd name="T86" fmla="*/ 864 w 4404"/>
                <a:gd name="T87" fmla="*/ 2580 h 3600"/>
                <a:gd name="T88" fmla="*/ 684 w 4404"/>
                <a:gd name="T89" fmla="*/ 2100 h 3600"/>
                <a:gd name="T90" fmla="*/ 636 w 4404"/>
                <a:gd name="T91" fmla="*/ 1728 h 3600"/>
                <a:gd name="T92" fmla="*/ 336 w 4404"/>
                <a:gd name="T93" fmla="*/ 1584 h 3600"/>
                <a:gd name="T94" fmla="*/ 84 w 4404"/>
                <a:gd name="T95" fmla="*/ 1356 h 3600"/>
                <a:gd name="T96" fmla="*/ 252 w 4404"/>
                <a:gd name="T97" fmla="*/ 1236 h 3600"/>
                <a:gd name="T98" fmla="*/ 504 w 4404"/>
                <a:gd name="T99" fmla="*/ 1212 h 3600"/>
                <a:gd name="T100" fmla="*/ 804 w 4404"/>
                <a:gd name="T101" fmla="*/ 1188 h 3600"/>
                <a:gd name="T102" fmla="*/ 1008 w 4404"/>
                <a:gd name="T103" fmla="*/ 10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4" h="3600">
                  <a:moveTo>
                    <a:pt x="938" y="884"/>
                  </a:moveTo>
                  <a:lnTo>
                    <a:pt x="947" y="755"/>
                  </a:lnTo>
                  <a:lnTo>
                    <a:pt x="971" y="611"/>
                  </a:lnTo>
                  <a:lnTo>
                    <a:pt x="1067" y="518"/>
                  </a:lnTo>
                  <a:lnTo>
                    <a:pt x="1187" y="479"/>
                  </a:lnTo>
                  <a:lnTo>
                    <a:pt x="1224" y="552"/>
                  </a:lnTo>
                  <a:lnTo>
                    <a:pt x="1332" y="504"/>
                  </a:lnTo>
                  <a:lnTo>
                    <a:pt x="1403" y="456"/>
                  </a:lnTo>
                  <a:lnTo>
                    <a:pt x="1356" y="371"/>
                  </a:lnTo>
                  <a:lnTo>
                    <a:pt x="1439" y="312"/>
                  </a:lnTo>
                  <a:lnTo>
                    <a:pt x="1512" y="395"/>
                  </a:lnTo>
                  <a:lnTo>
                    <a:pt x="1500" y="489"/>
                  </a:lnTo>
                  <a:lnTo>
                    <a:pt x="1526" y="566"/>
                  </a:lnTo>
                  <a:lnTo>
                    <a:pt x="1584" y="611"/>
                  </a:lnTo>
                  <a:lnTo>
                    <a:pt x="1631" y="684"/>
                  </a:lnTo>
                  <a:lnTo>
                    <a:pt x="1646" y="771"/>
                  </a:lnTo>
                  <a:lnTo>
                    <a:pt x="1769" y="828"/>
                  </a:lnTo>
                  <a:lnTo>
                    <a:pt x="1836" y="890"/>
                  </a:lnTo>
                  <a:lnTo>
                    <a:pt x="1946" y="936"/>
                  </a:lnTo>
                  <a:lnTo>
                    <a:pt x="2088" y="947"/>
                  </a:lnTo>
                  <a:lnTo>
                    <a:pt x="2337" y="1065"/>
                  </a:lnTo>
                  <a:lnTo>
                    <a:pt x="2471" y="1094"/>
                  </a:lnTo>
                  <a:lnTo>
                    <a:pt x="2589" y="1080"/>
                  </a:lnTo>
                  <a:lnTo>
                    <a:pt x="2696" y="1032"/>
                  </a:lnTo>
                  <a:lnTo>
                    <a:pt x="2822" y="947"/>
                  </a:lnTo>
                  <a:lnTo>
                    <a:pt x="2904" y="819"/>
                  </a:lnTo>
                  <a:lnTo>
                    <a:pt x="2855" y="672"/>
                  </a:lnTo>
                  <a:lnTo>
                    <a:pt x="2868" y="552"/>
                  </a:lnTo>
                  <a:lnTo>
                    <a:pt x="2823" y="434"/>
                  </a:lnTo>
                  <a:lnTo>
                    <a:pt x="2915" y="419"/>
                  </a:lnTo>
                  <a:lnTo>
                    <a:pt x="3000" y="458"/>
                  </a:lnTo>
                  <a:lnTo>
                    <a:pt x="3012" y="323"/>
                  </a:lnTo>
                  <a:lnTo>
                    <a:pt x="3059" y="240"/>
                  </a:lnTo>
                  <a:lnTo>
                    <a:pt x="2916" y="182"/>
                  </a:lnTo>
                  <a:lnTo>
                    <a:pt x="2918" y="71"/>
                  </a:lnTo>
                  <a:lnTo>
                    <a:pt x="2990" y="36"/>
                  </a:lnTo>
                  <a:lnTo>
                    <a:pt x="3074" y="71"/>
                  </a:lnTo>
                  <a:lnTo>
                    <a:pt x="3212" y="84"/>
                  </a:lnTo>
                  <a:lnTo>
                    <a:pt x="3377" y="63"/>
                  </a:lnTo>
                  <a:lnTo>
                    <a:pt x="3560" y="48"/>
                  </a:lnTo>
                  <a:lnTo>
                    <a:pt x="3636" y="62"/>
                  </a:lnTo>
                  <a:lnTo>
                    <a:pt x="3696" y="167"/>
                  </a:lnTo>
                  <a:lnTo>
                    <a:pt x="3770" y="93"/>
                  </a:lnTo>
                  <a:lnTo>
                    <a:pt x="3815" y="0"/>
                  </a:lnTo>
                  <a:lnTo>
                    <a:pt x="3893" y="26"/>
                  </a:lnTo>
                  <a:lnTo>
                    <a:pt x="3984" y="96"/>
                  </a:lnTo>
                  <a:lnTo>
                    <a:pt x="4032" y="218"/>
                  </a:lnTo>
                  <a:lnTo>
                    <a:pt x="3986" y="324"/>
                  </a:lnTo>
                  <a:lnTo>
                    <a:pt x="3864" y="192"/>
                  </a:lnTo>
                  <a:lnTo>
                    <a:pt x="3890" y="315"/>
                  </a:lnTo>
                  <a:lnTo>
                    <a:pt x="3936" y="447"/>
                  </a:lnTo>
                  <a:lnTo>
                    <a:pt x="3851" y="543"/>
                  </a:lnTo>
                  <a:lnTo>
                    <a:pt x="3779" y="648"/>
                  </a:lnTo>
                  <a:lnTo>
                    <a:pt x="3692" y="882"/>
                  </a:lnTo>
                  <a:lnTo>
                    <a:pt x="3638" y="1008"/>
                  </a:lnTo>
                  <a:lnTo>
                    <a:pt x="3537" y="1082"/>
                  </a:lnTo>
                  <a:lnTo>
                    <a:pt x="3432" y="1128"/>
                  </a:lnTo>
                  <a:lnTo>
                    <a:pt x="3443" y="1235"/>
                  </a:lnTo>
                  <a:lnTo>
                    <a:pt x="3503" y="1296"/>
                  </a:lnTo>
                  <a:lnTo>
                    <a:pt x="3614" y="1271"/>
                  </a:lnTo>
                  <a:lnTo>
                    <a:pt x="3672" y="1188"/>
                  </a:lnTo>
                  <a:lnTo>
                    <a:pt x="3743" y="1200"/>
                  </a:lnTo>
                  <a:lnTo>
                    <a:pt x="3818" y="1188"/>
                  </a:lnTo>
                  <a:lnTo>
                    <a:pt x="3912" y="1188"/>
                  </a:lnTo>
                  <a:lnTo>
                    <a:pt x="3984" y="1262"/>
                  </a:lnTo>
                  <a:lnTo>
                    <a:pt x="4010" y="1356"/>
                  </a:lnTo>
                  <a:lnTo>
                    <a:pt x="3962" y="1440"/>
                  </a:lnTo>
                  <a:lnTo>
                    <a:pt x="3972" y="1524"/>
                  </a:lnTo>
                  <a:lnTo>
                    <a:pt x="4056" y="1574"/>
                  </a:lnTo>
                  <a:lnTo>
                    <a:pt x="4173" y="1595"/>
                  </a:lnTo>
                  <a:lnTo>
                    <a:pt x="4299" y="1670"/>
                  </a:lnTo>
                  <a:lnTo>
                    <a:pt x="4350" y="1779"/>
                  </a:lnTo>
                  <a:lnTo>
                    <a:pt x="4404" y="1910"/>
                  </a:lnTo>
                  <a:lnTo>
                    <a:pt x="4334" y="1968"/>
                  </a:lnTo>
                  <a:lnTo>
                    <a:pt x="4356" y="2075"/>
                  </a:lnTo>
                  <a:lnTo>
                    <a:pt x="4212" y="2016"/>
                  </a:lnTo>
                  <a:lnTo>
                    <a:pt x="4154" y="1908"/>
                  </a:lnTo>
                  <a:lnTo>
                    <a:pt x="4052" y="1835"/>
                  </a:lnTo>
                  <a:lnTo>
                    <a:pt x="3881" y="1809"/>
                  </a:lnTo>
                  <a:lnTo>
                    <a:pt x="3767" y="1802"/>
                  </a:lnTo>
                  <a:lnTo>
                    <a:pt x="3768" y="1917"/>
                  </a:lnTo>
                  <a:lnTo>
                    <a:pt x="3732" y="2031"/>
                  </a:lnTo>
                  <a:lnTo>
                    <a:pt x="3635" y="2198"/>
                  </a:lnTo>
                  <a:lnTo>
                    <a:pt x="3671" y="2289"/>
                  </a:lnTo>
                  <a:lnTo>
                    <a:pt x="3587" y="2327"/>
                  </a:lnTo>
                  <a:lnTo>
                    <a:pt x="3515" y="2258"/>
                  </a:lnTo>
                  <a:lnTo>
                    <a:pt x="3503" y="2174"/>
                  </a:lnTo>
                  <a:lnTo>
                    <a:pt x="3444" y="2076"/>
                  </a:lnTo>
                  <a:lnTo>
                    <a:pt x="3539" y="2016"/>
                  </a:lnTo>
                  <a:lnTo>
                    <a:pt x="3563" y="1884"/>
                  </a:lnTo>
                  <a:lnTo>
                    <a:pt x="3624" y="1850"/>
                  </a:lnTo>
                  <a:lnTo>
                    <a:pt x="3621" y="1787"/>
                  </a:lnTo>
                  <a:lnTo>
                    <a:pt x="3482" y="1787"/>
                  </a:lnTo>
                  <a:lnTo>
                    <a:pt x="3419" y="1730"/>
                  </a:lnTo>
                  <a:lnTo>
                    <a:pt x="3395" y="1668"/>
                  </a:lnTo>
                  <a:lnTo>
                    <a:pt x="3306" y="1689"/>
                  </a:lnTo>
                  <a:lnTo>
                    <a:pt x="3252" y="1691"/>
                  </a:lnTo>
                  <a:lnTo>
                    <a:pt x="3192" y="1776"/>
                  </a:lnTo>
                  <a:lnTo>
                    <a:pt x="3240" y="1895"/>
                  </a:lnTo>
                  <a:lnTo>
                    <a:pt x="3240" y="2004"/>
                  </a:lnTo>
                  <a:lnTo>
                    <a:pt x="3179" y="2100"/>
                  </a:lnTo>
                  <a:lnTo>
                    <a:pt x="3182" y="2196"/>
                  </a:lnTo>
                  <a:lnTo>
                    <a:pt x="3285" y="2207"/>
                  </a:lnTo>
                  <a:lnTo>
                    <a:pt x="3362" y="2234"/>
                  </a:lnTo>
                  <a:lnTo>
                    <a:pt x="3383" y="2376"/>
                  </a:lnTo>
                  <a:lnTo>
                    <a:pt x="3455" y="2462"/>
                  </a:lnTo>
                  <a:lnTo>
                    <a:pt x="3336" y="2543"/>
                  </a:lnTo>
                  <a:lnTo>
                    <a:pt x="3326" y="2676"/>
                  </a:lnTo>
                  <a:lnTo>
                    <a:pt x="3275" y="2739"/>
                  </a:lnTo>
                  <a:lnTo>
                    <a:pt x="3312" y="2856"/>
                  </a:lnTo>
                  <a:lnTo>
                    <a:pt x="3197" y="2844"/>
                  </a:lnTo>
                  <a:lnTo>
                    <a:pt x="3105" y="2831"/>
                  </a:lnTo>
                  <a:lnTo>
                    <a:pt x="3000" y="2820"/>
                  </a:lnTo>
                  <a:lnTo>
                    <a:pt x="2894" y="2916"/>
                  </a:lnTo>
                  <a:lnTo>
                    <a:pt x="2775" y="2906"/>
                  </a:lnTo>
                  <a:lnTo>
                    <a:pt x="2661" y="2880"/>
                  </a:lnTo>
                  <a:lnTo>
                    <a:pt x="2412" y="2940"/>
                  </a:lnTo>
                  <a:lnTo>
                    <a:pt x="2364" y="3119"/>
                  </a:lnTo>
                  <a:lnTo>
                    <a:pt x="2400" y="3251"/>
                  </a:lnTo>
                  <a:lnTo>
                    <a:pt x="2388" y="3326"/>
                  </a:lnTo>
                  <a:lnTo>
                    <a:pt x="2243" y="3545"/>
                  </a:lnTo>
                  <a:lnTo>
                    <a:pt x="1956" y="3600"/>
                  </a:lnTo>
                  <a:lnTo>
                    <a:pt x="1620" y="3564"/>
                  </a:lnTo>
                  <a:lnTo>
                    <a:pt x="1524" y="3444"/>
                  </a:lnTo>
                  <a:lnTo>
                    <a:pt x="1397" y="3408"/>
                  </a:lnTo>
                  <a:lnTo>
                    <a:pt x="1440" y="3084"/>
                  </a:lnTo>
                  <a:lnTo>
                    <a:pt x="1476" y="2820"/>
                  </a:lnTo>
                  <a:lnTo>
                    <a:pt x="1332" y="2772"/>
                  </a:lnTo>
                  <a:lnTo>
                    <a:pt x="1164" y="2700"/>
                  </a:lnTo>
                  <a:lnTo>
                    <a:pt x="984" y="2784"/>
                  </a:lnTo>
                  <a:lnTo>
                    <a:pt x="972" y="2640"/>
                  </a:lnTo>
                  <a:lnTo>
                    <a:pt x="864" y="2580"/>
                  </a:lnTo>
                  <a:lnTo>
                    <a:pt x="780" y="2412"/>
                  </a:lnTo>
                  <a:lnTo>
                    <a:pt x="708" y="2292"/>
                  </a:lnTo>
                  <a:lnTo>
                    <a:pt x="684" y="2100"/>
                  </a:lnTo>
                  <a:lnTo>
                    <a:pt x="684" y="1968"/>
                  </a:lnTo>
                  <a:lnTo>
                    <a:pt x="720" y="1788"/>
                  </a:lnTo>
                  <a:lnTo>
                    <a:pt x="636" y="1728"/>
                  </a:lnTo>
                  <a:lnTo>
                    <a:pt x="516" y="1692"/>
                  </a:lnTo>
                  <a:lnTo>
                    <a:pt x="444" y="1596"/>
                  </a:lnTo>
                  <a:lnTo>
                    <a:pt x="336" y="1584"/>
                  </a:lnTo>
                  <a:lnTo>
                    <a:pt x="252" y="1464"/>
                  </a:lnTo>
                  <a:lnTo>
                    <a:pt x="192" y="1392"/>
                  </a:lnTo>
                  <a:lnTo>
                    <a:pt x="84" y="1356"/>
                  </a:lnTo>
                  <a:lnTo>
                    <a:pt x="0" y="1236"/>
                  </a:lnTo>
                  <a:lnTo>
                    <a:pt x="120" y="1260"/>
                  </a:lnTo>
                  <a:lnTo>
                    <a:pt x="252" y="1236"/>
                  </a:lnTo>
                  <a:lnTo>
                    <a:pt x="372" y="1332"/>
                  </a:lnTo>
                  <a:lnTo>
                    <a:pt x="456" y="1296"/>
                  </a:lnTo>
                  <a:lnTo>
                    <a:pt x="504" y="1212"/>
                  </a:lnTo>
                  <a:lnTo>
                    <a:pt x="624" y="1200"/>
                  </a:lnTo>
                  <a:lnTo>
                    <a:pt x="708" y="1140"/>
                  </a:lnTo>
                  <a:lnTo>
                    <a:pt x="804" y="1188"/>
                  </a:lnTo>
                  <a:lnTo>
                    <a:pt x="912" y="1200"/>
                  </a:lnTo>
                  <a:lnTo>
                    <a:pt x="1032" y="1188"/>
                  </a:lnTo>
                  <a:lnTo>
                    <a:pt x="1008" y="1056"/>
                  </a:lnTo>
                  <a:lnTo>
                    <a:pt x="1008" y="948"/>
                  </a:lnTo>
                  <a:lnTo>
                    <a:pt x="938" y="884"/>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5" name="Freeform 16">
              <a:extLst>
                <a:ext uri="{FF2B5EF4-FFF2-40B4-BE49-F238E27FC236}">
                  <a16:creationId xmlns:a16="http://schemas.microsoft.com/office/drawing/2014/main" id="{B2CDBC79-DDED-4061-83C0-905D136BC998}"/>
                </a:ext>
              </a:extLst>
            </p:cNvPr>
            <p:cNvSpPr>
              <a:spLocks/>
            </p:cNvSpPr>
            <p:nvPr/>
          </p:nvSpPr>
          <p:spPr bwMode="auto">
            <a:xfrm>
              <a:off x="4431075" y="1606859"/>
              <a:ext cx="653477" cy="1421031"/>
            </a:xfrm>
            <a:custGeom>
              <a:avLst/>
              <a:gdLst>
                <a:gd name="T0" fmla="*/ 102 w 2323"/>
                <a:gd name="T1" fmla="*/ 139 h 5047"/>
                <a:gd name="T2" fmla="*/ 12 w 2323"/>
                <a:gd name="T3" fmla="*/ 280 h 5047"/>
                <a:gd name="T4" fmla="*/ 85 w 2323"/>
                <a:gd name="T5" fmla="*/ 562 h 5047"/>
                <a:gd name="T6" fmla="*/ 97 w 2323"/>
                <a:gd name="T7" fmla="*/ 805 h 5047"/>
                <a:gd name="T8" fmla="*/ 12 w 2323"/>
                <a:gd name="T9" fmla="*/ 1113 h 5047"/>
                <a:gd name="T10" fmla="*/ 12 w 2323"/>
                <a:gd name="T11" fmla="*/ 1440 h 5047"/>
                <a:gd name="T12" fmla="*/ 171 w 2323"/>
                <a:gd name="T13" fmla="*/ 1533 h 5047"/>
                <a:gd name="T14" fmla="*/ 51 w 2323"/>
                <a:gd name="T15" fmla="*/ 1785 h 5047"/>
                <a:gd name="T16" fmla="*/ 72 w 2323"/>
                <a:gd name="T17" fmla="*/ 2058 h 5047"/>
                <a:gd name="T18" fmla="*/ 144 w 2323"/>
                <a:gd name="T19" fmla="*/ 2313 h 5047"/>
                <a:gd name="T20" fmla="*/ 229 w 2323"/>
                <a:gd name="T21" fmla="*/ 2529 h 5047"/>
                <a:gd name="T22" fmla="*/ 327 w 2323"/>
                <a:gd name="T23" fmla="*/ 2811 h 5047"/>
                <a:gd name="T24" fmla="*/ 447 w 2323"/>
                <a:gd name="T25" fmla="*/ 3034 h 5047"/>
                <a:gd name="T26" fmla="*/ 387 w 2323"/>
                <a:gd name="T27" fmla="*/ 3237 h 5047"/>
                <a:gd name="T28" fmla="*/ 408 w 2323"/>
                <a:gd name="T29" fmla="*/ 3406 h 5047"/>
                <a:gd name="T30" fmla="*/ 373 w 2323"/>
                <a:gd name="T31" fmla="*/ 3657 h 5047"/>
                <a:gd name="T32" fmla="*/ 253 w 2323"/>
                <a:gd name="T33" fmla="*/ 3909 h 5047"/>
                <a:gd name="T34" fmla="*/ 322 w 2323"/>
                <a:gd name="T35" fmla="*/ 4030 h 5047"/>
                <a:gd name="T36" fmla="*/ 276 w 2323"/>
                <a:gd name="T37" fmla="*/ 4248 h 5047"/>
                <a:gd name="T38" fmla="*/ 169 w 2323"/>
                <a:gd name="T39" fmla="*/ 4476 h 5047"/>
                <a:gd name="T40" fmla="*/ 156 w 2323"/>
                <a:gd name="T41" fmla="*/ 4644 h 5047"/>
                <a:gd name="T42" fmla="*/ 169 w 2323"/>
                <a:gd name="T43" fmla="*/ 4783 h 5047"/>
                <a:gd name="T44" fmla="*/ 291 w 2323"/>
                <a:gd name="T45" fmla="*/ 4908 h 5047"/>
                <a:gd name="T46" fmla="*/ 421 w 2323"/>
                <a:gd name="T47" fmla="*/ 4932 h 5047"/>
                <a:gd name="T48" fmla="*/ 610 w 2323"/>
                <a:gd name="T49" fmla="*/ 4659 h 5047"/>
                <a:gd name="T50" fmla="*/ 807 w 2323"/>
                <a:gd name="T51" fmla="*/ 4545 h 5047"/>
                <a:gd name="T52" fmla="*/ 841 w 2323"/>
                <a:gd name="T53" fmla="*/ 4438 h 5047"/>
                <a:gd name="T54" fmla="*/ 1129 w 2323"/>
                <a:gd name="T55" fmla="*/ 4080 h 5047"/>
                <a:gd name="T56" fmla="*/ 1123 w 2323"/>
                <a:gd name="T57" fmla="*/ 3799 h 5047"/>
                <a:gd name="T58" fmla="*/ 1225 w 2323"/>
                <a:gd name="T59" fmla="*/ 3361 h 5047"/>
                <a:gd name="T60" fmla="*/ 1428 w 2323"/>
                <a:gd name="T61" fmla="*/ 3142 h 5047"/>
                <a:gd name="T62" fmla="*/ 1837 w 2323"/>
                <a:gd name="T63" fmla="*/ 2926 h 5047"/>
                <a:gd name="T64" fmla="*/ 1837 w 2323"/>
                <a:gd name="T65" fmla="*/ 2548 h 5047"/>
                <a:gd name="T66" fmla="*/ 2071 w 2323"/>
                <a:gd name="T67" fmla="*/ 2296 h 5047"/>
                <a:gd name="T68" fmla="*/ 2323 w 2323"/>
                <a:gd name="T69" fmla="*/ 1864 h 5047"/>
                <a:gd name="T70" fmla="*/ 1836 w 2323"/>
                <a:gd name="T71" fmla="*/ 1173 h 5047"/>
                <a:gd name="T72" fmla="*/ 1384 w 2323"/>
                <a:gd name="T73" fmla="*/ 742 h 5047"/>
                <a:gd name="T74" fmla="*/ 1060 w 2323"/>
                <a:gd name="T75" fmla="*/ 444 h 5047"/>
                <a:gd name="T76" fmla="*/ 552 w 2323"/>
                <a:gd name="T77" fmla="*/ 94 h 5047"/>
                <a:gd name="T78" fmla="*/ 229 w 2323"/>
                <a:gd name="T79" fmla="*/ 82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3" h="5047">
                  <a:moveTo>
                    <a:pt x="229" y="82"/>
                  </a:moveTo>
                  <a:lnTo>
                    <a:pt x="102" y="139"/>
                  </a:lnTo>
                  <a:lnTo>
                    <a:pt x="0" y="190"/>
                  </a:lnTo>
                  <a:lnTo>
                    <a:pt x="12" y="280"/>
                  </a:lnTo>
                  <a:lnTo>
                    <a:pt x="73" y="432"/>
                  </a:lnTo>
                  <a:lnTo>
                    <a:pt x="85" y="562"/>
                  </a:lnTo>
                  <a:lnTo>
                    <a:pt x="72" y="696"/>
                  </a:lnTo>
                  <a:lnTo>
                    <a:pt x="97" y="805"/>
                  </a:lnTo>
                  <a:lnTo>
                    <a:pt x="24" y="913"/>
                  </a:lnTo>
                  <a:lnTo>
                    <a:pt x="12" y="1113"/>
                  </a:lnTo>
                  <a:lnTo>
                    <a:pt x="85" y="1222"/>
                  </a:lnTo>
                  <a:lnTo>
                    <a:pt x="12" y="1440"/>
                  </a:lnTo>
                  <a:lnTo>
                    <a:pt x="93" y="1461"/>
                  </a:lnTo>
                  <a:lnTo>
                    <a:pt x="171" y="1533"/>
                  </a:lnTo>
                  <a:lnTo>
                    <a:pt x="145" y="1678"/>
                  </a:lnTo>
                  <a:lnTo>
                    <a:pt x="51" y="1785"/>
                  </a:lnTo>
                  <a:lnTo>
                    <a:pt x="48" y="1944"/>
                  </a:lnTo>
                  <a:lnTo>
                    <a:pt x="72" y="2058"/>
                  </a:lnTo>
                  <a:lnTo>
                    <a:pt x="84" y="2217"/>
                  </a:lnTo>
                  <a:lnTo>
                    <a:pt x="144" y="2313"/>
                  </a:lnTo>
                  <a:lnTo>
                    <a:pt x="135" y="2470"/>
                  </a:lnTo>
                  <a:lnTo>
                    <a:pt x="229" y="2529"/>
                  </a:lnTo>
                  <a:lnTo>
                    <a:pt x="289" y="2673"/>
                  </a:lnTo>
                  <a:lnTo>
                    <a:pt x="327" y="2811"/>
                  </a:lnTo>
                  <a:lnTo>
                    <a:pt x="394" y="2910"/>
                  </a:lnTo>
                  <a:lnTo>
                    <a:pt x="447" y="3034"/>
                  </a:lnTo>
                  <a:lnTo>
                    <a:pt x="372" y="3153"/>
                  </a:lnTo>
                  <a:lnTo>
                    <a:pt x="387" y="3237"/>
                  </a:lnTo>
                  <a:lnTo>
                    <a:pt x="327" y="3298"/>
                  </a:lnTo>
                  <a:lnTo>
                    <a:pt x="408" y="3406"/>
                  </a:lnTo>
                  <a:lnTo>
                    <a:pt x="397" y="3519"/>
                  </a:lnTo>
                  <a:lnTo>
                    <a:pt x="373" y="3657"/>
                  </a:lnTo>
                  <a:lnTo>
                    <a:pt x="373" y="3874"/>
                  </a:lnTo>
                  <a:lnTo>
                    <a:pt x="253" y="3909"/>
                  </a:lnTo>
                  <a:lnTo>
                    <a:pt x="253" y="4006"/>
                  </a:lnTo>
                  <a:lnTo>
                    <a:pt x="322" y="4030"/>
                  </a:lnTo>
                  <a:lnTo>
                    <a:pt x="291" y="4152"/>
                  </a:lnTo>
                  <a:lnTo>
                    <a:pt x="276" y="4248"/>
                  </a:lnTo>
                  <a:lnTo>
                    <a:pt x="145" y="4210"/>
                  </a:lnTo>
                  <a:lnTo>
                    <a:pt x="169" y="4476"/>
                  </a:lnTo>
                  <a:lnTo>
                    <a:pt x="73" y="4546"/>
                  </a:lnTo>
                  <a:lnTo>
                    <a:pt x="156" y="4644"/>
                  </a:lnTo>
                  <a:lnTo>
                    <a:pt x="61" y="4797"/>
                  </a:lnTo>
                  <a:lnTo>
                    <a:pt x="169" y="4783"/>
                  </a:lnTo>
                  <a:lnTo>
                    <a:pt x="202" y="4834"/>
                  </a:lnTo>
                  <a:lnTo>
                    <a:pt x="291" y="4908"/>
                  </a:lnTo>
                  <a:lnTo>
                    <a:pt x="271" y="5047"/>
                  </a:lnTo>
                  <a:lnTo>
                    <a:pt x="421" y="4932"/>
                  </a:lnTo>
                  <a:lnTo>
                    <a:pt x="526" y="4767"/>
                  </a:lnTo>
                  <a:lnTo>
                    <a:pt x="610" y="4659"/>
                  </a:lnTo>
                  <a:lnTo>
                    <a:pt x="685" y="4548"/>
                  </a:lnTo>
                  <a:lnTo>
                    <a:pt x="807" y="4545"/>
                  </a:lnTo>
                  <a:lnTo>
                    <a:pt x="898" y="4486"/>
                  </a:lnTo>
                  <a:lnTo>
                    <a:pt x="841" y="4438"/>
                  </a:lnTo>
                  <a:lnTo>
                    <a:pt x="984" y="4198"/>
                  </a:lnTo>
                  <a:lnTo>
                    <a:pt x="1129" y="4080"/>
                  </a:lnTo>
                  <a:lnTo>
                    <a:pt x="1068" y="3955"/>
                  </a:lnTo>
                  <a:lnTo>
                    <a:pt x="1123" y="3799"/>
                  </a:lnTo>
                  <a:lnTo>
                    <a:pt x="1213" y="3483"/>
                  </a:lnTo>
                  <a:lnTo>
                    <a:pt x="1225" y="3361"/>
                  </a:lnTo>
                  <a:lnTo>
                    <a:pt x="1309" y="3261"/>
                  </a:lnTo>
                  <a:lnTo>
                    <a:pt x="1428" y="3142"/>
                  </a:lnTo>
                  <a:lnTo>
                    <a:pt x="1824" y="3142"/>
                  </a:lnTo>
                  <a:lnTo>
                    <a:pt x="1837" y="2926"/>
                  </a:lnTo>
                  <a:lnTo>
                    <a:pt x="1783" y="2746"/>
                  </a:lnTo>
                  <a:lnTo>
                    <a:pt x="1837" y="2548"/>
                  </a:lnTo>
                  <a:lnTo>
                    <a:pt x="1927" y="2404"/>
                  </a:lnTo>
                  <a:lnTo>
                    <a:pt x="2071" y="2296"/>
                  </a:lnTo>
                  <a:lnTo>
                    <a:pt x="2161" y="2098"/>
                  </a:lnTo>
                  <a:lnTo>
                    <a:pt x="2323" y="1864"/>
                  </a:lnTo>
                  <a:lnTo>
                    <a:pt x="2061" y="1396"/>
                  </a:lnTo>
                  <a:lnTo>
                    <a:pt x="1836" y="1173"/>
                  </a:lnTo>
                  <a:lnTo>
                    <a:pt x="1614" y="970"/>
                  </a:lnTo>
                  <a:lnTo>
                    <a:pt x="1384" y="742"/>
                  </a:lnTo>
                  <a:lnTo>
                    <a:pt x="1260" y="627"/>
                  </a:lnTo>
                  <a:lnTo>
                    <a:pt x="1060" y="444"/>
                  </a:lnTo>
                  <a:lnTo>
                    <a:pt x="753" y="207"/>
                  </a:lnTo>
                  <a:lnTo>
                    <a:pt x="552" y="94"/>
                  </a:lnTo>
                  <a:lnTo>
                    <a:pt x="331" y="0"/>
                  </a:lnTo>
                  <a:lnTo>
                    <a:pt x="229" y="82"/>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6" name="Freeform 17">
              <a:extLst>
                <a:ext uri="{FF2B5EF4-FFF2-40B4-BE49-F238E27FC236}">
                  <a16:creationId xmlns:a16="http://schemas.microsoft.com/office/drawing/2014/main" id="{2101E7E1-7E72-4DA5-9ED3-0081EC9D0609}"/>
                </a:ext>
              </a:extLst>
            </p:cNvPr>
            <p:cNvSpPr>
              <a:spLocks/>
            </p:cNvSpPr>
            <p:nvPr/>
          </p:nvSpPr>
          <p:spPr bwMode="auto">
            <a:xfrm>
              <a:off x="4921183" y="2784244"/>
              <a:ext cx="154919" cy="85910"/>
            </a:xfrm>
            <a:custGeom>
              <a:avLst/>
              <a:gdLst>
                <a:gd name="T0" fmla="*/ 170 w 547"/>
                <a:gd name="T1" fmla="*/ 101 h 301"/>
                <a:gd name="T2" fmla="*/ 88 w 547"/>
                <a:gd name="T3" fmla="*/ 138 h 301"/>
                <a:gd name="T4" fmla="*/ 24 w 547"/>
                <a:gd name="T5" fmla="*/ 183 h 301"/>
                <a:gd name="T6" fmla="*/ 0 w 547"/>
                <a:gd name="T7" fmla="*/ 256 h 301"/>
                <a:gd name="T8" fmla="*/ 93 w 547"/>
                <a:gd name="T9" fmla="*/ 301 h 301"/>
                <a:gd name="T10" fmla="*/ 237 w 547"/>
                <a:gd name="T11" fmla="*/ 267 h 301"/>
                <a:gd name="T12" fmla="*/ 367 w 547"/>
                <a:gd name="T13" fmla="*/ 279 h 301"/>
                <a:gd name="T14" fmla="*/ 393 w 547"/>
                <a:gd name="T15" fmla="*/ 136 h 301"/>
                <a:gd name="T16" fmla="*/ 490 w 547"/>
                <a:gd name="T17" fmla="*/ 109 h 301"/>
                <a:gd name="T18" fmla="*/ 547 w 547"/>
                <a:gd name="T19" fmla="*/ 73 h 301"/>
                <a:gd name="T20" fmla="*/ 490 w 547"/>
                <a:gd name="T21" fmla="*/ 0 h 301"/>
                <a:gd name="T22" fmla="*/ 435 w 547"/>
                <a:gd name="T23" fmla="*/ 37 h 301"/>
                <a:gd name="T24" fmla="*/ 371 w 547"/>
                <a:gd name="T25" fmla="*/ 83 h 301"/>
                <a:gd name="T26" fmla="*/ 307 w 547"/>
                <a:gd name="T27" fmla="*/ 138 h 301"/>
                <a:gd name="T28" fmla="*/ 252 w 547"/>
                <a:gd name="T29" fmla="*/ 156 h 301"/>
                <a:gd name="T30" fmla="*/ 170 w 547"/>
                <a:gd name="T31" fmla="*/ 1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7" h="301">
                  <a:moveTo>
                    <a:pt x="170" y="101"/>
                  </a:moveTo>
                  <a:lnTo>
                    <a:pt x="88" y="138"/>
                  </a:lnTo>
                  <a:lnTo>
                    <a:pt x="24" y="183"/>
                  </a:lnTo>
                  <a:lnTo>
                    <a:pt x="0" y="256"/>
                  </a:lnTo>
                  <a:lnTo>
                    <a:pt x="93" y="301"/>
                  </a:lnTo>
                  <a:lnTo>
                    <a:pt x="237" y="267"/>
                  </a:lnTo>
                  <a:lnTo>
                    <a:pt x="367" y="279"/>
                  </a:lnTo>
                  <a:lnTo>
                    <a:pt x="393" y="136"/>
                  </a:lnTo>
                  <a:lnTo>
                    <a:pt x="490" y="109"/>
                  </a:lnTo>
                  <a:lnTo>
                    <a:pt x="547" y="73"/>
                  </a:lnTo>
                  <a:lnTo>
                    <a:pt x="490" y="0"/>
                  </a:lnTo>
                  <a:lnTo>
                    <a:pt x="435" y="37"/>
                  </a:lnTo>
                  <a:lnTo>
                    <a:pt x="371" y="83"/>
                  </a:lnTo>
                  <a:lnTo>
                    <a:pt x="307" y="138"/>
                  </a:lnTo>
                  <a:lnTo>
                    <a:pt x="252" y="156"/>
                  </a:lnTo>
                  <a:lnTo>
                    <a:pt x="170" y="101"/>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grpSp>
          <p:nvGrpSpPr>
            <p:cNvPr id="17" name="组合 64">
              <a:extLst>
                <a:ext uri="{FF2B5EF4-FFF2-40B4-BE49-F238E27FC236}">
                  <a16:creationId xmlns:a16="http://schemas.microsoft.com/office/drawing/2014/main" id="{8D9CDE71-9ED8-43FE-990B-2C5D033BFE16}"/>
                </a:ext>
              </a:extLst>
            </p:cNvPr>
            <p:cNvGrpSpPr/>
            <p:nvPr/>
          </p:nvGrpSpPr>
          <p:grpSpPr>
            <a:xfrm>
              <a:off x="73944" y="1790476"/>
              <a:ext cx="1871590" cy="790251"/>
              <a:chOff x="416520" y="4774171"/>
              <a:chExt cx="2109658" cy="890772"/>
            </a:xfrm>
          </p:grpSpPr>
          <p:sp>
            <p:nvSpPr>
              <p:cNvPr id="18" name="圆角矩形 111">
                <a:extLst>
                  <a:ext uri="{FF2B5EF4-FFF2-40B4-BE49-F238E27FC236}">
                    <a16:creationId xmlns:a16="http://schemas.microsoft.com/office/drawing/2014/main" id="{5E665367-1A08-451A-B772-E816A08577BB}"/>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9" name="圆角矩形 45">
                <a:extLst>
                  <a:ext uri="{FF2B5EF4-FFF2-40B4-BE49-F238E27FC236}">
                    <a16:creationId xmlns:a16="http://schemas.microsoft.com/office/drawing/2014/main" id="{B1677368-A0A9-47C2-8104-CC8A8281FA3A}"/>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Oromia</a:t>
                </a:r>
                <a:endParaRPr lang="en-US" altLang="zh-CN" sz="1050" b="1" kern="0" dirty="0"/>
              </a:p>
            </p:txBody>
          </p:sp>
          <p:sp>
            <p:nvSpPr>
              <p:cNvPr id="20" name="Text Box 16">
                <a:extLst>
                  <a:ext uri="{FF2B5EF4-FFF2-40B4-BE49-F238E27FC236}">
                    <a16:creationId xmlns:a16="http://schemas.microsoft.com/office/drawing/2014/main" id="{4B955912-4766-4979-8275-5D2B3118ABE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31</a:t>
                </a:r>
              </a:p>
            </p:txBody>
          </p:sp>
        </p:grpSp>
        <p:sp>
          <p:nvSpPr>
            <p:cNvPr id="21" name="Oval 25">
              <a:extLst>
                <a:ext uri="{FF2B5EF4-FFF2-40B4-BE49-F238E27FC236}">
                  <a16:creationId xmlns:a16="http://schemas.microsoft.com/office/drawing/2014/main" id="{C32D6F10-81A4-41BC-9212-25815DCA592D}"/>
                </a:ext>
              </a:extLst>
            </p:cNvPr>
            <p:cNvSpPr>
              <a:spLocks noChangeArrowheads="1"/>
            </p:cNvSpPr>
            <p:nvPr/>
          </p:nvSpPr>
          <p:spPr bwMode="gray">
            <a:xfrm>
              <a:off x="3727920" y="297025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2" name="肘形连接符 66">
              <a:extLst>
                <a:ext uri="{FF2B5EF4-FFF2-40B4-BE49-F238E27FC236}">
                  <a16:creationId xmlns:a16="http://schemas.microsoft.com/office/drawing/2014/main" id="{355DB5E8-13CB-477D-B1BF-7F8105A96E06}"/>
                </a:ext>
              </a:extLst>
            </p:cNvPr>
            <p:cNvCxnSpPr>
              <a:cxnSpLocks/>
              <a:stCxn id="21" idx="2"/>
              <a:endCxn id="18" idx="3"/>
            </p:cNvCxnSpPr>
            <p:nvPr/>
          </p:nvCxnSpPr>
          <p:spPr>
            <a:xfrm rot="10800000">
              <a:off x="1945534" y="2266776"/>
              <a:ext cx="1782386" cy="751748"/>
            </a:xfrm>
            <a:prstGeom prst="bentConnector3">
              <a:avLst>
                <a:gd name="adj1" fmla="val 69999"/>
              </a:avLst>
            </a:prstGeom>
            <a:noFill/>
            <a:ln w="9525">
              <a:solidFill>
                <a:srgbClr val="C00000"/>
              </a:solidFill>
              <a:prstDash val="sysDash"/>
              <a:miter lim="800000"/>
              <a:headEnd/>
              <a:tailEnd/>
            </a:ln>
          </p:spPr>
        </p:cxnSp>
        <p:grpSp>
          <p:nvGrpSpPr>
            <p:cNvPr id="23" name="组合 67">
              <a:extLst>
                <a:ext uri="{FF2B5EF4-FFF2-40B4-BE49-F238E27FC236}">
                  <a16:creationId xmlns:a16="http://schemas.microsoft.com/office/drawing/2014/main" id="{724F1D65-F89E-4F3C-B6E4-32E281865FAA}"/>
                </a:ext>
              </a:extLst>
            </p:cNvPr>
            <p:cNvGrpSpPr/>
            <p:nvPr/>
          </p:nvGrpSpPr>
          <p:grpSpPr>
            <a:xfrm>
              <a:off x="75498" y="33920"/>
              <a:ext cx="1871590" cy="790251"/>
              <a:chOff x="416520" y="4774171"/>
              <a:chExt cx="2109658" cy="890772"/>
            </a:xfrm>
          </p:grpSpPr>
          <p:sp>
            <p:nvSpPr>
              <p:cNvPr id="24" name="圆角矩形 108">
                <a:extLst>
                  <a:ext uri="{FF2B5EF4-FFF2-40B4-BE49-F238E27FC236}">
                    <a16:creationId xmlns:a16="http://schemas.microsoft.com/office/drawing/2014/main" id="{6FF76637-E745-4F82-B0B7-E94F47B645F7}"/>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25" name="圆角矩形 45">
                <a:extLst>
                  <a:ext uri="{FF2B5EF4-FFF2-40B4-BE49-F238E27FC236}">
                    <a16:creationId xmlns:a16="http://schemas.microsoft.com/office/drawing/2014/main" id="{4D73194C-5A8F-4D37-9268-1AAFC446004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Amhara</a:t>
                </a:r>
                <a:endParaRPr lang="en-US" altLang="zh-CN" sz="1050" b="1" kern="0" dirty="0"/>
              </a:p>
            </p:txBody>
          </p:sp>
          <p:sp>
            <p:nvSpPr>
              <p:cNvPr id="26" name="Text Box 16">
                <a:extLst>
                  <a:ext uri="{FF2B5EF4-FFF2-40B4-BE49-F238E27FC236}">
                    <a16:creationId xmlns:a16="http://schemas.microsoft.com/office/drawing/2014/main" id="{A891C8F9-C3A9-4458-B569-EC1333C52D01}"/>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21</a:t>
                </a:r>
              </a:p>
            </p:txBody>
          </p:sp>
        </p:grpSp>
        <p:sp>
          <p:nvSpPr>
            <p:cNvPr id="27" name="Oval 25">
              <a:extLst>
                <a:ext uri="{FF2B5EF4-FFF2-40B4-BE49-F238E27FC236}">
                  <a16:creationId xmlns:a16="http://schemas.microsoft.com/office/drawing/2014/main" id="{1EEF8CB0-238E-4B62-9CB5-151DDCBD984B}"/>
                </a:ext>
              </a:extLst>
            </p:cNvPr>
            <p:cNvSpPr>
              <a:spLocks noChangeArrowheads="1"/>
            </p:cNvSpPr>
            <p:nvPr/>
          </p:nvSpPr>
          <p:spPr bwMode="gray">
            <a:xfrm>
              <a:off x="4063949" y="230496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8" name="肘形连接符 69">
              <a:extLst>
                <a:ext uri="{FF2B5EF4-FFF2-40B4-BE49-F238E27FC236}">
                  <a16:creationId xmlns:a16="http://schemas.microsoft.com/office/drawing/2014/main" id="{1FB619FC-C6C0-4060-A3C7-0EF0D76463DD}"/>
                </a:ext>
              </a:extLst>
            </p:cNvPr>
            <p:cNvCxnSpPr>
              <a:cxnSpLocks/>
              <a:stCxn id="27" idx="2"/>
              <a:endCxn id="24" idx="3"/>
            </p:cNvCxnSpPr>
            <p:nvPr/>
          </p:nvCxnSpPr>
          <p:spPr>
            <a:xfrm rot="10800000">
              <a:off x="1947089" y="510221"/>
              <a:ext cx="2116861" cy="1843014"/>
            </a:xfrm>
            <a:prstGeom prst="bentConnector3">
              <a:avLst>
                <a:gd name="adj1" fmla="val 33527"/>
              </a:avLst>
            </a:prstGeom>
            <a:noFill/>
            <a:ln w="9525">
              <a:solidFill>
                <a:srgbClr val="C00000"/>
              </a:solidFill>
              <a:prstDash val="sysDash"/>
              <a:miter lim="800000"/>
              <a:headEnd/>
              <a:tailEnd/>
            </a:ln>
          </p:spPr>
        </p:cxnSp>
        <p:grpSp>
          <p:nvGrpSpPr>
            <p:cNvPr id="29" name="组合 70">
              <a:extLst>
                <a:ext uri="{FF2B5EF4-FFF2-40B4-BE49-F238E27FC236}">
                  <a16:creationId xmlns:a16="http://schemas.microsoft.com/office/drawing/2014/main" id="{938A93DD-6989-4B28-92C1-3685E1C0601E}"/>
                </a:ext>
              </a:extLst>
            </p:cNvPr>
            <p:cNvGrpSpPr/>
            <p:nvPr/>
          </p:nvGrpSpPr>
          <p:grpSpPr>
            <a:xfrm>
              <a:off x="7145440" y="3821093"/>
              <a:ext cx="1871590" cy="865124"/>
              <a:chOff x="416520" y="4774171"/>
              <a:chExt cx="2109658" cy="975169"/>
            </a:xfrm>
          </p:grpSpPr>
          <p:sp>
            <p:nvSpPr>
              <p:cNvPr id="30" name="圆角矩形 103">
                <a:extLst>
                  <a:ext uri="{FF2B5EF4-FFF2-40B4-BE49-F238E27FC236}">
                    <a16:creationId xmlns:a16="http://schemas.microsoft.com/office/drawing/2014/main" id="{B9D541A9-098D-4F75-B40C-171EFB245E53}"/>
                  </a:ext>
                </a:extLst>
              </p:cNvPr>
              <p:cNvSpPr/>
              <p:nvPr/>
            </p:nvSpPr>
            <p:spPr>
              <a:xfrm>
                <a:off x="416520" y="4964089"/>
                <a:ext cx="2109658" cy="78525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1" name="圆角矩形 45">
                <a:extLst>
                  <a:ext uri="{FF2B5EF4-FFF2-40B4-BE49-F238E27FC236}">
                    <a16:creationId xmlns:a16="http://schemas.microsoft.com/office/drawing/2014/main" id="{7CFAA479-ECD6-470B-A2E8-BD7CCC698FBE}"/>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omali</a:t>
                </a:r>
              </a:p>
            </p:txBody>
          </p:sp>
          <p:sp>
            <p:nvSpPr>
              <p:cNvPr id="32" name="Text Box 16">
                <a:extLst>
                  <a:ext uri="{FF2B5EF4-FFF2-40B4-BE49-F238E27FC236}">
                    <a16:creationId xmlns:a16="http://schemas.microsoft.com/office/drawing/2014/main" id="{F322A253-FF51-4587-A795-37FC25BDE30C}"/>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7</a:t>
                </a:r>
              </a:p>
            </p:txBody>
          </p:sp>
        </p:grpSp>
        <p:sp>
          <p:nvSpPr>
            <p:cNvPr id="33" name="Oval 25">
              <a:extLst>
                <a:ext uri="{FF2B5EF4-FFF2-40B4-BE49-F238E27FC236}">
                  <a16:creationId xmlns:a16="http://schemas.microsoft.com/office/drawing/2014/main" id="{75323E5C-5055-492D-B326-05BCB04B538F}"/>
                </a:ext>
              </a:extLst>
            </p:cNvPr>
            <p:cNvSpPr>
              <a:spLocks noChangeArrowheads="1"/>
            </p:cNvSpPr>
            <p:nvPr/>
          </p:nvSpPr>
          <p:spPr bwMode="gray">
            <a:xfrm>
              <a:off x="5606145" y="3365781"/>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34" name="肘形连接符 72">
              <a:extLst>
                <a:ext uri="{FF2B5EF4-FFF2-40B4-BE49-F238E27FC236}">
                  <a16:creationId xmlns:a16="http://schemas.microsoft.com/office/drawing/2014/main" id="{FB45BB5F-12D5-412C-9543-6173A9441769}"/>
                </a:ext>
              </a:extLst>
            </p:cNvPr>
            <p:cNvCxnSpPr>
              <a:cxnSpLocks/>
              <a:stCxn id="33" idx="6"/>
              <a:endCxn id="30" idx="1"/>
            </p:cNvCxnSpPr>
            <p:nvPr/>
          </p:nvCxnSpPr>
          <p:spPr>
            <a:xfrm>
              <a:off x="5702686" y="3414052"/>
              <a:ext cx="1442754" cy="923847"/>
            </a:xfrm>
            <a:prstGeom prst="bentConnector3">
              <a:avLst>
                <a:gd name="adj1" fmla="val 50000"/>
              </a:avLst>
            </a:prstGeom>
            <a:noFill/>
            <a:ln w="9525">
              <a:solidFill>
                <a:srgbClr val="C00000"/>
              </a:solidFill>
              <a:prstDash val="sysDash"/>
              <a:miter lim="800000"/>
              <a:headEnd/>
              <a:tailEnd/>
            </a:ln>
          </p:spPr>
        </p:cxnSp>
        <p:grpSp>
          <p:nvGrpSpPr>
            <p:cNvPr id="35" name="组合 82">
              <a:extLst>
                <a:ext uri="{FF2B5EF4-FFF2-40B4-BE49-F238E27FC236}">
                  <a16:creationId xmlns:a16="http://schemas.microsoft.com/office/drawing/2014/main" id="{2B9DBF8E-98F3-4AAF-AE6D-4CABAE4FB6E0}"/>
                </a:ext>
              </a:extLst>
            </p:cNvPr>
            <p:cNvGrpSpPr/>
            <p:nvPr/>
          </p:nvGrpSpPr>
          <p:grpSpPr>
            <a:xfrm>
              <a:off x="75498" y="3582943"/>
              <a:ext cx="1871590" cy="790251"/>
              <a:chOff x="416520" y="4774171"/>
              <a:chExt cx="2109658" cy="890772"/>
            </a:xfrm>
          </p:grpSpPr>
          <p:sp>
            <p:nvSpPr>
              <p:cNvPr id="36" name="圆角矩形 97">
                <a:extLst>
                  <a:ext uri="{FF2B5EF4-FFF2-40B4-BE49-F238E27FC236}">
                    <a16:creationId xmlns:a16="http://schemas.microsoft.com/office/drawing/2014/main" id="{234A2F52-783F-4160-93B4-CDE4CD679102}"/>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7" name="圆角矩形 45">
                <a:extLst>
                  <a:ext uri="{FF2B5EF4-FFF2-40B4-BE49-F238E27FC236}">
                    <a16:creationId xmlns:a16="http://schemas.microsoft.com/office/drawing/2014/main" id="{D4BC0CC7-5189-44F0-9815-C6290369331E}"/>
                  </a:ext>
                </a:extLst>
              </p:cNvPr>
              <p:cNvSpPr/>
              <p:nvPr/>
            </p:nvSpPr>
            <p:spPr>
              <a:xfrm>
                <a:off x="528442" y="4774171"/>
                <a:ext cx="1885814" cy="536888"/>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NNPR</a:t>
                </a:r>
              </a:p>
            </p:txBody>
          </p:sp>
          <p:sp>
            <p:nvSpPr>
              <p:cNvPr id="38" name="Text Box 16">
                <a:extLst>
                  <a:ext uri="{FF2B5EF4-FFF2-40B4-BE49-F238E27FC236}">
                    <a16:creationId xmlns:a16="http://schemas.microsoft.com/office/drawing/2014/main" id="{6E9A6A41-1075-48B6-8869-A1A4A98035A4}"/>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26</a:t>
                </a:r>
              </a:p>
            </p:txBody>
          </p:sp>
        </p:grpSp>
        <p:sp>
          <p:nvSpPr>
            <p:cNvPr id="39" name="Oval 25">
              <a:extLst>
                <a:ext uri="{FF2B5EF4-FFF2-40B4-BE49-F238E27FC236}">
                  <a16:creationId xmlns:a16="http://schemas.microsoft.com/office/drawing/2014/main" id="{7C6F0CAF-6F92-483B-AF87-4CB18571CE66}"/>
                </a:ext>
              </a:extLst>
            </p:cNvPr>
            <p:cNvSpPr>
              <a:spLocks noChangeArrowheads="1"/>
            </p:cNvSpPr>
            <p:nvPr/>
          </p:nvSpPr>
          <p:spPr bwMode="gray">
            <a:xfrm>
              <a:off x="4138838" y="297602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40" name="肘形连接符 96">
              <a:extLst>
                <a:ext uri="{FF2B5EF4-FFF2-40B4-BE49-F238E27FC236}">
                  <a16:creationId xmlns:a16="http://schemas.microsoft.com/office/drawing/2014/main" id="{C98FD2D6-4C85-46F0-9545-E44C0594418E}"/>
                </a:ext>
              </a:extLst>
            </p:cNvPr>
            <p:cNvCxnSpPr>
              <a:cxnSpLocks/>
              <a:stCxn id="39" idx="6"/>
              <a:endCxn id="71" idx="1"/>
            </p:cNvCxnSpPr>
            <p:nvPr/>
          </p:nvCxnSpPr>
          <p:spPr>
            <a:xfrm>
              <a:off x="4235379" y="3024300"/>
              <a:ext cx="303203" cy="1700079"/>
            </a:xfrm>
            <a:prstGeom prst="bentConnector3">
              <a:avLst>
                <a:gd name="adj1" fmla="val 50000"/>
              </a:avLst>
            </a:prstGeom>
            <a:noFill/>
            <a:ln w="9525">
              <a:solidFill>
                <a:srgbClr val="C00000"/>
              </a:solidFill>
              <a:prstDash val="sysDash"/>
              <a:miter lim="800000"/>
              <a:headEnd/>
              <a:tailEnd/>
            </a:ln>
          </p:spPr>
        </p:cxnSp>
        <p:grpSp>
          <p:nvGrpSpPr>
            <p:cNvPr id="41" name="组合 70">
              <a:extLst>
                <a:ext uri="{FF2B5EF4-FFF2-40B4-BE49-F238E27FC236}">
                  <a16:creationId xmlns:a16="http://schemas.microsoft.com/office/drawing/2014/main" id="{4D3D895E-7491-48D6-8994-4271093A8454}"/>
                </a:ext>
              </a:extLst>
            </p:cNvPr>
            <p:cNvGrpSpPr/>
            <p:nvPr/>
          </p:nvGrpSpPr>
          <p:grpSpPr>
            <a:xfrm>
              <a:off x="7141017" y="1747949"/>
              <a:ext cx="1871590" cy="865124"/>
              <a:chOff x="416520" y="4774171"/>
              <a:chExt cx="2109658" cy="975169"/>
            </a:xfrm>
          </p:grpSpPr>
          <p:sp>
            <p:nvSpPr>
              <p:cNvPr id="42" name="圆角矩形 103">
                <a:extLst>
                  <a:ext uri="{FF2B5EF4-FFF2-40B4-BE49-F238E27FC236}">
                    <a16:creationId xmlns:a16="http://schemas.microsoft.com/office/drawing/2014/main" id="{5EE43F11-9F99-4A74-8979-B22B8150CD8C}"/>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43" name="圆角矩形 45">
                <a:extLst>
                  <a:ext uri="{FF2B5EF4-FFF2-40B4-BE49-F238E27FC236}">
                    <a16:creationId xmlns:a16="http://schemas.microsoft.com/office/drawing/2014/main" id="{EB56C34B-CE67-49B7-8237-A35262C14948}"/>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Dire </a:t>
                </a:r>
                <a:r>
                  <a:rPr lang="en-US" altLang="zh-CN" sz="1050" b="1" kern="0" dirty="0" err="1"/>
                  <a:t>Dawa</a:t>
                </a:r>
                <a:endParaRPr lang="en-US" altLang="zh-CN" sz="1050" b="1" kern="0" dirty="0"/>
              </a:p>
            </p:txBody>
          </p:sp>
          <p:sp>
            <p:nvSpPr>
              <p:cNvPr id="44" name="Text Box 16">
                <a:extLst>
                  <a:ext uri="{FF2B5EF4-FFF2-40B4-BE49-F238E27FC236}">
                    <a16:creationId xmlns:a16="http://schemas.microsoft.com/office/drawing/2014/main" id="{084C8F93-E005-43E3-BB08-E7C50990B26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0" name="组合 64">
              <a:extLst>
                <a:ext uri="{FF2B5EF4-FFF2-40B4-BE49-F238E27FC236}">
                  <a16:creationId xmlns:a16="http://schemas.microsoft.com/office/drawing/2014/main" id="{30EAE193-56AF-462A-8CCF-6DFC7FB909B6}"/>
                </a:ext>
              </a:extLst>
            </p:cNvPr>
            <p:cNvGrpSpPr/>
            <p:nvPr/>
          </p:nvGrpSpPr>
          <p:grpSpPr>
            <a:xfrm>
              <a:off x="67968" y="2698050"/>
              <a:ext cx="1871590" cy="790251"/>
              <a:chOff x="416520" y="4774171"/>
              <a:chExt cx="2109658" cy="890772"/>
            </a:xfrm>
          </p:grpSpPr>
          <p:sp>
            <p:nvSpPr>
              <p:cNvPr id="51" name="圆角矩形 111">
                <a:extLst>
                  <a:ext uri="{FF2B5EF4-FFF2-40B4-BE49-F238E27FC236}">
                    <a16:creationId xmlns:a16="http://schemas.microsoft.com/office/drawing/2014/main" id="{AE0E8456-5495-42E5-A73F-87624A45681C}"/>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2" name="圆角矩形 45">
                <a:extLst>
                  <a:ext uri="{FF2B5EF4-FFF2-40B4-BE49-F238E27FC236}">
                    <a16:creationId xmlns:a16="http://schemas.microsoft.com/office/drawing/2014/main" id="{05E25267-7FDA-4CF9-BA84-305BF31792E4}"/>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Gambella</a:t>
                </a:r>
                <a:endParaRPr lang="en-US" altLang="zh-CN" sz="1050" b="1" kern="0" dirty="0"/>
              </a:p>
            </p:txBody>
          </p:sp>
          <p:sp>
            <p:nvSpPr>
              <p:cNvPr id="53" name="Text Box 16">
                <a:extLst>
                  <a:ext uri="{FF2B5EF4-FFF2-40B4-BE49-F238E27FC236}">
                    <a16:creationId xmlns:a16="http://schemas.microsoft.com/office/drawing/2014/main" id="{342572EC-14F0-4DB1-BFB4-95C228B02A2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4" name="组合 67">
              <a:extLst>
                <a:ext uri="{FF2B5EF4-FFF2-40B4-BE49-F238E27FC236}">
                  <a16:creationId xmlns:a16="http://schemas.microsoft.com/office/drawing/2014/main" id="{6E5B4320-4D97-4B9E-B5FA-B6D0A9D0106E}"/>
                </a:ext>
              </a:extLst>
            </p:cNvPr>
            <p:cNvGrpSpPr/>
            <p:nvPr/>
          </p:nvGrpSpPr>
          <p:grpSpPr>
            <a:xfrm>
              <a:off x="75498" y="893742"/>
              <a:ext cx="1871590" cy="790251"/>
              <a:chOff x="416520" y="4774171"/>
              <a:chExt cx="2109658" cy="890772"/>
            </a:xfrm>
          </p:grpSpPr>
          <p:sp>
            <p:nvSpPr>
              <p:cNvPr id="55" name="圆角矩形 108">
                <a:extLst>
                  <a:ext uri="{FF2B5EF4-FFF2-40B4-BE49-F238E27FC236}">
                    <a16:creationId xmlns:a16="http://schemas.microsoft.com/office/drawing/2014/main" id="{98764514-5B68-4668-86C8-4D9597BDC9E5}"/>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6" name="圆角矩形 45">
                <a:extLst>
                  <a:ext uri="{FF2B5EF4-FFF2-40B4-BE49-F238E27FC236}">
                    <a16:creationId xmlns:a16="http://schemas.microsoft.com/office/drawing/2014/main" id="{32A417A9-B914-463B-A5F7-EEF561C48D79}"/>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a:r>
                  <a:rPr lang="en-US" altLang="zh-CN" sz="1050" b="1" kern="0" dirty="0" err="1"/>
                  <a:t>Benishangu</a:t>
                </a:r>
                <a:endParaRPr lang="en-US" altLang="zh-CN" sz="1050" b="1" kern="0" dirty="0"/>
              </a:p>
            </p:txBody>
          </p:sp>
          <p:sp>
            <p:nvSpPr>
              <p:cNvPr id="57" name="Text Box 16">
                <a:extLst>
                  <a:ext uri="{FF2B5EF4-FFF2-40B4-BE49-F238E27FC236}">
                    <a16:creationId xmlns:a16="http://schemas.microsoft.com/office/drawing/2014/main" id="{7985AD28-3535-497A-8C16-20C20A7AD2C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cxnSp>
          <p:nvCxnSpPr>
            <p:cNvPr id="58" name="肘形连接符 69">
              <a:extLst>
                <a:ext uri="{FF2B5EF4-FFF2-40B4-BE49-F238E27FC236}">
                  <a16:creationId xmlns:a16="http://schemas.microsoft.com/office/drawing/2014/main" id="{88825988-ACC8-4991-8349-89F7708F0544}"/>
                </a:ext>
              </a:extLst>
            </p:cNvPr>
            <p:cNvCxnSpPr>
              <a:cxnSpLocks/>
              <a:stCxn id="62" idx="2"/>
              <a:endCxn id="55" idx="3"/>
            </p:cNvCxnSpPr>
            <p:nvPr/>
          </p:nvCxnSpPr>
          <p:spPr>
            <a:xfrm rot="10800000">
              <a:off x="1947088" y="1370044"/>
              <a:ext cx="1410756" cy="1145591"/>
            </a:xfrm>
            <a:prstGeom prst="bentConnector3">
              <a:avLst>
                <a:gd name="adj1" fmla="val 35169"/>
              </a:avLst>
            </a:prstGeom>
            <a:noFill/>
            <a:ln w="9525">
              <a:solidFill>
                <a:srgbClr val="C00000"/>
              </a:solidFill>
              <a:prstDash val="sysDash"/>
              <a:miter lim="800000"/>
              <a:headEnd/>
              <a:tailEnd/>
            </a:ln>
          </p:spPr>
        </p:cxnSp>
        <p:sp>
          <p:nvSpPr>
            <p:cNvPr id="62" name="Oval 25">
              <a:extLst>
                <a:ext uri="{FF2B5EF4-FFF2-40B4-BE49-F238E27FC236}">
                  <a16:creationId xmlns:a16="http://schemas.microsoft.com/office/drawing/2014/main" id="{C9E1F3BA-5535-4734-A4DA-9EC7D7F665FE}"/>
                </a:ext>
              </a:extLst>
            </p:cNvPr>
            <p:cNvSpPr>
              <a:spLocks noChangeArrowheads="1"/>
            </p:cNvSpPr>
            <p:nvPr/>
          </p:nvSpPr>
          <p:spPr bwMode="gray">
            <a:xfrm>
              <a:off x="3357844" y="24673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64" name="肘形连接符 69">
              <a:extLst>
                <a:ext uri="{FF2B5EF4-FFF2-40B4-BE49-F238E27FC236}">
                  <a16:creationId xmlns:a16="http://schemas.microsoft.com/office/drawing/2014/main" id="{5F881C9B-6FD7-4D13-939C-7381F613CA59}"/>
                </a:ext>
              </a:extLst>
            </p:cNvPr>
            <p:cNvCxnSpPr>
              <a:cxnSpLocks/>
              <a:stCxn id="65" idx="2"/>
              <a:endCxn id="51" idx="3"/>
            </p:cNvCxnSpPr>
            <p:nvPr/>
          </p:nvCxnSpPr>
          <p:spPr>
            <a:xfrm rot="10800000">
              <a:off x="1939558" y="3174350"/>
              <a:ext cx="1086134" cy="155630"/>
            </a:xfrm>
            <a:prstGeom prst="bentConnector3">
              <a:avLst>
                <a:gd name="adj1" fmla="val 50000"/>
              </a:avLst>
            </a:prstGeom>
            <a:noFill/>
            <a:ln w="9525">
              <a:solidFill>
                <a:srgbClr val="C00000"/>
              </a:solidFill>
              <a:prstDash val="sysDash"/>
              <a:miter lim="800000"/>
              <a:headEnd/>
              <a:tailEnd/>
            </a:ln>
          </p:spPr>
        </p:cxnSp>
        <p:sp>
          <p:nvSpPr>
            <p:cNvPr id="65" name="Oval 25">
              <a:extLst>
                <a:ext uri="{FF2B5EF4-FFF2-40B4-BE49-F238E27FC236}">
                  <a16:creationId xmlns:a16="http://schemas.microsoft.com/office/drawing/2014/main" id="{65B295EA-49F4-4C44-8071-5438CBC7096F}"/>
                </a:ext>
              </a:extLst>
            </p:cNvPr>
            <p:cNvSpPr>
              <a:spLocks noChangeArrowheads="1"/>
            </p:cNvSpPr>
            <p:nvPr/>
          </p:nvSpPr>
          <p:spPr bwMode="gray">
            <a:xfrm>
              <a:off x="3025692" y="328170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grpSp>
          <p:nvGrpSpPr>
            <p:cNvPr id="70" name="组合 64">
              <a:extLst>
                <a:ext uri="{FF2B5EF4-FFF2-40B4-BE49-F238E27FC236}">
                  <a16:creationId xmlns:a16="http://schemas.microsoft.com/office/drawing/2014/main" id="{7AAE5CD7-74BF-48C2-BC1F-1EFAF4E64F85}"/>
                </a:ext>
              </a:extLst>
            </p:cNvPr>
            <p:cNvGrpSpPr/>
            <p:nvPr/>
          </p:nvGrpSpPr>
          <p:grpSpPr>
            <a:xfrm>
              <a:off x="4538582" y="4248080"/>
              <a:ext cx="1871590" cy="1016860"/>
              <a:chOff x="416520" y="4774171"/>
              <a:chExt cx="2109658" cy="1146206"/>
            </a:xfrm>
          </p:grpSpPr>
          <p:sp>
            <p:nvSpPr>
              <p:cNvPr id="71" name="圆角矩形 111">
                <a:extLst>
                  <a:ext uri="{FF2B5EF4-FFF2-40B4-BE49-F238E27FC236}">
                    <a16:creationId xmlns:a16="http://schemas.microsoft.com/office/drawing/2014/main" id="{1F4174F9-786F-4A50-8E2F-6EA8D21B048D}"/>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72" name="圆角矩形 45">
                <a:extLst>
                  <a:ext uri="{FF2B5EF4-FFF2-40B4-BE49-F238E27FC236}">
                    <a16:creationId xmlns:a16="http://schemas.microsoft.com/office/drawing/2014/main" id="{CE30310A-DF3F-4809-B212-ABFDB74F27E8}"/>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ddis </a:t>
                </a:r>
                <a:r>
                  <a:rPr lang="en-US" altLang="zh-CN" sz="1050" b="1" kern="0" dirty="0" err="1"/>
                  <a:t>Addiba</a:t>
                </a:r>
                <a:endParaRPr lang="en-US" altLang="zh-CN" sz="1050" b="1" kern="0" dirty="0"/>
              </a:p>
            </p:txBody>
          </p:sp>
          <p:sp>
            <p:nvSpPr>
              <p:cNvPr id="73" name="Text Box 16">
                <a:extLst>
                  <a:ext uri="{FF2B5EF4-FFF2-40B4-BE49-F238E27FC236}">
                    <a16:creationId xmlns:a16="http://schemas.microsoft.com/office/drawing/2014/main" id="{B1C3C83E-21F1-4F0F-935D-DD830F78ABCE}"/>
                  </a:ext>
                </a:extLst>
              </p:cNvPr>
              <p:cNvSpPr txBox="1">
                <a:spLocks noChangeArrowheads="1"/>
              </p:cNvSpPr>
              <p:nvPr/>
            </p:nvSpPr>
            <p:spPr bwMode="auto">
              <a:xfrm>
                <a:off x="481277" y="5301818"/>
                <a:ext cx="1978394" cy="61855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a:p>
                <a:pPr marL="117475" indent="-117475">
                  <a:lnSpc>
                    <a:spcPct val="114000"/>
                  </a:lnSpc>
                  <a:buClr>
                    <a:schemeClr val="bg1">
                      <a:lumMod val="50000"/>
                    </a:schemeClr>
                  </a:buClr>
                  <a:buSzPct val="50000"/>
                  <a:buFont typeface="Wingdings" pitchFamily="2" charset="2"/>
                  <a:buChar char="l"/>
                </a:pPr>
                <a:endParaRPr lang="en-US" altLang="zh-CN" sz="1050" dirty="0">
                  <a:latin typeface="Calibri" pitchFamily="34" charset="0"/>
                  <a:cs typeface="Calibri" pitchFamily="34" charset="0"/>
                </a:endParaRPr>
              </a:p>
            </p:txBody>
          </p:sp>
        </p:grpSp>
        <p:sp>
          <p:nvSpPr>
            <p:cNvPr id="76" name="Oval 25">
              <a:extLst>
                <a:ext uri="{FF2B5EF4-FFF2-40B4-BE49-F238E27FC236}">
                  <a16:creationId xmlns:a16="http://schemas.microsoft.com/office/drawing/2014/main" id="{BFCCB5BA-6392-496A-91F0-5C152B2CE5A9}"/>
                </a:ext>
              </a:extLst>
            </p:cNvPr>
            <p:cNvSpPr>
              <a:spLocks noChangeArrowheads="1"/>
            </p:cNvSpPr>
            <p:nvPr/>
          </p:nvSpPr>
          <p:spPr bwMode="gray">
            <a:xfrm>
              <a:off x="3542017" y="363233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77" name="肘形连接符 96">
              <a:extLst>
                <a:ext uri="{FF2B5EF4-FFF2-40B4-BE49-F238E27FC236}">
                  <a16:creationId xmlns:a16="http://schemas.microsoft.com/office/drawing/2014/main" id="{D06EE75B-4DD9-44C4-ABC9-4E22A0FDB5A5}"/>
                </a:ext>
              </a:extLst>
            </p:cNvPr>
            <p:cNvCxnSpPr>
              <a:cxnSpLocks/>
              <a:stCxn id="76" idx="4"/>
              <a:endCxn id="36" idx="3"/>
            </p:cNvCxnSpPr>
            <p:nvPr/>
          </p:nvCxnSpPr>
          <p:spPr>
            <a:xfrm rot="5400000">
              <a:off x="2603503" y="3072459"/>
              <a:ext cx="330370" cy="1643200"/>
            </a:xfrm>
            <a:prstGeom prst="bentConnector2">
              <a:avLst/>
            </a:prstGeom>
            <a:noFill/>
            <a:ln w="9525">
              <a:solidFill>
                <a:srgbClr val="C00000"/>
              </a:solidFill>
              <a:prstDash val="sysDash"/>
              <a:miter lim="800000"/>
              <a:headEnd/>
              <a:tailEnd/>
            </a:ln>
          </p:spPr>
        </p:cxnSp>
        <p:grpSp>
          <p:nvGrpSpPr>
            <p:cNvPr id="81" name="组合 64">
              <a:extLst>
                <a:ext uri="{FF2B5EF4-FFF2-40B4-BE49-F238E27FC236}">
                  <a16:creationId xmlns:a16="http://schemas.microsoft.com/office/drawing/2014/main" id="{6A036EA2-C096-476F-9783-983486308285}"/>
                </a:ext>
              </a:extLst>
            </p:cNvPr>
            <p:cNvGrpSpPr/>
            <p:nvPr/>
          </p:nvGrpSpPr>
          <p:grpSpPr>
            <a:xfrm>
              <a:off x="3626905" y="32224"/>
              <a:ext cx="1871590" cy="790251"/>
              <a:chOff x="416520" y="4774171"/>
              <a:chExt cx="2109658" cy="890772"/>
            </a:xfrm>
          </p:grpSpPr>
          <p:sp>
            <p:nvSpPr>
              <p:cNvPr id="82" name="圆角矩形 111">
                <a:extLst>
                  <a:ext uri="{FF2B5EF4-FFF2-40B4-BE49-F238E27FC236}">
                    <a16:creationId xmlns:a16="http://schemas.microsoft.com/office/drawing/2014/main" id="{1CD3CF8F-D4D5-43C1-8237-91BA11C77FEF}"/>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83" name="圆角矩形 45">
                <a:extLst>
                  <a:ext uri="{FF2B5EF4-FFF2-40B4-BE49-F238E27FC236}">
                    <a16:creationId xmlns:a16="http://schemas.microsoft.com/office/drawing/2014/main" id="{79010BF9-A98E-4CC0-ABA2-AB72BFFB0725}"/>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Tigray</a:t>
                </a:r>
              </a:p>
            </p:txBody>
          </p:sp>
          <p:sp>
            <p:nvSpPr>
              <p:cNvPr id="84" name="Text Box 16">
                <a:extLst>
                  <a:ext uri="{FF2B5EF4-FFF2-40B4-BE49-F238E27FC236}">
                    <a16:creationId xmlns:a16="http://schemas.microsoft.com/office/drawing/2014/main" id="{25538059-5F82-4D24-B589-CE0C0C75BC23}"/>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2</a:t>
                </a:r>
              </a:p>
            </p:txBody>
          </p:sp>
        </p:grpSp>
        <p:sp>
          <p:nvSpPr>
            <p:cNvPr id="86" name="Oval 25">
              <a:extLst>
                <a:ext uri="{FF2B5EF4-FFF2-40B4-BE49-F238E27FC236}">
                  <a16:creationId xmlns:a16="http://schemas.microsoft.com/office/drawing/2014/main" id="{758276CD-4187-49F8-BB54-873A50CD169A}"/>
                </a:ext>
              </a:extLst>
            </p:cNvPr>
            <p:cNvSpPr>
              <a:spLocks noChangeArrowheads="1"/>
            </p:cNvSpPr>
            <p:nvPr/>
          </p:nvSpPr>
          <p:spPr bwMode="gray">
            <a:xfrm>
              <a:off x="3971983" y="169127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87" name="肘形连接符 69">
              <a:extLst>
                <a:ext uri="{FF2B5EF4-FFF2-40B4-BE49-F238E27FC236}">
                  <a16:creationId xmlns:a16="http://schemas.microsoft.com/office/drawing/2014/main" id="{6FFFA2DD-BE46-489F-81DF-CD6E07B4839A}"/>
                </a:ext>
              </a:extLst>
            </p:cNvPr>
            <p:cNvCxnSpPr>
              <a:cxnSpLocks/>
              <a:stCxn id="86" idx="6"/>
              <a:endCxn id="84" idx="2"/>
            </p:cNvCxnSpPr>
            <p:nvPr/>
          </p:nvCxnSpPr>
          <p:spPr>
            <a:xfrm flipV="1">
              <a:off x="4068524" y="822475"/>
              <a:ext cx="493400" cy="917069"/>
            </a:xfrm>
            <a:prstGeom prst="bentConnector2">
              <a:avLst/>
            </a:prstGeom>
            <a:noFill/>
            <a:ln w="9525">
              <a:solidFill>
                <a:srgbClr val="C00000"/>
              </a:solidFill>
              <a:prstDash val="sysDash"/>
              <a:miter lim="800000"/>
              <a:headEnd/>
              <a:tailEnd/>
            </a:ln>
          </p:spPr>
        </p:cxnSp>
        <p:grpSp>
          <p:nvGrpSpPr>
            <p:cNvPr id="90" name="组合 64">
              <a:extLst>
                <a:ext uri="{FF2B5EF4-FFF2-40B4-BE49-F238E27FC236}">
                  <a16:creationId xmlns:a16="http://schemas.microsoft.com/office/drawing/2014/main" id="{036F07BE-20D8-4A55-BE68-2F3D5E331899}"/>
                </a:ext>
              </a:extLst>
            </p:cNvPr>
            <p:cNvGrpSpPr/>
            <p:nvPr/>
          </p:nvGrpSpPr>
          <p:grpSpPr>
            <a:xfrm>
              <a:off x="5623609" y="37096"/>
              <a:ext cx="1871590" cy="790251"/>
              <a:chOff x="416520" y="4774171"/>
              <a:chExt cx="2109658" cy="890772"/>
            </a:xfrm>
          </p:grpSpPr>
          <p:sp>
            <p:nvSpPr>
              <p:cNvPr id="91" name="圆角矩形 111">
                <a:extLst>
                  <a:ext uri="{FF2B5EF4-FFF2-40B4-BE49-F238E27FC236}">
                    <a16:creationId xmlns:a16="http://schemas.microsoft.com/office/drawing/2014/main" id="{FA4A57B1-9C83-4FB5-9CC6-8C92BDCE1318}"/>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92" name="圆角矩形 45">
                <a:extLst>
                  <a:ext uri="{FF2B5EF4-FFF2-40B4-BE49-F238E27FC236}">
                    <a16:creationId xmlns:a16="http://schemas.microsoft.com/office/drawing/2014/main" id="{3544F7C3-1725-472C-A916-C6D97A77FBF9}"/>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far</a:t>
                </a:r>
              </a:p>
            </p:txBody>
          </p:sp>
          <p:sp>
            <p:nvSpPr>
              <p:cNvPr id="93" name="Text Box 16">
                <a:extLst>
                  <a:ext uri="{FF2B5EF4-FFF2-40B4-BE49-F238E27FC236}">
                    <a16:creationId xmlns:a16="http://schemas.microsoft.com/office/drawing/2014/main" id="{61A779D1-8C11-443F-849F-65D265531182}"/>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sp>
          <p:nvSpPr>
            <p:cNvPr id="94" name="Oval 25">
              <a:extLst>
                <a:ext uri="{FF2B5EF4-FFF2-40B4-BE49-F238E27FC236}">
                  <a16:creationId xmlns:a16="http://schemas.microsoft.com/office/drawing/2014/main" id="{18C7578B-17FD-4219-9A8D-0CAA210EA09F}"/>
                </a:ext>
              </a:extLst>
            </p:cNvPr>
            <p:cNvSpPr>
              <a:spLocks noChangeArrowheads="1"/>
            </p:cNvSpPr>
            <p:nvPr/>
          </p:nvSpPr>
          <p:spPr bwMode="gray">
            <a:xfrm>
              <a:off x="4661272" y="20236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5" name="肘形连接符 69">
              <a:extLst>
                <a:ext uri="{FF2B5EF4-FFF2-40B4-BE49-F238E27FC236}">
                  <a16:creationId xmlns:a16="http://schemas.microsoft.com/office/drawing/2014/main" id="{F5C45099-0DCB-44B9-9EA2-7A12542EF273}"/>
                </a:ext>
              </a:extLst>
            </p:cNvPr>
            <p:cNvCxnSpPr>
              <a:cxnSpLocks/>
              <a:stCxn id="94" idx="6"/>
              <a:endCxn id="93" idx="2"/>
            </p:cNvCxnSpPr>
            <p:nvPr/>
          </p:nvCxnSpPr>
          <p:spPr>
            <a:xfrm flipV="1">
              <a:off x="4757813" y="827346"/>
              <a:ext cx="1800816" cy="1244587"/>
            </a:xfrm>
            <a:prstGeom prst="bentConnector2">
              <a:avLst/>
            </a:prstGeom>
            <a:noFill/>
            <a:ln w="9525">
              <a:solidFill>
                <a:srgbClr val="C00000"/>
              </a:solidFill>
              <a:prstDash val="sysDash"/>
              <a:miter lim="800000"/>
              <a:headEnd/>
              <a:tailEnd/>
            </a:ln>
          </p:spPr>
        </p:cxnSp>
        <p:sp>
          <p:nvSpPr>
            <p:cNvPr id="98" name="Oval 25">
              <a:extLst>
                <a:ext uri="{FF2B5EF4-FFF2-40B4-BE49-F238E27FC236}">
                  <a16:creationId xmlns:a16="http://schemas.microsoft.com/office/drawing/2014/main" id="{51F9F5A8-F636-4FAF-8D88-B591F1714C09}"/>
                </a:ext>
              </a:extLst>
            </p:cNvPr>
            <p:cNvSpPr>
              <a:spLocks noChangeArrowheads="1"/>
            </p:cNvSpPr>
            <p:nvPr/>
          </p:nvSpPr>
          <p:spPr bwMode="gray">
            <a:xfrm>
              <a:off x="4921183" y="275594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9" name="肘形连接符 72">
              <a:extLst>
                <a:ext uri="{FF2B5EF4-FFF2-40B4-BE49-F238E27FC236}">
                  <a16:creationId xmlns:a16="http://schemas.microsoft.com/office/drawing/2014/main" id="{3662F052-CE6C-4A1B-9ACA-0E97C79AE060}"/>
                </a:ext>
              </a:extLst>
            </p:cNvPr>
            <p:cNvCxnSpPr>
              <a:cxnSpLocks/>
              <a:stCxn id="98" idx="0"/>
              <a:endCxn id="42" idx="1"/>
            </p:cNvCxnSpPr>
            <p:nvPr/>
          </p:nvCxnSpPr>
          <p:spPr>
            <a:xfrm rot="5400000" flipH="1" flipV="1">
              <a:off x="5809638" y="1424571"/>
              <a:ext cx="491194" cy="2171563"/>
            </a:xfrm>
            <a:prstGeom prst="bentConnector2">
              <a:avLst/>
            </a:prstGeom>
            <a:noFill/>
            <a:ln w="9525">
              <a:solidFill>
                <a:srgbClr val="C00000"/>
              </a:solidFill>
              <a:prstDash val="sysDash"/>
              <a:miter lim="800000"/>
              <a:headEnd/>
              <a:tailEnd/>
            </a:ln>
          </p:spPr>
        </p:cxnSp>
        <p:grpSp>
          <p:nvGrpSpPr>
            <p:cNvPr id="109" name="组合 70">
              <a:extLst>
                <a:ext uri="{FF2B5EF4-FFF2-40B4-BE49-F238E27FC236}">
                  <a16:creationId xmlns:a16="http://schemas.microsoft.com/office/drawing/2014/main" id="{9BA3ADDF-1C83-4B24-BCE1-A35EFEF8180F}"/>
                </a:ext>
              </a:extLst>
            </p:cNvPr>
            <p:cNvGrpSpPr/>
            <p:nvPr/>
          </p:nvGrpSpPr>
          <p:grpSpPr>
            <a:xfrm>
              <a:off x="7082014" y="2741788"/>
              <a:ext cx="1871590" cy="865124"/>
              <a:chOff x="416520" y="4774171"/>
              <a:chExt cx="2109658" cy="975169"/>
            </a:xfrm>
          </p:grpSpPr>
          <p:sp>
            <p:nvSpPr>
              <p:cNvPr id="110" name="圆角矩形 103">
                <a:extLst>
                  <a:ext uri="{FF2B5EF4-FFF2-40B4-BE49-F238E27FC236}">
                    <a16:creationId xmlns:a16="http://schemas.microsoft.com/office/drawing/2014/main" id="{16F02A84-C5AC-4394-ADC1-72AB539664C1}"/>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11" name="圆角矩形 45">
                <a:extLst>
                  <a:ext uri="{FF2B5EF4-FFF2-40B4-BE49-F238E27FC236}">
                    <a16:creationId xmlns:a16="http://schemas.microsoft.com/office/drawing/2014/main" id="{8464793F-819C-4AD2-BBC9-F202C8C2562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Harari</a:t>
                </a:r>
              </a:p>
            </p:txBody>
          </p:sp>
          <p:sp>
            <p:nvSpPr>
              <p:cNvPr id="112" name="Text Box 16">
                <a:extLst>
                  <a:ext uri="{FF2B5EF4-FFF2-40B4-BE49-F238E27FC236}">
                    <a16:creationId xmlns:a16="http://schemas.microsoft.com/office/drawing/2014/main" id="{5E4B41EB-05BA-4F44-9652-B86EAB45E2A9}"/>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sp>
          <p:nvSpPr>
            <p:cNvPr id="114" name="Oval 25">
              <a:extLst>
                <a:ext uri="{FF2B5EF4-FFF2-40B4-BE49-F238E27FC236}">
                  <a16:creationId xmlns:a16="http://schemas.microsoft.com/office/drawing/2014/main" id="{C2B008C3-D01D-4897-9901-A7836F64BA4B}"/>
                </a:ext>
              </a:extLst>
            </p:cNvPr>
            <p:cNvSpPr>
              <a:spLocks noChangeArrowheads="1"/>
            </p:cNvSpPr>
            <p:nvPr/>
          </p:nvSpPr>
          <p:spPr bwMode="gray">
            <a:xfrm>
              <a:off x="4997124" y="2866157"/>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15" name="肘形连接符 72">
              <a:extLst>
                <a:ext uri="{FF2B5EF4-FFF2-40B4-BE49-F238E27FC236}">
                  <a16:creationId xmlns:a16="http://schemas.microsoft.com/office/drawing/2014/main" id="{636E5E82-117A-40E4-BFC5-E0DD940D4473}"/>
                </a:ext>
              </a:extLst>
            </p:cNvPr>
            <p:cNvCxnSpPr>
              <a:cxnSpLocks/>
              <a:stCxn id="114" idx="6"/>
              <a:endCxn id="110" idx="1"/>
            </p:cNvCxnSpPr>
            <p:nvPr/>
          </p:nvCxnSpPr>
          <p:spPr>
            <a:xfrm>
              <a:off x="5093665" y="2914428"/>
              <a:ext cx="1988349" cy="344166"/>
            </a:xfrm>
            <a:prstGeom prst="bentConnector3">
              <a:avLst>
                <a:gd name="adj1" fmla="val 50000"/>
              </a:avLst>
            </a:prstGeom>
            <a:noFill/>
            <a:ln w="9525">
              <a:solidFill>
                <a:srgbClr val="C00000"/>
              </a:solidFill>
              <a:prstDash val="sysDash"/>
              <a:miter lim="800000"/>
              <a:headEnd/>
              <a:tailEnd/>
            </a:ln>
          </p:spPr>
        </p:cxnSp>
        <p:sp>
          <p:nvSpPr>
            <p:cNvPr id="123" name="Oval 25">
              <a:extLst>
                <a:ext uri="{FF2B5EF4-FFF2-40B4-BE49-F238E27FC236}">
                  <a16:creationId xmlns:a16="http://schemas.microsoft.com/office/drawing/2014/main" id="{E93DC02B-9D58-4888-B231-B7EBC787BFDC}"/>
                </a:ext>
              </a:extLst>
            </p:cNvPr>
            <p:cNvSpPr>
              <a:spLocks noChangeArrowheads="1"/>
            </p:cNvSpPr>
            <p:nvPr/>
          </p:nvSpPr>
          <p:spPr bwMode="gray">
            <a:xfrm>
              <a:off x="4149722" y="355038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24" name="肘形连接符 96">
              <a:extLst>
                <a:ext uri="{FF2B5EF4-FFF2-40B4-BE49-F238E27FC236}">
                  <a16:creationId xmlns:a16="http://schemas.microsoft.com/office/drawing/2014/main" id="{72540446-FF33-4D44-A6A4-009F944EC95D}"/>
                </a:ext>
              </a:extLst>
            </p:cNvPr>
            <p:cNvCxnSpPr>
              <a:cxnSpLocks/>
              <a:stCxn id="123" idx="4"/>
              <a:endCxn id="126" idx="3"/>
            </p:cNvCxnSpPr>
            <p:nvPr/>
          </p:nvCxnSpPr>
          <p:spPr>
            <a:xfrm rot="5400000">
              <a:off x="3632788" y="4143122"/>
              <a:ext cx="1061402" cy="69009"/>
            </a:xfrm>
            <a:prstGeom prst="bentConnector2">
              <a:avLst/>
            </a:prstGeom>
            <a:noFill/>
            <a:ln w="9525">
              <a:solidFill>
                <a:srgbClr val="C00000"/>
              </a:solidFill>
              <a:prstDash val="sysDash"/>
              <a:miter lim="800000"/>
              <a:headEnd/>
              <a:tailEnd/>
            </a:ln>
          </p:spPr>
        </p:cxnSp>
        <p:grpSp>
          <p:nvGrpSpPr>
            <p:cNvPr id="125" name="组合 64">
              <a:extLst>
                <a:ext uri="{FF2B5EF4-FFF2-40B4-BE49-F238E27FC236}">
                  <a16:creationId xmlns:a16="http://schemas.microsoft.com/office/drawing/2014/main" id="{13FFB77C-2D13-4FF9-891F-3E5EBC054773}"/>
                </a:ext>
              </a:extLst>
            </p:cNvPr>
            <p:cNvGrpSpPr/>
            <p:nvPr/>
          </p:nvGrpSpPr>
          <p:grpSpPr>
            <a:xfrm>
              <a:off x="2257394" y="4232027"/>
              <a:ext cx="1871590" cy="790251"/>
              <a:chOff x="416520" y="4774171"/>
              <a:chExt cx="2109658" cy="890772"/>
            </a:xfrm>
          </p:grpSpPr>
          <p:sp>
            <p:nvSpPr>
              <p:cNvPr id="126" name="圆角矩形 111">
                <a:extLst>
                  <a:ext uri="{FF2B5EF4-FFF2-40B4-BE49-F238E27FC236}">
                    <a16:creationId xmlns:a16="http://schemas.microsoft.com/office/drawing/2014/main" id="{38FFAE92-199A-45E9-9C4F-ED3E34D38205}"/>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27" name="圆角矩形 45">
                <a:extLst>
                  <a:ext uri="{FF2B5EF4-FFF2-40B4-BE49-F238E27FC236}">
                    <a16:creationId xmlns:a16="http://schemas.microsoft.com/office/drawing/2014/main" id="{A8335C70-550F-4B71-B369-9540C498C15B}"/>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Sidama</a:t>
                </a:r>
                <a:endParaRPr lang="en-US" altLang="zh-CN" sz="1050" b="1" kern="0" dirty="0"/>
              </a:p>
            </p:txBody>
          </p:sp>
          <p:sp>
            <p:nvSpPr>
              <p:cNvPr id="128" name="Text Box 16">
                <a:extLst>
                  <a:ext uri="{FF2B5EF4-FFF2-40B4-BE49-F238E27FC236}">
                    <a16:creationId xmlns:a16="http://schemas.microsoft.com/office/drawing/2014/main" id="{72345BE6-B27B-407A-B540-F9CC9632D7C6}"/>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2</a:t>
                </a:r>
              </a:p>
            </p:txBody>
          </p:sp>
        </p:grpSp>
      </p:grpSp>
      <p:sp>
        <p:nvSpPr>
          <p:cNvPr id="2" name="Title 1">
            <a:extLst>
              <a:ext uri="{FF2B5EF4-FFF2-40B4-BE49-F238E27FC236}">
                <a16:creationId xmlns:a16="http://schemas.microsoft.com/office/drawing/2014/main" id="{93C0B23C-FB28-4192-8F94-1288B3F7D3CE}"/>
              </a:ext>
            </a:extLst>
          </p:cNvPr>
          <p:cNvSpPr>
            <a:spLocks noGrp="1"/>
          </p:cNvSpPr>
          <p:nvPr>
            <p:ph type="title"/>
          </p:nvPr>
        </p:nvSpPr>
        <p:spPr>
          <a:xfrm>
            <a:off x="0" y="0"/>
            <a:ext cx="8513064" cy="765432"/>
          </a:xfrm>
        </p:spPr>
        <p:txBody>
          <a:bodyPr/>
          <a:lstStyle/>
          <a:p>
            <a:r>
              <a:rPr lang="en-ZA" dirty="0"/>
              <a:t>Year 2 – Sites Per Region</a:t>
            </a:r>
            <a:endParaRPr lang="en-GB" dirty="0"/>
          </a:p>
        </p:txBody>
      </p:sp>
      <p:sp>
        <p:nvSpPr>
          <p:cNvPr id="100" name="Rectangle: Rounded Corners 99">
            <a:extLst>
              <a:ext uri="{FF2B5EF4-FFF2-40B4-BE49-F238E27FC236}">
                <a16:creationId xmlns:a16="http://schemas.microsoft.com/office/drawing/2014/main" id="{E9D57B62-689C-4CC8-B809-47A7F2E0148E}"/>
              </a:ext>
            </a:extLst>
          </p:cNvPr>
          <p:cNvSpPr/>
          <p:nvPr/>
        </p:nvSpPr>
        <p:spPr>
          <a:xfrm>
            <a:off x="6645720" y="209326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1" name="Rectangle: Rounded Corners 100">
            <a:extLst>
              <a:ext uri="{FF2B5EF4-FFF2-40B4-BE49-F238E27FC236}">
                <a16:creationId xmlns:a16="http://schemas.microsoft.com/office/drawing/2014/main" id="{159F8700-0F91-4080-BA8B-F8D8EA506FE6}"/>
              </a:ext>
            </a:extLst>
          </p:cNvPr>
          <p:cNvSpPr/>
          <p:nvPr/>
        </p:nvSpPr>
        <p:spPr>
          <a:xfrm>
            <a:off x="654553" y="2864498"/>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2" name="Rectangle: Rounded Corners 101">
            <a:extLst>
              <a:ext uri="{FF2B5EF4-FFF2-40B4-BE49-F238E27FC236}">
                <a16:creationId xmlns:a16="http://schemas.microsoft.com/office/drawing/2014/main" id="{672C5562-296E-4417-AF9A-A6A536BED850}"/>
              </a:ext>
            </a:extLst>
          </p:cNvPr>
          <p:cNvSpPr/>
          <p:nvPr/>
        </p:nvSpPr>
        <p:spPr>
          <a:xfrm>
            <a:off x="654036" y="129305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3" name="Rectangle: Rounded Corners 102">
            <a:extLst>
              <a:ext uri="{FF2B5EF4-FFF2-40B4-BE49-F238E27FC236}">
                <a16:creationId xmlns:a16="http://schemas.microsoft.com/office/drawing/2014/main" id="{F6161541-E659-4AD8-8B7B-19C908470DCA}"/>
              </a:ext>
            </a:extLst>
          </p:cNvPr>
          <p:cNvSpPr/>
          <p:nvPr/>
        </p:nvSpPr>
        <p:spPr>
          <a:xfrm>
            <a:off x="4412483" y="4224995"/>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4" name="Rectangle: Rounded Corners 103">
            <a:extLst>
              <a:ext uri="{FF2B5EF4-FFF2-40B4-BE49-F238E27FC236}">
                <a16:creationId xmlns:a16="http://schemas.microsoft.com/office/drawing/2014/main" id="{6E77E42A-F410-4392-B917-931E97C0F29A}"/>
              </a:ext>
            </a:extLst>
          </p:cNvPr>
          <p:cNvSpPr/>
          <p:nvPr/>
        </p:nvSpPr>
        <p:spPr>
          <a:xfrm>
            <a:off x="6574718" y="2940250"/>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6" name="Rectangle: Rounded Corners 105">
            <a:extLst>
              <a:ext uri="{FF2B5EF4-FFF2-40B4-BE49-F238E27FC236}">
                <a16:creationId xmlns:a16="http://schemas.microsoft.com/office/drawing/2014/main" id="{C174E19D-2E8F-43E8-83B2-97720DB08C75}"/>
              </a:ext>
            </a:extLst>
          </p:cNvPr>
          <p:cNvSpPr/>
          <p:nvPr/>
        </p:nvSpPr>
        <p:spPr>
          <a:xfrm>
            <a:off x="5341947" y="586077"/>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9363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51F3256C-BE97-4ABB-85A5-4DA7D65184A7}"/>
              </a:ext>
            </a:extLst>
          </p:cNvPr>
          <p:cNvGrpSpPr/>
          <p:nvPr/>
        </p:nvGrpSpPr>
        <p:grpSpPr>
          <a:xfrm>
            <a:off x="673520" y="639619"/>
            <a:ext cx="7621852" cy="4456667"/>
            <a:chOff x="67968" y="32224"/>
            <a:chExt cx="8949062" cy="5232716"/>
          </a:xfrm>
        </p:grpSpPr>
        <p:sp>
          <p:nvSpPr>
            <p:cNvPr id="4" name="Freeform 5">
              <a:extLst>
                <a:ext uri="{FF2B5EF4-FFF2-40B4-BE49-F238E27FC236}">
                  <a16:creationId xmlns:a16="http://schemas.microsoft.com/office/drawing/2014/main" id="{4E02DADB-17BF-4D65-9828-BBF2FE40BFFA}"/>
                </a:ext>
              </a:extLst>
            </p:cNvPr>
            <p:cNvSpPr>
              <a:spLocks/>
            </p:cNvSpPr>
            <p:nvPr/>
          </p:nvSpPr>
          <p:spPr bwMode="auto">
            <a:xfrm>
              <a:off x="3032579" y="2633549"/>
              <a:ext cx="2192810" cy="1750586"/>
            </a:xfrm>
            <a:custGeom>
              <a:avLst/>
              <a:gdLst>
                <a:gd name="T0" fmla="*/ 5385 w 7785"/>
                <a:gd name="T1" fmla="*/ 1284 h 6216"/>
                <a:gd name="T2" fmla="*/ 5001 w 7785"/>
                <a:gd name="T3" fmla="*/ 1356 h 6216"/>
                <a:gd name="T4" fmla="*/ 4605 w 7785"/>
                <a:gd name="T5" fmla="*/ 1200 h 6216"/>
                <a:gd name="T6" fmla="*/ 4677 w 7785"/>
                <a:gd name="T7" fmla="*/ 840 h 6216"/>
                <a:gd name="T8" fmla="*/ 4377 w 7785"/>
                <a:gd name="T9" fmla="*/ 732 h 6216"/>
                <a:gd name="T10" fmla="*/ 4125 w 7785"/>
                <a:gd name="T11" fmla="*/ 276 h 6216"/>
                <a:gd name="T12" fmla="*/ 3860 w 7785"/>
                <a:gd name="T13" fmla="*/ 101 h 6216"/>
                <a:gd name="T14" fmla="*/ 3092 w 7785"/>
                <a:gd name="T15" fmla="*/ 439 h 6216"/>
                <a:gd name="T16" fmla="*/ 2541 w 7785"/>
                <a:gd name="T17" fmla="*/ 192 h 6216"/>
                <a:gd name="T18" fmla="*/ 2121 w 7785"/>
                <a:gd name="T19" fmla="*/ 54 h 6216"/>
                <a:gd name="T20" fmla="*/ 1794 w 7785"/>
                <a:gd name="T21" fmla="*/ 603 h 6216"/>
                <a:gd name="T22" fmla="*/ 1812 w 7785"/>
                <a:gd name="T23" fmla="*/ 960 h 6216"/>
                <a:gd name="T24" fmla="*/ 1446 w 7785"/>
                <a:gd name="T25" fmla="*/ 951 h 6216"/>
                <a:gd name="T26" fmla="*/ 1090 w 7785"/>
                <a:gd name="T27" fmla="*/ 521 h 6216"/>
                <a:gd name="T28" fmla="*/ 660 w 7785"/>
                <a:gd name="T29" fmla="*/ 494 h 6216"/>
                <a:gd name="T30" fmla="*/ 248 w 7785"/>
                <a:gd name="T31" fmla="*/ 658 h 6216"/>
                <a:gd name="T32" fmla="*/ 0 w 7785"/>
                <a:gd name="T33" fmla="*/ 1083 h 6216"/>
                <a:gd name="T34" fmla="*/ 333 w 7785"/>
                <a:gd name="T35" fmla="*/ 1740 h 6216"/>
                <a:gd name="T36" fmla="*/ 717 w 7785"/>
                <a:gd name="T37" fmla="*/ 2052 h 6216"/>
                <a:gd name="T38" fmla="*/ 753 w 7785"/>
                <a:gd name="T39" fmla="*/ 2460 h 6216"/>
                <a:gd name="T40" fmla="*/ 1125 w 7785"/>
                <a:gd name="T41" fmla="*/ 2244 h 6216"/>
                <a:gd name="T42" fmla="*/ 1497 w 7785"/>
                <a:gd name="T43" fmla="*/ 2040 h 6216"/>
                <a:gd name="T44" fmla="*/ 1701 w 7785"/>
                <a:gd name="T45" fmla="*/ 2496 h 6216"/>
                <a:gd name="T46" fmla="*/ 2397 w 7785"/>
                <a:gd name="T47" fmla="*/ 2796 h 6216"/>
                <a:gd name="T48" fmla="*/ 2913 w 7785"/>
                <a:gd name="T49" fmla="*/ 2400 h 6216"/>
                <a:gd name="T50" fmla="*/ 3117 w 7785"/>
                <a:gd name="T51" fmla="*/ 1968 h 6216"/>
                <a:gd name="T52" fmla="*/ 3453 w 7785"/>
                <a:gd name="T53" fmla="*/ 1788 h 6216"/>
                <a:gd name="T54" fmla="*/ 3945 w 7785"/>
                <a:gd name="T55" fmla="*/ 1752 h 6216"/>
                <a:gd name="T56" fmla="*/ 3993 w 7785"/>
                <a:gd name="T57" fmla="*/ 2172 h 6216"/>
                <a:gd name="T58" fmla="*/ 3597 w 7785"/>
                <a:gd name="T59" fmla="*/ 2808 h 6216"/>
                <a:gd name="T60" fmla="*/ 3801 w 7785"/>
                <a:gd name="T61" fmla="*/ 2928 h 6216"/>
                <a:gd name="T62" fmla="*/ 4029 w 7785"/>
                <a:gd name="T63" fmla="*/ 3252 h 6216"/>
                <a:gd name="T64" fmla="*/ 4389 w 7785"/>
                <a:gd name="T65" fmla="*/ 3696 h 6216"/>
                <a:gd name="T66" fmla="*/ 3825 w 7785"/>
                <a:gd name="T67" fmla="*/ 3528 h 6216"/>
                <a:gd name="T68" fmla="*/ 3645 w 7785"/>
                <a:gd name="T69" fmla="*/ 4056 h 6216"/>
                <a:gd name="T70" fmla="*/ 3681 w 7785"/>
                <a:gd name="T71" fmla="*/ 3576 h 6216"/>
                <a:gd name="T72" fmla="*/ 3309 w 7785"/>
                <a:gd name="T73" fmla="*/ 3420 h 6216"/>
                <a:gd name="T74" fmla="*/ 3345 w 7785"/>
                <a:gd name="T75" fmla="*/ 3936 h 6216"/>
                <a:gd name="T76" fmla="*/ 3333 w 7785"/>
                <a:gd name="T77" fmla="*/ 4464 h 6216"/>
                <a:gd name="T78" fmla="*/ 2829 w 7785"/>
                <a:gd name="T79" fmla="*/ 4632 h 6216"/>
                <a:gd name="T80" fmla="*/ 2445 w 7785"/>
                <a:gd name="T81" fmla="*/ 5052 h 6216"/>
                <a:gd name="T82" fmla="*/ 3885 w 7785"/>
                <a:gd name="T83" fmla="*/ 6048 h 6216"/>
                <a:gd name="T84" fmla="*/ 5817 w 7785"/>
                <a:gd name="T85" fmla="*/ 5232 h 6216"/>
                <a:gd name="T86" fmla="*/ 6309 w 7785"/>
                <a:gd name="T87" fmla="*/ 5004 h 6216"/>
                <a:gd name="T88" fmla="*/ 6357 w 7785"/>
                <a:gd name="T89" fmla="*/ 4548 h 6216"/>
                <a:gd name="T90" fmla="*/ 6213 w 7785"/>
                <a:gd name="T91" fmla="*/ 4056 h 6216"/>
                <a:gd name="T92" fmla="*/ 5985 w 7785"/>
                <a:gd name="T93" fmla="*/ 3588 h 6216"/>
                <a:gd name="T94" fmla="*/ 6429 w 7785"/>
                <a:gd name="T95" fmla="*/ 3684 h 6216"/>
                <a:gd name="T96" fmla="*/ 6909 w 7785"/>
                <a:gd name="T97" fmla="*/ 3432 h 6216"/>
                <a:gd name="T98" fmla="*/ 7161 w 7785"/>
                <a:gd name="T99" fmla="*/ 2760 h 6216"/>
                <a:gd name="T100" fmla="*/ 7053 w 7785"/>
                <a:gd name="T101" fmla="*/ 1980 h 6216"/>
                <a:gd name="T102" fmla="*/ 7353 w 7785"/>
                <a:gd name="T103" fmla="*/ 1668 h 6216"/>
                <a:gd name="T104" fmla="*/ 7689 w 7785"/>
                <a:gd name="T105" fmla="*/ 1824 h 6216"/>
                <a:gd name="T106" fmla="*/ 7629 w 7785"/>
                <a:gd name="T107" fmla="*/ 1236 h 6216"/>
                <a:gd name="T108" fmla="*/ 7329 w 7785"/>
                <a:gd name="T109" fmla="*/ 648 h 6216"/>
                <a:gd name="T110" fmla="*/ 6801 w 7785"/>
                <a:gd name="T111" fmla="*/ 840 h 6216"/>
                <a:gd name="T112" fmla="*/ 6165 w 7785"/>
                <a:gd name="T113" fmla="*/ 912 h 6216"/>
                <a:gd name="T114" fmla="*/ 5861 w 7785"/>
                <a:gd name="T115" fmla="*/ 840 h 6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85" h="6216">
                  <a:moveTo>
                    <a:pt x="5861" y="840"/>
                  </a:moveTo>
                  <a:lnTo>
                    <a:pt x="5769" y="900"/>
                  </a:lnTo>
                  <a:lnTo>
                    <a:pt x="5649" y="900"/>
                  </a:lnTo>
                  <a:lnTo>
                    <a:pt x="5577" y="1008"/>
                  </a:lnTo>
                  <a:lnTo>
                    <a:pt x="5493" y="1116"/>
                  </a:lnTo>
                  <a:lnTo>
                    <a:pt x="5385" y="1284"/>
                  </a:lnTo>
                  <a:lnTo>
                    <a:pt x="5235" y="1404"/>
                  </a:lnTo>
                  <a:lnTo>
                    <a:pt x="5253" y="1260"/>
                  </a:lnTo>
                  <a:lnTo>
                    <a:pt x="5169" y="1188"/>
                  </a:lnTo>
                  <a:lnTo>
                    <a:pt x="5133" y="1140"/>
                  </a:lnTo>
                  <a:lnTo>
                    <a:pt x="5025" y="1149"/>
                  </a:lnTo>
                  <a:lnTo>
                    <a:pt x="5001" y="1356"/>
                  </a:lnTo>
                  <a:lnTo>
                    <a:pt x="4905" y="1380"/>
                  </a:lnTo>
                  <a:lnTo>
                    <a:pt x="4797" y="1440"/>
                  </a:lnTo>
                  <a:lnTo>
                    <a:pt x="4725" y="1392"/>
                  </a:lnTo>
                  <a:lnTo>
                    <a:pt x="4617" y="1440"/>
                  </a:lnTo>
                  <a:lnTo>
                    <a:pt x="4557" y="1332"/>
                  </a:lnTo>
                  <a:lnTo>
                    <a:pt x="4605" y="1200"/>
                  </a:lnTo>
                  <a:lnTo>
                    <a:pt x="4653" y="1116"/>
                  </a:lnTo>
                  <a:lnTo>
                    <a:pt x="4557" y="1068"/>
                  </a:lnTo>
                  <a:lnTo>
                    <a:pt x="4557" y="996"/>
                  </a:lnTo>
                  <a:lnTo>
                    <a:pt x="4665" y="960"/>
                  </a:lnTo>
                  <a:lnTo>
                    <a:pt x="4749" y="912"/>
                  </a:lnTo>
                  <a:lnTo>
                    <a:pt x="4677" y="840"/>
                  </a:lnTo>
                  <a:lnTo>
                    <a:pt x="4593" y="852"/>
                  </a:lnTo>
                  <a:lnTo>
                    <a:pt x="4653" y="708"/>
                  </a:lnTo>
                  <a:lnTo>
                    <a:pt x="4653" y="576"/>
                  </a:lnTo>
                  <a:lnTo>
                    <a:pt x="4557" y="600"/>
                  </a:lnTo>
                  <a:lnTo>
                    <a:pt x="4461" y="708"/>
                  </a:lnTo>
                  <a:lnTo>
                    <a:pt x="4377" y="732"/>
                  </a:lnTo>
                  <a:lnTo>
                    <a:pt x="4377" y="624"/>
                  </a:lnTo>
                  <a:lnTo>
                    <a:pt x="4281" y="600"/>
                  </a:lnTo>
                  <a:lnTo>
                    <a:pt x="4197" y="564"/>
                  </a:lnTo>
                  <a:lnTo>
                    <a:pt x="4137" y="420"/>
                  </a:lnTo>
                  <a:lnTo>
                    <a:pt x="4029" y="300"/>
                  </a:lnTo>
                  <a:lnTo>
                    <a:pt x="4125" y="276"/>
                  </a:lnTo>
                  <a:lnTo>
                    <a:pt x="4185" y="204"/>
                  </a:lnTo>
                  <a:lnTo>
                    <a:pt x="4209" y="72"/>
                  </a:lnTo>
                  <a:lnTo>
                    <a:pt x="4101" y="24"/>
                  </a:lnTo>
                  <a:lnTo>
                    <a:pt x="3981" y="12"/>
                  </a:lnTo>
                  <a:lnTo>
                    <a:pt x="3885" y="0"/>
                  </a:lnTo>
                  <a:lnTo>
                    <a:pt x="3860" y="101"/>
                  </a:lnTo>
                  <a:lnTo>
                    <a:pt x="3805" y="219"/>
                  </a:lnTo>
                  <a:lnTo>
                    <a:pt x="3668" y="274"/>
                  </a:lnTo>
                  <a:lnTo>
                    <a:pt x="3512" y="366"/>
                  </a:lnTo>
                  <a:lnTo>
                    <a:pt x="3348" y="457"/>
                  </a:lnTo>
                  <a:lnTo>
                    <a:pt x="3211" y="494"/>
                  </a:lnTo>
                  <a:lnTo>
                    <a:pt x="3092" y="439"/>
                  </a:lnTo>
                  <a:lnTo>
                    <a:pt x="2991" y="347"/>
                  </a:lnTo>
                  <a:lnTo>
                    <a:pt x="2827" y="329"/>
                  </a:lnTo>
                  <a:lnTo>
                    <a:pt x="2717" y="274"/>
                  </a:lnTo>
                  <a:lnTo>
                    <a:pt x="2699" y="183"/>
                  </a:lnTo>
                  <a:lnTo>
                    <a:pt x="2639" y="113"/>
                  </a:lnTo>
                  <a:lnTo>
                    <a:pt x="2541" y="192"/>
                  </a:lnTo>
                  <a:lnTo>
                    <a:pt x="2437" y="168"/>
                  </a:lnTo>
                  <a:lnTo>
                    <a:pt x="2379" y="119"/>
                  </a:lnTo>
                  <a:lnTo>
                    <a:pt x="2278" y="73"/>
                  </a:lnTo>
                  <a:lnTo>
                    <a:pt x="2205" y="155"/>
                  </a:lnTo>
                  <a:lnTo>
                    <a:pt x="2141" y="128"/>
                  </a:lnTo>
                  <a:lnTo>
                    <a:pt x="2121" y="54"/>
                  </a:lnTo>
                  <a:lnTo>
                    <a:pt x="2004" y="137"/>
                  </a:lnTo>
                  <a:lnTo>
                    <a:pt x="1949" y="256"/>
                  </a:lnTo>
                  <a:lnTo>
                    <a:pt x="1858" y="320"/>
                  </a:lnTo>
                  <a:lnTo>
                    <a:pt x="1775" y="347"/>
                  </a:lnTo>
                  <a:lnTo>
                    <a:pt x="1757" y="494"/>
                  </a:lnTo>
                  <a:lnTo>
                    <a:pt x="1794" y="603"/>
                  </a:lnTo>
                  <a:lnTo>
                    <a:pt x="1794" y="695"/>
                  </a:lnTo>
                  <a:lnTo>
                    <a:pt x="1867" y="741"/>
                  </a:lnTo>
                  <a:lnTo>
                    <a:pt x="1940" y="759"/>
                  </a:lnTo>
                  <a:lnTo>
                    <a:pt x="1940" y="905"/>
                  </a:lnTo>
                  <a:lnTo>
                    <a:pt x="1885" y="942"/>
                  </a:lnTo>
                  <a:lnTo>
                    <a:pt x="1812" y="960"/>
                  </a:lnTo>
                  <a:lnTo>
                    <a:pt x="1848" y="1088"/>
                  </a:lnTo>
                  <a:lnTo>
                    <a:pt x="1784" y="1143"/>
                  </a:lnTo>
                  <a:lnTo>
                    <a:pt x="1720" y="1143"/>
                  </a:lnTo>
                  <a:lnTo>
                    <a:pt x="1666" y="1042"/>
                  </a:lnTo>
                  <a:lnTo>
                    <a:pt x="1592" y="978"/>
                  </a:lnTo>
                  <a:lnTo>
                    <a:pt x="1446" y="951"/>
                  </a:lnTo>
                  <a:lnTo>
                    <a:pt x="1437" y="841"/>
                  </a:lnTo>
                  <a:lnTo>
                    <a:pt x="1391" y="777"/>
                  </a:lnTo>
                  <a:lnTo>
                    <a:pt x="1336" y="695"/>
                  </a:lnTo>
                  <a:lnTo>
                    <a:pt x="1227" y="658"/>
                  </a:lnTo>
                  <a:lnTo>
                    <a:pt x="1126" y="631"/>
                  </a:lnTo>
                  <a:lnTo>
                    <a:pt x="1090" y="521"/>
                  </a:lnTo>
                  <a:lnTo>
                    <a:pt x="1035" y="448"/>
                  </a:lnTo>
                  <a:lnTo>
                    <a:pt x="943" y="421"/>
                  </a:lnTo>
                  <a:lnTo>
                    <a:pt x="824" y="421"/>
                  </a:lnTo>
                  <a:lnTo>
                    <a:pt x="788" y="329"/>
                  </a:lnTo>
                  <a:lnTo>
                    <a:pt x="651" y="375"/>
                  </a:lnTo>
                  <a:lnTo>
                    <a:pt x="660" y="494"/>
                  </a:lnTo>
                  <a:lnTo>
                    <a:pt x="605" y="558"/>
                  </a:lnTo>
                  <a:lnTo>
                    <a:pt x="596" y="658"/>
                  </a:lnTo>
                  <a:lnTo>
                    <a:pt x="550" y="741"/>
                  </a:lnTo>
                  <a:lnTo>
                    <a:pt x="450" y="731"/>
                  </a:lnTo>
                  <a:lnTo>
                    <a:pt x="349" y="686"/>
                  </a:lnTo>
                  <a:lnTo>
                    <a:pt x="248" y="658"/>
                  </a:lnTo>
                  <a:lnTo>
                    <a:pt x="312" y="777"/>
                  </a:lnTo>
                  <a:lnTo>
                    <a:pt x="212" y="850"/>
                  </a:lnTo>
                  <a:lnTo>
                    <a:pt x="285" y="914"/>
                  </a:lnTo>
                  <a:lnTo>
                    <a:pt x="239" y="1006"/>
                  </a:lnTo>
                  <a:lnTo>
                    <a:pt x="157" y="1106"/>
                  </a:lnTo>
                  <a:lnTo>
                    <a:pt x="0" y="1083"/>
                  </a:lnTo>
                  <a:lnTo>
                    <a:pt x="11" y="1253"/>
                  </a:lnTo>
                  <a:lnTo>
                    <a:pt x="2" y="1454"/>
                  </a:lnTo>
                  <a:lnTo>
                    <a:pt x="9" y="1632"/>
                  </a:lnTo>
                  <a:lnTo>
                    <a:pt x="117" y="1572"/>
                  </a:lnTo>
                  <a:lnTo>
                    <a:pt x="237" y="1668"/>
                  </a:lnTo>
                  <a:lnTo>
                    <a:pt x="333" y="1740"/>
                  </a:lnTo>
                  <a:lnTo>
                    <a:pt x="417" y="1848"/>
                  </a:lnTo>
                  <a:lnTo>
                    <a:pt x="561" y="1908"/>
                  </a:lnTo>
                  <a:lnTo>
                    <a:pt x="645" y="1980"/>
                  </a:lnTo>
                  <a:lnTo>
                    <a:pt x="765" y="1944"/>
                  </a:lnTo>
                  <a:lnTo>
                    <a:pt x="837" y="2004"/>
                  </a:lnTo>
                  <a:lnTo>
                    <a:pt x="717" y="2052"/>
                  </a:lnTo>
                  <a:lnTo>
                    <a:pt x="729" y="2136"/>
                  </a:lnTo>
                  <a:lnTo>
                    <a:pt x="693" y="2208"/>
                  </a:lnTo>
                  <a:lnTo>
                    <a:pt x="664" y="2290"/>
                  </a:lnTo>
                  <a:lnTo>
                    <a:pt x="669" y="2357"/>
                  </a:lnTo>
                  <a:lnTo>
                    <a:pt x="731" y="2386"/>
                  </a:lnTo>
                  <a:lnTo>
                    <a:pt x="753" y="2460"/>
                  </a:lnTo>
                  <a:lnTo>
                    <a:pt x="873" y="2556"/>
                  </a:lnTo>
                  <a:lnTo>
                    <a:pt x="933" y="2616"/>
                  </a:lnTo>
                  <a:lnTo>
                    <a:pt x="993" y="2612"/>
                  </a:lnTo>
                  <a:lnTo>
                    <a:pt x="1005" y="2472"/>
                  </a:lnTo>
                  <a:lnTo>
                    <a:pt x="1029" y="2340"/>
                  </a:lnTo>
                  <a:lnTo>
                    <a:pt x="1125" y="2244"/>
                  </a:lnTo>
                  <a:lnTo>
                    <a:pt x="1245" y="2208"/>
                  </a:lnTo>
                  <a:lnTo>
                    <a:pt x="1281" y="2280"/>
                  </a:lnTo>
                  <a:lnTo>
                    <a:pt x="1389" y="2232"/>
                  </a:lnTo>
                  <a:lnTo>
                    <a:pt x="1461" y="2184"/>
                  </a:lnTo>
                  <a:lnTo>
                    <a:pt x="1413" y="2100"/>
                  </a:lnTo>
                  <a:lnTo>
                    <a:pt x="1497" y="2040"/>
                  </a:lnTo>
                  <a:lnTo>
                    <a:pt x="1569" y="2124"/>
                  </a:lnTo>
                  <a:lnTo>
                    <a:pt x="1557" y="2220"/>
                  </a:lnTo>
                  <a:lnTo>
                    <a:pt x="1581" y="2292"/>
                  </a:lnTo>
                  <a:lnTo>
                    <a:pt x="1641" y="2340"/>
                  </a:lnTo>
                  <a:lnTo>
                    <a:pt x="1689" y="2412"/>
                  </a:lnTo>
                  <a:lnTo>
                    <a:pt x="1701" y="2496"/>
                  </a:lnTo>
                  <a:lnTo>
                    <a:pt x="1821" y="2556"/>
                  </a:lnTo>
                  <a:lnTo>
                    <a:pt x="1893" y="2616"/>
                  </a:lnTo>
                  <a:lnTo>
                    <a:pt x="2001" y="2664"/>
                  </a:lnTo>
                  <a:lnTo>
                    <a:pt x="2145" y="2676"/>
                  </a:lnTo>
                  <a:lnTo>
                    <a:pt x="2277" y="2736"/>
                  </a:lnTo>
                  <a:lnTo>
                    <a:pt x="2397" y="2796"/>
                  </a:lnTo>
                  <a:lnTo>
                    <a:pt x="2529" y="2820"/>
                  </a:lnTo>
                  <a:lnTo>
                    <a:pt x="2649" y="2808"/>
                  </a:lnTo>
                  <a:lnTo>
                    <a:pt x="2757" y="2760"/>
                  </a:lnTo>
                  <a:lnTo>
                    <a:pt x="2877" y="2676"/>
                  </a:lnTo>
                  <a:lnTo>
                    <a:pt x="2961" y="2544"/>
                  </a:lnTo>
                  <a:lnTo>
                    <a:pt x="2913" y="2400"/>
                  </a:lnTo>
                  <a:lnTo>
                    <a:pt x="2925" y="2280"/>
                  </a:lnTo>
                  <a:lnTo>
                    <a:pt x="2877" y="2160"/>
                  </a:lnTo>
                  <a:lnTo>
                    <a:pt x="2973" y="2148"/>
                  </a:lnTo>
                  <a:lnTo>
                    <a:pt x="3057" y="2184"/>
                  </a:lnTo>
                  <a:lnTo>
                    <a:pt x="3069" y="2052"/>
                  </a:lnTo>
                  <a:lnTo>
                    <a:pt x="3117" y="1968"/>
                  </a:lnTo>
                  <a:lnTo>
                    <a:pt x="2973" y="1908"/>
                  </a:lnTo>
                  <a:lnTo>
                    <a:pt x="2973" y="1800"/>
                  </a:lnTo>
                  <a:lnTo>
                    <a:pt x="3045" y="1764"/>
                  </a:lnTo>
                  <a:lnTo>
                    <a:pt x="3129" y="1800"/>
                  </a:lnTo>
                  <a:lnTo>
                    <a:pt x="3273" y="1812"/>
                  </a:lnTo>
                  <a:lnTo>
                    <a:pt x="3453" y="1788"/>
                  </a:lnTo>
                  <a:lnTo>
                    <a:pt x="3621" y="1776"/>
                  </a:lnTo>
                  <a:lnTo>
                    <a:pt x="3693" y="1788"/>
                  </a:lnTo>
                  <a:lnTo>
                    <a:pt x="3753" y="1896"/>
                  </a:lnTo>
                  <a:lnTo>
                    <a:pt x="3825" y="1824"/>
                  </a:lnTo>
                  <a:lnTo>
                    <a:pt x="3873" y="1728"/>
                  </a:lnTo>
                  <a:lnTo>
                    <a:pt x="3945" y="1752"/>
                  </a:lnTo>
                  <a:lnTo>
                    <a:pt x="4041" y="1824"/>
                  </a:lnTo>
                  <a:lnTo>
                    <a:pt x="4089" y="1944"/>
                  </a:lnTo>
                  <a:lnTo>
                    <a:pt x="4041" y="2052"/>
                  </a:lnTo>
                  <a:lnTo>
                    <a:pt x="3921" y="1920"/>
                  </a:lnTo>
                  <a:lnTo>
                    <a:pt x="3945" y="2040"/>
                  </a:lnTo>
                  <a:lnTo>
                    <a:pt x="3993" y="2172"/>
                  </a:lnTo>
                  <a:lnTo>
                    <a:pt x="3909" y="2268"/>
                  </a:lnTo>
                  <a:lnTo>
                    <a:pt x="3837" y="2376"/>
                  </a:lnTo>
                  <a:lnTo>
                    <a:pt x="3789" y="2508"/>
                  </a:lnTo>
                  <a:lnTo>
                    <a:pt x="3753" y="2604"/>
                  </a:lnTo>
                  <a:lnTo>
                    <a:pt x="3693" y="2736"/>
                  </a:lnTo>
                  <a:lnTo>
                    <a:pt x="3597" y="2808"/>
                  </a:lnTo>
                  <a:lnTo>
                    <a:pt x="3489" y="2856"/>
                  </a:lnTo>
                  <a:lnTo>
                    <a:pt x="3501" y="2964"/>
                  </a:lnTo>
                  <a:lnTo>
                    <a:pt x="3561" y="3024"/>
                  </a:lnTo>
                  <a:lnTo>
                    <a:pt x="3669" y="3000"/>
                  </a:lnTo>
                  <a:lnTo>
                    <a:pt x="3729" y="2916"/>
                  </a:lnTo>
                  <a:lnTo>
                    <a:pt x="3801" y="2928"/>
                  </a:lnTo>
                  <a:lnTo>
                    <a:pt x="3873" y="2916"/>
                  </a:lnTo>
                  <a:lnTo>
                    <a:pt x="3969" y="2916"/>
                  </a:lnTo>
                  <a:lnTo>
                    <a:pt x="4041" y="2988"/>
                  </a:lnTo>
                  <a:lnTo>
                    <a:pt x="4065" y="3084"/>
                  </a:lnTo>
                  <a:lnTo>
                    <a:pt x="4017" y="3168"/>
                  </a:lnTo>
                  <a:lnTo>
                    <a:pt x="4029" y="3252"/>
                  </a:lnTo>
                  <a:lnTo>
                    <a:pt x="4113" y="3300"/>
                  </a:lnTo>
                  <a:lnTo>
                    <a:pt x="4233" y="3324"/>
                  </a:lnTo>
                  <a:lnTo>
                    <a:pt x="4353" y="3396"/>
                  </a:lnTo>
                  <a:lnTo>
                    <a:pt x="4401" y="3492"/>
                  </a:lnTo>
                  <a:lnTo>
                    <a:pt x="4461" y="3636"/>
                  </a:lnTo>
                  <a:lnTo>
                    <a:pt x="4389" y="3696"/>
                  </a:lnTo>
                  <a:lnTo>
                    <a:pt x="4413" y="3804"/>
                  </a:lnTo>
                  <a:lnTo>
                    <a:pt x="4269" y="3744"/>
                  </a:lnTo>
                  <a:lnTo>
                    <a:pt x="4209" y="3636"/>
                  </a:lnTo>
                  <a:lnTo>
                    <a:pt x="4113" y="3564"/>
                  </a:lnTo>
                  <a:lnTo>
                    <a:pt x="3945" y="3540"/>
                  </a:lnTo>
                  <a:lnTo>
                    <a:pt x="3825" y="3528"/>
                  </a:lnTo>
                  <a:lnTo>
                    <a:pt x="3825" y="3648"/>
                  </a:lnTo>
                  <a:lnTo>
                    <a:pt x="3789" y="3756"/>
                  </a:lnTo>
                  <a:lnTo>
                    <a:pt x="3741" y="3840"/>
                  </a:lnTo>
                  <a:lnTo>
                    <a:pt x="3693" y="3924"/>
                  </a:lnTo>
                  <a:lnTo>
                    <a:pt x="3729" y="4020"/>
                  </a:lnTo>
                  <a:lnTo>
                    <a:pt x="3645" y="4056"/>
                  </a:lnTo>
                  <a:lnTo>
                    <a:pt x="3573" y="3984"/>
                  </a:lnTo>
                  <a:lnTo>
                    <a:pt x="3561" y="3900"/>
                  </a:lnTo>
                  <a:lnTo>
                    <a:pt x="3501" y="3804"/>
                  </a:lnTo>
                  <a:lnTo>
                    <a:pt x="3597" y="3744"/>
                  </a:lnTo>
                  <a:lnTo>
                    <a:pt x="3621" y="3612"/>
                  </a:lnTo>
                  <a:lnTo>
                    <a:pt x="3681" y="3576"/>
                  </a:lnTo>
                  <a:lnTo>
                    <a:pt x="3681" y="3516"/>
                  </a:lnTo>
                  <a:lnTo>
                    <a:pt x="3537" y="3516"/>
                  </a:lnTo>
                  <a:lnTo>
                    <a:pt x="3477" y="3456"/>
                  </a:lnTo>
                  <a:lnTo>
                    <a:pt x="3453" y="3396"/>
                  </a:lnTo>
                  <a:lnTo>
                    <a:pt x="3357" y="3420"/>
                  </a:lnTo>
                  <a:lnTo>
                    <a:pt x="3309" y="3420"/>
                  </a:lnTo>
                  <a:lnTo>
                    <a:pt x="3249" y="3504"/>
                  </a:lnTo>
                  <a:lnTo>
                    <a:pt x="3297" y="3624"/>
                  </a:lnTo>
                  <a:lnTo>
                    <a:pt x="3297" y="3732"/>
                  </a:lnTo>
                  <a:lnTo>
                    <a:pt x="3237" y="3828"/>
                  </a:lnTo>
                  <a:lnTo>
                    <a:pt x="3237" y="3924"/>
                  </a:lnTo>
                  <a:lnTo>
                    <a:pt x="3345" y="3936"/>
                  </a:lnTo>
                  <a:lnTo>
                    <a:pt x="3417" y="3960"/>
                  </a:lnTo>
                  <a:lnTo>
                    <a:pt x="3441" y="4104"/>
                  </a:lnTo>
                  <a:lnTo>
                    <a:pt x="3513" y="4188"/>
                  </a:lnTo>
                  <a:lnTo>
                    <a:pt x="3393" y="4272"/>
                  </a:lnTo>
                  <a:lnTo>
                    <a:pt x="3381" y="4404"/>
                  </a:lnTo>
                  <a:lnTo>
                    <a:pt x="3333" y="4464"/>
                  </a:lnTo>
                  <a:lnTo>
                    <a:pt x="3369" y="4584"/>
                  </a:lnTo>
                  <a:lnTo>
                    <a:pt x="3249" y="4572"/>
                  </a:lnTo>
                  <a:lnTo>
                    <a:pt x="3177" y="4560"/>
                  </a:lnTo>
                  <a:lnTo>
                    <a:pt x="3057" y="4548"/>
                  </a:lnTo>
                  <a:lnTo>
                    <a:pt x="2949" y="4644"/>
                  </a:lnTo>
                  <a:lnTo>
                    <a:pt x="2829" y="4632"/>
                  </a:lnTo>
                  <a:lnTo>
                    <a:pt x="2721" y="4608"/>
                  </a:lnTo>
                  <a:lnTo>
                    <a:pt x="2613" y="4632"/>
                  </a:lnTo>
                  <a:lnTo>
                    <a:pt x="2469" y="4668"/>
                  </a:lnTo>
                  <a:lnTo>
                    <a:pt x="2421" y="4848"/>
                  </a:lnTo>
                  <a:lnTo>
                    <a:pt x="2457" y="4980"/>
                  </a:lnTo>
                  <a:lnTo>
                    <a:pt x="2445" y="5052"/>
                  </a:lnTo>
                  <a:lnTo>
                    <a:pt x="2361" y="5184"/>
                  </a:lnTo>
                  <a:lnTo>
                    <a:pt x="2301" y="5274"/>
                  </a:lnTo>
                  <a:lnTo>
                    <a:pt x="2505" y="5340"/>
                  </a:lnTo>
                  <a:lnTo>
                    <a:pt x="2985" y="5640"/>
                  </a:lnTo>
                  <a:lnTo>
                    <a:pt x="3525" y="6036"/>
                  </a:lnTo>
                  <a:lnTo>
                    <a:pt x="3885" y="6048"/>
                  </a:lnTo>
                  <a:lnTo>
                    <a:pt x="4797" y="6216"/>
                  </a:lnTo>
                  <a:lnTo>
                    <a:pt x="4989" y="5952"/>
                  </a:lnTo>
                  <a:lnTo>
                    <a:pt x="5109" y="5820"/>
                  </a:lnTo>
                  <a:lnTo>
                    <a:pt x="5865" y="5448"/>
                  </a:lnTo>
                  <a:lnTo>
                    <a:pt x="5877" y="5352"/>
                  </a:lnTo>
                  <a:lnTo>
                    <a:pt x="5817" y="5232"/>
                  </a:lnTo>
                  <a:lnTo>
                    <a:pt x="5889" y="5184"/>
                  </a:lnTo>
                  <a:lnTo>
                    <a:pt x="5985" y="5220"/>
                  </a:lnTo>
                  <a:lnTo>
                    <a:pt x="6081" y="5124"/>
                  </a:lnTo>
                  <a:lnTo>
                    <a:pt x="6213" y="5088"/>
                  </a:lnTo>
                  <a:lnTo>
                    <a:pt x="6213" y="4980"/>
                  </a:lnTo>
                  <a:lnTo>
                    <a:pt x="6309" y="5004"/>
                  </a:lnTo>
                  <a:lnTo>
                    <a:pt x="6441" y="4980"/>
                  </a:lnTo>
                  <a:lnTo>
                    <a:pt x="6609" y="4992"/>
                  </a:lnTo>
                  <a:lnTo>
                    <a:pt x="6537" y="4860"/>
                  </a:lnTo>
                  <a:lnTo>
                    <a:pt x="6441" y="4776"/>
                  </a:lnTo>
                  <a:lnTo>
                    <a:pt x="6357" y="4680"/>
                  </a:lnTo>
                  <a:lnTo>
                    <a:pt x="6357" y="4548"/>
                  </a:lnTo>
                  <a:lnTo>
                    <a:pt x="6285" y="4404"/>
                  </a:lnTo>
                  <a:lnTo>
                    <a:pt x="6237" y="4344"/>
                  </a:lnTo>
                  <a:lnTo>
                    <a:pt x="6285" y="4296"/>
                  </a:lnTo>
                  <a:lnTo>
                    <a:pt x="6345" y="4152"/>
                  </a:lnTo>
                  <a:lnTo>
                    <a:pt x="6285" y="4116"/>
                  </a:lnTo>
                  <a:lnTo>
                    <a:pt x="6213" y="4056"/>
                  </a:lnTo>
                  <a:lnTo>
                    <a:pt x="6177" y="3948"/>
                  </a:lnTo>
                  <a:lnTo>
                    <a:pt x="6093" y="3948"/>
                  </a:lnTo>
                  <a:lnTo>
                    <a:pt x="6057" y="3852"/>
                  </a:lnTo>
                  <a:lnTo>
                    <a:pt x="5961" y="3816"/>
                  </a:lnTo>
                  <a:lnTo>
                    <a:pt x="5985" y="3708"/>
                  </a:lnTo>
                  <a:lnTo>
                    <a:pt x="5985" y="3588"/>
                  </a:lnTo>
                  <a:lnTo>
                    <a:pt x="6105" y="3588"/>
                  </a:lnTo>
                  <a:lnTo>
                    <a:pt x="6117" y="3492"/>
                  </a:lnTo>
                  <a:lnTo>
                    <a:pt x="6177" y="3336"/>
                  </a:lnTo>
                  <a:lnTo>
                    <a:pt x="6285" y="3444"/>
                  </a:lnTo>
                  <a:lnTo>
                    <a:pt x="6357" y="3552"/>
                  </a:lnTo>
                  <a:lnTo>
                    <a:pt x="6429" y="3684"/>
                  </a:lnTo>
                  <a:lnTo>
                    <a:pt x="6489" y="3756"/>
                  </a:lnTo>
                  <a:lnTo>
                    <a:pt x="6561" y="3828"/>
                  </a:lnTo>
                  <a:lnTo>
                    <a:pt x="6693" y="3720"/>
                  </a:lnTo>
                  <a:lnTo>
                    <a:pt x="6681" y="3576"/>
                  </a:lnTo>
                  <a:lnTo>
                    <a:pt x="6789" y="3456"/>
                  </a:lnTo>
                  <a:lnTo>
                    <a:pt x="6909" y="3432"/>
                  </a:lnTo>
                  <a:lnTo>
                    <a:pt x="6981" y="3384"/>
                  </a:lnTo>
                  <a:lnTo>
                    <a:pt x="7053" y="3252"/>
                  </a:lnTo>
                  <a:lnTo>
                    <a:pt x="7065" y="3108"/>
                  </a:lnTo>
                  <a:lnTo>
                    <a:pt x="7137" y="3024"/>
                  </a:lnTo>
                  <a:lnTo>
                    <a:pt x="7185" y="2868"/>
                  </a:lnTo>
                  <a:lnTo>
                    <a:pt x="7161" y="2760"/>
                  </a:lnTo>
                  <a:lnTo>
                    <a:pt x="7077" y="2640"/>
                  </a:lnTo>
                  <a:lnTo>
                    <a:pt x="7005" y="2556"/>
                  </a:lnTo>
                  <a:lnTo>
                    <a:pt x="7017" y="2436"/>
                  </a:lnTo>
                  <a:lnTo>
                    <a:pt x="6993" y="2316"/>
                  </a:lnTo>
                  <a:lnTo>
                    <a:pt x="7017" y="2172"/>
                  </a:lnTo>
                  <a:lnTo>
                    <a:pt x="7053" y="1980"/>
                  </a:lnTo>
                  <a:lnTo>
                    <a:pt x="7125" y="1860"/>
                  </a:lnTo>
                  <a:lnTo>
                    <a:pt x="7185" y="1752"/>
                  </a:lnTo>
                  <a:lnTo>
                    <a:pt x="7137" y="1632"/>
                  </a:lnTo>
                  <a:lnTo>
                    <a:pt x="7209" y="1560"/>
                  </a:lnTo>
                  <a:lnTo>
                    <a:pt x="7269" y="1632"/>
                  </a:lnTo>
                  <a:lnTo>
                    <a:pt x="7353" y="1668"/>
                  </a:lnTo>
                  <a:lnTo>
                    <a:pt x="7437" y="1704"/>
                  </a:lnTo>
                  <a:lnTo>
                    <a:pt x="7473" y="1800"/>
                  </a:lnTo>
                  <a:lnTo>
                    <a:pt x="7509" y="1932"/>
                  </a:lnTo>
                  <a:lnTo>
                    <a:pt x="7545" y="2004"/>
                  </a:lnTo>
                  <a:lnTo>
                    <a:pt x="7605" y="1932"/>
                  </a:lnTo>
                  <a:lnTo>
                    <a:pt x="7689" y="1824"/>
                  </a:lnTo>
                  <a:lnTo>
                    <a:pt x="7785" y="1788"/>
                  </a:lnTo>
                  <a:lnTo>
                    <a:pt x="7785" y="1632"/>
                  </a:lnTo>
                  <a:lnTo>
                    <a:pt x="7713" y="1560"/>
                  </a:lnTo>
                  <a:lnTo>
                    <a:pt x="7725" y="1440"/>
                  </a:lnTo>
                  <a:lnTo>
                    <a:pt x="7701" y="1368"/>
                  </a:lnTo>
                  <a:lnTo>
                    <a:pt x="7629" y="1236"/>
                  </a:lnTo>
                  <a:lnTo>
                    <a:pt x="7545" y="1152"/>
                  </a:lnTo>
                  <a:lnTo>
                    <a:pt x="7497" y="1068"/>
                  </a:lnTo>
                  <a:lnTo>
                    <a:pt x="7485" y="924"/>
                  </a:lnTo>
                  <a:lnTo>
                    <a:pt x="7401" y="840"/>
                  </a:lnTo>
                  <a:lnTo>
                    <a:pt x="7341" y="744"/>
                  </a:lnTo>
                  <a:lnTo>
                    <a:pt x="7329" y="648"/>
                  </a:lnTo>
                  <a:lnTo>
                    <a:pt x="7257" y="612"/>
                  </a:lnTo>
                  <a:lnTo>
                    <a:pt x="7197" y="648"/>
                  </a:lnTo>
                  <a:lnTo>
                    <a:pt x="7101" y="672"/>
                  </a:lnTo>
                  <a:lnTo>
                    <a:pt x="7077" y="816"/>
                  </a:lnTo>
                  <a:lnTo>
                    <a:pt x="6945" y="804"/>
                  </a:lnTo>
                  <a:lnTo>
                    <a:pt x="6801" y="840"/>
                  </a:lnTo>
                  <a:lnTo>
                    <a:pt x="6705" y="792"/>
                  </a:lnTo>
                  <a:lnTo>
                    <a:pt x="6609" y="816"/>
                  </a:lnTo>
                  <a:lnTo>
                    <a:pt x="6477" y="840"/>
                  </a:lnTo>
                  <a:lnTo>
                    <a:pt x="6357" y="792"/>
                  </a:lnTo>
                  <a:lnTo>
                    <a:pt x="6273" y="840"/>
                  </a:lnTo>
                  <a:lnTo>
                    <a:pt x="6165" y="912"/>
                  </a:lnTo>
                  <a:lnTo>
                    <a:pt x="6081" y="960"/>
                  </a:lnTo>
                  <a:lnTo>
                    <a:pt x="5985" y="984"/>
                  </a:lnTo>
                  <a:lnTo>
                    <a:pt x="5925" y="936"/>
                  </a:lnTo>
                  <a:lnTo>
                    <a:pt x="6021" y="876"/>
                  </a:lnTo>
                  <a:lnTo>
                    <a:pt x="5949" y="828"/>
                  </a:lnTo>
                  <a:lnTo>
                    <a:pt x="5861" y="8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5" name="Freeform 6">
              <a:extLst>
                <a:ext uri="{FF2B5EF4-FFF2-40B4-BE49-F238E27FC236}">
                  <a16:creationId xmlns:a16="http://schemas.microsoft.com/office/drawing/2014/main" id="{A1ED4CD8-95BC-4D1E-8498-A4BED3F4014A}"/>
                </a:ext>
              </a:extLst>
            </p:cNvPr>
            <p:cNvSpPr>
              <a:spLocks/>
            </p:cNvSpPr>
            <p:nvPr/>
          </p:nvSpPr>
          <p:spPr bwMode="auto">
            <a:xfrm>
              <a:off x="4667679" y="2467363"/>
              <a:ext cx="1816779" cy="1777345"/>
            </a:xfrm>
            <a:custGeom>
              <a:avLst/>
              <a:gdLst>
                <a:gd name="T0" fmla="*/ 84 w 6450"/>
                <a:gd name="T1" fmla="*/ 1236 h 6311"/>
                <a:gd name="T2" fmla="*/ 228 w 6450"/>
                <a:gd name="T3" fmla="*/ 900 h 6311"/>
                <a:gd name="T4" fmla="*/ 372 w 6450"/>
                <a:gd name="T5" fmla="*/ 420 h 6311"/>
                <a:gd name="T6" fmla="*/ 588 w 6450"/>
                <a:gd name="T7" fmla="*/ 84 h 6311"/>
                <a:gd name="T8" fmla="*/ 1500 w 6450"/>
                <a:gd name="T9" fmla="*/ 60 h 6311"/>
                <a:gd name="T10" fmla="*/ 2004 w 6450"/>
                <a:gd name="T11" fmla="*/ 60 h 6311"/>
                <a:gd name="T12" fmla="*/ 1884 w 6450"/>
                <a:gd name="T13" fmla="*/ 624 h 6311"/>
                <a:gd name="T14" fmla="*/ 2112 w 6450"/>
                <a:gd name="T15" fmla="*/ 1020 h 6311"/>
                <a:gd name="T16" fmla="*/ 2436 w 6450"/>
                <a:gd name="T17" fmla="*/ 1404 h 6311"/>
                <a:gd name="T18" fmla="*/ 3072 w 6450"/>
                <a:gd name="T19" fmla="*/ 1884 h 6311"/>
                <a:gd name="T20" fmla="*/ 5652 w 6450"/>
                <a:gd name="T21" fmla="*/ 2748 h 6311"/>
                <a:gd name="T22" fmla="*/ 2964 w 6450"/>
                <a:gd name="T23" fmla="*/ 5460 h 6311"/>
                <a:gd name="T24" fmla="*/ 1992 w 6450"/>
                <a:gd name="T25" fmla="*/ 5940 h 6311"/>
                <a:gd name="T26" fmla="*/ 1017 w 6450"/>
                <a:gd name="T27" fmla="*/ 6311 h 6311"/>
                <a:gd name="T28" fmla="*/ 444 w 6450"/>
                <a:gd name="T29" fmla="*/ 6300 h 6311"/>
                <a:gd name="T30" fmla="*/ 72 w 6450"/>
                <a:gd name="T31" fmla="*/ 5940 h 6311"/>
                <a:gd name="T32" fmla="*/ 180 w 6450"/>
                <a:gd name="T33" fmla="*/ 5808 h 6311"/>
                <a:gd name="T34" fmla="*/ 408 w 6450"/>
                <a:gd name="T35" fmla="*/ 5568 h 6311"/>
                <a:gd name="T36" fmla="*/ 804 w 6450"/>
                <a:gd name="T37" fmla="*/ 5580 h 6311"/>
                <a:gd name="T38" fmla="*/ 552 w 6450"/>
                <a:gd name="T39" fmla="*/ 5268 h 6311"/>
                <a:gd name="T40" fmla="*/ 432 w 6450"/>
                <a:gd name="T41" fmla="*/ 4932 h 6311"/>
                <a:gd name="T42" fmla="*/ 480 w 6450"/>
                <a:gd name="T43" fmla="*/ 4704 h 6311"/>
                <a:gd name="T44" fmla="*/ 288 w 6450"/>
                <a:gd name="T45" fmla="*/ 4536 h 6311"/>
                <a:gd name="T46" fmla="*/ 180 w 6450"/>
                <a:gd name="T47" fmla="*/ 4296 h 6311"/>
                <a:gd name="T48" fmla="*/ 312 w 6450"/>
                <a:gd name="T49" fmla="*/ 4080 h 6311"/>
                <a:gd name="T50" fmla="*/ 552 w 6450"/>
                <a:gd name="T51" fmla="*/ 4140 h 6311"/>
                <a:gd name="T52" fmla="*/ 756 w 6450"/>
                <a:gd name="T53" fmla="*/ 4416 h 6311"/>
                <a:gd name="T54" fmla="*/ 984 w 6450"/>
                <a:gd name="T55" fmla="*/ 4044 h 6311"/>
                <a:gd name="T56" fmla="*/ 1248 w 6450"/>
                <a:gd name="T57" fmla="*/ 3840 h 6311"/>
                <a:gd name="T58" fmla="*/ 1380 w 6450"/>
                <a:gd name="T59" fmla="*/ 3456 h 6311"/>
                <a:gd name="T60" fmla="*/ 1200 w 6450"/>
                <a:gd name="T61" fmla="*/ 3144 h 6311"/>
                <a:gd name="T62" fmla="*/ 1212 w 6450"/>
                <a:gd name="T63" fmla="*/ 2760 h 6311"/>
                <a:gd name="T64" fmla="*/ 1380 w 6450"/>
                <a:gd name="T65" fmla="*/ 2340 h 6311"/>
                <a:gd name="T66" fmla="*/ 1464 w 6450"/>
                <a:gd name="T67" fmla="*/ 2220 h 6311"/>
                <a:gd name="T68" fmla="*/ 1668 w 6450"/>
                <a:gd name="T69" fmla="*/ 2388 h 6311"/>
                <a:gd name="T70" fmla="*/ 1800 w 6450"/>
                <a:gd name="T71" fmla="*/ 2520 h 6311"/>
                <a:gd name="T72" fmla="*/ 1980 w 6450"/>
                <a:gd name="T73" fmla="*/ 2220 h 6311"/>
                <a:gd name="T74" fmla="*/ 1896 w 6450"/>
                <a:gd name="T75" fmla="*/ 1956 h 6311"/>
                <a:gd name="T76" fmla="*/ 1692 w 6450"/>
                <a:gd name="T77" fmla="*/ 1656 h 6311"/>
                <a:gd name="T78" fmla="*/ 1536 w 6450"/>
                <a:gd name="T79" fmla="*/ 1332 h 6311"/>
                <a:gd name="T80" fmla="*/ 1391 w 6450"/>
                <a:gd name="T81" fmla="*/ 1236 h 6311"/>
                <a:gd name="T82" fmla="*/ 1140 w 6450"/>
                <a:gd name="T83" fmla="*/ 1392 h 6311"/>
                <a:gd name="T84" fmla="*/ 804 w 6450"/>
                <a:gd name="T85" fmla="*/ 1404 h 6311"/>
                <a:gd name="T86" fmla="*/ 468 w 6450"/>
                <a:gd name="T87" fmla="*/ 1428 h 6311"/>
                <a:gd name="T88" fmla="*/ 180 w 6450"/>
                <a:gd name="T89" fmla="*/ 1572 h 6311"/>
                <a:gd name="T90" fmla="*/ 144 w 6450"/>
                <a:gd name="T91" fmla="*/ 1416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50" h="6311">
                  <a:moveTo>
                    <a:pt x="56" y="1428"/>
                  </a:moveTo>
                  <a:lnTo>
                    <a:pt x="0" y="1380"/>
                  </a:lnTo>
                  <a:lnTo>
                    <a:pt x="84" y="1236"/>
                  </a:lnTo>
                  <a:lnTo>
                    <a:pt x="144" y="1140"/>
                  </a:lnTo>
                  <a:lnTo>
                    <a:pt x="288" y="1020"/>
                  </a:lnTo>
                  <a:lnTo>
                    <a:pt x="228" y="900"/>
                  </a:lnTo>
                  <a:lnTo>
                    <a:pt x="276" y="756"/>
                  </a:lnTo>
                  <a:lnTo>
                    <a:pt x="324" y="588"/>
                  </a:lnTo>
                  <a:lnTo>
                    <a:pt x="372" y="420"/>
                  </a:lnTo>
                  <a:lnTo>
                    <a:pt x="384" y="300"/>
                  </a:lnTo>
                  <a:lnTo>
                    <a:pt x="480" y="192"/>
                  </a:lnTo>
                  <a:lnTo>
                    <a:pt x="588" y="84"/>
                  </a:lnTo>
                  <a:lnTo>
                    <a:pt x="978" y="84"/>
                  </a:lnTo>
                  <a:lnTo>
                    <a:pt x="1224" y="84"/>
                  </a:lnTo>
                  <a:lnTo>
                    <a:pt x="1500" y="60"/>
                  </a:lnTo>
                  <a:lnTo>
                    <a:pt x="1716" y="0"/>
                  </a:lnTo>
                  <a:lnTo>
                    <a:pt x="1824" y="0"/>
                  </a:lnTo>
                  <a:lnTo>
                    <a:pt x="2004" y="60"/>
                  </a:lnTo>
                  <a:lnTo>
                    <a:pt x="1908" y="228"/>
                  </a:lnTo>
                  <a:lnTo>
                    <a:pt x="1788" y="420"/>
                  </a:lnTo>
                  <a:lnTo>
                    <a:pt x="1884" y="624"/>
                  </a:lnTo>
                  <a:lnTo>
                    <a:pt x="1980" y="780"/>
                  </a:lnTo>
                  <a:lnTo>
                    <a:pt x="2076" y="900"/>
                  </a:lnTo>
                  <a:lnTo>
                    <a:pt x="2112" y="1020"/>
                  </a:lnTo>
                  <a:lnTo>
                    <a:pt x="2268" y="1044"/>
                  </a:lnTo>
                  <a:lnTo>
                    <a:pt x="2340" y="1236"/>
                  </a:lnTo>
                  <a:lnTo>
                    <a:pt x="2436" y="1404"/>
                  </a:lnTo>
                  <a:lnTo>
                    <a:pt x="2640" y="1560"/>
                  </a:lnTo>
                  <a:lnTo>
                    <a:pt x="2892" y="1740"/>
                  </a:lnTo>
                  <a:lnTo>
                    <a:pt x="3072" y="1884"/>
                  </a:lnTo>
                  <a:lnTo>
                    <a:pt x="3792" y="2112"/>
                  </a:lnTo>
                  <a:lnTo>
                    <a:pt x="4668" y="2412"/>
                  </a:lnTo>
                  <a:lnTo>
                    <a:pt x="5652" y="2748"/>
                  </a:lnTo>
                  <a:lnTo>
                    <a:pt x="6450" y="2712"/>
                  </a:lnTo>
                  <a:lnTo>
                    <a:pt x="3840" y="5502"/>
                  </a:lnTo>
                  <a:lnTo>
                    <a:pt x="2964" y="5460"/>
                  </a:lnTo>
                  <a:lnTo>
                    <a:pt x="2412" y="5604"/>
                  </a:lnTo>
                  <a:lnTo>
                    <a:pt x="2172" y="5724"/>
                  </a:lnTo>
                  <a:lnTo>
                    <a:pt x="1992" y="5940"/>
                  </a:lnTo>
                  <a:lnTo>
                    <a:pt x="1752" y="6072"/>
                  </a:lnTo>
                  <a:lnTo>
                    <a:pt x="1260" y="6132"/>
                  </a:lnTo>
                  <a:lnTo>
                    <a:pt x="1017" y="6311"/>
                  </a:lnTo>
                  <a:lnTo>
                    <a:pt x="948" y="6300"/>
                  </a:lnTo>
                  <a:lnTo>
                    <a:pt x="684" y="6300"/>
                  </a:lnTo>
                  <a:lnTo>
                    <a:pt x="444" y="6300"/>
                  </a:lnTo>
                  <a:lnTo>
                    <a:pt x="300" y="6192"/>
                  </a:lnTo>
                  <a:lnTo>
                    <a:pt x="60" y="6036"/>
                  </a:lnTo>
                  <a:lnTo>
                    <a:pt x="72" y="5940"/>
                  </a:lnTo>
                  <a:lnTo>
                    <a:pt x="12" y="5820"/>
                  </a:lnTo>
                  <a:lnTo>
                    <a:pt x="84" y="5772"/>
                  </a:lnTo>
                  <a:lnTo>
                    <a:pt x="180" y="5808"/>
                  </a:lnTo>
                  <a:lnTo>
                    <a:pt x="276" y="5712"/>
                  </a:lnTo>
                  <a:lnTo>
                    <a:pt x="408" y="5676"/>
                  </a:lnTo>
                  <a:lnTo>
                    <a:pt x="408" y="5568"/>
                  </a:lnTo>
                  <a:lnTo>
                    <a:pt x="504" y="5592"/>
                  </a:lnTo>
                  <a:lnTo>
                    <a:pt x="636" y="5568"/>
                  </a:lnTo>
                  <a:lnTo>
                    <a:pt x="804" y="5580"/>
                  </a:lnTo>
                  <a:lnTo>
                    <a:pt x="732" y="5448"/>
                  </a:lnTo>
                  <a:lnTo>
                    <a:pt x="636" y="5364"/>
                  </a:lnTo>
                  <a:lnTo>
                    <a:pt x="552" y="5268"/>
                  </a:lnTo>
                  <a:lnTo>
                    <a:pt x="552" y="5136"/>
                  </a:lnTo>
                  <a:lnTo>
                    <a:pt x="480" y="4992"/>
                  </a:lnTo>
                  <a:lnTo>
                    <a:pt x="432" y="4932"/>
                  </a:lnTo>
                  <a:lnTo>
                    <a:pt x="480" y="4884"/>
                  </a:lnTo>
                  <a:lnTo>
                    <a:pt x="540" y="4740"/>
                  </a:lnTo>
                  <a:lnTo>
                    <a:pt x="480" y="4704"/>
                  </a:lnTo>
                  <a:lnTo>
                    <a:pt x="408" y="4644"/>
                  </a:lnTo>
                  <a:lnTo>
                    <a:pt x="372" y="4536"/>
                  </a:lnTo>
                  <a:lnTo>
                    <a:pt x="288" y="4536"/>
                  </a:lnTo>
                  <a:lnTo>
                    <a:pt x="252" y="4440"/>
                  </a:lnTo>
                  <a:lnTo>
                    <a:pt x="156" y="4404"/>
                  </a:lnTo>
                  <a:lnTo>
                    <a:pt x="180" y="4296"/>
                  </a:lnTo>
                  <a:lnTo>
                    <a:pt x="180" y="4176"/>
                  </a:lnTo>
                  <a:lnTo>
                    <a:pt x="300" y="4176"/>
                  </a:lnTo>
                  <a:lnTo>
                    <a:pt x="312" y="4080"/>
                  </a:lnTo>
                  <a:lnTo>
                    <a:pt x="372" y="3924"/>
                  </a:lnTo>
                  <a:lnTo>
                    <a:pt x="480" y="4032"/>
                  </a:lnTo>
                  <a:lnTo>
                    <a:pt x="552" y="4140"/>
                  </a:lnTo>
                  <a:lnTo>
                    <a:pt x="624" y="4272"/>
                  </a:lnTo>
                  <a:lnTo>
                    <a:pt x="684" y="4344"/>
                  </a:lnTo>
                  <a:lnTo>
                    <a:pt x="756" y="4416"/>
                  </a:lnTo>
                  <a:lnTo>
                    <a:pt x="888" y="4308"/>
                  </a:lnTo>
                  <a:lnTo>
                    <a:pt x="876" y="4164"/>
                  </a:lnTo>
                  <a:lnTo>
                    <a:pt x="984" y="4044"/>
                  </a:lnTo>
                  <a:lnTo>
                    <a:pt x="1104" y="4020"/>
                  </a:lnTo>
                  <a:lnTo>
                    <a:pt x="1176" y="3972"/>
                  </a:lnTo>
                  <a:lnTo>
                    <a:pt x="1248" y="3840"/>
                  </a:lnTo>
                  <a:lnTo>
                    <a:pt x="1260" y="3696"/>
                  </a:lnTo>
                  <a:lnTo>
                    <a:pt x="1332" y="3612"/>
                  </a:lnTo>
                  <a:lnTo>
                    <a:pt x="1380" y="3456"/>
                  </a:lnTo>
                  <a:lnTo>
                    <a:pt x="1356" y="3348"/>
                  </a:lnTo>
                  <a:lnTo>
                    <a:pt x="1272" y="3228"/>
                  </a:lnTo>
                  <a:lnTo>
                    <a:pt x="1200" y="3144"/>
                  </a:lnTo>
                  <a:lnTo>
                    <a:pt x="1212" y="3024"/>
                  </a:lnTo>
                  <a:lnTo>
                    <a:pt x="1188" y="2904"/>
                  </a:lnTo>
                  <a:lnTo>
                    <a:pt x="1212" y="2760"/>
                  </a:lnTo>
                  <a:lnTo>
                    <a:pt x="1248" y="2568"/>
                  </a:lnTo>
                  <a:lnTo>
                    <a:pt x="1320" y="2448"/>
                  </a:lnTo>
                  <a:lnTo>
                    <a:pt x="1380" y="2340"/>
                  </a:lnTo>
                  <a:lnTo>
                    <a:pt x="1332" y="2220"/>
                  </a:lnTo>
                  <a:lnTo>
                    <a:pt x="1404" y="2148"/>
                  </a:lnTo>
                  <a:lnTo>
                    <a:pt x="1464" y="2220"/>
                  </a:lnTo>
                  <a:lnTo>
                    <a:pt x="1548" y="2256"/>
                  </a:lnTo>
                  <a:lnTo>
                    <a:pt x="1632" y="2292"/>
                  </a:lnTo>
                  <a:lnTo>
                    <a:pt x="1668" y="2388"/>
                  </a:lnTo>
                  <a:lnTo>
                    <a:pt x="1704" y="2520"/>
                  </a:lnTo>
                  <a:lnTo>
                    <a:pt x="1740" y="2592"/>
                  </a:lnTo>
                  <a:lnTo>
                    <a:pt x="1800" y="2520"/>
                  </a:lnTo>
                  <a:lnTo>
                    <a:pt x="1884" y="2412"/>
                  </a:lnTo>
                  <a:lnTo>
                    <a:pt x="1980" y="2376"/>
                  </a:lnTo>
                  <a:lnTo>
                    <a:pt x="1980" y="2220"/>
                  </a:lnTo>
                  <a:lnTo>
                    <a:pt x="1908" y="2148"/>
                  </a:lnTo>
                  <a:lnTo>
                    <a:pt x="1920" y="2028"/>
                  </a:lnTo>
                  <a:lnTo>
                    <a:pt x="1896" y="1956"/>
                  </a:lnTo>
                  <a:lnTo>
                    <a:pt x="1824" y="1824"/>
                  </a:lnTo>
                  <a:lnTo>
                    <a:pt x="1740" y="1740"/>
                  </a:lnTo>
                  <a:lnTo>
                    <a:pt x="1692" y="1656"/>
                  </a:lnTo>
                  <a:lnTo>
                    <a:pt x="1680" y="1512"/>
                  </a:lnTo>
                  <a:lnTo>
                    <a:pt x="1596" y="1428"/>
                  </a:lnTo>
                  <a:lnTo>
                    <a:pt x="1536" y="1332"/>
                  </a:lnTo>
                  <a:lnTo>
                    <a:pt x="1524" y="1236"/>
                  </a:lnTo>
                  <a:lnTo>
                    <a:pt x="1452" y="1200"/>
                  </a:lnTo>
                  <a:lnTo>
                    <a:pt x="1391" y="1236"/>
                  </a:lnTo>
                  <a:lnTo>
                    <a:pt x="1295" y="1260"/>
                  </a:lnTo>
                  <a:lnTo>
                    <a:pt x="1272" y="1406"/>
                  </a:lnTo>
                  <a:lnTo>
                    <a:pt x="1140" y="1392"/>
                  </a:lnTo>
                  <a:lnTo>
                    <a:pt x="999" y="1428"/>
                  </a:lnTo>
                  <a:lnTo>
                    <a:pt x="900" y="1380"/>
                  </a:lnTo>
                  <a:lnTo>
                    <a:pt x="804" y="1404"/>
                  </a:lnTo>
                  <a:lnTo>
                    <a:pt x="672" y="1428"/>
                  </a:lnTo>
                  <a:lnTo>
                    <a:pt x="552" y="1380"/>
                  </a:lnTo>
                  <a:lnTo>
                    <a:pt x="468" y="1428"/>
                  </a:lnTo>
                  <a:lnTo>
                    <a:pt x="360" y="1500"/>
                  </a:lnTo>
                  <a:lnTo>
                    <a:pt x="276" y="1548"/>
                  </a:lnTo>
                  <a:lnTo>
                    <a:pt x="180" y="1572"/>
                  </a:lnTo>
                  <a:lnTo>
                    <a:pt x="120" y="1524"/>
                  </a:lnTo>
                  <a:lnTo>
                    <a:pt x="216" y="1464"/>
                  </a:lnTo>
                  <a:lnTo>
                    <a:pt x="144" y="1416"/>
                  </a:lnTo>
                  <a:lnTo>
                    <a:pt x="56" y="1428"/>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6" name="Freeform 7">
              <a:extLst>
                <a:ext uri="{FF2B5EF4-FFF2-40B4-BE49-F238E27FC236}">
                  <a16:creationId xmlns:a16="http://schemas.microsoft.com/office/drawing/2014/main" id="{8CA3BC30-A5DD-4316-BE1C-C175367E9DF4}"/>
                </a:ext>
              </a:extLst>
            </p:cNvPr>
            <p:cNvSpPr>
              <a:spLocks/>
            </p:cNvSpPr>
            <p:nvPr/>
          </p:nvSpPr>
          <p:spPr bwMode="auto">
            <a:xfrm>
              <a:off x="3500153" y="2977188"/>
              <a:ext cx="81685" cy="54926"/>
            </a:xfrm>
            <a:custGeom>
              <a:avLst/>
              <a:gdLst>
                <a:gd name="T0" fmla="*/ 32 w 288"/>
                <a:gd name="T1" fmla="*/ 16 h 192"/>
                <a:gd name="T2" fmla="*/ 0 w 288"/>
                <a:gd name="T3" fmla="*/ 112 h 192"/>
                <a:gd name="T4" fmla="*/ 48 w 288"/>
                <a:gd name="T5" fmla="*/ 160 h 192"/>
                <a:gd name="T6" fmla="*/ 144 w 288"/>
                <a:gd name="T7" fmla="*/ 168 h 192"/>
                <a:gd name="T8" fmla="*/ 208 w 288"/>
                <a:gd name="T9" fmla="*/ 192 h 192"/>
                <a:gd name="T10" fmla="*/ 200 w 288"/>
                <a:gd name="T11" fmla="*/ 136 h 192"/>
                <a:gd name="T12" fmla="*/ 288 w 288"/>
                <a:gd name="T13" fmla="*/ 80 h 192"/>
                <a:gd name="T14" fmla="*/ 248 w 288"/>
                <a:gd name="T15" fmla="*/ 24 h 192"/>
                <a:gd name="T16" fmla="*/ 176 w 288"/>
                <a:gd name="T17" fmla="*/ 32 h 192"/>
                <a:gd name="T18" fmla="*/ 112 w 288"/>
                <a:gd name="T19" fmla="*/ 0 h 192"/>
                <a:gd name="T20" fmla="*/ 32 w 288"/>
                <a:gd name="T2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192">
                  <a:moveTo>
                    <a:pt x="32" y="16"/>
                  </a:moveTo>
                  <a:lnTo>
                    <a:pt x="0" y="112"/>
                  </a:lnTo>
                  <a:lnTo>
                    <a:pt x="48" y="160"/>
                  </a:lnTo>
                  <a:lnTo>
                    <a:pt x="144" y="168"/>
                  </a:lnTo>
                  <a:lnTo>
                    <a:pt x="208" y="192"/>
                  </a:lnTo>
                  <a:lnTo>
                    <a:pt x="200" y="136"/>
                  </a:lnTo>
                  <a:lnTo>
                    <a:pt x="288" y="80"/>
                  </a:lnTo>
                  <a:lnTo>
                    <a:pt x="248" y="24"/>
                  </a:lnTo>
                  <a:lnTo>
                    <a:pt x="176" y="32"/>
                  </a:lnTo>
                  <a:lnTo>
                    <a:pt x="112" y="0"/>
                  </a:lnTo>
                  <a:lnTo>
                    <a:pt x="32" y="16"/>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7" name="Freeform 8">
              <a:extLst>
                <a:ext uri="{FF2B5EF4-FFF2-40B4-BE49-F238E27FC236}">
                  <a16:creationId xmlns:a16="http://schemas.microsoft.com/office/drawing/2014/main" id="{8C059C3C-9636-4A59-9A7E-97925F89D4A6}"/>
                </a:ext>
              </a:extLst>
            </p:cNvPr>
            <p:cNvSpPr>
              <a:spLocks/>
            </p:cNvSpPr>
            <p:nvPr/>
          </p:nvSpPr>
          <p:spPr bwMode="auto">
            <a:xfrm>
              <a:off x="4163488" y="2958880"/>
              <a:ext cx="69010" cy="71827"/>
            </a:xfrm>
            <a:custGeom>
              <a:avLst/>
              <a:gdLst>
                <a:gd name="T0" fmla="*/ 33 w 244"/>
                <a:gd name="T1" fmla="*/ 24 h 254"/>
                <a:gd name="T2" fmla="*/ 0 w 244"/>
                <a:gd name="T3" fmla="*/ 91 h 254"/>
                <a:gd name="T4" fmla="*/ 9 w 244"/>
                <a:gd name="T5" fmla="*/ 153 h 254"/>
                <a:gd name="T6" fmla="*/ 52 w 244"/>
                <a:gd name="T7" fmla="*/ 206 h 254"/>
                <a:gd name="T8" fmla="*/ 105 w 244"/>
                <a:gd name="T9" fmla="*/ 249 h 254"/>
                <a:gd name="T10" fmla="*/ 148 w 244"/>
                <a:gd name="T11" fmla="*/ 254 h 254"/>
                <a:gd name="T12" fmla="*/ 177 w 244"/>
                <a:gd name="T13" fmla="*/ 225 h 254"/>
                <a:gd name="T14" fmla="*/ 196 w 244"/>
                <a:gd name="T15" fmla="*/ 168 h 254"/>
                <a:gd name="T16" fmla="*/ 244 w 244"/>
                <a:gd name="T17" fmla="*/ 125 h 254"/>
                <a:gd name="T18" fmla="*/ 216 w 244"/>
                <a:gd name="T19" fmla="*/ 57 h 254"/>
                <a:gd name="T20" fmla="*/ 192 w 244"/>
                <a:gd name="T21" fmla="*/ 0 h 254"/>
                <a:gd name="T22" fmla="*/ 110 w 244"/>
                <a:gd name="T23" fmla="*/ 14 h 254"/>
                <a:gd name="T24" fmla="*/ 33 w 244"/>
                <a:gd name="T25" fmla="*/ 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4">
                  <a:moveTo>
                    <a:pt x="33" y="24"/>
                  </a:moveTo>
                  <a:lnTo>
                    <a:pt x="0" y="91"/>
                  </a:lnTo>
                  <a:lnTo>
                    <a:pt x="9" y="153"/>
                  </a:lnTo>
                  <a:lnTo>
                    <a:pt x="52" y="206"/>
                  </a:lnTo>
                  <a:lnTo>
                    <a:pt x="105" y="249"/>
                  </a:lnTo>
                  <a:lnTo>
                    <a:pt x="148" y="254"/>
                  </a:lnTo>
                  <a:lnTo>
                    <a:pt x="177" y="225"/>
                  </a:lnTo>
                  <a:lnTo>
                    <a:pt x="196" y="168"/>
                  </a:lnTo>
                  <a:lnTo>
                    <a:pt x="244" y="125"/>
                  </a:lnTo>
                  <a:lnTo>
                    <a:pt x="216" y="57"/>
                  </a:lnTo>
                  <a:lnTo>
                    <a:pt x="192" y="0"/>
                  </a:lnTo>
                  <a:lnTo>
                    <a:pt x="110" y="14"/>
                  </a:lnTo>
                  <a:lnTo>
                    <a:pt x="33" y="24"/>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8" name="Freeform 9">
              <a:extLst>
                <a:ext uri="{FF2B5EF4-FFF2-40B4-BE49-F238E27FC236}">
                  <a16:creationId xmlns:a16="http://schemas.microsoft.com/office/drawing/2014/main" id="{0970ED25-01AD-430F-98C9-C6F5501D55E7}"/>
                </a:ext>
              </a:extLst>
            </p:cNvPr>
            <p:cNvSpPr>
              <a:spLocks/>
            </p:cNvSpPr>
            <p:nvPr/>
          </p:nvSpPr>
          <p:spPr bwMode="auto">
            <a:xfrm>
              <a:off x="5014135" y="2888462"/>
              <a:ext cx="54926" cy="45067"/>
            </a:xfrm>
            <a:custGeom>
              <a:avLst/>
              <a:gdLst>
                <a:gd name="T0" fmla="*/ 67 w 197"/>
                <a:gd name="T1" fmla="*/ 0 h 159"/>
                <a:gd name="T2" fmla="*/ 5 w 197"/>
                <a:gd name="T3" fmla="*/ 63 h 159"/>
                <a:gd name="T4" fmla="*/ 0 w 197"/>
                <a:gd name="T5" fmla="*/ 130 h 159"/>
                <a:gd name="T6" fmla="*/ 48 w 197"/>
                <a:gd name="T7" fmla="*/ 144 h 159"/>
                <a:gd name="T8" fmla="*/ 110 w 197"/>
                <a:gd name="T9" fmla="*/ 159 h 159"/>
                <a:gd name="T10" fmla="*/ 182 w 197"/>
                <a:gd name="T11" fmla="*/ 159 h 159"/>
                <a:gd name="T12" fmla="*/ 197 w 197"/>
                <a:gd name="T13" fmla="*/ 10 h 159"/>
                <a:gd name="T14" fmla="*/ 144 w 197"/>
                <a:gd name="T15" fmla="*/ 15 h 159"/>
                <a:gd name="T16" fmla="*/ 67 w 197"/>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59">
                  <a:moveTo>
                    <a:pt x="67" y="0"/>
                  </a:moveTo>
                  <a:lnTo>
                    <a:pt x="5" y="63"/>
                  </a:lnTo>
                  <a:lnTo>
                    <a:pt x="0" y="130"/>
                  </a:lnTo>
                  <a:lnTo>
                    <a:pt x="48" y="144"/>
                  </a:lnTo>
                  <a:lnTo>
                    <a:pt x="110" y="159"/>
                  </a:lnTo>
                  <a:lnTo>
                    <a:pt x="182" y="159"/>
                  </a:lnTo>
                  <a:lnTo>
                    <a:pt x="197" y="10"/>
                  </a:lnTo>
                  <a:lnTo>
                    <a:pt x="144" y="15"/>
                  </a:lnTo>
                  <a:lnTo>
                    <a:pt x="67"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9" name="Freeform 10">
              <a:extLst>
                <a:ext uri="{FF2B5EF4-FFF2-40B4-BE49-F238E27FC236}">
                  <a16:creationId xmlns:a16="http://schemas.microsoft.com/office/drawing/2014/main" id="{2797C3FC-2B17-4515-9405-13BB5BA8F2E0}"/>
                </a:ext>
              </a:extLst>
            </p:cNvPr>
            <p:cNvSpPr>
              <a:spLocks/>
            </p:cNvSpPr>
            <p:nvPr/>
          </p:nvSpPr>
          <p:spPr bwMode="auto">
            <a:xfrm>
              <a:off x="3590288" y="2850436"/>
              <a:ext cx="36617" cy="43659"/>
            </a:xfrm>
            <a:custGeom>
              <a:avLst/>
              <a:gdLst>
                <a:gd name="T0" fmla="*/ 72 w 130"/>
                <a:gd name="T1" fmla="*/ 0 h 153"/>
                <a:gd name="T2" fmla="*/ 24 w 130"/>
                <a:gd name="T3" fmla="*/ 14 h 153"/>
                <a:gd name="T4" fmla="*/ 0 w 130"/>
                <a:gd name="T5" fmla="*/ 101 h 153"/>
                <a:gd name="T6" fmla="*/ 24 w 130"/>
                <a:gd name="T7" fmla="*/ 153 h 153"/>
                <a:gd name="T8" fmla="*/ 87 w 130"/>
                <a:gd name="T9" fmla="*/ 153 h 153"/>
                <a:gd name="T10" fmla="*/ 87 w 130"/>
                <a:gd name="T11" fmla="*/ 105 h 153"/>
                <a:gd name="T12" fmla="*/ 116 w 130"/>
                <a:gd name="T13" fmla="*/ 77 h 153"/>
                <a:gd name="T14" fmla="*/ 130 w 130"/>
                <a:gd name="T15" fmla="*/ 38 h 153"/>
                <a:gd name="T16" fmla="*/ 111 w 130"/>
                <a:gd name="T17" fmla="*/ 19 h 153"/>
                <a:gd name="T18" fmla="*/ 72 w 130"/>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3">
                  <a:moveTo>
                    <a:pt x="72" y="0"/>
                  </a:moveTo>
                  <a:lnTo>
                    <a:pt x="24" y="14"/>
                  </a:lnTo>
                  <a:lnTo>
                    <a:pt x="0" y="101"/>
                  </a:lnTo>
                  <a:lnTo>
                    <a:pt x="24" y="153"/>
                  </a:lnTo>
                  <a:lnTo>
                    <a:pt x="87" y="153"/>
                  </a:lnTo>
                  <a:lnTo>
                    <a:pt x="87" y="105"/>
                  </a:lnTo>
                  <a:lnTo>
                    <a:pt x="116" y="77"/>
                  </a:lnTo>
                  <a:lnTo>
                    <a:pt x="130" y="38"/>
                  </a:lnTo>
                  <a:lnTo>
                    <a:pt x="111" y="19"/>
                  </a:lnTo>
                  <a:lnTo>
                    <a:pt x="72"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0" name="Freeform 11">
              <a:extLst>
                <a:ext uri="{FF2B5EF4-FFF2-40B4-BE49-F238E27FC236}">
                  <a16:creationId xmlns:a16="http://schemas.microsoft.com/office/drawing/2014/main" id="{3772BADA-3ED4-45D3-896D-5F127B64342B}"/>
                </a:ext>
              </a:extLst>
            </p:cNvPr>
            <p:cNvSpPr>
              <a:spLocks/>
            </p:cNvSpPr>
            <p:nvPr/>
          </p:nvSpPr>
          <p:spPr bwMode="auto">
            <a:xfrm>
              <a:off x="3305800" y="1808253"/>
              <a:ext cx="1250620" cy="1230903"/>
            </a:xfrm>
            <a:custGeom>
              <a:avLst/>
              <a:gdLst>
                <a:gd name="T0" fmla="*/ 852 w 4440"/>
                <a:gd name="T1" fmla="*/ 732 h 4368"/>
                <a:gd name="T2" fmla="*/ 396 w 4440"/>
                <a:gd name="T3" fmla="*/ 924 h 4368"/>
                <a:gd name="T4" fmla="*/ 216 w 4440"/>
                <a:gd name="T5" fmla="*/ 1692 h 4368"/>
                <a:gd name="T6" fmla="*/ 468 w 4440"/>
                <a:gd name="T7" fmla="*/ 1476 h 4368"/>
                <a:gd name="T8" fmla="*/ 708 w 4440"/>
                <a:gd name="T9" fmla="*/ 1608 h 4368"/>
                <a:gd name="T10" fmla="*/ 996 w 4440"/>
                <a:gd name="T11" fmla="*/ 1668 h 4368"/>
                <a:gd name="T12" fmla="*/ 1116 w 4440"/>
                <a:gd name="T13" fmla="*/ 2004 h 4368"/>
                <a:gd name="T14" fmla="*/ 1164 w 4440"/>
                <a:gd name="T15" fmla="*/ 2328 h 4368"/>
                <a:gd name="T16" fmla="*/ 912 w 4440"/>
                <a:gd name="T17" fmla="*/ 2568 h 4368"/>
                <a:gd name="T18" fmla="*/ 1008 w 4440"/>
                <a:gd name="T19" fmla="*/ 2820 h 4368"/>
                <a:gd name="T20" fmla="*/ 1344 w 4440"/>
                <a:gd name="T21" fmla="*/ 2976 h 4368"/>
                <a:gd name="T22" fmla="*/ 1730 w 4440"/>
                <a:gd name="T23" fmla="*/ 3111 h 4368"/>
                <a:gd name="T24" fmla="*/ 2022 w 4440"/>
                <a:gd name="T25" fmla="*/ 3275 h 4368"/>
                <a:gd name="T26" fmla="*/ 2376 w 4440"/>
                <a:gd name="T27" fmla="*/ 3384 h 4368"/>
                <a:gd name="T28" fmla="*/ 2837 w 4440"/>
                <a:gd name="T29" fmla="*/ 3147 h 4368"/>
                <a:gd name="T30" fmla="*/ 3131 w 4440"/>
                <a:gd name="T31" fmla="*/ 2952 h 4368"/>
                <a:gd name="T32" fmla="*/ 3155 w 4440"/>
                <a:gd name="T33" fmla="*/ 3206 h 4368"/>
                <a:gd name="T34" fmla="*/ 3230 w 4440"/>
                <a:gd name="T35" fmla="*/ 3492 h 4368"/>
                <a:gd name="T36" fmla="*/ 3408 w 4440"/>
                <a:gd name="T37" fmla="*/ 3659 h 4368"/>
                <a:gd name="T38" fmla="*/ 3683 w 4440"/>
                <a:gd name="T39" fmla="*/ 3503 h 4368"/>
                <a:gd name="T40" fmla="*/ 3708 w 4440"/>
                <a:gd name="T41" fmla="*/ 3770 h 4368"/>
                <a:gd name="T42" fmla="*/ 3588 w 4440"/>
                <a:gd name="T43" fmla="*/ 3923 h 4368"/>
                <a:gd name="T44" fmla="*/ 3638 w 4440"/>
                <a:gd name="T45" fmla="*/ 4122 h 4368"/>
                <a:gd name="T46" fmla="*/ 3755 w 4440"/>
                <a:gd name="T47" fmla="*/ 4322 h 4368"/>
                <a:gd name="T48" fmla="*/ 4032 w 4440"/>
                <a:gd name="T49" fmla="*/ 4284 h 4368"/>
                <a:gd name="T50" fmla="*/ 4068 w 4440"/>
                <a:gd name="T51" fmla="*/ 3828 h 4368"/>
                <a:gd name="T52" fmla="*/ 4140 w 4440"/>
                <a:gd name="T53" fmla="*/ 3492 h 4368"/>
                <a:gd name="T54" fmla="*/ 4320 w 4440"/>
                <a:gd name="T55" fmla="*/ 3312 h 4368"/>
                <a:gd name="T56" fmla="*/ 4368 w 4440"/>
                <a:gd name="T57" fmla="*/ 3156 h 4368"/>
                <a:gd name="T58" fmla="*/ 4404 w 4440"/>
                <a:gd name="T59" fmla="*/ 2688 h 4368"/>
                <a:gd name="T60" fmla="*/ 4368 w 4440"/>
                <a:gd name="T61" fmla="*/ 2436 h 4368"/>
                <a:gd name="T62" fmla="*/ 4320 w 4440"/>
                <a:gd name="T63" fmla="*/ 2088 h 4368"/>
                <a:gd name="T64" fmla="*/ 4128 w 4440"/>
                <a:gd name="T65" fmla="*/ 1752 h 4368"/>
                <a:gd name="T66" fmla="*/ 4068 w 4440"/>
                <a:gd name="T67" fmla="*/ 1344 h 4368"/>
                <a:gd name="T68" fmla="*/ 3780 w 4440"/>
                <a:gd name="T69" fmla="*/ 1200 h 4368"/>
                <a:gd name="T70" fmla="*/ 3576 w 4440"/>
                <a:gd name="T71" fmla="*/ 1044 h 4368"/>
                <a:gd name="T72" fmla="*/ 3624 w 4440"/>
                <a:gd name="T73" fmla="*/ 780 h 4368"/>
                <a:gd name="T74" fmla="*/ 3420 w 4440"/>
                <a:gd name="T75" fmla="*/ 624 h 4368"/>
                <a:gd name="T76" fmla="*/ 3336 w 4440"/>
                <a:gd name="T77" fmla="*/ 408 h 4368"/>
                <a:gd name="T78" fmla="*/ 3108 w 4440"/>
                <a:gd name="T79" fmla="*/ 228 h 4368"/>
                <a:gd name="T80" fmla="*/ 2856 w 4440"/>
                <a:gd name="T81" fmla="*/ 108 h 4368"/>
                <a:gd name="T82" fmla="*/ 2424 w 4440"/>
                <a:gd name="T83" fmla="*/ 168 h 4368"/>
                <a:gd name="T84" fmla="*/ 2196 w 4440"/>
                <a:gd name="T85" fmla="*/ 240 h 4368"/>
                <a:gd name="T86" fmla="*/ 1740 w 4440"/>
                <a:gd name="T87" fmla="*/ 228 h 4368"/>
                <a:gd name="T88" fmla="*/ 1332 w 4440"/>
                <a:gd name="T89" fmla="*/ 120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40" h="4368">
                  <a:moveTo>
                    <a:pt x="1092" y="0"/>
                  </a:moveTo>
                  <a:lnTo>
                    <a:pt x="840" y="552"/>
                  </a:lnTo>
                  <a:lnTo>
                    <a:pt x="852" y="732"/>
                  </a:lnTo>
                  <a:lnTo>
                    <a:pt x="840" y="876"/>
                  </a:lnTo>
                  <a:lnTo>
                    <a:pt x="648" y="900"/>
                  </a:lnTo>
                  <a:lnTo>
                    <a:pt x="396" y="924"/>
                  </a:lnTo>
                  <a:lnTo>
                    <a:pt x="0" y="1575"/>
                  </a:lnTo>
                  <a:lnTo>
                    <a:pt x="96" y="1656"/>
                  </a:lnTo>
                  <a:lnTo>
                    <a:pt x="216" y="1692"/>
                  </a:lnTo>
                  <a:lnTo>
                    <a:pt x="324" y="1620"/>
                  </a:lnTo>
                  <a:lnTo>
                    <a:pt x="420" y="1560"/>
                  </a:lnTo>
                  <a:lnTo>
                    <a:pt x="468" y="1476"/>
                  </a:lnTo>
                  <a:lnTo>
                    <a:pt x="552" y="1476"/>
                  </a:lnTo>
                  <a:lnTo>
                    <a:pt x="648" y="1500"/>
                  </a:lnTo>
                  <a:lnTo>
                    <a:pt x="708" y="1608"/>
                  </a:lnTo>
                  <a:lnTo>
                    <a:pt x="792" y="1704"/>
                  </a:lnTo>
                  <a:lnTo>
                    <a:pt x="816" y="1764"/>
                  </a:lnTo>
                  <a:lnTo>
                    <a:pt x="996" y="1668"/>
                  </a:lnTo>
                  <a:lnTo>
                    <a:pt x="996" y="1800"/>
                  </a:lnTo>
                  <a:lnTo>
                    <a:pt x="1032" y="1908"/>
                  </a:lnTo>
                  <a:lnTo>
                    <a:pt x="1116" y="2004"/>
                  </a:lnTo>
                  <a:lnTo>
                    <a:pt x="1188" y="2100"/>
                  </a:lnTo>
                  <a:lnTo>
                    <a:pt x="1092" y="2220"/>
                  </a:lnTo>
                  <a:lnTo>
                    <a:pt x="1164" y="2328"/>
                  </a:lnTo>
                  <a:lnTo>
                    <a:pt x="1080" y="2364"/>
                  </a:lnTo>
                  <a:lnTo>
                    <a:pt x="1020" y="2448"/>
                  </a:lnTo>
                  <a:lnTo>
                    <a:pt x="912" y="2568"/>
                  </a:lnTo>
                  <a:lnTo>
                    <a:pt x="1020" y="2640"/>
                  </a:lnTo>
                  <a:lnTo>
                    <a:pt x="960" y="2772"/>
                  </a:lnTo>
                  <a:lnTo>
                    <a:pt x="1008" y="2820"/>
                  </a:lnTo>
                  <a:lnTo>
                    <a:pt x="1104" y="2880"/>
                  </a:lnTo>
                  <a:lnTo>
                    <a:pt x="1164" y="2976"/>
                  </a:lnTo>
                  <a:lnTo>
                    <a:pt x="1344" y="2976"/>
                  </a:lnTo>
                  <a:lnTo>
                    <a:pt x="1572" y="3000"/>
                  </a:lnTo>
                  <a:lnTo>
                    <a:pt x="1671" y="3041"/>
                  </a:lnTo>
                  <a:lnTo>
                    <a:pt x="1730" y="3111"/>
                  </a:lnTo>
                  <a:lnTo>
                    <a:pt x="1748" y="3203"/>
                  </a:lnTo>
                  <a:lnTo>
                    <a:pt x="1856" y="3257"/>
                  </a:lnTo>
                  <a:lnTo>
                    <a:pt x="2022" y="3275"/>
                  </a:lnTo>
                  <a:lnTo>
                    <a:pt x="2123" y="3366"/>
                  </a:lnTo>
                  <a:lnTo>
                    <a:pt x="2243" y="3422"/>
                  </a:lnTo>
                  <a:lnTo>
                    <a:pt x="2376" y="3384"/>
                  </a:lnTo>
                  <a:lnTo>
                    <a:pt x="2514" y="3311"/>
                  </a:lnTo>
                  <a:lnTo>
                    <a:pt x="2693" y="3204"/>
                  </a:lnTo>
                  <a:lnTo>
                    <a:pt x="2837" y="3147"/>
                  </a:lnTo>
                  <a:lnTo>
                    <a:pt x="2889" y="3032"/>
                  </a:lnTo>
                  <a:lnTo>
                    <a:pt x="2916" y="2930"/>
                  </a:lnTo>
                  <a:lnTo>
                    <a:pt x="3131" y="2952"/>
                  </a:lnTo>
                  <a:lnTo>
                    <a:pt x="3240" y="3000"/>
                  </a:lnTo>
                  <a:lnTo>
                    <a:pt x="3216" y="3132"/>
                  </a:lnTo>
                  <a:lnTo>
                    <a:pt x="3155" y="3206"/>
                  </a:lnTo>
                  <a:lnTo>
                    <a:pt x="3059" y="3230"/>
                  </a:lnTo>
                  <a:lnTo>
                    <a:pt x="3165" y="3344"/>
                  </a:lnTo>
                  <a:lnTo>
                    <a:pt x="3230" y="3492"/>
                  </a:lnTo>
                  <a:lnTo>
                    <a:pt x="3314" y="3528"/>
                  </a:lnTo>
                  <a:lnTo>
                    <a:pt x="3407" y="3552"/>
                  </a:lnTo>
                  <a:lnTo>
                    <a:pt x="3408" y="3659"/>
                  </a:lnTo>
                  <a:lnTo>
                    <a:pt x="3494" y="3636"/>
                  </a:lnTo>
                  <a:lnTo>
                    <a:pt x="3585" y="3528"/>
                  </a:lnTo>
                  <a:lnTo>
                    <a:pt x="3683" y="3503"/>
                  </a:lnTo>
                  <a:lnTo>
                    <a:pt x="3684" y="3636"/>
                  </a:lnTo>
                  <a:lnTo>
                    <a:pt x="3624" y="3780"/>
                  </a:lnTo>
                  <a:lnTo>
                    <a:pt x="3708" y="3770"/>
                  </a:lnTo>
                  <a:lnTo>
                    <a:pt x="3777" y="3839"/>
                  </a:lnTo>
                  <a:lnTo>
                    <a:pt x="3690" y="3890"/>
                  </a:lnTo>
                  <a:lnTo>
                    <a:pt x="3588" y="3923"/>
                  </a:lnTo>
                  <a:lnTo>
                    <a:pt x="3587" y="3998"/>
                  </a:lnTo>
                  <a:lnTo>
                    <a:pt x="3684" y="4046"/>
                  </a:lnTo>
                  <a:lnTo>
                    <a:pt x="3638" y="4122"/>
                  </a:lnTo>
                  <a:lnTo>
                    <a:pt x="3588" y="4259"/>
                  </a:lnTo>
                  <a:lnTo>
                    <a:pt x="3648" y="4368"/>
                  </a:lnTo>
                  <a:lnTo>
                    <a:pt x="3755" y="4322"/>
                  </a:lnTo>
                  <a:lnTo>
                    <a:pt x="3830" y="4367"/>
                  </a:lnTo>
                  <a:lnTo>
                    <a:pt x="3938" y="4308"/>
                  </a:lnTo>
                  <a:lnTo>
                    <a:pt x="4032" y="4284"/>
                  </a:lnTo>
                  <a:lnTo>
                    <a:pt x="4056" y="4080"/>
                  </a:lnTo>
                  <a:lnTo>
                    <a:pt x="4152" y="3924"/>
                  </a:lnTo>
                  <a:lnTo>
                    <a:pt x="4068" y="3828"/>
                  </a:lnTo>
                  <a:lnTo>
                    <a:pt x="4164" y="3756"/>
                  </a:lnTo>
                  <a:lnTo>
                    <a:pt x="4152" y="3624"/>
                  </a:lnTo>
                  <a:lnTo>
                    <a:pt x="4140" y="3492"/>
                  </a:lnTo>
                  <a:lnTo>
                    <a:pt x="4272" y="3528"/>
                  </a:lnTo>
                  <a:lnTo>
                    <a:pt x="4284" y="3432"/>
                  </a:lnTo>
                  <a:lnTo>
                    <a:pt x="4320" y="3312"/>
                  </a:lnTo>
                  <a:lnTo>
                    <a:pt x="4248" y="3288"/>
                  </a:lnTo>
                  <a:lnTo>
                    <a:pt x="4248" y="3192"/>
                  </a:lnTo>
                  <a:lnTo>
                    <a:pt x="4368" y="3156"/>
                  </a:lnTo>
                  <a:lnTo>
                    <a:pt x="4368" y="2940"/>
                  </a:lnTo>
                  <a:lnTo>
                    <a:pt x="4392" y="2808"/>
                  </a:lnTo>
                  <a:lnTo>
                    <a:pt x="4404" y="2688"/>
                  </a:lnTo>
                  <a:lnTo>
                    <a:pt x="4320" y="2580"/>
                  </a:lnTo>
                  <a:lnTo>
                    <a:pt x="4380" y="2520"/>
                  </a:lnTo>
                  <a:lnTo>
                    <a:pt x="4368" y="2436"/>
                  </a:lnTo>
                  <a:lnTo>
                    <a:pt x="4440" y="2316"/>
                  </a:lnTo>
                  <a:lnTo>
                    <a:pt x="4392" y="2196"/>
                  </a:lnTo>
                  <a:lnTo>
                    <a:pt x="4320" y="2088"/>
                  </a:lnTo>
                  <a:lnTo>
                    <a:pt x="4284" y="1956"/>
                  </a:lnTo>
                  <a:lnTo>
                    <a:pt x="4224" y="1812"/>
                  </a:lnTo>
                  <a:lnTo>
                    <a:pt x="4128" y="1752"/>
                  </a:lnTo>
                  <a:lnTo>
                    <a:pt x="4140" y="1596"/>
                  </a:lnTo>
                  <a:lnTo>
                    <a:pt x="4080" y="1500"/>
                  </a:lnTo>
                  <a:lnTo>
                    <a:pt x="4068" y="1344"/>
                  </a:lnTo>
                  <a:lnTo>
                    <a:pt x="4044" y="1224"/>
                  </a:lnTo>
                  <a:lnTo>
                    <a:pt x="3864" y="1260"/>
                  </a:lnTo>
                  <a:lnTo>
                    <a:pt x="3780" y="1200"/>
                  </a:lnTo>
                  <a:lnTo>
                    <a:pt x="3624" y="1236"/>
                  </a:lnTo>
                  <a:lnTo>
                    <a:pt x="3564" y="1164"/>
                  </a:lnTo>
                  <a:lnTo>
                    <a:pt x="3576" y="1044"/>
                  </a:lnTo>
                  <a:lnTo>
                    <a:pt x="3516" y="948"/>
                  </a:lnTo>
                  <a:lnTo>
                    <a:pt x="3624" y="888"/>
                  </a:lnTo>
                  <a:lnTo>
                    <a:pt x="3624" y="780"/>
                  </a:lnTo>
                  <a:lnTo>
                    <a:pt x="3588" y="684"/>
                  </a:lnTo>
                  <a:lnTo>
                    <a:pt x="3492" y="576"/>
                  </a:lnTo>
                  <a:lnTo>
                    <a:pt x="3420" y="624"/>
                  </a:lnTo>
                  <a:lnTo>
                    <a:pt x="3360" y="576"/>
                  </a:lnTo>
                  <a:lnTo>
                    <a:pt x="3384" y="492"/>
                  </a:lnTo>
                  <a:lnTo>
                    <a:pt x="3336" y="408"/>
                  </a:lnTo>
                  <a:lnTo>
                    <a:pt x="3228" y="396"/>
                  </a:lnTo>
                  <a:lnTo>
                    <a:pt x="3132" y="408"/>
                  </a:lnTo>
                  <a:lnTo>
                    <a:pt x="3108" y="228"/>
                  </a:lnTo>
                  <a:lnTo>
                    <a:pt x="3036" y="180"/>
                  </a:lnTo>
                  <a:lnTo>
                    <a:pt x="2916" y="216"/>
                  </a:lnTo>
                  <a:lnTo>
                    <a:pt x="2856" y="108"/>
                  </a:lnTo>
                  <a:lnTo>
                    <a:pt x="2724" y="168"/>
                  </a:lnTo>
                  <a:lnTo>
                    <a:pt x="2580" y="204"/>
                  </a:lnTo>
                  <a:lnTo>
                    <a:pt x="2424" y="168"/>
                  </a:lnTo>
                  <a:lnTo>
                    <a:pt x="2292" y="84"/>
                  </a:lnTo>
                  <a:lnTo>
                    <a:pt x="2220" y="120"/>
                  </a:lnTo>
                  <a:lnTo>
                    <a:pt x="2196" y="240"/>
                  </a:lnTo>
                  <a:lnTo>
                    <a:pt x="2040" y="276"/>
                  </a:lnTo>
                  <a:lnTo>
                    <a:pt x="1908" y="300"/>
                  </a:lnTo>
                  <a:lnTo>
                    <a:pt x="1740" y="228"/>
                  </a:lnTo>
                  <a:lnTo>
                    <a:pt x="1608" y="276"/>
                  </a:lnTo>
                  <a:lnTo>
                    <a:pt x="1452" y="252"/>
                  </a:lnTo>
                  <a:lnTo>
                    <a:pt x="1332" y="120"/>
                  </a:lnTo>
                  <a:lnTo>
                    <a:pt x="1200" y="120"/>
                  </a:lnTo>
                  <a:lnTo>
                    <a:pt x="1092" y="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1" name="Freeform 12">
              <a:extLst>
                <a:ext uri="{FF2B5EF4-FFF2-40B4-BE49-F238E27FC236}">
                  <a16:creationId xmlns:a16="http://schemas.microsoft.com/office/drawing/2014/main" id="{06AA184C-4A02-4814-88D3-572C5B815E62}"/>
                </a:ext>
              </a:extLst>
            </p:cNvPr>
            <p:cNvSpPr>
              <a:spLocks/>
            </p:cNvSpPr>
            <p:nvPr/>
          </p:nvSpPr>
          <p:spPr bwMode="auto">
            <a:xfrm>
              <a:off x="3612821" y="1520949"/>
              <a:ext cx="881631" cy="642210"/>
            </a:xfrm>
            <a:custGeom>
              <a:avLst/>
              <a:gdLst>
                <a:gd name="T0" fmla="*/ 60 w 3132"/>
                <a:gd name="T1" fmla="*/ 888 h 2280"/>
                <a:gd name="T2" fmla="*/ 131 w 3132"/>
                <a:gd name="T3" fmla="*/ 441 h 2280"/>
                <a:gd name="T4" fmla="*/ 492 w 3132"/>
                <a:gd name="T5" fmla="*/ 552 h 2280"/>
                <a:gd name="T6" fmla="*/ 648 w 3132"/>
                <a:gd name="T7" fmla="*/ 384 h 2280"/>
                <a:gd name="T8" fmla="*/ 912 w 3132"/>
                <a:gd name="T9" fmla="*/ 336 h 2280"/>
                <a:gd name="T10" fmla="*/ 1308 w 3132"/>
                <a:gd name="T11" fmla="*/ 0 h 2280"/>
                <a:gd name="T12" fmla="*/ 1596 w 3132"/>
                <a:gd name="T13" fmla="*/ 132 h 2280"/>
                <a:gd name="T14" fmla="*/ 1788 w 3132"/>
                <a:gd name="T15" fmla="*/ 372 h 2280"/>
                <a:gd name="T16" fmla="*/ 2232 w 3132"/>
                <a:gd name="T17" fmla="*/ 276 h 2280"/>
                <a:gd name="T18" fmla="*/ 2400 w 3132"/>
                <a:gd name="T19" fmla="*/ 156 h 2280"/>
                <a:gd name="T20" fmla="*/ 2484 w 3132"/>
                <a:gd name="T21" fmla="*/ 372 h 2280"/>
                <a:gd name="T22" fmla="*/ 2712 w 3132"/>
                <a:gd name="T23" fmla="*/ 312 h 2280"/>
                <a:gd name="T24" fmla="*/ 3132 w 3132"/>
                <a:gd name="T25" fmla="*/ 384 h 2280"/>
                <a:gd name="T26" fmla="*/ 2904 w 3132"/>
                <a:gd name="T27" fmla="*/ 492 h 2280"/>
                <a:gd name="T28" fmla="*/ 2976 w 3132"/>
                <a:gd name="T29" fmla="*/ 732 h 2280"/>
                <a:gd name="T30" fmla="*/ 2976 w 3132"/>
                <a:gd name="T31" fmla="*/ 996 h 2280"/>
                <a:gd name="T32" fmla="*/ 2928 w 3132"/>
                <a:gd name="T33" fmla="*/ 1212 h 2280"/>
                <a:gd name="T34" fmla="*/ 2988 w 3132"/>
                <a:gd name="T35" fmla="*/ 1524 h 2280"/>
                <a:gd name="T36" fmla="*/ 3000 w 3132"/>
                <a:gd name="T37" fmla="*/ 1764 h 2280"/>
                <a:gd name="T38" fmla="*/ 3048 w 3132"/>
                <a:gd name="T39" fmla="*/ 1980 h 2280"/>
                <a:gd name="T40" fmla="*/ 2952 w 3132"/>
                <a:gd name="T41" fmla="*/ 2244 h 2280"/>
                <a:gd name="T42" fmla="*/ 2688 w 3132"/>
                <a:gd name="T43" fmla="*/ 2220 h 2280"/>
                <a:gd name="T44" fmla="*/ 2472 w 3132"/>
                <a:gd name="T45" fmla="*/ 2184 h 2280"/>
                <a:gd name="T46" fmla="*/ 2424 w 3132"/>
                <a:gd name="T47" fmla="*/ 1968 h 2280"/>
                <a:gd name="T48" fmla="*/ 2532 w 3132"/>
                <a:gd name="T49" fmla="*/ 1800 h 2280"/>
                <a:gd name="T50" fmla="*/ 2400 w 3132"/>
                <a:gd name="T51" fmla="*/ 1596 h 2280"/>
                <a:gd name="T52" fmla="*/ 2268 w 3132"/>
                <a:gd name="T53" fmla="*/ 1596 h 2280"/>
                <a:gd name="T54" fmla="*/ 2244 w 3132"/>
                <a:gd name="T55" fmla="*/ 1428 h 2280"/>
                <a:gd name="T56" fmla="*/ 2040 w 3132"/>
                <a:gd name="T57" fmla="*/ 1428 h 2280"/>
                <a:gd name="T58" fmla="*/ 1944 w 3132"/>
                <a:gd name="T59" fmla="*/ 1200 h 2280"/>
                <a:gd name="T60" fmla="*/ 1764 w 3132"/>
                <a:gd name="T61" fmla="*/ 1128 h 2280"/>
                <a:gd name="T62" fmla="*/ 1488 w 3132"/>
                <a:gd name="T63" fmla="*/ 1224 h 2280"/>
                <a:gd name="T64" fmla="*/ 1200 w 3132"/>
                <a:gd name="T65" fmla="*/ 1104 h 2280"/>
                <a:gd name="T66" fmla="*/ 1104 w 3132"/>
                <a:gd name="T67" fmla="*/ 1260 h 2280"/>
                <a:gd name="T68" fmla="*/ 816 w 3132"/>
                <a:gd name="T69" fmla="*/ 1320 h 2280"/>
                <a:gd name="T70" fmla="*/ 516 w 3132"/>
                <a:gd name="T71" fmla="*/ 1296 h 2280"/>
                <a:gd name="T72" fmla="*/ 240 w 3132"/>
                <a:gd name="T73" fmla="*/ 1140 h 2280"/>
                <a:gd name="T74" fmla="*/ 0 w 3132"/>
                <a:gd name="T75" fmla="*/ 1020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32" h="2280">
                  <a:moveTo>
                    <a:pt x="0" y="1020"/>
                  </a:moveTo>
                  <a:lnTo>
                    <a:pt x="60" y="888"/>
                  </a:lnTo>
                  <a:lnTo>
                    <a:pt x="0" y="792"/>
                  </a:lnTo>
                  <a:lnTo>
                    <a:pt x="131" y="441"/>
                  </a:lnTo>
                  <a:lnTo>
                    <a:pt x="336" y="444"/>
                  </a:lnTo>
                  <a:lnTo>
                    <a:pt x="492" y="552"/>
                  </a:lnTo>
                  <a:lnTo>
                    <a:pt x="576" y="456"/>
                  </a:lnTo>
                  <a:lnTo>
                    <a:pt x="648" y="384"/>
                  </a:lnTo>
                  <a:lnTo>
                    <a:pt x="804" y="336"/>
                  </a:lnTo>
                  <a:lnTo>
                    <a:pt x="912" y="336"/>
                  </a:lnTo>
                  <a:lnTo>
                    <a:pt x="1116" y="432"/>
                  </a:lnTo>
                  <a:lnTo>
                    <a:pt x="1308" y="0"/>
                  </a:lnTo>
                  <a:lnTo>
                    <a:pt x="1404" y="96"/>
                  </a:lnTo>
                  <a:lnTo>
                    <a:pt x="1596" y="132"/>
                  </a:lnTo>
                  <a:lnTo>
                    <a:pt x="1656" y="240"/>
                  </a:lnTo>
                  <a:lnTo>
                    <a:pt x="1788" y="372"/>
                  </a:lnTo>
                  <a:lnTo>
                    <a:pt x="2016" y="324"/>
                  </a:lnTo>
                  <a:lnTo>
                    <a:pt x="2232" y="276"/>
                  </a:lnTo>
                  <a:lnTo>
                    <a:pt x="2280" y="168"/>
                  </a:lnTo>
                  <a:lnTo>
                    <a:pt x="2400" y="156"/>
                  </a:lnTo>
                  <a:lnTo>
                    <a:pt x="2460" y="264"/>
                  </a:lnTo>
                  <a:lnTo>
                    <a:pt x="2484" y="372"/>
                  </a:lnTo>
                  <a:lnTo>
                    <a:pt x="2592" y="252"/>
                  </a:lnTo>
                  <a:lnTo>
                    <a:pt x="2712" y="312"/>
                  </a:lnTo>
                  <a:lnTo>
                    <a:pt x="2964" y="324"/>
                  </a:lnTo>
                  <a:lnTo>
                    <a:pt x="3132" y="384"/>
                  </a:lnTo>
                  <a:lnTo>
                    <a:pt x="3000" y="444"/>
                  </a:lnTo>
                  <a:lnTo>
                    <a:pt x="2904" y="492"/>
                  </a:lnTo>
                  <a:lnTo>
                    <a:pt x="2916" y="588"/>
                  </a:lnTo>
                  <a:lnTo>
                    <a:pt x="2976" y="732"/>
                  </a:lnTo>
                  <a:lnTo>
                    <a:pt x="2988" y="864"/>
                  </a:lnTo>
                  <a:lnTo>
                    <a:pt x="2976" y="996"/>
                  </a:lnTo>
                  <a:lnTo>
                    <a:pt x="3000" y="1104"/>
                  </a:lnTo>
                  <a:lnTo>
                    <a:pt x="2928" y="1212"/>
                  </a:lnTo>
                  <a:lnTo>
                    <a:pt x="2916" y="1416"/>
                  </a:lnTo>
                  <a:lnTo>
                    <a:pt x="2988" y="1524"/>
                  </a:lnTo>
                  <a:lnTo>
                    <a:pt x="2916" y="1740"/>
                  </a:lnTo>
                  <a:lnTo>
                    <a:pt x="3000" y="1764"/>
                  </a:lnTo>
                  <a:lnTo>
                    <a:pt x="3072" y="1836"/>
                  </a:lnTo>
                  <a:lnTo>
                    <a:pt x="3048" y="1980"/>
                  </a:lnTo>
                  <a:lnTo>
                    <a:pt x="2952" y="2088"/>
                  </a:lnTo>
                  <a:lnTo>
                    <a:pt x="2952" y="2244"/>
                  </a:lnTo>
                  <a:lnTo>
                    <a:pt x="2772" y="2280"/>
                  </a:lnTo>
                  <a:lnTo>
                    <a:pt x="2688" y="2220"/>
                  </a:lnTo>
                  <a:lnTo>
                    <a:pt x="2532" y="2256"/>
                  </a:lnTo>
                  <a:lnTo>
                    <a:pt x="2472" y="2184"/>
                  </a:lnTo>
                  <a:lnTo>
                    <a:pt x="2484" y="2064"/>
                  </a:lnTo>
                  <a:lnTo>
                    <a:pt x="2424" y="1968"/>
                  </a:lnTo>
                  <a:lnTo>
                    <a:pt x="2532" y="1908"/>
                  </a:lnTo>
                  <a:lnTo>
                    <a:pt x="2532" y="1800"/>
                  </a:lnTo>
                  <a:lnTo>
                    <a:pt x="2496" y="1704"/>
                  </a:lnTo>
                  <a:lnTo>
                    <a:pt x="2400" y="1596"/>
                  </a:lnTo>
                  <a:lnTo>
                    <a:pt x="2328" y="1644"/>
                  </a:lnTo>
                  <a:lnTo>
                    <a:pt x="2268" y="1596"/>
                  </a:lnTo>
                  <a:lnTo>
                    <a:pt x="2292" y="1512"/>
                  </a:lnTo>
                  <a:lnTo>
                    <a:pt x="2244" y="1428"/>
                  </a:lnTo>
                  <a:lnTo>
                    <a:pt x="2136" y="1416"/>
                  </a:lnTo>
                  <a:lnTo>
                    <a:pt x="2040" y="1428"/>
                  </a:lnTo>
                  <a:lnTo>
                    <a:pt x="2016" y="1248"/>
                  </a:lnTo>
                  <a:lnTo>
                    <a:pt x="1944" y="1200"/>
                  </a:lnTo>
                  <a:lnTo>
                    <a:pt x="1824" y="1236"/>
                  </a:lnTo>
                  <a:lnTo>
                    <a:pt x="1764" y="1128"/>
                  </a:lnTo>
                  <a:lnTo>
                    <a:pt x="1632" y="1188"/>
                  </a:lnTo>
                  <a:lnTo>
                    <a:pt x="1488" y="1224"/>
                  </a:lnTo>
                  <a:lnTo>
                    <a:pt x="1332" y="1188"/>
                  </a:lnTo>
                  <a:lnTo>
                    <a:pt x="1200" y="1104"/>
                  </a:lnTo>
                  <a:lnTo>
                    <a:pt x="1128" y="1140"/>
                  </a:lnTo>
                  <a:lnTo>
                    <a:pt x="1104" y="1260"/>
                  </a:lnTo>
                  <a:lnTo>
                    <a:pt x="948" y="1296"/>
                  </a:lnTo>
                  <a:lnTo>
                    <a:pt x="816" y="1320"/>
                  </a:lnTo>
                  <a:lnTo>
                    <a:pt x="648" y="1248"/>
                  </a:lnTo>
                  <a:lnTo>
                    <a:pt x="516" y="1296"/>
                  </a:lnTo>
                  <a:lnTo>
                    <a:pt x="360" y="1272"/>
                  </a:lnTo>
                  <a:lnTo>
                    <a:pt x="240" y="1140"/>
                  </a:lnTo>
                  <a:lnTo>
                    <a:pt x="108" y="1140"/>
                  </a:lnTo>
                  <a:lnTo>
                    <a:pt x="0" y="102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2" name="Freeform 13">
              <a:extLst>
                <a:ext uri="{FF2B5EF4-FFF2-40B4-BE49-F238E27FC236}">
                  <a16:creationId xmlns:a16="http://schemas.microsoft.com/office/drawing/2014/main" id="{A65824BA-D06E-416B-A8F8-018E29DBBF19}"/>
                </a:ext>
              </a:extLst>
            </p:cNvPr>
            <p:cNvSpPr>
              <a:spLocks/>
            </p:cNvSpPr>
            <p:nvPr/>
          </p:nvSpPr>
          <p:spPr bwMode="auto">
            <a:xfrm>
              <a:off x="3021312" y="2223718"/>
              <a:ext cx="754879" cy="730937"/>
            </a:xfrm>
            <a:custGeom>
              <a:avLst/>
              <a:gdLst>
                <a:gd name="T0" fmla="*/ 816 w 2682"/>
                <a:gd name="T1" fmla="*/ 253 h 2595"/>
                <a:gd name="T2" fmla="*/ 840 w 2682"/>
                <a:gd name="T3" fmla="*/ 577 h 2595"/>
                <a:gd name="T4" fmla="*/ 816 w 2682"/>
                <a:gd name="T5" fmla="*/ 793 h 2595"/>
                <a:gd name="T6" fmla="*/ 804 w 2682"/>
                <a:gd name="T7" fmla="*/ 1057 h 2595"/>
                <a:gd name="T8" fmla="*/ 624 w 2682"/>
                <a:gd name="T9" fmla="*/ 1177 h 2595"/>
                <a:gd name="T10" fmla="*/ 480 w 2682"/>
                <a:gd name="T11" fmla="*/ 1021 h 2595"/>
                <a:gd name="T12" fmla="*/ 264 w 2682"/>
                <a:gd name="T13" fmla="*/ 1213 h 2595"/>
                <a:gd name="T14" fmla="*/ 192 w 2682"/>
                <a:gd name="T15" fmla="*/ 1441 h 2595"/>
                <a:gd name="T16" fmla="*/ 240 w 2682"/>
                <a:gd name="T17" fmla="*/ 1657 h 2595"/>
                <a:gd name="T18" fmla="*/ 96 w 2682"/>
                <a:gd name="T19" fmla="*/ 1945 h 2595"/>
                <a:gd name="T20" fmla="*/ 0 w 2682"/>
                <a:gd name="T21" fmla="*/ 2341 h 2595"/>
                <a:gd name="T22" fmla="*/ 195 w 2682"/>
                <a:gd name="T23" fmla="*/ 2559 h 2595"/>
                <a:gd name="T24" fmla="*/ 326 w 2682"/>
                <a:gd name="T25" fmla="*/ 2365 h 2595"/>
                <a:gd name="T26" fmla="*/ 351 w 2682"/>
                <a:gd name="T27" fmla="*/ 2230 h 2595"/>
                <a:gd name="T28" fmla="*/ 393 w 2682"/>
                <a:gd name="T29" fmla="*/ 2139 h 2595"/>
                <a:gd name="T30" fmla="*/ 590 w 2682"/>
                <a:gd name="T31" fmla="*/ 2194 h 2595"/>
                <a:gd name="T32" fmla="*/ 644 w 2682"/>
                <a:gd name="T33" fmla="*/ 2008 h 2595"/>
                <a:gd name="T34" fmla="*/ 690 w 2682"/>
                <a:gd name="T35" fmla="*/ 1830 h 2595"/>
                <a:gd name="T36" fmla="*/ 863 w 2682"/>
                <a:gd name="T37" fmla="*/ 1875 h 2595"/>
                <a:gd name="T38" fmla="*/ 1076 w 2682"/>
                <a:gd name="T39" fmla="*/ 1903 h 2595"/>
                <a:gd name="T40" fmla="*/ 1167 w 2682"/>
                <a:gd name="T41" fmla="*/ 2085 h 2595"/>
                <a:gd name="T42" fmla="*/ 1374 w 2682"/>
                <a:gd name="T43" fmla="*/ 2148 h 2595"/>
                <a:gd name="T44" fmla="*/ 1484 w 2682"/>
                <a:gd name="T45" fmla="*/ 2404 h 2595"/>
                <a:gd name="T46" fmla="*/ 1707 w 2682"/>
                <a:gd name="T47" fmla="*/ 2499 h 2595"/>
                <a:gd name="T48" fmla="*/ 1824 w 2682"/>
                <a:gd name="T49" fmla="*/ 2595 h 2595"/>
                <a:gd name="T50" fmla="*/ 1851 w 2682"/>
                <a:gd name="T51" fmla="*/ 2415 h 2595"/>
                <a:gd name="T52" fmla="*/ 1979 w 2682"/>
                <a:gd name="T53" fmla="*/ 2358 h 2595"/>
                <a:gd name="T54" fmla="*/ 1902 w 2682"/>
                <a:gd name="T55" fmla="*/ 2194 h 2595"/>
                <a:gd name="T56" fmla="*/ 1833 w 2682"/>
                <a:gd name="T57" fmla="*/ 2053 h 2595"/>
                <a:gd name="T58" fmla="*/ 1812 w 2682"/>
                <a:gd name="T59" fmla="*/ 1801 h 2595"/>
                <a:gd name="T60" fmla="*/ 1989 w 2682"/>
                <a:gd name="T61" fmla="*/ 1710 h 2595"/>
                <a:gd name="T62" fmla="*/ 2159 w 2682"/>
                <a:gd name="T63" fmla="*/ 1507 h 2595"/>
                <a:gd name="T64" fmla="*/ 2244 w 2682"/>
                <a:gd name="T65" fmla="*/ 1609 h 2595"/>
                <a:gd name="T66" fmla="*/ 2417 w 2682"/>
                <a:gd name="T67" fmla="*/ 1572 h 2595"/>
                <a:gd name="T68" fmla="*/ 2582 w 2682"/>
                <a:gd name="T69" fmla="*/ 1644 h 2595"/>
                <a:gd name="T70" fmla="*/ 2580 w 2682"/>
                <a:gd name="T71" fmla="*/ 1525 h 2595"/>
                <a:gd name="T72" fmla="*/ 2171 w 2682"/>
                <a:gd name="T73" fmla="*/ 1501 h 2595"/>
                <a:gd name="T74" fmla="*/ 2112 w 2682"/>
                <a:gd name="T75" fmla="*/ 1405 h 2595"/>
                <a:gd name="T76" fmla="*/ 1968 w 2682"/>
                <a:gd name="T77" fmla="*/ 1297 h 2595"/>
                <a:gd name="T78" fmla="*/ 2027 w 2682"/>
                <a:gd name="T79" fmla="*/ 1164 h 2595"/>
                <a:gd name="T80" fmla="*/ 2024 w 2682"/>
                <a:gd name="T81" fmla="*/ 978 h 2595"/>
                <a:gd name="T82" fmla="*/ 2171 w 2682"/>
                <a:gd name="T83" fmla="*/ 853 h 2595"/>
                <a:gd name="T84" fmla="*/ 2196 w 2682"/>
                <a:gd name="T85" fmla="*/ 624 h 2595"/>
                <a:gd name="T86" fmla="*/ 2042 w 2682"/>
                <a:gd name="T87" fmla="*/ 436 h 2595"/>
                <a:gd name="T88" fmla="*/ 2003 w 2682"/>
                <a:gd name="T89" fmla="*/ 195 h 2595"/>
                <a:gd name="T90" fmla="*/ 1800 w 2682"/>
                <a:gd name="T91" fmla="*/ 231 h 2595"/>
                <a:gd name="T92" fmla="*/ 1659 w 2682"/>
                <a:gd name="T93" fmla="*/ 25 h 2595"/>
                <a:gd name="T94" fmla="*/ 1478 w 2682"/>
                <a:gd name="T95" fmla="*/ 0 h 2595"/>
                <a:gd name="T96" fmla="*/ 1224 w 2682"/>
                <a:gd name="T97" fmla="*/ 217 h 2595"/>
                <a:gd name="T98" fmla="*/ 1008 w 2682"/>
                <a:gd name="T99" fmla="*/ 97 h 2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82" h="2595">
                  <a:moveTo>
                    <a:pt x="1008" y="97"/>
                  </a:moveTo>
                  <a:lnTo>
                    <a:pt x="816" y="253"/>
                  </a:lnTo>
                  <a:lnTo>
                    <a:pt x="876" y="445"/>
                  </a:lnTo>
                  <a:lnTo>
                    <a:pt x="840" y="577"/>
                  </a:lnTo>
                  <a:lnTo>
                    <a:pt x="756" y="721"/>
                  </a:lnTo>
                  <a:lnTo>
                    <a:pt x="816" y="793"/>
                  </a:lnTo>
                  <a:lnTo>
                    <a:pt x="768" y="889"/>
                  </a:lnTo>
                  <a:lnTo>
                    <a:pt x="804" y="1057"/>
                  </a:lnTo>
                  <a:lnTo>
                    <a:pt x="708" y="1093"/>
                  </a:lnTo>
                  <a:lnTo>
                    <a:pt x="624" y="1177"/>
                  </a:lnTo>
                  <a:lnTo>
                    <a:pt x="552" y="1093"/>
                  </a:lnTo>
                  <a:lnTo>
                    <a:pt x="480" y="1021"/>
                  </a:lnTo>
                  <a:lnTo>
                    <a:pt x="336" y="1093"/>
                  </a:lnTo>
                  <a:lnTo>
                    <a:pt x="264" y="1213"/>
                  </a:lnTo>
                  <a:lnTo>
                    <a:pt x="180" y="1321"/>
                  </a:lnTo>
                  <a:lnTo>
                    <a:pt x="192" y="1441"/>
                  </a:lnTo>
                  <a:lnTo>
                    <a:pt x="192" y="1561"/>
                  </a:lnTo>
                  <a:lnTo>
                    <a:pt x="240" y="1657"/>
                  </a:lnTo>
                  <a:lnTo>
                    <a:pt x="144" y="1777"/>
                  </a:lnTo>
                  <a:lnTo>
                    <a:pt x="96" y="1945"/>
                  </a:lnTo>
                  <a:lnTo>
                    <a:pt x="12" y="2125"/>
                  </a:lnTo>
                  <a:lnTo>
                    <a:pt x="0" y="2341"/>
                  </a:lnTo>
                  <a:lnTo>
                    <a:pt x="39" y="2536"/>
                  </a:lnTo>
                  <a:lnTo>
                    <a:pt x="195" y="2559"/>
                  </a:lnTo>
                  <a:lnTo>
                    <a:pt x="276" y="2461"/>
                  </a:lnTo>
                  <a:lnTo>
                    <a:pt x="326" y="2365"/>
                  </a:lnTo>
                  <a:lnTo>
                    <a:pt x="254" y="2304"/>
                  </a:lnTo>
                  <a:lnTo>
                    <a:pt x="351" y="2230"/>
                  </a:lnTo>
                  <a:lnTo>
                    <a:pt x="288" y="2110"/>
                  </a:lnTo>
                  <a:lnTo>
                    <a:pt x="393" y="2139"/>
                  </a:lnTo>
                  <a:lnTo>
                    <a:pt x="492" y="2185"/>
                  </a:lnTo>
                  <a:lnTo>
                    <a:pt x="590" y="2194"/>
                  </a:lnTo>
                  <a:lnTo>
                    <a:pt x="635" y="2113"/>
                  </a:lnTo>
                  <a:lnTo>
                    <a:pt x="644" y="2008"/>
                  </a:lnTo>
                  <a:lnTo>
                    <a:pt x="698" y="1948"/>
                  </a:lnTo>
                  <a:lnTo>
                    <a:pt x="690" y="1830"/>
                  </a:lnTo>
                  <a:lnTo>
                    <a:pt x="827" y="1783"/>
                  </a:lnTo>
                  <a:lnTo>
                    <a:pt x="863" y="1875"/>
                  </a:lnTo>
                  <a:lnTo>
                    <a:pt x="984" y="1873"/>
                  </a:lnTo>
                  <a:lnTo>
                    <a:pt x="1076" y="1903"/>
                  </a:lnTo>
                  <a:lnTo>
                    <a:pt x="1128" y="1974"/>
                  </a:lnTo>
                  <a:lnTo>
                    <a:pt x="1167" y="2085"/>
                  </a:lnTo>
                  <a:lnTo>
                    <a:pt x="1271" y="2113"/>
                  </a:lnTo>
                  <a:lnTo>
                    <a:pt x="1374" y="2148"/>
                  </a:lnTo>
                  <a:lnTo>
                    <a:pt x="1478" y="2299"/>
                  </a:lnTo>
                  <a:lnTo>
                    <a:pt x="1484" y="2404"/>
                  </a:lnTo>
                  <a:lnTo>
                    <a:pt x="1634" y="2433"/>
                  </a:lnTo>
                  <a:lnTo>
                    <a:pt x="1707" y="2499"/>
                  </a:lnTo>
                  <a:lnTo>
                    <a:pt x="1758" y="2595"/>
                  </a:lnTo>
                  <a:lnTo>
                    <a:pt x="1824" y="2595"/>
                  </a:lnTo>
                  <a:lnTo>
                    <a:pt x="1887" y="2544"/>
                  </a:lnTo>
                  <a:lnTo>
                    <a:pt x="1851" y="2415"/>
                  </a:lnTo>
                  <a:lnTo>
                    <a:pt x="1929" y="2394"/>
                  </a:lnTo>
                  <a:lnTo>
                    <a:pt x="1979" y="2358"/>
                  </a:lnTo>
                  <a:lnTo>
                    <a:pt x="1977" y="2212"/>
                  </a:lnTo>
                  <a:lnTo>
                    <a:pt x="1902" y="2194"/>
                  </a:lnTo>
                  <a:lnTo>
                    <a:pt x="1832" y="2148"/>
                  </a:lnTo>
                  <a:lnTo>
                    <a:pt x="1833" y="2053"/>
                  </a:lnTo>
                  <a:lnTo>
                    <a:pt x="1797" y="1950"/>
                  </a:lnTo>
                  <a:lnTo>
                    <a:pt x="1812" y="1801"/>
                  </a:lnTo>
                  <a:lnTo>
                    <a:pt x="1896" y="1773"/>
                  </a:lnTo>
                  <a:lnTo>
                    <a:pt x="1989" y="1710"/>
                  </a:lnTo>
                  <a:lnTo>
                    <a:pt x="2043" y="1590"/>
                  </a:lnTo>
                  <a:lnTo>
                    <a:pt x="2159" y="1507"/>
                  </a:lnTo>
                  <a:lnTo>
                    <a:pt x="2181" y="1579"/>
                  </a:lnTo>
                  <a:lnTo>
                    <a:pt x="2244" y="1609"/>
                  </a:lnTo>
                  <a:lnTo>
                    <a:pt x="2316" y="1527"/>
                  </a:lnTo>
                  <a:lnTo>
                    <a:pt x="2417" y="1572"/>
                  </a:lnTo>
                  <a:lnTo>
                    <a:pt x="2475" y="1621"/>
                  </a:lnTo>
                  <a:lnTo>
                    <a:pt x="2582" y="1644"/>
                  </a:lnTo>
                  <a:lnTo>
                    <a:pt x="2682" y="1566"/>
                  </a:lnTo>
                  <a:lnTo>
                    <a:pt x="2580" y="1525"/>
                  </a:lnTo>
                  <a:lnTo>
                    <a:pt x="2351" y="1501"/>
                  </a:lnTo>
                  <a:lnTo>
                    <a:pt x="2171" y="1501"/>
                  </a:lnTo>
                  <a:lnTo>
                    <a:pt x="2141" y="1449"/>
                  </a:lnTo>
                  <a:lnTo>
                    <a:pt x="2112" y="1405"/>
                  </a:lnTo>
                  <a:lnTo>
                    <a:pt x="2018" y="1347"/>
                  </a:lnTo>
                  <a:lnTo>
                    <a:pt x="1968" y="1297"/>
                  </a:lnTo>
                  <a:lnTo>
                    <a:pt x="2004" y="1215"/>
                  </a:lnTo>
                  <a:lnTo>
                    <a:pt x="2027" y="1164"/>
                  </a:lnTo>
                  <a:lnTo>
                    <a:pt x="1919" y="1093"/>
                  </a:lnTo>
                  <a:lnTo>
                    <a:pt x="2024" y="978"/>
                  </a:lnTo>
                  <a:lnTo>
                    <a:pt x="2087" y="889"/>
                  </a:lnTo>
                  <a:lnTo>
                    <a:pt x="2171" y="853"/>
                  </a:lnTo>
                  <a:lnTo>
                    <a:pt x="2099" y="747"/>
                  </a:lnTo>
                  <a:lnTo>
                    <a:pt x="2196" y="624"/>
                  </a:lnTo>
                  <a:lnTo>
                    <a:pt x="2129" y="534"/>
                  </a:lnTo>
                  <a:lnTo>
                    <a:pt x="2042" y="436"/>
                  </a:lnTo>
                  <a:lnTo>
                    <a:pt x="2003" y="319"/>
                  </a:lnTo>
                  <a:lnTo>
                    <a:pt x="2003" y="195"/>
                  </a:lnTo>
                  <a:lnTo>
                    <a:pt x="1823" y="289"/>
                  </a:lnTo>
                  <a:lnTo>
                    <a:pt x="1800" y="231"/>
                  </a:lnTo>
                  <a:lnTo>
                    <a:pt x="1716" y="133"/>
                  </a:lnTo>
                  <a:lnTo>
                    <a:pt x="1659" y="25"/>
                  </a:lnTo>
                  <a:lnTo>
                    <a:pt x="1559" y="3"/>
                  </a:lnTo>
                  <a:lnTo>
                    <a:pt x="1478" y="0"/>
                  </a:lnTo>
                  <a:lnTo>
                    <a:pt x="1427" y="85"/>
                  </a:lnTo>
                  <a:lnTo>
                    <a:pt x="1224" y="217"/>
                  </a:lnTo>
                  <a:lnTo>
                    <a:pt x="1103" y="181"/>
                  </a:lnTo>
                  <a:lnTo>
                    <a:pt x="1008" y="97"/>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3" name="Freeform 14">
              <a:extLst>
                <a:ext uri="{FF2B5EF4-FFF2-40B4-BE49-F238E27FC236}">
                  <a16:creationId xmlns:a16="http://schemas.microsoft.com/office/drawing/2014/main" id="{A65C9C54-A632-432B-9C5C-9479243DAE23}"/>
                </a:ext>
              </a:extLst>
            </p:cNvPr>
            <p:cNvSpPr>
              <a:spLocks/>
            </p:cNvSpPr>
            <p:nvPr/>
          </p:nvSpPr>
          <p:spPr bwMode="auto">
            <a:xfrm>
              <a:off x="2743865" y="3075773"/>
              <a:ext cx="595735" cy="419690"/>
            </a:xfrm>
            <a:custGeom>
              <a:avLst/>
              <a:gdLst>
                <a:gd name="T0" fmla="*/ 2019 w 2112"/>
                <a:gd name="T1" fmla="*/ 1040 h 1488"/>
                <a:gd name="T2" fmla="*/ 1956 w 2112"/>
                <a:gd name="T3" fmla="*/ 1043 h 1488"/>
                <a:gd name="T4" fmla="*/ 1893 w 2112"/>
                <a:gd name="T5" fmla="*/ 981 h 1488"/>
                <a:gd name="T6" fmla="*/ 1775 w 2112"/>
                <a:gd name="T7" fmla="*/ 888 h 1488"/>
                <a:gd name="T8" fmla="*/ 1755 w 2112"/>
                <a:gd name="T9" fmla="*/ 813 h 1488"/>
                <a:gd name="T10" fmla="*/ 1694 w 2112"/>
                <a:gd name="T11" fmla="*/ 785 h 1488"/>
                <a:gd name="T12" fmla="*/ 1686 w 2112"/>
                <a:gd name="T13" fmla="*/ 720 h 1488"/>
                <a:gd name="T14" fmla="*/ 1718 w 2112"/>
                <a:gd name="T15" fmla="*/ 635 h 1488"/>
                <a:gd name="T16" fmla="*/ 1751 w 2112"/>
                <a:gd name="T17" fmla="*/ 561 h 1488"/>
                <a:gd name="T18" fmla="*/ 1742 w 2112"/>
                <a:gd name="T19" fmla="*/ 480 h 1488"/>
                <a:gd name="T20" fmla="*/ 1859 w 2112"/>
                <a:gd name="T21" fmla="*/ 432 h 1488"/>
                <a:gd name="T22" fmla="*/ 1787 w 2112"/>
                <a:gd name="T23" fmla="*/ 372 h 1488"/>
                <a:gd name="T24" fmla="*/ 1667 w 2112"/>
                <a:gd name="T25" fmla="*/ 408 h 1488"/>
                <a:gd name="T26" fmla="*/ 1587 w 2112"/>
                <a:gd name="T27" fmla="*/ 338 h 1488"/>
                <a:gd name="T28" fmla="*/ 1445 w 2112"/>
                <a:gd name="T29" fmla="*/ 279 h 1488"/>
                <a:gd name="T30" fmla="*/ 1359 w 2112"/>
                <a:gd name="T31" fmla="*/ 170 h 1488"/>
                <a:gd name="T32" fmla="*/ 1139 w 2112"/>
                <a:gd name="T33" fmla="*/ 0 h 1488"/>
                <a:gd name="T34" fmla="*/ 1032 w 2112"/>
                <a:gd name="T35" fmla="*/ 62 h 1488"/>
                <a:gd name="T36" fmla="*/ 936 w 2112"/>
                <a:gd name="T37" fmla="*/ 108 h 1488"/>
                <a:gd name="T38" fmla="*/ 816 w 2112"/>
                <a:gd name="T39" fmla="*/ 204 h 1488"/>
                <a:gd name="T40" fmla="*/ 660 w 2112"/>
                <a:gd name="T41" fmla="*/ 228 h 1488"/>
                <a:gd name="T42" fmla="*/ 588 w 2112"/>
                <a:gd name="T43" fmla="*/ 204 h 1488"/>
                <a:gd name="T44" fmla="*/ 480 w 2112"/>
                <a:gd name="T45" fmla="*/ 180 h 1488"/>
                <a:gd name="T46" fmla="*/ 348 w 2112"/>
                <a:gd name="T47" fmla="*/ 192 h 1488"/>
                <a:gd name="T48" fmla="*/ 216 w 2112"/>
                <a:gd name="T49" fmla="*/ 192 h 1488"/>
                <a:gd name="T50" fmla="*/ 192 w 2112"/>
                <a:gd name="T51" fmla="*/ 300 h 1488"/>
                <a:gd name="T52" fmla="*/ 156 w 2112"/>
                <a:gd name="T53" fmla="*/ 408 h 1488"/>
                <a:gd name="T54" fmla="*/ 192 w 2112"/>
                <a:gd name="T55" fmla="*/ 468 h 1488"/>
                <a:gd name="T56" fmla="*/ 96 w 2112"/>
                <a:gd name="T57" fmla="*/ 540 h 1488"/>
                <a:gd name="T58" fmla="*/ 0 w 2112"/>
                <a:gd name="T59" fmla="*/ 660 h 1488"/>
                <a:gd name="T60" fmla="*/ 48 w 2112"/>
                <a:gd name="T61" fmla="*/ 780 h 1488"/>
                <a:gd name="T62" fmla="*/ 168 w 2112"/>
                <a:gd name="T63" fmla="*/ 756 h 1488"/>
                <a:gd name="T64" fmla="*/ 288 w 2112"/>
                <a:gd name="T65" fmla="*/ 852 h 1488"/>
                <a:gd name="T66" fmla="*/ 384 w 2112"/>
                <a:gd name="T67" fmla="*/ 816 h 1488"/>
                <a:gd name="T68" fmla="*/ 492 w 2112"/>
                <a:gd name="T69" fmla="*/ 828 h 1488"/>
                <a:gd name="T70" fmla="*/ 612 w 2112"/>
                <a:gd name="T71" fmla="*/ 840 h 1488"/>
                <a:gd name="T72" fmla="*/ 696 w 2112"/>
                <a:gd name="T73" fmla="*/ 936 h 1488"/>
                <a:gd name="T74" fmla="*/ 780 w 2112"/>
                <a:gd name="T75" fmla="*/ 1032 h 1488"/>
                <a:gd name="T76" fmla="*/ 876 w 2112"/>
                <a:gd name="T77" fmla="*/ 1128 h 1488"/>
                <a:gd name="T78" fmla="*/ 912 w 2112"/>
                <a:gd name="T79" fmla="*/ 1200 h 1488"/>
                <a:gd name="T80" fmla="*/ 948 w 2112"/>
                <a:gd name="T81" fmla="*/ 1284 h 1488"/>
                <a:gd name="T82" fmla="*/ 1080 w 2112"/>
                <a:gd name="T83" fmla="*/ 1392 h 1488"/>
                <a:gd name="T84" fmla="*/ 1200 w 2112"/>
                <a:gd name="T85" fmla="*/ 1416 h 1488"/>
                <a:gd name="T86" fmla="*/ 1332 w 2112"/>
                <a:gd name="T87" fmla="*/ 1392 h 1488"/>
                <a:gd name="T88" fmla="*/ 1452 w 2112"/>
                <a:gd name="T89" fmla="*/ 1488 h 1488"/>
                <a:gd name="T90" fmla="*/ 1536 w 2112"/>
                <a:gd name="T91" fmla="*/ 1452 h 1488"/>
                <a:gd name="T92" fmla="*/ 1584 w 2112"/>
                <a:gd name="T93" fmla="*/ 1368 h 1488"/>
                <a:gd name="T94" fmla="*/ 1704 w 2112"/>
                <a:gd name="T95" fmla="*/ 1356 h 1488"/>
                <a:gd name="T96" fmla="*/ 1788 w 2112"/>
                <a:gd name="T97" fmla="*/ 1296 h 1488"/>
                <a:gd name="T98" fmla="*/ 1884 w 2112"/>
                <a:gd name="T99" fmla="*/ 1344 h 1488"/>
                <a:gd name="T100" fmla="*/ 1992 w 2112"/>
                <a:gd name="T101" fmla="*/ 1356 h 1488"/>
                <a:gd name="T102" fmla="*/ 2112 w 2112"/>
                <a:gd name="T103" fmla="*/ 1344 h 1488"/>
                <a:gd name="T104" fmla="*/ 2088 w 2112"/>
                <a:gd name="T105" fmla="*/ 1212 h 1488"/>
                <a:gd name="T106" fmla="*/ 2088 w 2112"/>
                <a:gd name="T107" fmla="*/ 1104 h 1488"/>
                <a:gd name="T108" fmla="*/ 2019 w 2112"/>
                <a:gd name="T109" fmla="*/ 1040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2" h="1488">
                  <a:moveTo>
                    <a:pt x="2019" y="1040"/>
                  </a:moveTo>
                  <a:lnTo>
                    <a:pt x="1956" y="1043"/>
                  </a:lnTo>
                  <a:lnTo>
                    <a:pt x="1893" y="981"/>
                  </a:lnTo>
                  <a:lnTo>
                    <a:pt x="1775" y="888"/>
                  </a:lnTo>
                  <a:lnTo>
                    <a:pt x="1755" y="813"/>
                  </a:lnTo>
                  <a:lnTo>
                    <a:pt x="1694" y="785"/>
                  </a:lnTo>
                  <a:lnTo>
                    <a:pt x="1686" y="720"/>
                  </a:lnTo>
                  <a:lnTo>
                    <a:pt x="1718" y="635"/>
                  </a:lnTo>
                  <a:lnTo>
                    <a:pt x="1751" y="561"/>
                  </a:lnTo>
                  <a:lnTo>
                    <a:pt x="1742" y="480"/>
                  </a:lnTo>
                  <a:lnTo>
                    <a:pt x="1859" y="432"/>
                  </a:lnTo>
                  <a:lnTo>
                    <a:pt x="1787" y="372"/>
                  </a:lnTo>
                  <a:lnTo>
                    <a:pt x="1667" y="408"/>
                  </a:lnTo>
                  <a:lnTo>
                    <a:pt x="1587" y="338"/>
                  </a:lnTo>
                  <a:lnTo>
                    <a:pt x="1445" y="279"/>
                  </a:lnTo>
                  <a:lnTo>
                    <a:pt x="1359" y="170"/>
                  </a:lnTo>
                  <a:lnTo>
                    <a:pt x="1139" y="0"/>
                  </a:lnTo>
                  <a:lnTo>
                    <a:pt x="1032" y="62"/>
                  </a:lnTo>
                  <a:lnTo>
                    <a:pt x="936" y="108"/>
                  </a:lnTo>
                  <a:lnTo>
                    <a:pt x="816" y="204"/>
                  </a:lnTo>
                  <a:lnTo>
                    <a:pt x="660" y="228"/>
                  </a:lnTo>
                  <a:lnTo>
                    <a:pt x="588" y="204"/>
                  </a:lnTo>
                  <a:lnTo>
                    <a:pt x="480" y="180"/>
                  </a:lnTo>
                  <a:lnTo>
                    <a:pt x="348" y="192"/>
                  </a:lnTo>
                  <a:lnTo>
                    <a:pt x="216" y="192"/>
                  </a:lnTo>
                  <a:lnTo>
                    <a:pt x="192" y="300"/>
                  </a:lnTo>
                  <a:lnTo>
                    <a:pt x="156" y="408"/>
                  </a:lnTo>
                  <a:lnTo>
                    <a:pt x="192" y="468"/>
                  </a:lnTo>
                  <a:lnTo>
                    <a:pt x="96" y="540"/>
                  </a:lnTo>
                  <a:lnTo>
                    <a:pt x="0" y="660"/>
                  </a:lnTo>
                  <a:lnTo>
                    <a:pt x="48" y="780"/>
                  </a:lnTo>
                  <a:lnTo>
                    <a:pt x="168" y="756"/>
                  </a:lnTo>
                  <a:lnTo>
                    <a:pt x="288" y="852"/>
                  </a:lnTo>
                  <a:lnTo>
                    <a:pt x="384" y="816"/>
                  </a:lnTo>
                  <a:lnTo>
                    <a:pt x="492" y="828"/>
                  </a:lnTo>
                  <a:lnTo>
                    <a:pt x="612" y="840"/>
                  </a:lnTo>
                  <a:lnTo>
                    <a:pt x="696" y="936"/>
                  </a:lnTo>
                  <a:lnTo>
                    <a:pt x="780" y="1032"/>
                  </a:lnTo>
                  <a:lnTo>
                    <a:pt x="876" y="1128"/>
                  </a:lnTo>
                  <a:lnTo>
                    <a:pt x="912" y="1200"/>
                  </a:lnTo>
                  <a:lnTo>
                    <a:pt x="948" y="1284"/>
                  </a:lnTo>
                  <a:lnTo>
                    <a:pt x="1080" y="1392"/>
                  </a:lnTo>
                  <a:lnTo>
                    <a:pt x="1200" y="1416"/>
                  </a:lnTo>
                  <a:lnTo>
                    <a:pt x="1332" y="1392"/>
                  </a:lnTo>
                  <a:lnTo>
                    <a:pt x="1452" y="1488"/>
                  </a:lnTo>
                  <a:lnTo>
                    <a:pt x="1536" y="1452"/>
                  </a:lnTo>
                  <a:lnTo>
                    <a:pt x="1584" y="1368"/>
                  </a:lnTo>
                  <a:lnTo>
                    <a:pt x="1704" y="1356"/>
                  </a:lnTo>
                  <a:lnTo>
                    <a:pt x="1788" y="1296"/>
                  </a:lnTo>
                  <a:lnTo>
                    <a:pt x="1884" y="1344"/>
                  </a:lnTo>
                  <a:lnTo>
                    <a:pt x="1992" y="1356"/>
                  </a:lnTo>
                  <a:lnTo>
                    <a:pt x="2112" y="1344"/>
                  </a:lnTo>
                  <a:lnTo>
                    <a:pt x="2088" y="1212"/>
                  </a:lnTo>
                  <a:lnTo>
                    <a:pt x="2088" y="1104"/>
                  </a:lnTo>
                  <a:lnTo>
                    <a:pt x="2019" y="10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4" name="Freeform 15">
              <a:extLst>
                <a:ext uri="{FF2B5EF4-FFF2-40B4-BE49-F238E27FC236}">
                  <a16:creationId xmlns:a16="http://schemas.microsoft.com/office/drawing/2014/main" id="{2F09CB29-910F-4F2D-A5DF-60E09710737E}"/>
                </a:ext>
              </a:extLst>
            </p:cNvPr>
            <p:cNvSpPr>
              <a:spLocks/>
            </p:cNvSpPr>
            <p:nvPr/>
          </p:nvSpPr>
          <p:spPr bwMode="auto">
            <a:xfrm>
              <a:off x="3048070" y="3119433"/>
              <a:ext cx="1240762" cy="1014016"/>
            </a:xfrm>
            <a:custGeom>
              <a:avLst/>
              <a:gdLst>
                <a:gd name="T0" fmla="*/ 971 w 4404"/>
                <a:gd name="T1" fmla="*/ 611 h 3600"/>
                <a:gd name="T2" fmla="*/ 1224 w 4404"/>
                <a:gd name="T3" fmla="*/ 552 h 3600"/>
                <a:gd name="T4" fmla="*/ 1356 w 4404"/>
                <a:gd name="T5" fmla="*/ 371 h 3600"/>
                <a:gd name="T6" fmla="*/ 1500 w 4404"/>
                <a:gd name="T7" fmla="*/ 489 h 3600"/>
                <a:gd name="T8" fmla="*/ 1631 w 4404"/>
                <a:gd name="T9" fmla="*/ 684 h 3600"/>
                <a:gd name="T10" fmla="*/ 1836 w 4404"/>
                <a:gd name="T11" fmla="*/ 890 h 3600"/>
                <a:gd name="T12" fmla="*/ 2337 w 4404"/>
                <a:gd name="T13" fmla="*/ 1065 h 3600"/>
                <a:gd name="T14" fmla="*/ 2696 w 4404"/>
                <a:gd name="T15" fmla="*/ 1032 h 3600"/>
                <a:gd name="T16" fmla="*/ 2855 w 4404"/>
                <a:gd name="T17" fmla="*/ 672 h 3600"/>
                <a:gd name="T18" fmla="*/ 2915 w 4404"/>
                <a:gd name="T19" fmla="*/ 419 h 3600"/>
                <a:gd name="T20" fmla="*/ 3059 w 4404"/>
                <a:gd name="T21" fmla="*/ 240 h 3600"/>
                <a:gd name="T22" fmla="*/ 2990 w 4404"/>
                <a:gd name="T23" fmla="*/ 36 h 3600"/>
                <a:gd name="T24" fmla="*/ 3377 w 4404"/>
                <a:gd name="T25" fmla="*/ 63 h 3600"/>
                <a:gd name="T26" fmla="*/ 3696 w 4404"/>
                <a:gd name="T27" fmla="*/ 167 h 3600"/>
                <a:gd name="T28" fmla="*/ 3893 w 4404"/>
                <a:gd name="T29" fmla="*/ 26 h 3600"/>
                <a:gd name="T30" fmla="*/ 3986 w 4404"/>
                <a:gd name="T31" fmla="*/ 324 h 3600"/>
                <a:gd name="T32" fmla="*/ 3936 w 4404"/>
                <a:gd name="T33" fmla="*/ 447 h 3600"/>
                <a:gd name="T34" fmla="*/ 3692 w 4404"/>
                <a:gd name="T35" fmla="*/ 882 h 3600"/>
                <a:gd name="T36" fmla="*/ 3432 w 4404"/>
                <a:gd name="T37" fmla="*/ 1128 h 3600"/>
                <a:gd name="T38" fmla="*/ 3614 w 4404"/>
                <a:gd name="T39" fmla="*/ 1271 h 3600"/>
                <a:gd name="T40" fmla="*/ 3818 w 4404"/>
                <a:gd name="T41" fmla="*/ 1188 h 3600"/>
                <a:gd name="T42" fmla="*/ 4010 w 4404"/>
                <a:gd name="T43" fmla="*/ 1356 h 3600"/>
                <a:gd name="T44" fmla="*/ 4056 w 4404"/>
                <a:gd name="T45" fmla="*/ 1574 h 3600"/>
                <a:gd name="T46" fmla="*/ 4350 w 4404"/>
                <a:gd name="T47" fmla="*/ 1779 h 3600"/>
                <a:gd name="T48" fmla="*/ 4356 w 4404"/>
                <a:gd name="T49" fmla="*/ 2075 h 3600"/>
                <a:gd name="T50" fmla="*/ 4052 w 4404"/>
                <a:gd name="T51" fmla="*/ 1835 h 3600"/>
                <a:gd name="T52" fmla="*/ 3768 w 4404"/>
                <a:gd name="T53" fmla="*/ 1917 h 3600"/>
                <a:gd name="T54" fmla="*/ 3671 w 4404"/>
                <a:gd name="T55" fmla="*/ 2289 h 3600"/>
                <a:gd name="T56" fmla="*/ 3503 w 4404"/>
                <a:gd name="T57" fmla="*/ 2174 h 3600"/>
                <a:gd name="T58" fmla="*/ 3563 w 4404"/>
                <a:gd name="T59" fmla="*/ 1884 h 3600"/>
                <a:gd name="T60" fmla="*/ 3482 w 4404"/>
                <a:gd name="T61" fmla="*/ 1787 h 3600"/>
                <a:gd name="T62" fmla="*/ 3306 w 4404"/>
                <a:gd name="T63" fmla="*/ 1689 h 3600"/>
                <a:gd name="T64" fmla="*/ 3240 w 4404"/>
                <a:gd name="T65" fmla="*/ 1895 h 3600"/>
                <a:gd name="T66" fmla="*/ 3182 w 4404"/>
                <a:gd name="T67" fmla="*/ 2196 h 3600"/>
                <a:gd name="T68" fmla="*/ 3383 w 4404"/>
                <a:gd name="T69" fmla="*/ 2376 h 3600"/>
                <a:gd name="T70" fmla="*/ 3326 w 4404"/>
                <a:gd name="T71" fmla="*/ 2676 h 3600"/>
                <a:gd name="T72" fmla="*/ 3197 w 4404"/>
                <a:gd name="T73" fmla="*/ 2844 h 3600"/>
                <a:gd name="T74" fmla="*/ 2894 w 4404"/>
                <a:gd name="T75" fmla="*/ 2916 h 3600"/>
                <a:gd name="T76" fmla="*/ 2412 w 4404"/>
                <a:gd name="T77" fmla="*/ 2940 h 3600"/>
                <a:gd name="T78" fmla="*/ 2388 w 4404"/>
                <a:gd name="T79" fmla="*/ 3326 h 3600"/>
                <a:gd name="T80" fmla="*/ 1620 w 4404"/>
                <a:gd name="T81" fmla="*/ 3564 h 3600"/>
                <a:gd name="T82" fmla="*/ 1440 w 4404"/>
                <a:gd name="T83" fmla="*/ 3084 h 3600"/>
                <a:gd name="T84" fmla="*/ 1164 w 4404"/>
                <a:gd name="T85" fmla="*/ 2700 h 3600"/>
                <a:gd name="T86" fmla="*/ 864 w 4404"/>
                <a:gd name="T87" fmla="*/ 2580 h 3600"/>
                <a:gd name="T88" fmla="*/ 684 w 4404"/>
                <a:gd name="T89" fmla="*/ 2100 h 3600"/>
                <a:gd name="T90" fmla="*/ 636 w 4404"/>
                <a:gd name="T91" fmla="*/ 1728 h 3600"/>
                <a:gd name="T92" fmla="*/ 336 w 4404"/>
                <a:gd name="T93" fmla="*/ 1584 h 3600"/>
                <a:gd name="T94" fmla="*/ 84 w 4404"/>
                <a:gd name="T95" fmla="*/ 1356 h 3600"/>
                <a:gd name="T96" fmla="*/ 252 w 4404"/>
                <a:gd name="T97" fmla="*/ 1236 h 3600"/>
                <a:gd name="T98" fmla="*/ 504 w 4404"/>
                <a:gd name="T99" fmla="*/ 1212 h 3600"/>
                <a:gd name="T100" fmla="*/ 804 w 4404"/>
                <a:gd name="T101" fmla="*/ 1188 h 3600"/>
                <a:gd name="T102" fmla="*/ 1008 w 4404"/>
                <a:gd name="T103" fmla="*/ 10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4" h="3600">
                  <a:moveTo>
                    <a:pt x="938" y="884"/>
                  </a:moveTo>
                  <a:lnTo>
                    <a:pt x="947" y="755"/>
                  </a:lnTo>
                  <a:lnTo>
                    <a:pt x="971" y="611"/>
                  </a:lnTo>
                  <a:lnTo>
                    <a:pt x="1067" y="518"/>
                  </a:lnTo>
                  <a:lnTo>
                    <a:pt x="1187" y="479"/>
                  </a:lnTo>
                  <a:lnTo>
                    <a:pt x="1224" y="552"/>
                  </a:lnTo>
                  <a:lnTo>
                    <a:pt x="1332" y="504"/>
                  </a:lnTo>
                  <a:lnTo>
                    <a:pt x="1403" y="456"/>
                  </a:lnTo>
                  <a:lnTo>
                    <a:pt x="1356" y="371"/>
                  </a:lnTo>
                  <a:lnTo>
                    <a:pt x="1439" y="312"/>
                  </a:lnTo>
                  <a:lnTo>
                    <a:pt x="1512" y="395"/>
                  </a:lnTo>
                  <a:lnTo>
                    <a:pt x="1500" y="489"/>
                  </a:lnTo>
                  <a:lnTo>
                    <a:pt x="1526" y="566"/>
                  </a:lnTo>
                  <a:lnTo>
                    <a:pt x="1584" y="611"/>
                  </a:lnTo>
                  <a:lnTo>
                    <a:pt x="1631" y="684"/>
                  </a:lnTo>
                  <a:lnTo>
                    <a:pt x="1646" y="771"/>
                  </a:lnTo>
                  <a:lnTo>
                    <a:pt x="1769" y="828"/>
                  </a:lnTo>
                  <a:lnTo>
                    <a:pt x="1836" y="890"/>
                  </a:lnTo>
                  <a:lnTo>
                    <a:pt x="1946" y="936"/>
                  </a:lnTo>
                  <a:lnTo>
                    <a:pt x="2088" y="947"/>
                  </a:lnTo>
                  <a:lnTo>
                    <a:pt x="2337" y="1065"/>
                  </a:lnTo>
                  <a:lnTo>
                    <a:pt x="2471" y="1094"/>
                  </a:lnTo>
                  <a:lnTo>
                    <a:pt x="2589" y="1080"/>
                  </a:lnTo>
                  <a:lnTo>
                    <a:pt x="2696" y="1032"/>
                  </a:lnTo>
                  <a:lnTo>
                    <a:pt x="2822" y="947"/>
                  </a:lnTo>
                  <a:lnTo>
                    <a:pt x="2904" y="819"/>
                  </a:lnTo>
                  <a:lnTo>
                    <a:pt x="2855" y="672"/>
                  </a:lnTo>
                  <a:lnTo>
                    <a:pt x="2868" y="552"/>
                  </a:lnTo>
                  <a:lnTo>
                    <a:pt x="2823" y="434"/>
                  </a:lnTo>
                  <a:lnTo>
                    <a:pt x="2915" y="419"/>
                  </a:lnTo>
                  <a:lnTo>
                    <a:pt x="3000" y="458"/>
                  </a:lnTo>
                  <a:lnTo>
                    <a:pt x="3012" y="323"/>
                  </a:lnTo>
                  <a:lnTo>
                    <a:pt x="3059" y="240"/>
                  </a:lnTo>
                  <a:lnTo>
                    <a:pt x="2916" y="182"/>
                  </a:lnTo>
                  <a:lnTo>
                    <a:pt x="2918" y="71"/>
                  </a:lnTo>
                  <a:lnTo>
                    <a:pt x="2990" y="36"/>
                  </a:lnTo>
                  <a:lnTo>
                    <a:pt x="3074" y="71"/>
                  </a:lnTo>
                  <a:lnTo>
                    <a:pt x="3212" y="84"/>
                  </a:lnTo>
                  <a:lnTo>
                    <a:pt x="3377" y="63"/>
                  </a:lnTo>
                  <a:lnTo>
                    <a:pt x="3560" y="48"/>
                  </a:lnTo>
                  <a:lnTo>
                    <a:pt x="3636" y="62"/>
                  </a:lnTo>
                  <a:lnTo>
                    <a:pt x="3696" y="167"/>
                  </a:lnTo>
                  <a:lnTo>
                    <a:pt x="3770" y="93"/>
                  </a:lnTo>
                  <a:lnTo>
                    <a:pt x="3815" y="0"/>
                  </a:lnTo>
                  <a:lnTo>
                    <a:pt x="3893" y="26"/>
                  </a:lnTo>
                  <a:lnTo>
                    <a:pt x="3984" y="96"/>
                  </a:lnTo>
                  <a:lnTo>
                    <a:pt x="4032" y="218"/>
                  </a:lnTo>
                  <a:lnTo>
                    <a:pt x="3986" y="324"/>
                  </a:lnTo>
                  <a:lnTo>
                    <a:pt x="3864" y="192"/>
                  </a:lnTo>
                  <a:lnTo>
                    <a:pt x="3890" y="315"/>
                  </a:lnTo>
                  <a:lnTo>
                    <a:pt x="3936" y="447"/>
                  </a:lnTo>
                  <a:lnTo>
                    <a:pt x="3851" y="543"/>
                  </a:lnTo>
                  <a:lnTo>
                    <a:pt x="3779" y="648"/>
                  </a:lnTo>
                  <a:lnTo>
                    <a:pt x="3692" y="882"/>
                  </a:lnTo>
                  <a:lnTo>
                    <a:pt x="3638" y="1008"/>
                  </a:lnTo>
                  <a:lnTo>
                    <a:pt x="3537" y="1082"/>
                  </a:lnTo>
                  <a:lnTo>
                    <a:pt x="3432" y="1128"/>
                  </a:lnTo>
                  <a:lnTo>
                    <a:pt x="3443" y="1235"/>
                  </a:lnTo>
                  <a:lnTo>
                    <a:pt x="3503" y="1296"/>
                  </a:lnTo>
                  <a:lnTo>
                    <a:pt x="3614" y="1271"/>
                  </a:lnTo>
                  <a:lnTo>
                    <a:pt x="3672" y="1188"/>
                  </a:lnTo>
                  <a:lnTo>
                    <a:pt x="3743" y="1200"/>
                  </a:lnTo>
                  <a:lnTo>
                    <a:pt x="3818" y="1188"/>
                  </a:lnTo>
                  <a:lnTo>
                    <a:pt x="3912" y="1188"/>
                  </a:lnTo>
                  <a:lnTo>
                    <a:pt x="3984" y="1262"/>
                  </a:lnTo>
                  <a:lnTo>
                    <a:pt x="4010" y="1356"/>
                  </a:lnTo>
                  <a:lnTo>
                    <a:pt x="3962" y="1440"/>
                  </a:lnTo>
                  <a:lnTo>
                    <a:pt x="3972" y="1524"/>
                  </a:lnTo>
                  <a:lnTo>
                    <a:pt x="4056" y="1574"/>
                  </a:lnTo>
                  <a:lnTo>
                    <a:pt x="4173" y="1595"/>
                  </a:lnTo>
                  <a:lnTo>
                    <a:pt x="4299" y="1670"/>
                  </a:lnTo>
                  <a:lnTo>
                    <a:pt x="4350" y="1779"/>
                  </a:lnTo>
                  <a:lnTo>
                    <a:pt x="4404" y="1910"/>
                  </a:lnTo>
                  <a:lnTo>
                    <a:pt x="4334" y="1968"/>
                  </a:lnTo>
                  <a:lnTo>
                    <a:pt x="4356" y="2075"/>
                  </a:lnTo>
                  <a:lnTo>
                    <a:pt x="4212" y="2016"/>
                  </a:lnTo>
                  <a:lnTo>
                    <a:pt x="4154" y="1908"/>
                  </a:lnTo>
                  <a:lnTo>
                    <a:pt x="4052" y="1835"/>
                  </a:lnTo>
                  <a:lnTo>
                    <a:pt x="3881" y="1809"/>
                  </a:lnTo>
                  <a:lnTo>
                    <a:pt x="3767" y="1802"/>
                  </a:lnTo>
                  <a:lnTo>
                    <a:pt x="3768" y="1917"/>
                  </a:lnTo>
                  <a:lnTo>
                    <a:pt x="3732" y="2031"/>
                  </a:lnTo>
                  <a:lnTo>
                    <a:pt x="3635" y="2198"/>
                  </a:lnTo>
                  <a:lnTo>
                    <a:pt x="3671" y="2289"/>
                  </a:lnTo>
                  <a:lnTo>
                    <a:pt x="3587" y="2327"/>
                  </a:lnTo>
                  <a:lnTo>
                    <a:pt x="3515" y="2258"/>
                  </a:lnTo>
                  <a:lnTo>
                    <a:pt x="3503" y="2174"/>
                  </a:lnTo>
                  <a:lnTo>
                    <a:pt x="3444" y="2076"/>
                  </a:lnTo>
                  <a:lnTo>
                    <a:pt x="3539" y="2016"/>
                  </a:lnTo>
                  <a:lnTo>
                    <a:pt x="3563" y="1884"/>
                  </a:lnTo>
                  <a:lnTo>
                    <a:pt x="3624" y="1850"/>
                  </a:lnTo>
                  <a:lnTo>
                    <a:pt x="3621" y="1787"/>
                  </a:lnTo>
                  <a:lnTo>
                    <a:pt x="3482" y="1787"/>
                  </a:lnTo>
                  <a:lnTo>
                    <a:pt x="3419" y="1730"/>
                  </a:lnTo>
                  <a:lnTo>
                    <a:pt x="3395" y="1668"/>
                  </a:lnTo>
                  <a:lnTo>
                    <a:pt x="3306" y="1689"/>
                  </a:lnTo>
                  <a:lnTo>
                    <a:pt x="3252" y="1691"/>
                  </a:lnTo>
                  <a:lnTo>
                    <a:pt x="3192" y="1776"/>
                  </a:lnTo>
                  <a:lnTo>
                    <a:pt x="3240" y="1895"/>
                  </a:lnTo>
                  <a:lnTo>
                    <a:pt x="3240" y="2004"/>
                  </a:lnTo>
                  <a:lnTo>
                    <a:pt x="3179" y="2100"/>
                  </a:lnTo>
                  <a:lnTo>
                    <a:pt x="3182" y="2196"/>
                  </a:lnTo>
                  <a:lnTo>
                    <a:pt x="3285" y="2207"/>
                  </a:lnTo>
                  <a:lnTo>
                    <a:pt x="3362" y="2234"/>
                  </a:lnTo>
                  <a:lnTo>
                    <a:pt x="3383" y="2376"/>
                  </a:lnTo>
                  <a:lnTo>
                    <a:pt x="3455" y="2462"/>
                  </a:lnTo>
                  <a:lnTo>
                    <a:pt x="3336" y="2543"/>
                  </a:lnTo>
                  <a:lnTo>
                    <a:pt x="3326" y="2676"/>
                  </a:lnTo>
                  <a:lnTo>
                    <a:pt x="3275" y="2739"/>
                  </a:lnTo>
                  <a:lnTo>
                    <a:pt x="3312" y="2856"/>
                  </a:lnTo>
                  <a:lnTo>
                    <a:pt x="3197" y="2844"/>
                  </a:lnTo>
                  <a:lnTo>
                    <a:pt x="3105" y="2831"/>
                  </a:lnTo>
                  <a:lnTo>
                    <a:pt x="3000" y="2820"/>
                  </a:lnTo>
                  <a:lnTo>
                    <a:pt x="2894" y="2916"/>
                  </a:lnTo>
                  <a:lnTo>
                    <a:pt x="2775" y="2906"/>
                  </a:lnTo>
                  <a:lnTo>
                    <a:pt x="2661" y="2880"/>
                  </a:lnTo>
                  <a:lnTo>
                    <a:pt x="2412" y="2940"/>
                  </a:lnTo>
                  <a:lnTo>
                    <a:pt x="2364" y="3119"/>
                  </a:lnTo>
                  <a:lnTo>
                    <a:pt x="2400" y="3251"/>
                  </a:lnTo>
                  <a:lnTo>
                    <a:pt x="2388" y="3326"/>
                  </a:lnTo>
                  <a:lnTo>
                    <a:pt x="2243" y="3545"/>
                  </a:lnTo>
                  <a:lnTo>
                    <a:pt x="1956" y="3600"/>
                  </a:lnTo>
                  <a:lnTo>
                    <a:pt x="1620" y="3564"/>
                  </a:lnTo>
                  <a:lnTo>
                    <a:pt x="1524" y="3444"/>
                  </a:lnTo>
                  <a:lnTo>
                    <a:pt x="1397" y="3408"/>
                  </a:lnTo>
                  <a:lnTo>
                    <a:pt x="1440" y="3084"/>
                  </a:lnTo>
                  <a:lnTo>
                    <a:pt x="1476" y="2820"/>
                  </a:lnTo>
                  <a:lnTo>
                    <a:pt x="1332" y="2772"/>
                  </a:lnTo>
                  <a:lnTo>
                    <a:pt x="1164" y="2700"/>
                  </a:lnTo>
                  <a:lnTo>
                    <a:pt x="984" y="2784"/>
                  </a:lnTo>
                  <a:lnTo>
                    <a:pt x="972" y="2640"/>
                  </a:lnTo>
                  <a:lnTo>
                    <a:pt x="864" y="2580"/>
                  </a:lnTo>
                  <a:lnTo>
                    <a:pt x="780" y="2412"/>
                  </a:lnTo>
                  <a:lnTo>
                    <a:pt x="708" y="2292"/>
                  </a:lnTo>
                  <a:lnTo>
                    <a:pt x="684" y="2100"/>
                  </a:lnTo>
                  <a:lnTo>
                    <a:pt x="684" y="1968"/>
                  </a:lnTo>
                  <a:lnTo>
                    <a:pt x="720" y="1788"/>
                  </a:lnTo>
                  <a:lnTo>
                    <a:pt x="636" y="1728"/>
                  </a:lnTo>
                  <a:lnTo>
                    <a:pt x="516" y="1692"/>
                  </a:lnTo>
                  <a:lnTo>
                    <a:pt x="444" y="1596"/>
                  </a:lnTo>
                  <a:lnTo>
                    <a:pt x="336" y="1584"/>
                  </a:lnTo>
                  <a:lnTo>
                    <a:pt x="252" y="1464"/>
                  </a:lnTo>
                  <a:lnTo>
                    <a:pt x="192" y="1392"/>
                  </a:lnTo>
                  <a:lnTo>
                    <a:pt x="84" y="1356"/>
                  </a:lnTo>
                  <a:lnTo>
                    <a:pt x="0" y="1236"/>
                  </a:lnTo>
                  <a:lnTo>
                    <a:pt x="120" y="1260"/>
                  </a:lnTo>
                  <a:lnTo>
                    <a:pt x="252" y="1236"/>
                  </a:lnTo>
                  <a:lnTo>
                    <a:pt x="372" y="1332"/>
                  </a:lnTo>
                  <a:lnTo>
                    <a:pt x="456" y="1296"/>
                  </a:lnTo>
                  <a:lnTo>
                    <a:pt x="504" y="1212"/>
                  </a:lnTo>
                  <a:lnTo>
                    <a:pt x="624" y="1200"/>
                  </a:lnTo>
                  <a:lnTo>
                    <a:pt x="708" y="1140"/>
                  </a:lnTo>
                  <a:lnTo>
                    <a:pt x="804" y="1188"/>
                  </a:lnTo>
                  <a:lnTo>
                    <a:pt x="912" y="1200"/>
                  </a:lnTo>
                  <a:lnTo>
                    <a:pt x="1032" y="1188"/>
                  </a:lnTo>
                  <a:lnTo>
                    <a:pt x="1008" y="1056"/>
                  </a:lnTo>
                  <a:lnTo>
                    <a:pt x="1008" y="948"/>
                  </a:lnTo>
                  <a:lnTo>
                    <a:pt x="938" y="884"/>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5" name="Freeform 16">
              <a:extLst>
                <a:ext uri="{FF2B5EF4-FFF2-40B4-BE49-F238E27FC236}">
                  <a16:creationId xmlns:a16="http://schemas.microsoft.com/office/drawing/2014/main" id="{B2CDBC79-DDED-4061-83C0-905D136BC998}"/>
                </a:ext>
              </a:extLst>
            </p:cNvPr>
            <p:cNvSpPr>
              <a:spLocks/>
            </p:cNvSpPr>
            <p:nvPr/>
          </p:nvSpPr>
          <p:spPr bwMode="auto">
            <a:xfrm>
              <a:off x="4431075" y="1606859"/>
              <a:ext cx="653477" cy="1421031"/>
            </a:xfrm>
            <a:custGeom>
              <a:avLst/>
              <a:gdLst>
                <a:gd name="T0" fmla="*/ 102 w 2323"/>
                <a:gd name="T1" fmla="*/ 139 h 5047"/>
                <a:gd name="T2" fmla="*/ 12 w 2323"/>
                <a:gd name="T3" fmla="*/ 280 h 5047"/>
                <a:gd name="T4" fmla="*/ 85 w 2323"/>
                <a:gd name="T5" fmla="*/ 562 h 5047"/>
                <a:gd name="T6" fmla="*/ 97 w 2323"/>
                <a:gd name="T7" fmla="*/ 805 h 5047"/>
                <a:gd name="T8" fmla="*/ 12 w 2323"/>
                <a:gd name="T9" fmla="*/ 1113 h 5047"/>
                <a:gd name="T10" fmla="*/ 12 w 2323"/>
                <a:gd name="T11" fmla="*/ 1440 h 5047"/>
                <a:gd name="T12" fmla="*/ 171 w 2323"/>
                <a:gd name="T13" fmla="*/ 1533 h 5047"/>
                <a:gd name="T14" fmla="*/ 51 w 2323"/>
                <a:gd name="T15" fmla="*/ 1785 h 5047"/>
                <a:gd name="T16" fmla="*/ 72 w 2323"/>
                <a:gd name="T17" fmla="*/ 2058 h 5047"/>
                <a:gd name="T18" fmla="*/ 144 w 2323"/>
                <a:gd name="T19" fmla="*/ 2313 h 5047"/>
                <a:gd name="T20" fmla="*/ 229 w 2323"/>
                <a:gd name="T21" fmla="*/ 2529 h 5047"/>
                <a:gd name="T22" fmla="*/ 327 w 2323"/>
                <a:gd name="T23" fmla="*/ 2811 h 5047"/>
                <a:gd name="T24" fmla="*/ 447 w 2323"/>
                <a:gd name="T25" fmla="*/ 3034 h 5047"/>
                <a:gd name="T26" fmla="*/ 387 w 2323"/>
                <a:gd name="T27" fmla="*/ 3237 h 5047"/>
                <a:gd name="T28" fmla="*/ 408 w 2323"/>
                <a:gd name="T29" fmla="*/ 3406 h 5047"/>
                <a:gd name="T30" fmla="*/ 373 w 2323"/>
                <a:gd name="T31" fmla="*/ 3657 h 5047"/>
                <a:gd name="T32" fmla="*/ 253 w 2323"/>
                <a:gd name="T33" fmla="*/ 3909 h 5047"/>
                <a:gd name="T34" fmla="*/ 322 w 2323"/>
                <a:gd name="T35" fmla="*/ 4030 h 5047"/>
                <a:gd name="T36" fmla="*/ 276 w 2323"/>
                <a:gd name="T37" fmla="*/ 4248 h 5047"/>
                <a:gd name="T38" fmla="*/ 169 w 2323"/>
                <a:gd name="T39" fmla="*/ 4476 h 5047"/>
                <a:gd name="T40" fmla="*/ 156 w 2323"/>
                <a:gd name="T41" fmla="*/ 4644 h 5047"/>
                <a:gd name="T42" fmla="*/ 169 w 2323"/>
                <a:gd name="T43" fmla="*/ 4783 h 5047"/>
                <a:gd name="T44" fmla="*/ 291 w 2323"/>
                <a:gd name="T45" fmla="*/ 4908 h 5047"/>
                <a:gd name="T46" fmla="*/ 421 w 2323"/>
                <a:gd name="T47" fmla="*/ 4932 h 5047"/>
                <a:gd name="T48" fmla="*/ 610 w 2323"/>
                <a:gd name="T49" fmla="*/ 4659 h 5047"/>
                <a:gd name="T50" fmla="*/ 807 w 2323"/>
                <a:gd name="T51" fmla="*/ 4545 h 5047"/>
                <a:gd name="T52" fmla="*/ 841 w 2323"/>
                <a:gd name="T53" fmla="*/ 4438 h 5047"/>
                <a:gd name="T54" fmla="*/ 1129 w 2323"/>
                <a:gd name="T55" fmla="*/ 4080 h 5047"/>
                <a:gd name="T56" fmla="*/ 1123 w 2323"/>
                <a:gd name="T57" fmla="*/ 3799 h 5047"/>
                <a:gd name="T58" fmla="*/ 1225 w 2323"/>
                <a:gd name="T59" fmla="*/ 3361 h 5047"/>
                <a:gd name="T60" fmla="*/ 1428 w 2323"/>
                <a:gd name="T61" fmla="*/ 3142 h 5047"/>
                <a:gd name="T62" fmla="*/ 1837 w 2323"/>
                <a:gd name="T63" fmla="*/ 2926 h 5047"/>
                <a:gd name="T64" fmla="*/ 1837 w 2323"/>
                <a:gd name="T65" fmla="*/ 2548 h 5047"/>
                <a:gd name="T66" fmla="*/ 2071 w 2323"/>
                <a:gd name="T67" fmla="*/ 2296 h 5047"/>
                <a:gd name="T68" fmla="*/ 2323 w 2323"/>
                <a:gd name="T69" fmla="*/ 1864 h 5047"/>
                <a:gd name="T70" fmla="*/ 1836 w 2323"/>
                <a:gd name="T71" fmla="*/ 1173 h 5047"/>
                <a:gd name="T72" fmla="*/ 1384 w 2323"/>
                <a:gd name="T73" fmla="*/ 742 h 5047"/>
                <a:gd name="T74" fmla="*/ 1060 w 2323"/>
                <a:gd name="T75" fmla="*/ 444 h 5047"/>
                <a:gd name="T76" fmla="*/ 552 w 2323"/>
                <a:gd name="T77" fmla="*/ 94 h 5047"/>
                <a:gd name="T78" fmla="*/ 229 w 2323"/>
                <a:gd name="T79" fmla="*/ 82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3" h="5047">
                  <a:moveTo>
                    <a:pt x="229" y="82"/>
                  </a:moveTo>
                  <a:lnTo>
                    <a:pt x="102" y="139"/>
                  </a:lnTo>
                  <a:lnTo>
                    <a:pt x="0" y="190"/>
                  </a:lnTo>
                  <a:lnTo>
                    <a:pt x="12" y="280"/>
                  </a:lnTo>
                  <a:lnTo>
                    <a:pt x="73" y="432"/>
                  </a:lnTo>
                  <a:lnTo>
                    <a:pt x="85" y="562"/>
                  </a:lnTo>
                  <a:lnTo>
                    <a:pt x="72" y="696"/>
                  </a:lnTo>
                  <a:lnTo>
                    <a:pt x="97" y="805"/>
                  </a:lnTo>
                  <a:lnTo>
                    <a:pt x="24" y="913"/>
                  </a:lnTo>
                  <a:lnTo>
                    <a:pt x="12" y="1113"/>
                  </a:lnTo>
                  <a:lnTo>
                    <a:pt x="85" y="1222"/>
                  </a:lnTo>
                  <a:lnTo>
                    <a:pt x="12" y="1440"/>
                  </a:lnTo>
                  <a:lnTo>
                    <a:pt x="93" y="1461"/>
                  </a:lnTo>
                  <a:lnTo>
                    <a:pt x="171" y="1533"/>
                  </a:lnTo>
                  <a:lnTo>
                    <a:pt x="145" y="1678"/>
                  </a:lnTo>
                  <a:lnTo>
                    <a:pt x="51" y="1785"/>
                  </a:lnTo>
                  <a:lnTo>
                    <a:pt x="48" y="1944"/>
                  </a:lnTo>
                  <a:lnTo>
                    <a:pt x="72" y="2058"/>
                  </a:lnTo>
                  <a:lnTo>
                    <a:pt x="84" y="2217"/>
                  </a:lnTo>
                  <a:lnTo>
                    <a:pt x="144" y="2313"/>
                  </a:lnTo>
                  <a:lnTo>
                    <a:pt x="135" y="2470"/>
                  </a:lnTo>
                  <a:lnTo>
                    <a:pt x="229" y="2529"/>
                  </a:lnTo>
                  <a:lnTo>
                    <a:pt x="289" y="2673"/>
                  </a:lnTo>
                  <a:lnTo>
                    <a:pt x="327" y="2811"/>
                  </a:lnTo>
                  <a:lnTo>
                    <a:pt x="394" y="2910"/>
                  </a:lnTo>
                  <a:lnTo>
                    <a:pt x="447" y="3034"/>
                  </a:lnTo>
                  <a:lnTo>
                    <a:pt x="372" y="3153"/>
                  </a:lnTo>
                  <a:lnTo>
                    <a:pt x="387" y="3237"/>
                  </a:lnTo>
                  <a:lnTo>
                    <a:pt x="327" y="3298"/>
                  </a:lnTo>
                  <a:lnTo>
                    <a:pt x="408" y="3406"/>
                  </a:lnTo>
                  <a:lnTo>
                    <a:pt x="397" y="3519"/>
                  </a:lnTo>
                  <a:lnTo>
                    <a:pt x="373" y="3657"/>
                  </a:lnTo>
                  <a:lnTo>
                    <a:pt x="373" y="3874"/>
                  </a:lnTo>
                  <a:lnTo>
                    <a:pt x="253" y="3909"/>
                  </a:lnTo>
                  <a:lnTo>
                    <a:pt x="253" y="4006"/>
                  </a:lnTo>
                  <a:lnTo>
                    <a:pt x="322" y="4030"/>
                  </a:lnTo>
                  <a:lnTo>
                    <a:pt x="291" y="4152"/>
                  </a:lnTo>
                  <a:lnTo>
                    <a:pt x="276" y="4248"/>
                  </a:lnTo>
                  <a:lnTo>
                    <a:pt x="145" y="4210"/>
                  </a:lnTo>
                  <a:lnTo>
                    <a:pt x="169" y="4476"/>
                  </a:lnTo>
                  <a:lnTo>
                    <a:pt x="73" y="4546"/>
                  </a:lnTo>
                  <a:lnTo>
                    <a:pt x="156" y="4644"/>
                  </a:lnTo>
                  <a:lnTo>
                    <a:pt x="61" y="4797"/>
                  </a:lnTo>
                  <a:lnTo>
                    <a:pt x="169" y="4783"/>
                  </a:lnTo>
                  <a:lnTo>
                    <a:pt x="202" y="4834"/>
                  </a:lnTo>
                  <a:lnTo>
                    <a:pt x="291" y="4908"/>
                  </a:lnTo>
                  <a:lnTo>
                    <a:pt x="271" y="5047"/>
                  </a:lnTo>
                  <a:lnTo>
                    <a:pt x="421" y="4932"/>
                  </a:lnTo>
                  <a:lnTo>
                    <a:pt x="526" y="4767"/>
                  </a:lnTo>
                  <a:lnTo>
                    <a:pt x="610" y="4659"/>
                  </a:lnTo>
                  <a:lnTo>
                    <a:pt x="685" y="4548"/>
                  </a:lnTo>
                  <a:lnTo>
                    <a:pt x="807" y="4545"/>
                  </a:lnTo>
                  <a:lnTo>
                    <a:pt x="898" y="4486"/>
                  </a:lnTo>
                  <a:lnTo>
                    <a:pt x="841" y="4438"/>
                  </a:lnTo>
                  <a:lnTo>
                    <a:pt x="984" y="4198"/>
                  </a:lnTo>
                  <a:lnTo>
                    <a:pt x="1129" y="4080"/>
                  </a:lnTo>
                  <a:lnTo>
                    <a:pt x="1068" y="3955"/>
                  </a:lnTo>
                  <a:lnTo>
                    <a:pt x="1123" y="3799"/>
                  </a:lnTo>
                  <a:lnTo>
                    <a:pt x="1213" y="3483"/>
                  </a:lnTo>
                  <a:lnTo>
                    <a:pt x="1225" y="3361"/>
                  </a:lnTo>
                  <a:lnTo>
                    <a:pt x="1309" y="3261"/>
                  </a:lnTo>
                  <a:lnTo>
                    <a:pt x="1428" y="3142"/>
                  </a:lnTo>
                  <a:lnTo>
                    <a:pt x="1824" y="3142"/>
                  </a:lnTo>
                  <a:lnTo>
                    <a:pt x="1837" y="2926"/>
                  </a:lnTo>
                  <a:lnTo>
                    <a:pt x="1783" y="2746"/>
                  </a:lnTo>
                  <a:lnTo>
                    <a:pt x="1837" y="2548"/>
                  </a:lnTo>
                  <a:lnTo>
                    <a:pt x="1927" y="2404"/>
                  </a:lnTo>
                  <a:lnTo>
                    <a:pt x="2071" y="2296"/>
                  </a:lnTo>
                  <a:lnTo>
                    <a:pt x="2161" y="2098"/>
                  </a:lnTo>
                  <a:lnTo>
                    <a:pt x="2323" y="1864"/>
                  </a:lnTo>
                  <a:lnTo>
                    <a:pt x="2061" y="1396"/>
                  </a:lnTo>
                  <a:lnTo>
                    <a:pt x="1836" y="1173"/>
                  </a:lnTo>
                  <a:lnTo>
                    <a:pt x="1614" y="970"/>
                  </a:lnTo>
                  <a:lnTo>
                    <a:pt x="1384" y="742"/>
                  </a:lnTo>
                  <a:lnTo>
                    <a:pt x="1260" y="627"/>
                  </a:lnTo>
                  <a:lnTo>
                    <a:pt x="1060" y="444"/>
                  </a:lnTo>
                  <a:lnTo>
                    <a:pt x="753" y="207"/>
                  </a:lnTo>
                  <a:lnTo>
                    <a:pt x="552" y="94"/>
                  </a:lnTo>
                  <a:lnTo>
                    <a:pt x="331" y="0"/>
                  </a:lnTo>
                  <a:lnTo>
                    <a:pt x="229" y="82"/>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6" name="Freeform 17">
              <a:extLst>
                <a:ext uri="{FF2B5EF4-FFF2-40B4-BE49-F238E27FC236}">
                  <a16:creationId xmlns:a16="http://schemas.microsoft.com/office/drawing/2014/main" id="{2101E7E1-7E72-4DA5-9ED3-0081EC9D0609}"/>
                </a:ext>
              </a:extLst>
            </p:cNvPr>
            <p:cNvSpPr>
              <a:spLocks/>
            </p:cNvSpPr>
            <p:nvPr/>
          </p:nvSpPr>
          <p:spPr bwMode="auto">
            <a:xfrm>
              <a:off x="4921183" y="2784244"/>
              <a:ext cx="154919" cy="85910"/>
            </a:xfrm>
            <a:custGeom>
              <a:avLst/>
              <a:gdLst>
                <a:gd name="T0" fmla="*/ 170 w 547"/>
                <a:gd name="T1" fmla="*/ 101 h 301"/>
                <a:gd name="T2" fmla="*/ 88 w 547"/>
                <a:gd name="T3" fmla="*/ 138 h 301"/>
                <a:gd name="T4" fmla="*/ 24 w 547"/>
                <a:gd name="T5" fmla="*/ 183 h 301"/>
                <a:gd name="T6" fmla="*/ 0 w 547"/>
                <a:gd name="T7" fmla="*/ 256 h 301"/>
                <a:gd name="T8" fmla="*/ 93 w 547"/>
                <a:gd name="T9" fmla="*/ 301 h 301"/>
                <a:gd name="T10" fmla="*/ 237 w 547"/>
                <a:gd name="T11" fmla="*/ 267 h 301"/>
                <a:gd name="T12" fmla="*/ 367 w 547"/>
                <a:gd name="T13" fmla="*/ 279 h 301"/>
                <a:gd name="T14" fmla="*/ 393 w 547"/>
                <a:gd name="T15" fmla="*/ 136 h 301"/>
                <a:gd name="T16" fmla="*/ 490 w 547"/>
                <a:gd name="T17" fmla="*/ 109 h 301"/>
                <a:gd name="T18" fmla="*/ 547 w 547"/>
                <a:gd name="T19" fmla="*/ 73 h 301"/>
                <a:gd name="T20" fmla="*/ 490 w 547"/>
                <a:gd name="T21" fmla="*/ 0 h 301"/>
                <a:gd name="T22" fmla="*/ 435 w 547"/>
                <a:gd name="T23" fmla="*/ 37 h 301"/>
                <a:gd name="T24" fmla="*/ 371 w 547"/>
                <a:gd name="T25" fmla="*/ 83 h 301"/>
                <a:gd name="T26" fmla="*/ 307 w 547"/>
                <a:gd name="T27" fmla="*/ 138 h 301"/>
                <a:gd name="T28" fmla="*/ 252 w 547"/>
                <a:gd name="T29" fmla="*/ 156 h 301"/>
                <a:gd name="T30" fmla="*/ 170 w 547"/>
                <a:gd name="T31" fmla="*/ 1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7" h="301">
                  <a:moveTo>
                    <a:pt x="170" y="101"/>
                  </a:moveTo>
                  <a:lnTo>
                    <a:pt x="88" y="138"/>
                  </a:lnTo>
                  <a:lnTo>
                    <a:pt x="24" y="183"/>
                  </a:lnTo>
                  <a:lnTo>
                    <a:pt x="0" y="256"/>
                  </a:lnTo>
                  <a:lnTo>
                    <a:pt x="93" y="301"/>
                  </a:lnTo>
                  <a:lnTo>
                    <a:pt x="237" y="267"/>
                  </a:lnTo>
                  <a:lnTo>
                    <a:pt x="367" y="279"/>
                  </a:lnTo>
                  <a:lnTo>
                    <a:pt x="393" y="136"/>
                  </a:lnTo>
                  <a:lnTo>
                    <a:pt x="490" y="109"/>
                  </a:lnTo>
                  <a:lnTo>
                    <a:pt x="547" y="73"/>
                  </a:lnTo>
                  <a:lnTo>
                    <a:pt x="490" y="0"/>
                  </a:lnTo>
                  <a:lnTo>
                    <a:pt x="435" y="37"/>
                  </a:lnTo>
                  <a:lnTo>
                    <a:pt x="371" y="83"/>
                  </a:lnTo>
                  <a:lnTo>
                    <a:pt x="307" y="138"/>
                  </a:lnTo>
                  <a:lnTo>
                    <a:pt x="252" y="156"/>
                  </a:lnTo>
                  <a:lnTo>
                    <a:pt x="170" y="101"/>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grpSp>
          <p:nvGrpSpPr>
            <p:cNvPr id="17" name="组合 64">
              <a:extLst>
                <a:ext uri="{FF2B5EF4-FFF2-40B4-BE49-F238E27FC236}">
                  <a16:creationId xmlns:a16="http://schemas.microsoft.com/office/drawing/2014/main" id="{8D9CDE71-9ED8-43FE-990B-2C5D033BFE16}"/>
                </a:ext>
              </a:extLst>
            </p:cNvPr>
            <p:cNvGrpSpPr/>
            <p:nvPr/>
          </p:nvGrpSpPr>
          <p:grpSpPr>
            <a:xfrm>
              <a:off x="73944" y="1790476"/>
              <a:ext cx="1871590" cy="790251"/>
              <a:chOff x="416520" y="4774171"/>
              <a:chExt cx="2109658" cy="890772"/>
            </a:xfrm>
          </p:grpSpPr>
          <p:sp>
            <p:nvSpPr>
              <p:cNvPr id="18" name="圆角矩形 111">
                <a:extLst>
                  <a:ext uri="{FF2B5EF4-FFF2-40B4-BE49-F238E27FC236}">
                    <a16:creationId xmlns:a16="http://schemas.microsoft.com/office/drawing/2014/main" id="{5E665367-1A08-451A-B772-E816A08577BB}"/>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9" name="圆角矩形 45">
                <a:extLst>
                  <a:ext uri="{FF2B5EF4-FFF2-40B4-BE49-F238E27FC236}">
                    <a16:creationId xmlns:a16="http://schemas.microsoft.com/office/drawing/2014/main" id="{B1677368-A0A9-47C2-8104-CC8A8281FA3A}"/>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Oromia</a:t>
                </a:r>
                <a:endParaRPr lang="en-US" altLang="zh-CN" sz="1050" b="1" kern="0" dirty="0"/>
              </a:p>
            </p:txBody>
          </p:sp>
          <p:sp>
            <p:nvSpPr>
              <p:cNvPr id="20" name="Text Box 16">
                <a:extLst>
                  <a:ext uri="{FF2B5EF4-FFF2-40B4-BE49-F238E27FC236}">
                    <a16:creationId xmlns:a16="http://schemas.microsoft.com/office/drawing/2014/main" id="{4B955912-4766-4979-8275-5D2B3118ABE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36</a:t>
                </a:r>
              </a:p>
            </p:txBody>
          </p:sp>
        </p:grpSp>
        <p:sp>
          <p:nvSpPr>
            <p:cNvPr id="21" name="Oval 25">
              <a:extLst>
                <a:ext uri="{FF2B5EF4-FFF2-40B4-BE49-F238E27FC236}">
                  <a16:creationId xmlns:a16="http://schemas.microsoft.com/office/drawing/2014/main" id="{C32D6F10-81A4-41BC-9212-25815DCA592D}"/>
                </a:ext>
              </a:extLst>
            </p:cNvPr>
            <p:cNvSpPr>
              <a:spLocks noChangeArrowheads="1"/>
            </p:cNvSpPr>
            <p:nvPr/>
          </p:nvSpPr>
          <p:spPr bwMode="gray">
            <a:xfrm>
              <a:off x="3727920" y="297025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2" name="肘形连接符 66">
              <a:extLst>
                <a:ext uri="{FF2B5EF4-FFF2-40B4-BE49-F238E27FC236}">
                  <a16:creationId xmlns:a16="http://schemas.microsoft.com/office/drawing/2014/main" id="{355DB5E8-13CB-477D-B1BF-7F8105A96E06}"/>
                </a:ext>
              </a:extLst>
            </p:cNvPr>
            <p:cNvCxnSpPr>
              <a:cxnSpLocks/>
              <a:stCxn id="21" idx="2"/>
              <a:endCxn id="18" idx="3"/>
            </p:cNvCxnSpPr>
            <p:nvPr/>
          </p:nvCxnSpPr>
          <p:spPr>
            <a:xfrm rot="10800000">
              <a:off x="1945534" y="2266776"/>
              <a:ext cx="1782386" cy="751748"/>
            </a:xfrm>
            <a:prstGeom prst="bentConnector3">
              <a:avLst>
                <a:gd name="adj1" fmla="val 69999"/>
              </a:avLst>
            </a:prstGeom>
            <a:noFill/>
            <a:ln w="9525">
              <a:solidFill>
                <a:srgbClr val="C00000"/>
              </a:solidFill>
              <a:prstDash val="sysDash"/>
              <a:miter lim="800000"/>
              <a:headEnd/>
              <a:tailEnd/>
            </a:ln>
          </p:spPr>
        </p:cxnSp>
        <p:grpSp>
          <p:nvGrpSpPr>
            <p:cNvPr id="23" name="组合 67">
              <a:extLst>
                <a:ext uri="{FF2B5EF4-FFF2-40B4-BE49-F238E27FC236}">
                  <a16:creationId xmlns:a16="http://schemas.microsoft.com/office/drawing/2014/main" id="{724F1D65-F89E-4F3C-B6E4-32E281865FAA}"/>
                </a:ext>
              </a:extLst>
            </p:cNvPr>
            <p:cNvGrpSpPr/>
            <p:nvPr/>
          </p:nvGrpSpPr>
          <p:grpSpPr>
            <a:xfrm>
              <a:off x="75498" y="33920"/>
              <a:ext cx="1871590" cy="790251"/>
              <a:chOff x="416520" y="4774171"/>
              <a:chExt cx="2109658" cy="890772"/>
            </a:xfrm>
          </p:grpSpPr>
          <p:sp>
            <p:nvSpPr>
              <p:cNvPr id="24" name="圆角矩形 108">
                <a:extLst>
                  <a:ext uri="{FF2B5EF4-FFF2-40B4-BE49-F238E27FC236}">
                    <a16:creationId xmlns:a16="http://schemas.microsoft.com/office/drawing/2014/main" id="{6FF76637-E745-4F82-B0B7-E94F47B645F7}"/>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25" name="圆角矩形 45">
                <a:extLst>
                  <a:ext uri="{FF2B5EF4-FFF2-40B4-BE49-F238E27FC236}">
                    <a16:creationId xmlns:a16="http://schemas.microsoft.com/office/drawing/2014/main" id="{4D73194C-5A8F-4D37-9268-1AAFC446004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Amhara</a:t>
                </a:r>
                <a:endParaRPr lang="en-US" altLang="zh-CN" sz="1050" b="1" kern="0" dirty="0"/>
              </a:p>
            </p:txBody>
          </p:sp>
          <p:sp>
            <p:nvSpPr>
              <p:cNvPr id="26" name="Text Box 16">
                <a:extLst>
                  <a:ext uri="{FF2B5EF4-FFF2-40B4-BE49-F238E27FC236}">
                    <a16:creationId xmlns:a16="http://schemas.microsoft.com/office/drawing/2014/main" id="{A891C8F9-C3A9-4458-B569-EC1333C52D01}"/>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3</a:t>
                </a:r>
              </a:p>
            </p:txBody>
          </p:sp>
        </p:grpSp>
        <p:sp>
          <p:nvSpPr>
            <p:cNvPr id="27" name="Oval 25">
              <a:extLst>
                <a:ext uri="{FF2B5EF4-FFF2-40B4-BE49-F238E27FC236}">
                  <a16:creationId xmlns:a16="http://schemas.microsoft.com/office/drawing/2014/main" id="{1EEF8CB0-238E-4B62-9CB5-151DDCBD984B}"/>
                </a:ext>
              </a:extLst>
            </p:cNvPr>
            <p:cNvSpPr>
              <a:spLocks noChangeArrowheads="1"/>
            </p:cNvSpPr>
            <p:nvPr/>
          </p:nvSpPr>
          <p:spPr bwMode="gray">
            <a:xfrm>
              <a:off x="4063949" y="230496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8" name="肘形连接符 69">
              <a:extLst>
                <a:ext uri="{FF2B5EF4-FFF2-40B4-BE49-F238E27FC236}">
                  <a16:creationId xmlns:a16="http://schemas.microsoft.com/office/drawing/2014/main" id="{1FB619FC-C6C0-4060-A3C7-0EF0D76463DD}"/>
                </a:ext>
              </a:extLst>
            </p:cNvPr>
            <p:cNvCxnSpPr>
              <a:cxnSpLocks/>
              <a:stCxn id="27" idx="2"/>
              <a:endCxn id="24" idx="3"/>
            </p:cNvCxnSpPr>
            <p:nvPr/>
          </p:nvCxnSpPr>
          <p:spPr>
            <a:xfrm rot="10800000">
              <a:off x="1947089" y="510221"/>
              <a:ext cx="2116861" cy="1843014"/>
            </a:xfrm>
            <a:prstGeom prst="bentConnector3">
              <a:avLst>
                <a:gd name="adj1" fmla="val 33527"/>
              </a:avLst>
            </a:prstGeom>
            <a:noFill/>
            <a:ln w="9525">
              <a:solidFill>
                <a:srgbClr val="C00000"/>
              </a:solidFill>
              <a:prstDash val="sysDash"/>
              <a:miter lim="800000"/>
              <a:headEnd/>
              <a:tailEnd/>
            </a:ln>
          </p:spPr>
        </p:cxnSp>
        <p:grpSp>
          <p:nvGrpSpPr>
            <p:cNvPr id="29" name="组合 70">
              <a:extLst>
                <a:ext uri="{FF2B5EF4-FFF2-40B4-BE49-F238E27FC236}">
                  <a16:creationId xmlns:a16="http://schemas.microsoft.com/office/drawing/2014/main" id="{938A93DD-6989-4B28-92C1-3685E1C0601E}"/>
                </a:ext>
              </a:extLst>
            </p:cNvPr>
            <p:cNvGrpSpPr/>
            <p:nvPr/>
          </p:nvGrpSpPr>
          <p:grpSpPr>
            <a:xfrm>
              <a:off x="7145440" y="3821093"/>
              <a:ext cx="1871590" cy="865124"/>
              <a:chOff x="416520" y="4774171"/>
              <a:chExt cx="2109658" cy="975169"/>
            </a:xfrm>
          </p:grpSpPr>
          <p:sp>
            <p:nvSpPr>
              <p:cNvPr id="30" name="圆角矩形 103">
                <a:extLst>
                  <a:ext uri="{FF2B5EF4-FFF2-40B4-BE49-F238E27FC236}">
                    <a16:creationId xmlns:a16="http://schemas.microsoft.com/office/drawing/2014/main" id="{B9D541A9-098D-4F75-B40C-171EFB245E53}"/>
                  </a:ext>
                </a:extLst>
              </p:cNvPr>
              <p:cNvSpPr/>
              <p:nvPr/>
            </p:nvSpPr>
            <p:spPr>
              <a:xfrm>
                <a:off x="416520" y="4964089"/>
                <a:ext cx="2109658" cy="78525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1" name="圆角矩形 45">
                <a:extLst>
                  <a:ext uri="{FF2B5EF4-FFF2-40B4-BE49-F238E27FC236}">
                    <a16:creationId xmlns:a16="http://schemas.microsoft.com/office/drawing/2014/main" id="{7CFAA479-ECD6-470B-A2E8-BD7CCC698FBE}"/>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omali</a:t>
                </a:r>
              </a:p>
            </p:txBody>
          </p:sp>
          <p:sp>
            <p:nvSpPr>
              <p:cNvPr id="32" name="Text Box 16">
                <a:extLst>
                  <a:ext uri="{FF2B5EF4-FFF2-40B4-BE49-F238E27FC236}">
                    <a16:creationId xmlns:a16="http://schemas.microsoft.com/office/drawing/2014/main" id="{F322A253-FF51-4587-A795-37FC25BDE30C}"/>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9</a:t>
                </a:r>
              </a:p>
            </p:txBody>
          </p:sp>
        </p:grpSp>
        <p:sp>
          <p:nvSpPr>
            <p:cNvPr id="33" name="Oval 25">
              <a:extLst>
                <a:ext uri="{FF2B5EF4-FFF2-40B4-BE49-F238E27FC236}">
                  <a16:creationId xmlns:a16="http://schemas.microsoft.com/office/drawing/2014/main" id="{75323E5C-5055-492D-B326-05BCB04B538F}"/>
                </a:ext>
              </a:extLst>
            </p:cNvPr>
            <p:cNvSpPr>
              <a:spLocks noChangeArrowheads="1"/>
            </p:cNvSpPr>
            <p:nvPr/>
          </p:nvSpPr>
          <p:spPr bwMode="gray">
            <a:xfrm>
              <a:off x="5606145" y="3365781"/>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34" name="肘形连接符 72">
              <a:extLst>
                <a:ext uri="{FF2B5EF4-FFF2-40B4-BE49-F238E27FC236}">
                  <a16:creationId xmlns:a16="http://schemas.microsoft.com/office/drawing/2014/main" id="{FB45BB5F-12D5-412C-9543-6173A9441769}"/>
                </a:ext>
              </a:extLst>
            </p:cNvPr>
            <p:cNvCxnSpPr>
              <a:cxnSpLocks/>
              <a:stCxn id="33" idx="6"/>
              <a:endCxn id="30" idx="1"/>
            </p:cNvCxnSpPr>
            <p:nvPr/>
          </p:nvCxnSpPr>
          <p:spPr>
            <a:xfrm>
              <a:off x="5702686" y="3414052"/>
              <a:ext cx="1442754" cy="923847"/>
            </a:xfrm>
            <a:prstGeom prst="bentConnector3">
              <a:avLst>
                <a:gd name="adj1" fmla="val 50000"/>
              </a:avLst>
            </a:prstGeom>
            <a:noFill/>
            <a:ln w="9525">
              <a:solidFill>
                <a:srgbClr val="C00000"/>
              </a:solidFill>
              <a:prstDash val="sysDash"/>
              <a:miter lim="800000"/>
              <a:headEnd/>
              <a:tailEnd/>
            </a:ln>
          </p:spPr>
        </p:cxnSp>
        <p:grpSp>
          <p:nvGrpSpPr>
            <p:cNvPr id="35" name="组合 82">
              <a:extLst>
                <a:ext uri="{FF2B5EF4-FFF2-40B4-BE49-F238E27FC236}">
                  <a16:creationId xmlns:a16="http://schemas.microsoft.com/office/drawing/2014/main" id="{2B9DBF8E-98F3-4AAF-AE6D-4CABAE4FB6E0}"/>
                </a:ext>
              </a:extLst>
            </p:cNvPr>
            <p:cNvGrpSpPr/>
            <p:nvPr/>
          </p:nvGrpSpPr>
          <p:grpSpPr>
            <a:xfrm>
              <a:off x="75498" y="3582943"/>
              <a:ext cx="1871590" cy="790251"/>
              <a:chOff x="416520" y="4774171"/>
              <a:chExt cx="2109658" cy="890772"/>
            </a:xfrm>
          </p:grpSpPr>
          <p:sp>
            <p:nvSpPr>
              <p:cNvPr id="36" name="圆角矩形 97">
                <a:extLst>
                  <a:ext uri="{FF2B5EF4-FFF2-40B4-BE49-F238E27FC236}">
                    <a16:creationId xmlns:a16="http://schemas.microsoft.com/office/drawing/2014/main" id="{234A2F52-783F-4160-93B4-CDE4CD679102}"/>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7" name="圆角矩形 45">
                <a:extLst>
                  <a:ext uri="{FF2B5EF4-FFF2-40B4-BE49-F238E27FC236}">
                    <a16:creationId xmlns:a16="http://schemas.microsoft.com/office/drawing/2014/main" id="{D4BC0CC7-5189-44F0-9815-C6290369331E}"/>
                  </a:ext>
                </a:extLst>
              </p:cNvPr>
              <p:cNvSpPr/>
              <p:nvPr/>
            </p:nvSpPr>
            <p:spPr>
              <a:xfrm>
                <a:off x="528442" y="4774171"/>
                <a:ext cx="1885814" cy="536888"/>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NNPR</a:t>
                </a:r>
              </a:p>
            </p:txBody>
          </p:sp>
          <p:sp>
            <p:nvSpPr>
              <p:cNvPr id="38" name="Text Box 16">
                <a:extLst>
                  <a:ext uri="{FF2B5EF4-FFF2-40B4-BE49-F238E27FC236}">
                    <a16:creationId xmlns:a16="http://schemas.microsoft.com/office/drawing/2014/main" id="{6E9A6A41-1075-48B6-8869-A1A4A98035A4}"/>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27</a:t>
                </a:r>
              </a:p>
            </p:txBody>
          </p:sp>
        </p:grpSp>
        <p:sp>
          <p:nvSpPr>
            <p:cNvPr id="39" name="Oval 25">
              <a:extLst>
                <a:ext uri="{FF2B5EF4-FFF2-40B4-BE49-F238E27FC236}">
                  <a16:creationId xmlns:a16="http://schemas.microsoft.com/office/drawing/2014/main" id="{7C6F0CAF-6F92-483B-AF87-4CB18571CE66}"/>
                </a:ext>
              </a:extLst>
            </p:cNvPr>
            <p:cNvSpPr>
              <a:spLocks noChangeArrowheads="1"/>
            </p:cNvSpPr>
            <p:nvPr/>
          </p:nvSpPr>
          <p:spPr bwMode="gray">
            <a:xfrm>
              <a:off x="4138838" y="297602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40" name="肘形连接符 96">
              <a:extLst>
                <a:ext uri="{FF2B5EF4-FFF2-40B4-BE49-F238E27FC236}">
                  <a16:creationId xmlns:a16="http://schemas.microsoft.com/office/drawing/2014/main" id="{C98FD2D6-4C85-46F0-9545-E44C0594418E}"/>
                </a:ext>
              </a:extLst>
            </p:cNvPr>
            <p:cNvCxnSpPr>
              <a:cxnSpLocks/>
              <a:stCxn id="39" idx="6"/>
              <a:endCxn id="71" idx="1"/>
            </p:cNvCxnSpPr>
            <p:nvPr/>
          </p:nvCxnSpPr>
          <p:spPr>
            <a:xfrm>
              <a:off x="4235379" y="3024300"/>
              <a:ext cx="303203" cy="1700079"/>
            </a:xfrm>
            <a:prstGeom prst="bentConnector3">
              <a:avLst>
                <a:gd name="adj1" fmla="val 50000"/>
              </a:avLst>
            </a:prstGeom>
            <a:noFill/>
            <a:ln w="9525">
              <a:solidFill>
                <a:srgbClr val="C00000"/>
              </a:solidFill>
              <a:prstDash val="sysDash"/>
              <a:miter lim="800000"/>
              <a:headEnd/>
              <a:tailEnd/>
            </a:ln>
          </p:spPr>
        </p:cxnSp>
        <p:grpSp>
          <p:nvGrpSpPr>
            <p:cNvPr id="41" name="组合 70">
              <a:extLst>
                <a:ext uri="{FF2B5EF4-FFF2-40B4-BE49-F238E27FC236}">
                  <a16:creationId xmlns:a16="http://schemas.microsoft.com/office/drawing/2014/main" id="{4D3D895E-7491-48D6-8994-4271093A8454}"/>
                </a:ext>
              </a:extLst>
            </p:cNvPr>
            <p:cNvGrpSpPr/>
            <p:nvPr/>
          </p:nvGrpSpPr>
          <p:grpSpPr>
            <a:xfrm>
              <a:off x="7141017" y="1747949"/>
              <a:ext cx="1871590" cy="865124"/>
              <a:chOff x="416520" y="4774171"/>
              <a:chExt cx="2109658" cy="975169"/>
            </a:xfrm>
          </p:grpSpPr>
          <p:sp>
            <p:nvSpPr>
              <p:cNvPr id="42" name="圆角矩形 103">
                <a:extLst>
                  <a:ext uri="{FF2B5EF4-FFF2-40B4-BE49-F238E27FC236}">
                    <a16:creationId xmlns:a16="http://schemas.microsoft.com/office/drawing/2014/main" id="{5EE43F11-9F99-4A74-8979-B22B8150CD8C}"/>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43" name="圆角矩形 45">
                <a:extLst>
                  <a:ext uri="{FF2B5EF4-FFF2-40B4-BE49-F238E27FC236}">
                    <a16:creationId xmlns:a16="http://schemas.microsoft.com/office/drawing/2014/main" id="{EB56C34B-CE67-49B7-8237-A35262C14948}"/>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Dire </a:t>
                </a:r>
                <a:r>
                  <a:rPr lang="en-US" altLang="zh-CN" sz="1050" b="1" kern="0" dirty="0" err="1"/>
                  <a:t>Dawa</a:t>
                </a:r>
                <a:endParaRPr lang="en-US" altLang="zh-CN" sz="1050" b="1" kern="0" dirty="0"/>
              </a:p>
            </p:txBody>
          </p:sp>
          <p:sp>
            <p:nvSpPr>
              <p:cNvPr id="44" name="Text Box 16">
                <a:extLst>
                  <a:ext uri="{FF2B5EF4-FFF2-40B4-BE49-F238E27FC236}">
                    <a16:creationId xmlns:a16="http://schemas.microsoft.com/office/drawing/2014/main" id="{084C8F93-E005-43E3-BB08-E7C50990B26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0" name="组合 64">
              <a:extLst>
                <a:ext uri="{FF2B5EF4-FFF2-40B4-BE49-F238E27FC236}">
                  <a16:creationId xmlns:a16="http://schemas.microsoft.com/office/drawing/2014/main" id="{30EAE193-56AF-462A-8CCF-6DFC7FB909B6}"/>
                </a:ext>
              </a:extLst>
            </p:cNvPr>
            <p:cNvGrpSpPr/>
            <p:nvPr/>
          </p:nvGrpSpPr>
          <p:grpSpPr>
            <a:xfrm>
              <a:off x="67968" y="2698050"/>
              <a:ext cx="1871590" cy="790251"/>
              <a:chOff x="416520" y="4774171"/>
              <a:chExt cx="2109658" cy="890772"/>
            </a:xfrm>
          </p:grpSpPr>
          <p:sp>
            <p:nvSpPr>
              <p:cNvPr id="51" name="圆角矩形 111">
                <a:extLst>
                  <a:ext uri="{FF2B5EF4-FFF2-40B4-BE49-F238E27FC236}">
                    <a16:creationId xmlns:a16="http://schemas.microsoft.com/office/drawing/2014/main" id="{AE0E8456-5495-42E5-A73F-87624A45681C}"/>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2" name="圆角矩形 45">
                <a:extLst>
                  <a:ext uri="{FF2B5EF4-FFF2-40B4-BE49-F238E27FC236}">
                    <a16:creationId xmlns:a16="http://schemas.microsoft.com/office/drawing/2014/main" id="{05E25267-7FDA-4CF9-BA84-305BF31792E4}"/>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Gambella</a:t>
                </a:r>
                <a:endParaRPr lang="en-US" altLang="zh-CN" sz="1050" b="1" kern="0" dirty="0"/>
              </a:p>
            </p:txBody>
          </p:sp>
          <p:sp>
            <p:nvSpPr>
              <p:cNvPr id="53" name="Text Box 16">
                <a:extLst>
                  <a:ext uri="{FF2B5EF4-FFF2-40B4-BE49-F238E27FC236}">
                    <a16:creationId xmlns:a16="http://schemas.microsoft.com/office/drawing/2014/main" id="{342572EC-14F0-4DB1-BFB4-95C228B02A2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4" name="组合 67">
              <a:extLst>
                <a:ext uri="{FF2B5EF4-FFF2-40B4-BE49-F238E27FC236}">
                  <a16:creationId xmlns:a16="http://schemas.microsoft.com/office/drawing/2014/main" id="{6E5B4320-4D97-4B9E-B5FA-B6D0A9D0106E}"/>
                </a:ext>
              </a:extLst>
            </p:cNvPr>
            <p:cNvGrpSpPr/>
            <p:nvPr/>
          </p:nvGrpSpPr>
          <p:grpSpPr>
            <a:xfrm>
              <a:off x="75498" y="893742"/>
              <a:ext cx="1871590" cy="790251"/>
              <a:chOff x="416520" y="4774171"/>
              <a:chExt cx="2109658" cy="890772"/>
            </a:xfrm>
          </p:grpSpPr>
          <p:sp>
            <p:nvSpPr>
              <p:cNvPr id="55" name="圆角矩形 108">
                <a:extLst>
                  <a:ext uri="{FF2B5EF4-FFF2-40B4-BE49-F238E27FC236}">
                    <a16:creationId xmlns:a16="http://schemas.microsoft.com/office/drawing/2014/main" id="{98764514-5B68-4668-86C8-4D9597BDC9E5}"/>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6" name="圆角矩形 45">
                <a:extLst>
                  <a:ext uri="{FF2B5EF4-FFF2-40B4-BE49-F238E27FC236}">
                    <a16:creationId xmlns:a16="http://schemas.microsoft.com/office/drawing/2014/main" id="{32A417A9-B914-463B-A5F7-EEF561C48D79}"/>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a:r>
                  <a:rPr lang="en-US" altLang="zh-CN" sz="1050" b="1" kern="0" dirty="0" err="1"/>
                  <a:t>Benishangu</a:t>
                </a:r>
                <a:endParaRPr lang="en-US" altLang="zh-CN" sz="1050" b="1" kern="0" dirty="0"/>
              </a:p>
            </p:txBody>
          </p:sp>
          <p:sp>
            <p:nvSpPr>
              <p:cNvPr id="57" name="Text Box 16">
                <a:extLst>
                  <a:ext uri="{FF2B5EF4-FFF2-40B4-BE49-F238E27FC236}">
                    <a16:creationId xmlns:a16="http://schemas.microsoft.com/office/drawing/2014/main" id="{7985AD28-3535-497A-8C16-20C20A7AD2C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cxnSp>
          <p:nvCxnSpPr>
            <p:cNvPr id="58" name="肘形连接符 69">
              <a:extLst>
                <a:ext uri="{FF2B5EF4-FFF2-40B4-BE49-F238E27FC236}">
                  <a16:creationId xmlns:a16="http://schemas.microsoft.com/office/drawing/2014/main" id="{88825988-ACC8-4991-8349-89F7708F0544}"/>
                </a:ext>
              </a:extLst>
            </p:cNvPr>
            <p:cNvCxnSpPr>
              <a:cxnSpLocks/>
              <a:stCxn id="62" idx="2"/>
              <a:endCxn id="55" idx="3"/>
            </p:cNvCxnSpPr>
            <p:nvPr/>
          </p:nvCxnSpPr>
          <p:spPr>
            <a:xfrm rot="10800000">
              <a:off x="1947088" y="1370044"/>
              <a:ext cx="1410756" cy="1145591"/>
            </a:xfrm>
            <a:prstGeom prst="bentConnector3">
              <a:avLst>
                <a:gd name="adj1" fmla="val 35169"/>
              </a:avLst>
            </a:prstGeom>
            <a:noFill/>
            <a:ln w="9525">
              <a:solidFill>
                <a:srgbClr val="C00000"/>
              </a:solidFill>
              <a:prstDash val="sysDash"/>
              <a:miter lim="800000"/>
              <a:headEnd/>
              <a:tailEnd/>
            </a:ln>
          </p:spPr>
        </p:cxnSp>
        <p:sp>
          <p:nvSpPr>
            <p:cNvPr id="62" name="Oval 25">
              <a:extLst>
                <a:ext uri="{FF2B5EF4-FFF2-40B4-BE49-F238E27FC236}">
                  <a16:creationId xmlns:a16="http://schemas.microsoft.com/office/drawing/2014/main" id="{C9E1F3BA-5535-4734-A4DA-9EC7D7F665FE}"/>
                </a:ext>
              </a:extLst>
            </p:cNvPr>
            <p:cNvSpPr>
              <a:spLocks noChangeArrowheads="1"/>
            </p:cNvSpPr>
            <p:nvPr/>
          </p:nvSpPr>
          <p:spPr bwMode="gray">
            <a:xfrm>
              <a:off x="3357844" y="24673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64" name="肘形连接符 69">
              <a:extLst>
                <a:ext uri="{FF2B5EF4-FFF2-40B4-BE49-F238E27FC236}">
                  <a16:creationId xmlns:a16="http://schemas.microsoft.com/office/drawing/2014/main" id="{5F881C9B-6FD7-4D13-939C-7381F613CA59}"/>
                </a:ext>
              </a:extLst>
            </p:cNvPr>
            <p:cNvCxnSpPr>
              <a:cxnSpLocks/>
              <a:stCxn id="65" idx="2"/>
              <a:endCxn id="51" idx="3"/>
            </p:cNvCxnSpPr>
            <p:nvPr/>
          </p:nvCxnSpPr>
          <p:spPr>
            <a:xfrm rot="10800000">
              <a:off x="1939558" y="3174350"/>
              <a:ext cx="1086134" cy="155630"/>
            </a:xfrm>
            <a:prstGeom prst="bentConnector3">
              <a:avLst>
                <a:gd name="adj1" fmla="val 50000"/>
              </a:avLst>
            </a:prstGeom>
            <a:noFill/>
            <a:ln w="9525">
              <a:solidFill>
                <a:srgbClr val="C00000"/>
              </a:solidFill>
              <a:prstDash val="sysDash"/>
              <a:miter lim="800000"/>
              <a:headEnd/>
              <a:tailEnd/>
            </a:ln>
          </p:spPr>
        </p:cxnSp>
        <p:sp>
          <p:nvSpPr>
            <p:cNvPr id="65" name="Oval 25">
              <a:extLst>
                <a:ext uri="{FF2B5EF4-FFF2-40B4-BE49-F238E27FC236}">
                  <a16:creationId xmlns:a16="http://schemas.microsoft.com/office/drawing/2014/main" id="{65B295EA-49F4-4C44-8071-5438CBC7096F}"/>
                </a:ext>
              </a:extLst>
            </p:cNvPr>
            <p:cNvSpPr>
              <a:spLocks noChangeArrowheads="1"/>
            </p:cNvSpPr>
            <p:nvPr/>
          </p:nvSpPr>
          <p:spPr bwMode="gray">
            <a:xfrm>
              <a:off x="3025692" y="328170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grpSp>
          <p:nvGrpSpPr>
            <p:cNvPr id="70" name="组合 64">
              <a:extLst>
                <a:ext uri="{FF2B5EF4-FFF2-40B4-BE49-F238E27FC236}">
                  <a16:creationId xmlns:a16="http://schemas.microsoft.com/office/drawing/2014/main" id="{7AAE5CD7-74BF-48C2-BC1F-1EFAF4E64F85}"/>
                </a:ext>
              </a:extLst>
            </p:cNvPr>
            <p:cNvGrpSpPr/>
            <p:nvPr/>
          </p:nvGrpSpPr>
          <p:grpSpPr>
            <a:xfrm>
              <a:off x="4538582" y="4248080"/>
              <a:ext cx="1871590" cy="1016860"/>
              <a:chOff x="416520" y="4774171"/>
              <a:chExt cx="2109658" cy="1146206"/>
            </a:xfrm>
          </p:grpSpPr>
          <p:sp>
            <p:nvSpPr>
              <p:cNvPr id="71" name="圆角矩形 111">
                <a:extLst>
                  <a:ext uri="{FF2B5EF4-FFF2-40B4-BE49-F238E27FC236}">
                    <a16:creationId xmlns:a16="http://schemas.microsoft.com/office/drawing/2014/main" id="{1F4174F9-786F-4A50-8E2F-6EA8D21B048D}"/>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72" name="圆角矩形 45">
                <a:extLst>
                  <a:ext uri="{FF2B5EF4-FFF2-40B4-BE49-F238E27FC236}">
                    <a16:creationId xmlns:a16="http://schemas.microsoft.com/office/drawing/2014/main" id="{CE30310A-DF3F-4809-B212-ABFDB74F27E8}"/>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ddis </a:t>
                </a:r>
                <a:r>
                  <a:rPr lang="en-US" altLang="zh-CN" sz="1050" b="1" kern="0" dirty="0" err="1"/>
                  <a:t>Addiba</a:t>
                </a:r>
                <a:endParaRPr lang="en-US" altLang="zh-CN" sz="1050" b="1" kern="0" dirty="0"/>
              </a:p>
            </p:txBody>
          </p:sp>
          <p:sp>
            <p:nvSpPr>
              <p:cNvPr id="73" name="Text Box 16">
                <a:extLst>
                  <a:ext uri="{FF2B5EF4-FFF2-40B4-BE49-F238E27FC236}">
                    <a16:creationId xmlns:a16="http://schemas.microsoft.com/office/drawing/2014/main" id="{B1C3C83E-21F1-4F0F-935D-DD830F78ABCE}"/>
                  </a:ext>
                </a:extLst>
              </p:cNvPr>
              <p:cNvSpPr txBox="1">
                <a:spLocks noChangeArrowheads="1"/>
              </p:cNvSpPr>
              <p:nvPr/>
            </p:nvSpPr>
            <p:spPr bwMode="auto">
              <a:xfrm>
                <a:off x="481277" y="5301818"/>
                <a:ext cx="1978394" cy="61855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a:p>
                <a:pPr marL="117475" indent="-117475">
                  <a:lnSpc>
                    <a:spcPct val="114000"/>
                  </a:lnSpc>
                  <a:buClr>
                    <a:schemeClr val="bg1">
                      <a:lumMod val="50000"/>
                    </a:schemeClr>
                  </a:buClr>
                  <a:buSzPct val="50000"/>
                  <a:buFont typeface="Wingdings" pitchFamily="2" charset="2"/>
                  <a:buChar char="l"/>
                </a:pPr>
                <a:endParaRPr lang="en-US" altLang="zh-CN" sz="1050" dirty="0">
                  <a:latin typeface="Calibri" pitchFamily="34" charset="0"/>
                  <a:cs typeface="Calibri" pitchFamily="34" charset="0"/>
                </a:endParaRPr>
              </a:p>
            </p:txBody>
          </p:sp>
        </p:grpSp>
        <p:sp>
          <p:nvSpPr>
            <p:cNvPr id="76" name="Oval 25">
              <a:extLst>
                <a:ext uri="{FF2B5EF4-FFF2-40B4-BE49-F238E27FC236}">
                  <a16:creationId xmlns:a16="http://schemas.microsoft.com/office/drawing/2014/main" id="{BFCCB5BA-6392-496A-91F0-5C152B2CE5A9}"/>
                </a:ext>
              </a:extLst>
            </p:cNvPr>
            <p:cNvSpPr>
              <a:spLocks noChangeArrowheads="1"/>
            </p:cNvSpPr>
            <p:nvPr/>
          </p:nvSpPr>
          <p:spPr bwMode="gray">
            <a:xfrm>
              <a:off x="3542017" y="363233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77" name="肘形连接符 96">
              <a:extLst>
                <a:ext uri="{FF2B5EF4-FFF2-40B4-BE49-F238E27FC236}">
                  <a16:creationId xmlns:a16="http://schemas.microsoft.com/office/drawing/2014/main" id="{D06EE75B-4DD9-44C4-ABC9-4E22A0FDB5A5}"/>
                </a:ext>
              </a:extLst>
            </p:cNvPr>
            <p:cNvCxnSpPr>
              <a:cxnSpLocks/>
              <a:stCxn id="76" idx="4"/>
              <a:endCxn id="36" idx="3"/>
            </p:cNvCxnSpPr>
            <p:nvPr/>
          </p:nvCxnSpPr>
          <p:spPr>
            <a:xfrm rot="5400000">
              <a:off x="2603503" y="3072459"/>
              <a:ext cx="330370" cy="1643200"/>
            </a:xfrm>
            <a:prstGeom prst="bentConnector2">
              <a:avLst/>
            </a:prstGeom>
            <a:noFill/>
            <a:ln w="9525">
              <a:solidFill>
                <a:srgbClr val="C00000"/>
              </a:solidFill>
              <a:prstDash val="sysDash"/>
              <a:miter lim="800000"/>
              <a:headEnd/>
              <a:tailEnd/>
            </a:ln>
          </p:spPr>
        </p:cxnSp>
        <p:grpSp>
          <p:nvGrpSpPr>
            <p:cNvPr id="81" name="组合 64">
              <a:extLst>
                <a:ext uri="{FF2B5EF4-FFF2-40B4-BE49-F238E27FC236}">
                  <a16:creationId xmlns:a16="http://schemas.microsoft.com/office/drawing/2014/main" id="{6A036EA2-C096-476F-9783-983486308285}"/>
                </a:ext>
              </a:extLst>
            </p:cNvPr>
            <p:cNvGrpSpPr/>
            <p:nvPr/>
          </p:nvGrpSpPr>
          <p:grpSpPr>
            <a:xfrm>
              <a:off x="3626905" y="32224"/>
              <a:ext cx="1871590" cy="790251"/>
              <a:chOff x="416520" y="4774171"/>
              <a:chExt cx="2109658" cy="890772"/>
            </a:xfrm>
          </p:grpSpPr>
          <p:sp>
            <p:nvSpPr>
              <p:cNvPr id="82" name="圆角矩形 111">
                <a:extLst>
                  <a:ext uri="{FF2B5EF4-FFF2-40B4-BE49-F238E27FC236}">
                    <a16:creationId xmlns:a16="http://schemas.microsoft.com/office/drawing/2014/main" id="{1CD3CF8F-D4D5-43C1-8237-91BA11C77FEF}"/>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83" name="圆角矩形 45">
                <a:extLst>
                  <a:ext uri="{FF2B5EF4-FFF2-40B4-BE49-F238E27FC236}">
                    <a16:creationId xmlns:a16="http://schemas.microsoft.com/office/drawing/2014/main" id="{79010BF9-A98E-4CC0-ABA2-AB72BFFB0725}"/>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Tigray</a:t>
                </a:r>
              </a:p>
            </p:txBody>
          </p:sp>
          <p:sp>
            <p:nvSpPr>
              <p:cNvPr id="84" name="Text Box 16">
                <a:extLst>
                  <a:ext uri="{FF2B5EF4-FFF2-40B4-BE49-F238E27FC236}">
                    <a16:creationId xmlns:a16="http://schemas.microsoft.com/office/drawing/2014/main" id="{25538059-5F82-4D24-B589-CE0C0C75BC23}"/>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9</a:t>
                </a:r>
              </a:p>
            </p:txBody>
          </p:sp>
        </p:grpSp>
        <p:sp>
          <p:nvSpPr>
            <p:cNvPr id="86" name="Oval 25">
              <a:extLst>
                <a:ext uri="{FF2B5EF4-FFF2-40B4-BE49-F238E27FC236}">
                  <a16:creationId xmlns:a16="http://schemas.microsoft.com/office/drawing/2014/main" id="{758276CD-4187-49F8-BB54-873A50CD169A}"/>
                </a:ext>
              </a:extLst>
            </p:cNvPr>
            <p:cNvSpPr>
              <a:spLocks noChangeArrowheads="1"/>
            </p:cNvSpPr>
            <p:nvPr/>
          </p:nvSpPr>
          <p:spPr bwMode="gray">
            <a:xfrm>
              <a:off x="3971983" y="169127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87" name="肘形连接符 69">
              <a:extLst>
                <a:ext uri="{FF2B5EF4-FFF2-40B4-BE49-F238E27FC236}">
                  <a16:creationId xmlns:a16="http://schemas.microsoft.com/office/drawing/2014/main" id="{6FFFA2DD-BE46-489F-81DF-CD6E07B4839A}"/>
                </a:ext>
              </a:extLst>
            </p:cNvPr>
            <p:cNvCxnSpPr>
              <a:cxnSpLocks/>
              <a:stCxn id="86" idx="6"/>
              <a:endCxn id="84" idx="2"/>
            </p:cNvCxnSpPr>
            <p:nvPr/>
          </p:nvCxnSpPr>
          <p:spPr>
            <a:xfrm flipV="1">
              <a:off x="4068524" y="822475"/>
              <a:ext cx="493400" cy="917069"/>
            </a:xfrm>
            <a:prstGeom prst="bentConnector2">
              <a:avLst/>
            </a:prstGeom>
            <a:noFill/>
            <a:ln w="9525">
              <a:solidFill>
                <a:srgbClr val="C00000"/>
              </a:solidFill>
              <a:prstDash val="sysDash"/>
              <a:miter lim="800000"/>
              <a:headEnd/>
              <a:tailEnd/>
            </a:ln>
          </p:spPr>
        </p:cxnSp>
        <p:grpSp>
          <p:nvGrpSpPr>
            <p:cNvPr id="90" name="组合 64">
              <a:extLst>
                <a:ext uri="{FF2B5EF4-FFF2-40B4-BE49-F238E27FC236}">
                  <a16:creationId xmlns:a16="http://schemas.microsoft.com/office/drawing/2014/main" id="{036F07BE-20D8-4A55-BE68-2F3D5E331899}"/>
                </a:ext>
              </a:extLst>
            </p:cNvPr>
            <p:cNvGrpSpPr/>
            <p:nvPr/>
          </p:nvGrpSpPr>
          <p:grpSpPr>
            <a:xfrm>
              <a:off x="5623609" y="37096"/>
              <a:ext cx="1871590" cy="790251"/>
              <a:chOff x="416520" y="4774171"/>
              <a:chExt cx="2109658" cy="890772"/>
            </a:xfrm>
          </p:grpSpPr>
          <p:sp>
            <p:nvSpPr>
              <p:cNvPr id="91" name="圆角矩形 111">
                <a:extLst>
                  <a:ext uri="{FF2B5EF4-FFF2-40B4-BE49-F238E27FC236}">
                    <a16:creationId xmlns:a16="http://schemas.microsoft.com/office/drawing/2014/main" id="{FA4A57B1-9C83-4FB5-9CC6-8C92BDCE1318}"/>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92" name="圆角矩形 45">
                <a:extLst>
                  <a:ext uri="{FF2B5EF4-FFF2-40B4-BE49-F238E27FC236}">
                    <a16:creationId xmlns:a16="http://schemas.microsoft.com/office/drawing/2014/main" id="{3544F7C3-1725-472C-A916-C6D97A77FBF9}"/>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far</a:t>
                </a:r>
              </a:p>
            </p:txBody>
          </p:sp>
          <p:sp>
            <p:nvSpPr>
              <p:cNvPr id="93" name="Text Box 16">
                <a:extLst>
                  <a:ext uri="{FF2B5EF4-FFF2-40B4-BE49-F238E27FC236}">
                    <a16:creationId xmlns:a16="http://schemas.microsoft.com/office/drawing/2014/main" id="{61A779D1-8C11-443F-849F-65D265531182}"/>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a:t>
                </a:r>
              </a:p>
            </p:txBody>
          </p:sp>
        </p:grpSp>
        <p:sp>
          <p:nvSpPr>
            <p:cNvPr id="94" name="Oval 25">
              <a:extLst>
                <a:ext uri="{FF2B5EF4-FFF2-40B4-BE49-F238E27FC236}">
                  <a16:creationId xmlns:a16="http://schemas.microsoft.com/office/drawing/2014/main" id="{18C7578B-17FD-4219-9A8D-0CAA210EA09F}"/>
                </a:ext>
              </a:extLst>
            </p:cNvPr>
            <p:cNvSpPr>
              <a:spLocks noChangeArrowheads="1"/>
            </p:cNvSpPr>
            <p:nvPr/>
          </p:nvSpPr>
          <p:spPr bwMode="gray">
            <a:xfrm>
              <a:off x="4661272" y="20236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5" name="肘形连接符 69">
              <a:extLst>
                <a:ext uri="{FF2B5EF4-FFF2-40B4-BE49-F238E27FC236}">
                  <a16:creationId xmlns:a16="http://schemas.microsoft.com/office/drawing/2014/main" id="{F5C45099-0DCB-44B9-9EA2-7A12542EF273}"/>
                </a:ext>
              </a:extLst>
            </p:cNvPr>
            <p:cNvCxnSpPr>
              <a:cxnSpLocks/>
              <a:stCxn id="94" idx="6"/>
              <a:endCxn id="93" idx="2"/>
            </p:cNvCxnSpPr>
            <p:nvPr/>
          </p:nvCxnSpPr>
          <p:spPr>
            <a:xfrm flipV="1">
              <a:off x="4757813" y="827346"/>
              <a:ext cx="1800816" cy="1244587"/>
            </a:xfrm>
            <a:prstGeom prst="bentConnector2">
              <a:avLst/>
            </a:prstGeom>
            <a:noFill/>
            <a:ln w="9525">
              <a:solidFill>
                <a:srgbClr val="C00000"/>
              </a:solidFill>
              <a:prstDash val="sysDash"/>
              <a:miter lim="800000"/>
              <a:headEnd/>
              <a:tailEnd/>
            </a:ln>
          </p:spPr>
        </p:cxnSp>
        <p:sp>
          <p:nvSpPr>
            <p:cNvPr id="98" name="Oval 25">
              <a:extLst>
                <a:ext uri="{FF2B5EF4-FFF2-40B4-BE49-F238E27FC236}">
                  <a16:creationId xmlns:a16="http://schemas.microsoft.com/office/drawing/2014/main" id="{51F9F5A8-F636-4FAF-8D88-B591F1714C09}"/>
                </a:ext>
              </a:extLst>
            </p:cNvPr>
            <p:cNvSpPr>
              <a:spLocks noChangeArrowheads="1"/>
            </p:cNvSpPr>
            <p:nvPr/>
          </p:nvSpPr>
          <p:spPr bwMode="gray">
            <a:xfrm>
              <a:off x="4921183" y="275594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9" name="肘形连接符 72">
              <a:extLst>
                <a:ext uri="{FF2B5EF4-FFF2-40B4-BE49-F238E27FC236}">
                  <a16:creationId xmlns:a16="http://schemas.microsoft.com/office/drawing/2014/main" id="{3662F052-CE6C-4A1B-9ACA-0E97C79AE060}"/>
                </a:ext>
              </a:extLst>
            </p:cNvPr>
            <p:cNvCxnSpPr>
              <a:cxnSpLocks/>
              <a:stCxn id="98" idx="0"/>
              <a:endCxn id="42" idx="1"/>
            </p:cNvCxnSpPr>
            <p:nvPr/>
          </p:nvCxnSpPr>
          <p:spPr>
            <a:xfrm rot="5400000" flipH="1" flipV="1">
              <a:off x="5809638" y="1424571"/>
              <a:ext cx="491194" cy="2171563"/>
            </a:xfrm>
            <a:prstGeom prst="bentConnector2">
              <a:avLst/>
            </a:prstGeom>
            <a:noFill/>
            <a:ln w="9525">
              <a:solidFill>
                <a:srgbClr val="C00000"/>
              </a:solidFill>
              <a:prstDash val="sysDash"/>
              <a:miter lim="800000"/>
              <a:headEnd/>
              <a:tailEnd/>
            </a:ln>
          </p:spPr>
        </p:cxnSp>
        <p:grpSp>
          <p:nvGrpSpPr>
            <p:cNvPr id="109" name="组合 70">
              <a:extLst>
                <a:ext uri="{FF2B5EF4-FFF2-40B4-BE49-F238E27FC236}">
                  <a16:creationId xmlns:a16="http://schemas.microsoft.com/office/drawing/2014/main" id="{9BA3ADDF-1C83-4B24-BCE1-A35EFEF8180F}"/>
                </a:ext>
              </a:extLst>
            </p:cNvPr>
            <p:cNvGrpSpPr/>
            <p:nvPr/>
          </p:nvGrpSpPr>
          <p:grpSpPr>
            <a:xfrm>
              <a:off x="7082014" y="2741788"/>
              <a:ext cx="1871590" cy="865124"/>
              <a:chOff x="416520" y="4774171"/>
              <a:chExt cx="2109658" cy="975169"/>
            </a:xfrm>
          </p:grpSpPr>
          <p:sp>
            <p:nvSpPr>
              <p:cNvPr id="110" name="圆角矩形 103">
                <a:extLst>
                  <a:ext uri="{FF2B5EF4-FFF2-40B4-BE49-F238E27FC236}">
                    <a16:creationId xmlns:a16="http://schemas.microsoft.com/office/drawing/2014/main" id="{16F02A84-C5AC-4394-ADC1-72AB539664C1}"/>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11" name="圆角矩形 45">
                <a:extLst>
                  <a:ext uri="{FF2B5EF4-FFF2-40B4-BE49-F238E27FC236}">
                    <a16:creationId xmlns:a16="http://schemas.microsoft.com/office/drawing/2014/main" id="{8464793F-819C-4AD2-BBC9-F202C8C2562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Harari</a:t>
                </a:r>
              </a:p>
            </p:txBody>
          </p:sp>
          <p:sp>
            <p:nvSpPr>
              <p:cNvPr id="112" name="Text Box 16">
                <a:extLst>
                  <a:ext uri="{FF2B5EF4-FFF2-40B4-BE49-F238E27FC236}">
                    <a16:creationId xmlns:a16="http://schemas.microsoft.com/office/drawing/2014/main" id="{5E4B41EB-05BA-4F44-9652-B86EAB45E2A9}"/>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sp>
          <p:nvSpPr>
            <p:cNvPr id="114" name="Oval 25">
              <a:extLst>
                <a:ext uri="{FF2B5EF4-FFF2-40B4-BE49-F238E27FC236}">
                  <a16:creationId xmlns:a16="http://schemas.microsoft.com/office/drawing/2014/main" id="{C2B008C3-D01D-4897-9901-A7836F64BA4B}"/>
                </a:ext>
              </a:extLst>
            </p:cNvPr>
            <p:cNvSpPr>
              <a:spLocks noChangeArrowheads="1"/>
            </p:cNvSpPr>
            <p:nvPr/>
          </p:nvSpPr>
          <p:spPr bwMode="gray">
            <a:xfrm>
              <a:off x="4997124" y="2866157"/>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15" name="肘形连接符 72">
              <a:extLst>
                <a:ext uri="{FF2B5EF4-FFF2-40B4-BE49-F238E27FC236}">
                  <a16:creationId xmlns:a16="http://schemas.microsoft.com/office/drawing/2014/main" id="{636E5E82-117A-40E4-BFC5-E0DD940D4473}"/>
                </a:ext>
              </a:extLst>
            </p:cNvPr>
            <p:cNvCxnSpPr>
              <a:cxnSpLocks/>
              <a:stCxn id="114" idx="6"/>
              <a:endCxn id="110" idx="1"/>
            </p:cNvCxnSpPr>
            <p:nvPr/>
          </p:nvCxnSpPr>
          <p:spPr>
            <a:xfrm>
              <a:off x="5093665" y="2914428"/>
              <a:ext cx="1988349" cy="344166"/>
            </a:xfrm>
            <a:prstGeom prst="bentConnector3">
              <a:avLst>
                <a:gd name="adj1" fmla="val 50000"/>
              </a:avLst>
            </a:prstGeom>
            <a:noFill/>
            <a:ln w="9525">
              <a:solidFill>
                <a:srgbClr val="C00000"/>
              </a:solidFill>
              <a:prstDash val="sysDash"/>
              <a:miter lim="800000"/>
              <a:headEnd/>
              <a:tailEnd/>
            </a:ln>
          </p:spPr>
        </p:cxnSp>
        <p:sp>
          <p:nvSpPr>
            <p:cNvPr id="123" name="Oval 25">
              <a:extLst>
                <a:ext uri="{FF2B5EF4-FFF2-40B4-BE49-F238E27FC236}">
                  <a16:creationId xmlns:a16="http://schemas.microsoft.com/office/drawing/2014/main" id="{E93DC02B-9D58-4888-B231-B7EBC787BFDC}"/>
                </a:ext>
              </a:extLst>
            </p:cNvPr>
            <p:cNvSpPr>
              <a:spLocks noChangeArrowheads="1"/>
            </p:cNvSpPr>
            <p:nvPr/>
          </p:nvSpPr>
          <p:spPr bwMode="gray">
            <a:xfrm>
              <a:off x="4149722" y="355038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24" name="肘形连接符 96">
              <a:extLst>
                <a:ext uri="{FF2B5EF4-FFF2-40B4-BE49-F238E27FC236}">
                  <a16:creationId xmlns:a16="http://schemas.microsoft.com/office/drawing/2014/main" id="{72540446-FF33-4D44-A6A4-009F944EC95D}"/>
                </a:ext>
              </a:extLst>
            </p:cNvPr>
            <p:cNvCxnSpPr>
              <a:cxnSpLocks/>
              <a:stCxn id="123" idx="4"/>
              <a:endCxn id="126" idx="3"/>
            </p:cNvCxnSpPr>
            <p:nvPr/>
          </p:nvCxnSpPr>
          <p:spPr>
            <a:xfrm rot="5400000">
              <a:off x="3632788" y="4143122"/>
              <a:ext cx="1061402" cy="69009"/>
            </a:xfrm>
            <a:prstGeom prst="bentConnector2">
              <a:avLst/>
            </a:prstGeom>
            <a:noFill/>
            <a:ln w="9525">
              <a:solidFill>
                <a:srgbClr val="C00000"/>
              </a:solidFill>
              <a:prstDash val="sysDash"/>
              <a:miter lim="800000"/>
              <a:headEnd/>
              <a:tailEnd/>
            </a:ln>
          </p:spPr>
        </p:cxnSp>
        <p:grpSp>
          <p:nvGrpSpPr>
            <p:cNvPr id="125" name="组合 64">
              <a:extLst>
                <a:ext uri="{FF2B5EF4-FFF2-40B4-BE49-F238E27FC236}">
                  <a16:creationId xmlns:a16="http://schemas.microsoft.com/office/drawing/2014/main" id="{13FFB77C-2D13-4FF9-891F-3E5EBC054773}"/>
                </a:ext>
              </a:extLst>
            </p:cNvPr>
            <p:cNvGrpSpPr/>
            <p:nvPr/>
          </p:nvGrpSpPr>
          <p:grpSpPr>
            <a:xfrm>
              <a:off x="2257394" y="4232027"/>
              <a:ext cx="1871590" cy="790251"/>
              <a:chOff x="416520" y="4774171"/>
              <a:chExt cx="2109658" cy="890772"/>
            </a:xfrm>
          </p:grpSpPr>
          <p:sp>
            <p:nvSpPr>
              <p:cNvPr id="126" name="圆角矩形 111">
                <a:extLst>
                  <a:ext uri="{FF2B5EF4-FFF2-40B4-BE49-F238E27FC236}">
                    <a16:creationId xmlns:a16="http://schemas.microsoft.com/office/drawing/2014/main" id="{38FFAE92-199A-45E9-9C4F-ED3E34D38205}"/>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27" name="圆角矩形 45">
                <a:extLst>
                  <a:ext uri="{FF2B5EF4-FFF2-40B4-BE49-F238E27FC236}">
                    <a16:creationId xmlns:a16="http://schemas.microsoft.com/office/drawing/2014/main" id="{A8335C70-550F-4B71-B369-9540C498C15B}"/>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Sidama</a:t>
                </a:r>
                <a:endParaRPr lang="en-US" altLang="zh-CN" sz="1050" b="1" kern="0" dirty="0"/>
              </a:p>
            </p:txBody>
          </p:sp>
          <p:sp>
            <p:nvSpPr>
              <p:cNvPr id="128" name="Text Box 16">
                <a:extLst>
                  <a:ext uri="{FF2B5EF4-FFF2-40B4-BE49-F238E27FC236}">
                    <a16:creationId xmlns:a16="http://schemas.microsoft.com/office/drawing/2014/main" id="{72345BE6-B27B-407A-B540-F9CC9632D7C6}"/>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4</a:t>
                </a:r>
              </a:p>
            </p:txBody>
          </p:sp>
        </p:grpSp>
      </p:grpSp>
      <p:sp>
        <p:nvSpPr>
          <p:cNvPr id="2" name="Title 1">
            <a:extLst>
              <a:ext uri="{FF2B5EF4-FFF2-40B4-BE49-F238E27FC236}">
                <a16:creationId xmlns:a16="http://schemas.microsoft.com/office/drawing/2014/main" id="{93C0B23C-FB28-4192-8F94-1288B3F7D3CE}"/>
              </a:ext>
            </a:extLst>
          </p:cNvPr>
          <p:cNvSpPr>
            <a:spLocks noGrp="1"/>
          </p:cNvSpPr>
          <p:nvPr>
            <p:ph type="title"/>
          </p:nvPr>
        </p:nvSpPr>
        <p:spPr>
          <a:xfrm>
            <a:off x="0" y="0"/>
            <a:ext cx="8513064" cy="765432"/>
          </a:xfrm>
        </p:spPr>
        <p:txBody>
          <a:bodyPr/>
          <a:lstStyle/>
          <a:p>
            <a:r>
              <a:rPr lang="en-ZA" dirty="0"/>
              <a:t>Year 3 – Sites Per Region</a:t>
            </a:r>
            <a:endParaRPr lang="en-GB" dirty="0"/>
          </a:p>
        </p:txBody>
      </p:sp>
      <p:sp>
        <p:nvSpPr>
          <p:cNvPr id="96" name="Rectangle: Rounded Corners 95">
            <a:extLst>
              <a:ext uri="{FF2B5EF4-FFF2-40B4-BE49-F238E27FC236}">
                <a16:creationId xmlns:a16="http://schemas.microsoft.com/office/drawing/2014/main" id="{051C770E-F35F-47BF-B3FD-1D99AABB3EBE}"/>
              </a:ext>
            </a:extLst>
          </p:cNvPr>
          <p:cNvSpPr/>
          <p:nvPr/>
        </p:nvSpPr>
        <p:spPr>
          <a:xfrm>
            <a:off x="6645720" y="209326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97" name="Rectangle: Rounded Corners 96">
            <a:extLst>
              <a:ext uri="{FF2B5EF4-FFF2-40B4-BE49-F238E27FC236}">
                <a16:creationId xmlns:a16="http://schemas.microsoft.com/office/drawing/2014/main" id="{EDFEFD44-D98C-442E-A48B-D0FEB0A1573D}"/>
              </a:ext>
            </a:extLst>
          </p:cNvPr>
          <p:cNvSpPr/>
          <p:nvPr/>
        </p:nvSpPr>
        <p:spPr>
          <a:xfrm>
            <a:off x="654553" y="2864498"/>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0" name="Rectangle: Rounded Corners 99">
            <a:extLst>
              <a:ext uri="{FF2B5EF4-FFF2-40B4-BE49-F238E27FC236}">
                <a16:creationId xmlns:a16="http://schemas.microsoft.com/office/drawing/2014/main" id="{C2AC633A-AAF1-4A78-B487-FC1126C98EA2}"/>
              </a:ext>
            </a:extLst>
          </p:cNvPr>
          <p:cNvSpPr/>
          <p:nvPr/>
        </p:nvSpPr>
        <p:spPr>
          <a:xfrm>
            <a:off x="654036" y="129305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1" name="Rectangle: Rounded Corners 100">
            <a:extLst>
              <a:ext uri="{FF2B5EF4-FFF2-40B4-BE49-F238E27FC236}">
                <a16:creationId xmlns:a16="http://schemas.microsoft.com/office/drawing/2014/main" id="{EA8CCFF5-BBB3-499E-9D71-9520A44AB5FD}"/>
              </a:ext>
            </a:extLst>
          </p:cNvPr>
          <p:cNvSpPr/>
          <p:nvPr/>
        </p:nvSpPr>
        <p:spPr>
          <a:xfrm>
            <a:off x="4412483" y="4224995"/>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2" name="Rectangle: Rounded Corners 101">
            <a:extLst>
              <a:ext uri="{FF2B5EF4-FFF2-40B4-BE49-F238E27FC236}">
                <a16:creationId xmlns:a16="http://schemas.microsoft.com/office/drawing/2014/main" id="{F5618E3F-C797-4792-9B33-6C9E7E6AE198}"/>
              </a:ext>
            </a:extLst>
          </p:cNvPr>
          <p:cNvSpPr/>
          <p:nvPr/>
        </p:nvSpPr>
        <p:spPr>
          <a:xfrm>
            <a:off x="6574718" y="2940250"/>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85950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51F3256C-BE97-4ABB-85A5-4DA7D65184A7}"/>
              </a:ext>
            </a:extLst>
          </p:cNvPr>
          <p:cNvGrpSpPr/>
          <p:nvPr/>
        </p:nvGrpSpPr>
        <p:grpSpPr>
          <a:xfrm>
            <a:off x="673520" y="639619"/>
            <a:ext cx="7621852" cy="4456667"/>
            <a:chOff x="67968" y="32224"/>
            <a:chExt cx="8949062" cy="5232716"/>
          </a:xfrm>
        </p:grpSpPr>
        <p:sp>
          <p:nvSpPr>
            <p:cNvPr id="4" name="Freeform 5">
              <a:extLst>
                <a:ext uri="{FF2B5EF4-FFF2-40B4-BE49-F238E27FC236}">
                  <a16:creationId xmlns:a16="http://schemas.microsoft.com/office/drawing/2014/main" id="{4E02DADB-17BF-4D65-9828-BBF2FE40BFFA}"/>
                </a:ext>
              </a:extLst>
            </p:cNvPr>
            <p:cNvSpPr>
              <a:spLocks/>
            </p:cNvSpPr>
            <p:nvPr/>
          </p:nvSpPr>
          <p:spPr bwMode="auto">
            <a:xfrm>
              <a:off x="3032579" y="2633549"/>
              <a:ext cx="2192810" cy="1750586"/>
            </a:xfrm>
            <a:custGeom>
              <a:avLst/>
              <a:gdLst>
                <a:gd name="T0" fmla="*/ 5385 w 7785"/>
                <a:gd name="T1" fmla="*/ 1284 h 6216"/>
                <a:gd name="T2" fmla="*/ 5001 w 7785"/>
                <a:gd name="T3" fmla="*/ 1356 h 6216"/>
                <a:gd name="T4" fmla="*/ 4605 w 7785"/>
                <a:gd name="T5" fmla="*/ 1200 h 6216"/>
                <a:gd name="T6" fmla="*/ 4677 w 7785"/>
                <a:gd name="T7" fmla="*/ 840 h 6216"/>
                <a:gd name="T8" fmla="*/ 4377 w 7785"/>
                <a:gd name="T9" fmla="*/ 732 h 6216"/>
                <a:gd name="T10" fmla="*/ 4125 w 7785"/>
                <a:gd name="T11" fmla="*/ 276 h 6216"/>
                <a:gd name="T12" fmla="*/ 3860 w 7785"/>
                <a:gd name="T13" fmla="*/ 101 h 6216"/>
                <a:gd name="T14" fmla="*/ 3092 w 7785"/>
                <a:gd name="T15" fmla="*/ 439 h 6216"/>
                <a:gd name="T16" fmla="*/ 2541 w 7785"/>
                <a:gd name="T17" fmla="*/ 192 h 6216"/>
                <a:gd name="T18" fmla="*/ 2121 w 7785"/>
                <a:gd name="T19" fmla="*/ 54 h 6216"/>
                <a:gd name="T20" fmla="*/ 1794 w 7785"/>
                <a:gd name="T21" fmla="*/ 603 h 6216"/>
                <a:gd name="T22" fmla="*/ 1812 w 7785"/>
                <a:gd name="T23" fmla="*/ 960 h 6216"/>
                <a:gd name="T24" fmla="*/ 1446 w 7785"/>
                <a:gd name="T25" fmla="*/ 951 h 6216"/>
                <a:gd name="T26" fmla="*/ 1090 w 7785"/>
                <a:gd name="T27" fmla="*/ 521 h 6216"/>
                <a:gd name="T28" fmla="*/ 660 w 7785"/>
                <a:gd name="T29" fmla="*/ 494 h 6216"/>
                <a:gd name="T30" fmla="*/ 248 w 7785"/>
                <a:gd name="T31" fmla="*/ 658 h 6216"/>
                <a:gd name="T32" fmla="*/ 0 w 7785"/>
                <a:gd name="T33" fmla="*/ 1083 h 6216"/>
                <a:gd name="T34" fmla="*/ 333 w 7785"/>
                <a:gd name="T35" fmla="*/ 1740 h 6216"/>
                <a:gd name="T36" fmla="*/ 717 w 7785"/>
                <a:gd name="T37" fmla="*/ 2052 h 6216"/>
                <a:gd name="T38" fmla="*/ 753 w 7785"/>
                <a:gd name="T39" fmla="*/ 2460 h 6216"/>
                <a:gd name="T40" fmla="*/ 1125 w 7785"/>
                <a:gd name="T41" fmla="*/ 2244 h 6216"/>
                <a:gd name="T42" fmla="*/ 1497 w 7785"/>
                <a:gd name="T43" fmla="*/ 2040 h 6216"/>
                <a:gd name="T44" fmla="*/ 1701 w 7785"/>
                <a:gd name="T45" fmla="*/ 2496 h 6216"/>
                <a:gd name="T46" fmla="*/ 2397 w 7785"/>
                <a:gd name="T47" fmla="*/ 2796 h 6216"/>
                <a:gd name="T48" fmla="*/ 2913 w 7785"/>
                <a:gd name="T49" fmla="*/ 2400 h 6216"/>
                <a:gd name="T50" fmla="*/ 3117 w 7785"/>
                <a:gd name="T51" fmla="*/ 1968 h 6216"/>
                <a:gd name="T52" fmla="*/ 3453 w 7785"/>
                <a:gd name="T53" fmla="*/ 1788 h 6216"/>
                <a:gd name="T54" fmla="*/ 3945 w 7785"/>
                <a:gd name="T55" fmla="*/ 1752 h 6216"/>
                <a:gd name="T56" fmla="*/ 3993 w 7785"/>
                <a:gd name="T57" fmla="*/ 2172 h 6216"/>
                <a:gd name="T58" fmla="*/ 3597 w 7785"/>
                <a:gd name="T59" fmla="*/ 2808 h 6216"/>
                <a:gd name="T60" fmla="*/ 3801 w 7785"/>
                <a:gd name="T61" fmla="*/ 2928 h 6216"/>
                <a:gd name="T62" fmla="*/ 4029 w 7785"/>
                <a:gd name="T63" fmla="*/ 3252 h 6216"/>
                <a:gd name="T64" fmla="*/ 4389 w 7785"/>
                <a:gd name="T65" fmla="*/ 3696 h 6216"/>
                <a:gd name="T66" fmla="*/ 3825 w 7785"/>
                <a:gd name="T67" fmla="*/ 3528 h 6216"/>
                <a:gd name="T68" fmla="*/ 3645 w 7785"/>
                <a:gd name="T69" fmla="*/ 4056 h 6216"/>
                <a:gd name="T70" fmla="*/ 3681 w 7785"/>
                <a:gd name="T71" fmla="*/ 3576 h 6216"/>
                <a:gd name="T72" fmla="*/ 3309 w 7785"/>
                <a:gd name="T73" fmla="*/ 3420 h 6216"/>
                <a:gd name="T74" fmla="*/ 3345 w 7785"/>
                <a:gd name="T75" fmla="*/ 3936 h 6216"/>
                <a:gd name="T76" fmla="*/ 3333 w 7785"/>
                <a:gd name="T77" fmla="*/ 4464 h 6216"/>
                <a:gd name="T78" fmla="*/ 2829 w 7785"/>
                <a:gd name="T79" fmla="*/ 4632 h 6216"/>
                <a:gd name="T80" fmla="*/ 2445 w 7785"/>
                <a:gd name="T81" fmla="*/ 5052 h 6216"/>
                <a:gd name="T82" fmla="*/ 3885 w 7785"/>
                <a:gd name="T83" fmla="*/ 6048 h 6216"/>
                <a:gd name="T84" fmla="*/ 5817 w 7785"/>
                <a:gd name="T85" fmla="*/ 5232 h 6216"/>
                <a:gd name="T86" fmla="*/ 6309 w 7785"/>
                <a:gd name="T87" fmla="*/ 5004 h 6216"/>
                <a:gd name="T88" fmla="*/ 6357 w 7785"/>
                <a:gd name="T89" fmla="*/ 4548 h 6216"/>
                <a:gd name="T90" fmla="*/ 6213 w 7785"/>
                <a:gd name="T91" fmla="*/ 4056 h 6216"/>
                <a:gd name="T92" fmla="*/ 5985 w 7785"/>
                <a:gd name="T93" fmla="*/ 3588 h 6216"/>
                <a:gd name="T94" fmla="*/ 6429 w 7785"/>
                <a:gd name="T95" fmla="*/ 3684 h 6216"/>
                <a:gd name="T96" fmla="*/ 6909 w 7785"/>
                <a:gd name="T97" fmla="*/ 3432 h 6216"/>
                <a:gd name="T98" fmla="*/ 7161 w 7785"/>
                <a:gd name="T99" fmla="*/ 2760 h 6216"/>
                <a:gd name="T100" fmla="*/ 7053 w 7785"/>
                <a:gd name="T101" fmla="*/ 1980 h 6216"/>
                <a:gd name="T102" fmla="*/ 7353 w 7785"/>
                <a:gd name="T103" fmla="*/ 1668 h 6216"/>
                <a:gd name="T104" fmla="*/ 7689 w 7785"/>
                <a:gd name="T105" fmla="*/ 1824 h 6216"/>
                <a:gd name="T106" fmla="*/ 7629 w 7785"/>
                <a:gd name="T107" fmla="*/ 1236 h 6216"/>
                <a:gd name="T108" fmla="*/ 7329 w 7785"/>
                <a:gd name="T109" fmla="*/ 648 h 6216"/>
                <a:gd name="T110" fmla="*/ 6801 w 7785"/>
                <a:gd name="T111" fmla="*/ 840 h 6216"/>
                <a:gd name="T112" fmla="*/ 6165 w 7785"/>
                <a:gd name="T113" fmla="*/ 912 h 6216"/>
                <a:gd name="T114" fmla="*/ 5861 w 7785"/>
                <a:gd name="T115" fmla="*/ 840 h 6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85" h="6216">
                  <a:moveTo>
                    <a:pt x="5861" y="840"/>
                  </a:moveTo>
                  <a:lnTo>
                    <a:pt x="5769" y="900"/>
                  </a:lnTo>
                  <a:lnTo>
                    <a:pt x="5649" y="900"/>
                  </a:lnTo>
                  <a:lnTo>
                    <a:pt x="5577" y="1008"/>
                  </a:lnTo>
                  <a:lnTo>
                    <a:pt x="5493" y="1116"/>
                  </a:lnTo>
                  <a:lnTo>
                    <a:pt x="5385" y="1284"/>
                  </a:lnTo>
                  <a:lnTo>
                    <a:pt x="5235" y="1404"/>
                  </a:lnTo>
                  <a:lnTo>
                    <a:pt x="5253" y="1260"/>
                  </a:lnTo>
                  <a:lnTo>
                    <a:pt x="5169" y="1188"/>
                  </a:lnTo>
                  <a:lnTo>
                    <a:pt x="5133" y="1140"/>
                  </a:lnTo>
                  <a:lnTo>
                    <a:pt x="5025" y="1149"/>
                  </a:lnTo>
                  <a:lnTo>
                    <a:pt x="5001" y="1356"/>
                  </a:lnTo>
                  <a:lnTo>
                    <a:pt x="4905" y="1380"/>
                  </a:lnTo>
                  <a:lnTo>
                    <a:pt x="4797" y="1440"/>
                  </a:lnTo>
                  <a:lnTo>
                    <a:pt x="4725" y="1392"/>
                  </a:lnTo>
                  <a:lnTo>
                    <a:pt x="4617" y="1440"/>
                  </a:lnTo>
                  <a:lnTo>
                    <a:pt x="4557" y="1332"/>
                  </a:lnTo>
                  <a:lnTo>
                    <a:pt x="4605" y="1200"/>
                  </a:lnTo>
                  <a:lnTo>
                    <a:pt x="4653" y="1116"/>
                  </a:lnTo>
                  <a:lnTo>
                    <a:pt x="4557" y="1068"/>
                  </a:lnTo>
                  <a:lnTo>
                    <a:pt x="4557" y="996"/>
                  </a:lnTo>
                  <a:lnTo>
                    <a:pt x="4665" y="960"/>
                  </a:lnTo>
                  <a:lnTo>
                    <a:pt x="4749" y="912"/>
                  </a:lnTo>
                  <a:lnTo>
                    <a:pt x="4677" y="840"/>
                  </a:lnTo>
                  <a:lnTo>
                    <a:pt x="4593" y="852"/>
                  </a:lnTo>
                  <a:lnTo>
                    <a:pt x="4653" y="708"/>
                  </a:lnTo>
                  <a:lnTo>
                    <a:pt x="4653" y="576"/>
                  </a:lnTo>
                  <a:lnTo>
                    <a:pt x="4557" y="600"/>
                  </a:lnTo>
                  <a:lnTo>
                    <a:pt x="4461" y="708"/>
                  </a:lnTo>
                  <a:lnTo>
                    <a:pt x="4377" y="732"/>
                  </a:lnTo>
                  <a:lnTo>
                    <a:pt x="4377" y="624"/>
                  </a:lnTo>
                  <a:lnTo>
                    <a:pt x="4281" y="600"/>
                  </a:lnTo>
                  <a:lnTo>
                    <a:pt x="4197" y="564"/>
                  </a:lnTo>
                  <a:lnTo>
                    <a:pt x="4137" y="420"/>
                  </a:lnTo>
                  <a:lnTo>
                    <a:pt x="4029" y="300"/>
                  </a:lnTo>
                  <a:lnTo>
                    <a:pt x="4125" y="276"/>
                  </a:lnTo>
                  <a:lnTo>
                    <a:pt x="4185" y="204"/>
                  </a:lnTo>
                  <a:lnTo>
                    <a:pt x="4209" y="72"/>
                  </a:lnTo>
                  <a:lnTo>
                    <a:pt x="4101" y="24"/>
                  </a:lnTo>
                  <a:lnTo>
                    <a:pt x="3981" y="12"/>
                  </a:lnTo>
                  <a:lnTo>
                    <a:pt x="3885" y="0"/>
                  </a:lnTo>
                  <a:lnTo>
                    <a:pt x="3860" y="101"/>
                  </a:lnTo>
                  <a:lnTo>
                    <a:pt x="3805" y="219"/>
                  </a:lnTo>
                  <a:lnTo>
                    <a:pt x="3668" y="274"/>
                  </a:lnTo>
                  <a:lnTo>
                    <a:pt x="3512" y="366"/>
                  </a:lnTo>
                  <a:lnTo>
                    <a:pt x="3348" y="457"/>
                  </a:lnTo>
                  <a:lnTo>
                    <a:pt x="3211" y="494"/>
                  </a:lnTo>
                  <a:lnTo>
                    <a:pt x="3092" y="439"/>
                  </a:lnTo>
                  <a:lnTo>
                    <a:pt x="2991" y="347"/>
                  </a:lnTo>
                  <a:lnTo>
                    <a:pt x="2827" y="329"/>
                  </a:lnTo>
                  <a:lnTo>
                    <a:pt x="2717" y="274"/>
                  </a:lnTo>
                  <a:lnTo>
                    <a:pt x="2699" y="183"/>
                  </a:lnTo>
                  <a:lnTo>
                    <a:pt x="2639" y="113"/>
                  </a:lnTo>
                  <a:lnTo>
                    <a:pt x="2541" y="192"/>
                  </a:lnTo>
                  <a:lnTo>
                    <a:pt x="2437" y="168"/>
                  </a:lnTo>
                  <a:lnTo>
                    <a:pt x="2379" y="119"/>
                  </a:lnTo>
                  <a:lnTo>
                    <a:pt x="2278" y="73"/>
                  </a:lnTo>
                  <a:lnTo>
                    <a:pt x="2205" y="155"/>
                  </a:lnTo>
                  <a:lnTo>
                    <a:pt x="2141" y="128"/>
                  </a:lnTo>
                  <a:lnTo>
                    <a:pt x="2121" y="54"/>
                  </a:lnTo>
                  <a:lnTo>
                    <a:pt x="2004" y="137"/>
                  </a:lnTo>
                  <a:lnTo>
                    <a:pt x="1949" y="256"/>
                  </a:lnTo>
                  <a:lnTo>
                    <a:pt x="1858" y="320"/>
                  </a:lnTo>
                  <a:lnTo>
                    <a:pt x="1775" y="347"/>
                  </a:lnTo>
                  <a:lnTo>
                    <a:pt x="1757" y="494"/>
                  </a:lnTo>
                  <a:lnTo>
                    <a:pt x="1794" y="603"/>
                  </a:lnTo>
                  <a:lnTo>
                    <a:pt x="1794" y="695"/>
                  </a:lnTo>
                  <a:lnTo>
                    <a:pt x="1867" y="741"/>
                  </a:lnTo>
                  <a:lnTo>
                    <a:pt x="1940" y="759"/>
                  </a:lnTo>
                  <a:lnTo>
                    <a:pt x="1940" y="905"/>
                  </a:lnTo>
                  <a:lnTo>
                    <a:pt x="1885" y="942"/>
                  </a:lnTo>
                  <a:lnTo>
                    <a:pt x="1812" y="960"/>
                  </a:lnTo>
                  <a:lnTo>
                    <a:pt x="1848" y="1088"/>
                  </a:lnTo>
                  <a:lnTo>
                    <a:pt x="1784" y="1143"/>
                  </a:lnTo>
                  <a:lnTo>
                    <a:pt x="1720" y="1143"/>
                  </a:lnTo>
                  <a:lnTo>
                    <a:pt x="1666" y="1042"/>
                  </a:lnTo>
                  <a:lnTo>
                    <a:pt x="1592" y="978"/>
                  </a:lnTo>
                  <a:lnTo>
                    <a:pt x="1446" y="951"/>
                  </a:lnTo>
                  <a:lnTo>
                    <a:pt x="1437" y="841"/>
                  </a:lnTo>
                  <a:lnTo>
                    <a:pt x="1391" y="777"/>
                  </a:lnTo>
                  <a:lnTo>
                    <a:pt x="1336" y="695"/>
                  </a:lnTo>
                  <a:lnTo>
                    <a:pt x="1227" y="658"/>
                  </a:lnTo>
                  <a:lnTo>
                    <a:pt x="1126" y="631"/>
                  </a:lnTo>
                  <a:lnTo>
                    <a:pt x="1090" y="521"/>
                  </a:lnTo>
                  <a:lnTo>
                    <a:pt x="1035" y="448"/>
                  </a:lnTo>
                  <a:lnTo>
                    <a:pt x="943" y="421"/>
                  </a:lnTo>
                  <a:lnTo>
                    <a:pt x="824" y="421"/>
                  </a:lnTo>
                  <a:lnTo>
                    <a:pt x="788" y="329"/>
                  </a:lnTo>
                  <a:lnTo>
                    <a:pt x="651" y="375"/>
                  </a:lnTo>
                  <a:lnTo>
                    <a:pt x="660" y="494"/>
                  </a:lnTo>
                  <a:lnTo>
                    <a:pt x="605" y="558"/>
                  </a:lnTo>
                  <a:lnTo>
                    <a:pt x="596" y="658"/>
                  </a:lnTo>
                  <a:lnTo>
                    <a:pt x="550" y="741"/>
                  </a:lnTo>
                  <a:lnTo>
                    <a:pt x="450" y="731"/>
                  </a:lnTo>
                  <a:lnTo>
                    <a:pt x="349" y="686"/>
                  </a:lnTo>
                  <a:lnTo>
                    <a:pt x="248" y="658"/>
                  </a:lnTo>
                  <a:lnTo>
                    <a:pt x="312" y="777"/>
                  </a:lnTo>
                  <a:lnTo>
                    <a:pt x="212" y="850"/>
                  </a:lnTo>
                  <a:lnTo>
                    <a:pt x="285" y="914"/>
                  </a:lnTo>
                  <a:lnTo>
                    <a:pt x="239" y="1006"/>
                  </a:lnTo>
                  <a:lnTo>
                    <a:pt x="157" y="1106"/>
                  </a:lnTo>
                  <a:lnTo>
                    <a:pt x="0" y="1083"/>
                  </a:lnTo>
                  <a:lnTo>
                    <a:pt x="11" y="1253"/>
                  </a:lnTo>
                  <a:lnTo>
                    <a:pt x="2" y="1454"/>
                  </a:lnTo>
                  <a:lnTo>
                    <a:pt x="9" y="1632"/>
                  </a:lnTo>
                  <a:lnTo>
                    <a:pt x="117" y="1572"/>
                  </a:lnTo>
                  <a:lnTo>
                    <a:pt x="237" y="1668"/>
                  </a:lnTo>
                  <a:lnTo>
                    <a:pt x="333" y="1740"/>
                  </a:lnTo>
                  <a:lnTo>
                    <a:pt x="417" y="1848"/>
                  </a:lnTo>
                  <a:lnTo>
                    <a:pt x="561" y="1908"/>
                  </a:lnTo>
                  <a:lnTo>
                    <a:pt x="645" y="1980"/>
                  </a:lnTo>
                  <a:lnTo>
                    <a:pt x="765" y="1944"/>
                  </a:lnTo>
                  <a:lnTo>
                    <a:pt x="837" y="2004"/>
                  </a:lnTo>
                  <a:lnTo>
                    <a:pt x="717" y="2052"/>
                  </a:lnTo>
                  <a:lnTo>
                    <a:pt x="729" y="2136"/>
                  </a:lnTo>
                  <a:lnTo>
                    <a:pt x="693" y="2208"/>
                  </a:lnTo>
                  <a:lnTo>
                    <a:pt x="664" y="2290"/>
                  </a:lnTo>
                  <a:lnTo>
                    <a:pt x="669" y="2357"/>
                  </a:lnTo>
                  <a:lnTo>
                    <a:pt x="731" y="2386"/>
                  </a:lnTo>
                  <a:lnTo>
                    <a:pt x="753" y="2460"/>
                  </a:lnTo>
                  <a:lnTo>
                    <a:pt x="873" y="2556"/>
                  </a:lnTo>
                  <a:lnTo>
                    <a:pt x="933" y="2616"/>
                  </a:lnTo>
                  <a:lnTo>
                    <a:pt x="993" y="2612"/>
                  </a:lnTo>
                  <a:lnTo>
                    <a:pt x="1005" y="2472"/>
                  </a:lnTo>
                  <a:lnTo>
                    <a:pt x="1029" y="2340"/>
                  </a:lnTo>
                  <a:lnTo>
                    <a:pt x="1125" y="2244"/>
                  </a:lnTo>
                  <a:lnTo>
                    <a:pt x="1245" y="2208"/>
                  </a:lnTo>
                  <a:lnTo>
                    <a:pt x="1281" y="2280"/>
                  </a:lnTo>
                  <a:lnTo>
                    <a:pt x="1389" y="2232"/>
                  </a:lnTo>
                  <a:lnTo>
                    <a:pt x="1461" y="2184"/>
                  </a:lnTo>
                  <a:lnTo>
                    <a:pt x="1413" y="2100"/>
                  </a:lnTo>
                  <a:lnTo>
                    <a:pt x="1497" y="2040"/>
                  </a:lnTo>
                  <a:lnTo>
                    <a:pt x="1569" y="2124"/>
                  </a:lnTo>
                  <a:lnTo>
                    <a:pt x="1557" y="2220"/>
                  </a:lnTo>
                  <a:lnTo>
                    <a:pt x="1581" y="2292"/>
                  </a:lnTo>
                  <a:lnTo>
                    <a:pt x="1641" y="2340"/>
                  </a:lnTo>
                  <a:lnTo>
                    <a:pt x="1689" y="2412"/>
                  </a:lnTo>
                  <a:lnTo>
                    <a:pt x="1701" y="2496"/>
                  </a:lnTo>
                  <a:lnTo>
                    <a:pt x="1821" y="2556"/>
                  </a:lnTo>
                  <a:lnTo>
                    <a:pt x="1893" y="2616"/>
                  </a:lnTo>
                  <a:lnTo>
                    <a:pt x="2001" y="2664"/>
                  </a:lnTo>
                  <a:lnTo>
                    <a:pt x="2145" y="2676"/>
                  </a:lnTo>
                  <a:lnTo>
                    <a:pt x="2277" y="2736"/>
                  </a:lnTo>
                  <a:lnTo>
                    <a:pt x="2397" y="2796"/>
                  </a:lnTo>
                  <a:lnTo>
                    <a:pt x="2529" y="2820"/>
                  </a:lnTo>
                  <a:lnTo>
                    <a:pt x="2649" y="2808"/>
                  </a:lnTo>
                  <a:lnTo>
                    <a:pt x="2757" y="2760"/>
                  </a:lnTo>
                  <a:lnTo>
                    <a:pt x="2877" y="2676"/>
                  </a:lnTo>
                  <a:lnTo>
                    <a:pt x="2961" y="2544"/>
                  </a:lnTo>
                  <a:lnTo>
                    <a:pt x="2913" y="2400"/>
                  </a:lnTo>
                  <a:lnTo>
                    <a:pt x="2925" y="2280"/>
                  </a:lnTo>
                  <a:lnTo>
                    <a:pt x="2877" y="2160"/>
                  </a:lnTo>
                  <a:lnTo>
                    <a:pt x="2973" y="2148"/>
                  </a:lnTo>
                  <a:lnTo>
                    <a:pt x="3057" y="2184"/>
                  </a:lnTo>
                  <a:lnTo>
                    <a:pt x="3069" y="2052"/>
                  </a:lnTo>
                  <a:lnTo>
                    <a:pt x="3117" y="1968"/>
                  </a:lnTo>
                  <a:lnTo>
                    <a:pt x="2973" y="1908"/>
                  </a:lnTo>
                  <a:lnTo>
                    <a:pt x="2973" y="1800"/>
                  </a:lnTo>
                  <a:lnTo>
                    <a:pt x="3045" y="1764"/>
                  </a:lnTo>
                  <a:lnTo>
                    <a:pt x="3129" y="1800"/>
                  </a:lnTo>
                  <a:lnTo>
                    <a:pt x="3273" y="1812"/>
                  </a:lnTo>
                  <a:lnTo>
                    <a:pt x="3453" y="1788"/>
                  </a:lnTo>
                  <a:lnTo>
                    <a:pt x="3621" y="1776"/>
                  </a:lnTo>
                  <a:lnTo>
                    <a:pt x="3693" y="1788"/>
                  </a:lnTo>
                  <a:lnTo>
                    <a:pt x="3753" y="1896"/>
                  </a:lnTo>
                  <a:lnTo>
                    <a:pt x="3825" y="1824"/>
                  </a:lnTo>
                  <a:lnTo>
                    <a:pt x="3873" y="1728"/>
                  </a:lnTo>
                  <a:lnTo>
                    <a:pt x="3945" y="1752"/>
                  </a:lnTo>
                  <a:lnTo>
                    <a:pt x="4041" y="1824"/>
                  </a:lnTo>
                  <a:lnTo>
                    <a:pt x="4089" y="1944"/>
                  </a:lnTo>
                  <a:lnTo>
                    <a:pt x="4041" y="2052"/>
                  </a:lnTo>
                  <a:lnTo>
                    <a:pt x="3921" y="1920"/>
                  </a:lnTo>
                  <a:lnTo>
                    <a:pt x="3945" y="2040"/>
                  </a:lnTo>
                  <a:lnTo>
                    <a:pt x="3993" y="2172"/>
                  </a:lnTo>
                  <a:lnTo>
                    <a:pt x="3909" y="2268"/>
                  </a:lnTo>
                  <a:lnTo>
                    <a:pt x="3837" y="2376"/>
                  </a:lnTo>
                  <a:lnTo>
                    <a:pt x="3789" y="2508"/>
                  </a:lnTo>
                  <a:lnTo>
                    <a:pt x="3753" y="2604"/>
                  </a:lnTo>
                  <a:lnTo>
                    <a:pt x="3693" y="2736"/>
                  </a:lnTo>
                  <a:lnTo>
                    <a:pt x="3597" y="2808"/>
                  </a:lnTo>
                  <a:lnTo>
                    <a:pt x="3489" y="2856"/>
                  </a:lnTo>
                  <a:lnTo>
                    <a:pt x="3501" y="2964"/>
                  </a:lnTo>
                  <a:lnTo>
                    <a:pt x="3561" y="3024"/>
                  </a:lnTo>
                  <a:lnTo>
                    <a:pt x="3669" y="3000"/>
                  </a:lnTo>
                  <a:lnTo>
                    <a:pt x="3729" y="2916"/>
                  </a:lnTo>
                  <a:lnTo>
                    <a:pt x="3801" y="2928"/>
                  </a:lnTo>
                  <a:lnTo>
                    <a:pt x="3873" y="2916"/>
                  </a:lnTo>
                  <a:lnTo>
                    <a:pt x="3969" y="2916"/>
                  </a:lnTo>
                  <a:lnTo>
                    <a:pt x="4041" y="2988"/>
                  </a:lnTo>
                  <a:lnTo>
                    <a:pt x="4065" y="3084"/>
                  </a:lnTo>
                  <a:lnTo>
                    <a:pt x="4017" y="3168"/>
                  </a:lnTo>
                  <a:lnTo>
                    <a:pt x="4029" y="3252"/>
                  </a:lnTo>
                  <a:lnTo>
                    <a:pt x="4113" y="3300"/>
                  </a:lnTo>
                  <a:lnTo>
                    <a:pt x="4233" y="3324"/>
                  </a:lnTo>
                  <a:lnTo>
                    <a:pt x="4353" y="3396"/>
                  </a:lnTo>
                  <a:lnTo>
                    <a:pt x="4401" y="3492"/>
                  </a:lnTo>
                  <a:lnTo>
                    <a:pt x="4461" y="3636"/>
                  </a:lnTo>
                  <a:lnTo>
                    <a:pt x="4389" y="3696"/>
                  </a:lnTo>
                  <a:lnTo>
                    <a:pt x="4413" y="3804"/>
                  </a:lnTo>
                  <a:lnTo>
                    <a:pt x="4269" y="3744"/>
                  </a:lnTo>
                  <a:lnTo>
                    <a:pt x="4209" y="3636"/>
                  </a:lnTo>
                  <a:lnTo>
                    <a:pt x="4113" y="3564"/>
                  </a:lnTo>
                  <a:lnTo>
                    <a:pt x="3945" y="3540"/>
                  </a:lnTo>
                  <a:lnTo>
                    <a:pt x="3825" y="3528"/>
                  </a:lnTo>
                  <a:lnTo>
                    <a:pt x="3825" y="3648"/>
                  </a:lnTo>
                  <a:lnTo>
                    <a:pt x="3789" y="3756"/>
                  </a:lnTo>
                  <a:lnTo>
                    <a:pt x="3741" y="3840"/>
                  </a:lnTo>
                  <a:lnTo>
                    <a:pt x="3693" y="3924"/>
                  </a:lnTo>
                  <a:lnTo>
                    <a:pt x="3729" y="4020"/>
                  </a:lnTo>
                  <a:lnTo>
                    <a:pt x="3645" y="4056"/>
                  </a:lnTo>
                  <a:lnTo>
                    <a:pt x="3573" y="3984"/>
                  </a:lnTo>
                  <a:lnTo>
                    <a:pt x="3561" y="3900"/>
                  </a:lnTo>
                  <a:lnTo>
                    <a:pt x="3501" y="3804"/>
                  </a:lnTo>
                  <a:lnTo>
                    <a:pt x="3597" y="3744"/>
                  </a:lnTo>
                  <a:lnTo>
                    <a:pt x="3621" y="3612"/>
                  </a:lnTo>
                  <a:lnTo>
                    <a:pt x="3681" y="3576"/>
                  </a:lnTo>
                  <a:lnTo>
                    <a:pt x="3681" y="3516"/>
                  </a:lnTo>
                  <a:lnTo>
                    <a:pt x="3537" y="3516"/>
                  </a:lnTo>
                  <a:lnTo>
                    <a:pt x="3477" y="3456"/>
                  </a:lnTo>
                  <a:lnTo>
                    <a:pt x="3453" y="3396"/>
                  </a:lnTo>
                  <a:lnTo>
                    <a:pt x="3357" y="3420"/>
                  </a:lnTo>
                  <a:lnTo>
                    <a:pt x="3309" y="3420"/>
                  </a:lnTo>
                  <a:lnTo>
                    <a:pt x="3249" y="3504"/>
                  </a:lnTo>
                  <a:lnTo>
                    <a:pt x="3297" y="3624"/>
                  </a:lnTo>
                  <a:lnTo>
                    <a:pt x="3297" y="3732"/>
                  </a:lnTo>
                  <a:lnTo>
                    <a:pt x="3237" y="3828"/>
                  </a:lnTo>
                  <a:lnTo>
                    <a:pt x="3237" y="3924"/>
                  </a:lnTo>
                  <a:lnTo>
                    <a:pt x="3345" y="3936"/>
                  </a:lnTo>
                  <a:lnTo>
                    <a:pt x="3417" y="3960"/>
                  </a:lnTo>
                  <a:lnTo>
                    <a:pt x="3441" y="4104"/>
                  </a:lnTo>
                  <a:lnTo>
                    <a:pt x="3513" y="4188"/>
                  </a:lnTo>
                  <a:lnTo>
                    <a:pt x="3393" y="4272"/>
                  </a:lnTo>
                  <a:lnTo>
                    <a:pt x="3381" y="4404"/>
                  </a:lnTo>
                  <a:lnTo>
                    <a:pt x="3333" y="4464"/>
                  </a:lnTo>
                  <a:lnTo>
                    <a:pt x="3369" y="4584"/>
                  </a:lnTo>
                  <a:lnTo>
                    <a:pt x="3249" y="4572"/>
                  </a:lnTo>
                  <a:lnTo>
                    <a:pt x="3177" y="4560"/>
                  </a:lnTo>
                  <a:lnTo>
                    <a:pt x="3057" y="4548"/>
                  </a:lnTo>
                  <a:lnTo>
                    <a:pt x="2949" y="4644"/>
                  </a:lnTo>
                  <a:lnTo>
                    <a:pt x="2829" y="4632"/>
                  </a:lnTo>
                  <a:lnTo>
                    <a:pt x="2721" y="4608"/>
                  </a:lnTo>
                  <a:lnTo>
                    <a:pt x="2613" y="4632"/>
                  </a:lnTo>
                  <a:lnTo>
                    <a:pt x="2469" y="4668"/>
                  </a:lnTo>
                  <a:lnTo>
                    <a:pt x="2421" y="4848"/>
                  </a:lnTo>
                  <a:lnTo>
                    <a:pt x="2457" y="4980"/>
                  </a:lnTo>
                  <a:lnTo>
                    <a:pt x="2445" y="5052"/>
                  </a:lnTo>
                  <a:lnTo>
                    <a:pt x="2361" y="5184"/>
                  </a:lnTo>
                  <a:lnTo>
                    <a:pt x="2301" y="5274"/>
                  </a:lnTo>
                  <a:lnTo>
                    <a:pt x="2505" y="5340"/>
                  </a:lnTo>
                  <a:lnTo>
                    <a:pt x="2985" y="5640"/>
                  </a:lnTo>
                  <a:lnTo>
                    <a:pt x="3525" y="6036"/>
                  </a:lnTo>
                  <a:lnTo>
                    <a:pt x="3885" y="6048"/>
                  </a:lnTo>
                  <a:lnTo>
                    <a:pt x="4797" y="6216"/>
                  </a:lnTo>
                  <a:lnTo>
                    <a:pt x="4989" y="5952"/>
                  </a:lnTo>
                  <a:lnTo>
                    <a:pt x="5109" y="5820"/>
                  </a:lnTo>
                  <a:lnTo>
                    <a:pt x="5865" y="5448"/>
                  </a:lnTo>
                  <a:lnTo>
                    <a:pt x="5877" y="5352"/>
                  </a:lnTo>
                  <a:lnTo>
                    <a:pt x="5817" y="5232"/>
                  </a:lnTo>
                  <a:lnTo>
                    <a:pt x="5889" y="5184"/>
                  </a:lnTo>
                  <a:lnTo>
                    <a:pt x="5985" y="5220"/>
                  </a:lnTo>
                  <a:lnTo>
                    <a:pt x="6081" y="5124"/>
                  </a:lnTo>
                  <a:lnTo>
                    <a:pt x="6213" y="5088"/>
                  </a:lnTo>
                  <a:lnTo>
                    <a:pt x="6213" y="4980"/>
                  </a:lnTo>
                  <a:lnTo>
                    <a:pt x="6309" y="5004"/>
                  </a:lnTo>
                  <a:lnTo>
                    <a:pt x="6441" y="4980"/>
                  </a:lnTo>
                  <a:lnTo>
                    <a:pt x="6609" y="4992"/>
                  </a:lnTo>
                  <a:lnTo>
                    <a:pt x="6537" y="4860"/>
                  </a:lnTo>
                  <a:lnTo>
                    <a:pt x="6441" y="4776"/>
                  </a:lnTo>
                  <a:lnTo>
                    <a:pt x="6357" y="4680"/>
                  </a:lnTo>
                  <a:lnTo>
                    <a:pt x="6357" y="4548"/>
                  </a:lnTo>
                  <a:lnTo>
                    <a:pt x="6285" y="4404"/>
                  </a:lnTo>
                  <a:lnTo>
                    <a:pt x="6237" y="4344"/>
                  </a:lnTo>
                  <a:lnTo>
                    <a:pt x="6285" y="4296"/>
                  </a:lnTo>
                  <a:lnTo>
                    <a:pt x="6345" y="4152"/>
                  </a:lnTo>
                  <a:lnTo>
                    <a:pt x="6285" y="4116"/>
                  </a:lnTo>
                  <a:lnTo>
                    <a:pt x="6213" y="4056"/>
                  </a:lnTo>
                  <a:lnTo>
                    <a:pt x="6177" y="3948"/>
                  </a:lnTo>
                  <a:lnTo>
                    <a:pt x="6093" y="3948"/>
                  </a:lnTo>
                  <a:lnTo>
                    <a:pt x="6057" y="3852"/>
                  </a:lnTo>
                  <a:lnTo>
                    <a:pt x="5961" y="3816"/>
                  </a:lnTo>
                  <a:lnTo>
                    <a:pt x="5985" y="3708"/>
                  </a:lnTo>
                  <a:lnTo>
                    <a:pt x="5985" y="3588"/>
                  </a:lnTo>
                  <a:lnTo>
                    <a:pt x="6105" y="3588"/>
                  </a:lnTo>
                  <a:lnTo>
                    <a:pt x="6117" y="3492"/>
                  </a:lnTo>
                  <a:lnTo>
                    <a:pt x="6177" y="3336"/>
                  </a:lnTo>
                  <a:lnTo>
                    <a:pt x="6285" y="3444"/>
                  </a:lnTo>
                  <a:lnTo>
                    <a:pt x="6357" y="3552"/>
                  </a:lnTo>
                  <a:lnTo>
                    <a:pt x="6429" y="3684"/>
                  </a:lnTo>
                  <a:lnTo>
                    <a:pt x="6489" y="3756"/>
                  </a:lnTo>
                  <a:lnTo>
                    <a:pt x="6561" y="3828"/>
                  </a:lnTo>
                  <a:lnTo>
                    <a:pt x="6693" y="3720"/>
                  </a:lnTo>
                  <a:lnTo>
                    <a:pt x="6681" y="3576"/>
                  </a:lnTo>
                  <a:lnTo>
                    <a:pt x="6789" y="3456"/>
                  </a:lnTo>
                  <a:lnTo>
                    <a:pt x="6909" y="3432"/>
                  </a:lnTo>
                  <a:lnTo>
                    <a:pt x="6981" y="3384"/>
                  </a:lnTo>
                  <a:lnTo>
                    <a:pt x="7053" y="3252"/>
                  </a:lnTo>
                  <a:lnTo>
                    <a:pt x="7065" y="3108"/>
                  </a:lnTo>
                  <a:lnTo>
                    <a:pt x="7137" y="3024"/>
                  </a:lnTo>
                  <a:lnTo>
                    <a:pt x="7185" y="2868"/>
                  </a:lnTo>
                  <a:lnTo>
                    <a:pt x="7161" y="2760"/>
                  </a:lnTo>
                  <a:lnTo>
                    <a:pt x="7077" y="2640"/>
                  </a:lnTo>
                  <a:lnTo>
                    <a:pt x="7005" y="2556"/>
                  </a:lnTo>
                  <a:lnTo>
                    <a:pt x="7017" y="2436"/>
                  </a:lnTo>
                  <a:lnTo>
                    <a:pt x="6993" y="2316"/>
                  </a:lnTo>
                  <a:lnTo>
                    <a:pt x="7017" y="2172"/>
                  </a:lnTo>
                  <a:lnTo>
                    <a:pt x="7053" y="1980"/>
                  </a:lnTo>
                  <a:lnTo>
                    <a:pt x="7125" y="1860"/>
                  </a:lnTo>
                  <a:lnTo>
                    <a:pt x="7185" y="1752"/>
                  </a:lnTo>
                  <a:lnTo>
                    <a:pt x="7137" y="1632"/>
                  </a:lnTo>
                  <a:lnTo>
                    <a:pt x="7209" y="1560"/>
                  </a:lnTo>
                  <a:lnTo>
                    <a:pt x="7269" y="1632"/>
                  </a:lnTo>
                  <a:lnTo>
                    <a:pt x="7353" y="1668"/>
                  </a:lnTo>
                  <a:lnTo>
                    <a:pt x="7437" y="1704"/>
                  </a:lnTo>
                  <a:lnTo>
                    <a:pt x="7473" y="1800"/>
                  </a:lnTo>
                  <a:lnTo>
                    <a:pt x="7509" y="1932"/>
                  </a:lnTo>
                  <a:lnTo>
                    <a:pt x="7545" y="2004"/>
                  </a:lnTo>
                  <a:lnTo>
                    <a:pt x="7605" y="1932"/>
                  </a:lnTo>
                  <a:lnTo>
                    <a:pt x="7689" y="1824"/>
                  </a:lnTo>
                  <a:lnTo>
                    <a:pt x="7785" y="1788"/>
                  </a:lnTo>
                  <a:lnTo>
                    <a:pt x="7785" y="1632"/>
                  </a:lnTo>
                  <a:lnTo>
                    <a:pt x="7713" y="1560"/>
                  </a:lnTo>
                  <a:lnTo>
                    <a:pt x="7725" y="1440"/>
                  </a:lnTo>
                  <a:lnTo>
                    <a:pt x="7701" y="1368"/>
                  </a:lnTo>
                  <a:lnTo>
                    <a:pt x="7629" y="1236"/>
                  </a:lnTo>
                  <a:lnTo>
                    <a:pt x="7545" y="1152"/>
                  </a:lnTo>
                  <a:lnTo>
                    <a:pt x="7497" y="1068"/>
                  </a:lnTo>
                  <a:lnTo>
                    <a:pt x="7485" y="924"/>
                  </a:lnTo>
                  <a:lnTo>
                    <a:pt x="7401" y="840"/>
                  </a:lnTo>
                  <a:lnTo>
                    <a:pt x="7341" y="744"/>
                  </a:lnTo>
                  <a:lnTo>
                    <a:pt x="7329" y="648"/>
                  </a:lnTo>
                  <a:lnTo>
                    <a:pt x="7257" y="612"/>
                  </a:lnTo>
                  <a:lnTo>
                    <a:pt x="7197" y="648"/>
                  </a:lnTo>
                  <a:lnTo>
                    <a:pt x="7101" y="672"/>
                  </a:lnTo>
                  <a:lnTo>
                    <a:pt x="7077" y="816"/>
                  </a:lnTo>
                  <a:lnTo>
                    <a:pt x="6945" y="804"/>
                  </a:lnTo>
                  <a:lnTo>
                    <a:pt x="6801" y="840"/>
                  </a:lnTo>
                  <a:lnTo>
                    <a:pt x="6705" y="792"/>
                  </a:lnTo>
                  <a:lnTo>
                    <a:pt x="6609" y="816"/>
                  </a:lnTo>
                  <a:lnTo>
                    <a:pt x="6477" y="840"/>
                  </a:lnTo>
                  <a:lnTo>
                    <a:pt x="6357" y="792"/>
                  </a:lnTo>
                  <a:lnTo>
                    <a:pt x="6273" y="840"/>
                  </a:lnTo>
                  <a:lnTo>
                    <a:pt x="6165" y="912"/>
                  </a:lnTo>
                  <a:lnTo>
                    <a:pt x="6081" y="960"/>
                  </a:lnTo>
                  <a:lnTo>
                    <a:pt x="5985" y="984"/>
                  </a:lnTo>
                  <a:lnTo>
                    <a:pt x="5925" y="936"/>
                  </a:lnTo>
                  <a:lnTo>
                    <a:pt x="6021" y="876"/>
                  </a:lnTo>
                  <a:lnTo>
                    <a:pt x="5949" y="828"/>
                  </a:lnTo>
                  <a:lnTo>
                    <a:pt x="5861" y="8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5" name="Freeform 6">
              <a:extLst>
                <a:ext uri="{FF2B5EF4-FFF2-40B4-BE49-F238E27FC236}">
                  <a16:creationId xmlns:a16="http://schemas.microsoft.com/office/drawing/2014/main" id="{A1ED4CD8-95BC-4D1E-8498-A4BED3F4014A}"/>
                </a:ext>
              </a:extLst>
            </p:cNvPr>
            <p:cNvSpPr>
              <a:spLocks/>
            </p:cNvSpPr>
            <p:nvPr/>
          </p:nvSpPr>
          <p:spPr bwMode="auto">
            <a:xfrm>
              <a:off x="4667679" y="2467363"/>
              <a:ext cx="1816779" cy="1777345"/>
            </a:xfrm>
            <a:custGeom>
              <a:avLst/>
              <a:gdLst>
                <a:gd name="T0" fmla="*/ 84 w 6450"/>
                <a:gd name="T1" fmla="*/ 1236 h 6311"/>
                <a:gd name="T2" fmla="*/ 228 w 6450"/>
                <a:gd name="T3" fmla="*/ 900 h 6311"/>
                <a:gd name="T4" fmla="*/ 372 w 6450"/>
                <a:gd name="T5" fmla="*/ 420 h 6311"/>
                <a:gd name="T6" fmla="*/ 588 w 6450"/>
                <a:gd name="T7" fmla="*/ 84 h 6311"/>
                <a:gd name="T8" fmla="*/ 1500 w 6450"/>
                <a:gd name="T9" fmla="*/ 60 h 6311"/>
                <a:gd name="T10" fmla="*/ 2004 w 6450"/>
                <a:gd name="T11" fmla="*/ 60 h 6311"/>
                <a:gd name="T12" fmla="*/ 1884 w 6450"/>
                <a:gd name="T13" fmla="*/ 624 h 6311"/>
                <a:gd name="T14" fmla="*/ 2112 w 6450"/>
                <a:gd name="T15" fmla="*/ 1020 h 6311"/>
                <a:gd name="T16" fmla="*/ 2436 w 6450"/>
                <a:gd name="T17" fmla="*/ 1404 h 6311"/>
                <a:gd name="T18" fmla="*/ 3072 w 6450"/>
                <a:gd name="T19" fmla="*/ 1884 h 6311"/>
                <a:gd name="T20" fmla="*/ 5652 w 6450"/>
                <a:gd name="T21" fmla="*/ 2748 h 6311"/>
                <a:gd name="T22" fmla="*/ 2964 w 6450"/>
                <a:gd name="T23" fmla="*/ 5460 h 6311"/>
                <a:gd name="T24" fmla="*/ 1992 w 6450"/>
                <a:gd name="T25" fmla="*/ 5940 h 6311"/>
                <a:gd name="T26" fmla="*/ 1017 w 6450"/>
                <a:gd name="T27" fmla="*/ 6311 h 6311"/>
                <a:gd name="T28" fmla="*/ 444 w 6450"/>
                <a:gd name="T29" fmla="*/ 6300 h 6311"/>
                <a:gd name="T30" fmla="*/ 72 w 6450"/>
                <a:gd name="T31" fmla="*/ 5940 h 6311"/>
                <a:gd name="T32" fmla="*/ 180 w 6450"/>
                <a:gd name="T33" fmla="*/ 5808 h 6311"/>
                <a:gd name="T34" fmla="*/ 408 w 6450"/>
                <a:gd name="T35" fmla="*/ 5568 h 6311"/>
                <a:gd name="T36" fmla="*/ 804 w 6450"/>
                <a:gd name="T37" fmla="*/ 5580 h 6311"/>
                <a:gd name="T38" fmla="*/ 552 w 6450"/>
                <a:gd name="T39" fmla="*/ 5268 h 6311"/>
                <a:gd name="T40" fmla="*/ 432 w 6450"/>
                <a:gd name="T41" fmla="*/ 4932 h 6311"/>
                <a:gd name="T42" fmla="*/ 480 w 6450"/>
                <a:gd name="T43" fmla="*/ 4704 h 6311"/>
                <a:gd name="T44" fmla="*/ 288 w 6450"/>
                <a:gd name="T45" fmla="*/ 4536 h 6311"/>
                <a:gd name="T46" fmla="*/ 180 w 6450"/>
                <a:gd name="T47" fmla="*/ 4296 h 6311"/>
                <a:gd name="T48" fmla="*/ 312 w 6450"/>
                <a:gd name="T49" fmla="*/ 4080 h 6311"/>
                <a:gd name="T50" fmla="*/ 552 w 6450"/>
                <a:gd name="T51" fmla="*/ 4140 h 6311"/>
                <a:gd name="T52" fmla="*/ 756 w 6450"/>
                <a:gd name="T53" fmla="*/ 4416 h 6311"/>
                <a:gd name="T54" fmla="*/ 984 w 6450"/>
                <a:gd name="T55" fmla="*/ 4044 h 6311"/>
                <a:gd name="T56" fmla="*/ 1248 w 6450"/>
                <a:gd name="T57" fmla="*/ 3840 h 6311"/>
                <a:gd name="T58" fmla="*/ 1380 w 6450"/>
                <a:gd name="T59" fmla="*/ 3456 h 6311"/>
                <a:gd name="T60" fmla="*/ 1200 w 6450"/>
                <a:gd name="T61" fmla="*/ 3144 h 6311"/>
                <a:gd name="T62" fmla="*/ 1212 w 6450"/>
                <a:gd name="T63" fmla="*/ 2760 h 6311"/>
                <a:gd name="T64" fmla="*/ 1380 w 6450"/>
                <a:gd name="T65" fmla="*/ 2340 h 6311"/>
                <a:gd name="T66" fmla="*/ 1464 w 6450"/>
                <a:gd name="T67" fmla="*/ 2220 h 6311"/>
                <a:gd name="T68" fmla="*/ 1668 w 6450"/>
                <a:gd name="T69" fmla="*/ 2388 h 6311"/>
                <a:gd name="T70" fmla="*/ 1800 w 6450"/>
                <a:gd name="T71" fmla="*/ 2520 h 6311"/>
                <a:gd name="T72" fmla="*/ 1980 w 6450"/>
                <a:gd name="T73" fmla="*/ 2220 h 6311"/>
                <a:gd name="T74" fmla="*/ 1896 w 6450"/>
                <a:gd name="T75" fmla="*/ 1956 h 6311"/>
                <a:gd name="T76" fmla="*/ 1692 w 6450"/>
                <a:gd name="T77" fmla="*/ 1656 h 6311"/>
                <a:gd name="T78" fmla="*/ 1536 w 6450"/>
                <a:gd name="T79" fmla="*/ 1332 h 6311"/>
                <a:gd name="T80" fmla="*/ 1391 w 6450"/>
                <a:gd name="T81" fmla="*/ 1236 h 6311"/>
                <a:gd name="T82" fmla="*/ 1140 w 6450"/>
                <a:gd name="T83" fmla="*/ 1392 h 6311"/>
                <a:gd name="T84" fmla="*/ 804 w 6450"/>
                <a:gd name="T85" fmla="*/ 1404 h 6311"/>
                <a:gd name="T86" fmla="*/ 468 w 6450"/>
                <a:gd name="T87" fmla="*/ 1428 h 6311"/>
                <a:gd name="T88" fmla="*/ 180 w 6450"/>
                <a:gd name="T89" fmla="*/ 1572 h 6311"/>
                <a:gd name="T90" fmla="*/ 144 w 6450"/>
                <a:gd name="T91" fmla="*/ 1416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50" h="6311">
                  <a:moveTo>
                    <a:pt x="56" y="1428"/>
                  </a:moveTo>
                  <a:lnTo>
                    <a:pt x="0" y="1380"/>
                  </a:lnTo>
                  <a:lnTo>
                    <a:pt x="84" y="1236"/>
                  </a:lnTo>
                  <a:lnTo>
                    <a:pt x="144" y="1140"/>
                  </a:lnTo>
                  <a:lnTo>
                    <a:pt x="288" y="1020"/>
                  </a:lnTo>
                  <a:lnTo>
                    <a:pt x="228" y="900"/>
                  </a:lnTo>
                  <a:lnTo>
                    <a:pt x="276" y="756"/>
                  </a:lnTo>
                  <a:lnTo>
                    <a:pt x="324" y="588"/>
                  </a:lnTo>
                  <a:lnTo>
                    <a:pt x="372" y="420"/>
                  </a:lnTo>
                  <a:lnTo>
                    <a:pt x="384" y="300"/>
                  </a:lnTo>
                  <a:lnTo>
                    <a:pt x="480" y="192"/>
                  </a:lnTo>
                  <a:lnTo>
                    <a:pt x="588" y="84"/>
                  </a:lnTo>
                  <a:lnTo>
                    <a:pt x="978" y="84"/>
                  </a:lnTo>
                  <a:lnTo>
                    <a:pt x="1224" y="84"/>
                  </a:lnTo>
                  <a:lnTo>
                    <a:pt x="1500" y="60"/>
                  </a:lnTo>
                  <a:lnTo>
                    <a:pt x="1716" y="0"/>
                  </a:lnTo>
                  <a:lnTo>
                    <a:pt x="1824" y="0"/>
                  </a:lnTo>
                  <a:lnTo>
                    <a:pt x="2004" y="60"/>
                  </a:lnTo>
                  <a:lnTo>
                    <a:pt x="1908" y="228"/>
                  </a:lnTo>
                  <a:lnTo>
                    <a:pt x="1788" y="420"/>
                  </a:lnTo>
                  <a:lnTo>
                    <a:pt x="1884" y="624"/>
                  </a:lnTo>
                  <a:lnTo>
                    <a:pt x="1980" y="780"/>
                  </a:lnTo>
                  <a:lnTo>
                    <a:pt x="2076" y="900"/>
                  </a:lnTo>
                  <a:lnTo>
                    <a:pt x="2112" y="1020"/>
                  </a:lnTo>
                  <a:lnTo>
                    <a:pt x="2268" y="1044"/>
                  </a:lnTo>
                  <a:lnTo>
                    <a:pt x="2340" y="1236"/>
                  </a:lnTo>
                  <a:lnTo>
                    <a:pt x="2436" y="1404"/>
                  </a:lnTo>
                  <a:lnTo>
                    <a:pt x="2640" y="1560"/>
                  </a:lnTo>
                  <a:lnTo>
                    <a:pt x="2892" y="1740"/>
                  </a:lnTo>
                  <a:lnTo>
                    <a:pt x="3072" y="1884"/>
                  </a:lnTo>
                  <a:lnTo>
                    <a:pt x="3792" y="2112"/>
                  </a:lnTo>
                  <a:lnTo>
                    <a:pt x="4668" y="2412"/>
                  </a:lnTo>
                  <a:lnTo>
                    <a:pt x="5652" y="2748"/>
                  </a:lnTo>
                  <a:lnTo>
                    <a:pt x="6450" y="2712"/>
                  </a:lnTo>
                  <a:lnTo>
                    <a:pt x="3840" y="5502"/>
                  </a:lnTo>
                  <a:lnTo>
                    <a:pt x="2964" y="5460"/>
                  </a:lnTo>
                  <a:lnTo>
                    <a:pt x="2412" y="5604"/>
                  </a:lnTo>
                  <a:lnTo>
                    <a:pt x="2172" y="5724"/>
                  </a:lnTo>
                  <a:lnTo>
                    <a:pt x="1992" y="5940"/>
                  </a:lnTo>
                  <a:lnTo>
                    <a:pt x="1752" y="6072"/>
                  </a:lnTo>
                  <a:lnTo>
                    <a:pt x="1260" y="6132"/>
                  </a:lnTo>
                  <a:lnTo>
                    <a:pt x="1017" y="6311"/>
                  </a:lnTo>
                  <a:lnTo>
                    <a:pt x="948" y="6300"/>
                  </a:lnTo>
                  <a:lnTo>
                    <a:pt x="684" y="6300"/>
                  </a:lnTo>
                  <a:lnTo>
                    <a:pt x="444" y="6300"/>
                  </a:lnTo>
                  <a:lnTo>
                    <a:pt x="300" y="6192"/>
                  </a:lnTo>
                  <a:lnTo>
                    <a:pt x="60" y="6036"/>
                  </a:lnTo>
                  <a:lnTo>
                    <a:pt x="72" y="5940"/>
                  </a:lnTo>
                  <a:lnTo>
                    <a:pt x="12" y="5820"/>
                  </a:lnTo>
                  <a:lnTo>
                    <a:pt x="84" y="5772"/>
                  </a:lnTo>
                  <a:lnTo>
                    <a:pt x="180" y="5808"/>
                  </a:lnTo>
                  <a:lnTo>
                    <a:pt x="276" y="5712"/>
                  </a:lnTo>
                  <a:lnTo>
                    <a:pt x="408" y="5676"/>
                  </a:lnTo>
                  <a:lnTo>
                    <a:pt x="408" y="5568"/>
                  </a:lnTo>
                  <a:lnTo>
                    <a:pt x="504" y="5592"/>
                  </a:lnTo>
                  <a:lnTo>
                    <a:pt x="636" y="5568"/>
                  </a:lnTo>
                  <a:lnTo>
                    <a:pt x="804" y="5580"/>
                  </a:lnTo>
                  <a:lnTo>
                    <a:pt x="732" y="5448"/>
                  </a:lnTo>
                  <a:lnTo>
                    <a:pt x="636" y="5364"/>
                  </a:lnTo>
                  <a:lnTo>
                    <a:pt x="552" y="5268"/>
                  </a:lnTo>
                  <a:lnTo>
                    <a:pt x="552" y="5136"/>
                  </a:lnTo>
                  <a:lnTo>
                    <a:pt x="480" y="4992"/>
                  </a:lnTo>
                  <a:lnTo>
                    <a:pt x="432" y="4932"/>
                  </a:lnTo>
                  <a:lnTo>
                    <a:pt x="480" y="4884"/>
                  </a:lnTo>
                  <a:lnTo>
                    <a:pt x="540" y="4740"/>
                  </a:lnTo>
                  <a:lnTo>
                    <a:pt x="480" y="4704"/>
                  </a:lnTo>
                  <a:lnTo>
                    <a:pt x="408" y="4644"/>
                  </a:lnTo>
                  <a:lnTo>
                    <a:pt x="372" y="4536"/>
                  </a:lnTo>
                  <a:lnTo>
                    <a:pt x="288" y="4536"/>
                  </a:lnTo>
                  <a:lnTo>
                    <a:pt x="252" y="4440"/>
                  </a:lnTo>
                  <a:lnTo>
                    <a:pt x="156" y="4404"/>
                  </a:lnTo>
                  <a:lnTo>
                    <a:pt x="180" y="4296"/>
                  </a:lnTo>
                  <a:lnTo>
                    <a:pt x="180" y="4176"/>
                  </a:lnTo>
                  <a:lnTo>
                    <a:pt x="300" y="4176"/>
                  </a:lnTo>
                  <a:lnTo>
                    <a:pt x="312" y="4080"/>
                  </a:lnTo>
                  <a:lnTo>
                    <a:pt x="372" y="3924"/>
                  </a:lnTo>
                  <a:lnTo>
                    <a:pt x="480" y="4032"/>
                  </a:lnTo>
                  <a:lnTo>
                    <a:pt x="552" y="4140"/>
                  </a:lnTo>
                  <a:lnTo>
                    <a:pt x="624" y="4272"/>
                  </a:lnTo>
                  <a:lnTo>
                    <a:pt x="684" y="4344"/>
                  </a:lnTo>
                  <a:lnTo>
                    <a:pt x="756" y="4416"/>
                  </a:lnTo>
                  <a:lnTo>
                    <a:pt x="888" y="4308"/>
                  </a:lnTo>
                  <a:lnTo>
                    <a:pt x="876" y="4164"/>
                  </a:lnTo>
                  <a:lnTo>
                    <a:pt x="984" y="4044"/>
                  </a:lnTo>
                  <a:lnTo>
                    <a:pt x="1104" y="4020"/>
                  </a:lnTo>
                  <a:lnTo>
                    <a:pt x="1176" y="3972"/>
                  </a:lnTo>
                  <a:lnTo>
                    <a:pt x="1248" y="3840"/>
                  </a:lnTo>
                  <a:lnTo>
                    <a:pt x="1260" y="3696"/>
                  </a:lnTo>
                  <a:lnTo>
                    <a:pt x="1332" y="3612"/>
                  </a:lnTo>
                  <a:lnTo>
                    <a:pt x="1380" y="3456"/>
                  </a:lnTo>
                  <a:lnTo>
                    <a:pt x="1356" y="3348"/>
                  </a:lnTo>
                  <a:lnTo>
                    <a:pt x="1272" y="3228"/>
                  </a:lnTo>
                  <a:lnTo>
                    <a:pt x="1200" y="3144"/>
                  </a:lnTo>
                  <a:lnTo>
                    <a:pt x="1212" y="3024"/>
                  </a:lnTo>
                  <a:lnTo>
                    <a:pt x="1188" y="2904"/>
                  </a:lnTo>
                  <a:lnTo>
                    <a:pt x="1212" y="2760"/>
                  </a:lnTo>
                  <a:lnTo>
                    <a:pt x="1248" y="2568"/>
                  </a:lnTo>
                  <a:lnTo>
                    <a:pt x="1320" y="2448"/>
                  </a:lnTo>
                  <a:lnTo>
                    <a:pt x="1380" y="2340"/>
                  </a:lnTo>
                  <a:lnTo>
                    <a:pt x="1332" y="2220"/>
                  </a:lnTo>
                  <a:lnTo>
                    <a:pt x="1404" y="2148"/>
                  </a:lnTo>
                  <a:lnTo>
                    <a:pt x="1464" y="2220"/>
                  </a:lnTo>
                  <a:lnTo>
                    <a:pt x="1548" y="2256"/>
                  </a:lnTo>
                  <a:lnTo>
                    <a:pt x="1632" y="2292"/>
                  </a:lnTo>
                  <a:lnTo>
                    <a:pt x="1668" y="2388"/>
                  </a:lnTo>
                  <a:lnTo>
                    <a:pt x="1704" y="2520"/>
                  </a:lnTo>
                  <a:lnTo>
                    <a:pt x="1740" y="2592"/>
                  </a:lnTo>
                  <a:lnTo>
                    <a:pt x="1800" y="2520"/>
                  </a:lnTo>
                  <a:lnTo>
                    <a:pt x="1884" y="2412"/>
                  </a:lnTo>
                  <a:lnTo>
                    <a:pt x="1980" y="2376"/>
                  </a:lnTo>
                  <a:lnTo>
                    <a:pt x="1980" y="2220"/>
                  </a:lnTo>
                  <a:lnTo>
                    <a:pt x="1908" y="2148"/>
                  </a:lnTo>
                  <a:lnTo>
                    <a:pt x="1920" y="2028"/>
                  </a:lnTo>
                  <a:lnTo>
                    <a:pt x="1896" y="1956"/>
                  </a:lnTo>
                  <a:lnTo>
                    <a:pt x="1824" y="1824"/>
                  </a:lnTo>
                  <a:lnTo>
                    <a:pt x="1740" y="1740"/>
                  </a:lnTo>
                  <a:lnTo>
                    <a:pt x="1692" y="1656"/>
                  </a:lnTo>
                  <a:lnTo>
                    <a:pt x="1680" y="1512"/>
                  </a:lnTo>
                  <a:lnTo>
                    <a:pt x="1596" y="1428"/>
                  </a:lnTo>
                  <a:lnTo>
                    <a:pt x="1536" y="1332"/>
                  </a:lnTo>
                  <a:lnTo>
                    <a:pt x="1524" y="1236"/>
                  </a:lnTo>
                  <a:lnTo>
                    <a:pt x="1452" y="1200"/>
                  </a:lnTo>
                  <a:lnTo>
                    <a:pt x="1391" y="1236"/>
                  </a:lnTo>
                  <a:lnTo>
                    <a:pt x="1295" y="1260"/>
                  </a:lnTo>
                  <a:lnTo>
                    <a:pt x="1272" y="1406"/>
                  </a:lnTo>
                  <a:lnTo>
                    <a:pt x="1140" y="1392"/>
                  </a:lnTo>
                  <a:lnTo>
                    <a:pt x="999" y="1428"/>
                  </a:lnTo>
                  <a:lnTo>
                    <a:pt x="900" y="1380"/>
                  </a:lnTo>
                  <a:lnTo>
                    <a:pt x="804" y="1404"/>
                  </a:lnTo>
                  <a:lnTo>
                    <a:pt x="672" y="1428"/>
                  </a:lnTo>
                  <a:lnTo>
                    <a:pt x="552" y="1380"/>
                  </a:lnTo>
                  <a:lnTo>
                    <a:pt x="468" y="1428"/>
                  </a:lnTo>
                  <a:lnTo>
                    <a:pt x="360" y="1500"/>
                  </a:lnTo>
                  <a:lnTo>
                    <a:pt x="276" y="1548"/>
                  </a:lnTo>
                  <a:lnTo>
                    <a:pt x="180" y="1572"/>
                  </a:lnTo>
                  <a:lnTo>
                    <a:pt x="120" y="1524"/>
                  </a:lnTo>
                  <a:lnTo>
                    <a:pt x="216" y="1464"/>
                  </a:lnTo>
                  <a:lnTo>
                    <a:pt x="144" y="1416"/>
                  </a:lnTo>
                  <a:lnTo>
                    <a:pt x="56" y="1428"/>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6" name="Freeform 7">
              <a:extLst>
                <a:ext uri="{FF2B5EF4-FFF2-40B4-BE49-F238E27FC236}">
                  <a16:creationId xmlns:a16="http://schemas.microsoft.com/office/drawing/2014/main" id="{8CA3BC30-A5DD-4316-BE1C-C175367E9DF4}"/>
                </a:ext>
              </a:extLst>
            </p:cNvPr>
            <p:cNvSpPr>
              <a:spLocks/>
            </p:cNvSpPr>
            <p:nvPr/>
          </p:nvSpPr>
          <p:spPr bwMode="auto">
            <a:xfrm>
              <a:off x="3500153" y="2977188"/>
              <a:ext cx="81685" cy="54926"/>
            </a:xfrm>
            <a:custGeom>
              <a:avLst/>
              <a:gdLst>
                <a:gd name="T0" fmla="*/ 32 w 288"/>
                <a:gd name="T1" fmla="*/ 16 h 192"/>
                <a:gd name="T2" fmla="*/ 0 w 288"/>
                <a:gd name="T3" fmla="*/ 112 h 192"/>
                <a:gd name="T4" fmla="*/ 48 w 288"/>
                <a:gd name="T5" fmla="*/ 160 h 192"/>
                <a:gd name="T6" fmla="*/ 144 w 288"/>
                <a:gd name="T7" fmla="*/ 168 h 192"/>
                <a:gd name="T8" fmla="*/ 208 w 288"/>
                <a:gd name="T9" fmla="*/ 192 h 192"/>
                <a:gd name="T10" fmla="*/ 200 w 288"/>
                <a:gd name="T11" fmla="*/ 136 h 192"/>
                <a:gd name="T12" fmla="*/ 288 w 288"/>
                <a:gd name="T13" fmla="*/ 80 h 192"/>
                <a:gd name="T14" fmla="*/ 248 w 288"/>
                <a:gd name="T15" fmla="*/ 24 h 192"/>
                <a:gd name="T16" fmla="*/ 176 w 288"/>
                <a:gd name="T17" fmla="*/ 32 h 192"/>
                <a:gd name="T18" fmla="*/ 112 w 288"/>
                <a:gd name="T19" fmla="*/ 0 h 192"/>
                <a:gd name="T20" fmla="*/ 32 w 288"/>
                <a:gd name="T2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192">
                  <a:moveTo>
                    <a:pt x="32" y="16"/>
                  </a:moveTo>
                  <a:lnTo>
                    <a:pt x="0" y="112"/>
                  </a:lnTo>
                  <a:lnTo>
                    <a:pt x="48" y="160"/>
                  </a:lnTo>
                  <a:lnTo>
                    <a:pt x="144" y="168"/>
                  </a:lnTo>
                  <a:lnTo>
                    <a:pt x="208" y="192"/>
                  </a:lnTo>
                  <a:lnTo>
                    <a:pt x="200" y="136"/>
                  </a:lnTo>
                  <a:lnTo>
                    <a:pt x="288" y="80"/>
                  </a:lnTo>
                  <a:lnTo>
                    <a:pt x="248" y="24"/>
                  </a:lnTo>
                  <a:lnTo>
                    <a:pt x="176" y="32"/>
                  </a:lnTo>
                  <a:lnTo>
                    <a:pt x="112" y="0"/>
                  </a:lnTo>
                  <a:lnTo>
                    <a:pt x="32" y="16"/>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7" name="Freeform 8">
              <a:extLst>
                <a:ext uri="{FF2B5EF4-FFF2-40B4-BE49-F238E27FC236}">
                  <a16:creationId xmlns:a16="http://schemas.microsoft.com/office/drawing/2014/main" id="{8C059C3C-9636-4A59-9A7E-97925F89D4A6}"/>
                </a:ext>
              </a:extLst>
            </p:cNvPr>
            <p:cNvSpPr>
              <a:spLocks/>
            </p:cNvSpPr>
            <p:nvPr/>
          </p:nvSpPr>
          <p:spPr bwMode="auto">
            <a:xfrm>
              <a:off x="4163488" y="2958880"/>
              <a:ext cx="69010" cy="71827"/>
            </a:xfrm>
            <a:custGeom>
              <a:avLst/>
              <a:gdLst>
                <a:gd name="T0" fmla="*/ 33 w 244"/>
                <a:gd name="T1" fmla="*/ 24 h 254"/>
                <a:gd name="T2" fmla="*/ 0 w 244"/>
                <a:gd name="T3" fmla="*/ 91 h 254"/>
                <a:gd name="T4" fmla="*/ 9 w 244"/>
                <a:gd name="T5" fmla="*/ 153 h 254"/>
                <a:gd name="T6" fmla="*/ 52 w 244"/>
                <a:gd name="T7" fmla="*/ 206 h 254"/>
                <a:gd name="T8" fmla="*/ 105 w 244"/>
                <a:gd name="T9" fmla="*/ 249 h 254"/>
                <a:gd name="T10" fmla="*/ 148 w 244"/>
                <a:gd name="T11" fmla="*/ 254 h 254"/>
                <a:gd name="T12" fmla="*/ 177 w 244"/>
                <a:gd name="T13" fmla="*/ 225 h 254"/>
                <a:gd name="T14" fmla="*/ 196 w 244"/>
                <a:gd name="T15" fmla="*/ 168 h 254"/>
                <a:gd name="T16" fmla="*/ 244 w 244"/>
                <a:gd name="T17" fmla="*/ 125 h 254"/>
                <a:gd name="T18" fmla="*/ 216 w 244"/>
                <a:gd name="T19" fmla="*/ 57 h 254"/>
                <a:gd name="T20" fmla="*/ 192 w 244"/>
                <a:gd name="T21" fmla="*/ 0 h 254"/>
                <a:gd name="T22" fmla="*/ 110 w 244"/>
                <a:gd name="T23" fmla="*/ 14 h 254"/>
                <a:gd name="T24" fmla="*/ 33 w 244"/>
                <a:gd name="T25" fmla="*/ 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4">
                  <a:moveTo>
                    <a:pt x="33" y="24"/>
                  </a:moveTo>
                  <a:lnTo>
                    <a:pt x="0" y="91"/>
                  </a:lnTo>
                  <a:lnTo>
                    <a:pt x="9" y="153"/>
                  </a:lnTo>
                  <a:lnTo>
                    <a:pt x="52" y="206"/>
                  </a:lnTo>
                  <a:lnTo>
                    <a:pt x="105" y="249"/>
                  </a:lnTo>
                  <a:lnTo>
                    <a:pt x="148" y="254"/>
                  </a:lnTo>
                  <a:lnTo>
                    <a:pt x="177" y="225"/>
                  </a:lnTo>
                  <a:lnTo>
                    <a:pt x="196" y="168"/>
                  </a:lnTo>
                  <a:lnTo>
                    <a:pt x="244" y="125"/>
                  </a:lnTo>
                  <a:lnTo>
                    <a:pt x="216" y="57"/>
                  </a:lnTo>
                  <a:lnTo>
                    <a:pt x="192" y="0"/>
                  </a:lnTo>
                  <a:lnTo>
                    <a:pt x="110" y="14"/>
                  </a:lnTo>
                  <a:lnTo>
                    <a:pt x="33" y="24"/>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8" name="Freeform 9">
              <a:extLst>
                <a:ext uri="{FF2B5EF4-FFF2-40B4-BE49-F238E27FC236}">
                  <a16:creationId xmlns:a16="http://schemas.microsoft.com/office/drawing/2014/main" id="{0970ED25-01AD-430F-98C9-C6F5501D55E7}"/>
                </a:ext>
              </a:extLst>
            </p:cNvPr>
            <p:cNvSpPr>
              <a:spLocks/>
            </p:cNvSpPr>
            <p:nvPr/>
          </p:nvSpPr>
          <p:spPr bwMode="auto">
            <a:xfrm>
              <a:off x="5014135" y="2888462"/>
              <a:ext cx="54926" cy="45067"/>
            </a:xfrm>
            <a:custGeom>
              <a:avLst/>
              <a:gdLst>
                <a:gd name="T0" fmla="*/ 67 w 197"/>
                <a:gd name="T1" fmla="*/ 0 h 159"/>
                <a:gd name="T2" fmla="*/ 5 w 197"/>
                <a:gd name="T3" fmla="*/ 63 h 159"/>
                <a:gd name="T4" fmla="*/ 0 w 197"/>
                <a:gd name="T5" fmla="*/ 130 h 159"/>
                <a:gd name="T6" fmla="*/ 48 w 197"/>
                <a:gd name="T7" fmla="*/ 144 h 159"/>
                <a:gd name="T8" fmla="*/ 110 w 197"/>
                <a:gd name="T9" fmla="*/ 159 h 159"/>
                <a:gd name="T10" fmla="*/ 182 w 197"/>
                <a:gd name="T11" fmla="*/ 159 h 159"/>
                <a:gd name="T12" fmla="*/ 197 w 197"/>
                <a:gd name="T13" fmla="*/ 10 h 159"/>
                <a:gd name="T14" fmla="*/ 144 w 197"/>
                <a:gd name="T15" fmla="*/ 15 h 159"/>
                <a:gd name="T16" fmla="*/ 67 w 197"/>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59">
                  <a:moveTo>
                    <a:pt x="67" y="0"/>
                  </a:moveTo>
                  <a:lnTo>
                    <a:pt x="5" y="63"/>
                  </a:lnTo>
                  <a:lnTo>
                    <a:pt x="0" y="130"/>
                  </a:lnTo>
                  <a:lnTo>
                    <a:pt x="48" y="144"/>
                  </a:lnTo>
                  <a:lnTo>
                    <a:pt x="110" y="159"/>
                  </a:lnTo>
                  <a:lnTo>
                    <a:pt x="182" y="159"/>
                  </a:lnTo>
                  <a:lnTo>
                    <a:pt x="197" y="10"/>
                  </a:lnTo>
                  <a:lnTo>
                    <a:pt x="144" y="15"/>
                  </a:lnTo>
                  <a:lnTo>
                    <a:pt x="67"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9" name="Freeform 10">
              <a:extLst>
                <a:ext uri="{FF2B5EF4-FFF2-40B4-BE49-F238E27FC236}">
                  <a16:creationId xmlns:a16="http://schemas.microsoft.com/office/drawing/2014/main" id="{2797C3FC-2B17-4515-9405-13BB5BA8F2E0}"/>
                </a:ext>
              </a:extLst>
            </p:cNvPr>
            <p:cNvSpPr>
              <a:spLocks/>
            </p:cNvSpPr>
            <p:nvPr/>
          </p:nvSpPr>
          <p:spPr bwMode="auto">
            <a:xfrm>
              <a:off x="3590288" y="2850436"/>
              <a:ext cx="36617" cy="43659"/>
            </a:xfrm>
            <a:custGeom>
              <a:avLst/>
              <a:gdLst>
                <a:gd name="T0" fmla="*/ 72 w 130"/>
                <a:gd name="T1" fmla="*/ 0 h 153"/>
                <a:gd name="T2" fmla="*/ 24 w 130"/>
                <a:gd name="T3" fmla="*/ 14 h 153"/>
                <a:gd name="T4" fmla="*/ 0 w 130"/>
                <a:gd name="T5" fmla="*/ 101 h 153"/>
                <a:gd name="T6" fmla="*/ 24 w 130"/>
                <a:gd name="T7" fmla="*/ 153 h 153"/>
                <a:gd name="T8" fmla="*/ 87 w 130"/>
                <a:gd name="T9" fmla="*/ 153 h 153"/>
                <a:gd name="T10" fmla="*/ 87 w 130"/>
                <a:gd name="T11" fmla="*/ 105 h 153"/>
                <a:gd name="T12" fmla="*/ 116 w 130"/>
                <a:gd name="T13" fmla="*/ 77 h 153"/>
                <a:gd name="T14" fmla="*/ 130 w 130"/>
                <a:gd name="T15" fmla="*/ 38 h 153"/>
                <a:gd name="T16" fmla="*/ 111 w 130"/>
                <a:gd name="T17" fmla="*/ 19 h 153"/>
                <a:gd name="T18" fmla="*/ 72 w 130"/>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3">
                  <a:moveTo>
                    <a:pt x="72" y="0"/>
                  </a:moveTo>
                  <a:lnTo>
                    <a:pt x="24" y="14"/>
                  </a:lnTo>
                  <a:lnTo>
                    <a:pt x="0" y="101"/>
                  </a:lnTo>
                  <a:lnTo>
                    <a:pt x="24" y="153"/>
                  </a:lnTo>
                  <a:lnTo>
                    <a:pt x="87" y="153"/>
                  </a:lnTo>
                  <a:lnTo>
                    <a:pt x="87" y="105"/>
                  </a:lnTo>
                  <a:lnTo>
                    <a:pt x="116" y="77"/>
                  </a:lnTo>
                  <a:lnTo>
                    <a:pt x="130" y="38"/>
                  </a:lnTo>
                  <a:lnTo>
                    <a:pt x="111" y="19"/>
                  </a:lnTo>
                  <a:lnTo>
                    <a:pt x="72"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0" name="Freeform 11">
              <a:extLst>
                <a:ext uri="{FF2B5EF4-FFF2-40B4-BE49-F238E27FC236}">
                  <a16:creationId xmlns:a16="http://schemas.microsoft.com/office/drawing/2014/main" id="{3772BADA-3ED4-45D3-896D-5F127B64342B}"/>
                </a:ext>
              </a:extLst>
            </p:cNvPr>
            <p:cNvSpPr>
              <a:spLocks/>
            </p:cNvSpPr>
            <p:nvPr/>
          </p:nvSpPr>
          <p:spPr bwMode="auto">
            <a:xfrm>
              <a:off x="3305800" y="1808253"/>
              <a:ext cx="1250620" cy="1230903"/>
            </a:xfrm>
            <a:custGeom>
              <a:avLst/>
              <a:gdLst>
                <a:gd name="T0" fmla="*/ 852 w 4440"/>
                <a:gd name="T1" fmla="*/ 732 h 4368"/>
                <a:gd name="T2" fmla="*/ 396 w 4440"/>
                <a:gd name="T3" fmla="*/ 924 h 4368"/>
                <a:gd name="T4" fmla="*/ 216 w 4440"/>
                <a:gd name="T5" fmla="*/ 1692 h 4368"/>
                <a:gd name="T6" fmla="*/ 468 w 4440"/>
                <a:gd name="T7" fmla="*/ 1476 h 4368"/>
                <a:gd name="T8" fmla="*/ 708 w 4440"/>
                <a:gd name="T9" fmla="*/ 1608 h 4368"/>
                <a:gd name="T10" fmla="*/ 996 w 4440"/>
                <a:gd name="T11" fmla="*/ 1668 h 4368"/>
                <a:gd name="T12" fmla="*/ 1116 w 4440"/>
                <a:gd name="T13" fmla="*/ 2004 h 4368"/>
                <a:gd name="T14" fmla="*/ 1164 w 4440"/>
                <a:gd name="T15" fmla="*/ 2328 h 4368"/>
                <a:gd name="T16" fmla="*/ 912 w 4440"/>
                <a:gd name="T17" fmla="*/ 2568 h 4368"/>
                <a:gd name="T18" fmla="*/ 1008 w 4440"/>
                <a:gd name="T19" fmla="*/ 2820 h 4368"/>
                <a:gd name="T20" fmla="*/ 1344 w 4440"/>
                <a:gd name="T21" fmla="*/ 2976 h 4368"/>
                <a:gd name="T22" fmla="*/ 1730 w 4440"/>
                <a:gd name="T23" fmla="*/ 3111 h 4368"/>
                <a:gd name="T24" fmla="*/ 2022 w 4440"/>
                <a:gd name="T25" fmla="*/ 3275 h 4368"/>
                <a:gd name="T26" fmla="*/ 2376 w 4440"/>
                <a:gd name="T27" fmla="*/ 3384 h 4368"/>
                <a:gd name="T28" fmla="*/ 2837 w 4440"/>
                <a:gd name="T29" fmla="*/ 3147 h 4368"/>
                <a:gd name="T30" fmla="*/ 3131 w 4440"/>
                <a:gd name="T31" fmla="*/ 2952 h 4368"/>
                <a:gd name="T32" fmla="*/ 3155 w 4440"/>
                <a:gd name="T33" fmla="*/ 3206 h 4368"/>
                <a:gd name="T34" fmla="*/ 3230 w 4440"/>
                <a:gd name="T35" fmla="*/ 3492 h 4368"/>
                <a:gd name="T36" fmla="*/ 3408 w 4440"/>
                <a:gd name="T37" fmla="*/ 3659 h 4368"/>
                <a:gd name="T38" fmla="*/ 3683 w 4440"/>
                <a:gd name="T39" fmla="*/ 3503 h 4368"/>
                <a:gd name="T40" fmla="*/ 3708 w 4440"/>
                <a:gd name="T41" fmla="*/ 3770 h 4368"/>
                <a:gd name="T42" fmla="*/ 3588 w 4440"/>
                <a:gd name="T43" fmla="*/ 3923 h 4368"/>
                <a:gd name="T44" fmla="*/ 3638 w 4440"/>
                <a:gd name="T45" fmla="*/ 4122 h 4368"/>
                <a:gd name="T46" fmla="*/ 3755 w 4440"/>
                <a:gd name="T47" fmla="*/ 4322 h 4368"/>
                <a:gd name="T48" fmla="*/ 4032 w 4440"/>
                <a:gd name="T49" fmla="*/ 4284 h 4368"/>
                <a:gd name="T50" fmla="*/ 4068 w 4440"/>
                <a:gd name="T51" fmla="*/ 3828 h 4368"/>
                <a:gd name="T52" fmla="*/ 4140 w 4440"/>
                <a:gd name="T53" fmla="*/ 3492 h 4368"/>
                <a:gd name="T54" fmla="*/ 4320 w 4440"/>
                <a:gd name="T55" fmla="*/ 3312 h 4368"/>
                <a:gd name="T56" fmla="*/ 4368 w 4440"/>
                <a:gd name="T57" fmla="*/ 3156 h 4368"/>
                <a:gd name="T58" fmla="*/ 4404 w 4440"/>
                <a:gd name="T59" fmla="*/ 2688 h 4368"/>
                <a:gd name="T60" fmla="*/ 4368 w 4440"/>
                <a:gd name="T61" fmla="*/ 2436 h 4368"/>
                <a:gd name="T62" fmla="*/ 4320 w 4440"/>
                <a:gd name="T63" fmla="*/ 2088 h 4368"/>
                <a:gd name="T64" fmla="*/ 4128 w 4440"/>
                <a:gd name="T65" fmla="*/ 1752 h 4368"/>
                <a:gd name="T66" fmla="*/ 4068 w 4440"/>
                <a:gd name="T67" fmla="*/ 1344 h 4368"/>
                <a:gd name="T68" fmla="*/ 3780 w 4440"/>
                <a:gd name="T69" fmla="*/ 1200 h 4368"/>
                <a:gd name="T70" fmla="*/ 3576 w 4440"/>
                <a:gd name="T71" fmla="*/ 1044 h 4368"/>
                <a:gd name="T72" fmla="*/ 3624 w 4440"/>
                <a:gd name="T73" fmla="*/ 780 h 4368"/>
                <a:gd name="T74" fmla="*/ 3420 w 4440"/>
                <a:gd name="T75" fmla="*/ 624 h 4368"/>
                <a:gd name="T76" fmla="*/ 3336 w 4440"/>
                <a:gd name="T77" fmla="*/ 408 h 4368"/>
                <a:gd name="T78" fmla="*/ 3108 w 4440"/>
                <a:gd name="T79" fmla="*/ 228 h 4368"/>
                <a:gd name="T80" fmla="*/ 2856 w 4440"/>
                <a:gd name="T81" fmla="*/ 108 h 4368"/>
                <a:gd name="T82" fmla="*/ 2424 w 4440"/>
                <a:gd name="T83" fmla="*/ 168 h 4368"/>
                <a:gd name="T84" fmla="*/ 2196 w 4440"/>
                <a:gd name="T85" fmla="*/ 240 h 4368"/>
                <a:gd name="T86" fmla="*/ 1740 w 4440"/>
                <a:gd name="T87" fmla="*/ 228 h 4368"/>
                <a:gd name="T88" fmla="*/ 1332 w 4440"/>
                <a:gd name="T89" fmla="*/ 120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40" h="4368">
                  <a:moveTo>
                    <a:pt x="1092" y="0"/>
                  </a:moveTo>
                  <a:lnTo>
                    <a:pt x="840" y="552"/>
                  </a:lnTo>
                  <a:lnTo>
                    <a:pt x="852" y="732"/>
                  </a:lnTo>
                  <a:lnTo>
                    <a:pt x="840" y="876"/>
                  </a:lnTo>
                  <a:lnTo>
                    <a:pt x="648" y="900"/>
                  </a:lnTo>
                  <a:lnTo>
                    <a:pt x="396" y="924"/>
                  </a:lnTo>
                  <a:lnTo>
                    <a:pt x="0" y="1575"/>
                  </a:lnTo>
                  <a:lnTo>
                    <a:pt x="96" y="1656"/>
                  </a:lnTo>
                  <a:lnTo>
                    <a:pt x="216" y="1692"/>
                  </a:lnTo>
                  <a:lnTo>
                    <a:pt x="324" y="1620"/>
                  </a:lnTo>
                  <a:lnTo>
                    <a:pt x="420" y="1560"/>
                  </a:lnTo>
                  <a:lnTo>
                    <a:pt x="468" y="1476"/>
                  </a:lnTo>
                  <a:lnTo>
                    <a:pt x="552" y="1476"/>
                  </a:lnTo>
                  <a:lnTo>
                    <a:pt x="648" y="1500"/>
                  </a:lnTo>
                  <a:lnTo>
                    <a:pt x="708" y="1608"/>
                  </a:lnTo>
                  <a:lnTo>
                    <a:pt x="792" y="1704"/>
                  </a:lnTo>
                  <a:lnTo>
                    <a:pt x="816" y="1764"/>
                  </a:lnTo>
                  <a:lnTo>
                    <a:pt x="996" y="1668"/>
                  </a:lnTo>
                  <a:lnTo>
                    <a:pt x="996" y="1800"/>
                  </a:lnTo>
                  <a:lnTo>
                    <a:pt x="1032" y="1908"/>
                  </a:lnTo>
                  <a:lnTo>
                    <a:pt x="1116" y="2004"/>
                  </a:lnTo>
                  <a:lnTo>
                    <a:pt x="1188" y="2100"/>
                  </a:lnTo>
                  <a:lnTo>
                    <a:pt x="1092" y="2220"/>
                  </a:lnTo>
                  <a:lnTo>
                    <a:pt x="1164" y="2328"/>
                  </a:lnTo>
                  <a:lnTo>
                    <a:pt x="1080" y="2364"/>
                  </a:lnTo>
                  <a:lnTo>
                    <a:pt x="1020" y="2448"/>
                  </a:lnTo>
                  <a:lnTo>
                    <a:pt x="912" y="2568"/>
                  </a:lnTo>
                  <a:lnTo>
                    <a:pt x="1020" y="2640"/>
                  </a:lnTo>
                  <a:lnTo>
                    <a:pt x="960" y="2772"/>
                  </a:lnTo>
                  <a:lnTo>
                    <a:pt x="1008" y="2820"/>
                  </a:lnTo>
                  <a:lnTo>
                    <a:pt x="1104" y="2880"/>
                  </a:lnTo>
                  <a:lnTo>
                    <a:pt x="1164" y="2976"/>
                  </a:lnTo>
                  <a:lnTo>
                    <a:pt x="1344" y="2976"/>
                  </a:lnTo>
                  <a:lnTo>
                    <a:pt x="1572" y="3000"/>
                  </a:lnTo>
                  <a:lnTo>
                    <a:pt x="1671" y="3041"/>
                  </a:lnTo>
                  <a:lnTo>
                    <a:pt x="1730" y="3111"/>
                  </a:lnTo>
                  <a:lnTo>
                    <a:pt x="1748" y="3203"/>
                  </a:lnTo>
                  <a:lnTo>
                    <a:pt x="1856" y="3257"/>
                  </a:lnTo>
                  <a:lnTo>
                    <a:pt x="2022" y="3275"/>
                  </a:lnTo>
                  <a:lnTo>
                    <a:pt x="2123" y="3366"/>
                  </a:lnTo>
                  <a:lnTo>
                    <a:pt x="2243" y="3422"/>
                  </a:lnTo>
                  <a:lnTo>
                    <a:pt x="2376" y="3384"/>
                  </a:lnTo>
                  <a:lnTo>
                    <a:pt x="2514" y="3311"/>
                  </a:lnTo>
                  <a:lnTo>
                    <a:pt x="2693" y="3204"/>
                  </a:lnTo>
                  <a:lnTo>
                    <a:pt x="2837" y="3147"/>
                  </a:lnTo>
                  <a:lnTo>
                    <a:pt x="2889" y="3032"/>
                  </a:lnTo>
                  <a:lnTo>
                    <a:pt x="2916" y="2930"/>
                  </a:lnTo>
                  <a:lnTo>
                    <a:pt x="3131" y="2952"/>
                  </a:lnTo>
                  <a:lnTo>
                    <a:pt x="3240" y="3000"/>
                  </a:lnTo>
                  <a:lnTo>
                    <a:pt x="3216" y="3132"/>
                  </a:lnTo>
                  <a:lnTo>
                    <a:pt x="3155" y="3206"/>
                  </a:lnTo>
                  <a:lnTo>
                    <a:pt x="3059" y="3230"/>
                  </a:lnTo>
                  <a:lnTo>
                    <a:pt x="3165" y="3344"/>
                  </a:lnTo>
                  <a:lnTo>
                    <a:pt x="3230" y="3492"/>
                  </a:lnTo>
                  <a:lnTo>
                    <a:pt x="3314" y="3528"/>
                  </a:lnTo>
                  <a:lnTo>
                    <a:pt x="3407" y="3552"/>
                  </a:lnTo>
                  <a:lnTo>
                    <a:pt x="3408" y="3659"/>
                  </a:lnTo>
                  <a:lnTo>
                    <a:pt x="3494" y="3636"/>
                  </a:lnTo>
                  <a:lnTo>
                    <a:pt x="3585" y="3528"/>
                  </a:lnTo>
                  <a:lnTo>
                    <a:pt x="3683" y="3503"/>
                  </a:lnTo>
                  <a:lnTo>
                    <a:pt x="3684" y="3636"/>
                  </a:lnTo>
                  <a:lnTo>
                    <a:pt x="3624" y="3780"/>
                  </a:lnTo>
                  <a:lnTo>
                    <a:pt x="3708" y="3770"/>
                  </a:lnTo>
                  <a:lnTo>
                    <a:pt x="3777" y="3839"/>
                  </a:lnTo>
                  <a:lnTo>
                    <a:pt x="3690" y="3890"/>
                  </a:lnTo>
                  <a:lnTo>
                    <a:pt x="3588" y="3923"/>
                  </a:lnTo>
                  <a:lnTo>
                    <a:pt x="3587" y="3998"/>
                  </a:lnTo>
                  <a:lnTo>
                    <a:pt x="3684" y="4046"/>
                  </a:lnTo>
                  <a:lnTo>
                    <a:pt x="3638" y="4122"/>
                  </a:lnTo>
                  <a:lnTo>
                    <a:pt x="3588" y="4259"/>
                  </a:lnTo>
                  <a:lnTo>
                    <a:pt x="3648" y="4368"/>
                  </a:lnTo>
                  <a:lnTo>
                    <a:pt x="3755" y="4322"/>
                  </a:lnTo>
                  <a:lnTo>
                    <a:pt x="3830" y="4367"/>
                  </a:lnTo>
                  <a:lnTo>
                    <a:pt x="3938" y="4308"/>
                  </a:lnTo>
                  <a:lnTo>
                    <a:pt x="4032" y="4284"/>
                  </a:lnTo>
                  <a:lnTo>
                    <a:pt x="4056" y="4080"/>
                  </a:lnTo>
                  <a:lnTo>
                    <a:pt x="4152" y="3924"/>
                  </a:lnTo>
                  <a:lnTo>
                    <a:pt x="4068" y="3828"/>
                  </a:lnTo>
                  <a:lnTo>
                    <a:pt x="4164" y="3756"/>
                  </a:lnTo>
                  <a:lnTo>
                    <a:pt x="4152" y="3624"/>
                  </a:lnTo>
                  <a:lnTo>
                    <a:pt x="4140" y="3492"/>
                  </a:lnTo>
                  <a:lnTo>
                    <a:pt x="4272" y="3528"/>
                  </a:lnTo>
                  <a:lnTo>
                    <a:pt x="4284" y="3432"/>
                  </a:lnTo>
                  <a:lnTo>
                    <a:pt x="4320" y="3312"/>
                  </a:lnTo>
                  <a:lnTo>
                    <a:pt x="4248" y="3288"/>
                  </a:lnTo>
                  <a:lnTo>
                    <a:pt x="4248" y="3192"/>
                  </a:lnTo>
                  <a:lnTo>
                    <a:pt x="4368" y="3156"/>
                  </a:lnTo>
                  <a:lnTo>
                    <a:pt x="4368" y="2940"/>
                  </a:lnTo>
                  <a:lnTo>
                    <a:pt x="4392" y="2808"/>
                  </a:lnTo>
                  <a:lnTo>
                    <a:pt x="4404" y="2688"/>
                  </a:lnTo>
                  <a:lnTo>
                    <a:pt x="4320" y="2580"/>
                  </a:lnTo>
                  <a:lnTo>
                    <a:pt x="4380" y="2520"/>
                  </a:lnTo>
                  <a:lnTo>
                    <a:pt x="4368" y="2436"/>
                  </a:lnTo>
                  <a:lnTo>
                    <a:pt x="4440" y="2316"/>
                  </a:lnTo>
                  <a:lnTo>
                    <a:pt x="4392" y="2196"/>
                  </a:lnTo>
                  <a:lnTo>
                    <a:pt x="4320" y="2088"/>
                  </a:lnTo>
                  <a:lnTo>
                    <a:pt x="4284" y="1956"/>
                  </a:lnTo>
                  <a:lnTo>
                    <a:pt x="4224" y="1812"/>
                  </a:lnTo>
                  <a:lnTo>
                    <a:pt x="4128" y="1752"/>
                  </a:lnTo>
                  <a:lnTo>
                    <a:pt x="4140" y="1596"/>
                  </a:lnTo>
                  <a:lnTo>
                    <a:pt x="4080" y="1500"/>
                  </a:lnTo>
                  <a:lnTo>
                    <a:pt x="4068" y="1344"/>
                  </a:lnTo>
                  <a:lnTo>
                    <a:pt x="4044" y="1224"/>
                  </a:lnTo>
                  <a:lnTo>
                    <a:pt x="3864" y="1260"/>
                  </a:lnTo>
                  <a:lnTo>
                    <a:pt x="3780" y="1200"/>
                  </a:lnTo>
                  <a:lnTo>
                    <a:pt x="3624" y="1236"/>
                  </a:lnTo>
                  <a:lnTo>
                    <a:pt x="3564" y="1164"/>
                  </a:lnTo>
                  <a:lnTo>
                    <a:pt x="3576" y="1044"/>
                  </a:lnTo>
                  <a:lnTo>
                    <a:pt x="3516" y="948"/>
                  </a:lnTo>
                  <a:lnTo>
                    <a:pt x="3624" y="888"/>
                  </a:lnTo>
                  <a:lnTo>
                    <a:pt x="3624" y="780"/>
                  </a:lnTo>
                  <a:lnTo>
                    <a:pt x="3588" y="684"/>
                  </a:lnTo>
                  <a:lnTo>
                    <a:pt x="3492" y="576"/>
                  </a:lnTo>
                  <a:lnTo>
                    <a:pt x="3420" y="624"/>
                  </a:lnTo>
                  <a:lnTo>
                    <a:pt x="3360" y="576"/>
                  </a:lnTo>
                  <a:lnTo>
                    <a:pt x="3384" y="492"/>
                  </a:lnTo>
                  <a:lnTo>
                    <a:pt x="3336" y="408"/>
                  </a:lnTo>
                  <a:lnTo>
                    <a:pt x="3228" y="396"/>
                  </a:lnTo>
                  <a:lnTo>
                    <a:pt x="3132" y="408"/>
                  </a:lnTo>
                  <a:lnTo>
                    <a:pt x="3108" y="228"/>
                  </a:lnTo>
                  <a:lnTo>
                    <a:pt x="3036" y="180"/>
                  </a:lnTo>
                  <a:lnTo>
                    <a:pt x="2916" y="216"/>
                  </a:lnTo>
                  <a:lnTo>
                    <a:pt x="2856" y="108"/>
                  </a:lnTo>
                  <a:lnTo>
                    <a:pt x="2724" y="168"/>
                  </a:lnTo>
                  <a:lnTo>
                    <a:pt x="2580" y="204"/>
                  </a:lnTo>
                  <a:lnTo>
                    <a:pt x="2424" y="168"/>
                  </a:lnTo>
                  <a:lnTo>
                    <a:pt x="2292" y="84"/>
                  </a:lnTo>
                  <a:lnTo>
                    <a:pt x="2220" y="120"/>
                  </a:lnTo>
                  <a:lnTo>
                    <a:pt x="2196" y="240"/>
                  </a:lnTo>
                  <a:lnTo>
                    <a:pt x="2040" y="276"/>
                  </a:lnTo>
                  <a:lnTo>
                    <a:pt x="1908" y="300"/>
                  </a:lnTo>
                  <a:lnTo>
                    <a:pt x="1740" y="228"/>
                  </a:lnTo>
                  <a:lnTo>
                    <a:pt x="1608" y="276"/>
                  </a:lnTo>
                  <a:lnTo>
                    <a:pt x="1452" y="252"/>
                  </a:lnTo>
                  <a:lnTo>
                    <a:pt x="1332" y="120"/>
                  </a:lnTo>
                  <a:lnTo>
                    <a:pt x="1200" y="120"/>
                  </a:lnTo>
                  <a:lnTo>
                    <a:pt x="1092" y="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1" name="Freeform 12">
              <a:extLst>
                <a:ext uri="{FF2B5EF4-FFF2-40B4-BE49-F238E27FC236}">
                  <a16:creationId xmlns:a16="http://schemas.microsoft.com/office/drawing/2014/main" id="{06AA184C-4A02-4814-88D3-572C5B815E62}"/>
                </a:ext>
              </a:extLst>
            </p:cNvPr>
            <p:cNvSpPr>
              <a:spLocks/>
            </p:cNvSpPr>
            <p:nvPr/>
          </p:nvSpPr>
          <p:spPr bwMode="auto">
            <a:xfrm>
              <a:off x="3612821" y="1520949"/>
              <a:ext cx="881631" cy="642210"/>
            </a:xfrm>
            <a:custGeom>
              <a:avLst/>
              <a:gdLst>
                <a:gd name="T0" fmla="*/ 60 w 3132"/>
                <a:gd name="T1" fmla="*/ 888 h 2280"/>
                <a:gd name="T2" fmla="*/ 131 w 3132"/>
                <a:gd name="T3" fmla="*/ 441 h 2280"/>
                <a:gd name="T4" fmla="*/ 492 w 3132"/>
                <a:gd name="T5" fmla="*/ 552 h 2280"/>
                <a:gd name="T6" fmla="*/ 648 w 3132"/>
                <a:gd name="T7" fmla="*/ 384 h 2280"/>
                <a:gd name="T8" fmla="*/ 912 w 3132"/>
                <a:gd name="T9" fmla="*/ 336 h 2280"/>
                <a:gd name="T10" fmla="*/ 1308 w 3132"/>
                <a:gd name="T11" fmla="*/ 0 h 2280"/>
                <a:gd name="T12" fmla="*/ 1596 w 3132"/>
                <a:gd name="T13" fmla="*/ 132 h 2280"/>
                <a:gd name="T14" fmla="*/ 1788 w 3132"/>
                <a:gd name="T15" fmla="*/ 372 h 2280"/>
                <a:gd name="T16" fmla="*/ 2232 w 3132"/>
                <a:gd name="T17" fmla="*/ 276 h 2280"/>
                <a:gd name="T18" fmla="*/ 2400 w 3132"/>
                <a:gd name="T19" fmla="*/ 156 h 2280"/>
                <a:gd name="T20" fmla="*/ 2484 w 3132"/>
                <a:gd name="T21" fmla="*/ 372 h 2280"/>
                <a:gd name="T22" fmla="*/ 2712 w 3132"/>
                <a:gd name="T23" fmla="*/ 312 h 2280"/>
                <a:gd name="T24" fmla="*/ 3132 w 3132"/>
                <a:gd name="T25" fmla="*/ 384 h 2280"/>
                <a:gd name="T26" fmla="*/ 2904 w 3132"/>
                <a:gd name="T27" fmla="*/ 492 h 2280"/>
                <a:gd name="T28" fmla="*/ 2976 w 3132"/>
                <a:gd name="T29" fmla="*/ 732 h 2280"/>
                <a:gd name="T30" fmla="*/ 2976 w 3132"/>
                <a:gd name="T31" fmla="*/ 996 h 2280"/>
                <a:gd name="T32" fmla="*/ 2928 w 3132"/>
                <a:gd name="T33" fmla="*/ 1212 h 2280"/>
                <a:gd name="T34" fmla="*/ 2988 w 3132"/>
                <a:gd name="T35" fmla="*/ 1524 h 2280"/>
                <a:gd name="T36" fmla="*/ 3000 w 3132"/>
                <a:gd name="T37" fmla="*/ 1764 h 2280"/>
                <a:gd name="T38" fmla="*/ 3048 w 3132"/>
                <a:gd name="T39" fmla="*/ 1980 h 2280"/>
                <a:gd name="T40" fmla="*/ 2952 w 3132"/>
                <a:gd name="T41" fmla="*/ 2244 h 2280"/>
                <a:gd name="T42" fmla="*/ 2688 w 3132"/>
                <a:gd name="T43" fmla="*/ 2220 h 2280"/>
                <a:gd name="T44" fmla="*/ 2472 w 3132"/>
                <a:gd name="T45" fmla="*/ 2184 h 2280"/>
                <a:gd name="T46" fmla="*/ 2424 w 3132"/>
                <a:gd name="T47" fmla="*/ 1968 h 2280"/>
                <a:gd name="T48" fmla="*/ 2532 w 3132"/>
                <a:gd name="T49" fmla="*/ 1800 h 2280"/>
                <a:gd name="T50" fmla="*/ 2400 w 3132"/>
                <a:gd name="T51" fmla="*/ 1596 h 2280"/>
                <a:gd name="T52" fmla="*/ 2268 w 3132"/>
                <a:gd name="T53" fmla="*/ 1596 h 2280"/>
                <a:gd name="T54" fmla="*/ 2244 w 3132"/>
                <a:gd name="T55" fmla="*/ 1428 h 2280"/>
                <a:gd name="T56" fmla="*/ 2040 w 3132"/>
                <a:gd name="T57" fmla="*/ 1428 h 2280"/>
                <a:gd name="T58" fmla="*/ 1944 w 3132"/>
                <a:gd name="T59" fmla="*/ 1200 h 2280"/>
                <a:gd name="T60" fmla="*/ 1764 w 3132"/>
                <a:gd name="T61" fmla="*/ 1128 h 2280"/>
                <a:gd name="T62" fmla="*/ 1488 w 3132"/>
                <a:gd name="T63" fmla="*/ 1224 h 2280"/>
                <a:gd name="T64" fmla="*/ 1200 w 3132"/>
                <a:gd name="T65" fmla="*/ 1104 h 2280"/>
                <a:gd name="T66" fmla="*/ 1104 w 3132"/>
                <a:gd name="T67" fmla="*/ 1260 h 2280"/>
                <a:gd name="T68" fmla="*/ 816 w 3132"/>
                <a:gd name="T69" fmla="*/ 1320 h 2280"/>
                <a:gd name="T70" fmla="*/ 516 w 3132"/>
                <a:gd name="T71" fmla="*/ 1296 h 2280"/>
                <a:gd name="T72" fmla="*/ 240 w 3132"/>
                <a:gd name="T73" fmla="*/ 1140 h 2280"/>
                <a:gd name="T74" fmla="*/ 0 w 3132"/>
                <a:gd name="T75" fmla="*/ 1020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32" h="2280">
                  <a:moveTo>
                    <a:pt x="0" y="1020"/>
                  </a:moveTo>
                  <a:lnTo>
                    <a:pt x="60" y="888"/>
                  </a:lnTo>
                  <a:lnTo>
                    <a:pt x="0" y="792"/>
                  </a:lnTo>
                  <a:lnTo>
                    <a:pt x="131" y="441"/>
                  </a:lnTo>
                  <a:lnTo>
                    <a:pt x="336" y="444"/>
                  </a:lnTo>
                  <a:lnTo>
                    <a:pt x="492" y="552"/>
                  </a:lnTo>
                  <a:lnTo>
                    <a:pt x="576" y="456"/>
                  </a:lnTo>
                  <a:lnTo>
                    <a:pt x="648" y="384"/>
                  </a:lnTo>
                  <a:lnTo>
                    <a:pt x="804" y="336"/>
                  </a:lnTo>
                  <a:lnTo>
                    <a:pt x="912" y="336"/>
                  </a:lnTo>
                  <a:lnTo>
                    <a:pt x="1116" y="432"/>
                  </a:lnTo>
                  <a:lnTo>
                    <a:pt x="1308" y="0"/>
                  </a:lnTo>
                  <a:lnTo>
                    <a:pt x="1404" y="96"/>
                  </a:lnTo>
                  <a:lnTo>
                    <a:pt x="1596" y="132"/>
                  </a:lnTo>
                  <a:lnTo>
                    <a:pt x="1656" y="240"/>
                  </a:lnTo>
                  <a:lnTo>
                    <a:pt x="1788" y="372"/>
                  </a:lnTo>
                  <a:lnTo>
                    <a:pt x="2016" y="324"/>
                  </a:lnTo>
                  <a:lnTo>
                    <a:pt x="2232" y="276"/>
                  </a:lnTo>
                  <a:lnTo>
                    <a:pt x="2280" y="168"/>
                  </a:lnTo>
                  <a:lnTo>
                    <a:pt x="2400" y="156"/>
                  </a:lnTo>
                  <a:lnTo>
                    <a:pt x="2460" y="264"/>
                  </a:lnTo>
                  <a:lnTo>
                    <a:pt x="2484" y="372"/>
                  </a:lnTo>
                  <a:lnTo>
                    <a:pt x="2592" y="252"/>
                  </a:lnTo>
                  <a:lnTo>
                    <a:pt x="2712" y="312"/>
                  </a:lnTo>
                  <a:lnTo>
                    <a:pt x="2964" y="324"/>
                  </a:lnTo>
                  <a:lnTo>
                    <a:pt x="3132" y="384"/>
                  </a:lnTo>
                  <a:lnTo>
                    <a:pt x="3000" y="444"/>
                  </a:lnTo>
                  <a:lnTo>
                    <a:pt x="2904" y="492"/>
                  </a:lnTo>
                  <a:lnTo>
                    <a:pt x="2916" y="588"/>
                  </a:lnTo>
                  <a:lnTo>
                    <a:pt x="2976" y="732"/>
                  </a:lnTo>
                  <a:lnTo>
                    <a:pt x="2988" y="864"/>
                  </a:lnTo>
                  <a:lnTo>
                    <a:pt x="2976" y="996"/>
                  </a:lnTo>
                  <a:lnTo>
                    <a:pt x="3000" y="1104"/>
                  </a:lnTo>
                  <a:lnTo>
                    <a:pt x="2928" y="1212"/>
                  </a:lnTo>
                  <a:lnTo>
                    <a:pt x="2916" y="1416"/>
                  </a:lnTo>
                  <a:lnTo>
                    <a:pt x="2988" y="1524"/>
                  </a:lnTo>
                  <a:lnTo>
                    <a:pt x="2916" y="1740"/>
                  </a:lnTo>
                  <a:lnTo>
                    <a:pt x="3000" y="1764"/>
                  </a:lnTo>
                  <a:lnTo>
                    <a:pt x="3072" y="1836"/>
                  </a:lnTo>
                  <a:lnTo>
                    <a:pt x="3048" y="1980"/>
                  </a:lnTo>
                  <a:lnTo>
                    <a:pt x="2952" y="2088"/>
                  </a:lnTo>
                  <a:lnTo>
                    <a:pt x="2952" y="2244"/>
                  </a:lnTo>
                  <a:lnTo>
                    <a:pt x="2772" y="2280"/>
                  </a:lnTo>
                  <a:lnTo>
                    <a:pt x="2688" y="2220"/>
                  </a:lnTo>
                  <a:lnTo>
                    <a:pt x="2532" y="2256"/>
                  </a:lnTo>
                  <a:lnTo>
                    <a:pt x="2472" y="2184"/>
                  </a:lnTo>
                  <a:lnTo>
                    <a:pt x="2484" y="2064"/>
                  </a:lnTo>
                  <a:lnTo>
                    <a:pt x="2424" y="1968"/>
                  </a:lnTo>
                  <a:lnTo>
                    <a:pt x="2532" y="1908"/>
                  </a:lnTo>
                  <a:lnTo>
                    <a:pt x="2532" y="1800"/>
                  </a:lnTo>
                  <a:lnTo>
                    <a:pt x="2496" y="1704"/>
                  </a:lnTo>
                  <a:lnTo>
                    <a:pt x="2400" y="1596"/>
                  </a:lnTo>
                  <a:lnTo>
                    <a:pt x="2328" y="1644"/>
                  </a:lnTo>
                  <a:lnTo>
                    <a:pt x="2268" y="1596"/>
                  </a:lnTo>
                  <a:lnTo>
                    <a:pt x="2292" y="1512"/>
                  </a:lnTo>
                  <a:lnTo>
                    <a:pt x="2244" y="1428"/>
                  </a:lnTo>
                  <a:lnTo>
                    <a:pt x="2136" y="1416"/>
                  </a:lnTo>
                  <a:lnTo>
                    <a:pt x="2040" y="1428"/>
                  </a:lnTo>
                  <a:lnTo>
                    <a:pt x="2016" y="1248"/>
                  </a:lnTo>
                  <a:lnTo>
                    <a:pt x="1944" y="1200"/>
                  </a:lnTo>
                  <a:lnTo>
                    <a:pt x="1824" y="1236"/>
                  </a:lnTo>
                  <a:lnTo>
                    <a:pt x="1764" y="1128"/>
                  </a:lnTo>
                  <a:lnTo>
                    <a:pt x="1632" y="1188"/>
                  </a:lnTo>
                  <a:lnTo>
                    <a:pt x="1488" y="1224"/>
                  </a:lnTo>
                  <a:lnTo>
                    <a:pt x="1332" y="1188"/>
                  </a:lnTo>
                  <a:lnTo>
                    <a:pt x="1200" y="1104"/>
                  </a:lnTo>
                  <a:lnTo>
                    <a:pt x="1128" y="1140"/>
                  </a:lnTo>
                  <a:lnTo>
                    <a:pt x="1104" y="1260"/>
                  </a:lnTo>
                  <a:lnTo>
                    <a:pt x="948" y="1296"/>
                  </a:lnTo>
                  <a:lnTo>
                    <a:pt x="816" y="1320"/>
                  </a:lnTo>
                  <a:lnTo>
                    <a:pt x="648" y="1248"/>
                  </a:lnTo>
                  <a:lnTo>
                    <a:pt x="516" y="1296"/>
                  </a:lnTo>
                  <a:lnTo>
                    <a:pt x="360" y="1272"/>
                  </a:lnTo>
                  <a:lnTo>
                    <a:pt x="240" y="1140"/>
                  </a:lnTo>
                  <a:lnTo>
                    <a:pt x="108" y="1140"/>
                  </a:lnTo>
                  <a:lnTo>
                    <a:pt x="0" y="102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2" name="Freeform 13">
              <a:extLst>
                <a:ext uri="{FF2B5EF4-FFF2-40B4-BE49-F238E27FC236}">
                  <a16:creationId xmlns:a16="http://schemas.microsoft.com/office/drawing/2014/main" id="{A65824BA-D06E-416B-A8F8-018E29DBBF19}"/>
                </a:ext>
              </a:extLst>
            </p:cNvPr>
            <p:cNvSpPr>
              <a:spLocks/>
            </p:cNvSpPr>
            <p:nvPr/>
          </p:nvSpPr>
          <p:spPr bwMode="auto">
            <a:xfrm>
              <a:off x="3021312" y="2223718"/>
              <a:ext cx="754879" cy="730937"/>
            </a:xfrm>
            <a:custGeom>
              <a:avLst/>
              <a:gdLst>
                <a:gd name="T0" fmla="*/ 816 w 2682"/>
                <a:gd name="T1" fmla="*/ 253 h 2595"/>
                <a:gd name="T2" fmla="*/ 840 w 2682"/>
                <a:gd name="T3" fmla="*/ 577 h 2595"/>
                <a:gd name="T4" fmla="*/ 816 w 2682"/>
                <a:gd name="T5" fmla="*/ 793 h 2595"/>
                <a:gd name="T6" fmla="*/ 804 w 2682"/>
                <a:gd name="T7" fmla="*/ 1057 h 2595"/>
                <a:gd name="T8" fmla="*/ 624 w 2682"/>
                <a:gd name="T9" fmla="*/ 1177 h 2595"/>
                <a:gd name="T10" fmla="*/ 480 w 2682"/>
                <a:gd name="T11" fmla="*/ 1021 h 2595"/>
                <a:gd name="T12" fmla="*/ 264 w 2682"/>
                <a:gd name="T13" fmla="*/ 1213 h 2595"/>
                <a:gd name="T14" fmla="*/ 192 w 2682"/>
                <a:gd name="T15" fmla="*/ 1441 h 2595"/>
                <a:gd name="T16" fmla="*/ 240 w 2682"/>
                <a:gd name="T17" fmla="*/ 1657 h 2595"/>
                <a:gd name="T18" fmla="*/ 96 w 2682"/>
                <a:gd name="T19" fmla="*/ 1945 h 2595"/>
                <a:gd name="T20" fmla="*/ 0 w 2682"/>
                <a:gd name="T21" fmla="*/ 2341 h 2595"/>
                <a:gd name="T22" fmla="*/ 195 w 2682"/>
                <a:gd name="T23" fmla="*/ 2559 h 2595"/>
                <a:gd name="T24" fmla="*/ 326 w 2682"/>
                <a:gd name="T25" fmla="*/ 2365 h 2595"/>
                <a:gd name="T26" fmla="*/ 351 w 2682"/>
                <a:gd name="T27" fmla="*/ 2230 h 2595"/>
                <a:gd name="T28" fmla="*/ 393 w 2682"/>
                <a:gd name="T29" fmla="*/ 2139 h 2595"/>
                <a:gd name="T30" fmla="*/ 590 w 2682"/>
                <a:gd name="T31" fmla="*/ 2194 h 2595"/>
                <a:gd name="T32" fmla="*/ 644 w 2682"/>
                <a:gd name="T33" fmla="*/ 2008 h 2595"/>
                <a:gd name="T34" fmla="*/ 690 w 2682"/>
                <a:gd name="T35" fmla="*/ 1830 h 2595"/>
                <a:gd name="T36" fmla="*/ 863 w 2682"/>
                <a:gd name="T37" fmla="*/ 1875 h 2595"/>
                <a:gd name="T38" fmla="*/ 1076 w 2682"/>
                <a:gd name="T39" fmla="*/ 1903 h 2595"/>
                <a:gd name="T40" fmla="*/ 1167 w 2682"/>
                <a:gd name="T41" fmla="*/ 2085 h 2595"/>
                <a:gd name="T42" fmla="*/ 1374 w 2682"/>
                <a:gd name="T43" fmla="*/ 2148 h 2595"/>
                <a:gd name="T44" fmla="*/ 1484 w 2682"/>
                <a:gd name="T45" fmla="*/ 2404 h 2595"/>
                <a:gd name="T46" fmla="*/ 1707 w 2682"/>
                <a:gd name="T47" fmla="*/ 2499 h 2595"/>
                <a:gd name="T48" fmla="*/ 1824 w 2682"/>
                <a:gd name="T49" fmla="*/ 2595 h 2595"/>
                <a:gd name="T50" fmla="*/ 1851 w 2682"/>
                <a:gd name="T51" fmla="*/ 2415 h 2595"/>
                <a:gd name="T52" fmla="*/ 1979 w 2682"/>
                <a:gd name="T53" fmla="*/ 2358 h 2595"/>
                <a:gd name="T54" fmla="*/ 1902 w 2682"/>
                <a:gd name="T55" fmla="*/ 2194 h 2595"/>
                <a:gd name="T56" fmla="*/ 1833 w 2682"/>
                <a:gd name="T57" fmla="*/ 2053 h 2595"/>
                <a:gd name="T58" fmla="*/ 1812 w 2682"/>
                <a:gd name="T59" fmla="*/ 1801 h 2595"/>
                <a:gd name="T60" fmla="*/ 1989 w 2682"/>
                <a:gd name="T61" fmla="*/ 1710 h 2595"/>
                <a:gd name="T62" fmla="*/ 2159 w 2682"/>
                <a:gd name="T63" fmla="*/ 1507 h 2595"/>
                <a:gd name="T64" fmla="*/ 2244 w 2682"/>
                <a:gd name="T65" fmla="*/ 1609 h 2595"/>
                <a:gd name="T66" fmla="*/ 2417 w 2682"/>
                <a:gd name="T67" fmla="*/ 1572 h 2595"/>
                <a:gd name="T68" fmla="*/ 2582 w 2682"/>
                <a:gd name="T69" fmla="*/ 1644 h 2595"/>
                <a:gd name="T70" fmla="*/ 2580 w 2682"/>
                <a:gd name="T71" fmla="*/ 1525 h 2595"/>
                <a:gd name="T72" fmla="*/ 2171 w 2682"/>
                <a:gd name="T73" fmla="*/ 1501 h 2595"/>
                <a:gd name="T74" fmla="*/ 2112 w 2682"/>
                <a:gd name="T75" fmla="*/ 1405 h 2595"/>
                <a:gd name="T76" fmla="*/ 1968 w 2682"/>
                <a:gd name="T77" fmla="*/ 1297 h 2595"/>
                <a:gd name="T78" fmla="*/ 2027 w 2682"/>
                <a:gd name="T79" fmla="*/ 1164 h 2595"/>
                <a:gd name="T80" fmla="*/ 2024 w 2682"/>
                <a:gd name="T81" fmla="*/ 978 h 2595"/>
                <a:gd name="T82" fmla="*/ 2171 w 2682"/>
                <a:gd name="T83" fmla="*/ 853 h 2595"/>
                <a:gd name="T84" fmla="*/ 2196 w 2682"/>
                <a:gd name="T85" fmla="*/ 624 h 2595"/>
                <a:gd name="T86" fmla="*/ 2042 w 2682"/>
                <a:gd name="T87" fmla="*/ 436 h 2595"/>
                <a:gd name="T88" fmla="*/ 2003 w 2682"/>
                <a:gd name="T89" fmla="*/ 195 h 2595"/>
                <a:gd name="T90" fmla="*/ 1800 w 2682"/>
                <a:gd name="T91" fmla="*/ 231 h 2595"/>
                <a:gd name="T92" fmla="*/ 1659 w 2682"/>
                <a:gd name="T93" fmla="*/ 25 h 2595"/>
                <a:gd name="T94" fmla="*/ 1478 w 2682"/>
                <a:gd name="T95" fmla="*/ 0 h 2595"/>
                <a:gd name="T96" fmla="*/ 1224 w 2682"/>
                <a:gd name="T97" fmla="*/ 217 h 2595"/>
                <a:gd name="T98" fmla="*/ 1008 w 2682"/>
                <a:gd name="T99" fmla="*/ 97 h 2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82" h="2595">
                  <a:moveTo>
                    <a:pt x="1008" y="97"/>
                  </a:moveTo>
                  <a:lnTo>
                    <a:pt x="816" y="253"/>
                  </a:lnTo>
                  <a:lnTo>
                    <a:pt x="876" y="445"/>
                  </a:lnTo>
                  <a:lnTo>
                    <a:pt x="840" y="577"/>
                  </a:lnTo>
                  <a:lnTo>
                    <a:pt x="756" y="721"/>
                  </a:lnTo>
                  <a:lnTo>
                    <a:pt x="816" y="793"/>
                  </a:lnTo>
                  <a:lnTo>
                    <a:pt x="768" y="889"/>
                  </a:lnTo>
                  <a:lnTo>
                    <a:pt x="804" y="1057"/>
                  </a:lnTo>
                  <a:lnTo>
                    <a:pt x="708" y="1093"/>
                  </a:lnTo>
                  <a:lnTo>
                    <a:pt x="624" y="1177"/>
                  </a:lnTo>
                  <a:lnTo>
                    <a:pt x="552" y="1093"/>
                  </a:lnTo>
                  <a:lnTo>
                    <a:pt x="480" y="1021"/>
                  </a:lnTo>
                  <a:lnTo>
                    <a:pt x="336" y="1093"/>
                  </a:lnTo>
                  <a:lnTo>
                    <a:pt x="264" y="1213"/>
                  </a:lnTo>
                  <a:lnTo>
                    <a:pt x="180" y="1321"/>
                  </a:lnTo>
                  <a:lnTo>
                    <a:pt x="192" y="1441"/>
                  </a:lnTo>
                  <a:lnTo>
                    <a:pt x="192" y="1561"/>
                  </a:lnTo>
                  <a:lnTo>
                    <a:pt x="240" y="1657"/>
                  </a:lnTo>
                  <a:lnTo>
                    <a:pt x="144" y="1777"/>
                  </a:lnTo>
                  <a:lnTo>
                    <a:pt x="96" y="1945"/>
                  </a:lnTo>
                  <a:lnTo>
                    <a:pt x="12" y="2125"/>
                  </a:lnTo>
                  <a:lnTo>
                    <a:pt x="0" y="2341"/>
                  </a:lnTo>
                  <a:lnTo>
                    <a:pt x="39" y="2536"/>
                  </a:lnTo>
                  <a:lnTo>
                    <a:pt x="195" y="2559"/>
                  </a:lnTo>
                  <a:lnTo>
                    <a:pt x="276" y="2461"/>
                  </a:lnTo>
                  <a:lnTo>
                    <a:pt x="326" y="2365"/>
                  </a:lnTo>
                  <a:lnTo>
                    <a:pt x="254" y="2304"/>
                  </a:lnTo>
                  <a:lnTo>
                    <a:pt x="351" y="2230"/>
                  </a:lnTo>
                  <a:lnTo>
                    <a:pt x="288" y="2110"/>
                  </a:lnTo>
                  <a:lnTo>
                    <a:pt x="393" y="2139"/>
                  </a:lnTo>
                  <a:lnTo>
                    <a:pt x="492" y="2185"/>
                  </a:lnTo>
                  <a:lnTo>
                    <a:pt x="590" y="2194"/>
                  </a:lnTo>
                  <a:lnTo>
                    <a:pt x="635" y="2113"/>
                  </a:lnTo>
                  <a:lnTo>
                    <a:pt x="644" y="2008"/>
                  </a:lnTo>
                  <a:lnTo>
                    <a:pt x="698" y="1948"/>
                  </a:lnTo>
                  <a:lnTo>
                    <a:pt x="690" y="1830"/>
                  </a:lnTo>
                  <a:lnTo>
                    <a:pt x="827" y="1783"/>
                  </a:lnTo>
                  <a:lnTo>
                    <a:pt x="863" y="1875"/>
                  </a:lnTo>
                  <a:lnTo>
                    <a:pt x="984" y="1873"/>
                  </a:lnTo>
                  <a:lnTo>
                    <a:pt x="1076" y="1903"/>
                  </a:lnTo>
                  <a:lnTo>
                    <a:pt x="1128" y="1974"/>
                  </a:lnTo>
                  <a:lnTo>
                    <a:pt x="1167" y="2085"/>
                  </a:lnTo>
                  <a:lnTo>
                    <a:pt x="1271" y="2113"/>
                  </a:lnTo>
                  <a:lnTo>
                    <a:pt x="1374" y="2148"/>
                  </a:lnTo>
                  <a:lnTo>
                    <a:pt x="1478" y="2299"/>
                  </a:lnTo>
                  <a:lnTo>
                    <a:pt x="1484" y="2404"/>
                  </a:lnTo>
                  <a:lnTo>
                    <a:pt x="1634" y="2433"/>
                  </a:lnTo>
                  <a:lnTo>
                    <a:pt x="1707" y="2499"/>
                  </a:lnTo>
                  <a:lnTo>
                    <a:pt x="1758" y="2595"/>
                  </a:lnTo>
                  <a:lnTo>
                    <a:pt x="1824" y="2595"/>
                  </a:lnTo>
                  <a:lnTo>
                    <a:pt x="1887" y="2544"/>
                  </a:lnTo>
                  <a:lnTo>
                    <a:pt x="1851" y="2415"/>
                  </a:lnTo>
                  <a:lnTo>
                    <a:pt x="1929" y="2394"/>
                  </a:lnTo>
                  <a:lnTo>
                    <a:pt x="1979" y="2358"/>
                  </a:lnTo>
                  <a:lnTo>
                    <a:pt x="1977" y="2212"/>
                  </a:lnTo>
                  <a:lnTo>
                    <a:pt x="1902" y="2194"/>
                  </a:lnTo>
                  <a:lnTo>
                    <a:pt x="1832" y="2148"/>
                  </a:lnTo>
                  <a:lnTo>
                    <a:pt x="1833" y="2053"/>
                  </a:lnTo>
                  <a:lnTo>
                    <a:pt x="1797" y="1950"/>
                  </a:lnTo>
                  <a:lnTo>
                    <a:pt x="1812" y="1801"/>
                  </a:lnTo>
                  <a:lnTo>
                    <a:pt x="1896" y="1773"/>
                  </a:lnTo>
                  <a:lnTo>
                    <a:pt x="1989" y="1710"/>
                  </a:lnTo>
                  <a:lnTo>
                    <a:pt x="2043" y="1590"/>
                  </a:lnTo>
                  <a:lnTo>
                    <a:pt x="2159" y="1507"/>
                  </a:lnTo>
                  <a:lnTo>
                    <a:pt x="2181" y="1579"/>
                  </a:lnTo>
                  <a:lnTo>
                    <a:pt x="2244" y="1609"/>
                  </a:lnTo>
                  <a:lnTo>
                    <a:pt x="2316" y="1527"/>
                  </a:lnTo>
                  <a:lnTo>
                    <a:pt x="2417" y="1572"/>
                  </a:lnTo>
                  <a:lnTo>
                    <a:pt x="2475" y="1621"/>
                  </a:lnTo>
                  <a:lnTo>
                    <a:pt x="2582" y="1644"/>
                  </a:lnTo>
                  <a:lnTo>
                    <a:pt x="2682" y="1566"/>
                  </a:lnTo>
                  <a:lnTo>
                    <a:pt x="2580" y="1525"/>
                  </a:lnTo>
                  <a:lnTo>
                    <a:pt x="2351" y="1501"/>
                  </a:lnTo>
                  <a:lnTo>
                    <a:pt x="2171" y="1501"/>
                  </a:lnTo>
                  <a:lnTo>
                    <a:pt x="2141" y="1449"/>
                  </a:lnTo>
                  <a:lnTo>
                    <a:pt x="2112" y="1405"/>
                  </a:lnTo>
                  <a:lnTo>
                    <a:pt x="2018" y="1347"/>
                  </a:lnTo>
                  <a:lnTo>
                    <a:pt x="1968" y="1297"/>
                  </a:lnTo>
                  <a:lnTo>
                    <a:pt x="2004" y="1215"/>
                  </a:lnTo>
                  <a:lnTo>
                    <a:pt x="2027" y="1164"/>
                  </a:lnTo>
                  <a:lnTo>
                    <a:pt x="1919" y="1093"/>
                  </a:lnTo>
                  <a:lnTo>
                    <a:pt x="2024" y="978"/>
                  </a:lnTo>
                  <a:lnTo>
                    <a:pt x="2087" y="889"/>
                  </a:lnTo>
                  <a:lnTo>
                    <a:pt x="2171" y="853"/>
                  </a:lnTo>
                  <a:lnTo>
                    <a:pt x="2099" y="747"/>
                  </a:lnTo>
                  <a:lnTo>
                    <a:pt x="2196" y="624"/>
                  </a:lnTo>
                  <a:lnTo>
                    <a:pt x="2129" y="534"/>
                  </a:lnTo>
                  <a:lnTo>
                    <a:pt x="2042" y="436"/>
                  </a:lnTo>
                  <a:lnTo>
                    <a:pt x="2003" y="319"/>
                  </a:lnTo>
                  <a:lnTo>
                    <a:pt x="2003" y="195"/>
                  </a:lnTo>
                  <a:lnTo>
                    <a:pt x="1823" y="289"/>
                  </a:lnTo>
                  <a:lnTo>
                    <a:pt x="1800" y="231"/>
                  </a:lnTo>
                  <a:lnTo>
                    <a:pt x="1716" y="133"/>
                  </a:lnTo>
                  <a:lnTo>
                    <a:pt x="1659" y="25"/>
                  </a:lnTo>
                  <a:lnTo>
                    <a:pt x="1559" y="3"/>
                  </a:lnTo>
                  <a:lnTo>
                    <a:pt x="1478" y="0"/>
                  </a:lnTo>
                  <a:lnTo>
                    <a:pt x="1427" y="85"/>
                  </a:lnTo>
                  <a:lnTo>
                    <a:pt x="1224" y="217"/>
                  </a:lnTo>
                  <a:lnTo>
                    <a:pt x="1103" y="181"/>
                  </a:lnTo>
                  <a:lnTo>
                    <a:pt x="1008" y="97"/>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3" name="Freeform 14">
              <a:extLst>
                <a:ext uri="{FF2B5EF4-FFF2-40B4-BE49-F238E27FC236}">
                  <a16:creationId xmlns:a16="http://schemas.microsoft.com/office/drawing/2014/main" id="{A65C9C54-A632-432B-9C5C-9479243DAE23}"/>
                </a:ext>
              </a:extLst>
            </p:cNvPr>
            <p:cNvSpPr>
              <a:spLocks/>
            </p:cNvSpPr>
            <p:nvPr/>
          </p:nvSpPr>
          <p:spPr bwMode="auto">
            <a:xfrm>
              <a:off x="2743865" y="3075773"/>
              <a:ext cx="595735" cy="419690"/>
            </a:xfrm>
            <a:custGeom>
              <a:avLst/>
              <a:gdLst>
                <a:gd name="T0" fmla="*/ 2019 w 2112"/>
                <a:gd name="T1" fmla="*/ 1040 h 1488"/>
                <a:gd name="T2" fmla="*/ 1956 w 2112"/>
                <a:gd name="T3" fmla="*/ 1043 h 1488"/>
                <a:gd name="T4" fmla="*/ 1893 w 2112"/>
                <a:gd name="T5" fmla="*/ 981 h 1488"/>
                <a:gd name="T6" fmla="*/ 1775 w 2112"/>
                <a:gd name="T7" fmla="*/ 888 h 1488"/>
                <a:gd name="T8" fmla="*/ 1755 w 2112"/>
                <a:gd name="T9" fmla="*/ 813 h 1488"/>
                <a:gd name="T10" fmla="*/ 1694 w 2112"/>
                <a:gd name="T11" fmla="*/ 785 h 1488"/>
                <a:gd name="T12" fmla="*/ 1686 w 2112"/>
                <a:gd name="T13" fmla="*/ 720 h 1488"/>
                <a:gd name="T14" fmla="*/ 1718 w 2112"/>
                <a:gd name="T15" fmla="*/ 635 h 1488"/>
                <a:gd name="T16" fmla="*/ 1751 w 2112"/>
                <a:gd name="T17" fmla="*/ 561 h 1488"/>
                <a:gd name="T18" fmla="*/ 1742 w 2112"/>
                <a:gd name="T19" fmla="*/ 480 h 1488"/>
                <a:gd name="T20" fmla="*/ 1859 w 2112"/>
                <a:gd name="T21" fmla="*/ 432 h 1488"/>
                <a:gd name="T22" fmla="*/ 1787 w 2112"/>
                <a:gd name="T23" fmla="*/ 372 h 1488"/>
                <a:gd name="T24" fmla="*/ 1667 w 2112"/>
                <a:gd name="T25" fmla="*/ 408 h 1488"/>
                <a:gd name="T26" fmla="*/ 1587 w 2112"/>
                <a:gd name="T27" fmla="*/ 338 h 1488"/>
                <a:gd name="T28" fmla="*/ 1445 w 2112"/>
                <a:gd name="T29" fmla="*/ 279 h 1488"/>
                <a:gd name="T30" fmla="*/ 1359 w 2112"/>
                <a:gd name="T31" fmla="*/ 170 h 1488"/>
                <a:gd name="T32" fmla="*/ 1139 w 2112"/>
                <a:gd name="T33" fmla="*/ 0 h 1488"/>
                <a:gd name="T34" fmla="*/ 1032 w 2112"/>
                <a:gd name="T35" fmla="*/ 62 h 1488"/>
                <a:gd name="T36" fmla="*/ 936 w 2112"/>
                <a:gd name="T37" fmla="*/ 108 h 1488"/>
                <a:gd name="T38" fmla="*/ 816 w 2112"/>
                <a:gd name="T39" fmla="*/ 204 h 1488"/>
                <a:gd name="T40" fmla="*/ 660 w 2112"/>
                <a:gd name="T41" fmla="*/ 228 h 1488"/>
                <a:gd name="T42" fmla="*/ 588 w 2112"/>
                <a:gd name="T43" fmla="*/ 204 h 1488"/>
                <a:gd name="T44" fmla="*/ 480 w 2112"/>
                <a:gd name="T45" fmla="*/ 180 h 1488"/>
                <a:gd name="T46" fmla="*/ 348 w 2112"/>
                <a:gd name="T47" fmla="*/ 192 h 1488"/>
                <a:gd name="T48" fmla="*/ 216 w 2112"/>
                <a:gd name="T49" fmla="*/ 192 h 1488"/>
                <a:gd name="T50" fmla="*/ 192 w 2112"/>
                <a:gd name="T51" fmla="*/ 300 h 1488"/>
                <a:gd name="T52" fmla="*/ 156 w 2112"/>
                <a:gd name="T53" fmla="*/ 408 h 1488"/>
                <a:gd name="T54" fmla="*/ 192 w 2112"/>
                <a:gd name="T55" fmla="*/ 468 h 1488"/>
                <a:gd name="T56" fmla="*/ 96 w 2112"/>
                <a:gd name="T57" fmla="*/ 540 h 1488"/>
                <a:gd name="T58" fmla="*/ 0 w 2112"/>
                <a:gd name="T59" fmla="*/ 660 h 1488"/>
                <a:gd name="T60" fmla="*/ 48 w 2112"/>
                <a:gd name="T61" fmla="*/ 780 h 1488"/>
                <a:gd name="T62" fmla="*/ 168 w 2112"/>
                <a:gd name="T63" fmla="*/ 756 h 1488"/>
                <a:gd name="T64" fmla="*/ 288 w 2112"/>
                <a:gd name="T65" fmla="*/ 852 h 1488"/>
                <a:gd name="T66" fmla="*/ 384 w 2112"/>
                <a:gd name="T67" fmla="*/ 816 h 1488"/>
                <a:gd name="T68" fmla="*/ 492 w 2112"/>
                <a:gd name="T69" fmla="*/ 828 h 1488"/>
                <a:gd name="T70" fmla="*/ 612 w 2112"/>
                <a:gd name="T71" fmla="*/ 840 h 1488"/>
                <a:gd name="T72" fmla="*/ 696 w 2112"/>
                <a:gd name="T73" fmla="*/ 936 h 1488"/>
                <a:gd name="T74" fmla="*/ 780 w 2112"/>
                <a:gd name="T75" fmla="*/ 1032 h 1488"/>
                <a:gd name="T76" fmla="*/ 876 w 2112"/>
                <a:gd name="T77" fmla="*/ 1128 h 1488"/>
                <a:gd name="T78" fmla="*/ 912 w 2112"/>
                <a:gd name="T79" fmla="*/ 1200 h 1488"/>
                <a:gd name="T80" fmla="*/ 948 w 2112"/>
                <a:gd name="T81" fmla="*/ 1284 h 1488"/>
                <a:gd name="T82" fmla="*/ 1080 w 2112"/>
                <a:gd name="T83" fmla="*/ 1392 h 1488"/>
                <a:gd name="T84" fmla="*/ 1200 w 2112"/>
                <a:gd name="T85" fmla="*/ 1416 h 1488"/>
                <a:gd name="T86" fmla="*/ 1332 w 2112"/>
                <a:gd name="T87" fmla="*/ 1392 h 1488"/>
                <a:gd name="T88" fmla="*/ 1452 w 2112"/>
                <a:gd name="T89" fmla="*/ 1488 h 1488"/>
                <a:gd name="T90" fmla="*/ 1536 w 2112"/>
                <a:gd name="T91" fmla="*/ 1452 h 1488"/>
                <a:gd name="T92" fmla="*/ 1584 w 2112"/>
                <a:gd name="T93" fmla="*/ 1368 h 1488"/>
                <a:gd name="T94" fmla="*/ 1704 w 2112"/>
                <a:gd name="T95" fmla="*/ 1356 h 1488"/>
                <a:gd name="T96" fmla="*/ 1788 w 2112"/>
                <a:gd name="T97" fmla="*/ 1296 h 1488"/>
                <a:gd name="T98" fmla="*/ 1884 w 2112"/>
                <a:gd name="T99" fmla="*/ 1344 h 1488"/>
                <a:gd name="T100" fmla="*/ 1992 w 2112"/>
                <a:gd name="T101" fmla="*/ 1356 h 1488"/>
                <a:gd name="T102" fmla="*/ 2112 w 2112"/>
                <a:gd name="T103" fmla="*/ 1344 h 1488"/>
                <a:gd name="T104" fmla="*/ 2088 w 2112"/>
                <a:gd name="T105" fmla="*/ 1212 h 1488"/>
                <a:gd name="T106" fmla="*/ 2088 w 2112"/>
                <a:gd name="T107" fmla="*/ 1104 h 1488"/>
                <a:gd name="T108" fmla="*/ 2019 w 2112"/>
                <a:gd name="T109" fmla="*/ 1040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2" h="1488">
                  <a:moveTo>
                    <a:pt x="2019" y="1040"/>
                  </a:moveTo>
                  <a:lnTo>
                    <a:pt x="1956" y="1043"/>
                  </a:lnTo>
                  <a:lnTo>
                    <a:pt x="1893" y="981"/>
                  </a:lnTo>
                  <a:lnTo>
                    <a:pt x="1775" y="888"/>
                  </a:lnTo>
                  <a:lnTo>
                    <a:pt x="1755" y="813"/>
                  </a:lnTo>
                  <a:lnTo>
                    <a:pt x="1694" y="785"/>
                  </a:lnTo>
                  <a:lnTo>
                    <a:pt x="1686" y="720"/>
                  </a:lnTo>
                  <a:lnTo>
                    <a:pt x="1718" y="635"/>
                  </a:lnTo>
                  <a:lnTo>
                    <a:pt x="1751" y="561"/>
                  </a:lnTo>
                  <a:lnTo>
                    <a:pt x="1742" y="480"/>
                  </a:lnTo>
                  <a:lnTo>
                    <a:pt x="1859" y="432"/>
                  </a:lnTo>
                  <a:lnTo>
                    <a:pt x="1787" y="372"/>
                  </a:lnTo>
                  <a:lnTo>
                    <a:pt x="1667" y="408"/>
                  </a:lnTo>
                  <a:lnTo>
                    <a:pt x="1587" y="338"/>
                  </a:lnTo>
                  <a:lnTo>
                    <a:pt x="1445" y="279"/>
                  </a:lnTo>
                  <a:lnTo>
                    <a:pt x="1359" y="170"/>
                  </a:lnTo>
                  <a:lnTo>
                    <a:pt x="1139" y="0"/>
                  </a:lnTo>
                  <a:lnTo>
                    <a:pt x="1032" y="62"/>
                  </a:lnTo>
                  <a:lnTo>
                    <a:pt x="936" y="108"/>
                  </a:lnTo>
                  <a:lnTo>
                    <a:pt x="816" y="204"/>
                  </a:lnTo>
                  <a:lnTo>
                    <a:pt x="660" y="228"/>
                  </a:lnTo>
                  <a:lnTo>
                    <a:pt x="588" y="204"/>
                  </a:lnTo>
                  <a:lnTo>
                    <a:pt x="480" y="180"/>
                  </a:lnTo>
                  <a:lnTo>
                    <a:pt x="348" y="192"/>
                  </a:lnTo>
                  <a:lnTo>
                    <a:pt x="216" y="192"/>
                  </a:lnTo>
                  <a:lnTo>
                    <a:pt x="192" y="300"/>
                  </a:lnTo>
                  <a:lnTo>
                    <a:pt x="156" y="408"/>
                  </a:lnTo>
                  <a:lnTo>
                    <a:pt x="192" y="468"/>
                  </a:lnTo>
                  <a:lnTo>
                    <a:pt x="96" y="540"/>
                  </a:lnTo>
                  <a:lnTo>
                    <a:pt x="0" y="660"/>
                  </a:lnTo>
                  <a:lnTo>
                    <a:pt x="48" y="780"/>
                  </a:lnTo>
                  <a:lnTo>
                    <a:pt x="168" y="756"/>
                  </a:lnTo>
                  <a:lnTo>
                    <a:pt x="288" y="852"/>
                  </a:lnTo>
                  <a:lnTo>
                    <a:pt x="384" y="816"/>
                  </a:lnTo>
                  <a:lnTo>
                    <a:pt x="492" y="828"/>
                  </a:lnTo>
                  <a:lnTo>
                    <a:pt x="612" y="840"/>
                  </a:lnTo>
                  <a:lnTo>
                    <a:pt x="696" y="936"/>
                  </a:lnTo>
                  <a:lnTo>
                    <a:pt x="780" y="1032"/>
                  </a:lnTo>
                  <a:lnTo>
                    <a:pt x="876" y="1128"/>
                  </a:lnTo>
                  <a:lnTo>
                    <a:pt x="912" y="1200"/>
                  </a:lnTo>
                  <a:lnTo>
                    <a:pt x="948" y="1284"/>
                  </a:lnTo>
                  <a:lnTo>
                    <a:pt x="1080" y="1392"/>
                  </a:lnTo>
                  <a:lnTo>
                    <a:pt x="1200" y="1416"/>
                  </a:lnTo>
                  <a:lnTo>
                    <a:pt x="1332" y="1392"/>
                  </a:lnTo>
                  <a:lnTo>
                    <a:pt x="1452" y="1488"/>
                  </a:lnTo>
                  <a:lnTo>
                    <a:pt x="1536" y="1452"/>
                  </a:lnTo>
                  <a:lnTo>
                    <a:pt x="1584" y="1368"/>
                  </a:lnTo>
                  <a:lnTo>
                    <a:pt x="1704" y="1356"/>
                  </a:lnTo>
                  <a:lnTo>
                    <a:pt x="1788" y="1296"/>
                  </a:lnTo>
                  <a:lnTo>
                    <a:pt x="1884" y="1344"/>
                  </a:lnTo>
                  <a:lnTo>
                    <a:pt x="1992" y="1356"/>
                  </a:lnTo>
                  <a:lnTo>
                    <a:pt x="2112" y="1344"/>
                  </a:lnTo>
                  <a:lnTo>
                    <a:pt x="2088" y="1212"/>
                  </a:lnTo>
                  <a:lnTo>
                    <a:pt x="2088" y="1104"/>
                  </a:lnTo>
                  <a:lnTo>
                    <a:pt x="2019" y="10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4" name="Freeform 15">
              <a:extLst>
                <a:ext uri="{FF2B5EF4-FFF2-40B4-BE49-F238E27FC236}">
                  <a16:creationId xmlns:a16="http://schemas.microsoft.com/office/drawing/2014/main" id="{2F09CB29-910F-4F2D-A5DF-60E09710737E}"/>
                </a:ext>
              </a:extLst>
            </p:cNvPr>
            <p:cNvSpPr>
              <a:spLocks/>
            </p:cNvSpPr>
            <p:nvPr/>
          </p:nvSpPr>
          <p:spPr bwMode="auto">
            <a:xfrm>
              <a:off x="3048070" y="3119433"/>
              <a:ext cx="1240762" cy="1014016"/>
            </a:xfrm>
            <a:custGeom>
              <a:avLst/>
              <a:gdLst>
                <a:gd name="T0" fmla="*/ 971 w 4404"/>
                <a:gd name="T1" fmla="*/ 611 h 3600"/>
                <a:gd name="T2" fmla="*/ 1224 w 4404"/>
                <a:gd name="T3" fmla="*/ 552 h 3600"/>
                <a:gd name="T4" fmla="*/ 1356 w 4404"/>
                <a:gd name="T5" fmla="*/ 371 h 3600"/>
                <a:gd name="T6" fmla="*/ 1500 w 4404"/>
                <a:gd name="T7" fmla="*/ 489 h 3600"/>
                <a:gd name="T8" fmla="*/ 1631 w 4404"/>
                <a:gd name="T9" fmla="*/ 684 h 3600"/>
                <a:gd name="T10" fmla="*/ 1836 w 4404"/>
                <a:gd name="T11" fmla="*/ 890 h 3600"/>
                <a:gd name="T12" fmla="*/ 2337 w 4404"/>
                <a:gd name="T13" fmla="*/ 1065 h 3600"/>
                <a:gd name="T14" fmla="*/ 2696 w 4404"/>
                <a:gd name="T15" fmla="*/ 1032 h 3600"/>
                <a:gd name="T16" fmla="*/ 2855 w 4404"/>
                <a:gd name="T17" fmla="*/ 672 h 3600"/>
                <a:gd name="T18" fmla="*/ 2915 w 4404"/>
                <a:gd name="T19" fmla="*/ 419 h 3600"/>
                <a:gd name="T20" fmla="*/ 3059 w 4404"/>
                <a:gd name="T21" fmla="*/ 240 h 3600"/>
                <a:gd name="T22" fmla="*/ 2990 w 4404"/>
                <a:gd name="T23" fmla="*/ 36 h 3600"/>
                <a:gd name="T24" fmla="*/ 3377 w 4404"/>
                <a:gd name="T25" fmla="*/ 63 h 3600"/>
                <a:gd name="T26" fmla="*/ 3696 w 4404"/>
                <a:gd name="T27" fmla="*/ 167 h 3600"/>
                <a:gd name="T28" fmla="*/ 3893 w 4404"/>
                <a:gd name="T29" fmla="*/ 26 h 3600"/>
                <a:gd name="T30" fmla="*/ 3986 w 4404"/>
                <a:gd name="T31" fmla="*/ 324 h 3600"/>
                <a:gd name="T32" fmla="*/ 3936 w 4404"/>
                <a:gd name="T33" fmla="*/ 447 h 3600"/>
                <a:gd name="T34" fmla="*/ 3692 w 4404"/>
                <a:gd name="T35" fmla="*/ 882 h 3600"/>
                <a:gd name="T36" fmla="*/ 3432 w 4404"/>
                <a:gd name="T37" fmla="*/ 1128 h 3600"/>
                <a:gd name="T38" fmla="*/ 3614 w 4404"/>
                <a:gd name="T39" fmla="*/ 1271 h 3600"/>
                <a:gd name="T40" fmla="*/ 3818 w 4404"/>
                <a:gd name="T41" fmla="*/ 1188 h 3600"/>
                <a:gd name="T42" fmla="*/ 4010 w 4404"/>
                <a:gd name="T43" fmla="*/ 1356 h 3600"/>
                <a:gd name="T44" fmla="*/ 4056 w 4404"/>
                <a:gd name="T45" fmla="*/ 1574 h 3600"/>
                <a:gd name="T46" fmla="*/ 4350 w 4404"/>
                <a:gd name="T47" fmla="*/ 1779 h 3600"/>
                <a:gd name="T48" fmla="*/ 4356 w 4404"/>
                <a:gd name="T49" fmla="*/ 2075 h 3600"/>
                <a:gd name="T50" fmla="*/ 4052 w 4404"/>
                <a:gd name="T51" fmla="*/ 1835 h 3600"/>
                <a:gd name="T52" fmla="*/ 3768 w 4404"/>
                <a:gd name="T53" fmla="*/ 1917 h 3600"/>
                <a:gd name="T54" fmla="*/ 3671 w 4404"/>
                <a:gd name="T55" fmla="*/ 2289 h 3600"/>
                <a:gd name="T56" fmla="*/ 3503 w 4404"/>
                <a:gd name="T57" fmla="*/ 2174 h 3600"/>
                <a:gd name="T58" fmla="*/ 3563 w 4404"/>
                <a:gd name="T59" fmla="*/ 1884 h 3600"/>
                <a:gd name="T60" fmla="*/ 3482 w 4404"/>
                <a:gd name="T61" fmla="*/ 1787 h 3600"/>
                <a:gd name="T62" fmla="*/ 3306 w 4404"/>
                <a:gd name="T63" fmla="*/ 1689 h 3600"/>
                <a:gd name="T64" fmla="*/ 3240 w 4404"/>
                <a:gd name="T65" fmla="*/ 1895 h 3600"/>
                <a:gd name="T66" fmla="*/ 3182 w 4404"/>
                <a:gd name="T67" fmla="*/ 2196 h 3600"/>
                <a:gd name="T68" fmla="*/ 3383 w 4404"/>
                <a:gd name="T69" fmla="*/ 2376 h 3600"/>
                <a:gd name="T70" fmla="*/ 3326 w 4404"/>
                <a:gd name="T71" fmla="*/ 2676 h 3600"/>
                <a:gd name="T72" fmla="*/ 3197 w 4404"/>
                <a:gd name="T73" fmla="*/ 2844 h 3600"/>
                <a:gd name="T74" fmla="*/ 2894 w 4404"/>
                <a:gd name="T75" fmla="*/ 2916 h 3600"/>
                <a:gd name="T76" fmla="*/ 2412 w 4404"/>
                <a:gd name="T77" fmla="*/ 2940 h 3600"/>
                <a:gd name="T78" fmla="*/ 2388 w 4404"/>
                <a:gd name="T79" fmla="*/ 3326 h 3600"/>
                <a:gd name="T80" fmla="*/ 1620 w 4404"/>
                <a:gd name="T81" fmla="*/ 3564 h 3600"/>
                <a:gd name="T82" fmla="*/ 1440 w 4404"/>
                <a:gd name="T83" fmla="*/ 3084 h 3600"/>
                <a:gd name="T84" fmla="*/ 1164 w 4404"/>
                <a:gd name="T85" fmla="*/ 2700 h 3600"/>
                <a:gd name="T86" fmla="*/ 864 w 4404"/>
                <a:gd name="T87" fmla="*/ 2580 h 3600"/>
                <a:gd name="T88" fmla="*/ 684 w 4404"/>
                <a:gd name="T89" fmla="*/ 2100 h 3600"/>
                <a:gd name="T90" fmla="*/ 636 w 4404"/>
                <a:gd name="T91" fmla="*/ 1728 h 3600"/>
                <a:gd name="T92" fmla="*/ 336 w 4404"/>
                <a:gd name="T93" fmla="*/ 1584 h 3600"/>
                <a:gd name="T94" fmla="*/ 84 w 4404"/>
                <a:gd name="T95" fmla="*/ 1356 h 3600"/>
                <a:gd name="T96" fmla="*/ 252 w 4404"/>
                <a:gd name="T97" fmla="*/ 1236 h 3600"/>
                <a:gd name="T98" fmla="*/ 504 w 4404"/>
                <a:gd name="T99" fmla="*/ 1212 h 3600"/>
                <a:gd name="T100" fmla="*/ 804 w 4404"/>
                <a:gd name="T101" fmla="*/ 1188 h 3600"/>
                <a:gd name="T102" fmla="*/ 1008 w 4404"/>
                <a:gd name="T103" fmla="*/ 10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4" h="3600">
                  <a:moveTo>
                    <a:pt x="938" y="884"/>
                  </a:moveTo>
                  <a:lnTo>
                    <a:pt x="947" y="755"/>
                  </a:lnTo>
                  <a:lnTo>
                    <a:pt x="971" y="611"/>
                  </a:lnTo>
                  <a:lnTo>
                    <a:pt x="1067" y="518"/>
                  </a:lnTo>
                  <a:lnTo>
                    <a:pt x="1187" y="479"/>
                  </a:lnTo>
                  <a:lnTo>
                    <a:pt x="1224" y="552"/>
                  </a:lnTo>
                  <a:lnTo>
                    <a:pt x="1332" y="504"/>
                  </a:lnTo>
                  <a:lnTo>
                    <a:pt x="1403" y="456"/>
                  </a:lnTo>
                  <a:lnTo>
                    <a:pt x="1356" y="371"/>
                  </a:lnTo>
                  <a:lnTo>
                    <a:pt x="1439" y="312"/>
                  </a:lnTo>
                  <a:lnTo>
                    <a:pt x="1512" y="395"/>
                  </a:lnTo>
                  <a:lnTo>
                    <a:pt x="1500" y="489"/>
                  </a:lnTo>
                  <a:lnTo>
                    <a:pt x="1526" y="566"/>
                  </a:lnTo>
                  <a:lnTo>
                    <a:pt x="1584" y="611"/>
                  </a:lnTo>
                  <a:lnTo>
                    <a:pt x="1631" y="684"/>
                  </a:lnTo>
                  <a:lnTo>
                    <a:pt x="1646" y="771"/>
                  </a:lnTo>
                  <a:lnTo>
                    <a:pt x="1769" y="828"/>
                  </a:lnTo>
                  <a:lnTo>
                    <a:pt x="1836" y="890"/>
                  </a:lnTo>
                  <a:lnTo>
                    <a:pt x="1946" y="936"/>
                  </a:lnTo>
                  <a:lnTo>
                    <a:pt x="2088" y="947"/>
                  </a:lnTo>
                  <a:lnTo>
                    <a:pt x="2337" y="1065"/>
                  </a:lnTo>
                  <a:lnTo>
                    <a:pt x="2471" y="1094"/>
                  </a:lnTo>
                  <a:lnTo>
                    <a:pt x="2589" y="1080"/>
                  </a:lnTo>
                  <a:lnTo>
                    <a:pt x="2696" y="1032"/>
                  </a:lnTo>
                  <a:lnTo>
                    <a:pt x="2822" y="947"/>
                  </a:lnTo>
                  <a:lnTo>
                    <a:pt x="2904" y="819"/>
                  </a:lnTo>
                  <a:lnTo>
                    <a:pt x="2855" y="672"/>
                  </a:lnTo>
                  <a:lnTo>
                    <a:pt x="2868" y="552"/>
                  </a:lnTo>
                  <a:lnTo>
                    <a:pt x="2823" y="434"/>
                  </a:lnTo>
                  <a:lnTo>
                    <a:pt x="2915" y="419"/>
                  </a:lnTo>
                  <a:lnTo>
                    <a:pt x="3000" y="458"/>
                  </a:lnTo>
                  <a:lnTo>
                    <a:pt x="3012" y="323"/>
                  </a:lnTo>
                  <a:lnTo>
                    <a:pt x="3059" y="240"/>
                  </a:lnTo>
                  <a:lnTo>
                    <a:pt x="2916" y="182"/>
                  </a:lnTo>
                  <a:lnTo>
                    <a:pt x="2918" y="71"/>
                  </a:lnTo>
                  <a:lnTo>
                    <a:pt x="2990" y="36"/>
                  </a:lnTo>
                  <a:lnTo>
                    <a:pt x="3074" y="71"/>
                  </a:lnTo>
                  <a:lnTo>
                    <a:pt x="3212" y="84"/>
                  </a:lnTo>
                  <a:lnTo>
                    <a:pt x="3377" y="63"/>
                  </a:lnTo>
                  <a:lnTo>
                    <a:pt x="3560" y="48"/>
                  </a:lnTo>
                  <a:lnTo>
                    <a:pt x="3636" y="62"/>
                  </a:lnTo>
                  <a:lnTo>
                    <a:pt x="3696" y="167"/>
                  </a:lnTo>
                  <a:lnTo>
                    <a:pt x="3770" y="93"/>
                  </a:lnTo>
                  <a:lnTo>
                    <a:pt x="3815" y="0"/>
                  </a:lnTo>
                  <a:lnTo>
                    <a:pt x="3893" y="26"/>
                  </a:lnTo>
                  <a:lnTo>
                    <a:pt x="3984" y="96"/>
                  </a:lnTo>
                  <a:lnTo>
                    <a:pt x="4032" y="218"/>
                  </a:lnTo>
                  <a:lnTo>
                    <a:pt x="3986" y="324"/>
                  </a:lnTo>
                  <a:lnTo>
                    <a:pt x="3864" y="192"/>
                  </a:lnTo>
                  <a:lnTo>
                    <a:pt x="3890" y="315"/>
                  </a:lnTo>
                  <a:lnTo>
                    <a:pt x="3936" y="447"/>
                  </a:lnTo>
                  <a:lnTo>
                    <a:pt x="3851" y="543"/>
                  </a:lnTo>
                  <a:lnTo>
                    <a:pt x="3779" y="648"/>
                  </a:lnTo>
                  <a:lnTo>
                    <a:pt x="3692" y="882"/>
                  </a:lnTo>
                  <a:lnTo>
                    <a:pt x="3638" y="1008"/>
                  </a:lnTo>
                  <a:lnTo>
                    <a:pt x="3537" y="1082"/>
                  </a:lnTo>
                  <a:lnTo>
                    <a:pt x="3432" y="1128"/>
                  </a:lnTo>
                  <a:lnTo>
                    <a:pt x="3443" y="1235"/>
                  </a:lnTo>
                  <a:lnTo>
                    <a:pt x="3503" y="1296"/>
                  </a:lnTo>
                  <a:lnTo>
                    <a:pt x="3614" y="1271"/>
                  </a:lnTo>
                  <a:lnTo>
                    <a:pt x="3672" y="1188"/>
                  </a:lnTo>
                  <a:lnTo>
                    <a:pt x="3743" y="1200"/>
                  </a:lnTo>
                  <a:lnTo>
                    <a:pt x="3818" y="1188"/>
                  </a:lnTo>
                  <a:lnTo>
                    <a:pt x="3912" y="1188"/>
                  </a:lnTo>
                  <a:lnTo>
                    <a:pt x="3984" y="1262"/>
                  </a:lnTo>
                  <a:lnTo>
                    <a:pt x="4010" y="1356"/>
                  </a:lnTo>
                  <a:lnTo>
                    <a:pt x="3962" y="1440"/>
                  </a:lnTo>
                  <a:lnTo>
                    <a:pt x="3972" y="1524"/>
                  </a:lnTo>
                  <a:lnTo>
                    <a:pt x="4056" y="1574"/>
                  </a:lnTo>
                  <a:lnTo>
                    <a:pt x="4173" y="1595"/>
                  </a:lnTo>
                  <a:lnTo>
                    <a:pt x="4299" y="1670"/>
                  </a:lnTo>
                  <a:lnTo>
                    <a:pt x="4350" y="1779"/>
                  </a:lnTo>
                  <a:lnTo>
                    <a:pt x="4404" y="1910"/>
                  </a:lnTo>
                  <a:lnTo>
                    <a:pt x="4334" y="1968"/>
                  </a:lnTo>
                  <a:lnTo>
                    <a:pt x="4356" y="2075"/>
                  </a:lnTo>
                  <a:lnTo>
                    <a:pt x="4212" y="2016"/>
                  </a:lnTo>
                  <a:lnTo>
                    <a:pt x="4154" y="1908"/>
                  </a:lnTo>
                  <a:lnTo>
                    <a:pt x="4052" y="1835"/>
                  </a:lnTo>
                  <a:lnTo>
                    <a:pt x="3881" y="1809"/>
                  </a:lnTo>
                  <a:lnTo>
                    <a:pt x="3767" y="1802"/>
                  </a:lnTo>
                  <a:lnTo>
                    <a:pt x="3768" y="1917"/>
                  </a:lnTo>
                  <a:lnTo>
                    <a:pt x="3732" y="2031"/>
                  </a:lnTo>
                  <a:lnTo>
                    <a:pt x="3635" y="2198"/>
                  </a:lnTo>
                  <a:lnTo>
                    <a:pt x="3671" y="2289"/>
                  </a:lnTo>
                  <a:lnTo>
                    <a:pt x="3587" y="2327"/>
                  </a:lnTo>
                  <a:lnTo>
                    <a:pt x="3515" y="2258"/>
                  </a:lnTo>
                  <a:lnTo>
                    <a:pt x="3503" y="2174"/>
                  </a:lnTo>
                  <a:lnTo>
                    <a:pt x="3444" y="2076"/>
                  </a:lnTo>
                  <a:lnTo>
                    <a:pt x="3539" y="2016"/>
                  </a:lnTo>
                  <a:lnTo>
                    <a:pt x="3563" y="1884"/>
                  </a:lnTo>
                  <a:lnTo>
                    <a:pt x="3624" y="1850"/>
                  </a:lnTo>
                  <a:lnTo>
                    <a:pt x="3621" y="1787"/>
                  </a:lnTo>
                  <a:lnTo>
                    <a:pt x="3482" y="1787"/>
                  </a:lnTo>
                  <a:lnTo>
                    <a:pt x="3419" y="1730"/>
                  </a:lnTo>
                  <a:lnTo>
                    <a:pt x="3395" y="1668"/>
                  </a:lnTo>
                  <a:lnTo>
                    <a:pt x="3306" y="1689"/>
                  </a:lnTo>
                  <a:lnTo>
                    <a:pt x="3252" y="1691"/>
                  </a:lnTo>
                  <a:lnTo>
                    <a:pt x="3192" y="1776"/>
                  </a:lnTo>
                  <a:lnTo>
                    <a:pt x="3240" y="1895"/>
                  </a:lnTo>
                  <a:lnTo>
                    <a:pt x="3240" y="2004"/>
                  </a:lnTo>
                  <a:lnTo>
                    <a:pt x="3179" y="2100"/>
                  </a:lnTo>
                  <a:lnTo>
                    <a:pt x="3182" y="2196"/>
                  </a:lnTo>
                  <a:lnTo>
                    <a:pt x="3285" y="2207"/>
                  </a:lnTo>
                  <a:lnTo>
                    <a:pt x="3362" y="2234"/>
                  </a:lnTo>
                  <a:lnTo>
                    <a:pt x="3383" y="2376"/>
                  </a:lnTo>
                  <a:lnTo>
                    <a:pt x="3455" y="2462"/>
                  </a:lnTo>
                  <a:lnTo>
                    <a:pt x="3336" y="2543"/>
                  </a:lnTo>
                  <a:lnTo>
                    <a:pt x="3326" y="2676"/>
                  </a:lnTo>
                  <a:lnTo>
                    <a:pt x="3275" y="2739"/>
                  </a:lnTo>
                  <a:lnTo>
                    <a:pt x="3312" y="2856"/>
                  </a:lnTo>
                  <a:lnTo>
                    <a:pt x="3197" y="2844"/>
                  </a:lnTo>
                  <a:lnTo>
                    <a:pt x="3105" y="2831"/>
                  </a:lnTo>
                  <a:lnTo>
                    <a:pt x="3000" y="2820"/>
                  </a:lnTo>
                  <a:lnTo>
                    <a:pt x="2894" y="2916"/>
                  </a:lnTo>
                  <a:lnTo>
                    <a:pt x="2775" y="2906"/>
                  </a:lnTo>
                  <a:lnTo>
                    <a:pt x="2661" y="2880"/>
                  </a:lnTo>
                  <a:lnTo>
                    <a:pt x="2412" y="2940"/>
                  </a:lnTo>
                  <a:lnTo>
                    <a:pt x="2364" y="3119"/>
                  </a:lnTo>
                  <a:lnTo>
                    <a:pt x="2400" y="3251"/>
                  </a:lnTo>
                  <a:lnTo>
                    <a:pt x="2388" y="3326"/>
                  </a:lnTo>
                  <a:lnTo>
                    <a:pt x="2243" y="3545"/>
                  </a:lnTo>
                  <a:lnTo>
                    <a:pt x="1956" y="3600"/>
                  </a:lnTo>
                  <a:lnTo>
                    <a:pt x="1620" y="3564"/>
                  </a:lnTo>
                  <a:lnTo>
                    <a:pt x="1524" y="3444"/>
                  </a:lnTo>
                  <a:lnTo>
                    <a:pt x="1397" y="3408"/>
                  </a:lnTo>
                  <a:lnTo>
                    <a:pt x="1440" y="3084"/>
                  </a:lnTo>
                  <a:lnTo>
                    <a:pt x="1476" y="2820"/>
                  </a:lnTo>
                  <a:lnTo>
                    <a:pt x="1332" y="2772"/>
                  </a:lnTo>
                  <a:lnTo>
                    <a:pt x="1164" y="2700"/>
                  </a:lnTo>
                  <a:lnTo>
                    <a:pt x="984" y="2784"/>
                  </a:lnTo>
                  <a:lnTo>
                    <a:pt x="972" y="2640"/>
                  </a:lnTo>
                  <a:lnTo>
                    <a:pt x="864" y="2580"/>
                  </a:lnTo>
                  <a:lnTo>
                    <a:pt x="780" y="2412"/>
                  </a:lnTo>
                  <a:lnTo>
                    <a:pt x="708" y="2292"/>
                  </a:lnTo>
                  <a:lnTo>
                    <a:pt x="684" y="2100"/>
                  </a:lnTo>
                  <a:lnTo>
                    <a:pt x="684" y="1968"/>
                  </a:lnTo>
                  <a:lnTo>
                    <a:pt x="720" y="1788"/>
                  </a:lnTo>
                  <a:lnTo>
                    <a:pt x="636" y="1728"/>
                  </a:lnTo>
                  <a:lnTo>
                    <a:pt x="516" y="1692"/>
                  </a:lnTo>
                  <a:lnTo>
                    <a:pt x="444" y="1596"/>
                  </a:lnTo>
                  <a:lnTo>
                    <a:pt x="336" y="1584"/>
                  </a:lnTo>
                  <a:lnTo>
                    <a:pt x="252" y="1464"/>
                  </a:lnTo>
                  <a:lnTo>
                    <a:pt x="192" y="1392"/>
                  </a:lnTo>
                  <a:lnTo>
                    <a:pt x="84" y="1356"/>
                  </a:lnTo>
                  <a:lnTo>
                    <a:pt x="0" y="1236"/>
                  </a:lnTo>
                  <a:lnTo>
                    <a:pt x="120" y="1260"/>
                  </a:lnTo>
                  <a:lnTo>
                    <a:pt x="252" y="1236"/>
                  </a:lnTo>
                  <a:lnTo>
                    <a:pt x="372" y="1332"/>
                  </a:lnTo>
                  <a:lnTo>
                    <a:pt x="456" y="1296"/>
                  </a:lnTo>
                  <a:lnTo>
                    <a:pt x="504" y="1212"/>
                  </a:lnTo>
                  <a:lnTo>
                    <a:pt x="624" y="1200"/>
                  </a:lnTo>
                  <a:lnTo>
                    <a:pt x="708" y="1140"/>
                  </a:lnTo>
                  <a:lnTo>
                    <a:pt x="804" y="1188"/>
                  </a:lnTo>
                  <a:lnTo>
                    <a:pt x="912" y="1200"/>
                  </a:lnTo>
                  <a:lnTo>
                    <a:pt x="1032" y="1188"/>
                  </a:lnTo>
                  <a:lnTo>
                    <a:pt x="1008" y="1056"/>
                  </a:lnTo>
                  <a:lnTo>
                    <a:pt x="1008" y="948"/>
                  </a:lnTo>
                  <a:lnTo>
                    <a:pt x="938" y="884"/>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5" name="Freeform 16">
              <a:extLst>
                <a:ext uri="{FF2B5EF4-FFF2-40B4-BE49-F238E27FC236}">
                  <a16:creationId xmlns:a16="http://schemas.microsoft.com/office/drawing/2014/main" id="{B2CDBC79-DDED-4061-83C0-905D136BC998}"/>
                </a:ext>
              </a:extLst>
            </p:cNvPr>
            <p:cNvSpPr>
              <a:spLocks/>
            </p:cNvSpPr>
            <p:nvPr/>
          </p:nvSpPr>
          <p:spPr bwMode="auto">
            <a:xfrm>
              <a:off x="4431075" y="1606859"/>
              <a:ext cx="653477" cy="1421031"/>
            </a:xfrm>
            <a:custGeom>
              <a:avLst/>
              <a:gdLst>
                <a:gd name="T0" fmla="*/ 102 w 2323"/>
                <a:gd name="T1" fmla="*/ 139 h 5047"/>
                <a:gd name="T2" fmla="*/ 12 w 2323"/>
                <a:gd name="T3" fmla="*/ 280 h 5047"/>
                <a:gd name="T4" fmla="*/ 85 w 2323"/>
                <a:gd name="T5" fmla="*/ 562 h 5047"/>
                <a:gd name="T6" fmla="*/ 97 w 2323"/>
                <a:gd name="T7" fmla="*/ 805 h 5047"/>
                <a:gd name="T8" fmla="*/ 12 w 2323"/>
                <a:gd name="T9" fmla="*/ 1113 h 5047"/>
                <a:gd name="T10" fmla="*/ 12 w 2323"/>
                <a:gd name="T11" fmla="*/ 1440 h 5047"/>
                <a:gd name="T12" fmla="*/ 171 w 2323"/>
                <a:gd name="T13" fmla="*/ 1533 h 5047"/>
                <a:gd name="T14" fmla="*/ 51 w 2323"/>
                <a:gd name="T15" fmla="*/ 1785 h 5047"/>
                <a:gd name="T16" fmla="*/ 72 w 2323"/>
                <a:gd name="T17" fmla="*/ 2058 h 5047"/>
                <a:gd name="T18" fmla="*/ 144 w 2323"/>
                <a:gd name="T19" fmla="*/ 2313 h 5047"/>
                <a:gd name="T20" fmla="*/ 229 w 2323"/>
                <a:gd name="T21" fmla="*/ 2529 h 5047"/>
                <a:gd name="T22" fmla="*/ 327 w 2323"/>
                <a:gd name="T23" fmla="*/ 2811 h 5047"/>
                <a:gd name="T24" fmla="*/ 447 w 2323"/>
                <a:gd name="T25" fmla="*/ 3034 h 5047"/>
                <a:gd name="T26" fmla="*/ 387 w 2323"/>
                <a:gd name="T27" fmla="*/ 3237 h 5047"/>
                <a:gd name="T28" fmla="*/ 408 w 2323"/>
                <a:gd name="T29" fmla="*/ 3406 h 5047"/>
                <a:gd name="T30" fmla="*/ 373 w 2323"/>
                <a:gd name="T31" fmla="*/ 3657 h 5047"/>
                <a:gd name="T32" fmla="*/ 253 w 2323"/>
                <a:gd name="T33" fmla="*/ 3909 h 5047"/>
                <a:gd name="T34" fmla="*/ 322 w 2323"/>
                <a:gd name="T35" fmla="*/ 4030 h 5047"/>
                <a:gd name="T36" fmla="*/ 276 w 2323"/>
                <a:gd name="T37" fmla="*/ 4248 h 5047"/>
                <a:gd name="T38" fmla="*/ 169 w 2323"/>
                <a:gd name="T39" fmla="*/ 4476 h 5047"/>
                <a:gd name="T40" fmla="*/ 156 w 2323"/>
                <a:gd name="T41" fmla="*/ 4644 h 5047"/>
                <a:gd name="T42" fmla="*/ 169 w 2323"/>
                <a:gd name="T43" fmla="*/ 4783 h 5047"/>
                <a:gd name="T44" fmla="*/ 291 w 2323"/>
                <a:gd name="T45" fmla="*/ 4908 h 5047"/>
                <a:gd name="T46" fmla="*/ 421 w 2323"/>
                <a:gd name="T47" fmla="*/ 4932 h 5047"/>
                <a:gd name="T48" fmla="*/ 610 w 2323"/>
                <a:gd name="T49" fmla="*/ 4659 h 5047"/>
                <a:gd name="T50" fmla="*/ 807 w 2323"/>
                <a:gd name="T51" fmla="*/ 4545 h 5047"/>
                <a:gd name="T52" fmla="*/ 841 w 2323"/>
                <a:gd name="T53" fmla="*/ 4438 h 5047"/>
                <a:gd name="T54" fmla="*/ 1129 w 2323"/>
                <a:gd name="T55" fmla="*/ 4080 h 5047"/>
                <a:gd name="T56" fmla="*/ 1123 w 2323"/>
                <a:gd name="T57" fmla="*/ 3799 h 5047"/>
                <a:gd name="T58" fmla="*/ 1225 w 2323"/>
                <a:gd name="T59" fmla="*/ 3361 h 5047"/>
                <a:gd name="T60" fmla="*/ 1428 w 2323"/>
                <a:gd name="T61" fmla="*/ 3142 h 5047"/>
                <a:gd name="T62" fmla="*/ 1837 w 2323"/>
                <a:gd name="T63" fmla="*/ 2926 h 5047"/>
                <a:gd name="T64" fmla="*/ 1837 w 2323"/>
                <a:gd name="T65" fmla="*/ 2548 h 5047"/>
                <a:gd name="T66" fmla="*/ 2071 w 2323"/>
                <a:gd name="T67" fmla="*/ 2296 h 5047"/>
                <a:gd name="T68" fmla="*/ 2323 w 2323"/>
                <a:gd name="T69" fmla="*/ 1864 h 5047"/>
                <a:gd name="T70" fmla="*/ 1836 w 2323"/>
                <a:gd name="T71" fmla="*/ 1173 h 5047"/>
                <a:gd name="T72" fmla="*/ 1384 w 2323"/>
                <a:gd name="T73" fmla="*/ 742 h 5047"/>
                <a:gd name="T74" fmla="*/ 1060 w 2323"/>
                <a:gd name="T75" fmla="*/ 444 h 5047"/>
                <a:gd name="T76" fmla="*/ 552 w 2323"/>
                <a:gd name="T77" fmla="*/ 94 h 5047"/>
                <a:gd name="T78" fmla="*/ 229 w 2323"/>
                <a:gd name="T79" fmla="*/ 82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3" h="5047">
                  <a:moveTo>
                    <a:pt x="229" y="82"/>
                  </a:moveTo>
                  <a:lnTo>
                    <a:pt x="102" y="139"/>
                  </a:lnTo>
                  <a:lnTo>
                    <a:pt x="0" y="190"/>
                  </a:lnTo>
                  <a:lnTo>
                    <a:pt x="12" y="280"/>
                  </a:lnTo>
                  <a:lnTo>
                    <a:pt x="73" y="432"/>
                  </a:lnTo>
                  <a:lnTo>
                    <a:pt x="85" y="562"/>
                  </a:lnTo>
                  <a:lnTo>
                    <a:pt x="72" y="696"/>
                  </a:lnTo>
                  <a:lnTo>
                    <a:pt x="97" y="805"/>
                  </a:lnTo>
                  <a:lnTo>
                    <a:pt x="24" y="913"/>
                  </a:lnTo>
                  <a:lnTo>
                    <a:pt x="12" y="1113"/>
                  </a:lnTo>
                  <a:lnTo>
                    <a:pt x="85" y="1222"/>
                  </a:lnTo>
                  <a:lnTo>
                    <a:pt x="12" y="1440"/>
                  </a:lnTo>
                  <a:lnTo>
                    <a:pt x="93" y="1461"/>
                  </a:lnTo>
                  <a:lnTo>
                    <a:pt x="171" y="1533"/>
                  </a:lnTo>
                  <a:lnTo>
                    <a:pt x="145" y="1678"/>
                  </a:lnTo>
                  <a:lnTo>
                    <a:pt x="51" y="1785"/>
                  </a:lnTo>
                  <a:lnTo>
                    <a:pt x="48" y="1944"/>
                  </a:lnTo>
                  <a:lnTo>
                    <a:pt x="72" y="2058"/>
                  </a:lnTo>
                  <a:lnTo>
                    <a:pt x="84" y="2217"/>
                  </a:lnTo>
                  <a:lnTo>
                    <a:pt x="144" y="2313"/>
                  </a:lnTo>
                  <a:lnTo>
                    <a:pt x="135" y="2470"/>
                  </a:lnTo>
                  <a:lnTo>
                    <a:pt x="229" y="2529"/>
                  </a:lnTo>
                  <a:lnTo>
                    <a:pt x="289" y="2673"/>
                  </a:lnTo>
                  <a:lnTo>
                    <a:pt x="327" y="2811"/>
                  </a:lnTo>
                  <a:lnTo>
                    <a:pt x="394" y="2910"/>
                  </a:lnTo>
                  <a:lnTo>
                    <a:pt x="447" y="3034"/>
                  </a:lnTo>
                  <a:lnTo>
                    <a:pt x="372" y="3153"/>
                  </a:lnTo>
                  <a:lnTo>
                    <a:pt x="387" y="3237"/>
                  </a:lnTo>
                  <a:lnTo>
                    <a:pt x="327" y="3298"/>
                  </a:lnTo>
                  <a:lnTo>
                    <a:pt x="408" y="3406"/>
                  </a:lnTo>
                  <a:lnTo>
                    <a:pt x="397" y="3519"/>
                  </a:lnTo>
                  <a:lnTo>
                    <a:pt x="373" y="3657"/>
                  </a:lnTo>
                  <a:lnTo>
                    <a:pt x="373" y="3874"/>
                  </a:lnTo>
                  <a:lnTo>
                    <a:pt x="253" y="3909"/>
                  </a:lnTo>
                  <a:lnTo>
                    <a:pt x="253" y="4006"/>
                  </a:lnTo>
                  <a:lnTo>
                    <a:pt x="322" y="4030"/>
                  </a:lnTo>
                  <a:lnTo>
                    <a:pt x="291" y="4152"/>
                  </a:lnTo>
                  <a:lnTo>
                    <a:pt x="276" y="4248"/>
                  </a:lnTo>
                  <a:lnTo>
                    <a:pt x="145" y="4210"/>
                  </a:lnTo>
                  <a:lnTo>
                    <a:pt x="169" y="4476"/>
                  </a:lnTo>
                  <a:lnTo>
                    <a:pt x="73" y="4546"/>
                  </a:lnTo>
                  <a:lnTo>
                    <a:pt x="156" y="4644"/>
                  </a:lnTo>
                  <a:lnTo>
                    <a:pt x="61" y="4797"/>
                  </a:lnTo>
                  <a:lnTo>
                    <a:pt x="169" y="4783"/>
                  </a:lnTo>
                  <a:lnTo>
                    <a:pt x="202" y="4834"/>
                  </a:lnTo>
                  <a:lnTo>
                    <a:pt x="291" y="4908"/>
                  </a:lnTo>
                  <a:lnTo>
                    <a:pt x="271" y="5047"/>
                  </a:lnTo>
                  <a:lnTo>
                    <a:pt x="421" y="4932"/>
                  </a:lnTo>
                  <a:lnTo>
                    <a:pt x="526" y="4767"/>
                  </a:lnTo>
                  <a:lnTo>
                    <a:pt x="610" y="4659"/>
                  </a:lnTo>
                  <a:lnTo>
                    <a:pt x="685" y="4548"/>
                  </a:lnTo>
                  <a:lnTo>
                    <a:pt x="807" y="4545"/>
                  </a:lnTo>
                  <a:lnTo>
                    <a:pt x="898" y="4486"/>
                  </a:lnTo>
                  <a:lnTo>
                    <a:pt x="841" y="4438"/>
                  </a:lnTo>
                  <a:lnTo>
                    <a:pt x="984" y="4198"/>
                  </a:lnTo>
                  <a:lnTo>
                    <a:pt x="1129" y="4080"/>
                  </a:lnTo>
                  <a:lnTo>
                    <a:pt x="1068" y="3955"/>
                  </a:lnTo>
                  <a:lnTo>
                    <a:pt x="1123" y="3799"/>
                  </a:lnTo>
                  <a:lnTo>
                    <a:pt x="1213" y="3483"/>
                  </a:lnTo>
                  <a:lnTo>
                    <a:pt x="1225" y="3361"/>
                  </a:lnTo>
                  <a:lnTo>
                    <a:pt x="1309" y="3261"/>
                  </a:lnTo>
                  <a:lnTo>
                    <a:pt x="1428" y="3142"/>
                  </a:lnTo>
                  <a:lnTo>
                    <a:pt x="1824" y="3142"/>
                  </a:lnTo>
                  <a:lnTo>
                    <a:pt x="1837" y="2926"/>
                  </a:lnTo>
                  <a:lnTo>
                    <a:pt x="1783" y="2746"/>
                  </a:lnTo>
                  <a:lnTo>
                    <a:pt x="1837" y="2548"/>
                  </a:lnTo>
                  <a:lnTo>
                    <a:pt x="1927" y="2404"/>
                  </a:lnTo>
                  <a:lnTo>
                    <a:pt x="2071" y="2296"/>
                  </a:lnTo>
                  <a:lnTo>
                    <a:pt x="2161" y="2098"/>
                  </a:lnTo>
                  <a:lnTo>
                    <a:pt x="2323" y="1864"/>
                  </a:lnTo>
                  <a:lnTo>
                    <a:pt x="2061" y="1396"/>
                  </a:lnTo>
                  <a:lnTo>
                    <a:pt x="1836" y="1173"/>
                  </a:lnTo>
                  <a:lnTo>
                    <a:pt x="1614" y="970"/>
                  </a:lnTo>
                  <a:lnTo>
                    <a:pt x="1384" y="742"/>
                  </a:lnTo>
                  <a:lnTo>
                    <a:pt x="1260" y="627"/>
                  </a:lnTo>
                  <a:lnTo>
                    <a:pt x="1060" y="444"/>
                  </a:lnTo>
                  <a:lnTo>
                    <a:pt x="753" y="207"/>
                  </a:lnTo>
                  <a:lnTo>
                    <a:pt x="552" y="94"/>
                  </a:lnTo>
                  <a:lnTo>
                    <a:pt x="331" y="0"/>
                  </a:lnTo>
                  <a:lnTo>
                    <a:pt x="229" y="82"/>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6" name="Freeform 17">
              <a:extLst>
                <a:ext uri="{FF2B5EF4-FFF2-40B4-BE49-F238E27FC236}">
                  <a16:creationId xmlns:a16="http://schemas.microsoft.com/office/drawing/2014/main" id="{2101E7E1-7E72-4DA5-9ED3-0081EC9D0609}"/>
                </a:ext>
              </a:extLst>
            </p:cNvPr>
            <p:cNvSpPr>
              <a:spLocks/>
            </p:cNvSpPr>
            <p:nvPr/>
          </p:nvSpPr>
          <p:spPr bwMode="auto">
            <a:xfrm>
              <a:off x="4921183" y="2784244"/>
              <a:ext cx="154919" cy="85910"/>
            </a:xfrm>
            <a:custGeom>
              <a:avLst/>
              <a:gdLst>
                <a:gd name="T0" fmla="*/ 170 w 547"/>
                <a:gd name="T1" fmla="*/ 101 h 301"/>
                <a:gd name="T2" fmla="*/ 88 w 547"/>
                <a:gd name="T3" fmla="*/ 138 h 301"/>
                <a:gd name="T4" fmla="*/ 24 w 547"/>
                <a:gd name="T5" fmla="*/ 183 h 301"/>
                <a:gd name="T6" fmla="*/ 0 w 547"/>
                <a:gd name="T7" fmla="*/ 256 h 301"/>
                <a:gd name="T8" fmla="*/ 93 w 547"/>
                <a:gd name="T9" fmla="*/ 301 h 301"/>
                <a:gd name="T10" fmla="*/ 237 w 547"/>
                <a:gd name="T11" fmla="*/ 267 h 301"/>
                <a:gd name="T12" fmla="*/ 367 w 547"/>
                <a:gd name="T13" fmla="*/ 279 h 301"/>
                <a:gd name="T14" fmla="*/ 393 w 547"/>
                <a:gd name="T15" fmla="*/ 136 h 301"/>
                <a:gd name="T16" fmla="*/ 490 w 547"/>
                <a:gd name="T17" fmla="*/ 109 h 301"/>
                <a:gd name="T18" fmla="*/ 547 w 547"/>
                <a:gd name="T19" fmla="*/ 73 h 301"/>
                <a:gd name="T20" fmla="*/ 490 w 547"/>
                <a:gd name="T21" fmla="*/ 0 h 301"/>
                <a:gd name="T22" fmla="*/ 435 w 547"/>
                <a:gd name="T23" fmla="*/ 37 h 301"/>
                <a:gd name="T24" fmla="*/ 371 w 547"/>
                <a:gd name="T25" fmla="*/ 83 h 301"/>
                <a:gd name="T26" fmla="*/ 307 w 547"/>
                <a:gd name="T27" fmla="*/ 138 h 301"/>
                <a:gd name="T28" fmla="*/ 252 w 547"/>
                <a:gd name="T29" fmla="*/ 156 h 301"/>
                <a:gd name="T30" fmla="*/ 170 w 547"/>
                <a:gd name="T31" fmla="*/ 1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7" h="301">
                  <a:moveTo>
                    <a:pt x="170" y="101"/>
                  </a:moveTo>
                  <a:lnTo>
                    <a:pt x="88" y="138"/>
                  </a:lnTo>
                  <a:lnTo>
                    <a:pt x="24" y="183"/>
                  </a:lnTo>
                  <a:lnTo>
                    <a:pt x="0" y="256"/>
                  </a:lnTo>
                  <a:lnTo>
                    <a:pt x="93" y="301"/>
                  </a:lnTo>
                  <a:lnTo>
                    <a:pt x="237" y="267"/>
                  </a:lnTo>
                  <a:lnTo>
                    <a:pt x="367" y="279"/>
                  </a:lnTo>
                  <a:lnTo>
                    <a:pt x="393" y="136"/>
                  </a:lnTo>
                  <a:lnTo>
                    <a:pt x="490" y="109"/>
                  </a:lnTo>
                  <a:lnTo>
                    <a:pt x="547" y="73"/>
                  </a:lnTo>
                  <a:lnTo>
                    <a:pt x="490" y="0"/>
                  </a:lnTo>
                  <a:lnTo>
                    <a:pt x="435" y="37"/>
                  </a:lnTo>
                  <a:lnTo>
                    <a:pt x="371" y="83"/>
                  </a:lnTo>
                  <a:lnTo>
                    <a:pt x="307" y="138"/>
                  </a:lnTo>
                  <a:lnTo>
                    <a:pt x="252" y="156"/>
                  </a:lnTo>
                  <a:lnTo>
                    <a:pt x="170" y="101"/>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grpSp>
          <p:nvGrpSpPr>
            <p:cNvPr id="17" name="组合 64">
              <a:extLst>
                <a:ext uri="{FF2B5EF4-FFF2-40B4-BE49-F238E27FC236}">
                  <a16:creationId xmlns:a16="http://schemas.microsoft.com/office/drawing/2014/main" id="{8D9CDE71-9ED8-43FE-990B-2C5D033BFE16}"/>
                </a:ext>
              </a:extLst>
            </p:cNvPr>
            <p:cNvGrpSpPr/>
            <p:nvPr/>
          </p:nvGrpSpPr>
          <p:grpSpPr>
            <a:xfrm>
              <a:off x="73944" y="1790476"/>
              <a:ext cx="1871590" cy="790251"/>
              <a:chOff x="416520" y="4774171"/>
              <a:chExt cx="2109658" cy="890772"/>
            </a:xfrm>
          </p:grpSpPr>
          <p:sp>
            <p:nvSpPr>
              <p:cNvPr id="18" name="圆角矩形 111">
                <a:extLst>
                  <a:ext uri="{FF2B5EF4-FFF2-40B4-BE49-F238E27FC236}">
                    <a16:creationId xmlns:a16="http://schemas.microsoft.com/office/drawing/2014/main" id="{5E665367-1A08-451A-B772-E816A08577BB}"/>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9" name="圆角矩形 45">
                <a:extLst>
                  <a:ext uri="{FF2B5EF4-FFF2-40B4-BE49-F238E27FC236}">
                    <a16:creationId xmlns:a16="http://schemas.microsoft.com/office/drawing/2014/main" id="{B1677368-A0A9-47C2-8104-CC8A8281FA3A}"/>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Oromia</a:t>
                </a:r>
                <a:endParaRPr lang="en-US" altLang="zh-CN" sz="1050" b="1" kern="0" dirty="0"/>
              </a:p>
            </p:txBody>
          </p:sp>
          <p:sp>
            <p:nvSpPr>
              <p:cNvPr id="20" name="Text Box 16">
                <a:extLst>
                  <a:ext uri="{FF2B5EF4-FFF2-40B4-BE49-F238E27FC236}">
                    <a16:creationId xmlns:a16="http://schemas.microsoft.com/office/drawing/2014/main" id="{4B955912-4766-4979-8275-5D2B3118ABE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36</a:t>
                </a:r>
              </a:p>
            </p:txBody>
          </p:sp>
        </p:grpSp>
        <p:sp>
          <p:nvSpPr>
            <p:cNvPr id="21" name="Oval 25">
              <a:extLst>
                <a:ext uri="{FF2B5EF4-FFF2-40B4-BE49-F238E27FC236}">
                  <a16:creationId xmlns:a16="http://schemas.microsoft.com/office/drawing/2014/main" id="{C32D6F10-81A4-41BC-9212-25815DCA592D}"/>
                </a:ext>
              </a:extLst>
            </p:cNvPr>
            <p:cNvSpPr>
              <a:spLocks noChangeArrowheads="1"/>
            </p:cNvSpPr>
            <p:nvPr/>
          </p:nvSpPr>
          <p:spPr bwMode="gray">
            <a:xfrm>
              <a:off x="3727920" y="297025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2" name="肘形连接符 66">
              <a:extLst>
                <a:ext uri="{FF2B5EF4-FFF2-40B4-BE49-F238E27FC236}">
                  <a16:creationId xmlns:a16="http://schemas.microsoft.com/office/drawing/2014/main" id="{355DB5E8-13CB-477D-B1BF-7F8105A96E06}"/>
                </a:ext>
              </a:extLst>
            </p:cNvPr>
            <p:cNvCxnSpPr>
              <a:cxnSpLocks/>
              <a:stCxn id="21" idx="2"/>
              <a:endCxn id="18" idx="3"/>
            </p:cNvCxnSpPr>
            <p:nvPr/>
          </p:nvCxnSpPr>
          <p:spPr>
            <a:xfrm rot="10800000">
              <a:off x="1945534" y="2266776"/>
              <a:ext cx="1782386" cy="751748"/>
            </a:xfrm>
            <a:prstGeom prst="bentConnector3">
              <a:avLst>
                <a:gd name="adj1" fmla="val 69999"/>
              </a:avLst>
            </a:prstGeom>
            <a:noFill/>
            <a:ln w="9525">
              <a:solidFill>
                <a:srgbClr val="C00000"/>
              </a:solidFill>
              <a:prstDash val="sysDash"/>
              <a:miter lim="800000"/>
              <a:headEnd/>
              <a:tailEnd/>
            </a:ln>
          </p:spPr>
        </p:cxnSp>
        <p:grpSp>
          <p:nvGrpSpPr>
            <p:cNvPr id="23" name="组合 67">
              <a:extLst>
                <a:ext uri="{FF2B5EF4-FFF2-40B4-BE49-F238E27FC236}">
                  <a16:creationId xmlns:a16="http://schemas.microsoft.com/office/drawing/2014/main" id="{724F1D65-F89E-4F3C-B6E4-32E281865FAA}"/>
                </a:ext>
              </a:extLst>
            </p:cNvPr>
            <p:cNvGrpSpPr/>
            <p:nvPr/>
          </p:nvGrpSpPr>
          <p:grpSpPr>
            <a:xfrm>
              <a:off x="75498" y="33920"/>
              <a:ext cx="1871590" cy="790251"/>
              <a:chOff x="416520" y="4774171"/>
              <a:chExt cx="2109658" cy="890772"/>
            </a:xfrm>
          </p:grpSpPr>
          <p:sp>
            <p:nvSpPr>
              <p:cNvPr id="24" name="圆角矩形 108">
                <a:extLst>
                  <a:ext uri="{FF2B5EF4-FFF2-40B4-BE49-F238E27FC236}">
                    <a16:creationId xmlns:a16="http://schemas.microsoft.com/office/drawing/2014/main" id="{6FF76637-E745-4F82-B0B7-E94F47B645F7}"/>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25" name="圆角矩形 45">
                <a:extLst>
                  <a:ext uri="{FF2B5EF4-FFF2-40B4-BE49-F238E27FC236}">
                    <a16:creationId xmlns:a16="http://schemas.microsoft.com/office/drawing/2014/main" id="{4D73194C-5A8F-4D37-9268-1AAFC446004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Amhara</a:t>
                </a:r>
                <a:endParaRPr lang="en-US" altLang="zh-CN" sz="1050" b="1" kern="0" dirty="0"/>
              </a:p>
            </p:txBody>
          </p:sp>
          <p:sp>
            <p:nvSpPr>
              <p:cNvPr id="26" name="Text Box 16">
                <a:extLst>
                  <a:ext uri="{FF2B5EF4-FFF2-40B4-BE49-F238E27FC236}">
                    <a16:creationId xmlns:a16="http://schemas.microsoft.com/office/drawing/2014/main" id="{A891C8F9-C3A9-4458-B569-EC1333C52D01}"/>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3</a:t>
                </a:r>
              </a:p>
            </p:txBody>
          </p:sp>
        </p:grpSp>
        <p:sp>
          <p:nvSpPr>
            <p:cNvPr id="27" name="Oval 25">
              <a:extLst>
                <a:ext uri="{FF2B5EF4-FFF2-40B4-BE49-F238E27FC236}">
                  <a16:creationId xmlns:a16="http://schemas.microsoft.com/office/drawing/2014/main" id="{1EEF8CB0-238E-4B62-9CB5-151DDCBD984B}"/>
                </a:ext>
              </a:extLst>
            </p:cNvPr>
            <p:cNvSpPr>
              <a:spLocks noChangeArrowheads="1"/>
            </p:cNvSpPr>
            <p:nvPr/>
          </p:nvSpPr>
          <p:spPr bwMode="gray">
            <a:xfrm>
              <a:off x="4063949" y="230496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8" name="肘形连接符 69">
              <a:extLst>
                <a:ext uri="{FF2B5EF4-FFF2-40B4-BE49-F238E27FC236}">
                  <a16:creationId xmlns:a16="http://schemas.microsoft.com/office/drawing/2014/main" id="{1FB619FC-C6C0-4060-A3C7-0EF0D76463DD}"/>
                </a:ext>
              </a:extLst>
            </p:cNvPr>
            <p:cNvCxnSpPr>
              <a:cxnSpLocks/>
              <a:stCxn id="27" idx="2"/>
              <a:endCxn id="24" idx="3"/>
            </p:cNvCxnSpPr>
            <p:nvPr/>
          </p:nvCxnSpPr>
          <p:spPr>
            <a:xfrm rot="10800000">
              <a:off x="1947089" y="510221"/>
              <a:ext cx="2116861" cy="1843014"/>
            </a:xfrm>
            <a:prstGeom prst="bentConnector3">
              <a:avLst>
                <a:gd name="adj1" fmla="val 33527"/>
              </a:avLst>
            </a:prstGeom>
            <a:noFill/>
            <a:ln w="9525">
              <a:solidFill>
                <a:srgbClr val="C00000"/>
              </a:solidFill>
              <a:prstDash val="sysDash"/>
              <a:miter lim="800000"/>
              <a:headEnd/>
              <a:tailEnd/>
            </a:ln>
          </p:spPr>
        </p:cxnSp>
        <p:grpSp>
          <p:nvGrpSpPr>
            <p:cNvPr id="29" name="组合 70">
              <a:extLst>
                <a:ext uri="{FF2B5EF4-FFF2-40B4-BE49-F238E27FC236}">
                  <a16:creationId xmlns:a16="http://schemas.microsoft.com/office/drawing/2014/main" id="{938A93DD-6989-4B28-92C1-3685E1C0601E}"/>
                </a:ext>
              </a:extLst>
            </p:cNvPr>
            <p:cNvGrpSpPr/>
            <p:nvPr/>
          </p:nvGrpSpPr>
          <p:grpSpPr>
            <a:xfrm>
              <a:off x="7145440" y="3821093"/>
              <a:ext cx="1871590" cy="865124"/>
              <a:chOff x="416520" y="4774171"/>
              <a:chExt cx="2109658" cy="975169"/>
            </a:xfrm>
          </p:grpSpPr>
          <p:sp>
            <p:nvSpPr>
              <p:cNvPr id="30" name="圆角矩形 103">
                <a:extLst>
                  <a:ext uri="{FF2B5EF4-FFF2-40B4-BE49-F238E27FC236}">
                    <a16:creationId xmlns:a16="http://schemas.microsoft.com/office/drawing/2014/main" id="{B9D541A9-098D-4F75-B40C-171EFB245E53}"/>
                  </a:ext>
                </a:extLst>
              </p:cNvPr>
              <p:cNvSpPr/>
              <p:nvPr/>
            </p:nvSpPr>
            <p:spPr>
              <a:xfrm>
                <a:off x="416520" y="4964089"/>
                <a:ext cx="2109658" cy="78525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1" name="圆角矩形 45">
                <a:extLst>
                  <a:ext uri="{FF2B5EF4-FFF2-40B4-BE49-F238E27FC236}">
                    <a16:creationId xmlns:a16="http://schemas.microsoft.com/office/drawing/2014/main" id="{7CFAA479-ECD6-470B-A2E8-BD7CCC698FBE}"/>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omali</a:t>
                </a:r>
              </a:p>
            </p:txBody>
          </p:sp>
          <p:sp>
            <p:nvSpPr>
              <p:cNvPr id="32" name="Text Box 16">
                <a:extLst>
                  <a:ext uri="{FF2B5EF4-FFF2-40B4-BE49-F238E27FC236}">
                    <a16:creationId xmlns:a16="http://schemas.microsoft.com/office/drawing/2014/main" id="{F322A253-FF51-4587-A795-37FC25BDE30C}"/>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9</a:t>
                </a:r>
              </a:p>
            </p:txBody>
          </p:sp>
        </p:grpSp>
        <p:sp>
          <p:nvSpPr>
            <p:cNvPr id="33" name="Oval 25">
              <a:extLst>
                <a:ext uri="{FF2B5EF4-FFF2-40B4-BE49-F238E27FC236}">
                  <a16:creationId xmlns:a16="http://schemas.microsoft.com/office/drawing/2014/main" id="{75323E5C-5055-492D-B326-05BCB04B538F}"/>
                </a:ext>
              </a:extLst>
            </p:cNvPr>
            <p:cNvSpPr>
              <a:spLocks noChangeArrowheads="1"/>
            </p:cNvSpPr>
            <p:nvPr/>
          </p:nvSpPr>
          <p:spPr bwMode="gray">
            <a:xfrm>
              <a:off x="5606145" y="3365781"/>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34" name="肘形连接符 72">
              <a:extLst>
                <a:ext uri="{FF2B5EF4-FFF2-40B4-BE49-F238E27FC236}">
                  <a16:creationId xmlns:a16="http://schemas.microsoft.com/office/drawing/2014/main" id="{FB45BB5F-12D5-412C-9543-6173A9441769}"/>
                </a:ext>
              </a:extLst>
            </p:cNvPr>
            <p:cNvCxnSpPr>
              <a:cxnSpLocks/>
              <a:stCxn id="33" idx="6"/>
              <a:endCxn id="30" idx="1"/>
            </p:cNvCxnSpPr>
            <p:nvPr/>
          </p:nvCxnSpPr>
          <p:spPr>
            <a:xfrm>
              <a:off x="5702686" y="3414052"/>
              <a:ext cx="1442754" cy="923847"/>
            </a:xfrm>
            <a:prstGeom prst="bentConnector3">
              <a:avLst>
                <a:gd name="adj1" fmla="val 50000"/>
              </a:avLst>
            </a:prstGeom>
            <a:noFill/>
            <a:ln w="9525">
              <a:solidFill>
                <a:srgbClr val="C00000"/>
              </a:solidFill>
              <a:prstDash val="sysDash"/>
              <a:miter lim="800000"/>
              <a:headEnd/>
              <a:tailEnd/>
            </a:ln>
          </p:spPr>
        </p:cxnSp>
        <p:grpSp>
          <p:nvGrpSpPr>
            <p:cNvPr id="35" name="组合 82">
              <a:extLst>
                <a:ext uri="{FF2B5EF4-FFF2-40B4-BE49-F238E27FC236}">
                  <a16:creationId xmlns:a16="http://schemas.microsoft.com/office/drawing/2014/main" id="{2B9DBF8E-98F3-4AAF-AE6D-4CABAE4FB6E0}"/>
                </a:ext>
              </a:extLst>
            </p:cNvPr>
            <p:cNvGrpSpPr/>
            <p:nvPr/>
          </p:nvGrpSpPr>
          <p:grpSpPr>
            <a:xfrm>
              <a:off x="75498" y="3582943"/>
              <a:ext cx="1871590" cy="790251"/>
              <a:chOff x="416520" y="4774171"/>
              <a:chExt cx="2109658" cy="890772"/>
            </a:xfrm>
          </p:grpSpPr>
          <p:sp>
            <p:nvSpPr>
              <p:cNvPr id="36" name="圆角矩形 97">
                <a:extLst>
                  <a:ext uri="{FF2B5EF4-FFF2-40B4-BE49-F238E27FC236}">
                    <a16:creationId xmlns:a16="http://schemas.microsoft.com/office/drawing/2014/main" id="{234A2F52-783F-4160-93B4-CDE4CD679102}"/>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7" name="圆角矩形 45">
                <a:extLst>
                  <a:ext uri="{FF2B5EF4-FFF2-40B4-BE49-F238E27FC236}">
                    <a16:creationId xmlns:a16="http://schemas.microsoft.com/office/drawing/2014/main" id="{D4BC0CC7-5189-44F0-9815-C6290369331E}"/>
                  </a:ext>
                </a:extLst>
              </p:cNvPr>
              <p:cNvSpPr/>
              <p:nvPr/>
            </p:nvSpPr>
            <p:spPr>
              <a:xfrm>
                <a:off x="528442" y="4774171"/>
                <a:ext cx="1885814" cy="536888"/>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NNPR</a:t>
                </a:r>
              </a:p>
            </p:txBody>
          </p:sp>
          <p:sp>
            <p:nvSpPr>
              <p:cNvPr id="38" name="Text Box 16">
                <a:extLst>
                  <a:ext uri="{FF2B5EF4-FFF2-40B4-BE49-F238E27FC236}">
                    <a16:creationId xmlns:a16="http://schemas.microsoft.com/office/drawing/2014/main" id="{6E9A6A41-1075-48B6-8869-A1A4A98035A4}"/>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27</a:t>
                </a:r>
              </a:p>
            </p:txBody>
          </p:sp>
        </p:grpSp>
        <p:sp>
          <p:nvSpPr>
            <p:cNvPr id="39" name="Oval 25">
              <a:extLst>
                <a:ext uri="{FF2B5EF4-FFF2-40B4-BE49-F238E27FC236}">
                  <a16:creationId xmlns:a16="http://schemas.microsoft.com/office/drawing/2014/main" id="{7C6F0CAF-6F92-483B-AF87-4CB18571CE66}"/>
                </a:ext>
              </a:extLst>
            </p:cNvPr>
            <p:cNvSpPr>
              <a:spLocks noChangeArrowheads="1"/>
            </p:cNvSpPr>
            <p:nvPr/>
          </p:nvSpPr>
          <p:spPr bwMode="gray">
            <a:xfrm>
              <a:off x="4138838" y="297602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40" name="肘形连接符 96">
              <a:extLst>
                <a:ext uri="{FF2B5EF4-FFF2-40B4-BE49-F238E27FC236}">
                  <a16:creationId xmlns:a16="http://schemas.microsoft.com/office/drawing/2014/main" id="{C98FD2D6-4C85-46F0-9545-E44C0594418E}"/>
                </a:ext>
              </a:extLst>
            </p:cNvPr>
            <p:cNvCxnSpPr>
              <a:cxnSpLocks/>
              <a:stCxn id="39" idx="6"/>
              <a:endCxn id="71" idx="1"/>
            </p:cNvCxnSpPr>
            <p:nvPr/>
          </p:nvCxnSpPr>
          <p:spPr>
            <a:xfrm>
              <a:off x="4235379" y="3024300"/>
              <a:ext cx="303203" cy="1700079"/>
            </a:xfrm>
            <a:prstGeom prst="bentConnector3">
              <a:avLst>
                <a:gd name="adj1" fmla="val 50000"/>
              </a:avLst>
            </a:prstGeom>
            <a:noFill/>
            <a:ln w="9525">
              <a:solidFill>
                <a:srgbClr val="C00000"/>
              </a:solidFill>
              <a:prstDash val="sysDash"/>
              <a:miter lim="800000"/>
              <a:headEnd/>
              <a:tailEnd/>
            </a:ln>
          </p:spPr>
        </p:cxnSp>
        <p:grpSp>
          <p:nvGrpSpPr>
            <p:cNvPr id="41" name="组合 70">
              <a:extLst>
                <a:ext uri="{FF2B5EF4-FFF2-40B4-BE49-F238E27FC236}">
                  <a16:creationId xmlns:a16="http://schemas.microsoft.com/office/drawing/2014/main" id="{4D3D895E-7491-48D6-8994-4271093A8454}"/>
                </a:ext>
              </a:extLst>
            </p:cNvPr>
            <p:cNvGrpSpPr/>
            <p:nvPr/>
          </p:nvGrpSpPr>
          <p:grpSpPr>
            <a:xfrm>
              <a:off x="7141017" y="1747949"/>
              <a:ext cx="1871590" cy="865124"/>
              <a:chOff x="416520" y="4774171"/>
              <a:chExt cx="2109658" cy="975169"/>
            </a:xfrm>
          </p:grpSpPr>
          <p:sp>
            <p:nvSpPr>
              <p:cNvPr id="42" name="圆角矩形 103">
                <a:extLst>
                  <a:ext uri="{FF2B5EF4-FFF2-40B4-BE49-F238E27FC236}">
                    <a16:creationId xmlns:a16="http://schemas.microsoft.com/office/drawing/2014/main" id="{5EE43F11-9F99-4A74-8979-B22B8150CD8C}"/>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43" name="圆角矩形 45">
                <a:extLst>
                  <a:ext uri="{FF2B5EF4-FFF2-40B4-BE49-F238E27FC236}">
                    <a16:creationId xmlns:a16="http://schemas.microsoft.com/office/drawing/2014/main" id="{EB56C34B-CE67-49B7-8237-A35262C14948}"/>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Dire </a:t>
                </a:r>
                <a:r>
                  <a:rPr lang="en-US" altLang="zh-CN" sz="1050" b="1" kern="0" dirty="0" err="1"/>
                  <a:t>Dawa</a:t>
                </a:r>
                <a:endParaRPr lang="en-US" altLang="zh-CN" sz="1050" b="1" kern="0" dirty="0"/>
              </a:p>
            </p:txBody>
          </p:sp>
          <p:sp>
            <p:nvSpPr>
              <p:cNvPr id="44" name="Text Box 16">
                <a:extLst>
                  <a:ext uri="{FF2B5EF4-FFF2-40B4-BE49-F238E27FC236}">
                    <a16:creationId xmlns:a16="http://schemas.microsoft.com/office/drawing/2014/main" id="{084C8F93-E005-43E3-BB08-E7C50990B26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0" name="组合 64">
              <a:extLst>
                <a:ext uri="{FF2B5EF4-FFF2-40B4-BE49-F238E27FC236}">
                  <a16:creationId xmlns:a16="http://schemas.microsoft.com/office/drawing/2014/main" id="{30EAE193-56AF-462A-8CCF-6DFC7FB909B6}"/>
                </a:ext>
              </a:extLst>
            </p:cNvPr>
            <p:cNvGrpSpPr/>
            <p:nvPr/>
          </p:nvGrpSpPr>
          <p:grpSpPr>
            <a:xfrm>
              <a:off x="67968" y="2698050"/>
              <a:ext cx="1871590" cy="790251"/>
              <a:chOff x="416520" y="4774171"/>
              <a:chExt cx="2109658" cy="890772"/>
            </a:xfrm>
          </p:grpSpPr>
          <p:sp>
            <p:nvSpPr>
              <p:cNvPr id="51" name="圆角矩形 111">
                <a:extLst>
                  <a:ext uri="{FF2B5EF4-FFF2-40B4-BE49-F238E27FC236}">
                    <a16:creationId xmlns:a16="http://schemas.microsoft.com/office/drawing/2014/main" id="{AE0E8456-5495-42E5-A73F-87624A45681C}"/>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2" name="圆角矩形 45">
                <a:extLst>
                  <a:ext uri="{FF2B5EF4-FFF2-40B4-BE49-F238E27FC236}">
                    <a16:creationId xmlns:a16="http://schemas.microsoft.com/office/drawing/2014/main" id="{05E25267-7FDA-4CF9-BA84-305BF31792E4}"/>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Gambella</a:t>
                </a:r>
                <a:endParaRPr lang="en-US" altLang="zh-CN" sz="1050" b="1" kern="0" dirty="0"/>
              </a:p>
            </p:txBody>
          </p:sp>
          <p:sp>
            <p:nvSpPr>
              <p:cNvPr id="53" name="Text Box 16">
                <a:extLst>
                  <a:ext uri="{FF2B5EF4-FFF2-40B4-BE49-F238E27FC236}">
                    <a16:creationId xmlns:a16="http://schemas.microsoft.com/office/drawing/2014/main" id="{342572EC-14F0-4DB1-BFB4-95C228B02A2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4" name="组合 67">
              <a:extLst>
                <a:ext uri="{FF2B5EF4-FFF2-40B4-BE49-F238E27FC236}">
                  <a16:creationId xmlns:a16="http://schemas.microsoft.com/office/drawing/2014/main" id="{6E5B4320-4D97-4B9E-B5FA-B6D0A9D0106E}"/>
                </a:ext>
              </a:extLst>
            </p:cNvPr>
            <p:cNvGrpSpPr/>
            <p:nvPr/>
          </p:nvGrpSpPr>
          <p:grpSpPr>
            <a:xfrm>
              <a:off x="75498" y="893742"/>
              <a:ext cx="1871590" cy="790251"/>
              <a:chOff x="416520" y="4774171"/>
              <a:chExt cx="2109658" cy="890772"/>
            </a:xfrm>
          </p:grpSpPr>
          <p:sp>
            <p:nvSpPr>
              <p:cNvPr id="55" name="圆角矩形 108">
                <a:extLst>
                  <a:ext uri="{FF2B5EF4-FFF2-40B4-BE49-F238E27FC236}">
                    <a16:creationId xmlns:a16="http://schemas.microsoft.com/office/drawing/2014/main" id="{98764514-5B68-4668-86C8-4D9597BDC9E5}"/>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6" name="圆角矩形 45">
                <a:extLst>
                  <a:ext uri="{FF2B5EF4-FFF2-40B4-BE49-F238E27FC236}">
                    <a16:creationId xmlns:a16="http://schemas.microsoft.com/office/drawing/2014/main" id="{32A417A9-B914-463B-A5F7-EEF561C48D79}"/>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a:r>
                  <a:rPr lang="en-US" altLang="zh-CN" sz="1050" b="1" kern="0" dirty="0" err="1"/>
                  <a:t>Benishangu</a:t>
                </a:r>
                <a:endParaRPr lang="en-US" altLang="zh-CN" sz="1050" b="1" kern="0" dirty="0"/>
              </a:p>
            </p:txBody>
          </p:sp>
          <p:sp>
            <p:nvSpPr>
              <p:cNvPr id="57" name="Text Box 16">
                <a:extLst>
                  <a:ext uri="{FF2B5EF4-FFF2-40B4-BE49-F238E27FC236}">
                    <a16:creationId xmlns:a16="http://schemas.microsoft.com/office/drawing/2014/main" id="{7985AD28-3535-497A-8C16-20C20A7AD2C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cxnSp>
          <p:nvCxnSpPr>
            <p:cNvPr id="58" name="肘形连接符 69">
              <a:extLst>
                <a:ext uri="{FF2B5EF4-FFF2-40B4-BE49-F238E27FC236}">
                  <a16:creationId xmlns:a16="http://schemas.microsoft.com/office/drawing/2014/main" id="{88825988-ACC8-4991-8349-89F7708F0544}"/>
                </a:ext>
              </a:extLst>
            </p:cNvPr>
            <p:cNvCxnSpPr>
              <a:cxnSpLocks/>
              <a:stCxn id="62" idx="2"/>
              <a:endCxn id="55" idx="3"/>
            </p:cNvCxnSpPr>
            <p:nvPr/>
          </p:nvCxnSpPr>
          <p:spPr>
            <a:xfrm rot="10800000">
              <a:off x="1947088" y="1370044"/>
              <a:ext cx="1410756" cy="1145591"/>
            </a:xfrm>
            <a:prstGeom prst="bentConnector3">
              <a:avLst>
                <a:gd name="adj1" fmla="val 35169"/>
              </a:avLst>
            </a:prstGeom>
            <a:noFill/>
            <a:ln w="9525">
              <a:solidFill>
                <a:srgbClr val="C00000"/>
              </a:solidFill>
              <a:prstDash val="sysDash"/>
              <a:miter lim="800000"/>
              <a:headEnd/>
              <a:tailEnd/>
            </a:ln>
          </p:spPr>
        </p:cxnSp>
        <p:sp>
          <p:nvSpPr>
            <p:cNvPr id="62" name="Oval 25">
              <a:extLst>
                <a:ext uri="{FF2B5EF4-FFF2-40B4-BE49-F238E27FC236}">
                  <a16:creationId xmlns:a16="http://schemas.microsoft.com/office/drawing/2014/main" id="{C9E1F3BA-5535-4734-A4DA-9EC7D7F665FE}"/>
                </a:ext>
              </a:extLst>
            </p:cNvPr>
            <p:cNvSpPr>
              <a:spLocks noChangeArrowheads="1"/>
            </p:cNvSpPr>
            <p:nvPr/>
          </p:nvSpPr>
          <p:spPr bwMode="gray">
            <a:xfrm>
              <a:off x="3357844" y="24673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64" name="肘形连接符 69">
              <a:extLst>
                <a:ext uri="{FF2B5EF4-FFF2-40B4-BE49-F238E27FC236}">
                  <a16:creationId xmlns:a16="http://schemas.microsoft.com/office/drawing/2014/main" id="{5F881C9B-6FD7-4D13-939C-7381F613CA59}"/>
                </a:ext>
              </a:extLst>
            </p:cNvPr>
            <p:cNvCxnSpPr>
              <a:cxnSpLocks/>
              <a:stCxn id="65" idx="2"/>
              <a:endCxn id="51" idx="3"/>
            </p:cNvCxnSpPr>
            <p:nvPr/>
          </p:nvCxnSpPr>
          <p:spPr>
            <a:xfrm rot="10800000">
              <a:off x="1939558" y="3174350"/>
              <a:ext cx="1086134" cy="155630"/>
            </a:xfrm>
            <a:prstGeom prst="bentConnector3">
              <a:avLst>
                <a:gd name="adj1" fmla="val 50000"/>
              </a:avLst>
            </a:prstGeom>
            <a:noFill/>
            <a:ln w="9525">
              <a:solidFill>
                <a:srgbClr val="C00000"/>
              </a:solidFill>
              <a:prstDash val="sysDash"/>
              <a:miter lim="800000"/>
              <a:headEnd/>
              <a:tailEnd/>
            </a:ln>
          </p:spPr>
        </p:cxnSp>
        <p:sp>
          <p:nvSpPr>
            <p:cNvPr id="65" name="Oval 25">
              <a:extLst>
                <a:ext uri="{FF2B5EF4-FFF2-40B4-BE49-F238E27FC236}">
                  <a16:creationId xmlns:a16="http://schemas.microsoft.com/office/drawing/2014/main" id="{65B295EA-49F4-4C44-8071-5438CBC7096F}"/>
                </a:ext>
              </a:extLst>
            </p:cNvPr>
            <p:cNvSpPr>
              <a:spLocks noChangeArrowheads="1"/>
            </p:cNvSpPr>
            <p:nvPr/>
          </p:nvSpPr>
          <p:spPr bwMode="gray">
            <a:xfrm>
              <a:off x="3025692" y="328170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grpSp>
          <p:nvGrpSpPr>
            <p:cNvPr id="70" name="组合 64">
              <a:extLst>
                <a:ext uri="{FF2B5EF4-FFF2-40B4-BE49-F238E27FC236}">
                  <a16:creationId xmlns:a16="http://schemas.microsoft.com/office/drawing/2014/main" id="{7AAE5CD7-74BF-48C2-BC1F-1EFAF4E64F85}"/>
                </a:ext>
              </a:extLst>
            </p:cNvPr>
            <p:cNvGrpSpPr/>
            <p:nvPr/>
          </p:nvGrpSpPr>
          <p:grpSpPr>
            <a:xfrm>
              <a:off x="4538582" y="4248080"/>
              <a:ext cx="1871590" cy="1016860"/>
              <a:chOff x="416520" y="4774171"/>
              <a:chExt cx="2109658" cy="1146206"/>
            </a:xfrm>
          </p:grpSpPr>
          <p:sp>
            <p:nvSpPr>
              <p:cNvPr id="71" name="圆角矩形 111">
                <a:extLst>
                  <a:ext uri="{FF2B5EF4-FFF2-40B4-BE49-F238E27FC236}">
                    <a16:creationId xmlns:a16="http://schemas.microsoft.com/office/drawing/2014/main" id="{1F4174F9-786F-4A50-8E2F-6EA8D21B048D}"/>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72" name="圆角矩形 45">
                <a:extLst>
                  <a:ext uri="{FF2B5EF4-FFF2-40B4-BE49-F238E27FC236}">
                    <a16:creationId xmlns:a16="http://schemas.microsoft.com/office/drawing/2014/main" id="{CE30310A-DF3F-4809-B212-ABFDB74F27E8}"/>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ddis </a:t>
                </a:r>
                <a:r>
                  <a:rPr lang="en-US" altLang="zh-CN" sz="1050" b="1" kern="0" dirty="0" err="1"/>
                  <a:t>Addiba</a:t>
                </a:r>
                <a:endParaRPr lang="en-US" altLang="zh-CN" sz="1050" b="1" kern="0" dirty="0"/>
              </a:p>
            </p:txBody>
          </p:sp>
          <p:sp>
            <p:nvSpPr>
              <p:cNvPr id="73" name="Text Box 16">
                <a:extLst>
                  <a:ext uri="{FF2B5EF4-FFF2-40B4-BE49-F238E27FC236}">
                    <a16:creationId xmlns:a16="http://schemas.microsoft.com/office/drawing/2014/main" id="{B1C3C83E-21F1-4F0F-935D-DD830F78ABCE}"/>
                  </a:ext>
                </a:extLst>
              </p:cNvPr>
              <p:cNvSpPr txBox="1">
                <a:spLocks noChangeArrowheads="1"/>
              </p:cNvSpPr>
              <p:nvPr/>
            </p:nvSpPr>
            <p:spPr bwMode="auto">
              <a:xfrm>
                <a:off x="481277" y="5301818"/>
                <a:ext cx="1978394" cy="61855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a:p>
                <a:pPr marL="117475" indent="-117475">
                  <a:lnSpc>
                    <a:spcPct val="114000"/>
                  </a:lnSpc>
                  <a:buClr>
                    <a:schemeClr val="bg1">
                      <a:lumMod val="50000"/>
                    </a:schemeClr>
                  </a:buClr>
                  <a:buSzPct val="50000"/>
                  <a:buFont typeface="Wingdings" pitchFamily="2" charset="2"/>
                  <a:buChar char="l"/>
                </a:pPr>
                <a:endParaRPr lang="en-US" altLang="zh-CN" sz="1050" dirty="0">
                  <a:latin typeface="Calibri" pitchFamily="34" charset="0"/>
                  <a:cs typeface="Calibri" pitchFamily="34" charset="0"/>
                </a:endParaRPr>
              </a:p>
            </p:txBody>
          </p:sp>
        </p:grpSp>
        <p:sp>
          <p:nvSpPr>
            <p:cNvPr id="76" name="Oval 25">
              <a:extLst>
                <a:ext uri="{FF2B5EF4-FFF2-40B4-BE49-F238E27FC236}">
                  <a16:creationId xmlns:a16="http://schemas.microsoft.com/office/drawing/2014/main" id="{BFCCB5BA-6392-496A-91F0-5C152B2CE5A9}"/>
                </a:ext>
              </a:extLst>
            </p:cNvPr>
            <p:cNvSpPr>
              <a:spLocks noChangeArrowheads="1"/>
            </p:cNvSpPr>
            <p:nvPr/>
          </p:nvSpPr>
          <p:spPr bwMode="gray">
            <a:xfrm>
              <a:off x="3542017" y="363233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77" name="肘形连接符 96">
              <a:extLst>
                <a:ext uri="{FF2B5EF4-FFF2-40B4-BE49-F238E27FC236}">
                  <a16:creationId xmlns:a16="http://schemas.microsoft.com/office/drawing/2014/main" id="{D06EE75B-4DD9-44C4-ABC9-4E22A0FDB5A5}"/>
                </a:ext>
              </a:extLst>
            </p:cNvPr>
            <p:cNvCxnSpPr>
              <a:cxnSpLocks/>
              <a:stCxn id="76" idx="4"/>
              <a:endCxn id="36" idx="3"/>
            </p:cNvCxnSpPr>
            <p:nvPr/>
          </p:nvCxnSpPr>
          <p:spPr>
            <a:xfrm rot="5400000">
              <a:off x="2603503" y="3072459"/>
              <a:ext cx="330370" cy="1643200"/>
            </a:xfrm>
            <a:prstGeom prst="bentConnector2">
              <a:avLst/>
            </a:prstGeom>
            <a:noFill/>
            <a:ln w="9525">
              <a:solidFill>
                <a:srgbClr val="C00000"/>
              </a:solidFill>
              <a:prstDash val="sysDash"/>
              <a:miter lim="800000"/>
              <a:headEnd/>
              <a:tailEnd/>
            </a:ln>
          </p:spPr>
        </p:cxnSp>
        <p:grpSp>
          <p:nvGrpSpPr>
            <p:cNvPr id="81" name="组合 64">
              <a:extLst>
                <a:ext uri="{FF2B5EF4-FFF2-40B4-BE49-F238E27FC236}">
                  <a16:creationId xmlns:a16="http://schemas.microsoft.com/office/drawing/2014/main" id="{6A036EA2-C096-476F-9783-983486308285}"/>
                </a:ext>
              </a:extLst>
            </p:cNvPr>
            <p:cNvGrpSpPr/>
            <p:nvPr/>
          </p:nvGrpSpPr>
          <p:grpSpPr>
            <a:xfrm>
              <a:off x="3626905" y="32224"/>
              <a:ext cx="1871590" cy="790251"/>
              <a:chOff x="416520" y="4774171"/>
              <a:chExt cx="2109658" cy="890772"/>
            </a:xfrm>
          </p:grpSpPr>
          <p:sp>
            <p:nvSpPr>
              <p:cNvPr id="82" name="圆角矩形 111">
                <a:extLst>
                  <a:ext uri="{FF2B5EF4-FFF2-40B4-BE49-F238E27FC236}">
                    <a16:creationId xmlns:a16="http://schemas.microsoft.com/office/drawing/2014/main" id="{1CD3CF8F-D4D5-43C1-8237-91BA11C77FEF}"/>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83" name="圆角矩形 45">
                <a:extLst>
                  <a:ext uri="{FF2B5EF4-FFF2-40B4-BE49-F238E27FC236}">
                    <a16:creationId xmlns:a16="http://schemas.microsoft.com/office/drawing/2014/main" id="{79010BF9-A98E-4CC0-ABA2-AB72BFFB0725}"/>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Tigray</a:t>
                </a:r>
              </a:p>
            </p:txBody>
          </p:sp>
          <p:sp>
            <p:nvSpPr>
              <p:cNvPr id="84" name="Text Box 16">
                <a:extLst>
                  <a:ext uri="{FF2B5EF4-FFF2-40B4-BE49-F238E27FC236}">
                    <a16:creationId xmlns:a16="http://schemas.microsoft.com/office/drawing/2014/main" id="{25538059-5F82-4D24-B589-CE0C0C75BC23}"/>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9</a:t>
                </a:r>
              </a:p>
            </p:txBody>
          </p:sp>
        </p:grpSp>
        <p:sp>
          <p:nvSpPr>
            <p:cNvPr id="86" name="Oval 25">
              <a:extLst>
                <a:ext uri="{FF2B5EF4-FFF2-40B4-BE49-F238E27FC236}">
                  <a16:creationId xmlns:a16="http://schemas.microsoft.com/office/drawing/2014/main" id="{758276CD-4187-49F8-BB54-873A50CD169A}"/>
                </a:ext>
              </a:extLst>
            </p:cNvPr>
            <p:cNvSpPr>
              <a:spLocks noChangeArrowheads="1"/>
            </p:cNvSpPr>
            <p:nvPr/>
          </p:nvSpPr>
          <p:spPr bwMode="gray">
            <a:xfrm>
              <a:off x="3971983" y="169127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87" name="肘形连接符 69">
              <a:extLst>
                <a:ext uri="{FF2B5EF4-FFF2-40B4-BE49-F238E27FC236}">
                  <a16:creationId xmlns:a16="http://schemas.microsoft.com/office/drawing/2014/main" id="{6FFFA2DD-BE46-489F-81DF-CD6E07B4839A}"/>
                </a:ext>
              </a:extLst>
            </p:cNvPr>
            <p:cNvCxnSpPr>
              <a:cxnSpLocks/>
              <a:stCxn id="86" idx="6"/>
              <a:endCxn id="84" idx="2"/>
            </p:cNvCxnSpPr>
            <p:nvPr/>
          </p:nvCxnSpPr>
          <p:spPr>
            <a:xfrm flipV="1">
              <a:off x="4068524" y="822475"/>
              <a:ext cx="493400" cy="917069"/>
            </a:xfrm>
            <a:prstGeom prst="bentConnector2">
              <a:avLst/>
            </a:prstGeom>
            <a:noFill/>
            <a:ln w="9525">
              <a:solidFill>
                <a:srgbClr val="C00000"/>
              </a:solidFill>
              <a:prstDash val="sysDash"/>
              <a:miter lim="800000"/>
              <a:headEnd/>
              <a:tailEnd/>
            </a:ln>
          </p:spPr>
        </p:cxnSp>
        <p:grpSp>
          <p:nvGrpSpPr>
            <p:cNvPr id="90" name="组合 64">
              <a:extLst>
                <a:ext uri="{FF2B5EF4-FFF2-40B4-BE49-F238E27FC236}">
                  <a16:creationId xmlns:a16="http://schemas.microsoft.com/office/drawing/2014/main" id="{036F07BE-20D8-4A55-BE68-2F3D5E331899}"/>
                </a:ext>
              </a:extLst>
            </p:cNvPr>
            <p:cNvGrpSpPr/>
            <p:nvPr/>
          </p:nvGrpSpPr>
          <p:grpSpPr>
            <a:xfrm>
              <a:off x="5623609" y="37096"/>
              <a:ext cx="1871590" cy="790251"/>
              <a:chOff x="416520" y="4774171"/>
              <a:chExt cx="2109658" cy="890772"/>
            </a:xfrm>
          </p:grpSpPr>
          <p:sp>
            <p:nvSpPr>
              <p:cNvPr id="91" name="圆角矩形 111">
                <a:extLst>
                  <a:ext uri="{FF2B5EF4-FFF2-40B4-BE49-F238E27FC236}">
                    <a16:creationId xmlns:a16="http://schemas.microsoft.com/office/drawing/2014/main" id="{FA4A57B1-9C83-4FB5-9CC6-8C92BDCE1318}"/>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92" name="圆角矩形 45">
                <a:extLst>
                  <a:ext uri="{FF2B5EF4-FFF2-40B4-BE49-F238E27FC236}">
                    <a16:creationId xmlns:a16="http://schemas.microsoft.com/office/drawing/2014/main" id="{3544F7C3-1725-472C-A916-C6D97A77FBF9}"/>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far</a:t>
                </a:r>
              </a:p>
            </p:txBody>
          </p:sp>
          <p:sp>
            <p:nvSpPr>
              <p:cNvPr id="93" name="Text Box 16">
                <a:extLst>
                  <a:ext uri="{FF2B5EF4-FFF2-40B4-BE49-F238E27FC236}">
                    <a16:creationId xmlns:a16="http://schemas.microsoft.com/office/drawing/2014/main" id="{61A779D1-8C11-443F-849F-65D265531182}"/>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a:t>
                </a:r>
              </a:p>
            </p:txBody>
          </p:sp>
        </p:grpSp>
        <p:sp>
          <p:nvSpPr>
            <p:cNvPr id="94" name="Oval 25">
              <a:extLst>
                <a:ext uri="{FF2B5EF4-FFF2-40B4-BE49-F238E27FC236}">
                  <a16:creationId xmlns:a16="http://schemas.microsoft.com/office/drawing/2014/main" id="{18C7578B-17FD-4219-9A8D-0CAA210EA09F}"/>
                </a:ext>
              </a:extLst>
            </p:cNvPr>
            <p:cNvSpPr>
              <a:spLocks noChangeArrowheads="1"/>
            </p:cNvSpPr>
            <p:nvPr/>
          </p:nvSpPr>
          <p:spPr bwMode="gray">
            <a:xfrm>
              <a:off x="4661272" y="20236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5" name="肘形连接符 69">
              <a:extLst>
                <a:ext uri="{FF2B5EF4-FFF2-40B4-BE49-F238E27FC236}">
                  <a16:creationId xmlns:a16="http://schemas.microsoft.com/office/drawing/2014/main" id="{F5C45099-0DCB-44B9-9EA2-7A12542EF273}"/>
                </a:ext>
              </a:extLst>
            </p:cNvPr>
            <p:cNvCxnSpPr>
              <a:cxnSpLocks/>
              <a:stCxn id="94" idx="6"/>
              <a:endCxn id="93" idx="2"/>
            </p:cNvCxnSpPr>
            <p:nvPr/>
          </p:nvCxnSpPr>
          <p:spPr>
            <a:xfrm flipV="1">
              <a:off x="4757813" y="827346"/>
              <a:ext cx="1800816" cy="1244587"/>
            </a:xfrm>
            <a:prstGeom prst="bentConnector2">
              <a:avLst/>
            </a:prstGeom>
            <a:noFill/>
            <a:ln w="9525">
              <a:solidFill>
                <a:srgbClr val="C00000"/>
              </a:solidFill>
              <a:prstDash val="sysDash"/>
              <a:miter lim="800000"/>
              <a:headEnd/>
              <a:tailEnd/>
            </a:ln>
          </p:spPr>
        </p:cxnSp>
        <p:sp>
          <p:nvSpPr>
            <p:cNvPr id="98" name="Oval 25">
              <a:extLst>
                <a:ext uri="{FF2B5EF4-FFF2-40B4-BE49-F238E27FC236}">
                  <a16:creationId xmlns:a16="http://schemas.microsoft.com/office/drawing/2014/main" id="{51F9F5A8-F636-4FAF-8D88-B591F1714C09}"/>
                </a:ext>
              </a:extLst>
            </p:cNvPr>
            <p:cNvSpPr>
              <a:spLocks noChangeArrowheads="1"/>
            </p:cNvSpPr>
            <p:nvPr/>
          </p:nvSpPr>
          <p:spPr bwMode="gray">
            <a:xfrm>
              <a:off x="4921183" y="275594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9" name="肘形连接符 72">
              <a:extLst>
                <a:ext uri="{FF2B5EF4-FFF2-40B4-BE49-F238E27FC236}">
                  <a16:creationId xmlns:a16="http://schemas.microsoft.com/office/drawing/2014/main" id="{3662F052-CE6C-4A1B-9ACA-0E97C79AE060}"/>
                </a:ext>
              </a:extLst>
            </p:cNvPr>
            <p:cNvCxnSpPr>
              <a:cxnSpLocks/>
              <a:stCxn id="98" idx="0"/>
              <a:endCxn id="42" idx="1"/>
            </p:cNvCxnSpPr>
            <p:nvPr/>
          </p:nvCxnSpPr>
          <p:spPr>
            <a:xfrm rot="5400000" flipH="1" flipV="1">
              <a:off x="5809638" y="1424571"/>
              <a:ext cx="491194" cy="2171563"/>
            </a:xfrm>
            <a:prstGeom prst="bentConnector2">
              <a:avLst/>
            </a:prstGeom>
            <a:noFill/>
            <a:ln w="9525">
              <a:solidFill>
                <a:srgbClr val="C00000"/>
              </a:solidFill>
              <a:prstDash val="sysDash"/>
              <a:miter lim="800000"/>
              <a:headEnd/>
              <a:tailEnd/>
            </a:ln>
          </p:spPr>
        </p:cxnSp>
        <p:grpSp>
          <p:nvGrpSpPr>
            <p:cNvPr id="109" name="组合 70">
              <a:extLst>
                <a:ext uri="{FF2B5EF4-FFF2-40B4-BE49-F238E27FC236}">
                  <a16:creationId xmlns:a16="http://schemas.microsoft.com/office/drawing/2014/main" id="{9BA3ADDF-1C83-4B24-BCE1-A35EFEF8180F}"/>
                </a:ext>
              </a:extLst>
            </p:cNvPr>
            <p:cNvGrpSpPr/>
            <p:nvPr/>
          </p:nvGrpSpPr>
          <p:grpSpPr>
            <a:xfrm>
              <a:off x="7082014" y="2741788"/>
              <a:ext cx="1871590" cy="865124"/>
              <a:chOff x="416520" y="4774171"/>
              <a:chExt cx="2109658" cy="975169"/>
            </a:xfrm>
          </p:grpSpPr>
          <p:sp>
            <p:nvSpPr>
              <p:cNvPr id="110" name="圆角矩形 103">
                <a:extLst>
                  <a:ext uri="{FF2B5EF4-FFF2-40B4-BE49-F238E27FC236}">
                    <a16:creationId xmlns:a16="http://schemas.microsoft.com/office/drawing/2014/main" id="{16F02A84-C5AC-4394-ADC1-72AB539664C1}"/>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11" name="圆角矩形 45">
                <a:extLst>
                  <a:ext uri="{FF2B5EF4-FFF2-40B4-BE49-F238E27FC236}">
                    <a16:creationId xmlns:a16="http://schemas.microsoft.com/office/drawing/2014/main" id="{8464793F-819C-4AD2-BBC9-F202C8C2562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Harari</a:t>
                </a:r>
              </a:p>
            </p:txBody>
          </p:sp>
          <p:sp>
            <p:nvSpPr>
              <p:cNvPr id="112" name="Text Box 16">
                <a:extLst>
                  <a:ext uri="{FF2B5EF4-FFF2-40B4-BE49-F238E27FC236}">
                    <a16:creationId xmlns:a16="http://schemas.microsoft.com/office/drawing/2014/main" id="{5E4B41EB-05BA-4F44-9652-B86EAB45E2A9}"/>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sp>
          <p:nvSpPr>
            <p:cNvPr id="114" name="Oval 25">
              <a:extLst>
                <a:ext uri="{FF2B5EF4-FFF2-40B4-BE49-F238E27FC236}">
                  <a16:creationId xmlns:a16="http://schemas.microsoft.com/office/drawing/2014/main" id="{C2B008C3-D01D-4897-9901-A7836F64BA4B}"/>
                </a:ext>
              </a:extLst>
            </p:cNvPr>
            <p:cNvSpPr>
              <a:spLocks noChangeArrowheads="1"/>
            </p:cNvSpPr>
            <p:nvPr/>
          </p:nvSpPr>
          <p:spPr bwMode="gray">
            <a:xfrm>
              <a:off x="4997124" y="2866157"/>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15" name="肘形连接符 72">
              <a:extLst>
                <a:ext uri="{FF2B5EF4-FFF2-40B4-BE49-F238E27FC236}">
                  <a16:creationId xmlns:a16="http://schemas.microsoft.com/office/drawing/2014/main" id="{636E5E82-117A-40E4-BFC5-E0DD940D4473}"/>
                </a:ext>
              </a:extLst>
            </p:cNvPr>
            <p:cNvCxnSpPr>
              <a:cxnSpLocks/>
              <a:stCxn id="114" idx="6"/>
              <a:endCxn id="110" idx="1"/>
            </p:cNvCxnSpPr>
            <p:nvPr/>
          </p:nvCxnSpPr>
          <p:spPr>
            <a:xfrm>
              <a:off x="5093665" y="2914428"/>
              <a:ext cx="1988349" cy="344166"/>
            </a:xfrm>
            <a:prstGeom prst="bentConnector3">
              <a:avLst>
                <a:gd name="adj1" fmla="val 50000"/>
              </a:avLst>
            </a:prstGeom>
            <a:noFill/>
            <a:ln w="9525">
              <a:solidFill>
                <a:srgbClr val="C00000"/>
              </a:solidFill>
              <a:prstDash val="sysDash"/>
              <a:miter lim="800000"/>
              <a:headEnd/>
              <a:tailEnd/>
            </a:ln>
          </p:spPr>
        </p:cxnSp>
        <p:sp>
          <p:nvSpPr>
            <p:cNvPr id="123" name="Oval 25">
              <a:extLst>
                <a:ext uri="{FF2B5EF4-FFF2-40B4-BE49-F238E27FC236}">
                  <a16:creationId xmlns:a16="http://schemas.microsoft.com/office/drawing/2014/main" id="{E93DC02B-9D58-4888-B231-B7EBC787BFDC}"/>
                </a:ext>
              </a:extLst>
            </p:cNvPr>
            <p:cNvSpPr>
              <a:spLocks noChangeArrowheads="1"/>
            </p:cNvSpPr>
            <p:nvPr/>
          </p:nvSpPr>
          <p:spPr bwMode="gray">
            <a:xfrm>
              <a:off x="4149722" y="355038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24" name="肘形连接符 96">
              <a:extLst>
                <a:ext uri="{FF2B5EF4-FFF2-40B4-BE49-F238E27FC236}">
                  <a16:creationId xmlns:a16="http://schemas.microsoft.com/office/drawing/2014/main" id="{72540446-FF33-4D44-A6A4-009F944EC95D}"/>
                </a:ext>
              </a:extLst>
            </p:cNvPr>
            <p:cNvCxnSpPr>
              <a:cxnSpLocks/>
              <a:stCxn id="123" idx="4"/>
              <a:endCxn id="126" idx="3"/>
            </p:cNvCxnSpPr>
            <p:nvPr/>
          </p:nvCxnSpPr>
          <p:spPr>
            <a:xfrm rot="5400000">
              <a:off x="3632788" y="4143122"/>
              <a:ext cx="1061402" cy="69009"/>
            </a:xfrm>
            <a:prstGeom prst="bentConnector2">
              <a:avLst/>
            </a:prstGeom>
            <a:noFill/>
            <a:ln w="9525">
              <a:solidFill>
                <a:srgbClr val="C00000"/>
              </a:solidFill>
              <a:prstDash val="sysDash"/>
              <a:miter lim="800000"/>
              <a:headEnd/>
              <a:tailEnd/>
            </a:ln>
          </p:spPr>
        </p:cxnSp>
        <p:grpSp>
          <p:nvGrpSpPr>
            <p:cNvPr id="125" name="组合 64">
              <a:extLst>
                <a:ext uri="{FF2B5EF4-FFF2-40B4-BE49-F238E27FC236}">
                  <a16:creationId xmlns:a16="http://schemas.microsoft.com/office/drawing/2014/main" id="{13FFB77C-2D13-4FF9-891F-3E5EBC054773}"/>
                </a:ext>
              </a:extLst>
            </p:cNvPr>
            <p:cNvGrpSpPr/>
            <p:nvPr/>
          </p:nvGrpSpPr>
          <p:grpSpPr>
            <a:xfrm>
              <a:off x="2257394" y="4232027"/>
              <a:ext cx="1871590" cy="790251"/>
              <a:chOff x="416520" y="4774171"/>
              <a:chExt cx="2109658" cy="890772"/>
            </a:xfrm>
          </p:grpSpPr>
          <p:sp>
            <p:nvSpPr>
              <p:cNvPr id="126" name="圆角矩形 111">
                <a:extLst>
                  <a:ext uri="{FF2B5EF4-FFF2-40B4-BE49-F238E27FC236}">
                    <a16:creationId xmlns:a16="http://schemas.microsoft.com/office/drawing/2014/main" id="{38FFAE92-199A-45E9-9C4F-ED3E34D38205}"/>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27" name="圆角矩形 45">
                <a:extLst>
                  <a:ext uri="{FF2B5EF4-FFF2-40B4-BE49-F238E27FC236}">
                    <a16:creationId xmlns:a16="http://schemas.microsoft.com/office/drawing/2014/main" id="{A8335C70-550F-4B71-B369-9540C498C15B}"/>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Sidama</a:t>
                </a:r>
                <a:endParaRPr lang="en-US" altLang="zh-CN" sz="1050" b="1" kern="0" dirty="0"/>
              </a:p>
            </p:txBody>
          </p:sp>
          <p:sp>
            <p:nvSpPr>
              <p:cNvPr id="128" name="Text Box 16">
                <a:extLst>
                  <a:ext uri="{FF2B5EF4-FFF2-40B4-BE49-F238E27FC236}">
                    <a16:creationId xmlns:a16="http://schemas.microsoft.com/office/drawing/2014/main" id="{72345BE6-B27B-407A-B540-F9CC9632D7C6}"/>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4</a:t>
                </a:r>
              </a:p>
            </p:txBody>
          </p:sp>
        </p:grpSp>
      </p:grpSp>
      <p:sp>
        <p:nvSpPr>
          <p:cNvPr id="2" name="Title 1">
            <a:extLst>
              <a:ext uri="{FF2B5EF4-FFF2-40B4-BE49-F238E27FC236}">
                <a16:creationId xmlns:a16="http://schemas.microsoft.com/office/drawing/2014/main" id="{93C0B23C-FB28-4192-8F94-1288B3F7D3CE}"/>
              </a:ext>
            </a:extLst>
          </p:cNvPr>
          <p:cNvSpPr>
            <a:spLocks noGrp="1"/>
          </p:cNvSpPr>
          <p:nvPr>
            <p:ph type="title"/>
          </p:nvPr>
        </p:nvSpPr>
        <p:spPr>
          <a:xfrm>
            <a:off x="0" y="0"/>
            <a:ext cx="8513064" cy="765432"/>
          </a:xfrm>
        </p:spPr>
        <p:txBody>
          <a:bodyPr/>
          <a:lstStyle/>
          <a:p>
            <a:r>
              <a:rPr lang="en-ZA" dirty="0"/>
              <a:t>Year 4 – Sites Per Region</a:t>
            </a:r>
            <a:endParaRPr lang="en-GB" dirty="0"/>
          </a:p>
        </p:txBody>
      </p:sp>
      <p:sp>
        <p:nvSpPr>
          <p:cNvPr id="96" name="Rectangle: Rounded Corners 95">
            <a:extLst>
              <a:ext uri="{FF2B5EF4-FFF2-40B4-BE49-F238E27FC236}">
                <a16:creationId xmlns:a16="http://schemas.microsoft.com/office/drawing/2014/main" id="{051C770E-F35F-47BF-B3FD-1D99AABB3EBE}"/>
              </a:ext>
            </a:extLst>
          </p:cNvPr>
          <p:cNvSpPr/>
          <p:nvPr/>
        </p:nvSpPr>
        <p:spPr>
          <a:xfrm>
            <a:off x="6645720" y="209326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97" name="Rectangle: Rounded Corners 96">
            <a:extLst>
              <a:ext uri="{FF2B5EF4-FFF2-40B4-BE49-F238E27FC236}">
                <a16:creationId xmlns:a16="http://schemas.microsoft.com/office/drawing/2014/main" id="{EDFEFD44-D98C-442E-A48B-D0FEB0A1573D}"/>
              </a:ext>
            </a:extLst>
          </p:cNvPr>
          <p:cNvSpPr/>
          <p:nvPr/>
        </p:nvSpPr>
        <p:spPr>
          <a:xfrm>
            <a:off x="654553" y="2864498"/>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0" name="Rectangle: Rounded Corners 99">
            <a:extLst>
              <a:ext uri="{FF2B5EF4-FFF2-40B4-BE49-F238E27FC236}">
                <a16:creationId xmlns:a16="http://schemas.microsoft.com/office/drawing/2014/main" id="{C2AC633A-AAF1-4A78-B487-FC1126C98EA2}"/>
              </a:ext>
            </a:extLst>
          </p:cNvPr>
          <p:cNvSpPr/>
          <p:nvPr/>
        </p:nvSpPr>
        <p:spPr>
          <a:xfrm>
            <a:off x="654036" y="129305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1" name="Rectangle: Rounded Corners 100">
            <a:extLst>
              <a:ext uri="{FF2B5EF4-FFF2-40B4-BE49-F238E27FC236}">
                <a16:creationId xmlns:a16="http://schemas.microsoft.com/office/drawing/2014/main" id="{EA8CCFF5-BBB3-499E-9D71-9520A44AB5FD}"/>
              </a:ext>
            </a:extLst>
          </p:cNvPr>
          <p:cNvSpPr/>
          <p:nvPr/>
        </p:nvSpPr>
        <p:spPr>
          <a:xfrm>
            <a:off x="4412483" y="4224995"/>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2" name="Rectangle: Rounded Corners 101">
            <a:extLst>
              <a:ext uri="{FF2B5EF4-FFF2-40B4-BE49-F238E27FC236}">
                <a16:creationId xmlns:a16="http://schemas.microsoft.com/office/drawing/2014/main" id="{F5618E3F-C797-4792-9B33-6C9E7E6AE198}"/>
              </a:ext>
            </a:extLst>
          </p:cNvPr>
          <p:cNvSpPr/>
          <p:nvPr/>
        </p:nvSpPr>
        <p:spPr>
          <a:xfrm>
            <a:off x="6574718" y="2940250"/>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50265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51F3256C-BE97-4ABB-85A5-4DA7D65184A7}"/>
              </a:ext>
            </a:extLst>
          </p:cNvPr>
          <p:cNvGrpSpPr/>
          <p:nvPr/>
        </p:nvGrpSpPr>
        <p:grpSpPr>
          <a:xfrm>
            <a:off x="673520" y="639619"/>
            <a:ext cx="7621852" cy="4456667"/>
            <a:chOff x="67968" y="32224"/>
            <a:chExt cx="8949062" cy="5232716"/>
          </a:xfrm>
        </p:grpSpPr>
        <p:sp>
          <p:nvSpPr>
            <p:cNvPr id="4" name="Freeform 5">
              <a:extLst>
                <a:ext uri="{FF2B5EF4-FFF2-40B4-BE49-F238E27FC236}">
                  <a16:creationId xmlns:a16="http://schemas.microsoft.com/office/drawing/2014/main" id="{4E02DADB-17BF-4D65-9828-BBF2FE40BFFA}"/>
                </a:ext>
              </a:extLst>
            </p:cNvPr>
            <p:cNvSpPr>
              <a:spLocks/>
            </p:cNvSpPr>
            <p:nvPr/>
          </p:nvSpPr>
          <p:spPr bwMode="auto">
            <a:xfrm>
              <a:off x="3032579" y="2633549"/>
              <a:ext cx="2192810" cy="1750586"/>
            </a:xfrm>
            <a:custGeom>
              <a:avLst/>
              <a:gdLst>
                <a:gd name="T0" fmla="*/ 5385 w 7785"/>
                <a:gd name="T1" fmla="*/ 1284 h 6216"/>
                <a:gd name="T2" fmla="*/ 5001 w 7785"/>
                <a:gd name="T3" fmla="*/ 1356 h 6216"/>
                <a:gd name="T4" fmla="*/ 4605 w 7785"/>
                <a:gd name="T5" fmla="*/ 1200 h 6216"/>
                <a:gd name="T6" fmla="*/ 4677 w 7785"/>
                <a:gd name="T7" fmla="*/ 840 h 6216"/>
                <a:gd name="T8" fmla="*/ 4377 w 7785"/>
                <a:gd name="T9" fmla="*/ 732 h 6216"/>
                <a:gd name="T10" fmla="*/ 4125 w 7785"/>
                <a:gd name="T11" fmla="*/ 276 h 6216"/>
                <a:gd name="T12" fmla="*/ 3860 w 7785"/>
                <a:gd name="T13" fmla="*/ 101 h 6216"/>
                <a:gd name="T14" fmla="*/ 3092 w 7785"/>
                <a:gd name="T15" fmla="*/ 439 h 6216"/>
                <a:gd name="T16" fmla="*/ 2541 w 7785"/>
                <a:gd name="T17" fmla="*/ 192 h 6216"/>
                <a:gd name="T18" fmla="*/ 2121 w 7785"/>
                <a:gd name="T19" fmla="*/ 54 h 6216"/>
                <a:gd name="T20" fmla="*/ 1794 w 7785"/>
                <a:gd name="T21" fmla="*/ 603 h 6216"/>
                <a:gd name="T22" fmla="*/ 1812 w 7785"/>
                <a:gd name="T23" fmla="*/ 960 h 6216"/>
                <a:gd name="T24" fmla="*/ 1446 w 7785"/>
                <a:gd name="T25" fmla="*/ 951 h 6216"/>
                <a:gd name="T26" fmla="*/ 1090 w 7785"/>
                <a:gd name="T27" fmla="*/ 521 h 6216"/>
                <a:gd name="T28" fmla="*/ 660 w 7785"/>
                <a:gd name="T29" fmla="*/ 494 h 6216"/>
                <a:gd name="T30" fmla="*/ 248 w 7785"/>
                <a:gd name="T31" fmla="*/ 658 h 6216"/>
                <a:gd name="T32" fmla="*/ 0 w 7785"/>
                <a:gd name="T33" fmla="*/ 1083 h 6216"/>
                <a:gd name="T34" fmla="*/ 333 w 7785"/>
                <a:gd name="T35" fmla="*/ 1740 h 6216"/>
                <a:gd name="T36" fmla="*/ 717 w 7785"/>
                <a:gd name="T37" fmla="*/ 2052 h 6216"/>
                <a:gd name="T38" fmla="*/ 753 w 7785"/>
                <a:gd name="T39" fmla="*/ 2460 h 6216"/>
                <a:gd name="T40" fmla="*/ 1125 w 7785"/>
                <a:gd name="T41" fmla="*/ 2244 h 6216"/>
                <a:gd name="T42" fmla="*/ 1497 w 7785"/>
                <a:gd name="T43" fmla="*/ 2040 h 6216"/>
                <a:gd name="T44" fmla="*/ 1701 w 7785"/>
                <a:gd name="T45" fmla="*/ 2496 h 6216"/>
                <a:gd name="T46" fmla="*/ 2397 w 7785"/>
                <a:gd name="T47" fmla="*/ 2796 h 6216"/>
                <a:gd name="T48" fmla="*/ 2913 w 7785"/>
                <a:gd name="T49" fmla="*/ 2400 h 6216"/>
                <a:gd name="T50" fmla="*/ 3117 w 7785"/>
                <a:gd name="T51" fmla="*/ 1968 h 6216"/>
                <a:gd name="T52" fmla="*/ 3453 w 7785"/>
                <a:gd name="T53" fmla="*/ 1788 h 6216"/>
                <a:gd name="T54" fmla="*/ 3945 w 7785"/>
                <a:gd name="T55" fmla="*/ 1752 h 6216"/>
                <a:gd name="T56" fmla="*/ 3993 w 7785"/>
                <a:gd name="T57" fmla="*/ 2172 h 6216"/>
                <a:gd name="T58" fmla="*/ 3597 w 7785"/>
                <a:gd name="T59" fmla="*/ 2808 h 6216"/>
                <a:gd name="T60" fmla="*/ 3801 w 7785"/>
                <a:gd name="T61" fmla="*/ 2928 h 6216"/>
                <a:gd name="T62" fmla="*/ 4029 w 7785"/>
                <a:gd name="T63" fmla="*/ 3252 h 6216"/>
                <a:gd name="T64" fmla="*/ 4389 w 7785"/>
                <a:gd name="T65" fmla="*/ 3696 h 6216"/>
                <a:gd name="T66" fmla="*/ 3825 w 7785"/>
                <a:gd name="T67" fmla="*/ 3528 h 6216"/>
                <a:gd name="T68" fmla="*/ 3645 w 7785"/>
                <a:gd name="T69" fmla="*/ 4056 h 6216"/>
                <a:gd name="T70" fmla="*/ 3681 w 7785"/>
                <a:gd name="T71" fmla="*/ 3576 h 6216"/>
                <a:gd name="T72" fmla="*/ 3309 w 7785"/>
                <a:gd name="T73" fmla="*/ 3420 h 6216"/>
                <a:gd name="T74" fmla="*/ 3345 w 7785"/>
                <a:gd name="T75" fmla="*/ 3936 h 6216"/>
                <a:gd name="T76" fmla="*/ 3333 w 7785"/>
                <a:gd name="T77" fmla="*/ 4464 h 6216"/>
                <a:gd name="T78" fmla="*/ 2829 w 7785"/>
                <a:gd name="T79" fmla="*/ 4632 h 6216"/>
                <a:gd name="T80" fmla="*/ 2445 w 7785"/>
                <a:gd name="T81" fmla="*/ 5052 h 6216"/>
                <a:gd name="T82" fmla="*/ 3885 w 7785"/>
                <a:gd name="T83" fmla="*/ 6048 h 6216"/>
                <a:gd name="T84" fmla="*/ 5817 w 7785"/>
                <a:gd name="T85" fmla="*/ 5232 h 6216"/>
                <a:gd name="T86" fmla="*/ 6309 w 7785"/>
                <a:gd name="T87" fmla="*/ 5004 h 6216"/>
                <a:gd name="T88" fmla="*/ 6357 w 7785"/>
                <a:gd name="T89" fmla="*/ 4548 h 6216"/>
                <a:gd name="T90" fmla="*/ 6213 w 7785"/>
                <a:gd name="T91" fmla="*/ 4056 h 6216"/>
                <a:gd name="T92" fmla="*/ 5985 w 7785"/>
                <a:gd name="T93" fmla="*/ 3588 h 6216"/>
                <a:gd name="T94" fmla="*/ 6429 w 7785"/>
                <a:gd name="T95" fmla="*/ 3684 h 6216"/>
                <a:gd name="T96" fmla="*/ 6909 w 7785"/>
                <a:gd name="T97" fmla="*/ 3432 h 6216"/>
                <a:gd name="T98" fmla="*/ 7161 w 7785"/>
                <a:gd name="T99" fmla="*/ 2760 h 6216"/>
                <a:gd name="T100" fmla="*/ 7053 w 7785"/>
                <a:gd name="T101" fmla="*/ 1980 h 6216"/>
                <a:gd name="T102" fmla="*/ 7353 w 7785"/>
                <a:gd name="T103" fmla="*/ 1668 h 6216"/>
                <a:gd name="T104" fmla="*/ 7689 w 7785"/>
                <a:gd name="T105" fmla="*/ 1824 h 6216"/>
                <a:gd name="T106" fmla="*/ 7629 w 7785"/>
                <a:gd name="T107" fmla="*/ 1236 h 6216"/>
                <a:gd name="T108" fmla="*/ 7329 w 7785"/>
                <a:gd name="T109" fmla="*/ 648 h 6216"/>
                <a:gd name="T110" fmla="*/ 6801 w 7785"/>
                <a:gd name="T111" fmla="*/ 840 h 6216"/>
                <a:gd name="T112" fmla="*/ 6165 w 7785"/>
                <a:gd name="T113" fmla="*/ 912 h 6216"/>
                <a:gd name="T114" fmla="*/ 5861 w 7785"/>
                <a:gd name="T115" fmla="*/ 840 h 6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85" h="6216">
                  <a:moveTo>
                    <a:pt x="5861" y="840"/>
                  </a:moveTo>
                  <a:lnTo>
                    <a:pt x="5769" y="900"/>
                  </a:lnTo>
                  <a:lnTo>
                    <a:pt x="5649" y="900"/>
                  </a:lnTo>
                  <a:lnTo>
                    <a:pt x="5577" y="1008"/>
                  </a:lnTo>
                  <a:lnTo>
                    <a:pt x="5493" y="1116"/>
                  </a:lnTo>
                  <a:lnTo>
                    <a:pt x="5385" y="1284"/>
                  </a:lnTo>
                  <a:lnTo>
                    <a:pt x="5235" y="1404"/>
                  </a:lnTo>
                  <a:lnTo>
                    <a:pt x="5253" y="1260"/>
                  </a:lnTo>
                  <a:lnTo>
                    <a:pt x="5169" y="1188"/>
                  </a:lnTo>
                  <a:lnTo>
                    <a:pt x="5133" y="1140"/>
                  </a:lnTo>
                  <a:lnTo>
                    <a:pt x="5025" y="1149"/>
                  </a:lnTo>
                  <a:lnTo>
                    <a:pt x="5001" y="1356"/>
                  </a:lnTo>
                  <a:lnTo>
                    <a:pt x="4905" y="1380"/>
                  </a:lnTo>
                  <a:lnTo>
                    <a:pt x="4797" y="1440"/>
                  </a:lnTo>
                  <a:lnTo>
                    <a:pt x="4725" y="1392"/>
                  </a:lnTo>
                  <a:lnTo>
                    <a:pt x="4617" y="1440"/>
                  </a:lnTo>
                  <a:lnTo>
                    <a:pt x="4557" y="1332"/>
                  </a:lnTo>
                  <a:lnTo>
                    <a:pt x="4605" y="1200"/>
                  </a:lnTo>
                  <a:lnTo>
                    <a:pt x="4653" y="1116"/>
                  </a:lnTo>
                  <a:lnTo>
                    <a:pt x="4557" y="1068"/>
                  </a:lnTo>
                  <a:lnTo>
                    <a:pt x="4557" y="996"/>
                  </a:lnTo>
                  <a:lnTo>
                    <a:pt x="4665" y="960"/>
                  </a:lnTo>
                  <a:lnTo>
                    <a:pt x="4749" y="912"/>
                  </a:lnTo>
                  <a:lnTo>
                    <a:pt x="4677" y="840"/>
                  </a:lnTo>
                  <a:lnTo>
                    <a:pt x="4593" y="852"/>
                  </a:lnTo>
                  <a:lnTo>
                    <a:pt x="4653" y="708"/>
                  </a:lnTo>
                  <a:lnTo>
                    <a:pt x="4653" y="576"/>
                  </a:lnTo>
                  <a:lnTo>
                    <a:pt x="4557" y="600"/>
                  </a:lnTo>
                  <a:lnTo>
                    <a:pt x="4461" y="708"/>
                  </a:lnTo>
                  <a:lnTo>
                    <a:pt x="4377" y="732"/>
                  </a:lnTo>
                  <a:lnTo>
                    <a:pt x="4377" y="624"/>
                  </a:lnTo>
                  <a:lnTo>
                    <a:pt x="4281" y="600"/>
                  </a:lnTo>
                  <a:lnTo>
                    <a:pt x="4197" y="564"/>
                  </a:lnTo>
                  <a:lnTo>
                    <a:pt x="4137" y="420"/>
                  </a:lnTo>
                  <a:lnTo>
                    <a:pt x="4029" y="300"/>
                  </a:lnTo>
                  <a:lnTo>
                    <a:pt x="4125" y="276"/>
                  </a:lnTo>
                  <a:lnTo>
                    <a:pt x="4185" y="204"/>
                  </a:lnTo>
                  <a:lnTo>
                    <a:pt x="4209" y="72"/>
                  </a:lnTo>
                  <a:lnTo>
                    <a:pt x="4101" y="24"/>
                  </a:lnTo>
                  <a:lnTo>
                    <a:pt x="3981" y="12"/>
                  </a:lnTo>
                  <a:lnTo>
                    <a:pt x="3885" y="0"/>
                  </a:lnTo>
                  <a:lnTo>
                    <a:pt x="3860" y="101"/>
                  </a:lnTo>
                  <a:lnTo>
                    <a:pt x="3805" y="219"/>
                  </a:lnTo>
                  <a:lnTo>
                    <a:pt x="3668" y="274"/>
                  </a:lnTo>
                  <a:lnTo>
                    <a:pt x="3512" y="366"/>
                  </a:lnTo>
                  <a:lnTo>
                    <a:pt x="3348" y="457"/>
                  </a:lnTo>
                  <a:lnTo>
                    <a:pt x="3211" y="494"/>
                  </a:lnTo>
                  <a:lnTo>
                    <a:pt x="3092" y="439"/>
                  </a:lnTo>
                  <a:lnTo>
                    <a:pt x="2991" y="347"/>
                  </a:lnTo>
                  <a:lnTo>
                    <a:pt x="2827" y="329"/>
                  </a:lnTo>
                  <a:lnTo>
                    <a:pt x="2717" y="274"/>
                  </a:lnTo>
                  <a:lnTo>
                    <a:pt x="2699" y="183"/>
                  </a:lnTo>
                  <a:lnTo>
                    <a:pt x="2639" y="113"/>
                  </a:lnTo>
                  <a:lnTo>
                    <a:pt x="2541" y="192"/>
                  </a:lnTo>
                  <a:lnTo>
                    <a:pt x="2437" y="168"/>
                  </a:lnTo>
                  <a:lnTo>
                    <a:pt x="2379" y="119"/>
                  </a:lnTo>
                  <a:lnTo>
                    <a:pt x="2278" y="73"/>
                  </a:lnTo>
                  <a:lnTo>
                    <a:pt x="2205" y="155"/>
                  </a:lnTo>
                  <a:lnTo>
                    <a:pt x="2141" y="128"/>
                  </a:lnTo>
                  <a:lnTo>
                    <a:pt x="2121" y="54"/>
                  </a:lnTo>
                  <a:lnTo>
                    <a:pt x="2004" y="137"/>
                  </a:lnTo>
                  <a:lnTo>
                    <a:pt x="1949" y="256"/>
                  </a:lnTo>
                  <a:lnTo>
                    <a:pt x="1858" y="320"/>
                  </a:lnTo>
                  <a:lnTo>
                    <a:pt x="1775" y="347"/>
                  </a:lnTo>
                  <a:lnTo>
                    <a:pt x="1757" y="494"/>
                  </a:lnTo>
                  <a:lnTo>
                    <a:pt x="1794" y="603"/>
                  </a:lnTo>
                  <a:lnTo>
                    <a:pt x="1794" y="695"/>
                  </a:lnTo>
                  <a:lnTo>
                    <a:pt x="1867" y="741"/>
                  </a:lnTo>
                  <a:lnTo>
                    <a:pt x="1940" y="759"/>
                  </a:lnTo>
                  <a:lnTo>
                    <a:pt x="1940" y="905"/>
                  </a:lnTo>
                  <a:lnTo>
                    <a:pt x="1885" y="942"/>
                  </a:lnTo>
                  <a:lnTo>
                    <a:pt x="1812" y="960"/>
                  </a:lnTo>
                  <a:lnTo>
                    <a:pt x="1848" y="1088"/>
                  </a:lnTo>
                  <a:lnTo>
                    <a:pt x="1784" y="1143"/>
                  </a:lnTo>
                  <a:lnTo>
                    <a:pt x="1720" y="1143"/>
                  </a:lnTo>
                  <a:lnTo>
                    <a:pt x="1666" y="1042"/>
                  </a:lnTo>
                  <a:lnTo>
                    <a:pt x="1592" y="978"/>
                  </a:lnTo>
                  <a:lnTo>
                    <a:pt x="1446" y="951"/>
                  </a:lnTo>
                  <a:lnTo>
                    <a:pt x="1437" y="841"/>
                  </a:lnTo>
                  <a:lnTo>
                    <a:pt x="1391" y="777"/>
                  </a:lnTo>
                  <a:lnTo>
                    <a:pt x="1336" y="695"/>
                  </a:lnTo>
                  <a:lnTo>
                    <a:pt x="1227" y="658"/>
                  </a:lnTo>
                  <a:lnTo>
                    <a:pt x="1126" y="631"/>
                  </a:lnTo>
                  <a:lnTo>
                    <a:pt x="1090" y="521"/>
                  </a:lnTo>
                  <a:lnTo>
                    <a:pt x="1035" y="448"/>
                  </a:lnTo>
                  <a:lnTo>
                    <a:pt x="943" y="421"/>
                  </a:lnTo>
                  <a:lnTo>
                    <a:pt x="824" y="421"/>
                  </a:lnTo>
                  <a:lnTo>
                    <a:pt x="788" y="329"/>
                  </a:lnTo>
                  <a:lnTo>
                    <a:pt x="651" y="375"/>
                  </a:lnTo>
                  <a:lnTo>
                    <a:pt x="660" y="494"/>
                  </a:lnTo>
                  <a:lnTo>
                    <a:pt x="605" y="558"/>
                  </a:lnTo>
                  <a:lnTo>
                    <a:pt x="596" y="658"/>
                  </a:lnTo>
                  <a:lnTo>
                    <a:pt x="550" y="741"/>
                  </a:lnTo>
                  <a:lnTo>
                    <a:pt x="450" y="731"/>
                  </a:lnTo>
                  <a:lnTo>
                    <a:pt x="349" y="686"/>
                  </a:lnTo>
                  <a:lnTo>
                    <a:pt x="248" y="658"/>
                  </a:lnTo>
                  <a:lnTo>
                    <a:pt x="312" y="777"/>
                  </a:lnTo>
                  <a:lnTo>
                    <a:pt x="212" y="850"/>
                  </a:lnTo>
                  <a:lnTo>
                    <a:pt x="285" y="914"/>
                  </a:lnTo>
                  <a:lnTo>
                    <a:pt x="239" y="1006"/>
                  </a:lnTo>
                  <a:lnTo>
                    <a:pt x="157" y="1106"/>
                  </a:lnTo>
                  <a:lnTo>
                    <a:pt x="0" y="1083"/>
                  </a:lnTo>
                  <a:lnTo>
                    <a:pt x="11" y="1253"/>
                  </a:lnTo>
                  <a:lnTo>
                    <a:pt x="2" y="1454"/>
                  </a:lnTo>
                  <a:lnTo>
                    <a:pt x="9" y="1632"/>
                  </a:lnTo>
                  <a:lnTo>
                    <a:pt x="117" y="1572"/>
                  </a:lnTo>
                  <a:lnTo>
                    <a:pt x="237" y="1668"/>
                  </a:lnTo>
                  <a:lnTo>
                    <a:pt x="333" y="1740"/>
                  </a:lnTo>
                  <a:lnTo>
                    <a:pt x="417" y="1848"/>
                  </a:lnTo>
                  <a:lnTo>
                    <a:pt x="561" y="1908"/>
                  </a:lnTo>
                  <a:lnTo>
                    <a:pt x="645" y="1980"/>
                  </a:lnTo>
                  <a:lnTo>
                    <a:pt x="765" y="1944"/>
                  </a:lnTo>
                  <a:lnTo>
                    <a:pt x="837" y="2004"/>
                  </a:lnTo>
                  <a:lnTo>
                    <a:pt x="717" y="2052"/>
                  </a:lnTo>
                  <a:lnTo>
                    <a:pt x="729" y="2136"/>
                  </a:lnTo>
                  <a:lnTo>
                    <a:pt x="693" y="2208"/>
                  </a:lnTo>
                  <a:lnTo>
                    <a:pt x="664" y="2290"/>
                  </a:lnTo>
                  <a:lnTo>
                    <a:pt x="669" y="2357"/>
                  </a:lnTo>
                  <a:lnTo>
                    <a:pt x="731" y="2386"/>
                  </a:lnTo>
                  <a:lnTo>
                    <a:pt x="753" y="2460"/>
                  </a:lnTo>
                  <a:lnTo>
                    <a:pt x="873" y="2556"/>
                  </a:lnTo>
                  <a:lnTo>
                    <a:pt x="933" y="2616"/>
                  </a:lnTo>
                  <a:lnTo>
                    <a:pt x="993" y="2612"/>
                  </a:lnTo>
                  <a:lnTo>
                    <a:pt x="1005" y="2472"/>
                  </a:lnTo>
                  <a:lnTo>
                    <a:pt x="1029" y="2340"/>
                  </a:lnTo>
                  <a:lnTo>
                    <a:pt x="1125" y="2244"/>
                  </a:lnTo>
                  <a:lnTo>
                    <a:pt x="1245" y="2208"/>
                  </a:lnTo>
                  <a:lnTo>
                    <a:pt x="1281" y="2280"/>
                  </a:lnTo>
                  <a:lnTo>
                    <a:pt x="1389" y="2232"/>
                  </a:lnTo>
                  <a:lnTo>
                    <a:pt x="1461" y="2184"/>
                  </a:lnTo>
                  <a:lnTo>
                    <a:pt x="1413" y="2100"/>
                  </a:lnTo>
                  <a:lnTo>
                    <a:pt x="1497" y="2040"/>
                  </a:lnTo>
                  <a:lnTo>
                    <a:pt x="1569" y="2124"/>
                  </a:lnTo>
                  <a:lnTo>
                    <a:pt x="1557" y="2220"/>
                  </a:lnTo>
                  <a:lnTo>
                    <a:pt x="1581" y="2292"/>
                  </a:lnTo>
                  <a:lnTo>
                    <a:pt x="1641" y="2340"/>
                  </a:lnTo>
                  <a:lnTo>
                    <a:pt x="1689" y="2412"/>
                  </a:lnTo>
                  <a:lnTo>
                    <a:pt x="1701" y="2496"/>
                  </a:lnTo>
                  <a:lnTo>
                    <a:pt x="1821" y="2556"/>
                  </a:lnTo>
                  <a:lnTo>
                    <a:pt x="1893" y="2616"/>
                  </a:lnTo>
                  <a:lnTo>
                    <a:pt x="2001" y="2664"/>
                  </a:lnTo>
                  <a:lnTo>
                    <a:pt x="2145" y="2676"/>
                  </a:lnTo>
                  <a:lnTo>
                    <a:pt x="2277" y="2736"/>
                  </a:lnTo>
                  <a:lnTo>
                    <a:pt x="2397" y="2796"/>
                  </a:lnTo>
                  <a:lnTo>
                    <a:pt x="2529" y="2820"/>
                  </a:lnTo>
                  <a:lnTo>
                    <a:pt x="2649" y="2808"/>
                  </a:lnTo>
                  <a:lnTo>
                    <a:pt x="2757" y="2760"/>
                  </a:lnTo>
                  <a:lnTo>
                    <a:pt x="2877" y="2676"/>
                  </a:lnTo>
                  <a:lnTo>
                    <a:pt x="2961" y="2544"/>
                  </a:lnTo>
                  <a:lnTo>
                    <a:pt x="2913" y="2400"/>
                  </a:lnTo>
                  <a:lnTo>
                    <a:pt x="2925" y="2280"/>
                  </a:lnTo>
                  <a:lnTo>
                    <a:pt x="2877" y="2160"/>
                  </a:lnTo>
                  <a:lnTo>
                    <a:pt x="2973" y="2148"/>
                  </a:lnTo>
                  <a:lnTo>
                    <a:pt x="3057" y="2184"/>
                  </a:lnTo>
                  <a:lnTo>
                    <a:pt x="3069" y="2052"/>
                  </a:lnTo>
                  <a:lnTo>
                    <a:pt x="3117" y="1968"/>
                  </a:lnTo>
                  <a:lnTo>
                    <a:pt x="2973" y="1908"/>
                  </a:lnTo>
                  <a:lnTo>
                    <a:pt x="2973" y="1800"/>
                  </a:lnTo>
                  <a:lnTo>
                    <a:pt x="3045" y="1764"/>
                  </a:lnTo>
                  <a:lnTo>
                    <a:pt x="3129" y="1800"/>
                  </a:lnTo>
                  <a:lnTo>
                    <a:pt x="3273" y="1812"/>
                  </a:lnTo>
                  <a:lnTo>
                    <a:pt x="3453" y="1788"/>
                  </a:lnTo>
                  <a:lnTo>
                    <a:pt x="3621" y="1776"/>
                  </a:lnTo>
                  <a:lnTo>
                    <a:pt x="3693" y="1788"/>
                  </a:lnTo>
                  <a:lnTo>
                    <a:pt x="3753" y="1896"/>
                  </a:lnTo>
                  <a:lnTo>
                    <a:pt x="3825" y="1824"/>
                  </a:lnTo>
                  <a:lnTo>
                    <a:pt x="3873" y="1728"/>
                  </a:lnTo>
                  <a:lnTo>
                    <a:pt x="3945" y="1752"/>
                  </a:lnTo>
                  <a:lnTo>
                    <a:pt x="4041" y="1824"/>
                  </a:lnTo>
                  <a:lnTo>
                    <a:pt x="4089" y="1944"/>
                  </a:lnTo>
                  <a:lnTo>
                    <a:pt x="4041" y="2052"/>
                  </a:lnTo>
                  <a:lnTo>
                    <a:pt x="3921" y="1920"/>
                  </a:lnTo>
                  <a:lnTo>
                    <a:pt x="3945" y="2040"/>
                  </a:lnTo>
                  <a:lnTo>
                    <a:pt x="3993" y="2172"/>
                  </a:lnTo>
                  <a:lnTo>
                    <a:pt x="3909" y="2268"/>
                  </a:lnTo>
                  <a:lnTo>
                    <a:pt x="3837" y="2376"/>
                  </a:lnTo>
                  <a:lnTo>
                    <a:pt x="3789" y="2508"/>
                  </a:lnTo>
                  <a:lnTo>
                    <a:pt x="3753" y="2604"/>
                  </a:lnTo>
                  <a:lnTo>
                    <a:pt x="3693" y="2736"/>
                  </a:lnTo>
                  <a:lnTo>
                    <a:pt x="3597" y="2808"/>
                  </a:lnTo>
                  <a:lnTo>
                    <a:pt x="3489" y="2856"/>
                  </a:lnTo>
                  <a:lnTo>
                    <a:pt x="3501" y="2964"/>
                  </a:lnTo>
                  <a:lnTo>
                    <a:pt x="3561" y="3024"/>
                  </a:lnTo>
                  <a:lnTo>
                    <a:pt x="3669" y="3000"/>
                  </a:lnTo>
                  <a:lnTo>
                    <a:pt x="3729" y="2916"/>
                  </a:lnTo>
                  <a:lnTo>
                    <a:pt x="3801" y="2928"/>
                  </a:lnTo>
                  <a:lnTo>
                    <a:pt x="3873" y="2916"/>
                  </a:lnTo>
                  <a:lnTo>
                    <a:pt x="3969" y="2916"/>
                  </a:lnTo>
                  <a:lnTo>
                    <a:pt x="4041" y="2988"/>
                  </a:lnTo>
                  <a:lnTo>
                    <a:pt x="4065" y="3084"/>
                  </a:lnTo>
                  <a:lnTo>
                    <a:pt x="4017" y="3168"/>
                  </a:lnTo>
                  <a:lnTo>
                    <a:pt x="4029" y="3252"/>
                  </a:lnTo>
                  <a:lnTo>
                    <a:pt x="4113" y="3300"/>
                  </a:lnTo>
                  <a:lnTo>
                    <a:pt x="4233" y="3324"/>
                  </a:lnTo>
                  <a:lnTo>
                    <a:pt x="4353" y="3396"/>
                  </a:lnTo>
                  <a:lnTo>
                    <a:pt x="4401" y="3492"/>
                  </a:lnTo>
                  <a:lnTo>
                    <a:pt x="4461" y="3636"/>
                  </a:lnTo>
                  <a:lnTo>
                    <a:pt x="4389" y="3696"/>
                  </a:lnTo>
                  <a:lnTo>
                    <a:pt x="4413" y="3804"/>
                  </a:lnTo>
                  <a:lnTo>
                    <a:pt x="4269" y="3744"/>
                  </a:lnTo>
                  <a:lnTo>
                    <a:pt x="4209" y="3636"/>
                  </a:lnTo>
                  <a:lnTo>
                    <a:pt x="4113" y="3564"/>
                  </a:lnTo>
                  <a:lnTo>
                    <a:pt x="3945" y="3540"/>
                  </a:lnTo>
                  <a:lnTo>
                    <a:pt x="3825" y="3528"/>
                  </a:lnTo>
                  <a:lnTo>
                    <a:pt x="3825" y="3648"/>
                  </a:lnTo>
                  <a:lnTo>
                    <a:pt x="3789" y="3756"/>
                  </a:lnTo>
                  <a:lnTo>
                    <a:pt x="3741" y="3840"/>
                  </a:lnTo>
                  <a:lnTo>
                    <a:pt x="3693" y="3924"/>
                  </a:lnTo>
                  <a:lnTo>
                    <a:pt x="3729" y="4020"/>
                  </a:lnTo>
                  <a:lnTo>
                    <a:pt x="3645" y="4056"/>
                  </a:lnTo>
                  <a:lnTo>
                    <a:pt x="3573" y="3984"/>
                  </a:lnTo>
                  <a:lnTo>
                    <a:pt x="3561" y="3900"/>
                  </a:lnTo>
                  <a:lnTo>
                    <a:pt x="3501" y="3804"/>
                  </a:lnTo>
                  <a:lnTo>
                    <a:pt x="3597" y="3744"/>
                  </a:lnTo>
                  <a:lnTo>
                    <a:pt x="3621" y="3612"/>
                  </a:lnTo>
                  <a:lnTo>
                    <a:pt x="3681" y="3576"/>
                  </a:lnTo>
                  <a:lnTo>
                    <a:pt x="3681" y="3516"/>
                  </a:lnTo>
                  <a:lnTo>
                    <a:pt x="3537" y="3516"/>
                  </a:lnTo>
                  <a:lnTo>
                    <a:pt x="3477" y="3456"/>
                  </a:lnTo>
                  <a:lnTo>
                    <a:pt x="3453" y="3396"/>
                  </a:lnTo>
                  <a:lnTo>
                    <a:pt x="3357" y="3420"/>
                  </a:lnTo>
                  <a:lnTo>
                    <a:pt x="3309" y="3420"/>
                  </a:lnTo>
                  <a:lnTo>
                    <a:pt x="3249" y="3504"/>
                  </a:lnTo>
                  <a:lnTo>
                    <a:pt x="3297" y="3624"/>
                  </a:lnTo>
                  <a:lnTo>
                    <a:pt x="3297" y="3732"/>
                  </a:lnTo>
                  <a:lnTo>
                    <a:pt x="3237" y="3828"/>
                  </a:lnTo>
                  <a:lnTo>
                    <a:pt x="3237" y="3924"/>
                  </a:lnTo>
                  <a:lnTo>
                    <a:pt x="3345" y="3936"/>
                  </a:lnTo>
                  <a:lnTo>
                    <a:pt x="3417" y="3960"/>
                  </a:lnTo>
                  <a:lnTo>
                    <a:pt x="3441" y="4104"/>
                  </a:lnTo>
                  <a:lnTo>
                    <a:pt x="3513" y="4188"/>
                  </a:lnTo>
                  <a:lnTo>
                    <a:pt x="3393" y="4272"/>
                  </a:lnTo>
                  <a:lnTo>
                    <a:pt x="3381" y="4404"/>
                  </a:lnTo>
                  <a:lnTo>
                    <a:pt x="3333" y="4464"/>
                  </a:lnTo>
                  <a:lnTo>
                    <a:pt x="3369" y="4584"/>
                  </a:lnTo>
                  <a:lnTo>
                    <a:pt x="3249" y="4572"/>
                  </a:lnTo>
                  <a:lnTo>
                    <a:pt x="3177" y="4560"/>
                  </a:lnTo>
                  <a:lnTo>
                    <a:pt x="3057" y="4548"/>
                  </a:lnTo>
                  <a:lnTo>
                    <a:pt x="2949" y="4644"/>
                  </a:lnTo>
                  <a:lnTo>
                    <a:pt x="2829" y="4632"/>
                  </a:lnTo>
                  <a:lnTo>
                    <a:pt x="2721" y="4608"/>
                  </a:lnTo>
                  <a:lnTo>
                    <a:pt x="2613" y="4632"/>
                  </a:lnTo>
                  <a:lnTo>
                    <a:pt x="2469" y="4668"/>
                  </a:lnTo>
                  <a:lnTo>
                    <a:pt x="2421" y="4848"/>
                  </a:lnTo>
                  <a:lnTo>
                    <a:pt x="2457" y="4980"/>
                  </a:lnTo>
                  <a:lnTo>
                    <a:pt x="2445" y="5052"/>
                  </a:lnTo>
                  <a:lnTo>
                    <a:pt x="2361" y="5184"/>
                  </a:lnTo>
                  <a:lnTo>
                    <a:pt x="2301" y="5274"/>
                  </a:lnTo>
                  <a:lnTo>
                    <a:pt x="2505" y="5340"/>
                  </a:lnTo>
                  <a:lnTo>
                    <a:pt x="2985" y="5640"/>
                  </a:lnTo>
                  <a:lnTo>
                    <a:pt x="3525" y="6036"/>
                  </a:lnTo>
                  <a:lnTo>
                    <a:pt x="3885" y="6048"/>
                  </a:lnTo>
                  <a:lnTo>
                    <a:pt x="4797" y="6216"/>
                  </a:lnTo>
                  <a:lnTo>
                    <a:pt x="4989" y="5952"/>
                  </a:lnTo>
                  <a:lnTo>
                    <a:pt x="5109" y="5820"/>
                  </a:lnTo>
                  <a:lnTo>
                    <a:pt x="5865" y="5448"/>
                  </a:lnTo>
                  <a:lnTo>
                    <a:pt x="5877" y="5352"/>
                  </a:lnTo>
                  <a:lnTo>
                    <a:pt x="5817" y="5232"/>
                  </a:lnTo>
                  <a:lnTo>
                    <a:pt x="5889" y="5184"/>
                  </a:lnTo>
                  <a:lnTo>
                    <a:pt x="5985" y="5220"/>
                  </a:lnTo>
                  <a:lnTo>
                    <a:pt x="6081" y="5124"/>
                  </a:lnTo>
                  <a:lnTo>
                    <a:pt x="6213" y="5088"/>
                  </a:lnTo>
                  <a:lnTo>
                    <a:pt x="6213" y="4980"/>
                  </a:lnTo>
                  <a:lnTo>
                    <a:pt x="6309" y="5004"/>
                  </a:lnTo>
                  <a:lnTo>
                    <a:pt x="6441" y="4980"/>
                  </a:lnTo>
                  <a:lnTo>
                    <a:pt x="6609" y="4992"/>
                  </a:lnTo>
                  <a:lnTo>
                    <a:pt x="6537" y="4860"/>
                  </a:lnTo>
                  <a:lnTo>
                    <a:pt x="6441" y="4776"/>
                  </a:lnTo>
                  <a:lnTo>
                    <a:pt x="6357" y="4680"/>
                  </a:lnTo>
                  <a:lnTo>
                    <a:pt x="6357" y="4548"/>
                  </a:lnTo>
                  <a:lnTo>
                    <a:pt x="6285" y="4404"/>
                  </a:lnTo>
                  <a:lnTo>
                    <a:pt x="6237" y="4344"/>
                  </a:lnTo>
                  <a:lnTo>
                    <a:pt x="6285" y="4296"/>
                  </a:lnTo>
                  <a:lnTo>
                    <a:pt x="6345" y="4152"/>
                  </a:lnTo>
                  <a:lnTo>
                    <a:pt x="6285" y="4116"/>
                  </a:lnTo>
                  <a:lnTo>
                    <a:pt x="6213" y="4056"/>
                  </a:lnTo>
                  <a:lnTo>
                    <a:pt x="6177" y="3948"/>
                  </a:lnTo>
                  <a:lnTo>
                    <a:pt x="6093" y="3948"/>
                  </a:lnTo>
                  <a:lnTo>
                    <a:pt x="6057" y="3852"/>
                  </a:lnTo>
                  <a:lnTo>
                    <a:pt x="5961" y="3816"/>
                  </a:lnTo>
                  <a:lnTo>
                    <a:pt x="5985" y="3708"/>
                  </a:lnTo>
                  <a:lnTo>
                    <a:pt x="5985" y="3588"/>
                  </a:lnTo>
                  <a:lnTo>
                    <a:pt x="6105" y="3588"/>
                  </a:lnTo>
                  <a:lnTo>
                    <a:pt x="6117" y="3492"/>
                  </a:lnTo>
                  <a:lnTo>
                    <a:pt x="6177" y="3336"/>
                  </a:lnTo>
                  <a:lnTo>
                    <a:pt x="6285" y="3444"/>
                  </a:lnTo>
                  <a:lnTo>
                    <a:pt x="6357" y="3552"/>
                  </a:lnTo>
                  <a:lnTo>
                    <a:pt x="6429" y="3684"/>
                  </a:lnTo>
                  <a:lnTo>
                    <a:pt x="6489" y="3756"/>
                  </a:lnTo>
                  <a:lnTo>
                    <a:pt x="6561" y="3828"/>
                  </a:lnTo>
                  <a:lnTo>
                    <a:pt x="6693" y="3720"/>
                  </a:lnTo>
                  <a:lnTo>
                    <a:pt x="6681" y="3576"/>
                  </a:lnTo>
                  <a:lnTo>
                    <a:pt x="6789" y="3456"/>
                  </a:lnTo>
                  <a:lnTo>
                    <a:pt x="6909" y="3432"/>
                  </a:lnTo>
                  <a:lnTo>
                    <a:pt x="6981" y="3384"/>
                  </a:lnTo>
                  <a:lnTo>
                    <a:pt x="7053" y="3252"/>
                  </a:lnTo>
                  <a:lnTo>
                    <a:pt x="7065" y="3108"/>
                  </a:lnTo>
                  <a:lnTo>
                    <a:pt x="7137" y="3024"/>
                  </a:lnTo>
                  <a:lnTo>
                    <a:pt x="7185" y="2868"/>
                  </a:lnTo>
                  <a:lnTo>
                    <a:pt x="7161" y="2760"/>
                  </a:lnTo>
                  <a:lnTo>
                    <a:pt x="7077" y="2640"/>
                  </a:lnTo>
                  <a:lnTo>
                    <a:pt x="7005" y="2556"/>
                  </a:lnTo>
                  <a:lnTo>
                    <a:pt x="7017" y="2436"/>
                  </a:lnTo>
                  <a:lnTo>
                    <a:pt x="6993" y="2316"/>
                  </a:lnTo>
                  <a:lnTo>
                    <a:pt x="7017" y="2172"/>
                  </a:lnTo>
                  <a:lnTo>
                    <a:pt x="7053" y="1980"/>
                  </a:lnTo>
                  <a:lnTo>
                    <a:pt x="7125" y="1860"/>
                  </a:lnTo>
                  <a:lnTo>
                    <a:pt x="7185" y="1752"/>
                  </a:lnTo>
                  <a:lnTo>
                    <a:pt x="7137" y="1632"/>
                  </a:lnTo>
                  <a:lnTo>
                    <a:pt x="7209" y="1560"/>
                  </a:lnTo>
                  <a:lnTo>
                    <a:pt x="7269" y="1632"/>
                  </a:lnTo>
                  <a:lnTo>
                    <a:pt x="7353" y="1668"/>
                  </a:lnTo>
                  <a:lnTo>
                    <a:pt x="7437" y="1704"/>
                  </a:lnTo>
                  <a:lnTo>
                    <a:pt x="7473" y="1800"/>
                  </a:lnTo>
                  <a:lnTo>
                    <a:pt x="7509" y="1932"/>
                  </a:lnTo>
                  <a:lnTo>
                    <a:pt x="7545" y="2004"/>
                  </a:lnTo>
                  <a:lnTo>
                    <a:pt x="7605" y="1932"/>
                  </a:lnTo>
                  <a:lnTo>
                    <a:pt x="7689" y="1824"/>
                  </a:lnTo>
                  <a:lnTo>
                    <a:pt x="7785" y="1788"/>
                  </a:lnTo>
                  <a:lnTo>
                    <a:pt x="7785" y="1632"/>
                  </a:lnTo>
                  <a:lnTo>
                    <a:pt x="7713" y="1560"/>
                  </a:lnTo>
                  <a:lnTo>
                    <a:pt x="7725" y="1440"/>
                  </a:lnTo>
                  <a:lnTo>
                    <a:pt x="7701" y="1368"/>
                  </a:lnTo>
                  <a:lnTo>
                    <a:pt x="7629" y="1236"/>
                  </a:lnTo>
                  <a:lnTo>
                    <a:pt x="7545" y="1152"/>
                  </a:lnTo>
                  <a:lnTo>
                    <a:pt x="7497" y="1068"/>
                  </a:lnTo>
                  <a:lnTo>
                    <a:pt x="7485" y="924"/>
                  </a:lnTo>
                  <a:lnTo>
                    <a:pt x="7401" y="840"/>
                  </a:lnTo>
                  <a:lnTo>
                    <a:pt x="7341" y="744"/>
                  </a:lnTo>
                  <a:lnTo>
                    <a:pt x="7329" y="648"/>
                  </a:lnTo>
                  <a:lnTo>
                    <a:pt x="7257" y="612"/>
                  </a:lnTo>
                  <a:lnTo>
                    <a:pt x="7197" y="648"/>
                  </a:lnTo>
                  <a:lnTo>
                    <a:pt x="7101" y="672"/>
                  </a:lnTo>
                  <a:lnTo>
                    <a:pt x="7077" y="816"/>
                  </a:lnTo>
                  <a:lnTo>
                    <a:pt x="6945" y="804"/>
                  </a:lnTo>
                  <a:lnTo>
                    <a:pt x="6801" y="840"/>
                  </a:lnTo>
                  <a:lnTo>
                    <a:pt x="6705" y="792"/>
                  </a:lnTo>
                  <a:lnTo>
                    <a:pt x="6609" y="816"/>
                  </a:lnTo>
                  <a:lnTo>
                    <a:pt x="6477" y="840"/>
                  </a:lnTo>
                  <a:lnTo>
                    <a:pt x="6357" y="792"/>
                  </a:lnTo>
                  <a:lnTo>
                    <a:pt x="6273" y="840"/>
                  </a:lnTo>
                  <a:lnTo>
                    <a:pt x="6165" y="912"/>
                  </a:lnTo>
                  <a:lnTo>
                    <a:pt x="6081" y="960"/>
                  </a:lnTo>
                  <a:lnTo>
                    <a:pt x="5985" y="984"/>
                  </a:lnTo>
                  <a:lnTo>
                    <a:pt x="5925" y="936"/>
                  </a:lnTo>
                  <a:lnTo>
                    <a:pt x="6021" y="876"/>
                  </a:lnTo>
                  <a:lnTo>
                    <a:pt x="5949" y="828"/>
                  </a:lnTo>
                  <a:lnTo>
                    <a:pt x="5861" y="8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5" name="Freeform 6">
              <a:extLst>
                <a:ext uri="{FF2B5EF4-FFF2-40B4-BE49-F238E27FC236}">
                  <a16:creationId xmlns:a16="http://schemas.microsoft.com/office/drawing/2014/main" id="{A1ED4CD8-95BC-4D1E-8498-A4BED3F4014A}"/>
                </a:ext>
              </a:extLst>
            </p:cNvPr>
            <p:cNvSpPr>
              <a:spLocks/>
            </p:cNvSpPr>
            <p:nvPr/>
          </p:nvSpPr>
          <p:spPr bwMode="auto">
            <a:xfrm>
              <a:off x="4667679" y="2467363"/>
              <a:ext cx="1816779" cy="1777345"/>
            </a:xfrm>
            <a:custGeom>
              <a:avLst/>
              <a:gdLst>
                <a:gd name="T0" fmla="*/ 84 w 6450"/>
                <a:gd name="T1" fmla="*/ 1236 h 6311"/>
                <a:gd name="T2" fmla="*/ 228 w 6450"/>
                <a:gd name="T3" fmla="*/ 900 h 6311"/>
                <a:gd name="T4" fmla="*/ 372 w 6450"/>
                <a:gd name="T5" fmla="*/ 420 h 6311"/>
                <a:gd name="T6" fmla="*/ 588 w 6450"/>
                <a:gd name="T7" fmla="*/ 84 h 6311"/>
                <a:gd name="T8" fmla="*/ 1500 w 6450"/>
                <a:gd name="T9" fmla="*/ 60 h 6311"/>
                <a:gd name="T10" fmla="*/ 2004 w 6450"/>
                <a:gd name="T11" fmla="*/ 60 h 6311"/>
                <a:gd name="T12" fmla="*/ 1884 w 6450"/>
                <a:gd name="T13" fmla="*/ 624 h 6311"/>
                <a:gd name="T14" fmla="*/ 2112 w 6450"/>
                <a:gd name="T15" fmla="*/ 1020 h 6311"/>
                <a:gd name="T16" fmla="*/ 2436 w 6450"/>
                <a:gd name="T17" fmla="*/ 1404 h 6311"/>
                <a:gd name="T18" fmla="*/ 3072 w 6450"/>
                <a:gd name="T19" fmla="*/ 1884 h 6311"/>
                <a:gd name="T20" fmla="*/ 5652 w 6450"/>
                <a:gd name="T21" fmla="*/ 2748 h 6311"/>
                <a:gd name="T22" fmla="*/ 2964 w 6450"/>
                <a:gd name="T23" fmla="*/ 5460 h 6311"/>
                <a:gd name="T24" fmla="*/ 1992 w 6450"/>
                <a:gd name="T25" fmla="*/ 5940 h 6311"/>
                <a:gd name="T26" fmla="*/ 1017 w 6450"/>
                <a:gd name="T27" fmla="*/ 6311 h 6311"/>
                <a:gd name="T28" fmla="*/ 444 w 6450"/>
                <a:gd name="T29" fmla="*/ 6300 h 6311"/>
                <a:gd name="T30" fmla="*/ 72 w 6450"/>
                <a:gd name="T31" fmla="*/ 5940 h 6311"/>
                <a:gd name="T32" fmla="*/ 180 w 6450"/>
                <a:gd name="T33" fmla="*/ 5808 h 6311"/>
                <a:gd name="T34" fmla="*/ 408 w 6450"/>
                <a:gd name="T35" fmla="*/ 5568 h 6311"/>
                <a:gd name="T36" fmla="*/ 804 w 6450"/>
                <a:gd name="T37" fmla="*/ 5580 h 6311"/>
                <a:gd name="T38" fmla="*/ 552 w 6450"/>
                <a:gd name="T39" fmla="*/ 5268 h 6311"/>
                <a:gd name="T40" fmla="*/ 432 w 6450"/>
                <a:gd name="T41" fmla="*/ 4932 h 6311"/>
                <a:gd name="T42" fmla="*/ 480 w 6450"/>
                <a:gd name="T43" fmla="*/ 4704 h 6311"/>
                <a:gd name="T44" fmla="*/ 288 w 6450"/>
                <a:gd name="T45" fmla="*/ 4536 h 6311"/>
                <a:gd name="T46" fmla="*/ 180 w 6450"/>
                <a:gd name="T47" fmla="*/ 4296 h 6311"/>
                <a:gd name="T48" fmla="*/ 312 w 6450"/>
                <a:gd name="T49" fmla="*/ 4080 h 6311"/>
                <a:gd name="T50" fmla="*/ 552 w 6450"/>
                <a:gd name="T51" fmla="*/ 4140 h 6311"/>
                <a:gd name="T52" fmla="*/ 756 w 6450"/>
                <a:gd name="T53" fmla="*/ 4416 h 6311"/>
                <a:gd name="T54" fmla="*/ 984 w 6450"/>
                <a:gd name="T55" fmla="*/ 4044 h 6311"/>
                <a:gd name="T56" fmla="*/ 1248 w 6450"/>
                <a:gd name="T57" fmla="*/ 3840 h 6311"/>
                <a:gd name="T58" fmla="*/ 1380 w 6450"/>
                <a:gd name="T59" fmla="*/ 3456 h 6311"/>
                <a:gd name="T60" fmla="*/ 1200 w 6450"/>
                <a:gd name="T61" fmla="*/ 3144 h 6311"/>
                <a:gd name="T62" fmla="*/ 1212 w 6450"/>
                <a:gd name="T63" fmla="*/ 2760 h 6311"/>
                <a:gd name="T64" fmla="*/ 1380 w 6450"/>
                <a:gd name="T65" fmla="*/ 2340 h 6311"/>
                <a:gd name="T66" fmla="*/ 1464 w 6450"/>
                <a:gd name="T67" fmla="*/ 2220 h 6311"/>
                <a:gd name="T68" fmla="*/ 1668 w 6450"/>
                <a:gd name="T69" fmla="*/ 2388 h 6311"/>
                <a:gd name="T70" fmla="*/ 1800 w 6450"/>
                <a:gd name="T71" fmla="*/ 2520 h 6311"/>
                <a:gd name="T72" fmla="*/ 1980 w 6450"/>
                <a:gd name="T73" fmla="*/ 2220 h 6311"/>
                <a:gd name="T74" fmla="*/ 1896 w 6450"/>
                <a:gd name="T75" fmla="*/ 1956 h 6311"/>
                <a:gd name="T76" fmla="*/ 1692 w 6450"/>
                <a:gd name="T77" fmla="*/ 1656 h 6311"/>
                <a:gd name="T78" fmla="*/ 1536 w 6450"/>
                <a:gd name="T79" fmla="*/ 1332 h 6311"/>
                <a:gd name="T80" fmla="*/ 1391 w 6450"/>
                <a:gd name="T81" fmla="*/ 1236 h 6311"/>
                <a:gd name="T82" fmla="*/ 1140 w 6450"/>
                <a:gd name="T83" fmla="*/ 1392 h 6311"/>
                <a:gd name="T84" fmla="*/ 804 w 6450"/>
                <a:gd name="T85" fmla="*/ 1404 h 6311"/>
                <a:gd name="T86" fmla="*/ 468 w 6450"/>
                <a:gd name="T87" fmla="*/ 1428 h 6311"/>
                <a:gd name="T88" fmla="*/ 180 w 6450"/>
                <a:gd name="T89" fmla="*/ 1572 h 6311"/>
                <a:gd name="T90" fmla="*/ 144 w 6450"/>
                <a:gd name="T91" fmla="*/ 1416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50" h="6311">
                  <a:moveTo>
                    <a:pt x="56" y="1428"/>
                  </a:moveTo>
                  <a:lnTo>
                    <a:pt x="0" y="1380"/>
                  </a:lnTo>
                  <a:lnTo>
                    <a:pt x="84" y="1236"/>
                  </a:lnTo>
                  <a:lnTo>
                    <a:pt x="144" y="1140"/>
                  </a:lnTo>
                  <a:lnTo>
                    <a:pt x="288" y="1020"/>
                  </a:lnTo>
                  <a:lnTo>
                    <a:pt x="228" y="900"/>
                  </a:lnTo>
                  <a:lnTo>
                    <a:pt x="276" y="756"/>
                  </a:lnTo>
                  <a:lnTo>
                    <a:pt x="324" y="588"/>
                  </a:lnTo>
                  <a:lnTo>
                    <a:pt x="372" y="420"/>
                  </a:lnTo>
                  <a:lnTo>
                    <a:pt x="384" y="300"/>
                  </a:lnTo>
                  <a:lnTo>
                    <a:pt x="480" y="192"/>
                  </a:lnTo>
                  <a:lnTo>
                    <a:pt x="588" y="84"/>
                  </a:lnTo>
                  <a:lnTo>
                    <a:pt x="978" y="84"/>
                  </a:lnTo>
                  <a:lnTo>
                    <a:pt x="1224" y="84"/>
                  </a:lnTo>
                  <a:lnTo>
                    <a:pt x="1500" y="60"/>
                  </a:lnTo>
                  <a:lnTo>
                    <a:pt x="1716" y="0"/>
                  </a:lnTo>
                  <a:lnTo>
                    <a:pt x="1824" y="0"/>
                  </a:lnTo>
                  <a:lnTo>
                    <a:pt x="2004" y="60"/>
                  </a:lnTo>
                  <a:lnTo>
                    <a:pt x="1908" y="228"/>
                  </a:lnTo>
                  <a:lnTo>
                    <a:pt x="1788" y="420"/>
                  </a:lnTo>
                  <a:lnTo>
                    <a:pt x="1884" y="624"/>
                  </a:lnTo>
                  <a:lnTo>
                    <a:pt x="1980" y="780"/>
                  </a:lnTo>
                  <a:lnTo>
                    <a:pt x="2076" y="900"/>
                  </a:lnTo>
                  <a:lnTo>
                    <a:pt x="2112" y="1020"/>
                  </a:lnTo>
                  <a:lnTo>
                    <a:pt x="2268" y="1044"/>
                  </a:lnTo>
                  <a:lnTo>
                    <a:pt x="2340" y="1236"/>
                  </a:lnTo>
                  <a:lnTo>
                    <a:pt x="2436" y="1404"/>
                  </a:lnTo>
                  <a:lnTo>
                    <a:pt x="2640" y="1560"/>
                  </a:lnTo>
                  <a:lnTo>
                    <a:pt x="2892" y="1740"/>
                  </a:lnTo>
                  <a:lnTo>
                    <a:pt x="3072" y="1884"/>
                  </a:lnTo>
                  <a:lnTo>
                    <a:pt x="3792" y="2112"/>
                  </a:lnTo>
                  <a:lnTo>
                    <a:pt x="4668" y="2412"/>
                  </a:lnTo>
                  <a:lnTo>
                    <a:pt x="5652" y="2748"/>
                  </a:lnTo>
                  <a:lnTo>
                    <a:pt x="6450" y="2712"/>
                  </a:lnTo>
                  <a:lnTo>
                    <a:pt x="3840" y="5502"/>
                  </a:lnTo>
                  <a:lnTo>
                    <a:pt x="2964" y="5460"/>
                  </a:lnTo>
                  <a:lnTo>
                    <a:pt x="2412" y="5604"/>
                  </a:lnTo>
                  <a:lnTo>
                    <a:pt x="2172" y="5724"/>
                  </a:lnTo>
                  <a:lnTo>
                    <a:pt x="1992" y="5940"/>
                  </a:lnTo>
                  <a:lnTo>
                    <a:pt x="1752" y="6072"/>
                  </a:lnTo>
                  <a:lnTo>
                    <a:pt x="1260" y="6132"/>
                  </a:lnTo>
                  <a:lnTo>
                    <a:pt x="1017" y="6311"/>
                  </a:lnTo>
                  <a:lnTo>
                    <a:pt x="948" y="6300"/>
                  </a:lnTo>
                  <a:lnTo>
                    <a:pt x="684" y="6300"/>
                  </a:lnTo>
                  <a:lnTo>
                    <a:pt x="444" y="6300"/>
                  </a:lnTo>
                  <a:lnTo>
                    <a:pt x="300" y="6192"/>
                  </a:lnTo>
                  <a:lnTo>
                    <a:pt x="60" y="6036"/>
                  </a:lnTo>
                  <a:lnTo>
                    <a:pt x="72" y="5940"/>
                  </a:lnTo>
                  <a:lnTo>
                    <a:pt x="12" y="5820"/>
                  </a:lnTo>
                  <a:lnTo>
                    <a:pt x="84" y="5772"/>
                  </a:lnTo>
                  <a:lnTo>
                    <a:pt x="180" y="5808"/>
                  </a:lnTo>
                  <a:lnTo>
                    <a:pt x="276" y="5712"/>
                  </a:lnTo>
                  <a:lnTo>
                    <a:pt x="408" y="5676"/>
                  </a:lnTo>
                  <a:lnTo>
                    <a:pt x="408" y="5568"/>
                  </a:lnTo>
                  <a:lnTo>
                    <a:pt x="504" y="5592"/>
                  </a:lnTo>
                  <a:lnTo>
                    <a:pt x="636" y="5568"/>
                  </a:lnTo>
                  <a:lnTo>
                    <a:pt x="804" y="5580"/>
                  </a:lnTo>
                  <a:lnTo>
                    <a:pt x="732" y="5448"/>
                  </a:lnTo>
                  <a:lnTo>
                    <a:pt x="636" y="5364"/>
                  </a:lnTo>
                  <a:lnTo>
                    <a:pt x="552" y="5268"/>
                  </a:lnTo>
                  <a:lnTo>
                    <a:pt x="552" y="5136"/>
                  </a:lnTo>
                  <a:lnTo>
                    <a:pt x="480" y="4992"/>
                  </a:lnTo>
                  <a:lnTo>
                    <a:pt x="432" y="4932"/>
                  </a:lnTo>
                  <a:lnTo>
                    <a:pt x="480" y="4884"/>
                  </a:lnTo>
                  <a:lnTo>
                    <a:pt x="540" y="4740"/>
                  </a:lnTo>
                  <a:lnTo>
                    <a:pt x="480" y="4704"/>
                  </a:lnTo>
                  <a:lnTo>
                    <a:pt x="408" y="4644"/>
                  </a:lnTo>
                  <a:lnTo>
                    <a:pt x="372" y="4536"/>
                  </a:lnTo>
                  <a:lnTo>
                    <a:pt x="288" y="4536"/>
                  </a:lnTo>
                  <a:lnTo>
                    <a:pt x="252" y="4440"/>
                  </a:lnTo>
                  <a:lnTo>
                    <a:pt x="156" y="4404"/>
                  </a:lnTo>
                  <a:lnTo>
                    <a:pt x="180" y="4296"/>
                  </a:lnTo>
                  <a:lnTo>
                    <a:pt x="180" y="4176"/>
                  </a:lnTo>
                  <a:lnTo>
                    <a:pt x="300" y="4176"/>
                  </a:lnTo>
                  <a:lnTo>
                    <a:pt x="312" y="4080"/>
                  </a:lnTo>
                  <a:lnTo>
                    <a:pt x="372" y="3924"/>
                  </a:lnTo>
                  <a:lnTo>
                    <a:pt x="480" y="4032"/>
                  </a:lnTo>
                  <a:lnTo>
                    <a:pt x="552" y="4140"/>
                  </a:lnTo>
                  <a:lnTo>
                    <a:pt x="624" y="4272"/>
                  </a:lnTo>
                  <a:lnTo>
                    <a:pt x="684" y="4344"/>
                  </a:lnTo>
                  <a:lnTo>
                    <a:pt x="756" y="4416"/>
                  </a:lnTo>
                  <a:lnTo>
                    <a:pt x="888" y="4308"/>
                  </a:lnTo>
                  <a:lnTo>
                    <a:pt x="876" y="4164"/>
                  </a:lnTo>
                  <a:lnTo>
                    <a:pt x="984" y="4044"/>
                  </a:lnTo>
                  <a:lnTo>
                    <a:pt x="1104" y="4020"/>
                  </a:lnTo>
                  <a:lnTo>
                    <a:pt x="1176" y="3972"/>
                  </a:lnTo>
                  <a:lnTo>
                    <a:pt x="1248" y="3840"/>
                  </a:lnTo>
                  <a:lnTo>
                    <a:pt x="1260" y="3696"/>
                  </a:lnTo>
                  <a:lnTo>
                    <a:pt x="1332" y="3612"/>
                  </a:lnTo>
                  <a:lnTo>
                    <a:pt x="1380" y="3456"/>
                  </a:lnTo>
                  <a:lnTo>
                    <a:pt x="1356" y="3348"/>
                  </a:lnTo>
                  <a:lnTo>
                    <a:pt x="1272" y="3228"/>
                  </a:lnTo>
                  <a:lnTo>
                    <a:pt x="1200" y="3144"/>
                  </a:lnTo>
                  <a:lnTo>
                    <a:pt x="1212" y="3024"/>
                  </a:lnTo>
                  <a:lnTo>
                    <a:pt x="1188" y="2904"/>
                  </a:lnTo>
                  <a:lnTo>
                    <a:pt x="1212" y="2760"/>
                  </a:lnTo>
                  <a:lnTo>
                    <a:pt x="1248" y="2568"/>
                  </a:lnTo>
                  <a:lnTo>
                    <a:pt x="1320" y="2448"/>
                  </a:lnTo>
                  <a:lnTo>
                    <a:pt x="1380" y="2340"/>
                  </a:lnTo>
                  <a:lnTo>
                    <a:pt x="1332" y="2220"/>
                  </a:lnTo>
                  <a:lnTo>
                    <a:pt x="1404" y="2148"/>
                  </a:lnTo>
                  <a:lnTo>
                    <a:pt x="1464" y="2220"/>
                  </a:lnTo>
                  <a:lnTo>
                    <a:pt x="1548" y="2256"/>
                  </a:lnTo>
                  <a:lnTo>
                    <a:pt x="1632" y="2292"/>
                  </a:lnTo>
                  <a:lnTo>
                    <a:pt x="1668" y="2388"/>
                  </a:lnTo>
                  <a:lnTo>
                    <a:pt x="1704" y="2520"/>
                  </a:lnTo>
                  <a:lnTo>
                    <a:pt x="1740" y="2592"/>
                  </a:lnTo>
                  <a:lnTo>
                    <a:pt x="1800" y="2520"/>
                  </a:lnTo>
                  <a:lnTo>
                    <a:pt x="1884" y="2412"/>
                  </a:lnTo>
                  <a:lnTo>
                    <a:pt x="1980" y="2376"/>
                  </a:lnTo>
                  <a:lnTo>
                    <a:pt x="1980" y="2220"/>
                  </a:lnTo>
                  <a:lnTo>
                    <a:pt x="1908" y="2148"/>
                  </a:lnTo>
                  <a:lnTo>
                    <a:pt x="1920" y="2028"/>
                  </a:lnTo>
                  <a:lnTo>
                    <a:pt x="1896" y="1956"/>
                  </a:lnTo>
                  <a:lnTo>
                    <a:pt x="1824" y="1824"/>
                  </a:lnTo>
                  <a:lnTo>
                    <a:pt x="1740" y="1740"/>
                  </a:lnTo>
                  <a:lnTo>
                    <a:pt x="1692" y="1656"/>
                  </a:lnTo>
                  <a:lnTo>
                    <a:pt x="1680" y="1512"/>
                  </a:lnTo>
                  <a:lnTo>
                    <a:pt x="1596" y="1428"/>
                  </a:lnTo>
                  <a:lnTo>
                    <a:pt x="1536" y="1332"/>
                  </a:lnTo>
                  <a:lnTo>
                    <a:pt x="1524" y="1236"/>
                  </a:lnTo>
                  <a:lnTo>
                    <a:pt x="1452" y="1200"/>
                  </a:lnTo>
                  <a:lnTo>
                    <a:pt x="1391" y="1236"/>
                  </a:lnTo>
                  <a:lnTo>
                    <a:pt x="1295" y="1260"/>
                  </a:lnTo>
                  <a:lnTo>
                    <a:pt x="1272" y="1406"/>
                  </a:lnTo>
                  <a:lnTo>
                    <a:pt x="1140" y="1392"/>
                  </a:lnTo>
                  <a:lnTo>
                    <a:pt x="999" y="1428"/>
                  </a:lnTo>
                  <a:lnTo>
                    <a:pt x="900" y="1380"/>
                  </a:lnTo>
                  <a:lnTo>
                    <a:pt x="804" y="1404"/>
                  </a:lnTo>
                  <a:lnTo>
                    <a:pt x="672" y="1428"/>
                  </a:lnTo>
                  <a:lnTo>
                    <a:pt x="552" y="1380"/>
                  </a:lnTo>
                  <a:lnTo>
                    <a:pt x="468" y="1428"/>
                  </a:lnTo>
                  <a:lnTo>
                    <a:pt x="360" y="1500"/>
                  </a:lnTo>
                  <a:lnTo>
                    <a:pt x="276" y="1548"/>
                  </a:lnTo>
                  <a:lnTo>
                    <a:pt x="180" y="1572"/>
                  </a:lnTo>
                  <a:lnTo>
                    <a:pt x="120" y="1524"/>
                  </a:lnTo>
                  <a:lnTo>
                    <a:pt x="216" y="1464"/>
                  </a:lnTo>
                  <a:lnTo>
                    <a:pt x="144" y="1416"/>
                  </a:lnTo>
                  <a:lnTo>
                    <a:pt x="56" y="1428"/>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6" name="Freeform 7">
              <a:extLst>
                <a:ext uri="{FF2B5EF4-FFF2-40B4-BE49-F238E27FC236}">
                  <a16:creationId xmlns:a16="http://schemas.microsoft.com/office/drawing/2014/main" id="{8CA3BC30-A5DD-4316-BE1C-C175367E9DF4}"/>
                </a:ext>
              </a:extLst>
            </p:cNvPr>
            <p:cNvSpPr>
              <a:spLocks/>
            </p:cNvSpPr>
            <p:nvPr/>
          </p:nvSpPr>
          <p:spPr bwMode="auto">
            <a:xfrm>
              <a:off x="3500153" y="2977188"/>
              <a:ext cx="81685" cy="54926"/>
            </a:xfrm>
            <a:custGeom>
              <a:avLst/>
              <a:gdLst>
                <a:gd name="T0" fmla="*/ 32 w 288"/>
                <a:gd name="T1" fmla="*/ 16 h 192"/>
                <a:gd name="T2" fmla="*/ 0 w 288"/>
                <a:gd name="T3" fmla="*/ 112 h 192"/>
                <a:gd name="T4" fmla="*/ 48 w 288"/>
                <a:gd name="T5" fmla="*/ 160 h 192"/>
                <a:gd name="T6" fmla="*/ 144 w 288"/>
                <a:gd name="T7" fmla="*/ 168 h 192"/>
                <a:gd name="T8" fmla="*/ 208 w 288"/>
                <a:gd name="T9" fmla="*/ 192 h 192"/>
                <a:gd name="T10" fmla="*/ 200 w 288"/>
                <a:gd name="T11" fmla="*/ 136 h 192"/>
                <a:gd name="T12" fmla="*/ 288 w 288"/>
                <a:gd name="T13" fmla="*/ 80 h 192"/>
                <a:gd name="T14" fmla="*/ 248 w 288"/>
                <a:gd name="T15" fmla="*/ 24 h 192"/>
                <a:gd name="T16" fmla="*/ 176 w 288"/>
                <a:gd name="T17" fmla="*/ 32 h 192"/>
                <a:gd name="T18" fmla="*/ 112 w 288"/>
                <a:gd name="T19" fmla="*/ 0 h 192"/>
                <a:gd name="T20" fmla="*/ 32 w 288"/>
                <a:gd name="T2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192">
                  <a:moveTo>
                    <a:pt x="32" y="16"/>
                  </a:moveTo>
                  <a:lnTo>
                    <a:pt x="0" y="112"/>
                  </a:lnTo>
                  <a:lnTo>
                    <a:pt x="48" y="160"/>
                  </a:lnTo>
                  <a:lnTo>
                    <a:pt x="144" y="168"/>
                  </a:lnTo>
                  <a:lnTo>
                    <a:pt x="208" y="192"/>
                  </a:lnTo>
                  <a:lnTo>
                    <a:pt x="200" y="136"/>
                  </a:lnTo>
                  <a:lnTo>
                    <a:pt x="288" y="80"/>
                  </a:lnTo>
                  <a:lnTo>
                    <a:pt x="248" y="24"/>
                  </a:lnTo>
                  <a:lnTo>
                    <a:pt x="176" y="32"/>
                  </a:lnTo>
                  <a:lnTo>
                    <a:pt x="112" y="0"/>
                  </a:lnTo>
                  <a:lnTo>
                    <a:pt x="32" y="16"/>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7" name="Freeform 8">
              <a:extLst>
                <a:ext uri="{FF2B5EF4-FFF2-40B4-BE49-F238E27FC236}">
                  <a16:creationId xmlns:a16="http://schemas.microsoft.com/office/drawing/2014/main" id="{8C059C3C-9636-4A59-9A7E-97925F89D4A6}"/>
                </a:ext>
              </a:extLst>
            </p:cNvPr>
            <p:cNvSpPr>
              <a:spLocks/>
            </p:cNvSpPr>
            <p:nvPr/>
          </p:nvSpPr>
          <p:spPr bwMode="auto">
            <a:xfrm>
              <a:off x="4163488" y="2958880"/>
              <a:ext cx="69010" cy="71827"/>
            </a:xfrm>
            <a:custGeom>
              <a:avLst/>
              <a:gdLst>
                <a:gd name="T0" fmla="*/ 33 w 244"/>
                <a:gd name="T1" fmla="*/ 24 h 254"/>
                <a:gd name="T2" fmla="*/ 0 w 244"/>
                <a:gd name="T3" fmla="*/ 91 h 254"/>
                <a:gd name="T4" fmla="*/ 9 w 244"/>
                <a:gd name="T5" fmla="*/ 153 h 254"/>
                <a:gd name="T6" fmla="*/ 52 w 244"/>
                <a:gd name="T7" fmla="*/ 206 h 254"/>
                <a:gd name="T8" fmla="*/ 105 w 244"/>
                <a:gd name="T9" fmla="*/ 249 h 254"/>
                <a:gd name="T10" fmla="*/ 148 w 244"/>
                <a:gd name="T11" fmla="*/ 254 h 254"/>
                <a:gd name="T12" fmla="*/ 177 w 244"/>
                <a:gd name="T13" fmla="*/ 225 h 254"/>
                <a:gd name="T14" fmla="*/ 196 w 244"/>
                <a:gd name="T15" fmla="*/ 168 h 254"/>
                <a:gd name="T16" fmla="*/ 244 w 244"/>
                <a:gd name="T17" fmla="*/ 125 h 254"/>
                <a:gd name="T18" fmla="*/ 216 w 244"/>
                <a:gd name="T19" fmla="*/ 57 h 254"/>
                <a:gd name="T20" fmla="*/ 192 w 244"/>
                <a:gd name="T21" fmla="*/ 0 h 254"/>
                <a:gd name="T22" fmla="*/ 110 w 244"/>
                <a:gd name="T23" fmla="*/ 14 h 254"/>
                <a:gd name="T24" fmla="*/ 33 w 244"/>
                <a:gd name="T25" fmla="*/ 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4">
                  <a:moveTo>
                    <a:pt x="33" y="24"/>
                  </a:moveTo>
                  <a:lnTo>
                    <a:pt x="0" y="91"/>
                  </a:lnTo>
                  <a:lnTo>
                    <a:pt x="9" y="153"/>
                  </a:lnTo>
                  <a:lnTo>
                    <a:pt x="52" y="206"/>
                  </a:lnTo>
                  <a:lnTo>
                    <a:pt x="105" y="249"/>
                  </a:lnTo>
                  <a:lnTo>
                    <a:pt x="148" y="254"/>
                  </a:lnTo>
                  <a:lnTo>
                    <a:pt x="177" y="225"/>
                  </a:lnTo>
                  <a:lnTo>
                    <a:pt x="196" y="168"/>
                  </a:lnTo>
                  <a:lnTo>
                    <a:pt x="244" y="125"/>
                  </a:lnTo>
                  <a:lnTo>
                    <a:pt x="216" y="57"/>
                  </a:lnTo>
                  <a:lnTo>
                    <a:pt x="192" y="0"/>
                  </a:lnTo>
                  <a:lnTo>
                    <a:pt x="110" y="14"/>
                  </a:lnTo>
                  <a:lnTo>
                    <a:pt x="33" y="24"/>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8" name="Freeform 9">
              <a:extLst>
                <a:ext uri="{FF2B5EF4-FFF2-40B4-BE49-F238E27FC236}">
                  <a16:creationId xmlns:a16="http://schemas.microsoft.com/office/drawing/2014/main" id="{0970ED25-01AD-430F-98C9-C6F5501D55E7}"/>
                </a:ext>
              </a:extLst>
            </p:cNvPr>
            <p:cNvSpPr>
              <a:spLocks/>
            </p:cNvSpPr>
            <p:nvPr/>
          </p:nvSpPr>
          <p:spPr bwMode="auto">
            <a:xfrm>
              <a:off x="5014135" y="2888462"/>
              <a:ext cx="54926" cy="45067"/>
            </a:xfrm>
            <a:custGeom>
              <a:avLst/>
              <a:gdLst>
                <a:gd name="T0" fmla="*/ 67 w 197"/>
                <a:gd name="T1" fmla="*/ 0 h 159"/>
                <a:gd name="T2" fmla="*/ 5 w 197"/>
                <a:gd name="T3" fmla="*/ 63 h 159"/>
                <a:gd name="T4" fmla="*/ 0 w 197"/>
                <a:gd name="T5" fmla="*/ 130 h 159"/>
                <a:gd name="T6" fmla="*/ 48 w 197"/>
                <a:gd name="T7" fmla="*/ 144 h 159"/>
                <a:gd name="T8" fmla="*/ 110 w 197"/>
                <a:gd name="T9" fmla="*/ 159 h 159"/>
                <a:gd name="T10" fmla="*/ 182 w 197"/>
                <a:gd name="T11" fmla="*/ 159 h 159"/>
                <a:gd name="T12" fmla="*/ 197 w 197"/>
                <a:gd name="T13" fmla="*/ 10 h 159"/>
                <a:gd name="T14" fmla="*/ 144 w 197"/>
                <a:gd name="T15" fmla="*/ 15 h 159"/>
                <a:gd name="T16" fmla="*/ 67 w 197"/>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59">
                  <a:moveTo>
                    <a:pt x="67" y="0"/>
                  </a:moveTo>
                  <a:lnTo>
                    <a:pt x="5" y="63"/>
                  </a:lnTo>
                  <a:lnTo>
                    <a:pt x="0" y="130"/>
                  </a:lnTo>
                  <a:lnTo>
                    <a:pt x="48" y="144"/>
                  </a:lnTo>
                  <a:lnTo>
                    <a:pt x="110" y="159"/>
                  </a:lnTo>
                  <a:lnTo>
                    <a:pt x="182" y="159"/>
                  </a:lnTo>
                  <a:lnTo>
                    <a:pt x="197" y="10"/>
                  </a:lnTo>
                  <a:lnTo>
                    <a:pt x="144" y="15"/>
                  </a:lnTo>
                  <a:lnTo>
                    <a:pt x="67"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9" name="Freeform 10">
              <a:extLst>
                <a:ext uri="{FF2B5EF4-FFF2-40B4-BE49-F238E27FC236}">
                  <a16:creationId xmlns:a16="http://schemas.microsoft.com/office/drawing/2014/main" id="{2797C3FC-2B17-4515-9405-13BB5BA8F2E0}"/>
                </a:ext>
              </a:extLst>
            </p:cNvPr>
            <p:cNvSpPr>
              <a:spLocks/>
            </p:cNvSpPr>
            <p:nvPr/>
          </p:nvSpPr>
          <p:spPr bwMode="auto">
            <a:xfrm>
              <a:off x="3590288" y="2850436"/>
              <a:ext cx="36617" cy="43659"/>
            </a:xfrm>
            <a:custGeom>
              <a:avLst/>
              <a:gdLst>
                <a:gd name="T0" fmla="*/ 72 w 130"/>
                <a:gd name="T1" fmla="*/ 0 h 153"/>
                <a:gd name="T2" fmla="*/ 24 w 130"/>
                <a:gd name="T3" fmla="*/ 14 h 153"/>
                <a:gd name="T4" fmla="*/ 0 w 130"/>
                <a:gd name="T5" fmla="*/ 101 h 153"/>
                <a:gd name="T6" fmla="*/ 24 w 130"/>
                <a:gd name="T7" fmla="*/ 153 h 153"/>
                <a:gd name="T8" fmla="*/ 87 w 130"/>
                <a:gd name="T9" fmla="*/ 153 h 153"/>
                <a:gd name="T10" fmla="*/ 87 w 130"/>
                <a:gd name="T11" fmla="*/ 105 h 153"/>
                <a:gd name="T12" fmla="*/ 116 w 130"/>
                <a:gd name="T13" fmla="*/ 77 h 153"/>
                <a:gd name="T14" fmla="*/ 130 w 130"/>
                <a:gd name="T15" fmla="*/ 38 h 153"/>
                <a:gd name="T16" fmla="*/ 111 w 130"/>
                <a:gd name="T17" fmla="*/ 19 h 153"/>
                <a:gd name="T18" fmla="*/ 72 w 130"/>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3">
                  <a:moveTo>
                    <a:pt x="72" y="0"/>
                  </a:moveTo>
                  <a:lnTo>
                    <a:pt x="24" y="14"/>
                  </a:lnTo>
                  <a:lnTo>
                    <a:pt x="0" y="101"/>
                  </a:lnTo>
                  <a:lnTo>
                    <a:pt x="24" y="153"/>
                  </a:lnTo>
                  <a:lnTo>
                    <a:pt x="87" y="153"/>
                  </a:lnTo>
                  <a:lnTo>
                    <a:pt x="87" y="105"/>
                  </a:lnTo>
                  <a:lnTo>
                    <a:pt x="116" y="77"/>
                  </a:lnTo>
                  <a:lnTo>
                    <a:pt x="130" y="38"/>
                  </a:lnTo>
                  <a:lnTo>
                    <a:pt x="111" y="19"/>
                  </a:lnTo>
                  <a:lnTo>
                    <a:pt x="72"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0" name="Freeform 11">
              <a:extLst>
                <a:ext uri="{FF2B5EF4-FFF2-40B4-BE49-F238E27FC236}">
                  <a16:creationId xmlns:a16="http://schemas.microsoft.com/office/drawing/2014/main" id="{3772BADA-3ED4-45D3-896D-5F127B64342B}"/>
                </a:ext>
              </a:extLst>
            </p:cNvPr>
            <p:cNvSpPr>
              <a:spLocks/>
            </p:cNvSpPr>
            <p:nvPr/>
          </p:nvSpPr>
          <p:spPr bwMode="auto">
            <a:xfrm>
              <a:off x="3305800" y="1808253"/>
              <a:ext cx="1250620" cy="1230903"/>
            </a:xfrm>
            <a:custGeom>
              <a:avLst/>
              <a:gdLst>
                <a:gd name="T0" fmla="*/ 852 w 4440"/>
                <a:gd name="T1" fmla="*/ 732 h 4368"/>
                <a:gd name="T2" fmla="*/ 396 w 4440"/>
                <a:gd name="T3" fmla="*/ 924 h 4368"/>
                <a:gd name="T4" fmla="*/ 216 w 4440"/>
                <a:gd name="T5" fmla="*/ 1692 h 4368"/>
                <a:gd name="T6" fmla="*/ 468 w 4440"/>
                <a:gd name="T7" fmla="*/ 1476 h 4368"/>
                <a:gd name="T8" fmla="*/ 708 w 4440"/>
                <a:gd name="T9" fmla="*/ 1608 h 4368"/>
                <a:gd name="T10" fmla="*/ 996 w 4440"/>
                <a:gd name="T11" fmla="*/ 1668 h 4368"/>
                <a:gd name="T12" fmla="*/ 1116 w 4440"/>
                <a:gd name="T13" fmla="*/ 2004 h 4368"/>
                <a:gd name="T14" fmla="*/ 1164 w 4440"/>
                <a:gd name="T15" fmla="*/ 2328 h 4368"/>
                <a:gd name="T16" fmla="*/ 912 w 4440"/>
                <a:gd name="T17" fmla="*/ 2568 h 4368"/>
                <a:gd name="T18" fmla="*/ 1008 w 4440"/>
                <a:gd name="T19" fmla="*/ 2820 h 4368"/>
                <a:gd name="T20" fmla="*/ 1344 w 4440"/>
                <a:gd name="T21" fmla="*/ 2976 h 4368"/>
                <a:gd name="T22" fmla="*/ 1730 w 4440"/>
                <a:gd name="T23" fmla="*/ 3111 h 4368"/>
                <a:gd name="T24" fmla="*/ 2022 w 4440"/>
                <a:gd name="T25" fmla="*/ 3275 h 4368"/>
                <a:gd name="T26" fmla="*/ 2376 w 4440"/>
                <a:gd name="T27" fmla="*/ 3384 h 4368"/>
                <a:gd name="T28" fmla="*/ 2837 w 4440"/>
                <a:gd name="T29" fmla="*/ 3147 h 4368"/>
                <a:gd name="T30" fmla="*/ 3131 w 4440"/>
                <a:gd name="T31" fmla="*/ 2952 h 4368"/>
                <a:gd name="T32" fmla="*/ 3155 w 4440"/>
                <a:gd name="T33" fmla="*/ 3206 h 4368"/>
                <a:gd name="T34" fmla="*/ 3230 w 4440"/>
                <a:gd name="T35" fmla="*/ 3492 h 4368"/>
                <a:gd name="T36" fmla="*/ 3408 w 4440"/>
                <a:gd name="T37" fmla="*/ 3659 h 4368"/>
                <a:gd name="T38" fmla="*/ 3683 w 4440"/>
                <a:gd name="T39" fmla="*/ 3503 h 4368"/>
                <a:gd name="T40" fmla="*/ 3708 w 4440"/>
                <a:gd name="T41" fmla="*/ 3770 h 4368"/>
                <a:gd name="T42" fmla="*/ 3588 w 4440"/>
                <a:gd name="T43" fmla="*/ 3923 h 4368"/>
                <a:gd name="T44" fmla="*/ 3638 w 4440"/>
                <a:gd name="T45" fmla="*/ 4122 h 4368"/>
                <a:gd name="T46" fmla="*/ 3755 w 4440"/>
                <a:gd name="T47" fmla="*/ 4322 h 4368"/>
                <a:gd name="T48" fmla="*/ 4032 w 4440"/>
                <a:gd name="T49" fmla="*/ 4284 h 4368"/>
                <a:gd name="T50" fmla="*/ 4068 w 4440"/>
                <a:gd name="T51" fmla="*/ 3828 h 4368"/>
                <a:gd name="T52" fmla="*/ 4140 w 4440"/>
                <a:gd name="T53" fmla="*/ 3492 h 4368"/>
                <a:gd name="T54" fmla="*/ 4320 w 4440"/>
                <a:gd name="T55" fmla="*/ 3312 h 4368"/>
                <a:gd name="T56" fmla="*/ 4368 w 4440"/>
                <a:gd name="T57" fmla="*/ 3156 h 4368"/>
                <a:gd name="T58" fmla="*/ 4404 w 4440"/>
                <a:gd name="T59" fmla="*/ 2688 h 4368"/>
                <a:gd name="T60" fmla="*/ 4368 w 4440"/>
                <a:gd name="T61" fmla="*/ 2436 h 4368"/>
                <a:gd name="T62" fmla="*/ 4320 w 4440"/>
                <a:gd name="T63" fmla="*/ 2088 h 4368"/>
                <a:gd name="T64" fmla="*/ 4128 w 4440"/>
                <a:gd name="T65" fmla="*/ 1752 h 4368"/>
                <a:gd name="T66" fmla="*/ 4068 w 4440"/>
                <a:gd name="T67" fmla="*/ 1344 h 4368"/>
                <a:gd name="T68" fmla="*/ 3780 w 4440"/>
                <a:gd name="T69" fmla="*/ 1200 h 4368"/>
                <a:gd name="T70" fmla="*/ 3576 w 4440"/>
                <a:gd name="T71" fmla="*/ 1044 h 4368"/>
                <a:gd name="T72" fmla="*/ 3624 w 4440"/>
                <a:gd name="T73" fmla="*/ 780 h 4368"/>
                <a:gd name="T74" fmla="*/ 3420 w 4440"/>
                <a:gd name="T75" fmla="*/ 624 h 4368"/>
                <a:gd name="T76" fmla="*/ 3336 w 4440"/>
                <a:gd name="T77" fmla="*/ 408 h 4368"/>
                <a:gd name="T78" fmla="*/ 3108 w 4440"/>
                <a:gd name="T79" fmla="*/ 228 h 4368"/>
                <a:gd name="T80" fmla="*/ 2856 w 4440"/>
                <a:gd name="T81" fmla="*/ 108 h 4368"/>
                <a:gd name="T82" fmla="*/ 2424 w 4440"/>
                <a:gd name="T83" fmla="*/ 168 h 4368"/>
                <a:gd name="T84" fmla="*/ 2196 w 4440"/>
                <a:gd name="T85" fmla="*/ 240 h 4368"/>
                <a:gd name="T86" fmla="*/ 1740 w 4440"/>
                <a:gd name="T87" fmla="*/ 228 h 4368"/>
                <a:gd name="T88" fmla="*/ 1332 w 4440"/>
                <a:gd name="T89" fmla="*/ 120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40" h="4368">
                  <a:moveTo>
                    <a:pt x="1092" y="0"/>
                  </a:moveTo>
                  <a:lnTo>
                    <a:pt x="840" y="552"/>
                  </a:lnTo>
                  <a:lnTo>
                    <a:pt x="852" y="732"/>
                  </a:lnTo>
                  <a:lnTo>
                    <a:pt x="840" y="876"/>
                  </a:lnTo>
                  <a:lnTo>
                    <a:pt x="648" y="900"/>
                  </a:lnTo>
                  <a:lnTo>
                    <a:pt x="396" y="924"/>
                  </a:lnTo>
                  <a:lnTo>
                    <a:pt x="0" y="1575"/>
                  </a:lnTo>
                  <a:lnTo>
                    <a:pt x="96" y="1656"/>
                  </a:lnTo>
                  <a:lnTo>
                    <a:pt x="216" y="1692"/>
                  </a:lnTo>
                  <a:lnTo>
                    <a:pt x="324" y="1620"/>
                  </a:lnTo>
                  <a:lnTo>
                    <a:pt x="420" y="1560"/>
                  </a:lnTo>
                  <a:lnTo>
                    <a:pt x="468" y="1476"/>
                  </a:lnTo>
                  <a:lnTo>
                    <a:pt x="552" y="1476"/>
                  </a:lnTo>
                  <a:lnTo>
                    <a:pt x="648" y="1500"/>
                  </a:lnTo>
                  <a:lnTo>
                    <a:pt x="708" y="1608"/>
                  </a:lnTo>
                  <a:lnTo>
                    <a:pt x="792" y="1704"/>
                  </a:lnTo>
                  <a:lnTo>
                    <a:pt x="816" y="1764"/>
                  </a:lnTo>
                  <a:lnTo>
                    <a:pt x="996" y="1668"/>
                  </a:lnTo>
                  <a:lnTo>
                    <a:pt x="996" y="1800"/>
                  </a:lnTo>
                  <a:lnTo>
                    <a:pt x="1032" y="1908"/>
                  </a:lnTo>
                  <a:lnTo>
                    <a:pt x="1116" y="2004"/>
                  </a:lnTo>
                  <a:lnTo>
                    <a:pt x="1188" y="2100"/>
                  </a:lnTo>
                  <a:lnTo>
                    <a:pt x="1092" y="2220"/>
                  </a:lnTo>
                  <a:lnTo>
                    <a:pt x="1164" y="2328"/>
                  </a:lnTo>
                  <a:lnTo>
                    <a:pt x="1080" y="2364"/>
                  </a:lnTo>
                  <a:lnTo>
                    <a:pt x="1020" y="2448"/>
                  </a:lnTo>
                  <a:lnTo>
                    <a:pt x="912" y="2568"/>
                  </a:lnTo>
                  <a:lnTo>
                    <a:pt x="1020" y="2640"/>
                  </a:lnTo>
                  <a:lnTo>
                    <a:pt x="960" y="2772"/>
                  </a:lnTo>
                  <a:lnTo>
                    <a:pt x="1008" y="2820"/>
                  </a:lnTo>
                  <a:lnTo>
                    <a:pt x="1104" y="2880"/>
                  </a:lnTo>
                  <a:lnTo>
                    <a:pt x="1164" y="2976"/>
                  </a:lnTo>
                  <a:lnTo>
                    <a:pt x="1344" y="2976"/>
                  </a:lnTo>
                  <a:lnTo>
                    <a:pt x="1572" y="3000"/>
                  </a:lnTo>
                  <a:lnTo>
                    <a:pt x="1671" y="3041"/>
                  </a:lnTo>
                  <a:lnTo>
                    <a:pt x="1730" y="3111"/>
                  </a:lnTo>
                  <a:lnTo>
                    <a:pt x="1748" y="3203"/>
                  </a:lnTo>
                  <a:lnTo>
                    <a:pt x="1856" y="3257"/>
                  </a:lnTo>
                  <a:lnTo>
                    <a:pt x="2022" y="3275"/>
                  </a:lnTo>
                  <a:lnTo>
                    <a:pt x="2123" y="3366"/>
                  </a:lnTo>
                  <a:lnTo>
                    <a:pt x="2243" y="3422"/>
                  </a:lnTo>
                  <a:lnTo>
                    <a:pt x="2376" y="3384"/>
                  </a:lnTo>
                  <a:lnTo>
                    <a:pt x="2514" y="3311"/>
                  </a:lnTo>
                  <a:lnTo>
                    <a:pt x="2693" y="3204"/>
                  </a:lnTo>
                  <a:lnTo>
                    <a:pt x="2837" y="3147"/>
                  </a:lnTo>
                  <a:lnTo>
                    <a:pt x="2889" y="3032"/>
                  </a:lnTo>
                  <a:lnTo>
                    <a:pt x="2916" y="2930"/>
                  </a:lnTo>
                  <a:lnTo>
                    <a:pt x="3131" y="2952"/>
                  </a:lnTo>
                  <a:lnTo>
                    <a:pt x="3240" y="3000"/>
                  </a:lnTo>
                  <a:lnTo>
                    <a:pt x="3216" y="3132"/>
                  </a:lnTo>
                  <a:lnTo>
                    <a:pt x="3155" y="3206"/>
                  </a:lnTo>
                  <a:lnTo>
                    <a:pt x="3059" y="3230"/>
                  </a:lnTo>
                  <a:lnTo>
                    <a:pt x="3165" y="3344"/>
                  </a:lnTo>
                  <a:lnTo>
                    <a:pt x="3230" y="3492"/>
                  </a:lnTo>
                  <a:lnTo>
                    <a:pt x="3314" y="3528"/>
                  </a:lnTo>
                  <a:lnTo>
                    <a:pt x="3407" y="3552"/>
                  </a:lnTo>
                  <a:lnTo>
                    <a:pt x="3408" y="3659"/>
                  </a:lnTo>
                  <a:lnTo>
                    <a:pt x="3494" y="3636"/>
                  </a:lnTo>
                  <a:lnTo>
                    <a:pt x="3585" y="3528"/>
                  </a:lnTo>
                  <a:lnTo>
                    <a:pt x="3683" y="3503"/>
                  </a:lnTo>
                  <a:lnTo>
                    <a:pt x="3684" y="3636"/>
                  </a:lnTo>
                  <a:lnTo>
                    <a:pt x="3624" y="3780"/>
                  </a:lnTo>
                  <a:lnTo>
                    <a:pt x="3708" y="3770"/>
                  </a:lnTo>
                  <a:lnTo>
                    <a:pt x="3777" y="3839"/>
                  </a:lnTo>
                  <a:lnTo>
                    <a:pt x="3690" y="3890"/>
                  </a:lnTo>
                  <a:lnTo>
                    <a:pt x="3588" y="3923"/>
                  </a:lnTo>
                  <a:lnTo>
                    <a:pt x="3587" y="3998"/>
                  </a:lnTo>
                  <a:lnTo>
                    <a:pt x="3684" y="4046"/>
                  </a:lnTo>
                  <a:lnTo>
                    <a:pt x="3638" y="4122"/>
                  </a:lnTo>
                  <a:lnTo>
                    <a:pt x="3588" y="4259"/>
                  </a:lnTo>
                  <a:lnTo>
                    <a:pt x="3648" y="4368"/>
                  </a:lnTo>
                  <a:lnTo>
                    <a:pt x="3755" y="4322"/>
                  </a:lnTo>
                  <a:lnTo>
                    <a:pt x="3830" y="4367"/>
                  </a:lnTo>
                  <a:lnTo>
                    <a:pt x="3938" y="4308"/>
                  </a:lnTo>
                  <a:lnTo>
                    <a:pt x="4032" y="4284"/>
                  </a:lnTo>
                  <a:lnTo>
                    <a:pt x="4056" y="4080"/>
                  </a:lnTo>
                  <a:lnTo>
                    <a:pt x="4152" y="3924"/>
                  </a:lnTo>
                  <a:lnTo>
                    <a:pt x="4068" y="3828"/>
                  </a:lnTo>
                  <a:lnTo>
                    <a:pt x="4164" y="3756"/>
                  </a:lnTo>
                  <a:lnTo>
                    <a:pt x="4152" y="3624"/>
                  </a:lnTo>
                  <a:lnTo>
                    <a:pt x="4140" y="3492"/>
                  </a:lnTo>
                  <a:lnTo>
                    <a:pt x="4272" y="3528"/>
                  </a:lnTo>
                  <a:lnTo>
                    <a:pt x="4284" y="3432"/>
                  </a:lnTo>
                  <a:lnTo>
                    <a:pt x="4320" y="3312"/>
                  </a:lnTo>
                  <a:lnTo>
                    <a:pt x="4248" y="3288"/>
                  </a:lnTo>
                  <a:lnTo>
                    <a:pt x="4248" y="3192"/>
                  </a:lnTo>
                  <a:lnTo>
                    <a:pt x="4368" y="3156"/>
                  </a:lnTo>
                  <a:lnTo>
                    <a:pt x="4368" y="2940"/>
                  </a:lnTo>
                  <a:lnTo>
                    <a:pt x="4392" y="2808"/>
                  </a:lnTo>
                  <a:lnTo>
                    <a:pt x="4404" y="2688"/>
                  </a:lnTo>
                  <a:lnTo>
                    <a:pt x="4320" y="2580"/>
                  </a:lnTo>
                  <a:lnTo>
                    <a:pt x="4380" y="2520"/>
                  </a:lnTo>
                  <a:lnTo>
                    <a:pt x="4368" y="2436"/>
                  </a:lnTo>
                  <a:lnTo>
                    <a:pt x="4440" y="2316"/>
                  </a:lnTo>
                  <a:lnTo>
                    <a:pt x="4392" y="2196"/>
                  </a:lnTo>
                  <a:lnTo>
                    <a:pt x="4320" y="2088"/>
                  </a:lnTo>
                  <a:lnTo>
                    <a:pt x="4284" y="1956"/>
                  </a:lnTo>
                  <a:lnTo>
                    <a:pt x="4224" y="1812"/>
                  </a:lnTo>
                  <a:lnTo>
                    <a:pt x="4128" y="1752"/>
                  </a:lnTo>
                  <a:lnTo>
                    <a:pt x="4140" y="1596"/>
                  </a:lnTo>
                  <a:lnTo>
                    <a:pt x="4080" y="1500"/>
                  </a:lnTo>
                  <a:lnTo>
                    <a:pt x="4068" y="1344"/>
                  </a:lnTo>
                  <a:lnTo>
                    <a:pt x="4044" y="1224"/>
                  </a:lnTo>
                  <a:lnTo>
                    <a:pt x="3864" y="1260"/>
                  </a:lnTo>
                  <a:lnTo>
                    <a:pt x="3780" y="1200"/>
                  </a:lnTo>
                  <a:lnTo>
                    <a:pt x="3624" y="1236"/>
                  </a:lnTo>
                  <a:lnTo>
                    <a:pt x="3564" y="1164"/>
                  </a:lnTo>
                  <a:lnTo>
                    <a:pt x="3576" y="1044"/>
                  </a:lnTo>
                  <a:lnTo>
                    <a:pt x="3516" y="948"/>
                  </a:lnTo>
                  <a:lnTo>
                    <a:pt x="3624" y="888"/>
                  </a:lnTo>
                  <a:lnTo>
                    <a:pt x="3624" y="780"/>
                  </a:lnTo>
                  <a:lnTo>
                    <a:pt x="3588" y="684"/>
                  </a:lnTo>
                  <a:lnTo>
                    <a:pt x="3492" y="576"/>
                  </a:lnTo>
                  <a:lnTo>
                    <a:pt x="3420" y="624"/>
                  </a:lnTo>
                  <a:lnTo>
                    <a:pt x="3360" y="576"/>
                  </a:lnTo>
                  <a:lnTo>
                    <a:pt x="3384" y="492"/>
                  </a:lnTo>
                  <a:lnTo>
                    <a:pt x="3336" y="408"/>
                  </a:lnTo>
                  <a:lnTo>
                    <a:pt x="3228" y="396"/>
                  </a:lnTo>
                  <a:lnTo>
                    <a:pt x="3132" y="408"/>
                  </a:lnTo>
                  <a:lnTo>
                    <a:pt x="3108" y="228"/>
                  </a:lnTo>
                  <a:lnTo>
                    <a:pt x="3036" y="180"/>
                  </a:lnTo>
                  <a:lnTo>
                    <a:pt x="2916" y="216"/>
                  </a:lnTo>
                  <a:lnTo>
                    <a:pt x="2856" y="108"/>
                  </a:lnTo>
                  <a:lnTo>
                    <a:pt x="2724" y="168"/>
                  </a:lnTo>
                  <a:lnTo>
                    <a:pt x="2580" y="204"/>
                  </a:lnTo>
                  <a:lnTo>
                    <a:pt x="2424" y="168"/>
                  </a:lnTo>
                  <a:lnTo>
                    <a:pt x="2292" y="84"/>
                  </a:lnTo>
                  <a:lnTo>
                    <a:pt x="2220" y="120"/>
                  </a:lnTo>
                  <a:lnTo>
                    <a:pt x="2196" y="240"/>
                  </a:lnTo>
                  <a:lnTo>
                    <a:pt x="2040" y="276"/>
                  </a:lnTo>
                  <a:lnTo>
                    <a:pt x="1908" y="300"/>
                  </a:lnTo>
                  <a:lnTo>
                    <a:pt x="1740" y="228"/>
                  </a:lnTo>
                  <a:lnTo>
                    <a:pt x="1608" y="276"/>
                  </a:lnTo>
                  <a:lnTo>
                    <a:pt x="1452" y="252"/>
                  </a:lnTo>
                  <a:lnTo>
                    <a:pt x="1332" y="120"/>
                  </a:lnTo>
                  <a:lnTo>
                    <a:pt x="1200" y="120"/>
                  </a:lnTo>
                  <a:lnTo>
                    <a:pt x="1092" y="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1" name="Freeform 12">
              <a:extLst>
                <a:ext uri="{FF2B5EF4-FFF2-40B4-BE49-F238E27FC236}">
                  <a16:creationId xmlns:a16="http://schemas.microsoft.com/office/drawing/2014/main" id="{06AA184C-4A02-4814-88D3-572C5B815E62}"/>
                </a:ext>
              </a:extLst>
            </p:cNvPr>
            <p:cNvSpPr>
              <a:spLocks/>
            </p:cNvSpPr>
            <p:nvPr/>
          </p:nvSpPr>
          <p:spPr bwMode="auto">
            <a:xfrm>
              <a:off x="3612821" y="1520949"/>
              <a:ext cx="881631" cy="642210"/>
            </a:xfrm>
            <a:custGeom>
              <a:avLst/>
              <a:gdLst>
                <a:gd name="T0" fmla="*/ 60 w 3132"/>
                <a:gd name="T1" fmla="*/ 888 h 2280"/>
                <a:gd name="T2" fmla="*/ 131 w 3132"/>
                <a:gd name="T3" fmla="*/ 441 h 2280"/>
                <a:gd name="T4" fmla="*/ 492 w 3132"/>
                <a:gd name="T5" fmla="*/ 552 h 2280"/>
                <a:gd name="T6" fmla="*/ 648 w 3132"/>
                <a:gd name="T7" fmla="*/ 384 h 2280"/>
                <a:gd name="T8" fmla="*/ 912 w 3132"/>
                <a:gd name="T9" fmla="*/ 336 h 2280"/>
                <a:gd name="T10" fmla="*/ 1308 w 3132"/>
                <a:gd name="T11" fmla="*/ 0 h 2280"/>
                <a:gd name="T12" fmla="*/ 1596 w 3132"/>
                <a:gd name="T13" fmla="*/ 132 h 2280"/>
                <a:gd name="T14" fmla="*/ 1788 w 3132"/>
                <a:gd name="T15" fmla="*/ 372 h 2280"/>
                <a:gd name="T16" fmla="*/ 2232 w 3132"/>
                <a:gd name="T17" fmla="*/ 276 h 2280"/>
                <a:gd name="T18" fmla="*/ 2400 w 3132"/>
                <a:gd name="T19" fmla="*/ 156 h 2280"/>
                <a:gd name="T20" fmla="*/ 2484 w 3132"/>
                <a:gd name="T21" fmla="*/ 372 h 2280"/>
                <a:gd name="T22" fmla="*/ 2712 w 3132"/>
                <a:gd name="T23" fmla="*/ 312 h 2280"/>
                <a:gd name="T24" fmla="*/ 3132 w 3132"/>
                <a:gd name="T25" fmla="*/ 384 h 2280"/>
                <a:gd name="T26" fmla="*/ 2904 w 3132"/>
                <a:gd name="T27" fmla="*/ 492 h 2280"/>
                <a:gd name="T28" fmla="*/ 2976 w 3132"/>
                <a:gd name="T29" fmla="*/ 732 h 2280"/>
                <a:gd name="T30" fmla="*/ 2976 w 3132"/>
                <a:gd name="T31" fmla="*/ 996 h 2280"/>
                <a:gd name="T32" fmla="*/ 2928 w 3132"/>
                <a:gd name="T33" fmla="*/ 1212 h 2280"/>
                <a:gd name="T34" fmla="*/ 2988 w 3132"/>
                <a:gd name="T35" fmla="*/ 1524 h 2280"/>
                <a:gd name="T36" fmla="*/ 3000 w 3132"/>
                <a:gd name="T37" fmla="*/ 1764 h 2280"/>
                <a:gd name="T38" fmla="*/ 3048 w 3132"/>
                <a:gd name="T39" fmla="*/ 1980 h 2280"/>
                <a:gd name="T40" fmla="*/ 2952 w 3132"/>
                <a:gd name="T41" fmla="*/ 2244 h 2280"/>
                <a:gd name="T42" fmla="*/ 2688 w 3132"/>
                <a:gd name="T43" fmla="*/ 2220 h 2280"/>
                <a:gd name="T44" fmla="*/ 2472 w 3132"/>
                <a:gd name="T45" fmla="*/ 2184 h 2280"/>
                <a:gd name="T46" fmla="*/ 2424 w 3132"/>
                <a:gd name="T47" fmla="*/ 1968 h 2280"/>
                <a:gd name="T48" fmla="*/ 2532 w 3132"/>
                <a:gd name="T49" fmla="*/ 1800 h 2280"/>
                <a:gd name="T50" fmla="*/ 2400 w 3132"/>
                <a:gd name="T51" fmla="*/ 1596 h 2280"/>
                <a:gd name="T52" fmla="*/ 2268 w 3132"/>
                <a:gd name="T53" fmla="*/ 1596 h 2280"/>
                <a:gd name="T54" fmla="*/ 2244 w 3132"/>
                <a:gd name="T55" fmla="*/ 1428 h 2280"/>
                <a:gd name="T56" fmla="*/ 2040 w 3132"/>
                <a:gd name="T57" fmla="*/ 1428 h 2280"/>
                <a:gd name="T58" fmla="*/ 1944 w 3132"/>
                <a:gd name="T59" fmla="*/ 1200 h 2280"/>
                <a:gd name="T60" fmla="*/ 1764 w 3132"/>
                <a:gd name="T61" fmla="*/ 1128 h 2280"/>
                <a:gd name="T62" fmla="*/ 1488 w 3132"/>
                <a:gd name="T63" fmla="*/ 1224 h 2280"/>
                <a:gd name="T64" fmla="*/ 1200 w 3132"/>
                <a:gd name="T65" fmla="*/ 1104 h 2280"/>
                <a:gd name="T66" fmla="*/ 1104 w 3132"/>
                <a:gd name="T67" fmla="*/ 1260 h 2280"/>
                <a:gd name="T68" fmla="*/ 816 w 3132"/>
                <a:gd name="T69" fmla="*/ 1320 h 2280"/>
                <a:gd name="T70" fmla="*/ 516 w 3132"/>
                <a:gd name="T71" fmla="*/ 1296 h 2280"/>
                <a:gd name="T72" fmla="*/ 240 w 3132"/>
                <a:gd name="T73" fmla="*/ 1140 h 2280"/>
                <a:gd name="T74" fmla="*/ 0 w 3132"/>
                <a:gd name="T75" fmla="*/ 1020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32" h="2280">
                  <a:moveTo>
                    <a:pt x="0" y="1020"/>
                  </a:moveTo>
                  <a:lnTo>
                    <a:pt x="60" y="888"/>
                  </a:lnTo>
                  <a:lnTo>
                    <a:pt x="0" y="792"/>
                  </a:lnTo>
                  <a:lnTo>
                    <a:pt x="131" y="441"/>
                  </a:lnTo>
                  <a:lnTo>
                    <a:pt x="336" y="444"/>
                  </a:lnTo>
                  <a:lnTo>
                    <a:pt x="492" y="552"/>
                  </a:lnTo>
                  <a:lnTo>
                    <a:pt x="576" y="456"/>
                  </a:lnTo>
                  <a:lnTo>
                    <a:pt x="648" y="384"/>
                  </a:lnTo>
                  <a:lnTo>
                    <a:pt x="804" y="336"/>
                  </a:lnTo>
                  <a:lnTo>
                    <a:pt x="912" y="336"/>
                  </a:lnTo>
                  <a:lnTo>
                    <a:pt x="1116" y="432"/>
                  </a:lnTo>
                  <a:lnTo>
                    <a:pt x="1308" y="0"/>
                  </a:lnTo>
                  <a:lnTo>
                    <a:pt x="1404" y="96"/>
                  </a:lnTo>
                  <a:lnTo>
                    <a:pt x="1596" y="132"/>
                  </a:lnTo>
                  <a:lnTo>
                    <a:pt x="1656" y="240"/>
                  </a:lnTo>
                  <a:lnTo>
                    <a:pt x="1788" y="372"/>
                  </a:lnTo>
                  <a:lnTo>
                    <a:pt x="2016" y="324"/>
                  </a:lnTo>
                  <a:lnTo>
                    <a:pt x="2232" y="276"/>
                  </a:lnTo>
                  <a:lnTo>
                    <a:pt x="2280" y="168"/>
                  </a:lnTo>
                  <a:lnTo>
                    <a:pt x="2400" y="156"/>
                  </a:lnTo>
                  <a:lnTo>
                    <a:pt x="2460" y="264"/>
                  </a:lnTo>
                  <a:lnTo>
                    <a:pt x="2484" y="372"/>
                  </a:lnTo>
                  <a:lnTo>
                    <a:pt x="2592" y="252"/>
                  </a:lnTo>
                  <a:lnTo>
                    <a:pt x="2712" y="312"/>
                  </a:lnTo>
                  <a:lnTo>
                    <a:pt x="2964" y="324"/>
                  </a:lnTo>
                  <a:lnTo>
                    <a:pt x="3132" y="384"/>
                  </a:lnTo>
                  <a:lnTo>
                    <a:pt x="3000" y="444"/>
                  </a:lnTo>
                  <a:lnTo>
                    <a:pt x="2904" y="492"/>
                  </a:lnTo>
                  <a:lnTo>
                    <a:pt x="2916" y="588"/>
                  </a:lnTo>
                  <a:lnTo>
                    <a:pt x="2976" y="732"/>
                  </a:lnTo>
                  <a:lnTo>
                    <a:pt x="2988" y="864"/>
                  </a:lnTo>
                  <a:lnTo>
                    <a:pt x="2976" y="996"/>
                  </a:lnTo>
                  <a:lnTo>
                    <a:pt x="3000" y="1104"/>
                  </a:lnTo>
                  <a:lnTo>
                    <a:pt x="2928" y="1212"/>
                  </a:lnTo>
                  <a:lnTo>
                    <a:pt x="2916" y="1416"/>
                  </a:lnTo>
                  <a:lnTo>
                    <a:pt x="2988" y="1524"/>
                  </a:lnTo>
                  <a:lnTo>
                    <a:pt x="2916" y="1740"/>
                  </a:lnTo>
                  <a:lnTo>
                    <a:pt x="3000" y="1764"/>
                  </a:lnTo>
                  <a:lnTo>
                    <a:pt x="3072" y="1836"/>
                  </a:lnTo>
                  <a:lnTo>
                    <a:pt x="3048" y="1980"/>
                  </a:lnTo>
                  <a:lnTo>
                    <a:pt x="2952" y="2088"/>
                  </a:lnTo>
                  <a:lnTo>
                    <a:pt x="2952" y="2244"/>
                  </a:lnTo>
                  <a:lnTo>
                    <a:pt x="2772" y="2280"/>
                  </a:lnTo>
                  <a:lnTo>
                    <a:pt x="2688" y="2220"/>
                  </a:lnTo>
                  <a:lnTo>
                    <a:pt x="2532" y="2256"/>
                  </a:lnTo>
                  <a:lnTo>
                    <a:pt x="2472" y="2184"/>
                  </a:lnTo>
                  <a:lnTo>
                    <a:pt x="2484" y="2064"/>
                  </a:lnTo>
                  <a:lnTo>
                    <a:pt x="2424" y="1968"/>
                  </a:lnTo>
                  <a:lnTo>
                    <a:pt x="2532" y="1908"/>
                  </a:lnTo>
                  <a:lnTo>
                    <a:pt x="2532" y="1800"/>
                  </a:lnTo>
                  <a:lnTo>
                    <a:pt x="2496" y="1704"/>
                  </a:lnTo>
                  <a:lnTo>
                    <a:pt x="2400" y="1596"/>
                  </a:lnTo>
                  <a:lnTo>
                    <a:pt x="2328" y="1644"/>
                  </a:lnTo>
                  <a:lnTo>
                    <a:pt x="2268" y="1596"/>
                  </a:lnTo>
                  <a:lnTo>
                    <a:pt x="2292" y="1512"/>
                  </a:lnTo>
                  <a:lnTo>
                    <a:pt x="2244" y="1428"/>
                  </a:lnTo>
                  <a:lnTo>
                    <a:pt x="2136" y="1416"/>
                  </a:lnTo>
                  <a:lnTo>
                    <a:pt x="2040" y="1428"/>
                  </a:lnTo>
                  <a:lnTo>
                    <a:pt x="2016" y="1248"/>
                  </a:lnTo>
                  <a:lnTo>
                    <a:pt x="1944" y="1200"/>
                  </a:lnTo>
                  <a:lnTo>
                    <a:pt x="1824" y="1236"/>
                  </a:lnTo>
                  <a:lnTo>
                    <a:pt x="1764" y="1128"/>
                  </a:lnTo>
                  <a:lnTo>
                    <a:pt x="1632" y="1188"/>
                  </a:lnTo>
                  <a:lnTo>
                    <a:pt x="1488" y="1224"/>
                  </a:lnTo>
                  <a:lnTo>
                    <a:pt x="1332" y="1188"/>
                  </a:lnTo>
                  <a:lnTo>
                    <a:pt x="1200" y="1104"/>
                  </a:lnTo>
                  <a:lnTo>
                    <a:pt x="1128" y="1140"/>
                  </a:lnTo>
                  <a:lnTo>
                    <a:pt x="1104" y="1260"/>
                  </a:lnTo>
                  <a:lnTo>
                    <a:pt x="948" y="1296"/>
                  </a:lnTo>
                  <a:lnTo>
                    <a:pt x="816" y="1320"/>
                  </a:lnTo>
                  <a:lnTo>
                    <a:pt x="648" y="1248"/>
                  </a:lnTo>
                  <a:lnTo>
                    <a:pt x="516" y="1296"/>
                  </a:lnTo>
                  <a:lnTo>
                    <a:pt x="360" y="1272"/>
                  </a:lnTo>
                  <a:lnTo>
                    <a:pt x="240" y="1140"/>
                  </a:lnTo>
                  <a:lnTo>
                    <a:pt x="108" y="1140"/>
                  </a:lnTo>
                  <a:lnTo>
                    <a:pt x="0" y="102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2" name="Freeform 13">
              <a:extLst>
                <a:ext uri="{FF2B5EF4-FFF2-40B4-BE49-F238E27FC236}">
                  <a16:creationId xmlns:a16="http://schemas.microsoft.com/office/drawing/2014/main" id="{A65824BA-D06E-416B-A8F8-018E29DBBF19}"/>
                </a:ext>
              </a:extLst>
            </p:cNvPr>
            <p:cNvSpPr>
              <a:spLocks/>
            </p:cNvSpPr>
            <p:nvPr/>
          </p:nvSpPr>
          <p:spPr bwMode="auto">
            <a:xfrm>
              <a:off x="3021312" y="2223718"/>
              <a:ext cx="754879" cy="730937"/>
            </a:xfrm>
            <a:custGeom>
              <a:avLst/>
              <a:gdLst>
                <a:gd name="T0" fmla="*/ 816 w 2682"/>
                <a:gd name="T1" fmla="*/ 253 h 2595"/>
                <a:gd name="T2" fmla="*/ 840 w 2682"/>
                <a:gd name="T3" fmla="*/ 577 h 2595"/>
                <a:gd name="T4" fmla="*/ 816 w 2682"/>
                <a:gd name="T5" fmla="*/ 793 h 2595"/>
                <a:gd name="T6" fmla="*/ 804 w 2682"/>
                <a:gd name="T7" fmla="*/ 1057 h 2595"/>
                <a:gd name="T8" fmla="*/ 624 w 2682"/>
                <a:gd name="T9" fmla="*/ 1177 h 2595"/>
                <a:gd name="T10" fmla="*/ 480 w 2682"/>
                <a:gd name="T11" fmla="*/ 1021 h 2595"/>
                <a:gd name="T12" fmla="*/ 264 w 2682"/>
                <a:gd name="T13" fmla="*/ 1213 h 2595"/>
                <a:gd name="T14" fmla="*/ 192 w 2682"/>
                <a:gd name="T15" fmla="*/ 1441 h 2595"/>
                <a:gd name="T16" fmla="*/ 240 w 2682"/>
                <a:gd name="T17" fmla="*/ 1657 h 2595"/>
                <a:gd name="T18" fmla="*/ 96 w 2682"/>
                <a:gd name="T19" fmla="*/ 1945 h 2595"/>
                <a:gd name="T20" fmla="*/ 0 w 2682"/>
                <a:gd name="T21" fmla="*/ 2341 h 2595"/>
                <a:gd name="T22" fmla="*/ 195 w 2682"/>
                <a:gd name="T23" fmla="*/ 2559 h 2595"/>
                <a:gd name="T24" fmla="*/ 326 w 2682"/>
                <a:gd name="T25" fmla="*/ 2365 h 2595"/>
                <a:gd name="T26" fmla="*/ 351 w 2682"/>
                <a:gd name="T27" fmla="*/ 2230 h 2595"/>
                <a:gd name="T28" fmla="*/ 393 w 2682"/>
                <a:gd name="T29" fmla="*/ 2139 h 2595"/>
                <a:gd name="T30" fmla="*/ 590 w 2682"/>
                <a:gd name="T31" fmla="*/ 2194 h 2595"/>
                <a:gd name="T32" fmla="*/ 644 w 2682"/>
                <a:gd name="T33" fmla="*/ 2008 h 2595"/>
                <a:gd name="T34" fmla="*/ 690 w 2682"/>
                <a:gd name="T35" fmla="*/ 1830 h 2595"/>
                <a:gd name="T36" fmla="*/ 863 w 2682"/>
                <a:gd name="T37" fmla="*/ 1875 h 2595"/>
                <a:gd name="T38" fmla="*/ 1076 w 2682"/>
                <a:gd name="T39" fmla="*/ 1903 h 2595"/>
                <a:gd name="T40" fmla="*/ 1167 w 2682"/>
                <a:gd name="T41" fmla="*/ 2085 h 2595"/>
                <a:gd name="T42" fmla="*/ 1374 w 2682"/>
                <a:gd name="T43" fmla="*/ 2148 h 2595"/>
                <a:gd name="T44" fmla="*/ 1484 w 2682"/>
                <a:gd name="T45" fmla="*/ 2404 h 2595"/>
                <a:gd name="T46" fmla="*/ 1707 w 2682"/>
                <a:gd name="T47" fmla="*/ 2499 h 2595"/>
                <a:gd name="T48" fmla="*/ 1824 w 2682"/>
                <a:gd name="T49" fmla="*/ 2595 h 2595"/>
                <a:gd name="T50" fmla="*/ 1851 w 2682"/>
                <a:gd name="T51" fmla="*/ 2415 h 2595"/>
                <a:gd name="T52" fmla="*/ 1979 w 2682"/>
                <a:gd name="T53" fmla="*/ 2358 h 2595"/>
                <a:gd name="T54" fmla="*/ 1902 w 2682"/>
                <a:gd name="T55" fmla="*/ 2194 h 2595"/>
                <a:gd name="T56" fmla="*/ 1833 w 2682"/>
                <a:gd name="T57" fmla="*/ 2053 h 2595"/>
                <a:gd name="T58" fmla="*/ 1812 w 2682"/>
                <a:gd name="T59" fmla="*/ 1801 h 2595"/>
                <a:gd name="T60" fmla="*/ 1989 w 2682"/>
                <a:gd name="T61" fmla="*/ 1710 h 2595"/>
                <a:gd name="T62" fmla="*/ 2159 w 2682"/>
                <a:gd name="T63" fmla="*/ 1507 h 2595"/>
                <a:gd name="T64" fmla="*/ 2244 w 2682"/>
                <a:gd name="T65" fmla="*/ 1609 h 2595"/>
                <a:gd name="T66" fmla="*/ 2417 w 2682"/>
                <a:gd name="T67" fmla="*/ 1572 h 2595"/>
                <a:gd name="T68" fmla="*/ 2582 w 2682"/>
                <a:gd name="T69" fmla="*/ 1644 h 2595"/>
                <a:gd name="T70" fmla="*/ 2580 w 2682"/>
                <a:gd name="T71" fmla="*/ 1525 h 2595"/>
                <a:gd name="T72" fmla="*/ 2171 w 2682"/>
                <a:gd name="T73" fmla="*/ 1501 h 2595"/>
                <a:gd name="T74" fmla="*/ 2112 w 2682"/>
                <a:gd name="T75" fmla="*/ 1405 h 2595"/>
                <a:gd name="T76" fmla="*/ 1968 w 2682"/>
                <a:gd name="T77" fmla="*/ 1297 h 2595"/>
                <a:gd name="T78" fmla="*/ 2027 w 2682"/>
                <a:gd name="T79" fmla="*/ 1164 h 2595"/>
                <a:gd name="T80" fmla="*/ 2024 w 2682"/>
                <a:gd name="T81" fmla="*/ 978 h 2595"/>
                <a:gd name="T82" fmla="*/ 2171 w 2682"/>
                <a:gd name="T83" fmla="*/ 853 h 2595"/>
                <a:gd name="T84" fmla="*/ 2196 w 2682"/>
                <a:gd name="T85" fmla="*/ 624 h 2595"/>
                <a:gd name="T86" fmla="*/ 2042 w 2682"/>
                <a:gd name="T87" fmla="*/ 436 h 2595"/>
                <a:gd name="T88" fmla="*/ 2003 w 2682"/>
                <a:gd name="T89" fmla="*/ 195 h 2595"/>
                <a:gd name="T90" fmla="*/ 1800 w 2682"/>
                <a:gd name="T91" fmla="*/ 231 h 2595"/>
                <a:gd name="T92" fmla="*/ 1659 w 2682"/>
                <a:gd name="T93" fmla="*/ 25 h 2595"/>
                <a:gd name="T94" fmla="*/ 1478 w 2682"/>
                <a:gd name="T95" fmla="*/ 0 h 2595"/>
                <a:gd name="T96" fmla="*/ 1224 w 2682"/>
                <a:gd name="T97" fmla="*/ 217 h 2595"/>
                <a:gd name="T98" fmla="*/ 1008 w 2682"/>
                <a:gd name="T99" fmla="*/ 97 h 2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82" h="2595">
                  <a:moveTo>
                    <a:pt x="1008" y="97"/>
                  </a:moveTo>
                  <a:lnTo>
                    <a:pt x="816" y="253"/>
                  </a:lnTo>
                  <a:lnTo>
                    <a:pt x="876" y="445"/>
                  </a:lnTo>
                  <a:lnTo>
                    <a:pt x="840" y="577"/>
                  </a:lnTo>
                  <a:lnTo>
                    <a:pt x="756" y="721"/>
                  </a:lnTo>
                  <a:lnTo>
                    <a:pt x="816" y="793"/>
                  </a:lnTo>
                  <a:lnTo>
                    <a:pt x="768" y="889"/>
                  </a:lnTo>
                  <a:lnTo>
                    <a:pt x="804" y="1057"/>
                  </a:lnTo>
                  <a:lnTo>
                    <a:pt x="708" y="1093"/>
                  </a:lnTo>
                  <a:lnTo>
                    <a:pt x="624" y="1177"/>
                  </a:lnTo>
                  <a:lnTo>
                    <a:pt x="552" y="1093"/>
                  </a:lnTo>
                  <a:lnTo>
                    <a:pt x="480" y="1021"/>
                  </a:lnTo>
                  <a:lnTo>
                    <a:pt x="336" y="1093"/>
                  </a:lnTo>
                  <a:lnTo>
                    <a:pt x="264" y="1213"/>
                  </a:lnTo>
                  <a:lnTo>
                    <a:pt x="180" y="1321"/>
                  </a:lnTo>
                  <a:lnTo>
                    <a:pt x="192" y="1441"/>
                  </a:lnTo>
                  <a:lnTo>
                    <a:pt x="192" y="1561"/>
                  </a:lnTo>
                  <a:lnTo>
                    <a:pt x="240" y="1657"/>
                  </a:lnTo>
                  <a:lnTo>
                    <a:pt x="144" y="1777"/>
                  </a:lnTo>
                  <a:lnTo>
                    <a:pt x="96" y="1945"/>
                  </a:lnTo>
                  <a:lnTo>
                    <a:pt x="12" y="2125"/>
                  </a:lnTo>
                  <a:lnTo>
                    <a:pt x="0" y="2341"/>
                  </a:lnTo>
                  <a:lnTo>
                    <a:pt x="39" y="2536"/>
                  </a:lnTo>
                  <a:lnTo>
                    <a:pt x="195" y="2559"/>
                  </a:lnTo>
                  <a:lnTo>
                    <a:pt x="276" y="2461"/>
                  </a:lnTo>
                  <a:lnTo>
                    <a:pt x="326" y="2365"/>
                  </a:lnTo>
                  <a:lnTo>
                    <a:pt x="254" y="2304"/>
                  </a:lnTo>
                  <a:lnTo>
                    <a:pt x="351" y="2230"/>
                  </a:lnTo>
                  <a:lnTo>
                    <a:pt x="288" y="2110"/>
                  </a:lnTo>
                  <a:lnTo>
                    <a:pt x="393" y="2139"/>
                  </a:lnTo>
                  <a:lnTo>
                    <a:pt x="492" y="2185"/>
                  </a:lnTo>
                  <a:lnTo>
                    <a:pt x="590" y="2194"/>
                  </a:lnTo>
                  <a:lnTo>
                    <a:pt x="635" y="2113"/>
                  </a:lnTo>
                  <a:lnTo>
                    <a:pt x="644" y="2008"/>
                  </a:lnTo>
                  <a:lnTo>
                    <a:pt x="698" y="1948"/>
                  </a:lnTo>
                  <a:lnTo>
                    <a:pt x="690" y="1830"/>
                  </a:lnTo>
                  <a:lnTo>
                    <a:pt x="827" y="1783"/>
                  </a:lnTo>
                  <a:lnTo>
                    <a:pt x="863" y="1875"/>
                  </a:lnTo>
                  <a:lnTo>
                    <a:pt x="984" y="1873"/>
                  </a:lnTo>
                  <a:lnTo>
                    <a:pt x="1076" y="1903"/>
                  </a:lnTo>
                  <a:lnTo>
                    <a:pt x="1128" y="1974"/>
                  </a:lnTo>
                  <a:lnTo>
                    <a:pt x="1167" y="2085"/>
                  </a:lnTo>
                  <a:lnTo>
                    <a:pt x="1271" y="2113"/>
                  </a:lnTo>
                  <a:lnTo>
                    <a:pt x="1374" y="2148"/>
                  </a:lnTo>
                  <a:lnTo>
                    <a:pt x="1478" y="2299"/>
                  </a:lnTo>
                  <a:lnTo>
                    <a:pt x="1484" y="2404"/>
                  </a:lnTo>
                  <a:lnTo>
                    <a:pt x="1634" y="2433"/>
                  </a:lnTo>
                  <a:lnTo>
                    <a:pt x="1707" y="2499"/>
                  </a:lnTo>
                  <a:lnTo>
                    <a:pt x="1758" y="2595"/>
                  </a:lnTo>
                  <a:lnTo>
                    <a:pt x="1824" y="2595"/>
                  </a:lnTo>
                  <a:lnTo>
                    <a:pt x="1887" y="2544"/>
                  </a:lnTo>
                  <a:lnTo>
                    <a:pt x="1851" y="2415"/>
                  </a:lnTo>
                  <a:lnTo>
                    <a:pt x="1929" y="2394"/>
                  </a:lnTo>
                  <a:lnTo>
                    <a:pt x="1979" y="2358"/>
                  </a:lnTo>
                  <a:lnTo>
                    <a:pt x="1977" y="2212"/>
                  </a:lnTo>
                  <a:lnTo>
                    <a:pt x="1902" y="2194"/>
                  </a:lnTo>
                  <a:lnTo>
                    <a:pt x="1832" y="2148"/>
                  </a:lnTo>
                  <a:lnTo>
                    <a:pt x="1833" y="2053"/>
                  </a:lnTo>
                  <a:lnTo>
                    <a:pt x="1797" y="1950"/>
                  </a:lnTo>
                  <a:lnTo>
                    <a:pt x="1812" y="1801"/>
                  </a:lnTo>
                  <a:lnTo>
                    <a:pt x="1896" y="1773"/>
                  </a:lnTo>
                  <a:lnTo>
                    <a:pt x="1989" y="1710"/>
                  </a:lnTo>
                  <a:lnTo>
                    <a:pt x="2043" y="1590"/>
                  </a:lnTo>
                  <a:lnTo>
                    <a:pt x="2159" y="1507"/>
                  </a:lnTo>
                  <a:lnTo>
                    <a:pt x="2181" y="1579"/>
                  </a:lnTo>
                  <a:lnTo>
                    <a:pt x="2244" y="1609"/>
                  </a:lnTo>
                  <a:lnTo>
                    <a:pt x="2316" y="1527"/>
                  </a:lnTo>
                  <a:lnTo>
                    <a:pt x="2417" y="1572"/>
                  </a:lnTo>
                  <a:lnTo>
                    <a:pt x="2475" y="1621"/>
                  </a:lnTo>
                  <a:lnTo>
                    <a:pt x="2582" y="1644"/>
                  </a:lnTo>
                  <a:lnTo>
                    <a:pt x="2682" y="1566"/>
                  </a:lnTo>
                  <a:lnTo>
                    <a:pt x="2580" y="1525"/>
                  </a:lnTo>
                  <a:lnTo>
                    <a:pt x="2351" y="1501"/>
                  </a:lnTo>
                  <a:lnTo>
                    <a:pt x="2171" y="1501"/>
                  </a:lnTo>
                  <a:lnTo>
                    <a:pt x="2141" y="1449"/>
                  </a:lnTo>
                  <a:lnTo>
                    <a:pt x="2112" y="1405"/>
                  </a:lnTo>
                  <a:lnTo>
                    <a:pt x="2018" y="1347"/>
                  </a:lnTo>
                  <a:lnTo>
                    <a:pt x="1968" y="1297"/>
                  </a:lnTo>
                  <a:lnTo>
                    <a:pt x="2004" y="1215"/>
                  </a:lnTo>
                  <a:lnTo>
                    <a:pt x="2027" y="1164"/>
                  </a:lnTo>
                  <a:lnTo>
                    <a:pt x="1919" y="1093"/>
                  </a:lnTo>
                  <a:lnTo>
                    <a:pt x="2024" y="978"/>
                  </a:lnTo>
                  <a:lnTo>
                    <a:pt x="2087" y="889"/>
                  </a:lnTo>
                  <a:lnTo>
                    <a:pt x="2171" y="853"/>
                  </a:lnTo>
                  <a:lnTo>
                    <a:pt x="2099" y="747"/>
                  </a:lnTo>
                  <a:lnTo>
                    <a:pt x="2196" y="624"/>
                  </a:lnTo>
                  <a:lnTo>
                    <a:pt x="2129" y="534"/>
                  </a:lnTo>
                  <a:lnTo>
                    <a:pt x="2042" y="436"/>
                  </a:lnTo>
                  <a:lnTo>
                    <a:pt x="2003" y="319"/>
                  </a:lnTo>
                  <a:lnTo>
                    <a:pt x="2003" y="195"/>
                  </a:lnTo>
                  <a:lnTo>
                    <a:pt x="1823" y="289"/>
                  </a:lnTo>
                  <a:lnTo>
                    <a:pt x="1800" y="231"/>
                  </a:lnTo>
                  <a:lnTo>
                    <a:pt x="1716" y="133"/>
                  </a:lnTo>
                  <a:lnTo>
                    <a:pt x="1659" y="25"/>
                  </a:lnTo>
                  <a:lnTo>
                    <a:pt x="1559" y="3"/>
                  </a:lnTo>
                  <a:lnTo>
                    <a:pt x="1478" y="0"/>
                  </a:lnTo>
                  <a:lnTo>
                    <a:pt x="1427" y="85"/>
                  </a:lnTo>
                  <a:lnTo>
                    <a:pt x="1224" y="217"/>
                  </a:lnTo>
                  <a:lnTo>
                    <a:pt x="1103" y="181"/>
                  </a:lnTo>
                  <a:lnTo>
                    <a:pt x="1008" y="97"/>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3" name="Freeform 14">
              <a:extLst>
                <a:ext uri="{FF2B5EF4-FFF2-40B4-BE49-F238E27FC236}">
                  <a16:creationId xmlns:a16="http://schemas.microsoft.com/office/drawing/2014/main" id="{A65C9C54-A632-432B-9C5C-9479243DAE23}"/>
                </a:ext>
              </a:extLst>
            </p:cNvPr>
            <p:cNvSpPr>
              <a:spLocks/>
            </p:cNvSpPr>
            <p:nvPr/>
          </p:nvSpPr>
          <p:spPr bwMode="auto">
            <a:xfrm>
              <a:off x="2743865" y="3075773"/>
              <a:ext cx="595735" cy="419690"/>
            </a:xfrm>
            <a:custGeom>
              <a:avLst/>
              <a:gdLst>
                <a:gd name="T0" fmla="*/ 2019 w 2112"/>
                <a:gd name="T1" fmla="*/ 1040 h 1488"/>
                <a:gd name="T2" fmla="*/ 1956 w 2112"/>
                <a:gd name="T3" fmla="*/ 1043 h 1488"/>
                <a:gd name="T4" fmla="*/ 1893 w 2112"/>
                <a:gd name="T5" fmla="*/ 981 h 1488"/>
                <a:gd name="T6" fmla="*/ 1775 w 2112"/>
                <a:gd name="T7" fmla="*/ 888 h 1488"/>
                <a:gd name="T8" fmla="*/ 1755 w 2112"/>
                <a:gd name="T9" fmla="*/ 813 h 1488"/>
                <a:gd name="T10" fmla="*/ 1694 w 2112"/>
                <a:gd name="T11" fmla="*/ 785 h 1488"/>
                <a:gd name="T12" fmla="*/ 1686 w 2112"/>
                <a:gd name="T13" fmla="*/ 720 h 1488"/>
                <a:gd name="T14" fmla="*/ 1718 w 2112"/>
                <a:gd name="T15" fmla="*/ 635 h 1488"/>
                <a:gd name="T16" fmla="*/ 1751 w 2112"/>
                <a:gd name="T17" fmla="*/ 561 h 1488"/>
                <a:gd name="T18" fmla="*/ 1742 w 2112"/>
                <a:gd name="T19" fmla="*/ 480 h 1488"/>
                <a:gd name="T20" fmla="*/ 1859 w 2112"/>
                <a:gd name="T21" fmla="*/ 432 h 1488"/>
                <a:gd name="T22" fmla="*/ 1787 w 2112"/>
                <a:gd name="T23" fmla="*/ 372 h 1488"/>
                <a:gd name="T24" fmla="*/ 1667 w 2112"/>
                <a:gd name="T25" fmla="*/ 408 h 1488"/>
                <a:gd name="T26" fmla="*/ 1587 w 2112"/>
                <a:gd name="T27" fmla="*/ 338 h 1488"/>
                <a:gd name="T28" fmla="*/ 1445 w 2112"/>
                <a:gd name="T29" fmla="*/ 279 h 1488"/>
                <a:gd name="T30" fmla="*/ 1359 w 2112"/>
                <a:gd name="T31" fmla="*/ 170 h 1488"/>
                <a:gd name="T32" fmla="*/ 1139 w 2112"/>
                <a:gd name="T33" fmla="*/ 0 h 1488"/>
                <a:gd name="T34" fmla="*/ 1032 w 2112"/>
                <a:gd name="T35" fmla="*/ 62 h 1488"/>
                <a:gd name="T36" fmla="*/ 936 w 2112"/>
                <a:gd name="T37" fmla="*/ 108 h 1488"/>
                <a:gd name="T38" fmla="*/ 816 w 2112"/>
                <a:gd name="T39" fmla="*/ 204 h 1488"/>
                <a:gd name="T40" fmla="*/ 660 w 2112"/>
                <a:gd name="T41" fmla="*/ 228 h 1488"/>
                <a:gd name="T42" fmla="*/ 588 w 2112"/>
                <a:gd name="T43" fmla="*/ 204 h 1488"/>
                <a:gd name="T44" fmla="*/ 480 w 2112"/>
                <a:gd name="T45" fmla="*/ 180 h 1488"/>
                <a:gd name="T46" fmla="*/ 348 w 2112"/>
                <a:gd name="T47" fmla="*/ 192 h 1488"/>
                <a:gd name="T48" fmla="*/ 216 w 2112"/>
                <a:gd name="T49" fmla="*/ 192 h 1488"/>
                <a:gd name="T50" fmla="*/ 192 w 2112"/>
                <a:gd name="T51" fmla="*/ 300 h 1488"/>
                <a:gd name="T52" fmla="*/ 156 w 2112"/>
                <a:gd name="T53" fmla="*/ 408 h 1488"/>
                <a:gd name="T54" fmla="*/ 192 w 2112"/>
                <a:gd name="T55" fmla="*/ 468 h 1488"/>
                <a:gd name="T56" fmla="*/ 96 w 2112"/>
                <a:gd name="T57" fmla="*/ 540 h 1488"/>
                <a:gd name="T58" fmla="*/ 0 w 2112"/>
                <a:gd name="T59" fmla="*/ 660 h 1488"/>
                <a:gd name="T60" fmla="*/ 48 w 2112"/>
                <a:gd name="T61" fmla="*/ 780 h 1488"/>
                <a:gd name="T62" fmla="*/ 168 w 2112"/>
                <a:gd name="T63" fmla="*/ 756 h 1488"/>
                <a:gd name="T64" fmla="*/ 288 w 2112"/>
                <a:gd name="T65" fmla="*/ 852 h 1488"/>
                <a:gd name="T66" fmla="*/ 384 w 2112"/>
                <a:gd name="T67" fmla="*/ 816 h 1488"/>
                <a:gd name="T68" fmla="*/ 492 w 2112"/>
                <a:gd name="T69" fmla="*/ 828 h 1488"/>
                <a:gd name="T70" fmla="*/ 612 w 2112"/>
                <a:gd name="T71" fmla="*/ 840 h 1488"/>
                <a:gd name="T72" fmla="*/ 696 w 2112"/>
                <a:gd name="T73" fmla="*/ 936 h 1488"/>
                <a:gd name="T74" fmla="*/ 780 w 2112"/>
                <a:gd name="T75" fmla="*/ 1032 h 1488"/>
                <a:gd name="T76" fmla="*/ 876 w 2112"/>
                <a:gd name="T77" fmla="*/ 1128 h 1488"/>
                <a:gd name="T78" fmla="*/ 912 w 2112"/>
                <a:gd name="T79" fmla="*/ 1200 h 1488"/>
                <a:gd name="T80" fmla="*/ 948 w 2112"/>
                <a:gd name="T81" fmla="*/ 1284 h 1488"/>
                <a:gd name="T82" fmla="*/ 1080 w 2112"/>
                <a:gd name="T83" fmla="*/ 1392 h 1488"/>
                <a:gd name="T84" fmla="*/ 1200 w 2112"/>
                <a:gd name="T85" fmla="*/ 1416 h 1488"/>
                <a:gd name="T86" fmla="*/ 1332 w 2112"/>
                <a:gd name="T87" fmla="*/ 1392 h 1488"/>
                <a:gd name="T88" fmla="*/ 1452 w 2112"/>
                <a:gd name="T89" fmla="*/ 1488 h 1488"/>
                <a:gd name="T90" fmla="*/ 1536 w 2112"/>
                <a:gd name="T91" fmla="*/ 1452 h 1488"/>
                <a:gd name="T92" fmla="*/ 1584 w 2112"/>
                <a:gd name="T93" fmla="*/ 1368 h 1488"/>
                <a:gd name="T94" fmla="*/ 1704 w 2112"/>
                <a:gd name="T95" fmla="*/ 1356 h 1488"/>
                <a:gd name="T96" fmla="*/ 1788 w 2112"/>
                <a:gd name="T97" fmla="*/ 1296 h 1488"/>
                <a:gd name="T98" fmla="*/ 1884 w 2112"/>
                <a:gd name="T99" fmla="*/ 1344 h 1488"/>
                <a:gd name="T100" fmla="*/ 1992 w 2112"/>
                <a:gd name="T101" fmla="*/ 1356 h 1488"/>
                <a:gd name="T102" fmla="*/ 2112 w 2112"/>
                <a:gd name="T103" fmla="*/ 1344 h 1488"/>
                <a:gd name="T104" fmla="*/ 2088 w 2112"/>
                <a:gd name="T105" fmla="*/ 1212 h 1488"/>
                <a:gd name="T106" fmla="*/ 2088 w 2112"/>
                <a:gd name="T107" fmla="*/ 1104 h 1488"/>
                <a:gd name="T108" fmla="*/ 2019 w 2112"/>
                <a:gd name="T109" fmla="*/ 1040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2" h="1488">
                  <a:moveTo>
                    <a:pt x="2019" y="1040"/>
                  </a:moveTo>
                  <a:lnTo>
                    <a:pt x="1956" y="1043"/>
                  </a:lnTo>
                  <a:lnTo>
                    <a:pt x="1893" y="981"/>
                  </a:lnTo>
                  <a:lnTo>
                    <a:pt x="1775" y="888"/>
                  </a:lnTo>
                  <a:lnTo>
                    <a:pt x="1755" y="813"/>
                  </a:lnTo>
                  <a:lnTo>
                    <a:pt x="1694" y="785"/>
                  </a:lnTo>
                  <a:lnTo>
                    <a:pt x="1686" y="720"/>
                  </a:lnTo>
                  <a:lnTo>
                    <a:pt x="1718" y="635"/>
                  </a:lnTo>
                  <a:lnTo>
                    <a:pt x="1751" y="561"/>
                  </a:lnTo>
                  <a:lnTo>
                    <a:pt x="1742" y="480"/>
                  </a:lnTo>
                  <a:lnTo>
                    <a:pt x="1859" y="432"/>
                  </a:lnTo>
                  <a:lnTo>
                    <a:pt x="1787" y="372"/>
                  </a:lnTo>
                  <a:lnTo>
                    <a:pt x="1667" y="408"/>
                  </a:lnTo>
                  <a:lnTo>
                    <a:pt x="1587" y="338"/>
                  </a:lnTo>
                  <a:lnTo>
                    <a:pt x="1445" y="279"/>
                  </a:lnTo>
                  <a:lnTo>
                    <a:pt x="1359" y="170"/>
                  </a:lnTo>
                  <a:lnTo>
                    <a:pt x="1139" y="0"/>
                  </a:lnTo>
                  <a:lnTo>
                    <a:pt x="1032" y="62"/>
                  </a:lnTo>
                  <a:lnTo>
                    <a:pt x="936" y="108"/>
                  </a:lnTo>
                  <a:lnTo>
                    <a:pt x="816" y="204"/>
                  </a:lnTo>
                  <a:lnTo>
                    <a:pt x="660" y="228"/>
                  </a:lnTo>
                  <a:lnTo>
                    <a:pt x="588" y="204"/>
                  </a:lnTo>
                  <a:lnTo>
                    <a:pt x="480" y="180"/>
                  </a:lnTo>
                  <a:lnTo>
                    <a:pt x="348" y="192"/>
                  </a:lnTo>
                  <a:lnTo>
                    <a:pt x="216" y="192"/>
                  </a:lnTo>
                  <a:lnTo>
                    <a:pt x="192" y="300"/>
                  </a:lnTo>
                  <a:lnTo>
                    <a:pt x="156" y="408"/>
                  </a:lnTo>
                  <a:lnTo>
                    <a:pt x="192" y="468"/>
                  </a:lnTo>
                  <a:lnTo>
                    <a:pt x="96" y="540"/>
                  </a:lnTo>
                  <a:lnTo>
                    <a:pt x="0" y="660"/>
                  </a:lnTo>
                  <a:lnTo>
                    <a:pt x="48" y="780"/>
                  </a:lnTo>
                  <a:lnTo>
                    <a:pt x="168" y="756"/>
                  </a:lnTo>
                  <a:lnTo>
                    <a:pt x="288" y="852"/>
                  </a:lnTo>
                  <a:lnTo>
                    <a:pt x="384" y="816"/>
                  </a:lnTo>
                  <a:lnTo>
                    <a:pt x="492" y="828"/>
                  </a:lnTo>
                  <a:lnTo>
                    <a:pt x="612" y="840"/>
                  </a:lnTo>
                  <a:lnTo>
                    <a:pt x="696" y="936"/>
                  </a:lnTo>
                  <a:lnTo>
                    <a:pt x="780" y="1032"/>
                  </a:lnTo>
                  <a:lnTo>
                    <a:pt x="876" y="1128"/>
                  </a:lnTo>
                  <a:lnTo>
                    <a:pt x="912" y="1200"/>
                  </a:lnTo>
                  <a:lnTo>
                    <a:pt x="948" y="1284"/>
                  </a:lnTo>
                  <a:lnTo>
                    <a:pt x="1080" y="1392"/>
                  </a:lnTo>
                  <a:lnTo>
                    <a:pt x="1200" y="1416"/>
                  </a:lnTo>
                  <a:lnTo>
                    <a:pt x="1332" y="1392"/>
                  </a:lnTo>
                  <a:lnTo>
                    <a:pt x="1452" y="1488"/>
                  </a:lnTo>
                  <a:lnTo>
                    <a:pt x="1536" y="1452"/>
                  </a:lnTo>
                  <a:lnTo>
                    <a:pt x="1584" y="1368"/>
                  </a:lnTo>
                  <a:lnTo>
                    <a:pt x="1704" y="1356"/>
                  </a:lnTo>
                  <a:lnTo>
                    <a:pt x="1788" y="1296"/>
                  </a:lnTo>
                  <a:lnTo>
                    <a:pt x="1884" y="1344"/>
                  </a:lnTo>
                  <a:lnTo>
                    <a:pt x="1992" y="1356"/>
                  </a:lnTo>
                  <a:lnTo>
                    <a:pt x="2112" y="1344"/>
                  </a:lnTo>
                  <a:lnTo>
                    <a:pt x="2088" y="1212"/>
                  </a:lnTo>
                  <a:lnTo>
                    <a:pt x="2088" y="1104"/>
                  </a:lnTo>
                  <a:lnTo>
                    <a:pt x="2019" y="10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4" name="Freeform 15">
              <a:extLst>
                <a:ext uri="{FF2B5EF4-FFF2-40B4-BE49-F238E27FC236}">
                  <a16:creationId xmlns:a16="http://schemas.microsoft.com/office/drawing/2014/main" id="{2F09CB29-910F-4F2D-A5DF-60E09710737E}"/>
                </a:ext>
              </a:extLst>
            </p:cNvPr>
            <p:cNvSpPr>
              <a:spLocks/>
            </p:cNvSpPr>
            <p:nvPr/>
          </p:nvSpPr>
          <p:spPr bwMode="auto">
            <a:xfrm>
              <a:off x="3048070" y="3119433"/>
              <a:ext cx="1240762" cy="1014016"/>
            </a:xfrm>
            <a:custGeom>
              <a:avLst/>
              <a:gdLst>
                <a:gd name="T0" fmla="*/ 971 w 4404"/>
                <a:gd name="T1" fmla="*/ 611 h 3600"/>
                <a:gd name="T2" fmla="*/ 1224 w 4404"/>
                <a:gd name="T3" fmla="*/ 552 h 3600"/>
                <a:gd name="T4" fmla="*/ 1356 w 4404"/>
                <a:gd name="T5" fmla="*/ 371 h 3600"/>
                <a:gd name="T6" fmla="*/ 1500 w 4404"/>
                <a:gd name="T7" fmla="*/ 489 h 3600"/>
                <a:gd name="T8" fmla="*/ 1631 w 4404"/>
                <a:gd name="T9" fmla="*/ 684 h 3600"/>
                <a:gd name="T10" fmla="*/ 1836 w 4404"/>
                <a:gd name="T11" fmla="*/ 890 h 3600"/>
                <a:gd name="T12" fmla="*/ 2337 w 4404"/>
                <a:gd name="T13" fmla="*/ 1065 h 3600"/>
                <a:gd name="T14" fmla="*/ 2696 w 4404"/>
                <a:gd name="T15" fmla="*/ 1032 h 3600"/>
                <a:gd name="T16" fmla="*/ 2855 w 4404"/>
                <a:gd name="T17" fmla="*/ 672 h 3600"/>
                <a:gd name="T18" fmla="*/ 2915 w 4404"/>
                <a:gd name="T19" fmla="*/ 419 h 3600"/>
                <a:gd name="T20" fmla="*/ 3059 w 4404"/>
                <a:gd name="T21" fmla="*/ 240 h 3600"/>
                <a:gd name="T22" fmla="*/ 2990 w 4404"/>
                <a:gd name="T23" fmla="*/ 36 h 3600"/>
                <a:gd name="T24" fmla="*/ 3377 w 4404"/>
                <a:gd name="T25" fmla="*/ 63 h 3600"/>
                <a:gd name="T26" fmla="*/ 3696 w 4404"/>
                <a:gd name="T27" fmla="*/ 167 h 3600"/>
                <a:gd name="T28" fmla="*/ 3893 w 4404"/>
                <a:gd name="T29" fmla="*/ 26 h 3600"/>
                <a:gd name="T30" fmla="*/ 3986 w 4404"/>
                <a:gd name="T31" fmla="*/ 324 h 3600"/>
                <a:gd name="T32" fmla="*/ 3936 w 4404"/>
                <a:gd name="T33" fmla="*/ 447 h 3600"/>
                <a:gd name="T34" fmla="*/ 3692 w 4404"/>
                <a:gd name="T35" fmla="*/ 882 h 3600"/>
                <a:gd name="T36" fmla="*/ 3432 w 4404"/>
                <a:gd name="T37" fmla="*/ 1128 h 3600"/>
                <a:gd name="T38" fmla="*/ 3614 w 4404"/>
                <a:gd name="T39" fmla="*/ 1271 h 3600"/>
                <a:gd name="T40" fmla="*/ 3818 w 4404"/>
                <a:gd name="T41" fmla="*/ 1188 h 3600"/>
                <a:gd name="T42" fmla="*/ 4010 w 4404"/>
                <a:gd name="T43" fmla="*/ 1356 h 3600"/>
                <a:gd name="T44" fmla="*/ 4056 w 4404"/>
                <a:gd name="T45" fmla="*/ 1574 h 3600"/>
                <a:gd name="T46" fmla="*/ 4350 w 4404"/>
                <a:gd name="T47" fmla="*/ 1779 h 3600"/>
                <a:gd name="T48" fmla="*/ 4356 w 4404"/>
                <a:gd name="T49" fmla="*/ 2075 h 3600"/>
                <a:gd name="T50" fmla="*/ 4052 w 4404"/>
                <a:gd name="T51" fmla="*/ 1835 h 3600"/>
                <a:gd name="T52" fmla="*/ 3768 w 4404"/>
                <a:gd name="T53" fmla="*/ 1917 h 3600"/>
                <a:gd name="T54" fmla="*/ 3671 w 4404"/>
                <a:gd name="T55" fmla="*/ 2289 h 3600"/>
                <a:gd name="T56" fmla="*/ 3503 w 4404"/>
                <a:gd name="T57" fmla="*/ 2174 h 3600"/>
                <a:gd name="T58" fmla="*/ 3563 w 4404"/>
                <a:gd name="T59" fmla="*/ 1884 h 3600"/>
                <a:gd name="T60" fmla="*/ 3482 w 4404"/>
                <a:gd name="T61" fmla="*/ 1787 h 3600"/>
                <a:gd name="T62" fmla="*/ 3306 w 4404"/>
                <a:gd name="T63" fmla="*/ 1689 h 3600"/>
                <a:gd name="T64" fmla="*/ 3240 w 4404"/>
                <a:gd name="T65" fmla="*/ 1895 h 3600"/>
                <a:gd name="T66" fmla="*/ 3182 w 4404"/>
                <a:gd name="T67" fmla="*/ 2196 h 3600"/>
                <a:gd name="T68" fmla="*/ 3383 w 4404"/>
                <a:gd name="T69" fmla="*/ 2376 h 3600"/>
                <a:gd name="T70" fmla="*/ 3326 w 4404"/>
                <a:gd name="T71" fmla="*/ 2676 h 3600"/>
                <a:gd name="T72" fmla="*/ 3197 w 4404"/>
                <a:gd name="T73" fmla="*/ 2844 h 3600"/>
                <a:gd name="T74" fmla="*/ 2894 w 4404"/>
                <a:gd name="T75" fmla="*/ 2916 h 3600"/>
                <a:gd name="T76" fmla="*/ 2412 w 4404"/>
                <a:gd name="T77" fmla="*/ 2940 h 3600"/>
                <a:gd name="T78" fmla="*/ 2388 w 4404"/>
                <a:gd name="T79" fmla="*/ 3326 h 3600"/>
                <a:gd name="T80" fmla="*/ 1620 w 4404"/>
                <a:gd name="T81" fmla="*/ 3564 h 3600"/>
                <a:gd name="T82" fmla="*/ 1440 w 4404"/>
                <a:gd name="T83" fmla="*/ 3084 h 3600"/>
                <a:gd name="T84" fmla="*/ 1164 w 4404"/>
                <a:gd name="T85" fmla="*/ 2700 h 3600"/>
                <a:gd name="T86" fmla="*/ 864 w 4404"/>
                <a:gd name="T87" fmla="*/ 2580 h 3600"/>
                <a:gd name="T88" fmla="*/ 684 w 4404"/>
                <a:gd name="T89" fmla="*/ 2100 h 3600"/>
                <a:gd name="T90" fmla="*/ 636 w 4404"/>
                <a:gd name="T91" fmla="*/ 1728 h 3600"/>
                <a:gd name="T92" fmla="*/ 336 w 4404"/>
                <a:gd name="T93" fmla="*/ 1584 h 3600"/>
                <a:gd name="T94" fmla="*/ 84 w 4404"/>
                <a:gd name="T95" fmla="*/ 1356 h 3600"/>
                <a:gd name="T96" fmla="*/ 252 w 4404"/>
                <a:gd name="T97" fmla="*/ 1236 h 3600"/>
                <a:gd name="T98" fmla="*/ 504 w 4404"/>
                <a:gd name="T99" fmla="*/ 1212 h 3600"/>
                <a:gd name="T100" fmla="*/ 804 w 4404"/>
                <a:gd name="T101" fmla="*/ 1188 h 3600"/>
                <a:gd name="T102" fmla="*/ 1008 w 4404"/>
                <a:gd name="T103" fmla="*/ 10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4" h="3600">
                  <a:moveTo>
                    <a:pt x="938" y="884"/>
                  </a:moveTo>
                  <a:lnTo>
                    <a:pt x="947" y="755"/>
                  </a:lnTo>
                  <a:lnTo>
                    <a:pt x="971" y="611"/>
                  </a:lnTo>
                  <a:lnTo>
                    <a:pt x="1067" y="518"/>
                  </a:lnTo>
                  <a:lnTo>
                    <a:pt x="1187" y="479"/>
                  </a:lnTo>
                  <a:lnTo>
                    <a:pt x="1224" y="552"/>
                  </a:lnTo>
                  <a:lnTo>
                    <a:pt x="1332" y="504"/>
                  </a:lnTo>
                  <a:lnTo>
                    <a:pt x="1403" y="456"/>
                  </a:lnTo>
                  <a:lnTo>
                    <a:pt x="1356" y="371"/>
                  </a:lnTo>
                  <a:lnTo>
                    <a:pt x="1439" y="312"/>
                  </a:lnTo>
                  <a:lnTo>
                    <a:pt x="1512" y="395"/>
                  </a:lnTo>
                  <a:lnTo>
                    <a:pt x="1500" y="489"/>
                  </a:lnTo>
                  <a:lnTo>
                    <a:pt x="1526" y="566"/>
                  </a:lnTo>
                  <a:lnTo>
                    <a:pt x="1584" y="611"/>
                  </a:lnTo>
                  <a:lnTo>
                    <a:pt x="1631" y="684"/>
                  </a:lnTo>
                  <a:lnTo>
                    <a:pt x="1646" y="771"/>
                  </a:lnTo>
                  <a:lnTo>
                    <a:pt x="1769" y="828"/>
                  </a:lnTo>
                  <a:lnTo>
                    <a:pt x="1836" y="890"/>
                  </a:lnTo>
                  <a:lnTo>
                    <a:pt x="1946" y="936"/>
                  </a:lnTo>
                  <a:lnTo>
                    <a:pt x="2088" y="947"/>
                  </a:lnTo>
                  <a:lnTo>
                    <a:pt x="2337" y="1065"/>
                  </a:lnTo>
                  <a:lnTo>
                    <a:pt x="2471" y="1094"/>
                  </a:lnTo>
                  <a:lnTo>
                    <a:pt x="2589" y="1080"/>
                  </a:lnTo>
                  <a:lnTo>
                    <a:pt x="2696" y="1032"/>
                  </a:lnTo>
                  <a:lnTo>
                    <a:pt x="2822" y="947"/>
                  </a:lnTo>
                  <a:lnTo>
                    <a:pt x="2904" y="819"/>
                  </a:lnTo>
                  <a:lnTo>
                    <a:pt x="2855" y="672"/>
                  </a:lnTo>
                  <a:lnTo>
                    <a:pt x="2868" y="552"/>
                  </a:lnTo>
                  <a:lnTo>
                    <a:pt x="2823" y="434"/>
                  </a:lnTo>
                  <a:lnTo>
                    <a:pt x="2915" y="419"/>
                  </a:lnTo>
                  <a:lnTo>
                    <a:pt x="3000" y="458"/>
                  </a:lnTo>
                  <a:lnTo>
                    <a:pt x="3012" y="323"/>
                  </a:lnTo>
                  <a:lnTo>
                    <a:pt x="3059" y="240"/>
                  </a:lnTo>
                  <a:lnTo>
                    <a:pt x="2916" y="182"/>
                  </a:lnTo>
                  <a:lnTo>
                    <a:pt x="2918" y="71"/>
                  </a:lnTo>
                  <a:lnTo>
                    <a:pt x="2990" y="36"/>
                  </a:lnTo>
                  <a:lnTo>
                    <a:pt x="3074" y="71"/>
                  </a:lnTo>
                  <a:lnTo>
                    <a:pt x="3212" y="84"/>
                  </a:lnTo>
                  <a:lnTo>
                    <a:pt x="3377" y="63"/>
                  </a:lnTo>
                  <a:lnTo>
                    <a:pt x="3560" y="48"/>
                  </a:lnTo>
                  <a:lnTo>
                    <a:pt x="3636" y="62"/>
                  </a:lnTo>
                  <a:lnTo>
                    <a:pt x="3696" y="167"/>
                  </a:lnTo>
                  <a:lnTo>
                    <a:pt x="3770" y="93"/>
                  </a:lnTo>
                  <a:lnTo>
                    <a:pt x="3815" y="0"/>
                  </a:lnTo>
                  <a:lnTo>
                    <a:pt x="3893" y="26"/>
                  </a:lnTo>
                  <a:lnTo>
                    <a:pt x="3984" y="96"/>
                  </a:lnTo>
                  <a:lnTo>
                    <a:pt x="4032" y="218"/>
                  </a:lnTo>
                  <a:lnTo>
                    <a:pt x="3986" y="324"/>
                  </a:lnTo>
                  <a:lnTo>
                    <a:pt x="3864" y="192"/>
                  </a:lnTo>
                  <a:lnTo>
                    <a:pt x="3890" y="315"/>
                  </a:lnTo>
                  <a:lnTo>
                    <a:pt x="3936" y="447"/>
                  </a:lnTo>
                  <a:lnTo>
                    <a:pt x="3851" y="543"/>
                  </a:lnTo>
                  <a:lnTo>
                    <a:pt x="3779" y="648"/>
                  </a:lnTo>
                  <a:lnTo>
                    <a:pt x="3692" y="882"/>
                  </a:lnTo>
                  <a:lnTo>
                    <a:pt x="3638" y="1008"/>
                  </a:lnTo>
                  <a:lnTo>
                    <a:pt x="3537" y="1082"/>
                  </a:lnTo>
                  <a:lnTo>
                    <a:pt x="3432" y="1128"/>
                  </a:lnTo>
                  <a:lnTo>
                    <a:pt x="3443" y="1235"/>
                  </a:lnTo>
                  <a:lnTo>
                    <a:pt x="3503" y="1296"/>
                  </a:lnTo>
                  <a:lnTo>
                    <a:pt x="3614" y="1271"/>
                  </a:lnTo>
                  <a:lnTo>
                    <a:pt x="3672" y="1188"/>
                  </a:lnTo>
                  <a:lnTo>
                    <a:pt x="3743" y="1200"/>
                  </a:lnTo>
                  <a:lnTo>
                    <a:pt x="3818" y="1188"/>
                  </a:lnTo>
                  <a:lnTo>
                    <a:pt x="3912" y="1188"/>
                  </a:lnTo>
                  <a:lnTo>
                    <a:pt x="3984" y="1262"/>
                  </a:lnTo>
                  <a:lnTo>
                    <a:pt x="4010" y="1356"/>
                  </a:lnTo>
                  <a:lnTo>
                    <a:pt x="3962" y="1440"/>
                  </a:lnTo>
                  <a:lnTo>
                    <a:pt x="3972" y="1524"/>
                  </a:lnTo>
                  <a:lnTo>
                    <a:pt x="4056" y="1574"/>
                  </a:lnTo>
                  <a:lnTo>
                    <a:pt x="4173" y="1595"/>
                  </a:lnTo>
                  <a:lnTo>
                    <a:pt x="4299" y="1670"/>
                  </a:lnTo>
                  <a:lnTo>
                    <a:pt x="4350" y="1779"/>
                  </a:lnTo>
                  <a:lnTo>
                    <a:pt x="4404" y="1910"/>
                  </a:lnTo>
                  <a:lnTo>
                    <a:pt x="4334" y="1968"/>
                  </a:lnTo>
                  <a:lnTo>
                    <a:pt x="4356" y="2075"/>
                  </a:lnTo>
                  <a:lnTo>
                    <a:pt x="4212" y="2016"/>
                  </a:lnTo>
                  <a:lnTo>
                    <a:pt x="4154" y="1908"/>
                  </a:lnTo>
                  <a:lnTo>
                    <a:pt x="4052" y="1835"/>
                  </a:lnTo>
                  <a:lnTo>
                    <a:pt x="3881" y="1809"/>
                  </a:lnTo>
                  <a:lnTo>
                    <a:pt x="3767" y="1802"/>
                  </a:lnTo>
                  <a:lnTo>
                    <a:pt x="3768" y="1917"/>
                  </a:lnTo>
                  <a:lnTo>
                    <a:pt x="3732" y="2031"/>
                  </a:lnTo>
                  <a:lnTo>
                    <a:pt x="3635" y="2198"/>
                  </a:lnTo>
                  <a:lnTo>
                    <a:pt x="3671" y="2289"/>
                  </a:lnTo>
                  <a:lnTo>
                    <a:pt x="3587" y="2327"/>
                  </a:lnTo>
                  <a:lnTo>
                    <a:pt x="3515" y="2258"/>
                  </a:lnTo>
                  <a:lnTo>
                    <a:pt x="3503" y="2174"/>
                  </a:lnTo>
                  <a:lnTo>
                    <a:pt x="3444" y="2076"/>
                  </a:lnTo>
                  <a:lnTo>
                    <a:pt x="3539" y="2016"/>
                  </a:lnTo>
                  <a:lnTo>
                    <a:pt x="3563" y="1884"/>
                  </a:lnTo>
                  <a:lnTo>
                    <a:pt x="3624" y="1850"/>
                  </a:lnTo>
                  <a:lnTo>
                    <a:pt x="3621" y="1787"/>
                  </a:lnTo>
                  <a:lnTo>
                    <a:pt x="3482" y="1787"/>
                  </a:lnTo>
                  <a:lnTo>
                    <a:pt x="3419" y="1730"/>
                  </a:lnTo>
                  <a:lnTo>
                    <a:pt x="3395" y="1668"/>
                  </a:lnTo>
                  <a:lnTo>
                    <a:pt x="3306" y="1689"/>
                  </a:lnTo>
                  <a:lnTo>
                    <a:pt x="3252" y="1691"/>
                  </a:lnTo>
                  <a:lnTo>
                    <a:pt x="3192" y="1776"/>
                  </a:lnTo>
                  <a:lnTo>
                    <a:pt x="3240" y="1895"/>
                  </a:lnTo>
                  <a:lnTo>
                    <a:pt x="3240" y="2004"/>
                  </a:lnTo>
                  <a:lnTo>
                    <a:pt x="3179" y="2100"/>
                  </a:lnTo>
                  <a:lnTo>
                    <a:pt x="3182" y="2196"/>
                  </a:lnTo>
                  <a:lnTo>
                    <a:pt x="3285" y="2207"/>
                  </a:lnTo>
                  <a:lnTo>
                    <a:pt x="3362" y="2234"/>
                  </a:lnTo>
                  <a:lnTo>
                    <a:pt x="3383" y="2376"/>
                  </a:lnTo>
                  <a:lnTo>
                    <a:pt x="3455" y="2462"/>
                  </a:lnTo>
                  <a:lnTo>
                    <a:pt x="3336" y="2543"/>
                  </a:lnTo>
                  <a:lnTo>
                    <a:pt x="3326" y="2676"/>
                  </a:lnTo>
                  <a:lnTo>
                    <a:pt x="3275" y="2739"/>
                  </a:lnTo>
                  <a:lnTo>
                    <a:pt x="3312" y="2856"/>
                  </a:lnTo>
                  <a:lnTo>
                    <a:pt x="3197" y="2844"/>
                  </a:lnTo>
                  <a:lnTo>
                    <a:pt x="3105" y="2831"/>
                  </a:lnTo>
                  <a:lnTo>
                    <a:pt x="3000" y="2820"/>
                  </a:lnTo>
                  <a:lnTo>
                    <a:pt x="2894" y="2916"/>
                  </a:lnTo>
                  <a:lnTo>
                    <a:pt x="2775" y="2906"/>
                  </a:lnTo>
                  <a:lnTo>
                    <a:pt x="2661" y="2880"/>
                  </a:lnTo>
                  <a:lnTo>
                    <a:pt x="2412" y="2940"/>
                  </a:lnTo>
                  <a:lnTo>
                    <a:pt x="2364" y="3119"/>
                  </a:lnTo>
                  <a:lnTo>
                    <a:pt x="2400" y="3251"/>
                  </a:lnTo>
                  <a:lnTo>
                    <a:pt x="2388" y="3326"/>
                  </a:lnTo>
                  <a:lnTo>
                    <a:pt x="2243" y="3545"/>
                  </a:lnTo>
                  <a:lnTo>
                    <a:pt x="1956" y="3600"/>
                  </a:lnTo>
                  <a:lnTo>
                    <a:pt x="1620" y="3564"/>
                  </a:lnTo>
                  <a:lnTo>
                    <a:pt x="1524" y="3444"/>
                  </a:lnTo>
                  <a:lnTo>
                    <a:pt x="1397" y="3408"/>
                  </a:lnTo>
                  <a:lnTo>
                    <a:pt x="1440" y="3084"/>
                  </a:lnTo>
                  <a:lnTo>
                    <a:pt x="1476" y="2820"/>
                  </a:lnTo>
                  <a:lnTo>
                    <a:pt x="1332" y="2772"/>
                  </a:lnTo>
                  <a:lnTo>
                    <a:pt x="1164" y="2700"/>
                  </a:lnTo>
                  <a:lnTo>
                    <a:pt x="984" y="2784"/>
                  </a:lnTo>
                  <a:lnTo>
                    <a:pt x="972" y="2640"/>
                  </a:lnTo>
                  <a:lnTo>
                    <a:pt x="864" y="2580"/>
                  </a:lnTo>
                  <a:lnTo>
                    <a:pt x="780" y="2412"/>
                  </a:lnTo>
                  <a:lnTo>
                    <a:pt x="708" y="2292"/>
                  </a:lnTo>
                  <a:lnTo>
                    <a:pt x="684" y="2100"/>
                  </a:lnTo>
                  <a:lnTo>
                    <a:pt x="684" y="1968"/>
                  </a:lnTo>
                  <a:lnTo>
                    <a:pt x="720" y="1788"/>
                  </a:lnTo>
                  <a:lnTo>
                    <a:pt x="636" y="1728"/>
                  </a:lnTo>
                  <a:lnTo>
                    <a:pt x="516" y="1692"/>
                  </a:lnTo>
                  <a:lnTo>
                    <a:pt x="444" y="1596"/>
                  </a:lnTo>
                  <a:lnTo>
                    <a:pt x="336" y="1584"/>
                  </a:lnTo>
                  <a:lnTo>
                    <a:pt x="252" y="1464"/>
                  </a:lnTo>
                  <a:lnTo>
                    <a:pt x="192" y="1392"/>
                  </a:lnTo>
                  <a:lnTo>
                    <a:pt x="84" y="1356"/>
                  </a:lnTo>
                  <a:lnTo>
                    <a:pt x="0" y="1236"/>
                  </a:lnTo>
                  <a:lnTo>
                    <a:pt x="120" y="1260"/>
                  </a:lnTo>
                  <a:lnTo>
                    <a:pt x="252" y="1236"/>
                  </a:lnTo>
                  <a:lnTo>
                    <a:pt x="372" y="1332"/>
                  </a:lnTo>
                  <a:lnTo>
                    <a:pt x="456" y="1296"/>
                  </a:lnTo>
                  <a:lnTo>
                    <a:pt x="504" y="1212"/>
                  </a:lnTo>
                  <a:lnTo>
                    <a:pt x="624" y="1200"/>
                  </a:lnTo>
                  <a:lnTo>
                    <a:pt x="708" y="1140"/>
                  </a:lnTo>
                  <a:lnTo>
                    <a:pt x="804" y="1188"/>
                  </a:lnTo>
                  <a:lnTo>
                    <a:pt x="912" y="1200"/>
                  </a:lnTo>
                  <a:lnTo>
                    <a:pt x="1032" y="1188"/>
                  </a:lnTo>
                  <a:lnTo>
                    <a:pt x="1008" y="1056"/>
                  </a:lnTo>
                  <a:lnTo>
                    <a:pt x="1008" y="948"/>
                  </a:lnTo>
                  <a:lnTo>
                    <a:pt x="938" y="884"/>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5" name="Freeform 16">
              <a:extLst>
                <a:ext uri="{FF2B5EF4-FFF2-40B4-BE49-F238E27FC236}">
                  <a16:creationId xmlns:a16="http://schemas.microsoft.com/office/drawing/2014/main" id="{B2CDBC79-DDED-4061-83C0-905D136BC998}"/>
                </a:ext>
              </a:extLst>
            </p:cNvPr>
            <p:cNvSpPr>
              <a:spLocks/>
            </p:cNvSpPr>
            <p:nvPr/>
          </p:nvSpPr>
          <p:spPr bwMode="auto">
            <a:xfrm>
              <a:off x="4431075" y="1606859"/>
              <a:ext cx="653477" cy="1421031"/>
            </a:xfrm>
            <a:custGeom>
              <a:avLst/>
              <a:gdLst>
                <a:gd name="T0" fmla="*/ 102 w 2323"/>
                <a:gd name="T1" fmla="*/ 139 h 5047"/>
                <a:gd name="T2" fmla="*/ 12 w 2323"/>
                <a:gd name="T3" fmla="*/ 280 h 5047"/>
                <a:gd name="T4" fmla="*/ 85 w 2323"/>
                <a:gd name="T5" fmla="*/ 562 h 5047"/>
                <a:gd name="T6" fmla="*/ 97 w 2323"/>
                <a:gd name="T7" fmla="*/ 805 h 5047"/>
                <a:gd name="T8" fmla="*/ 12 w 2323"/>
                <a:gd name="T9" fmla="*/ 1113 h 5047"/>
                <a:gd name="T10" fmla="*/ 12 w 2323"/>
                <a:gd name="T11" fmla="*/ 1440 h 5047"/>
                <a:gd name="T12" fmla="*/ 171 w 2323"/>
                <a:gd name="T13" fmla="*/ 1533 h 5047"/>
                <a:gd name="T14" fmla="*/ 51 w 2323"/>
                <a:gd name="T15" fmla="*/ 1785 h 5047"/>
                <a:gd name="T16" fmla="*/ 72 w 2323"/>
                <a:gd name="T17" fmla="*/ 2058 h 5047"/>
                <a:gd name="T18" fmla="*/ 144 w 2323"/>
                <a:gd name="T19" fmla="*/ 2313 h 5047"/>
                <a:gd name="T20" fmla="*/ 229 w 2323"/>
                <a:gd name="T21" fmla="*/ 2529 h 5047"/>
                <a:gd name="T22" fmla="*/ 327 w 2323"/>
                <a:gd name="T23" fmla="*/ 2811 h 5047"/>
                <a:gd name="T24" fmla="*/ 447 w 2323"/>
                <a:gd name="T25" fmla="*/ 3034 h 5047"/>
                <a:gd name="T26" fmla="*/ 387 w 2323"/>
                <a:gd name="T27" fmla="*/ 3237 h 5047"/>
                <a:gd name="T28" fmla="*/ 408 w 2323"/>
                <a:gd name="T29" fmla="*/ 3406 h 5047"/>
                <a:gd name="T30" fmla="*/ 373 w 2323"/>
                <a:gd name="T31" fmla="*/ 3657 h 5047"/>
                <a:gd name="T32" fmla="*/ 253 w 2323"/>
                <a:gd name="T33" fmla="*/ 3909 h 5047"/>
                <a:gd name="T34" fmla="*/ 322 w 2323"/>
                <a:gd name="T35" fmla="*/ 4030 h 5047"/>
                <a:gd name="T36" fmla="*/ 276 w 2323"/>
                <a:gd name="T37" fmla="*/ 4248 h 5047"/>
                <a:gd name="T38" fmla="*/ 169 w 2323"/>
                <a:gd name="T39" fmla="*/ 4476 h 5047"/>
                <a:gd name="T40" fmla="*/ 156 w 2323"/>
                <a:gd name="T41" fmla="*/ 4644 h 5047"/>
                <a:gd name="T42" fmla="*/ 169 w 2323"/>
                <a:gd name="T43" fmla="*/ 4783 h 5047"/>
                <a:gd name="T44" fmla="*/ 291 w 2323"/>
                <a:gd name="T45" fmla="*/ 4908 h 5047"/>
                <a:gd name="T46" fmla="*/ 421 w 2323"/>
                <a:gd name="T47" fmla="*/ 4932 h 5047"/>
                <a:gd name="T48" fmla="*/ 610 w 2323"/>
                <a:gd name="T49" fmla="*/ 4659 h 5047"/>
                <a:gd name="T50" fmla="*/ 807 w 2323"/>
                <a:gd name="T51" fmla="*/ 4545 h 5047"/>
                <a:gd name="T52" fmla="*/ 841 w 2323"/>
                <a:gd name="T53" fmla="*/ 4438 h 5047"/>
                <a:gd name="T54" fmla="*/ 1129 w 2323"/>
                <a:gd name="T55" fmla="*/ 4080 h 5047"/>
                <a:gd name="T56" fmla="*/ 1123 w 2323"/>
                <a:gd name="T57" fmla="*/ 3799 h 5047"/>
                <a:gd name="T58" fmla="*/ 1225 w 2323"/>
                <a:gd name="T59" fmla="*/ 3361 h 5047"/>
                <a:gd name="T60" fmla="*/ 1428 w 2323"/>
                <a:gd name="T61" fmla="*/ 3142 h 5047"/>
                <a:gd name="T62" fmla="*/ 1837 w 2323"/>
                <a:gd name="T63" fmla="*/ 2926 h 5047"/>
                <a:gd name="T64" fmla="*/ 1837 w 2323"/>
                <a:gd name="T65" fmla="*/ 2548 h 5047"/>
                <a:gd name="T66" fmla="*/ 2071 w 2323"/>
                <a:gd name="T67" fmla="*/ 2296 h 5047"/>
                <a:gd name="T68" fmla="*/ 2323 w 2323"/>
                <a:gd name="T69" fmla="*/ 1864 h 5047"/>
                <a:gd name="T70" fmla="*/ 1836 w 2323"/>
                <a:gd name="T71" fmla="*/ 1173 h 5047"/>
                <a:gd name="T72" fmla="*/ 1384 w 2323"/>
                <a:gd name="T73" fmla="*/ 742 h 5047"/>
                <a:gd name="T74" fmla="*/ 1060 w 2323"/>
                <a:gd name="T75" fmla="*/ 444 h 5047"/>
                <a:gd name="T76" fmla="*/ 552 w 2323"/>
                <a:gd name="T77" fmla="*/ 94 h 5047"/>
                <a:gd name="T78" fmla="*/ 229 w 2323"/>
                <a:gd name="T79" fmla="*/ 82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3" h="5047">
                  <a:moveTo>
                    <a:pt x="229" y="82"/>
                  </a:moveTo>
                  <a:lnTo>
                    <a:pt x="102" y="139"/>
                  </a:lnTo>
                  <a:lnTo>
                    <a:pt x="0" y="190"/>
                  </a:lnTo>
                  <a:lnTo>
                    <a:pt x="12" y="280"/>
                  </a:lnTo>
                  <a:lnTo>
                    <a:pt x="73" y="432"/>
                  </a:lnTo>
                  <a:lnTo>
                    <a:pt x="85" y="562"/>
                  </a:lnTo>
                  <a:lnTo>
                    <a:pt x="72" y="696"/>
                  </a:lnTo>
                  <a:lnTo>
                    <a:pt x="97" y="805"/>
                  </a:lnTo>
                  <a:lnTo>
                    <a:pt x="24" y="913"/>
                  </a:lnTo>
                  <a:lnTo>
                    <a:pt x="12" y="1113"/>
                  </a:lnTo>
                  <a:lnTo>
                    <a:pt x="85" y="1222"/>
                  </a:lnTo>
                  <a:lnTo>
                    <a:pt x="12" y="1440"/>
                  </a:lnTo>
                  <a:lnTo>
                    <a:pt x="93" y="1461"/>
                  </a:lnTo>
                  <a:lnTo>
                    <a:pt x="171" y="1533"/>
                  </a:lnTo>
                  <a:lnTo>
                    <a:pt x="145" y="1678"/>
                  </a:lnTo>
                  <a:lnTo>
                    <a:pt x="51" y="1785"/>
                  </a:lnTo>
                  <a:lnTo>
                    <a:pt x="48" y="1944"/>
                  </a:lnTo>
                  <a:lnTo>
                    <a:pt x="72" y="2058"/>
                  </a:lnTo>
                  <a:lnTo>
                    <a:pt x="84" y="2217"/>
                  </a:lnTo>
                  <a:lnTo>
                    <a:pt x="144" y="2313"/>
                  </a:lnTo>
                  <a:lnTo>
                    <a:pt x="135" y="2470"/>
                  </a:lnTo>
                  <a:lnTo>
                    <a:pt x="229" y="2529"/>
                  </a:lnTo>
                  <a:lnTo>
                    <a:pt x="289" y="2673"/>
                  </a:lnTo>
                  <a:lnTo>
                    <a:pt x="327" y="2811"/>
                  </a:lnTo>
                  <a:lnTo>
                    <a:pt x="394" y="2910"/>
                  </a:lnTo>
                  <a:lnTo>
                    <a:pt x="447" y="3034"/>
                  </a:lnTo>
                  <a:lnTo>
                    <a:pt x="372" y="3153"/>
                  </a:lnTo>
                  <a:lnTo>
                    <a:pt x="387" y="3237"/>
                  </a:lnTo>
                  <a:lnTo>
                    <a:pt x="327" y="3298"/>
                  </a:lnTo>
                  <a:lnTo>
                    <a:pt x="408" y="3406"/>
                  </a:lnTo>
                  <a:lnTo>
                    <a:pt x="397" y="3519"/>
                  </a:lnTo>
                  <a:lnTo>
                    <a:pt x="373" y="3657"/>
                  </a:lnTo>
                  <a:lnTo>
                    <a:pt x="373" y="3874"/>
                  </a:lnTo>
                  <a:lnTo>
                    <a:pt x="253" y="3909"/>
                  </a:lnTo>
                  <a:lnTo>
                    <a:pt x="253" y="4006"/>
                  </a:lnTo>
                  <a:lnTo>
                    <a:pt x="322" y="4030"/>
                  </a:lnTo>
                  <a:lnTo>
                    <a:pt x="291" y="4152"/>
                  </a:lnTo>
                  <a:lnTo>
                    <a:pt x="276" y="4248"/>
                  </a:lnTo>
                  <a:lnTo>
                    <a:pt x="145" y="4210"/>
                  </a:lnTo>
                  <a:lnTo>
                    <a:pt x="169" y="4476"/>
                  </a:lnTo>
                  <a:lnTo>
                    <a:pt x="73" y="4546"/>
                  </a:lnTo>
                  <a:lnTo>
                    <a:pt x="156" y="4644"/>
                  </a:lnTo>
                  <a:lnTo>
                    <a:pt x="61" y="4797"/>
                  </a:lnTo>
                  <a:lnTo>
                    <a:pt x="169" y="4783"/>
                  </a:lnTo>
                  <a:lnTo>
                    <a:pt x="202" y="4834"/>
                  </a:lnTo>
                  <a:lnTo>
                    <a:pt x="291" y="4908"/>
                  </a:lnTo>
                  <a:lnTo>
                    <a:pt x="271" y="5047"/>
                  </a:lnTo>
                  <a:lnTo>
                    <a:pt x="421" y="4932"/>
                  </a:lnTo>
                  <a:lnTo>
                    <a:pt x="526" y="4767"/>
                  </a:lnTo>
                  <a:lnTo>
                    <a:pt x="610" y="4659"/>
                  </a:lnTo>
                  <a:lnTo>
                    <a:pt x="685" y="4548"/>
                  </a:lnTo>
                  <a:lnTo>
                    <a:pt x="807" y="4545"/>
                  </a:lnTo>
                  <a:lnTo>
                    <a:pt x="898" y="4486"/>
                  </a:lnTo>
                  <a:lnTo>
                    <a:pt x="841" y="4438"/>
                  </a:lnTo>
                  <a:lnTo>
                    <a:pt x="984" y="4198"/>
                  </a:lnTo>
                  <a:lnTo>
                    <a:pt x="1129" y="4080"/>
                  </a:lnTo>
                  <a:lnTo>
                    <a:pt x="1068" y="3955"/>
                  </a:lnTo>
                  <a:lnTo>
                    <a:pt x="1123" y="3799"/>
                  </a:lnTo>
                  <a:lnTo>
                    <a:pt x="1213" y="3483"/>
                  </a:lnTo>
                  <a:lnTo>
                    <a:pt x="1225" y="3361"/>
                  </a:lnTo>
                  <a:lnTo>
                    <a:pt x="1309" y="3261"/>
                  </a:lnTo>
                  <a:lnTo>
                    <a:pt x="1428" y="3142"/>
                  </a:lnTo>
                  <a:lnTo>
                    <a:pt x="1824" y="3142"/>
                  </a:lnTo>
                  <a:lnTo>
                    <a:pt x="1837" y="2926"/>
                  </a:lnTo>
                  <a:lnTo>
                    <a:pt x="1783" y="2746"/>
                  </a:lnTo>
                  <a:lnTo>
                    <a:pt x="1837" y="2548"/>
                  </a:lnTo>
                  <a:lnTo>
                    <a:pt x="1927" y="2404"/>
                  </a:lnTo>
                  <a:lnTo>
                    <a:pt x="2071" y="2296"/>
                  </a:lnTo>
                  <a:lnTo>
                    <a:pt x="2161" y="2098"/>
                  </a:lnTo>
                  <a:lnTo>
                    <a:pt x="2323" y="1864"/>
                  </a:lnTo>
                  <a:lnTo>
                    <a:pt x="2061" y="1396"/>
                  </a:lnTo>
                  <a:lnTo>
                    <a:pt x="1836" y="1173"/>
                  </a:lnTo>
                  <a:lnTo>
                    <a:pt x="1614" y="970"/>
                  </a:lnTo>
                  <a:lnTo>
                    <a:pt x="1384" y="742"/>
                  </a:lnTo>
                  <a:lnTo>
                    <a:pt x="1260" y="627"/>
                  </a:lnTo>
                  <a:lnTo>
                    <a:pt x="1060" y="444"/>
                  </a:lnTo>
                  <a:lnTo>
                    <a:pt x="753" y="207"/>
                  </a:lnTo>
                  <a:lnTo>
                    <a:pt x="552" y="94"/>
                  </a:lnTo>
                  <a:lnTo>
                    <a:pt x="331" y="0"/>
                  </a:lnTo>
                  <a:lnTo>
                    <a:pt x="229" y="82"/>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6" name="Freeform 17">
              <a:extLst>
                <a:ext uri="{FF2B5EF4-FFF2-40B4-BE49-F238E27FC236}">
                  <a16:creationId xmlns:a16="http://schemas.microsoft.com/office/drawing/2014/main" id="{2101E7E1-7E72-4DA5-9ED3-0081EC9D0609}"/>
                </a:ext>
              </a:extLst>
            </p:cNvPr>
            <p:cNvSpPr>
              <a:spLocks/>
            </p:cNvSpPr>
            <p:nvPr/>
          </p:nvSpPr>
          <p:spPr bwMode="auto">
            <a:xfrm>
              <a:off x="4921183" y="2784244"/>
              <a:ext cx="154919" cy="85910"/>
            </a:xfrm>
            <a:custGeom>
              <a:avLst/>
              <a:gdLst>
                <a:gd name="T0" fmla="*/ 170 w 547"/>
                <a:gd name="T1" fmla="*/ 101 h 301"/>
                <a:gd name="T2" fmla="*/ 88 w 547"/>
                <a:gd name="T3" fmla="*/ 138 h 301"/>
                <a:gd name="T4" fmla="*/ 24 w 547"/>
                <a:gd name="T5" fmla="*/ 183 h 301"/>
                <a:gd name="T6" fmla="*/ 0 w 547"/>
                <a:gd name="T7" fmla="*/ 256 h 301"/>
                <a:gd name="T8" fmla="*/ 93 w 547"/>
                <a:gd name="T9" fmla="*/ 301 h 301"/>
                <a:gd name="T10" fmla="*/ 237 w 547"/>
                <a:gd name="T11" fmla="*/ 267 h 301"/>
                <a:gd name="T12" fmla="*/ 367 w 547"/>
                <a:gd name="T13" fmla="*/ 279 h 301"/>
                <a:gd name="T14" fmla="*/ 393 w 547"/>
                <a:gd name="T15" fmla="*/ 136 h 301"/>
                <a:gd name="T16" fmla="*/ 490 w 547"/>
                <a:gd name="T17" fmla="*/ 109 h 301"/>
                <a:gd name="T18" fmla="*/ 547 w 547"/>
                <a:gd name="T19" fmla="*/ 73 h 301"/>
                <a:gd name="T20" fmla="*/ 490 w 547"/>
                <a:gd name="T21" fmla="*/ 0 h 301"/>
                <a:gd name="T22" fmla="*/ 435 w 547"/>
                <a:gd name="T23" fmla="*/ 37 h 301"/>
                <a:gd name="T24" fmla="*/ 371 w 547"/>
                <a:gd name="T25" fmla="*/ 83 h 301"/>
                <a:gd name="T26" fmla="*/ 307 w 547"/>
                <a:gd name="T27" fmla="*/ 138 h 301"/>
                <a:gd name="T28" fmla="*/ 252 w 547"/>
                <a:gd name="T29" fmla="*/ 156 h 301"/>
                <a:gd name="T30" fmla="*/ 170 w 547"/>
                <a:gd name="T31" fmla="*/ 1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7" h="301">
                  <a:moveTo>
                    <a:pt x="170" y="101"/>
                  </a:moveTo>
                  <a:lnTo>
                    <a:pt x="88" y="138"/>
                  </a:lnTo>
                  <a:lnTo>
                    <a:pt x="24" y="183"/>
                  </a:lnTo>
                  <a:lnTo>
                    <a:pt x="0" y="256"/>
                  </a:lnTo>
                  <a:lnTo>
                    <a:pt x="93" y="301"/>
                  </a:lnTo>
                  <a:lnTo>
                    <a:pt x="237" y="267"/>
                  </a:lnTo>
                  <a:lnTo>
                    <a:pt x="367" y="279"/>
                  </a:lnTo>
                  <a:lnTo>
                    <a:pt x="393" y="136"/>
                  </a:lnTo>
                  <a:lnTo>
                    <a:pt x="490" y="109"/>
                  </a:lnTo>
                  <a:lnTo>
                    <a:pt x="547" y="73"/>
                  </a:lnTo>
                  <a:lnTo>
                    <a:pt x="490" y="0"/>
                  </a:lnTo>
                  <a:lnTo>
                    <a:pt x="435" y="37"/>
                  </a:lnTo>
                  <a:lnTo>
                    <a:pt x="371" y="83"/>
                  </a:lnTo>
                  <a:lnTo>
                    <a:pt x="307" y="138"/>
                  </a:lnTo>
                  <a:lnTo>
                    <a:pt x="252" y="156"/>
                  </a:lnTo>
                  <a:lnTo>
                    <a:pt x="170" y="101"/>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grpSp>
          <p:nvGrpSpPr>
            <p:cNvPr id="17" name="组合 64">
              <a:extLst>
                <a:ext uri="{FF2B5EF4-FFF2-40B4-BE49-F238E27FC236}">
                  <a16:creationId xmlns:a16="http://schemas.microsoft.com/office/drawing/2014/main" id="{8D9CDE71-9ED8-43FE-990B-2C5D033BFE16}"/>
                </a:ext>
              </a:extLst>
            </p:cNvPr>
            <p:cNvGrpSpPr/>
            <p:nvPr/>
          </p:nvGrpSpPr>
          <p:grpSpPr>
            <a:xfrm>
              <a:off x="73944" y="1790476"/>
              <a:ext cx="1871590" cy="790251"/>
              <a:chOff x="416520" y="4774171"/>
              <a:chExt cx="2109658" cy="890772"/>
            </a:xfrm>
          </p:grpSpPr>
          <p:sp>
            <p:nvSpPr>
              <p:cNvPr id="18" name="圆角矩形 111">
                <a:extLst>
                  <a:ext uri="{FF2B5EF4-FFF2-40B4-BE49-F238E27FC236}">
                    <a16:creationId xmlns:a16="http://schemas.microsoft.com/office/drawing/2014/main" id="{5E665367-1A08-451A-B772-E816A08577BB}"/>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9" name="圆角矩形 45">
                <a:extLst>
                  <a:ext uri="{FF2B5EF4-FFF2-40B4-BE49-F238E27FC236}">
                    <a16:creationId xmlns:a16="http://schemas.microsoft.com/office/drawing/2014/main" id="{B1677368-A0A9-47C2-8104-CC8A8281FA3A}"/>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Oromia</a:t>
                </a:r>
                <a:endParaRPr lang="en-US" altLang="zh-CN" sz="1050" b="1" kern="0" dirty="0"/>
              </a:p>
            </p:txBody>
          </p:sp>
          <p:sp>
            <p:nvSpPr>
              <p:cNvPr id="20" name="Text Box 16">
                <a:extLst>
                  <a:ext uri="{FF2B5EF4-FFF2-40B4-BE49-F238E27FC236}">
                    <a16:creationId xmlns:a16="http://schemas.microsoft.com/office/drawing/2014/main" id="{4B955912-4766-4979-8275-5D2B3118ABE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36</a:t>
                </a:r>
              </a:p>
            </p:txBody>
          </p:sp>
        </p:grpSp>
        <p:sp>
          <p:nvSpPr>
            <p:cNvPr id="21" name="Oval 25">
              <a:extLst>
                <a:ext uri="{FF2B5EF4-FFF2-40B4-BE49-F238E27FC236}">
                  <a16:creationId xmlns:a16="http://schemas.microsoft.com/office/drawing/2014/main" id="{C32D6F10-81A4-41BC-9212-25815DCA592D}"/>
                </a:ext>
              </a:extLst>
            </p:cNvPr>
            <p:cNvSpPr>
              <a:spLocks noChangeArrowheads="1"/>
            </p:cNvSpPr>
            <p:nvPr/>
          </p:nvSpPr>
          <p:spPr bwMode="gray">
            <a:xfrm>
              <a:off x="3727920" y="297025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2" name="肘形连接符 66">
              <a:extLst>
                <a:ext uri="{FF2B5EF4-FFF2-40B4-BE49-F238E27FC236}">
                  <a16:creationId xmlns:a16="http://schemas.microsoft.com/office/drawing/2014/main" id="{355DB5E8-13CB-477D-B1BF-7F8105A96E06}"/>
                </a:ext>
              </a:extLst>
            </p:cNvPr>
            <p:cNvCxnSpPr>
              <a:cxnSpLocks/>
              <a:stCxn id="21" idx="2"/>
              <a:endCxn id="18" idx="3"/>
            </p:cNvCxnSpPr>
            <p:nvPr/>
          </p:nvCxnSpPr>
          <p:spPr>
            <a:xfrm rot="10800000">
              <a:off x="1945534" y="2266776"/>
              <a:ext cx="1782386" cy="751748"/>
            </a:xfrm>
            <a:prstGeom prst="bentConnector3">
              <a:avLst>
                <a:gd name="adj1" fmla="val 69999"/>
              </a:avLst>
            </a:prstGeom>
            <a:noFill/>
            <a:ln w="9525">
              <a:solidFill>
                <a:srgbClr val="C00000"/>
              </a:solidFill>
              <a:prstDash val="sysDash"/>
              <a:miter lim="800000"/>
              <a:headEnd/>
              <a:tailEnd/>
            </a:ln>
          </p:spPr>
        </p:cxnSp>
        <p:grpSp>
          <p:nvGrpSpPr>
            <p:cNvPr id="23" name="组合 67">
              <a:extLst>
                <a:ext uri="{FF2B5EF4-FFF2-40B4-BE49-F238E27FC236}">
                  <a16:creationId xmlns:a16="http://schemas.microsoft.com/office/drawing/2014/main" id="{724F1D65-F89E-4F3C-B6E4-32E281865FAA}"/>
                </a:ext>
              </a:extLst>
            </p:cNvPr>
            <p:cNvGrpSpPr/>
            <p:nvPr/>
          </p:nvGrpSpPr>
          <p:grpSpPr>
            <a:xfrm>
              <a:off x="75498" y="33920"/>
              <a:ext cx="1871590" cy="790251"/>
              <a:chOff x="416520" y="4774171"/>
              <a:chExt cx="2109658" cy="890772"/>
            </a:xfrm>
          </p:grpSpPr>
          <p:sp>
            <p:nvSpPr>
              <p:cNvPr id="24" name="圆角矩形 108">
                <a:extLst>
                  <a:ext uri="{FF2B5EF4-FFF2-40B4-BE49-F238E27FC236}">
                    <a16:creationId xmlns:a16="http://schemas.microsoft.com/office/drawing/2014/main" id="{6FF76637-E745-4F82-B0B7-E94F47B645F7}"/>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25" name="圆角矩形 45">
                <a:extLst>
                  <a:ext uri="{FF2B5EF4-FFF2-40B4-BE49-F238E27FC236}">
                    <a16:creationId xmlns:a16="http://schemas.microsoft.com/office/drawing/2014/main" id="{4D73194C-5A8F-4D37-9268-1AAFC446004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Amhara</a:t>
                </a:r>
                <a:endParaRPr lang="en-US" altLang="zh-CN" sz="1050" b="1" kern="0" dirty="0"/>
              </a:p>
            </p:txBody>
          </p:sp>
          <p:sp>
            <p:nvSpPr>
              <p:cNvPr id="26" name="Text Box 16">
                <a:extLst>
                  <a:ext uri="{FF2B5EF4-FFF2-40B4-BE49-F238E27FC236}">
                    <a16:creationId xmlns:a16="http://schemas.microsoft.com/office/drawing/2014/main" id="{A891C8F9-C3A9-4458-B569-EC1333C52D01}"/>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3</a:t>
                </a:r>
              </a:p>
            </p:txBody>
          </p:sp>
        </p:grpSp>
        <p:sp>
          <p:nvSpPr>
            <p:cNvPr id="27" name="Oval 25">
              <a:extLst>
                <a:ext uri="{FF2B5EF4-FFF2-40B4-BE49-F238E27FC236}">
                  <a16:creationId xmlns:a16="http://schemas.microsoft.com/office/drawing/2014/main" id="{1EEF8CB0-238E-4B62-9CB5-151DDCBD984B}"/>
                </a:ext>
              </a:extLst>
            </p:cNvPr>
            <p:cNvSpPr>
              <a:spLocks noChangeArrowheads="1"/>
            </p:cNvSpPr>
            <p:nvPr/>
          </p:nvSpPr>
          <p:spPr bwMode="gray">
            <a:xfrm>
              <a:off x="4063949" y="230496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8" name="肘形连接符 69">
              <a:extLst>
                <a:ext uri="{FF2B5EF4-FFF2-40B4-BE49-F238E27FC236}">
                  <a16:creationId xmlns:a16="http://schemas.microsoft.com/office/drawing/2014/main" id="{1FB619FC-C6C0-4060-A3C7-0EF0D76463DD}"/>
                </a:ext>
              </a:extLst>
            </p:cNvPr>
            <p:cNvCxnSpPr>
              <a:cxnSpLocks/>
              <a:stCxn id="27" idx="2"/>
              <a:endCxn id="24" idx="3"/>
            </p:cNvCxnSpPr>
            <p:nvPr/>
          </p:nvCxnSpPr>
          <p:spPr>
            <a:xfrm rot="10800000">
              <a:off x="1947089" y="510221"/>
              <a:ext cx="2116861" cy="1843014"/>
            </a:xfrm>
            <a:prstGeom prst="bentConnector3">
              <a:avLst>
                <a:gd name="adj1" fmla="val 33527"/>
              </a:avLst>
            </a:prstGeom>
            <a:noFill/>
            <a:ln w="9525">
              <a:solidFill>
                <a:srgbClr val="C00000"/>
              </a:solidFill>
              <a:prstDash val="sysDash"/>
              <a:miter lim="800000"/>
              <a:headEnd/>
              <a:tailEnd/>
            </a:ln>
          </p:spPr>
        </p:cxnSp>
        <p:grpSp>
          <p:nvGrpSpPr>
            <p:cNvPr id="29" name="组合 70">
              <a:extLst>
                <a:ext uri="{FF2B5EF4-FFF2-40B4-BE49-F238E27FC236}">
                  <a16:creationId xmlns:a16="http://schemas.microsoft.com/office/drawing/2014/main" id="{938A93DD-6989-4B28-92C1-3685E1C0601E}"/>
                </a:ext>
              </a:extLst>
            </p:cNvPr>
            <p:cNvGrpSpPr/>
            <p:nvPr/>
          </p:nvGrpSpPr>
          <p:grpSpPr>
            <a:xfrm>
              <a:off x="7145440" y="3821093"/>
              <a:ext cx="1871590" cy="865124"/>
              <a:chOff x="416520" y="4774171"/>
              <a:chExt cx="2109658" cy="975169"/>
            </a:xfrm>
          </p:grpSpPr>
          <p:sp>
            <p:nvSpPr>
              <p:cNvPr id="30" name="圆角矩形 103">
                <a:extLst>
                  <a:ext uri="{FF2B5EF4-FFF2-40B4-BE49-F238E27FC236}">
                    <a16:creationId xmlns:a16="http://schemas.microsoft.com/office/drawing/2014/main" id="{B9D541A9-098D-4F75-B40C-171EFB245E53}"/>
                  </a:ext>
                </a:extLst>
              </p:cNvPr>
              <p:cNvSpPr/>
              <p:nvPr/>
            </p:nvSpPr>
            <p:spPr>
              <a:xfrm>
                <a:off x="416520" y="4964089"/>
                <a:ext cx="2109658" cy="78525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1" name="圆角矩形 45">
                <a:extLst>
                  <a:ext uri="{FF2B5EF4-FFF2-40B4-BE49-F238E27FC236}">
                    <a16:creationId xmlns:a16="http://schemas.microsoft.com/office/drawing/2014/main" id="{7CFAA479-ECD6-470B-A2E8-BD7CCC698FBE}"/>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omali</a:t>
                </a:r>
              </a:p>
            </p:txBody>
          </p:sp>
          <p:sp>
            <p:nvSpPr>
              <p:cNvPr id="32" name="Text Box 16">
                <a:extLst>
                  <a:ext uri="{FF2B5EF4-FFF2-40B4-BE49-F238E27FC236}">
                    <a16:creationId xmlns:a16="http://schemas.microsoft.com/office/drawing/2014/main" id="{F322A253-FF51-4587-A795-37FC25BDE30C}"/>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9</a:t>
                </a:r>
              </a:p>
            </p:txBody>
          </p:sp>
        </p:grpSp>
        <p:sp>
          <p:nvSpPr>
            <p:cNvPr id="33" name="Oval 25">
              <a:extLst>
                <a:ext uri="{FF2B5EF4-FFF2-40B4-BE49-F238E27FC236}">
                  <a16:creationId xmlns:a16="http://schemas.microsoft.com/office/drawing/2014/main" id="{75323E5C-5055-492D-B326-05BCB04B538F}"/>
                </a:ext>
              </a:extLst>
            </p:cNvPr>
            <p:cNvSpPr>
              <a:spLocks noChangeArrowheads="1"/>
            </p:cNvSpPr>
            <p:nvPr/>
          </p:nvSpPr>
          <p:spPr bwMode="gray">
            <a:xfrm>
              <a:off x="5606145" y="3365781"/>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34" name="肘形连接符 72">
              <a:extLst>
                <a:ext uri="{FF2B5EF4-FFF2-40B4-BE49-F238E27FC236}">
                  <a16:creationId xmlns:a16="http://schemas.microsoft.com/office/drawing/2014/main" id="{FB45BB5F-12D5-412C-9543-6173A9441769}"/>
                </a:ext>
              </a:extLst>
            </p:cNvPr>
            <p:cNvCxnSpPr>
              <a:cxnSpLocks/>
              <a:stCxn id="33" idx="6"/>
              <a:endCxn id="30" idx="1"/>
            </p:cNvCxnSpPr>
            <p:nvPr/>
          </p:nvCxnSpPr>
          <p:spPr>
            <a:xfrm>
              <a:off x="5702686" y="3414052"/>
              <a:ext cx="1442754" cy="923847"/>
            </a:xfrm>
            <a:prstGeom prst="bentConnector3">
              <a:avLst>
                <a:gd name="adj1" fmla="val 50000"/>
              </a:avLst>
            </a:prstGeom>
            <a:noFill/>
            <a:ln w="9525">
              <a:solidFill>
                <a:srgbClr val="C00000"/>
              </a:solidFill>
              <a:prstDash val="sysDash"/>
              <a:miter lim="800000"/>
              <a:headEnd/>
              <a:tailEnd/>
            </a:ln>
          </p:spPr>
        </p:cxnSp>
        <p:grpSp>
          <p:nvGrpSpPr>
            <p:cNvPr id="35" name="组合 82">
              <a:extLst>
                <a:ext uri="{FF2B5EF4-FFF2-40B4-BE49-F238E27FC236}">
                  <a16:creationId xmlns:a16="http://schemas.microsoft.com/office/drawing/2014/main" id="{2B9DBF8E-98F3-4AAF-AE6D-4CABAE4FB6E0}"/>
                </a:ext>
              </a:extLst>
            </p:cNvPr>
            <p:cNvGrpSpPr/>
            <p:nvPr/>
          </p:nvGrpSpPr>
          <p:grpSpPr>
            <a:xfrm>
              <a:off x="75498" y="3582943"/>
              <a:ext cx="1871590" cy="790251"/>
              <a:chOff x="416520" y="4774171"/>
              <a:chExt cx="2109658" cy="890772"/>
            </a:xfrm>
          </p:grpSpPr>
          <p:sp>
            <p:nvSpPr>
              <p:cNvPr id="36" name="圆角矩形 97">
                <a:extLst>
                  <a:ext uri="{FF2B5EF4-FFF2-40B4-BE49-F238E27FC236}">
                    <a16:creationId xmlns:a16="http://schemas.microsoft.com/office/drawing/2014/main" id="{234A2F52-783F-4160-93B4-CDE4CD679102}"/>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7" name="圆角矩形 45">
                <a:extLst>
                  <a:ext uri="{FF2B5EF4-FFF2-40B4-BE49-F238E27FC236}">
                    <a16:creationId xmlns:a16="http://schemas.microsoft.com/office/drawing/2014/main" id="{D4BC0CC7-5189-44F0-9815-C6290369331E}"/>
                  </a:ext>
                </a:extLst>
              </p:cNvPr>
              <p:cNvSpPr/>
              <p:nvPr/>
            </p:nvSpPr>
            <p:spPr>
              <a:xfrm>
                <a:off x="528442" y="4774171"/>
                <a:ext cx="1885814" cy="536888"/>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NNPR</a:t>
                </a:r>
              </a:p>
            </p:txBody>
          </p:sp>
          <p:sp>
            <p:nvSpPr>
              <p:cNvPr id="38" name="Text Box 16">
                <a:extLst>
                  <a:ext uri="{FF2B5EF4-FFF2-40B4-BE49-F238E27FC236}">
                    <a16:creationId xmlns:a16="http://schemas.microsoft.com/office/drawing/2014/main" id="{6E9A6A41-1075-48B6-8869-A1A4A98035A4}"/>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27</a:t>
                </a:r>
              </a:p>
            </p:txBody>
          </p:sp>
        </p:grpSp>
        <p:sp>
          <p:nvSpPr>
            <p:cNvPr id="39" name="Oval 25">
              <a:extLst>
                <a:ext uri="{FF2B5EF4-FFF2-40B4-BE49-F238E27FC236}">
                  <a16:creationId xmlns:a16="http://schemas.microsoft.com/office/drawing/2014/main" id="{7C6F0CAF-6F92-483B-AF87-4CB18571CE66}"/>
                </a:ext>
              </a:extLst>
            </p:cNvPr>
            <p:cNvSpPr>
              <a:spLocks noChangeArrowheads="1"/>
            </p:cNvSpPr>
            <p:nvPr/>
          </p:nvSpPr>
          <p:spPr bwMode="gray">
            <a:xfrm>
              <a:off x="4138838" y="297602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40" name="肘形连接符 96">
              <a:extLst>
                <a:ext uri="{FF2B5EF4-FFF2-40B4-BE49-F238E27FC236}">
                  <a16:creationId xmlns:a16="http://schemas.microsoft.com/office/drawing/2014/main" id="{C98FD2D6-4C85-46F0-9545-E44C0594418E}"/>
                </a:ext>
              </a:extLst>
            </p:cNvPr>
            <p:cNvCxnSpPr>
              <a:cxnSpLocks/>
              <a:stCxn id="39" idx="6"/>
              <a:endCxn id="71" idx="1"/>
            </p:cNvCxnSpPr>
            <p:nvPr/>
          </p:nvCxnSpPr>
          <p:spPr>
            <a:xfrm>
              <a:off x="4235379" y="3024300"/>
              <a:ext cx="303203" cy="1700079"/>
            </a:xfrm>
            <a:prstGeom prst="bentConnector3">
              <a:avLst>
                <a:gd name="adj1" fmla="val 50000"/>
              </a:avLst>
            </a:prstGeom>
            <a:noFill/>
            <a:ln w="9525">
              <a:solidFill>
                <a:srgbClr val="C00000"/>
              </a:solidFill>
              <a:prstDash val="sysDash"/>
              <a:miter lim="800000"/>
              <a:headEnd/>
              <a:tailEnd/>
            </a:ln>
          </p:spPr>
        </p:cxnSp>
        <p:grpSp>
          <p:nvGrpSpPr>
            <p:cNvPr id="41" name="组合 70">
              <a:extLst>
                <a:ext uri="{FF2B5EF4-FFF2-40B4-BE49-F238E27FC236}">
                  <a16:creationId xmlns:a16="http://schemas.microsoft.com/office/drawing/2014/main" id="{4D3D895E-7491-48D6-8994-4271093A8454}"/>
                </a:ext>
              </a:extLst>
            </p:cNvPr>
            <p:cNvGrpSpPr/>
            <p:nvPr/>
          </p:nvGrpSpPr>
          <p:grpSpPr>
            <a:xfrm>
              <a:off x="7141017" y="1747949"/>
              <a:ext cx="1871590" cy="865124"/>
              <a:chOff x="416520" y="4774171"/>
              <a:chExt cx="2109658" cy="975169"/>
            </a:xfrm>
          </p:grpSpPr>
          <p:sp>
            <p:nvSpPr>
              <p:cNvPr id="42" name="圆角矩形 103">
                <a:extLst>
                  <a:ext uri="{FF2B5EF4-FFF2-40B4-BE49-F238E27FC236}">
                    <a16:creationId xmlns:a16="http://schemas.microsoft.com/office/drawing/2014/main" id="{5EE43F11-9F99-4A74-8979-B22B8150CD8C}"/>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43" name="圆角矩形 45">
                <a:extLst>
                  <a:ext uri="{FF2B5EF4-FFF2-40B4-BE49-F238E27FC236}">
                    <a16:creationId xmlns:a16="http://schemas.microsoft.com/office/drawing/2014/main" id="{EB56C34B-CE67-49B7-8237-A35262C14948}"/>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Dire </a:t>
                </a:r>
                <a:r>
                  <a:rPr lang="en-US" altLang="zh-CN" sz="1050" b="1" kern="0" dirty="0" err="1"/>
                  <a:t>Dawa</a:t>
                </a:r>
                <a:endParaRPr lang="en-US" altLang="zh-CN" sz="1050" b="1" kern="0" dirty="0"/>
              </a:p>
            </p:txBody>
          </p:sp>
          <p:sp>
            <p:nvSpPr>
              <p:cNvPr id="44" name="Text Box 16">
                <a:extLst>
                  <a:ext uri="{FF2B5EF4-FFF2-40B4-BE49-F238E27FC236}">
                    <a16:creationId xmlns:a16="http://schemas.microsoft.com/office/drawing/2014/main" id="{084C8F93-E005-43E3-BB08-E7C50990B26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0" name="组合 64">
              <a:extLst>
                <a:ext uri="{FF2B5EF4-FFF2-40B4-BE49-F238E27FC236}">
                  <a16:creationId xmlns:a16="http://schemas.microsoft.com/office/drawing/2014/main" id="{30EAE193-56AF-462A-8CCF-6DFC7FB909B6}"/>
                </a:ext>
              </a:extLst>
            </p:cNvPr>
            <p:cNvGrpSpPr/>
            <p:nvPr/>
          </p:nvGrpSpPr>
          <p:grpSpPr>
            <a:xfrm>
              <a:off x="67968" y="2698050"/>
              <a:ext cx="1871590" cy="790251"/>
              <a:chOff x="416520" y="4774171"/>
              <a:chExt cx="2109658" cy="890772"/>
            </a:xfrm>
          </p:grpSpPr>
          <p:sp>
            <p:nvSpPr>
              <p:cNvPr id="51" name="圆角矩形 111">
                <a:extLst>
                  <a:ext uri="{FF2B5EF4-FFF2-40B4-BE49-F238E27FC236}">
                    <a16:creationId xmlns:a16="http://schemas.microsoft.com/office/drawing/2014/main" id="{AE0E8456-5495-42E5-A73F-87624A45681C}"/>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2" name="圆角矩形 45">
                <a:extLst>
                  <a:ext uri="{FF2B5EF4-FFF2-40B4-BE49-F238E27FC236}">
                    <a16:creationId xmlns:a16="http://schemas.microsoft.com/office/drawing/2014/main" id="{05E25267-7FDA-4CF9-BA84-305BF31792E4}"/>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Gambella</a:t>
                </a:r>
                <a:endParaRPr lang="en-US" altLang="zh-CN" sz="1050" b="1" kern="0" dirty="0"/>
              </a:p>
            </p:txBody>
          </p:sp>
          <p:sp>
            <p:nvSpPr>
              <p:cNvPr id="53" name="Text Box 16">
                <a:extLst>
                  <a:ext uri="{FF2B5EF4-FFF2-40B4-BE49-F238E27FC236}">
                    <a16:creationId xmlns:a16="http://schemas.microsoft.com/office/drawing/2014/main" id="{342572EC-14F0-4DB1-BFB4-95C228B02A2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4" name="组合 67">
              <a:extLst>
                <a:ext uri="{FF2B5EF4-FFF2-40B4-BE49-F238E27FC236}">
                  <a16:creationId xmlns:a16="http://schemas.microsoft.com/office/drawing/2014/main" id="{6E5B4320-4D97-4B9E-B5FA-B6D0A9D0106E}"/>
                </a:ext>
              </a:extLst>
            </p:cNvPr>
            <p:cNvGrpSpPr/>
            <p:nvPr/>
          </p:nvGrpSpPr>
          <p:grpSpPr>
            <a:xfrm>
              <a:off x="75498" y="893742"/>
              <a:ext cx="1871590" cy="790251"/>
              <a:chOff x="416520" y="4774171"/>
              <a:chExt cx="2109658" cy="890772"/>
            </a:xfrm>
          </p:grpSpPr>
          <p:sp>
            <p:nvSpPr>
              <p:cNvPr id="55" name="圆角矩形 108">
                <a:extLst>
                  <a:ext uri="{FF2B5EF4-FFF2-40B4-BE49-F238E27FC236}">
                    <a16:creationId xmlns:a16="http://schemas.microsoft.com/office/drawing/2014/main" id="{98764514-5B68-4668-86C8-4D9597BDC9E5}"/>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6" name="圆角矩形 45">
                <a:extLst>
                  <a:ext uri="{FF2B5EF4-FFF2-40B4-BE49-F238E27FC236}">
                    <a16:creationId xmlns:a16="http://schemas.microsoft.com/office/drawing/2014/main" id="{32A417A9-B914-463B-A5F7-EEF561C48D79}"/>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a:r>
                  <a:rPr lang="en-US" altLang="zh-CN" sz="1050" b="1" kern="0" dirty="0" err="1"/>
                  <a:t>Benishangu</a:t>
                </a:r>
                <a:endParaRPr lang="en-US" altLang="zh-CN" sz="1050" b="1" kern="0" dirty="0"/>
              </a:p>
            </p:txBody>
          </p:sp>
          <p:sp>
            <p:nvSpPr>
              <p:cNvPr id="57" name="Text Box 16">
                <a:extLst>
                  <a:ext uri="{FF2B5EF4-FFF2-40B4-BE49-F238E27FC236}">
                    <a16:creationId xmlns:a16="http://schemas.microsoft.com/office/drawing/2014/main" id="{7985AD28-3535-497A-8C16-20C20A7AD2C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cxnSp>
          <p:nvCxnSpPr>
            <p:cNvPr id="58" name="肘形连接符 69">
              <a:extLst>
                <a:ext uri="{FF2B5EF4-FFF2-40B4-BE49-F238E27FC236}">
                  <a16:creationId xmlns:a16="http://schemas.microsoft.com/office/drawing/2014/main" id="{88825988-ACC8-4991-8349-89F7708F0544}"/>
                </a:ext>
              </a:extLst>
            </p:cNvPr>
            <p:cNvCxnSpPr>
              <a:cxnSpLocks/>
              <a:stCxn id="62" idx="2"/>
              <a:endCxn id="55" idx="3"/>
            </p:cNvCxnSpPr>
            <p:nvPr/>
          </p:nvCxnSpPr>
          <p:spPr>
            <a:xfrm rot="10800000">
              <a:off x="1947088" y="1370044"/>
              <a:ext cx="1410756" cy="1145591"/>
            </a:xfrm>
            <a:prstGeom prst="bentConnector3">
              <a:avLst>
                <a:gd name="adj1" fmla="val 35169"/>
              </a:avLst>
            </a:prstGeom>
            <a:noFill/>
            <a:ln w="9525">
              <a:solidFill>
                <a:srgbClr val="C00000"/>
              </a:solidFill>
              <a:prstDash val="sysDash"/>
              <a:miter lim="800000"/>
              <a:headEnd/>
              <a:tailEnd/>
            </a:ln>
          </p:spPr>
        </p:cxnSp>
        <p:sp>
          <p:nvSpPr>
            <p:cNvPr id="62" name="Oval 25">
              <a:extLst>
                <a:ext uri="{FF2B5EF4-FFF2-40B4-BE49-F238E27FC236}">
                  <a16:creationId xmlns:a16="http://schemas.microsoft.com/office/drawing/2014/main" id="{C9E1F3BA-5535-4734-A4DA-9EC7D7F665FE}"/>
                </a:ext>
              </a:extLst>
            </p:cNvPr>
            <p:cNvSpPr>
              <a:spLocks noChangeArrowheads="1"/>
            </p:cNvSpPr>
            <p:nvPr/>
          </p:nvSpPr>
          <p:spPr bwMode="gray">
            <a:xfrm>
              <a:off x="3357844" y="24673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64" name="肘形连接符 69">
              <a:extLst>
                <a:ext uri="{FF2B5EF4-FFF2-40B4-BE49-F238E27FC236}">
                  <a16:creationId xmlns:a16="http://schemas.microsoft.com/office/drawing/2014/main" id="{5F881C9B-6FD7-4D13-939C-7381F613CA59}"/>
                </a:ext>
              </a:extLst>
            </p:cNvPr>
            <p:cNvCxnSpPr>
              <a:cxnSpLocks/>
              <a:stCxn id="65" idx="2"/>
              <a:endCxn id="51" idx="3"/>
            </p:cNvCxnSpPr>
            <p:nvPr/>
          </p:nvCxnSpPr>
          <p:spPr>
            <a:xfrm rot="10800000">
              <a:off x="1939558" y="3174350"/>
              <a:ext cx="1086134" cy="155630"/>
            </a:xfrm>
            <a:prstGeom prst="bentConnector3">
              <a:avLst>
                <a:gd name="adj1" fmla="val 50000"/>
              </a:avLst>
            </a:prstGeom>
            <a:noFill/>
            <a:ln w="9525">
              <a:solidFill>
                <a:srgbClr val="C00000"/>
              </a:solidFill>
              <a:prstDash val="sysDash"/>
              <a:miter lim="800000"/>
              <a:headEnd/>
              <a:tailEnd/>
            </a:ln>
          </p:spPr>
        </p:cxnSp>
        <p:sp>
          <p:nvSpPr>
            <p:cNvPr id="65" name="Oval 25">
              <a:extLst>
                <a:ext uri="{FF2B5EF4-FFF2-40B4-BE49-F238E27FC236}">
                  <a16:creationId xmlns:a16="http://schemas.microsoft.com/office/drawing/2014/main" id="{65B295EA-49F4-4C44-8071-5438CBC7096F}"/>
                </a:ext>
              </a:extLst>
            </p:cNvPr>
            <p:cNvSpPr>
              <a:spLocks noChangeArrowheads="1"/>
            </p:cNvSpPr>
            <p:nvPr/>
          </p:nvSpPr>
          <p:spPr bwMode="gray">
            <a:xfrm>
              <a:off x="3025692" y="328170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grpSp>
          <p:nvGrpSpPr>
            <p:cNvPr id="70" name="组合 64">
              <a:extLst>
                <a:ext uri="{FF2B5EF4-FFF2-40B4-BE49-F238E27FC236}">
                  <a16:creationId xmlns:a16="http://schemas.microsoft.com/office/drawing/2014/main" id="{7AAE5CD7-74BF-48C2-BC1F-1EFAF4E64F85}"/>
                </a:ext>
              </a:extLst>
            </p:cNvPr>
            <p:cNvGrpSpPr/>
            <p:nvPr/>
          </p:nvGrpSpPr>
          <p:grpSpPr>
            <a:xfrm>
              <a:off x="4538582" y="4248080"/>
              <a:ext cx="1871590" cy="1016860"/>
              <a:chOff x="416520" y="4774171"/>
              <a:chExt cx="2109658" cy="1146206"/>
            </a:xfrm>
          </p:grpSpPr>
          <p:sp>
            <p:nvSpPr>
              <p:cNvPr id="71" name="圆角矩形 111">
                <a:extLst>
                  <a:ext uri="{FF2B5EF4-FFF2-40B4-BE49-F238E27FC236}">
                    <a16:creationId xmlns:a16="http://schemas.microsoft.com/office/drawing/2014/main" id="{1F4174F9-786F-4A50-8E2F-6EA8D21B048D}"/>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72" name="圆角矩形 45">
                <a:extLst>
                  <a:ext uri="{FF2B5EF4-FFF2-40B4-BE49-F238E27FC236}">
                    <a16:creationId xmlns:a16="http://schemas.microsoft.com/office/drawing/2014/main" id="{CE30310A-DF3F-4809-B212-ABFDB74F27E8}"/>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ddis </a:t>
                </a:r>
                <a:r>
                  <a:rPr lang="en-US" altLang="zh-CN" sz="1050" b="1" kern="0" dirty="0" err="1"/>
                  <a:t>Addiba</a:t>
                </a:r>
                <a:endParaRPr lang="en-US" altLang="zh-CN" sz="1050" b="1" kern="0" dirty="0"/>
              </a:p>
            </p:txBody>
          </p:sp>
          <p:sp>
            <p:nvSpPr>
              <p:cNvPr id="73" name="Text Box 16">
                <a:extLst>
                  <a:ext uri="{FF2B5EF4-FFF2-40B4-BE49-F238E27FC236}">
                    <a16:creationId xmlns:a16="http://schemas.microsoft.com/office/drawing/2014/main" id="{B1C3C83E-21F1-4F0F-935D-DD830F78ABCE}"/>
                  </a:ext>
                </a:extLst>
              </p:cNvPr>
              <p:cNvSpPr txBox="1">
                <a:spLocks noChangeArrowheads="1"/>
              </p:cNvSpPr>
              <p:nvPr/>
            </p:nvSpPr>
            <p:spPr bwMode="auto">
              <a:xfrm>
                <a:off x="481277" y="5301818"/>
                <a:ext cx="1978394" cy="61855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a:p>
                <a:pPr marL="117475" indent="-117475">
                  <a:lnSpc>
                    <a:spcPct val="114000"/>
                  </a:lnSpc>
                  <a:buClr>
                    <a:schemeClr val="bg1">
                      <a:lumMod val="50000"/>
                    </a:schemeClr>
                  </a:buClr>
                  <a:buSzPct val="50000"/>
                  <a:buFont typeface="Wingdings" pitchFamily="2" charset="2"/>
                  <a:buChar char="l"/>
                </a:pPr>
                <a:endParaRPr lang="en-US" altLang="zh-CN" sz="1050" dirty="0">
                  <a:latin typeface="Calibri" pitchFamily="34" charset="0"/>
                  <a:cs typeface="Calibri" pitchFamily="34" charset="0"/>
                </a:endParaRPr>
              </a:p>
            </p:txBody>
          </p:sp>
        </p:grpSp>
        <p:sp>
          <p:nvSpPr>
            <p:cNvPr id="76" name="Oval 25">
              <a:extLst>
                <a:ext uri="{FF2B5EF4-FFF2-40B4-BE49-F238E27FC236}">
                  <a16:creationId xmlns:a16="http://schemas.microsoft.com/office/drawing/2014/main" id="{BFCCB5BA-6392-496A-91F0-5C152B2CE5A9}"/>
                </a:ext>
              </a:extLst>
            </p:cNvPr>
            <p:cNvSpPr>
              <a:spLocks noChangeArrowheads="1"/>
            </p:cNvSpPr>
            <p:nvPr/>
          </p:nvSpPr>
          <p:spPr bwMode="gray">
            <a:xfrm>
              <a:off x="3542017" y="363233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77" name="肘形连接符 96">
              <a:extLst>
                <a:ext uri="{FF2B5EF4-FFF2-40B4-BE49-F238E27FC236}">
                  <a16:creationId xmlns:a16="http://schemas.microsoft.com/office/drawing/2014/main" id="{D06EE75B-4DD9-44C4-ABC9-4E22A0FDB5A5}"/>
                </a:ext>
              </a:extLst>
            </p:cNvPr>
            <p:cNvCxnSpPr>
              <a:cxnSpLocks/>
              <a:stCxn id="76" idx="4"/>
              <a:endCxn id="36" idx="3"/>
            </p:cNvCxnSpPr>
            <p:nvPr/>
          </p:nvCxnSpPr>
          <p:spPr>
            <a:xfrm rot="5400000">
              <a:off x="2603503" y="3072459"/>
              <a:ext cx="330370" cy="1643200"/>
            </a:xfrm>
            <a:prstGeom prst="bentConnector2">
              <a:avLst/>
            </a:prstGeom>
            <a:noFill/>
            <a:ln w="9525">
              <a:solidFill>
                <a:srgbClr val="C00000"/>
              </a:solidFill>
              <a:prstDash val="sysDash"/>
              <a:miter lim="800000"/>
              <a:headEnd/>
              <a:tailEnd/>
            </a:ln>
          </p:spPr>
        </p:cxnSp>
        <p:grpSp>
          <p:nvGrpSpPr>
            <p:cNvPr id="81" name="组合 64">
              <a:extLst>
                <a:ext uri="{FF2B5EF4-FFF2-40B4-BE49-F238E27FC236}">
                  <a16:creationId xmlns:a16="http://schemas.microsoft.com/office/drawing/2014/main" id="{6A036EA2-C096-476F-9783-983486308285}"/>
                </a:ext>
              </a:extLst>
            </p:cNvPr>
            <p:cNvGrpSpPr/>
            <p:nvPr/>
          </p:nvGrpSpPr>
          <p:grpSpPr>
            <a:xfrm>
              <a:off x="3626905" y="32224"/>
              <a:ext cx="1871590" cy="790251"/>
              <a:chOff x="416520" y="4774171"/>
              <a:chExt cx="2109658" cy="890772"/>
            </a:xfrm>
          </p:grpSpPr>
          <p:sp>
            <p:nvSpPr>
              <p:cNvPr id="82" name="圆角矩形 111">
                <a:extLst>
                  <a:ext uri="{FF2B5EF4-FFF2-40B4-BE49-F238E27FC236}">
                    <a16:creationId xmlns:a16="http://schemas.microsoft.com/office/drawing/2014/main" id="{1CD3CF8F-D4D5-43C1-8237-91BA11C77FEF}"/>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83" name="圆角矩形 45">
                <a:extLst>
                  <a:ext uri="{FF2B5EF4-FFF2-40B4-BE49-F238E27FC236}">
                    <a16:creationId xmlns:a16="http://schemas.microsoft.com/office/drawing/2014/main" id="{79010BF9-A98E-4CC0-ABA2-AB72BFFB0725}"/>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Tigray</a:t>
                </a:r>
              </a:p>
            </p:txBody>
          </p:sp>
          <p:sp>
            <p:nvSpPr>
              <p:cNvPr id="84" name="Text Box 16">
                <a:extLst>
                  <a:ext uri="{FF2B5EF4-FFF2-40B4-BE49-F238E27FC236}">
                    <a16:creationId xmlns:a16="http://schemas.microsoft.com/office/drawing/2014/main" id="{25538059-5F82-4D24-B589-CE0C0C75BC23}"/>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9</a:t>
                </a:r>
              </a:p>
            </p:txBody>
          </p:sp>
        </p:grpSp>
        <p:sp>
          <p:nvSpPr>
            <p:cNvPr id="86" name="Oval 25">
              <a:extLst>
                <a:ext uri="{FF2B5EF4-FFF2-40B4-BE49-F238E27FC236}">
                  <a16:creationId xmlns:a16="http://schemas.microsoft.com/office/drawing/2014/main" id="{758276CD-4187-49F8-BB54-873A50CD169A}"/>
                </a:ext>
              </a:extLst>
            </p:cNvPr>
            <p:cNvSpPr>
              <a:spLocks noChangeArrowheads="1"/>
            </p:cNvSpPr>
            <p:nvPr/>
          </p:nvSpPr>
          <p:spPr bwMode="gray">
            <a:xfrm>
              <a:off x="3971983" y="169127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87" name="肘形连接符 69">
              <a:extLst>
                <a:ext uri="{FF2B5EF4-FFF2-40B4-BE49-F238E27FC236}">
                  <a16:creationId xmlns:a16="http://schemas.microsoft.com/office/drawing/2014/main" id="{6FFFA2DD-BE46-489F-81DF-CD6E07B4839A}"/>
                </a:ext>
              </a:extLst>
            </p:cNvPr>
            <p:cNvCxnSpPr>
              <a:cxnSpLocks/>
              <a:stCxn id="86" idx="6"/>
              <a:endCxn id="84" idx="2"/>
            </p:cNvCxnSpPr>
            <p:nvPr/>
          </p:nvCxnSpPr>
          <p:spPr>
            <a:xfrm flipV="1">
              <a:off x="4068524" y="822475"/>
              <a:ext cx="493400" cy="917069"/>
            </a:xfrm>
            <a:prstGeom prst="bentConnector2">
              <a:avLst/>
            </a:prstGeom>
            <a:noFill/>
            <a:ln w="9525">
              <a:solidFill>
                <a:srgbClr val="C00000"/>
              </a:solidFill>
              <a:prstDash val="sysDash"/>
              <a:miter lim="800000"/>
              <a:headEnd/>
              <a:tailEnd/>
            </a:ln>
          </p:spPr>
        </p:cxnSp>
        <p:grpSp>
          <p:nvGrpSpPr>
            <p:cNvPr id="90" name="组合 64">
              <a:extLst>
                <a:ext uri="{FF2B5EF4-FFF2-40B4-BE49-F238E27FC236}">
                  <a16:creationId xmlns:a16="http://schemas.microsoft.com/office/drawing/2014/main" id="{036F07BE-20D8-4A55-BE68-2F3D5E331899}"/>
                </a:ext>
              </a:extLst>
            </p:cNvPr>
            <p:cNvGrpSpPr/>
            <p:nvPr/>
          </p:nvGrpSpPr>
          <p:grpSpPr>
            <a:xfrm>
              <a:off x="5623609" y="37096"/>
              <a:ext cx="1871590" cy="790251"/>
              <a:chOff x="416520" y="4774171"/>
              <a:chExt cx="2109658" cy="890772"/>
            </a:xfrm>
          </p:grpSpPr>
          <p:sp>
            <p:nvSpPr>
              <p:cNvPr id="91" name="圆角矩形 111">
                <a:extLst>
                  <a:ext uri="{FF2B5EF4-FFF2-40B4-BE49-F238E27FC236}">
                    <a16:creationId xmlns:a16="http://schemas.microsoft.com/office/drawing/2014/main" id="{FA4A57B1-9C83-4FB5-9CC6-8C92BDCE1318}"/>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92" name="圆角矩形 45">
                <a:extLst>
                  <a:ext uri="{FF2B5EF4-FFF2-40B4-BE49-F238E27FC236}">
                    <a16:creationId xmlns:a16="http://schemas.microsoft.com/office/drawing/2014/main" id="{3544F7C3-1725-472C-A916-C6D97A77FBF9}"/>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far</a:t>
                </a:r>
              </a:p>
            </p:txBody>
          </p:sp>
          <p:sp>
            <p:nvSpPr>
              <p:cNvPr id="93" name="Text Box 16">
                <a:extLst>
                  <a:ext uri="{FF2B5EF4-FFF2-40B4-BE49-F238E27FC236}">
                    <a16:creationId xmlns:a16="http://schemas.microsoft.com/office/drawing/2014/main" id="{61A779D1-8C11-443F-849F-65D265531182}"/>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a:t>
                </a:r>
              </a:p>
            </p:txBody>
          </p:sp>
        </p:grpSp>
        <p:sp>
          <p:nvSpPr>
            <p:cNvPr id="94" name="Oval 25">
              <a:extLst>
                <a:ext uri="{FF2B5EF4-FFF2-40B4-BE49-F238E27FC236}">
                  <a16:creationId xmlns:a16="http://schemas.microsoft.com/office/drawing/2014/main" id="{18C7578B-17FD-4219-9A8D-0CAA210EA09F}"/>
                </a:ext>
              </a:extLst>
            </p:cNvPr>
            <p:cNvSpPr>
              <a:spLocks noChangeArrowheads="1"/>
            </p:cNvSpPr>
            <p:nvPr/>
          </p:nvSpPr>
          <p:spPr bwMode="gray">
            <a:xfrm>
              <a:off x="4661272" y="20236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5" name="肘形连接符 69">
              <a:extLst>
                <a:ext uri="{FF2B5EF4-FFF2-40B4-BE49-F238E27FC236}">
                  <a16:creationId xmlns:a16="http://schemas.microsoft.com/office/drawing/2014/main" id="{F5C45099-0DCB-44B9-9EA2-7A12542EF273}"/>
                </a:ext>
              </a:extLst>
            </p:cNvPr>
            <p:cNvCxnSpPr>
              <a:cxnSpLocks/>
              <a:stCxn id="94" idx="6"/>
              <a:endCxn id="93" idx="2"/>
            </p:cNvCxnSpPr>
            <p:nvPr/>
          </p:nvCxnSpPr>
          <p:spPr>
            <a:xfrm flipV="1">
              <a:off x="4757813" y="827346"/>
              <a:ext cx="1800816" cy="1244587"/>
            </a:xfrm>
            <a:prstGeom prst="bentConnector2">
              <a:avLst/>
            </a:prstGeom>
            <a:noFill/>
            <a:ln w="9525">
              <a:solidFill>
                <a:srgbClr val="C00000"/>
              </a:solidFill>
              <a:prstDash val="sysDash"/>
              <a:miter lim="800000"/>
              <a:headEnd/>
              <a:tailEnd/>
            </a:ln>
          </p:spPr>
        </p:cxnSp>
        <p:sp>
          <p:nvSpPr>
            <p:cNvPr id="98" name="Oval 25">
              <a:extLst>
                <a:ext uri="{FF2B5EF4-FFF2-40B4-BE49-F238E27FC236}">
                  <a16:creationId xmlns:a16="http://schemas.microsoft.com/office/drawing/2014/main" id="{51F9F5A8-F636-4FAF-8D88-B591F1714C09}"/>
                </a:ext>
              </a:extLst>
            </p:cNvPr>
            <p:cNvSpPr>
              <a:spLocks noChangeArrowheads="1"/>
            </p:cNvSpPr>
            <p:nvPr/>
          </p:nvSpPr>
          <p:spPr bwMode="gray">
            <a:xfrm>
              <a:off x="4921183" y="275594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9" name="肘形连接符 72">
              <a:extLst>
                <a:ext uri="{FF2B5EF4-FFF2-40B4-BE49-F238E27FC236}">
                  <a16:creationId xmlns:a16="http://schemas.microsoft.com/office/drawing/2014/main" id="{3662F052-CE6C-4A1B-9ACA-0E97C79AE060}"/>
                </a:ext>
              </a:extLst>
            </p:cNvPr>
            <p:cNvCxnSpPr>
              <a:cxnSpLocks/>
              <a:stCxn id="98" idx="0"/>
              <a:endCxn id="42" idx="1"/>
            </p:cNvCxnSpPr>
            <p:nvPr/>
          </p:nvCxnSpPr>
          <p:spPr>
            <a:xfrm rot="5400000" flipH="1" flipV="1">
              <a:off x="5809638" y="1424571"/>
              <a:ext cx="491194" cy="2171563"/>
            </a:xfrm>
            <a:prstGeom prst="bentConnector2">
              <a:avLst/>
            </a:prstGeom>
            <a:noFill/>
            <a:ln w="9525">
              <a:solidFill>
                <a:srgbClr val="C00000"/>
              </a:solidFill>
              <a:prstDash val="sysDash"/>
              <a:miter lim="800000"/>
              <a:headEnd/>
              <a:tailEnd/>
            </a:ln>
          </p:spPr>
        </p:cxnSp>
        <p:grpSp>
          <p:nvGrpSpPr>
            <p:cNvPr id="109" name="组合 70">
              <a:extLst>
                <a:ext uri="{FF2B5EF4-FFF2-40B4-BE49-F238E27FC236}">
                  <a16:creationId xmlns:a16="http://schemas.microsoft.com/office/drawing/2014/main" id="{9BA3ADDF-1C83-4B24-BCE1-A35EFEF8180F}"/>
                </a:ext>
              </a:extLst>
            </p:cNvPr>
            <p:cNvGrpSpPr/>
            <p:nvPr/>
          </p:nvGrpSpPr>
          <p:grpSpPr>
            <a:xfrm>
              <a:off x="7082014" y="2741788"/>
              <a:ext cx="1871590" cy="865124"/>
              <a:chOff x="416520" y="4774171"/>
              <a:chExt cx="2109658" cy="975169"/>
            </a:xfrm>
          </p:grpSpPr>
          <p:sp>
            <p:nvSpPr>
              <p:cNvPr id="110" name="圆角矩形 103">
                <a:extLst>
                  <a:ext uri="{FF2B5EF4-FFF2-40B4-BE49-F238E27FC236}">
                    <a16:creationId xmlns:a16="http://schemas.microsoft.com/office/drawing/2014/main" id="{16F02A84-C5AC-4394-ADC1-72AB539664C1}"/>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11" name="圆角矩形 45">
                <a:extLst>
                  <a:ext uri="{FF2B5EF4-FFF2-40B4-BE49-F238E27FC236}">
                    <a16:creationId xmlns:a16="http://schemas.microsoft.com/office/drawing/2014/main" id="{8464793F-819C-4AD2-BBC9-F202C8C2562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Harari</a:t>
                </a:r>
              </a:p>
            </p:txBody>
          </p:sp>
          <p:sp>
            <p:nvSpPr>
              <p:cNvPr id="112" name="Text Box 16">
                <a:extLst>
                  <a:ext uri="{FF2B5EF4-FFF2-40B4-BE49-F238E27FC236}">
                    <a16:creationId xmlns:a16="http://schemas.microsoft.com/office/drawing/2014/main" id="{5E4B41EB-05BA-4F44-9652-B86EAB45E2A9}"/>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sp>
          <p:nvSpPr>
            <p:cNvPr id="114" name="Oval 25">
              <a:extLst>
                <a:ext uri="{FF2B5EF4-FFF2-40B4-BE49-F238E27FC236}">
                  <a16:creationId xmlns:a16="http://schemas.microsoft.com/office/drawing/2014/main" id="{C2B008C3-D01D-4897-9901-A7836F64BA4B}"/>
                </a:ext>
              </a:extLst>
            </p:cNvPr>
            <p:cNvSpPr>
              <a:spLocks noChangeArrowheads="1"/>
            </p:cNvSpPr>
            <p:nvPr/>
          </p:nvSpPr>
          <p:spPr bwMode="gray">
            <a:xfrm>
              <a:off x="4997124" y="2866157"/>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15" name="肘形连接符 72">
              <a:extLst>
                <a:ext uri="{FF2B5EF4-FFF2-40B4-BE49-F238E27FC236}">
                  <a16:creationId xmlns:a16="http://schemas.microsoft.com/office/drawing/2014/main" id="{636E5E82-117A-40E4-BFC5-E0DD940D4473}"/>
                </a:ext>
              </a:extLst>
            </p:cNvPr>
            <p:cNvCxnSpPr>
              <a:cxnSpLocks/>
              <a:stCxn id="114" idx="6"/>
              <a:endCxn id="110" idx="1"/>
            </p:cNvCxnSpPr>
            <p:nvPr/>
          </p:nvCxnSpPr>
          <p:spPr>
            <a:xfrm>
              <a:off x="5093665" y="2914428"/>
              <a:ext cx="1988349" cy="344166"/>
            </a:xfrm>
            <a:prstGeom prst="bentConnector3">
              <a:avLst>
                <a:gd name="adj1" fmla="val 50000"/>
              </a:avLst>
            </a:prstGeom>
            <a:noFill/>
            <a:ln w="9525">
              <a:solidFill>
                <a:srgbClr val="C00000"/>
              </a:solidFill>
              <a:prstDash val="sysDash"/>
              <a:miter lim="800000"/>
              <a:headEnd/>
              <a:tailEnd/>
            </a:ln>
          </p:spPr>
        </p:cxnSp>
        <p:sp>
          <p:nvSpPr>
            <p:cNvPr id="123" name="Oval 25">
              <a:extLst>
                <a:ext uri="{FF2B5EF4-FFF2-40B4-BE49-F238E27FC236}">
                  <a16:creationId xmlns:a16="http://schemas.microsoft.com/office/drawing/2014/main" id="{E93DC02B-9D58-4888-B231-B7EBC787BFDC}"/>
                </a:ext>
              </a:extLst>
            </p:cNvPr>
            <p:cNvSpPr>
              <a:spLocks noChangeArrowheads="1"/>
            </p:cNvSpPr>
            <p:nvPr/>
          </p:nvSpPr>
          <p:spPr bwMode="gray">
            <a:xfrm>
              <a:off x="4149722" y="355038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24" name="肘形连接符 96">
              <a:extLst>
                <a:ext uri="{FF2B5EF4-FFF2-40B4-BE49-F238E27FC236}">
                  <a16:creationId xmlns:a16="http://schemas.microsoft.com/office/drawing/2014/main" id="{72540446-FF33-4D44-A6A4-009F944EC95D}"/>
                </a:ext>
              </a:extLst>
            </p:cNvPr>
            <p:cNvCxnSpPr>
              <a:cxnSpLocks/>
              <a:stCxn id="123" idx="4"/>
              <a:endCxn id="126" idx="3"/>
            </p:cNvCxnSpPr>
            <p:nvPr/>
          </p:nvCxnSpPr>
          <p:spPr>
            <a:xfrm rot="5400000">
              <a:off x="3632788" y="4143122"/>
              <a:ext cx="1061402" cy="69009"/>
            </a:xfrm>
            <a:prstGeom prst="bentConnector2">
              <a:avLst/>
            </a:prstGeom>
            <a:noFill/>
            <a:ln w="9525">
              <a:solidFill>
                <a:srgbClr val="C00000"/>
              </a:solidFill>
              <a:prstDash val="sysDash"/>
              <a:miter lim="800000"/>
              <a:headEnd/>
              <a:tailEnd/>
            </a:ln>
          </p:spPr>
        </p:cxnSp>
        <p:grpSp>
          <p:nvGrpSpPr>
            <p:cNvPr id="125" name="组合 64">
              <a:extLst>
                <a:ext uri="{FF2B5EF4-FFF2-40B4-BE49-F238E27FC236}">
                  <a16:creationId xmlns:a16="http://schemas.microsoft.com/office/drawing/2014/main" id="{13FFB77C-2D13-4FF9-891F-3E5EBC054773}"/>
                </a:ext>
              </a:extLst>
            </p:cNvPr>
            <p:cNvGrpSpPr/>
            <p:nvPr/>
          </p:nvGrpSpPr>
          <p:grpSpPr>
            <a:xfrm>
              <a:off x="2257394" y="4232027"/>
              <a:ext cx="1871590" cy="790251"/>
              <a:chOff x="416520" y="4774171"/>
              <a:chExt cx="2109658" cy="890772"/>
            </a:xfrm>
          </p:grpSpPr>
          <p:sp>
            <p:nvSpPr>
              <p:cNvPr id="126" name="圆角矩形 111">
                <a:extLst>
                  <a:ext uri="{FF2B5EF4-FFF2-40B4-BE49-F238E27FC236}">
                    <a16:creationId xmlns:a16="http://schemas.microsoft.com/office/drawing/2014/main" id="{38FFAE92-199A-45E9-9C4F-ED3E34D38205}"/>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27" name="圆角矩形 45">
                <a:extLst>
                  <a:ext uri="{FF2B5EF4-FFF2-40B4-BE49-F238E27FC236}">
                    <a16:creationId xmlns:a16="http://schemas.microsoft.com/office/drawing/2014/main" id="{A8335C70-550F-4B71-B369-9540C498C15B}"/>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Sidama</a:t>
                </a:r>
                <a:endParaRPr lang="en-US" altLang="zh-CN" sz="1050" b="1" kern="0" dirty="0"/>
              </a:p>
            </p:txBody>
          </p:sp>
          <p:sp>
            <p:nvSpPr>
              <p:cNvPr id="128" name="Text Box 16">
                <a:extLst>
                  <a:ext uri="{FF2B5EF4-FFF2-40B4-BE49-F238E27FC236}">
                    <a16:creationId xmlns:a16="http://schemas.microsoft.com/office/drawing/2014/main" id="{72345BE6-B27B-407A-B540-F9CC9632D7C6}"/>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4</a:t>
                </a:r>
              </a:p>
            </p:txBody>
          </p:sp>
        </p:grpSp>
      </p:grpSp>
      <p:sp>
        <p:nvSpPr>
          <p:cNvPr id="2" name="Title 1">
            <a:extLst>
              <a:ext uri="{FF2B5EF4-FFF2-40B4-BE49-F238E27FC236}">
                <a16:creationId xmlns:a16="http://schemas.microsoft.com/office/drawing/2014/main" id="{93C0B23C-FB28-4192-8F94-1288B3F7D3CE}"/>
              </a:ext>
            </a:extLst>
          </p:cNvPr>
          <p:cNvSpPr>
            <a:spLocks noGrp="1"/>
          </p:cNvSpPr>
          <p:nvPr>
            <p:ph type="title"/>
          </p:nvPr>
        </p:nvSpPr>
        <p:spPr>
          <a:xfrm>
            <a:off x="0" y="0"/>
            <a:ext cx="8513064" cy="765432"/>
          </a:xfrm>
        </p:spPr>
        <p:txBody>
          <a:bodyPr/>
          <a:lstStyle/>
          <a:p>
            <a:r>
              <a:rPr lang="en-ZA" dirty="0"/>
              <a:t>Year 5 – Sites Per Region</a:t>
            </a:r>
            <a:endParaRPr lang="en-GB" dirty="0"/>
          </a:p>
        </p:txBody>
      </p:sp>
      <p:sp>
        <p:nvSpPr>
          <p:cNvPr id="96" name="Rectangle: Rounded Corners 95">
            <a:extLst>
              <a:ext uri="{FF2B5EF4-FFF2-40B4-BE49-F238E27FC236}">
                <a16:creationId xmlns:a16="http://schemas.microsoft.com/office/drawing/2014/main" id="{051C770E-F35F-47BF-B3FD-1D99AABB3EBE}"/>
              </a:ext>
            </a:extLst>
          </p:cNvPr>
          <p:cNvSpPr/>
          <p:nvPr/>
        </p:nvSpPr>
        <p:spPr>
          <a:xfrm>
            <a:off x="6645720" y="209326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97" name="Rectangle: Rounded Corners 96">
            <a:extLst>
              <a:ext uri="{FF2B5EF4-FFF2-40B4-BE49-F238E27FC236}">
                <a16:creationId xmlns:a16="http://schemas.microsoft.com/office/drawing/2014/main" id="{EDFEFD44-D98C-442E-A48B-D0FEB0A1573D}"/>
              </a:ext>
            </a:extLst>
          </p:cNvPr>
          <p:cNvSpPr/>
          <p:nvPr/>
        </p:nvSpPr>
        <p:spPr>
          <a:xfrm>
            <a:off x="654553" y="2864498"/>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0" name="Rectangle: Rounded Corners 99">
            <a:extLst>
              <a:ext uri="{FF2B5EF4-FFF2-40B4-BE49-F238E27FC236}">
                <a16:creationId xmlns:a16="http://schemas.microsoft.com/office/drawing/2014/main" id="{C2AC633A-AAF1-4A78-B487-FC1126C98EA2}"/>
              </a:ext>
            </a:extLst>
          </p:cNvPr>
          <p:cNvSpPr/>
          <p:nvPr/>
        </p:nvSpPr>
        <p:spPr>
          <a:xfrm>
            <a:off x="654036" y="129305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1" name="Rectangle: Rounded Corners 100">
            <a:extLst>
              <a:ext uri="{FF2B5EF4-FFF2-40B4-BE49-F238E27FC236}">
                <a16:creationId xmlns:a16="http://schemas.microsoft.com/office/drawing/2014/main" id="{EA8CCFF5-BBB3-499E-9D71-9520A44AB5FD}"/>
              </a:ext>
            </a:extLst>
          </p:cNvPr>
          <p:cNvSpPr/>
          <p:nvPr/>
        </p:nvSpPr>
        <p:spPr>
          <a:xfrm>
            <a:off x="4412483" y="4224995"/>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2" name="Rectangle: Rounded Corners 101">
            <a:extLst>
              <a:ext uri="{FF2B5EF4-FFF2-40B4-BE49-F238E27FC236}">
                <a16:creationId xmlns:a16="http://schemas.microsoft.com/office/drawing/2014/main" id="{F5618E3F-C797-4792-9B33-6C9E7E6AE198}"/>
              </a:ext>
            </a:extLst>
          </p:cNvPr>
          <p:cNvSpPr/>
          <p:nvPr/>
        </p:nvSpPr>
        <p:spPr>
          <a:xfrm>
            <a:off x="6574718" y="2940250"/>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5462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51F3256C-BE97-4ABB-85A5-4DA7D65184A7}"/>
              </a:ext>
            </a:extLst>
          </p:cNvPr>
          <p:cNvGrpSpPr/>
          <p:nvPr/>
        </p:nvGrpSpPr>
        <p:grpSpPr>
          <a:xfrm>
            <a:off x="673520" y="639619"/>
            <a:ext cx="7621852" cy="4456667"/>
            <a:chOff x="67968" y="32224"/>
            <a:chExt cx="8949062" cy="5232716"/>
          </a:xfrm>
        </p:grpSpPr>
        <p:sp>
          <p:nvSpPr>
            <p:cNvPr id="4" name="Freeform 5">
              <a:extLst>
                <a:ext uri="{FF2B5EF4-FFF2-40B4-BE49-F238E27FC236}">
                  <a16:creationId xmlns:a16="http://schemas.microsoft.com/office/drawing/2014/main" id="{4E02DADB-17BF-4D65-9828-BBF2FE40BFFA}"/>
                </a:ext>
              </a:extLst>
            </p:cNvPr>
            <p:cNvSpPr>
              <a:spLocks/>
            </p:cNvSpPr>
            <p:nvPr/>
          </p:nvSpPr>
          <p:spPr bwMode="auto">
            <a:xfrm>
              <a:off x="3032579" y="2633549"/>
              <a:ext cx="2192810" cy="1750586"/>
            </a:xfrm>
            <a:custGeom>
              <a:avLst/>
              <a:gdLst>
                <a:gd name="T0" fmla="*/ 5385 w 7785"/>
                <a:gd name="T1" fmla="*/ 1284 h 6216"/>
                <a:gd name="T2" fmla="*/ 5001 w 7785"/>
                <a:gd name="T3" fmla="*/ 1356 h 6216"/>
                <a:gd name="T4" fmla="*/ 4605 w 7785"/>
                <a:gd name="T5" fmla="*/ 1200 h 6216"/>
                <a:gd name="T6" fmla="*/ 4677 w 7785"/>
                <a:gd name="T7" fmla="*/ 840 h 6216"/>
                <a:gd name="T8" fmla="*/ 4377 w 7785"/>
                <a:gd name="T9" fmla="*/ 732 h 6216"/>
                <a:gd name="T10" fmla="*/ 4125 w 7785"/>
                <a:gd name="T11" fmla="*/ 276 h 6216"/>
                <a:gd name="T12" fmla="*/ 3860 w 7785"/>
                <a:gd name="T13" fmla="*/ 101 h 6216"/>
                <a:gd name="T14" fmla="*/ 3092 w 7785"/>
                <a:gd name="T15" fmla="*/ 439 h 6216"/>
                <a:gd name="T16" fmla="*/ 2541 w 7785"/>
                <a:gd name="T17" fmla="*/ 192 h 6216"/>
                <a:gd name="T18" fmla="*/ 2121 w 7785"/>
                <a:gd name="T19" fmla="*/ 54 h 6216"/>
                <a:gd name="T20" fmla="*/ 1794 w 7785"/>
                <a:gd name="T21" fmla="*/ 603 h 6216"/>
                <a:gd name="T22" fmla="*/ 1812 w 7785"/>
                <a:gd name="T23" fmla="*/ 960 h 6216"/>
                <a:gd name="T24" fmla="*/ 1446 w 7785"/>
                <a:gd name="T25" fmla="*/ 951 h 6216"/>
                <a:gd name="T26" fmla="*/ 1090 w 7785"/>
                <a:gd name="T27" fmla="*/ 521 h 6216"/>
                <a:gd name="T28" fmla="*/ 660 w 7785"/>
                <a:gd name="T29" fmla="*/ 494 h 6216"/>
                <a:gd name="T30" fmla="*/ 248 w 7785"/>
                <a:gd name="T31" fmla="*/ 658 h 6216"/>
                <a:gd name="T32" fmla="*/ 0 w 7785"/>
                <a:gd name="T33" fmla="*/ 1083 h 6216"/>
                <a:gd name="T34" fmla="*/ 333 w 7785"/>
                <a:gd name="T35" fmla="*/ 1740 h 6216"/>
                <a:gd name="T36" fmla="*/ 717 w 7785"/>
                <a:gd name="T37" fmla="*/ 2052 h 6216"/>
                <a:gd name="T38" fmla="*/ 753 w 7785"/>
                <a:gd name="T39" fmla="*/ 2460 h 6216"/>
                <a:gd name="T40" fmla="*/ 1125 w 7785"/>
                <a:gd name="T41" fmla="*/ 2244 h 6216"/>
                <a:gd name="T42" fmla="*/ 1497 w 7785"/>
                <a:gd name="T43" fmla="*/ 2040 h 6216"/>
                <a:gd name="T44" fmla="*/ 1701 w 7785"/>
                <a:gd name="T45" fmla="*/ 2496 h 6216"/>
                <a:gd name="T46" fmla="*/ 2397 w 7785"/>
                <a:gd name="T47" fmla="*/ 2796 h 6216"/>
                <a:gd name="T48" fmla="*/ 2913 w 7785"/>
                <a:gd name="T49" fmla="*/ 2400 h 6216"/>
                <a:gd name="T50" fmla="*/ 3117 w 7785"/>
                <a:gd name="T51" fmla="*/ 1968 h 6216"/>
                <a:gd name="T52" fmla="*/ 3453 w 7785"/>
                <a:gd name="T53" fmla="*/ 1788 h 6216"/>
                <a:gd name="T54" fmla="*/ 3945 w 7785"/>
                <a:gd name="T55" fmla="*/ 1752 h 6216"/>
                <a:gd name="T56" fmla="*/ 3993 w 7785"/>
                <a:gd name="T57" fmla="*/ 2172 h 6216"/>
                <a:gd name="T58" fmla="*/ 3597 w 7785"/>
                <a:gd name="T59" fmla="*/ 2808 h 6216"/>
                <a:gd name="T60" fmla="*/ 3801 w 7785"/>
                <a:gd name="T61" fmla="*/ 2928 h 6216"/>
                <a:gd name="T62" fmla="*/ 4029 w 7785"/>
                <a:gd name="T63" fmla="*/ 3252 h 6216"/>
                <a:gd name="T64" fmla="*/ 4389 w 7785"/>
                <a:gd name="T65" fmla="*/ 3696 h 6216"/>
                <a:gd name="T66" fmla="*/ 3825 w 7785"/>
                <a:gd name="T67" fmla="*/ 3528 h 6216"/>
                <a:gd name="T68" fmla="*/ 3645 w 7785"/>
                <a:gd name="T69" fmla="*/ 4056 h 6216"/>
                <a:gd name="T70" fmla="*/ 3681 w 7785"/>
                <a:gd name="T71" fmla="*/ 3576 h 6216"/>
                <a:gd name="T72" fmla="*/ 3309 w 7785"/>
                <a:gd name="T73" fmla="*/ 3420 h 6216"/>
                <a:gd name="T74" fmla="*/ 3345 w 7785"/>
                <a:gd name="T75" fmla="*/ 3936 h 6216"/>
                <a:gd name="T76" fmla="*/ 3333 w 7785"/>
                <a:gd name="T77" fmla="*/ 4464 h 6216"/>
                <a:gd name="T78" fmla="*/ 2829 w 7785"/>
                <a:gd name="T79" fmla="*/ 4632 h 6216"/>
                <a:gd name="T80" fmla="*/ 2445 w 7785"/>
                <a:gd name="T81" fmla="*/ 5052 h 6216"/>
                <a:gd name="T82" fmla="*/ 3885 w 7785"/>
                <a:gd name="T83" fmla="*/ 6048 h 6216"/>
                <a:gd name="T84" fmla="*/ 5817 w 7785"/>
                <a:gd name="T85" fmla="*/ 5232 h 6216"/>
                <a:gd name="T86" fmla="*/ 6309 w 7785"/>
                <a:gd name="T87" fmla="*/ 5004 h 6216"/>
                <a:gd name="T88" fmla="*/ 6357 w 7785"/>
                <a:gd name="T89" fmla="*/ 4548 h 6216"/>
                <a:gd name="T90" fmla="*/ 6213 w 7785"/>
                <a:gd name="T91" fmla="*/ 4056 h 6216"/>
                <a:gd name="T92" fmla="*/ 5985 w 7785"/>
                <a:gd name="T93" fmla="*/ 3588 h 6216"/>
                <a:gd name="T94" fmla="*/ 6429 w 7785"/>
                <a:gd name="T95" fmla="*/ 3684 h 6216"/>
                <a:gd name="T96" fmla="*/ 6909 w 7785"/>
                <a:gd name="T97" fmla="*/ 3432 h 6216"/>
                <a:gd name="T98" fmla="*/ 7161 w 7785"/>
                <a:gd name="T99" fmla="*/ 2760 h 6216"/>
                <a:gd name="T100" fmla="*/ 7053 w 7785"/>
                <a:gd name="T101" fmla="*/ 1980 h 6216"/>
                <a:gd name="T102" fmla="*/ 7353 w 7785"/>
                <a:gd name="T103" fmla="*/ 1668 h 6216"/>
                <a:gd name="T104" fmla="*/ 7689 w 7785"/>
                <a:gd name="T105" fmla="*/ 1824 h 6216"/>
                <a:gd name="T106" fmla="*/ 7629 w 7785"/>
                <a:gd name="T107" fmla="*/ 1236 h 6216"/>
                <a:gd name="T108" fmla="*/ 7329 w 7785"/>
                <a:gd name="T109" fmla="*/ 648 h 6216"/>
                <a:gd name="T110" fmla="*/ 6801 w 7785"/>
                <a:gd name="T111" fmla="*/ 840 h 6216"/>
                <a:gd name="T112" fmla="*/ 6165 w 7785"/>
                <a:gd name="T113" fmla="*/ 912 h 6216"/>
                <a:gd name="T114" fmla="*/ 5861 w 7785"/>
                <a:gd name="T115" fmla="*/ 840 h 6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85" h="6216">
                  <a:moveTo>
                    <a:pt x="5861" y="840"/>
                  </a:moveTo>
                  <a:lnTo>
                    <a:pt x="5769" y="900"/>
                  </a:lnTo>
                  <a:lnTo>
                    <a:pt x="5649" y="900"/>
                  </a:lnTo>
                  <a:lnTo>
                    <a:pt x="5577" y="1008"/>
                  </a:lnTo>
                  <a:lnTo>
                    <a:pt x="5493" y="1116"/>
                  </a:lnTo>
                  <a:lnTo>
                    <a:pt x="5385" y="1284"/>
                  </a:lnTo>
                  <a:lnTo>
                    <a:pt x="5235" y="1404"/>
                  </a:lnTo>
                  <a:lnTo>
                    <a:pt x="5253" y="1260"/>
                  </a:lnTo>
                  <a:lnTo>
                    <a:pt x="5169" y="1188"/>
                  </a:lnTo>
                  <a:lnTo>
                    <a:pt x="5133" y="1140"/>
                  </a:lnTo>
                  <a:lnTo>
                    <a:pt x="5025" y="1149"/>
                  </a:lnTo>
                  <a:lnTo>
                    <a:pt x="5001" y="1356"/>
                  </a:lnTo>
                  <a:lnTo>
                    <a:pt x="4905" y="1380"/>
                  </a:lnTo>
                  <a:lnTo>
                    <a:pt x="4797" y="1440"/>
                  </a:lnTo>
                  <a:lnTo>
                    <a:pt x="4725" y="1392"/>
                  </a:lnTo>
                  <a:lnTo>
                    <a:pt x="4617" y="1440"/>
                  </a:lnTo>
                  <a:lnTo>
                    <a:pt x="4557" y="1332"/>
                  </a:lnTo>
                  <a:lnTo>
                    <a:pt x="4605" y="1200"/>
                  </a:lnTo>
                  <a:lnTo>
                    <a:pt x="4653" y="1116"/>
                  </a:lnTo>
                  <a:lnTo>
                    <a:pt x="4557" y="1068"/>
                  </a:lnTo>
                  <a:lnTo>
                    <a:pt x="4557" y="996"/>
                  </a:lnTo>
                  <a:lnTo>
                    <a:pt x="4665" y="960"/>
                  </a:lnTo>
                  <a:lnTo>
                    <a:pt x="4749" y="912"/>
                  </a:lnTo>
                  <a:lnTo>
                    <a:pt x="4677" y="840"/>
                  </a:lnTo>
                  <a:lnTo>
                    <a:pt x="4593" y="852"/>
                  </a:lnTo>
                  <a:lnTo>
                    <a:pt x="4653" y="708"/>
                  </a:lnTo>
                  <a:lnTo>
                    <a:pt x="4653" y="576"/>
                  </a:lnTo>
                  <a:lnTo>
                    <a:pt x="4557" y="600"/>
                  </a:lnTo>
                  <a:lnTo>
                    <a:pt x="4461" y="708"/>
                  </a:lnTo>
                  <a:lnTo>
                    <a:pt x="4377" y="732"/>
                  </a:lnTo>
                  <a:lnTo>
                    <a:pt x="4377" y="624"/>
                  </a:lnTo>
                  <a:lnTo>
                    <a:pt x="4281" y="600"/>
                  </a:lnTo>
                  <a:lnTo>
                    <a:pt x="4197" y="564"/>
                  </a:lnTo>
                  <a:lnTo>
                    <a:pt x="4137" y="420"/>
                  </a:lnTo>
                  <a:lnTo>
                    <a:pt x="4029" y="300"/>
                  </a:lnTo>
                  <a:lnTo>
                    <a:pt x="4125" y="276"/>
                  </a:lnTo>
                  <a:lnTo>
                    <a:pt x="4185" y="204"/>
                  </a:lnTo>
                  <a:lnTo>
                    <a:pt x="4209" y="72"/>
                  </a:lnTo>
                  <a:lnTo>
                    <a:pt x="4101" y="24"/>
                  </a:lnTo>
                  <a:lnTo>
                    <a:pt x="3981" y="12"/>
                  </a:lnTo>
                  <a:lnTo>
                    <a:pt x="3885" y="0"/>
                  </a:lnTo>
                  <a:lnTo>
                    <a:pt x="3860" y="101"/>
                  </a:lnTo>
                  <a:lnTo>
                    <a:pt x="3805" y="219"/>
                  </a:lnTo>
                  <a:lnTo>
                    <a:pt x="3668" y="274"/>
                  </a:lnTo>
                  <a:lnTo>
                    <a:pt x="3512" y="366"/>
                  </a:lnTo>
                  <a:lnTo>
                    <a:pt x="3348" y="457"/>
                  </a:lnTo>
                  <a:lnTo>
                    <a:pt x="3211" y="494"/>
                  </a:lnTo>
                  <a:lnTo>
                    <a:pt x="3092" y="439"/>
                  </a:lnTo>
                  <a:lnTo>
                    <a:pt x="2991" y="347"/>
                  </a:lnTo>
                  <a:lnTo>
                    <a:pt x="2827" y="329"/>
                  </a:lnTo>
                  <a:lnTo>
                    <a:pt x="2717" y="274"/>
                  </a:lnTo>
                  <a:lnTo>
                    <a:pt x="2699" y="183"/>
                  </a:lnTo>
                  <a:lnTo>
                    <a:pt x="2639" y="113"/>
                  </a:lnTo>
                  <a:lnTo>
                    <a:pt x="2541" y="192"/>
                  </a:lnTo>
                  <a:lnTo>
                    <a:pt x="2437" y="168"/>
                  </a:lnTo>
                  <a:lnTo>
                    <a:pt x="2379" y="119"/>
                  </a:lnTo>
                  <a:lnTo>
                    <a:pt x="2278" y="73"/>
                  </a:lnTo>
                  <a:lnTo>
                    <a:pt x="2205" y="155"/>
                  </a:lnTo>
                  <a:lnTo>
                    <a:pt x="2141" y="128"/>
                  </a:lnTo>
                  <a:lnTo>
                    <a:pt x="2121" y="54"/>
                  </a:lnTo>
                  <a:lnTo>
                    <a:pt x="2004" y="137"/>
                  </a:lnTo>
                  <a:lnTo>
                    <a:pt x="1949" y="256"/>
                  </a:lnTo>
                  <a:lnTo>
                    <a:pt x="1858" y="320"/>
                  </a:lnTo>
                  <a:lnTo>
                    <a:pt x="1775" y="347"/>
                  </a:lnTo>
                  <a:lnTo>
                    <a:pt x="1757" y="494"/>
                  </a:lnTo>
                  <a:lnTo>
                    <a:pt x="1794" y="603"/>
                  </a:lnTo>
                  <a:lnTo>
                    <a:pt x="1794" y="695"/>
                  </a:lnTo>
                  <a:lnTo>
                    <a:pt x="1867" y="741"/>
                  </a:lnTo>
                  <a:lnTo>
                    <a:pt x="1940" y="759"/>
                  </a:lnTo>
                  <a:lnTo>
                    <a:pt x="1940" y="905"/>
                  </a:lnTo>
                  <a:lnTo>
                    <a:pt x="1885" y="942"/>
                  </a:lnTo>
                  <a:lnTo>
                    <a:pt x="1812" y="960"/>
                  </a:lnTo>
                  <a:lnTo>
                    <a:pt x="1848" y="1088"/>
                  </a:lnTo>
                  <a:lnTo>
                    <a:pt x="1784" y="1143"/>
                  </a:lnTo>
                  <a:lnTo>
                    <a:pt x="1720" y="1143"/>
                  </a:lnTo>
                  <a:lnTo>
                    <a:pt x="1666" y="1042"/>
                  </a:lnTo>
                  <a:lnTo>
                    <a:pt x="1592" y="978"/>
                  </a:lnTo>
                  <a:lnTo>
                    <a:pt x="1446" y="951"/>
                  </a:lnTo>
                  <a:lnTo>
                    <a:pt x="1437" y="841"/>
                  </a:lnTo>
                  <a:lnTo>
                    <a:pt x="1391" y="777"/>
                  </a:lnTo>
                  <a:lnTo>
                    <a:pt x="1336" y="695"/>
                  </a:lnTo>
                  <a:lnTo>
                    <a:pt x="1227" y="658"/>
                  </a:lnTo>
                  <a:lnTo>
                    <a:pt x="1126" y="631"/>
                  </a:lnTo>
                  <a:lnTo>
                    <a:pt x="1090" y="521"/>
                  </a:lnTo>
                  <a:lnTo>
                    <a:pt x="1035" y="448"/>
                  </a:lnTo>
                  <a:lnTo>
                    <a:pt x="943" y="421"/>
                  </a:lnTo>
                  <a:lnTo>
                    <a:pt x="824" y="421"/>
                  </a:lnTo>
                  <a:lnTo>
                    <a:pt x="788" y="329"/>
                  </a:lnTo>
                  <a:lnTo>
                    <a:pt x="651" y="375"/>
                  </a:lnTo>
                  <a:lnTo>
                    <a:pt x="660" y="494"/>
                  </a:lnTo>
                  <a:lnTo>
                    <a:pt x="605" y="558"/>
                  </a:lnTo>
                  <a:lnTo>
                    <a:pt x="596" y="658"/>
                  </a:lnTo>
                  <a:lnTo>
                    <a:pt x="550" y="741"/>
                  </a:lnTo>
                  <a:lnTo>
                    <a:pt x="450" y="731"/>
                  </a:lnTo>
                  <a:lnTo>
                    <a:pt x="349" y="686"/>
                  </a:lnTo>
                  <a:lnTo>
                    <a:pt x="248" y="658"/>
                  </a:lnTo>
                  <a:lnTo>
                    <a:pt x="312" y="777"/>
                  </a:lnTo>
                  <a:lnTo>
                    <a:pt x="212" y="850"/>
                  </a:lnTo>
                  <a:lnTo>
                    <a:pt x="285" y="914"/>
                  </a:lnTo>
                  <a:lnTo>
                    <a:pt x="239" y="1006"/>
                  </a:lnTo>
                  <a:lnTo>
                    <a:pt x="157" y="1106"/>
                  </a:lnTo>
                  <a:lnTo>
                    <a:pt x="0" y="1083"/>
                  </a:lnTo>
                  <a:lnTo>
                    <a:pt x="11" y="1253"/>
                  </a:lnTo>
                  <a:lnTo>
                    <a:pt x="2" y="1454"/>
                  </a:lnTo>
                  <a:lnTo>
                    <a:pt x="9" y="1632"/>
                  </a:lnTo>
                  <a:lnTo>
                    <a:pt x="117" y="1572"/>
                  </a:lnTo>
                  <a:lnTo>
                    <a:pt x="237" y="1668"/>
                  </a:lnTo>
                  <a:lnTo>
                    <a:pt x="333" y="1740"/>
                  </a:lnTo>
                  <a:lnTo>
                    <a:pt x="417" y="1848"/>
                  </a:lnTo>
                  <a:lnTo>
                    <a:pt x="561" y="1908"/>
                  </a:lnTo>
                  <a:lnTo>
                    <a:pt x="645" y="1980"/>
                  </a:lnTo>
                  <a:lnTo>
                    <a:pt x="765" y="1944"/>
                  </a:lnTo>
                  <a:lnTo>
                    <a:pt x="837" y="2004"/>
                  </a:lnTo>
                  <a:lnTo>
                    <a:pt x="717" y="2052"/>
                  </a:lnTo>
                  <a:lnTo>
                    <a:pt x="729" y="2136"/>
                  </a:lnTo>
                  <a:lnTo>
                    <a:pt x="693" y="2208"/>
                  </a:lnTo>
                  <a:lnTo>
                    <a:pt x="664" y="2290"/>
                  </a:lnTo>
                  <a:lnTo>
                    <a:pt x="669" y="2357"/>
                  </a:lnTo>
                  <a:lnTo>
                    <a:pt x="731" y="2386"/>
                  </a:lnTo>
                  <a:lnTo>
                    <a:pt x="753" y="2460"/>
                  </a:lnTo>
                  <a:lnTo>
                    <a:pt x="873" y="2556"/>
                  </a:lnTo>
                  <a:lnTo>
                    <a:pt x="933" y="2616"/>
                  </a:lnTo>
                  <a:lnTo>
                    <a:pt x="993" y="2612"/>
                  </a:lnTo>
                  <a:lnTo>
                    <a:pt x="1005" y="2472"/>
                  </a:lnTo>
                  <a:lnTo>
                    <a:pt x="1029" y="2340"/>
                  </a:lnTo>
                  <a:lnTo>
                    <a:pt x="1125" y="2244"/>
                  </a:lnTo>
                  <a:lnTo>
                    <a:pt x="1245" y="2208"/>
                  </a:lnTo>
                  <a:lnTo>
                    <a:pt x="1281" y="2280"/>
                  </a:lnTo>
                  <a:lnTo>
                    <a:pt x="1389" y="2232"/>
                  </a:lnTo>
                  <a:lnTo>
                    <a:pt x="1461" y="2184"/>
                  </a:lnTo>
                  <a:lnTo>
                    <a:pt x="1413" y="2100"/>
                  </a:lnTo>
                  <a:lnTo>
                    <a:pt x="1497" y="2040"/>
                  </a:lnTo>
                  <a:lnTo>
                    <a:pt x="1569" y="2124"/>
                  </a:lnTo>
                  <a:lnTo>
                    <a:pt x="1557" y="2220"/>
                  </a:lnTo>
                  <a:lnTo>
                    <a:pt x="1581" y="2292"/>
                  </a:lnTo>
                  <a:lnTo>
                    <a:pt x="1641" y="2340"/>
                  </a:lnTo>
                  <a:lnTo>
                    <a:pt x="1689" y="2412"/>
                  </a:lnTo>
                  <a:lnTo>
                    <a:pt x="1701" y="2496"/>
                  </a:lnTo>
                  <a:lnTo>
                    <a:pt x="1821" y="2556"/>
                  </a:lnTo>
                  <a:lnTo>
                    <a:pt x="1893" y="2616"/>
                  </a:lnTo>
                  <a:lnTo>
                    <a:pt x="2001" y="2664"/>
                  </a:lnTo>
                  <a:lnTo>
                    <a:pt x="2145" y="2676"/>
                  </a:lnTo>
                  <a:lnTo>
                    <a:pt x="2277" y="2736"/>
                  </a:lnTo>
                  <a:lnTo>
                    <a:pt x="2397" y="2796"/>
                  </a:lnTo>
                  <a:lnTo>
                    <a:pt x="2529" y="2820"/>
                  </a:lnTo>
                  <a:lnTo>
                    <a:pt x="2649" y="2808"/>
                  </a:lnTo>
                  <a:lnTo>
                    <a:pt x="2757" y="2760"/>
                  </a:lnTo>
                  <a:lnTo>
                    <a:pt x="2877" y="2676"/>
                  </a:lnTo>
                  <a:lnTo>
                    <a:pt x="2961" y="2544"/>
                  </a:lnTo>
                  <a:lnTo>
                    <a:pt x="2913" y="2400"/>
                  </a:lnTo>
                  <a:lnTo>
                    <a:pt x="2925" y="2280"/>
                  </a:lnTo>
                  <a:lnTo>
                    <a:pt x="2877" y="2160"/>
                  </a:lnTo>
                  <a:lnTo>
                    <a:pt x="2973" y="2148"/>
                  </a:lnTo>
                  <a:lnTo>
                    <a:pt x="3057" y="2184"/>
                  </a:lnTo>
                  <a:lnTo>
                    <a:pt x="3069" y="2052"/>
                  </a:lnTo>
                  <a:lnTo>
                    <a:pt x="3117" y="1968"/>
                  </a:lnTo>
                  <a:lnTo>
                    <a:pt x="2973" y="1908"/>
                  </a:lnTo>
                  <a:lnTo>
                    <a:pt x="2973" y="1800"/>
                  </a:lnTo>
                  <a:lnTo>
                    <a:pt x="3045" y="1764"/>
                  </a:lnTo>
                  <a:lnTo>
                    <a:pt x="3129" y="1800"/>
                  </a:lnTo>
                  <a:lnTo>
                    <a:pt x="3273" y="1812"/>
                  </a:lnTo>
                  <a:lnTo>
                    <a:pt x="3453" y="1788"/>
                  </a:lnTo>
                  <a:lnTo>
                    <a:pt x="3621" y="1776"/>
                  </a:lnTo>
                  <a:lnTo>
                    <a:pt x="3693" y="1788"/>
                  </a:lnTo>
                  <a:lnTo>
                    <a:pt x="3753" y="1896"/>
                  </a:lnTo>
                  <a:lnTo>
                    <a:pt x="3825" y="1824"/>
                  </a:lnTo>
                  <a:lnTo>
                    <a:pt x="3873" y="1728"/>
                  </a:lnTo>
                  <a:lnTo>
                    <a:pt x="3945" y="1752"/>
                  </a:lnTo>
                  <a:lnTo>
                    <a:pt x="4041" y="1824"/>
                  </a:lnTo>
                  <a:lnTo>
                    <a:pt x="4089" y="1944"/>
                  </a:lnTo>
                  <a:lnTo>
                    <a:pt x="4041" y="2052"/>
                  </a:lnTo>
                  <a:lnTo>
                    <a:pt x="3921" y="1920"/>
                  </a:lnTo>
                  <a:lnTo>
                    <a:pt x="3945" y="2040"/>
                  </a:lnTo>
                  <a:lnTo>
                    <a:pt x="3993" y="2172"/>
                  </a:lnTo>
                  <a:lnTo>
                    <a:pt x="3909" y="2268"/>
                  </a:lnTo>
                  <a:lnTo>
                    <a:pt x="3837" y="2376"/>
                  </a:lnTo>
                  <a:lnTo>
                    <a:pt x="3789" y="2508"/>
                  </a:lnTo>
                  <a:lnTo>
                    <a:pt x="3753" y="2604"/>
                  </a:lnTo>
                  <a:lnTo>
                    <a:pt x="3693" y="2736"/>
                  </a:lnTo>
                  <a:lnTo>
                    <a:pt x="3597" y="2808"/>
                  </a:lnTo>
                  <a:lnTo>
                    <a:pt x="3489" y="2856"/>
                  </a:lnTo>
                  <a:lnTo>
                    <a:pt x="3501" y="2964"/>
                  </a:lnTo>
                  <a:lnTo>
                    <a:pt x="3561" y="3024"/>
                  </a:lnTo>
                  <a:lnTo>
                    <a:pt x="3669" y="3000"/>
                  </a:lnTo>
                  <a:lnTo>
                    <a:pt x="3729" y="2916"/>
                  </a:lnTo>
                  <a:lnTo>
                    <a:pt x="3801" y="2928"/>
                  </a:lnTo>
                  <a:lnTo>
                    <a:pt x="3873" y="2916"/>
                  </a:lnTo>
                  <a:lnTo>
                    <a:pt x="3969" y="2916"/>
                  </a:lnTo>
                  <a:lnTo>
                    <a:pt x="4041" y="2988"/>
                  </a:lnTo>
                  <a:lnTo>
                    <a:pt x="4065" y="3084"/>
                  </a:lnTo>
                  <a:lnTo>
                    <a:pt x="4017" y="3168"/>
                  </a:lnTo>
                  <a:lnTo>
                    <a:pt x="4029" y="3252"/>
                  </a:lnTo>
                  <a:lnTo>
                    <a:pt x="4113" y="3300"/>
                  </a:lnTo>
                  <a:lnTo>
                    <a:pt x="4233" y="3324"/>
                  </a:lnTo>
                  <a:lnTo>
                    <a:pt x="4353" y="3396"/>
                  </a:lnTo>
                  <a:lnTo>
                    <a:pt x="4401" y="3492"/>
                  </a:lnTo>
                  <a:lnTo>
                    <a:pt x="4461" y="3636"/>
                  </a:lnTo>
                  <a:lnTo>
                    <a:pt x="4389" y="3696"/>
                  </a:lnTo>
                  <a:lnTo>
                    <a:pt x="4413" y="3804"/>
                  </a:lnTo>
                  <a:lnTo>
                    <a:pt x="4269" y="3744"/>
                  </a:lnTo>
                  <a:lnTo>
                    <a:pt x="4209" y="3636"/>
                  </a:lnTo>
                  <a:lnTo>
                    <a:pt x="4113" y="3564"/>
                  </a:lnTo>
                  <a:lnTo>
                    <a:pt x="3945" y="3540"/>
                  </a:lnTo>
                  <a:lnTo>
                    <a:pt x="3825" y="3528"/>
                  </a:lnTo>
                  <a:lnTo>
                    <a:pt x="3825" y="3648"/>
                  </a:lnTo>
                  <a:lnTo>
                    <a:pt x="3789" y="3756"/>
                  </a:lnTo>
                  <a:lnTo>
                    <a:pt x="3741" y="3840"/>
                  </a:lnTo>
                  <a:lnTo>
                    <a:pt x="3693" y="3924"/>
                  </a:lnTo>
                  <a:lnTo>
                    <a:pt x="3729" y="4020"/>
                  </a:lnTo>
                  <a:lnTo>
                    <a:pt x="3645" y="4056"/>
                  </a:lnTo>
                  <a:lnTo>
                    <a:pt x="3573" y="3984"/>
                  </a:lnTo>
                  <a:lnTo>
                    <a:pt x="3561" y="3900"/>
                  </a:lnTo>
                  <a:lnTo>
                    <a:pt x="3501" y="3804"/>
                  </a:lnTo>
                  <a:lnTo>
                    <a:pt x="3597" y="3744"/>
                  </a:lnTo>
                  <a:lnTo>
                    <a:pt x="3621" y="3612"/>
                  </a:lnTo>
                  <a:lnTo>
                    <a:pt x="3681" y="3576"/>
                  </a:lnTo>
                  <a:lnTo>
                    <a:pt x="3681" y="3516"/>
                  </a:lnTo>
                  <a:lnTo>
                    <a:pt x="3537" y="3516"/>
                  </a:lnTo>
                  <a:lnTo>
                    <a:pt x="3477" y="3456"/>
                  </a:lnTo>
                  <a:lnTo>
                    <a:pt x="3453" y="3396"/>
                  </a:lnTo>
                  <a:lnTo>
                    <a:pt x="3357" y="3420"/>
                  </a:lnTo>
                  <a:lnTo>
                    <a:pt x="3309" y="3420"/>
                  </a:lnTo>
                  <a:lnTo>
                    <a:pt x="3249" y="3504"/>
                  </a:lnTo>
                  <a:lnTo>
                    <a:pt x="3297" y="3624"/>
                  </a:lnTo>
                  <a:lnTo>
                    <a:pt x="3297" y="3732"/>
                  </a:lnTo>
                  <a:lnTo>
                    <a:pt x="3237" y="3828"/>
                  </a:lnTo>
                  <a:lnTo>
                    <a:pt x="3237" y="3924"/>
                  </a:lnTo>
                  <a:lnTo>
                    <a:pt x="3345" y="3936"/>
                  </a:lnTo>
                  <a:lnTo>
                    <a:pt x="3417" y="3960"/>
                  </a:lnTo>
                  <a:lnTo>
                    <a:pt x="3441" y="4104"/>
                  </a:lnTo>
                  <a:lnTo>
                    <a:pt x="3513" y="4188"/>
                  </a:lnTo>
                  <a:lnTo>
                    <a:pt x="3393" y="4272"/>
                  </a:lnTo>
                  <a:lnTo>
                    <a:pt x="3381" y="4404"/>
                  </a:lnTo>
                  <a:lnTo>
                    <a:pt x="3333" y="4464"/>
                  </a:lnTo>
                  <a:lnTo>
                    <a:pt x="3369" y="4584"/>
                  </a:lnTo>
                  <a:lnTo>
                    <a:pt x="3249" y="4572"/>
                  </a:lnTo>
                  <a:lnTo>
                    <a:pt x="3177" y="4560"/>
                  </a:lnTo>
                  <a:lnTo>
                    <a:pt x="3057" y="4548"/>
                  </a:lnTo>
                  <a:lnTo>
                    <a:pt x="2949" y="4644"/>
                  </a:lnTo>
                  <a:lnTo>
                    <a:pt x="2829" y="4632"/>
                  </a:lnTo>
                  <a:lnTo>
                    <a:pt x="2721" y="4608"/>
                  </a:lnTo>
                  <a:lnTo>
                    <a:pt x="2613" y="4632"/>
                  </a:lnTo>
                  <a:lnTo>
                    <a:pt x="2469" y="4668"/>
                  </a:lnTo>
                  <a:lnTo>
                    <a:pt x="2421" y="4848"/>
                  </a:lnTo>
                  <a:lnTo>
                    <a:pt x="2457" y="4980"/>
                  </a:lnTo>
                  <a:lnTo>
                    <a:pt x="2445" y="5052"/>
                  </a:lnTo>
                  <a:lnTo>
                    <a:pt x="2361" y="5184"/>
                  </a:lnTo>
                  <a:lnTo>
                    <a:pt x="2301" y="5274"/>
                  </a:lnTo>
                  <a:lnTo>
                    <a:pt x="2505" y="5340"/>
                  </a:lnTo>
                  <a:lnTo>
                    <a:pt x="2985" y="5640"/>
                  </a:lnTo>
                  <a:lnTo>
                    <a:pt x="3525" y="6036"/>
                  </a:lnTo>
                  <a:lnTo>
                    <a:pt x="3885" y="6048"/>
                  </a:lnTo>
                  <a:lnTo>
                    <a:pt x="4797" y="6216"/>
                  </a:lnTo>
                  <a:lnTo>
                    <a:pt x="4989" y="5952"/>
                  </a:lnTo>
                  <a:lnTo>
                    <a:pt x="5109" y="5820"/>
                  </a:lnTo>
                  <a:lnTo>
                    <a:pt x="5865" y="5448"/>
                  </a:lnTo>
                  <a:lnTo>
                    <a:pt x="5877" y="5352"/>
                  </a:lnTo>
                  <a:lnTo>
                    <a:pt x="5817" y="5232"/>
                  </a:lnTo>
                  <a:lnTo>
                    <a:pt x="5889" y="5184"/>
                  </a:lnTo>
                  <a:lnTo>
                    <a:pt x="5985" y="5220"/>
                  </a:lnTo>
                  <a:lnTo>
                    <a:pt x="6081" y="5124"/>
                  </a:lnTo>
                  <a:lnTo>
                    <a:pt x="6213" y="5088"/>
                  </a:lnTo>
                  <a:lnTo>
                    <a:pt x="6213" y="4980"/>
                  </a:lnTo>
                  <a:lnTo>
                    <a:pt x="6309" y="5004"/>
                  </a:lnTo>
                  <a:lnTo>
                    <a:pt x="6441" y="4980"/>
                  </a:lnTo>
                  <a:lnTo>
                    <a:pt x="6609" y="4992"/>
                  </a:lnTo>
                  <a:lnTo>
                    <a:pt x="6537" y="4860"/>
                  </a:lnTo>
                  <a:lnTo>
                    <a:pt x="6441" y="4776"/>
                  </a:lnTo>
                  <a:lnTo>
                    <a:pt x="6357" y="4680"/>
                  </a:lnTo>
                  <a:lnTo>
                    <a:pt x="6357" y="4548"/>
                  </a:lnTo>
                  <a:lnTo>
                    <a:pt x="6285" y="4404"/>
                  </a:lnTo>
                  <a:lnTo>
                    <a:pt x="6237" y="4344"/>
                  </a:lnTo>
                  <a:lnTo>
                    <a:pt x="6285" y="4296"/>
                  </a:lnTo>
                  <a:lnTo>
                    <a:pt x="6345" y="4152"/>
                  </a:lnTo>
                  <a:lnTo>
                    <a:pt x="6285" y="4116"/>
                  </a:lnTo>
                  <a:lnTo>
                    <a:pt x="6213" y="4056"/>
                  </a:lnTo>
                  <a:lnTo>
                    <a:pt x="6177" y="3948"/>
                  </a:lnTo>
                  <a:lnTo>
                    <a:pt x="6093" y="3948"/>
                  </a:lnTo>
                  <a:lnTo>
                    <a:pt x="6057" y="3852"/>
                  </a:lnTo>
                  <a:lnTo>
                    <a:pt x="5961" y="3816"/>
                  </a:lnTo>
                  <a:lnTo>
                    <a:pt x="5985" y="3708"/>
                  </a:lnTo>
                  <a:lnTo>
                    <a:pt x="5985" y="3588"/>
                  </a:lnTo>
                  <a:lnTo>
                    <a:pt x="6105" y="3588"/>
                  </a:lnTo>
                  <a:lnTo>
                    <a:pt x="6117" y="3492"/>
                  </a:lnTo>
                  <a:lnTo>
                    <a:pt x="6177" y="3336"/>
                  </a:lnTo>
                  <a:lnTo>
                    <a:pt x="6285" y="3444"/>
                  </a:lnTo>
                  <a:lnTo>
                    <a:pt x="6357" y="3552"/>
                  </a:lnTo>
                  <a:lnTo>
                    <a:pt x="6429" y="3684"/>
                  </a:lnTo>
                  <a:lnTo>
                    <a:pt x="6489" y="3756"/>
                  </a:lnTo>
                  <a:lnTo>
                    <a:pt x="6561" y="3828"/>
                  </a:lnTo>
                  <a:lnTo>
                    <a:pt x="6693" y="3720"/>
                  </a:lnTo>
                  <a:lnTo>
                    <a:pt x="6681" y="3576"/>
                  </a:lnTo>
                  <a:lnTo>
                    <a:pt x="6789" y="3456"/>
                  </a:lnTo>
                  <a:lnTo>
                    <a:pt x="6909" y="3432"/>
                  </a:lnTo>
                  <a:lnTo>
                    <a:pt x="6981" y="3384"/>
                  </a:lnTo>
                  <a:lnTo>
                    <a:pt x="7053" y="3252"/>
                  </a:lnTo>
                  <a:lnTo>
                    <a:pt x="7065" y="3108"/>
                  </a:lnTo>
                  <a:lnTo>
                    <a:pt x="7137" y="3024"/>
                  </a:lnTo>
                  <a:lnTo>
                    <a:pt x="7185" y="2868"/>
                  </a:lnTo>
                  <a:lnTo>
                    <a:pt x="7161" y="2760"/>
                  </a:lnTo>
                  <a:lnTo>
                    <a:pt x="7077" y="2640"/>
                  </a:lnTo>
                  <a:lnTo>
                    <a:pt x="7005" y="2556"/>
                  </a:lnTo>
                  <a:lnTo>
                    <a:pt x="7017" y="2436"/>
                  </a:lnTo>
                  <a:lnTo>
                    <a:pt x="6993" y="2316"/>
                  </a:lnTo>
                  <a:lnTo>
                    <a:pt x="7017" y="2172"/>
                  </a:lnTo>
                  <a:lnTo>
                    <a:pt x="7053" y="1980"/>
                  </a:lnTo>
                  <a:lnTo>
                    <a:pt x="7125" y="1860"/>
                  </a:lnTo>
                  <a:lnTo>
                    <a:pt x="7185" y="1752"/>
                  </a:lnTo>
                  <a:lnTo>
                    <a:pt x="7137" y="1632"/>
                  </a:lnTo>
                  <a:lnTo>
                    <a:pt x="7209" y="1560"/>
                  </a:lnTo>
                  <a:lnTo>
                    <a:pt x="7269" y="1632"/>
                  </a:lnTo>
                  <a:lnTo>
                    <a:pt x="7353" y="1668"/>
                  </a:lnTo>
                  <a:lnTo>
                    <a:pt x="7437" y="1704"/>
                  </a:lnTo>
                  <a:lnTo>
                    <a:pt x="7473" y="1800"/>
                  </a:lnTo>
                  <a:lnTo>
                    <a:pt x="7509" y="1932"/>
                  </a:lnTo>
                  <a:lnTo>
                    <a:pt x="7545" y="2004"/>
                  </a:lnTo>
                  <a:lnTo>
                    <a:pt x="7605" y="1932"/>
                  </a:lnTo>
                  <a:lnTo>
                    <a:pt x="7689" y="1824"/>
                  </a:lnTo>
                  <a:lnTo>
                    <a:pt x="7785" y="1788"/>
                  </a:lnTo>
                  <a:lnTo>
                    <a:pt x="7785" y="1632"/>
                  </a:lnTo>
                  <a:lnTo>
                    <a:pt x="7713" y="1560"/>
                  </a:lnTo>
                  <a:lnTo>
                    <a:pt x="7725" y="1440"/>
                  </a:lnTo>
                  <a:lnTo>
                    <a:pt x="7701" y="1368"/>
                  </a:lnTo>
                  <a:lnTo>
                    <a:pt x="7629" y="1236"/>
                  </a:lnTo>
                  <a:lnTo>
                    <a:pt x="7545" y="1152"/>
                  </a:lnTo>
                  <a:lnTo>
                    <a:pt x="7497" y="1068"/>
                  </a:lnTo>
                  <a:lnTo>
                    <a:pt x="7485" y="924"/>
                  </a:lnTo>
                  <a:lnTo>
                    <a:pt x="7401" y="840"/>
                  </a:lnTo>
                  <a:lnTo>
                    <a:pt x="7341" y="744"/>
                  </a:lnTo>
                  <a:lnTo>
                    <a:pt x="7329" y="648"/>
                  </a:lnTo>
                  <a:lnTo>
                    <a:pt x="7257" y="612"/>
                  </a:lnTo>
                  <a:lnTo>
                    <a:pt x="7197" y="648"/>
                  </a:lnTo>
                  <a:lnTo>
                    <a:pt x="7101" y="672"/>
                  </a:lnTo>
                  <a:lnTo>
                    <a:pt x="7077" y="816"/>
                  </a:lnTo>
                  <a:lnTo>
                    <a:pt x="6945" y="804"/>
                  </a:lnTo>
                  <a:lnTo>
                    <a:pt x="6801" y="840"/>
                  </a:lnTo>
                  <a:lnTo>
                    <a:pt x="6705" y="792"/>
                  </a:lnTo>
                  <a:lnTo>
                    <a:pt x="6609" y="816"/>
                  </a:lnTo>
                  <a:lnTo>
                    <a:pt x="6477" y="840"/>
                  </a:lnTo>
                  <a:lnTo>
                    <a:pt x="6357" y="792"/>
                  </a:lnTo>
                  <a:lnTo>
                    <a:pt x="6273" y="840"/>
                  </a:lnTo>
                  <a:lnTo>
                    <a:pt x="6165" y="912"/>
                  </a:lnTo>
                  <a:lnTo>
                    <a:pt x="6081" y="960"/>
                  </a:lnTo>
                  <a:lnTo>
                    <a:pt x="5985" y="984"/>
                  </a:lnTo>
                  <a:lnTo>
                    <a:pt x="5925" y="936"/>
                  </a:lnTo>
                  <a:lnTo>
                    <a:pt x="6021" y="876"/>
                  </a:lnTo>
                  <a:lnTo>
                    <a:pt x="5949" y="828"/>
                  </a:lnTo>
                  <a:lnTo>
                    <a:pt x="5861" y="8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5" name="Freeform 6">
              <a:extLst>
                <a:ext uri="{FF2B5EF4-FFF2-40B4-BE49-F238E27FC236}">
                  <a16:creationId xmlns:a16="http://schemas.microsoft.com/office/drawing/2014/main" id="{A1ED4CD8-95BC-4D1E-8498-A4BED3F4014A}"/>
                </a:ext>
              </a:extLst>
            </p:cNvPr>
            <p:cNvSpPr>
              <a:spLocks/>
            </p:cNvSpPr>
            <p:nvPr/>
          </p:nvSpPr>
          <p:spPr bwMode="auto">
            <a:xfrm>
              <a:off x="4667679" y="2467363"/>
              <a:ext cx="1816779" cy="1777345"/>
            </a:xfrm>
            <a:custGeom>
              <a:avLst/>
              <a:gdLst>
                <a:gd name="T0" fmla="*/ 84 w 6450"/>
                <a:gd name="T1" fmla="*/ 1236 h 6311"/>
                <a:gd name="T2" fmla="*/ 228 w 6450"/>
                <a:gd name="T3" fmla="*/ 900 h 6311"/>
                <a:gd name="T4" fmla="*/ 372 w 6450"/>
                <a:gd name="T5" fmla="*/ 420 h 6311"/>
                <a:gd name="T6" fmla="*/ 588 w 6450"/>
                <a:gd name="T7" fmla="*/ 84 h 6311"/>
                <a:gd name="T8" fmla="*/ 1500 w 6450"/>
                <a:gd name="T9" fmla="*/ 60 h 6311"/>
                <a:gd name="T10" fmla="*/ 2004 w 6450"/>
                <a:gd name="T11" fmla="*/ 60 h 6311"/>
                <a:gd name="T12" fmla="*/ 1884 w 6450"/>
                <a:gd name="T13" fmla="*/ 624 h 6311"/>
                <a:gd name="T14" fmla="*/ 2112 w 6450"/>
                <a:gd name="T15" fmla="*/ 1020 h 6311"/>
                <a:gd name="T16" fmla="*/ 2436 w 6450"/>
                <a:gd name="T17" fmla="*/ 1404 h 6311"/>
                <a:gd name="T18" fmla="*/ 3072 w 6450"/>
                <a:gd name="T19" fmla="*/ 1884 h 6311"/>
                <a:gd name="T20" fmla="*/ 5652 w 6450"/>
                <a:gd name="T21" fmla="*/ 2748 h 6311"/>
                <a:gd name="T22" fmla="*/ 2964 w 6450"/>
                <a:gd name="T23" fmla="*/ 5460 h 6311"/>
                <a:gd name="T24" fmla="*/ 1992 w 6450"/>
                <a:gd name="T25" fmla="*/ 5940 h 6311"/>
                <a:gd name="T26" fmla="*/ 1017 w 6450"/>
                <a:gd name="T27" fmla="*/ 6311 h 6311"/>
                <a:gd name="T28" fmla="*/ 444 w 6450"/>
                <a:gd name="T29" fmla="*/ 6300 h 6311"/>
                <a:gd name="T30" fmla="*/ 72 w 6450"/>
                <a:gd name="T31" fmla="*/ 5940 h 6311"/>
                <a:gd name="T32" fmla="*/ 180 w 6450"/>
                <a:gd name="T33" fmla="*/ 5808 h 6311"/>
                <a:gd name="T34" fmla="*/ 408 w 6450"/>
                <a:gd name="T35" fmla="*/ 5568 h 6311"/>
                <a:gd name="T36" fmla="*/ 804 w 6450"/>
                <a:gd name="T37" fmla="*/ 5580 h 6311"/>
                <a:gd name="T38" fmla="*/ 552 w 6450"/>
                <a:gd name="T39" fmla="*/ 5268 h 6311"/>
                <a:gd name="T40" fmla="*/ 432 w 6450"/>
                <a:gd name="T41" fmla="*/ 4932 h 6311"/>
                <a:gd name="T42" fmla="*/ 480 w 6450"/>
                <a:gd name="T43" fmla="*/ 4704 h 6311"/>
                <a:gd name="T44" fmla="*/ 288 w 6450"/>
                <a:gd name="T45" fmla="*/ 4536 h 6311"/>
                <a:gd name="T46" fmla="*/ 180 w 6450"/>
                <a:gd name="T47" fmla="*/ 4296 h 6311"/>
                <a:gd name="T48" fmla="*/ 312 w 6450"/>
                <a:gd name="T49" fmla="*/ 4080 h 6311"/>
                <a:gd name="T50" fmla="*/ 552 w 6450"/>
                <a:gd name="T51" fmla="*/ 4140 h 6311"/>
                <a:gd name="T52" fmla="*/ 756 w 6450"/>
                <a:gd name="T53" fmla="*/ 4416 h 6311"/>
                <a:gd name="T54" fmla="*/ 984 w 6450"/>
                <a:gd name="T55" fmla="*/ 4044 h 6311"/>
                <a:gd name="T56" fmla="*/ 1248 w 6450"/>
                <a:gd name="T57" fmla="*/ 3840 h 6311"/>
                <a:gd name="T58" fmla="*/ 1380 w 6450"/>
                <a:gd name="T59" fmla="*/ 3456 h 6311"/>
                <a:gd name="T60" fmla="*/ 1200 w 6450"/>
                <a:gd name="T61" fmla="*/ 3144 h 6311"/>
                <a:gd name="T62" fmla="*/ 1212 w 6450"/>
                <a:gd name="T63" fmla="*/ 2760 h 6311"/>
                <a:gd name="T64" fmla="*/ 1380 w 6450"/>
                <a:gd name="T65" fmla="*/ 2340 h 6311"/>
                <a:gd name="T66" fmla="*/ 1464 w 6450"/>
                <a:gd name="T67" fmla="*/ 2220 h 6311"/>
                <a:gd name="T68" fmla="*/ 1668 w 6450"/>
                <a:gd name="T69" fmla="*/ 2388 h 6311"/>
                <a:gd name="T70" fmla="*/ 1800 w 6450"/>
                <a:gd name="T71" fmla="*/ 2520 h 6311"/>
                <a:gd name="T72" fmla="*/ 1980 w 6450"/>
                <a:gd name="T73" fmla="*/ 2220 h 6311"/>
                <a:gd name="T74" fmla="*/ 1896 w 6450"/>
                <a:gd name="T75" fmla="*/ 1956 h 6311"/>
                <a:gd name="T76" fmla="*/ 1692 w 6450"/>
                <a:gd name="T77" fmla="*/ 1656 h 6311"/>
                <a:gd name="T78" fmla="*/ 1536 w 6450"/>
                <a:gd name="T79" fmla="*/ 1332 h 6311"/>
                <a:gd name="T80" fmla="*/ 1391 w 6450"/>
                <a:gd name="T81" fmla="*/ 1236 h 6311"/>
                <a:gd name="T82" fmla="*/ 1140 w 6450"/>
                <a:gd name="T83" fmla="*/ 1392 h 6311"/>
                <a:gd name="T84" fmla="*/ 804 w 6450"/>
                <a:gd name="T85" fmla="*/ 1404 h 6311"/>
                <a:gd name="T86" fmla="*/ 468 w 6450"/>
                <a:gd name="T87" fmla="*/ 1428 h 6311"/>
                <a:gd name="T88" fmla="*/ 180 w 6450"/>
                <a:gd name="T89" fmla="*/ 1572 h 6311"/>
                <a:gd name="T90" fmla="*/ 144 w 6450"/>
                <a:gd name="T91" fmla="*/ 1416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50" h="6311">
                  <a:moveTo>
                    <a:pt x="56" y="1428"/>
                  </a:moveTo>
                  <a:lnTo>
                    <a:pt x="0" y="1380"/>
                  </a:lnTo>
                  <a:lnTo>
                    <a:pt x="84" y="1236"/>
                  </a:lnTo>
                  <a:lnTo>
                    <a:pt x="144" y="1140"/>
                  </a:lnTo>
                  <a:lnTo>
                    <a:pt x="288" y="1020"/>
                  </a:lnTo>
                  <a:lnTo>
                    <a:pt x="228" y="900"/>
                  </a:lnTo>
                  <a:lnTo>
                    <a:pt x="276" y="756"/>
                  </a:lnTo>
                  <a:lnTo>
                    <a:pt x="324" y="588"/>
                  </a:lnTo>
                  <a:lnTo>
                    <a:pt x="372" y="420"/>
                  </a:lnTo>
                  <a:lnTo>
                    <a:pt x="384" y="300"/>
                  </a:lnTo>
                  <a:lnTo>
                    <a:pt x="480" y="192"/>
                  </a:lnTo>
                  <a:lnTo>
                    <a:pt x="588" y="84"/>
                  </a:lnTo>
                  <a:lnTo>
                    <a:pt x="978" y="84"/>
                  </a:lnTo>
                  <a:lnTo>
                    <a:pt x="1224" y="84"/>
                  </a:lnTo>
                  <a:lnTo>
                    <a:pt x="1500" y="60"/>
                  </a:lnTo>
                  <a:lnTo>
                    <a:pt x="1716" y="0"/>
                  </a:lnTo>
                  <a:lnTo>
                    <a:pt x="1824" y="0"/>
                  </a:lnTo>
                  <a:lnTo>
                    <a:pt x="2004" y="60"/>
                  </a:lnTo>
                  <a:lnTo>
                    <a:pt x="1908" y="228"/>
                  </a:lnTo>
                  <a:lnTo>
                    <a:pt x="1788" y="420"/>
                  </a:lnTo>
                  <a:lnTo>
                    <a:pt x="1884" y="624"/>
                  </a:lnTo>
                  <a:lnTo>
                    <a:pt x="1980" y="780"/>
                  </a:lnTo>
                  <a:lnTo>
                    <a:pt x="2076" y="900"/>
                  </a:lnTo>
                  <a:lnTo>
                    <a:pt x="2112" y="1020"/>
                  </a:lnTo>
                  <a:lnTo>
                    <a:pt x="2268" y="1044"/>
                  </a:lnTo>
                  <a:lnTo>
                    <a:pt x="2340" y="1236"/>
                  </a:lnTo>
                  <a:lnTo>
                    <a:pt x="2436" y="1404"/>
                  </a:lnTo>
                  <a:lnTo>
                    <a:pt x="2640" y="1560"/>
                  </a:lnTo>
                  <a:lnTo>
                    <a:pt x="2892" y="1740"/>
                  </a:lnTo>
                  <a:lnTo>
                    <a:pt x="3072" y="1884"/>
                  </a:lnTo>
                  <a:lnTo>
                    <a:pt x="3792" y="2112"/>
                  </a:lnTo>
                  <a:lnTo>
                    <a:pt x="4668" y="2412"/>
                  </a:lnTo>
                  <a:lnTo>
                    <a:pt x="5652" y="2748"/>
                  </a:lnTo>
                  <a:lnTo>
                    <a:pt x="6450" y="2712"/>
                  </a:lnTo>
                  <a:lnTo>
                    <a:pt x="3840" y="5502"/>
                  </a:lnTo>
                  <a:lnTo>
                    <a:pt x="2964" y="5460"/>
                  </a:lnTo>
                  <a:lnTo>
                    <a:pt x="2412" y="5604"/>
                  </a:lnTo>
                  <a:lnTo>
                    <a:pt x="2172" y="5724"/>
                  </a:lnTo>
                  <a:lnTo>
                    <a:pt x="1992" y="5940"/>
                  </a:lnTo>
                  <a:lnTo>
                    <a:pt x="1752" y="6072"/>
                  </a:lnTo>
                  <a:lnTo>
                    <a:pt x="1260" y="6132"/>
                  </a:lnTo>
                  <a:lnTo>
                    <a:pt x="1017" y="6311"/>
                  </a:lnTo>
                  <a:lnTo>
                    <a:pt x="948" y="6300"/>
                  </a:lnTo>
                  <a:lnTo>
                    <a:pt x="684" y="6300"/>
                  </a:lnTo>
                  <a:lnTo>
                    <a:pt x="444" y="6300"/>
                  </a:lnTo>
                  <a:lnTo>
                    <a:pt x="300" y="6192"/>
                  </a:lnTo>
                  <a:lnTo>
                    <a:pt x="60" y="6036"/>
                  </a:lnTo>
                  <a:lnTo>
                    <a:pt x="72" y="5940"/>
                  </a:lnTo>
                  <a:lnTo>
                    <a:pt x="12" y="5820"/>
                  </a:lnTo>
                  <a:lnTo>
                    <a:pt x="84" y="5772"/>
                  </a:lnTo>
                  <a:lnTo>
                    <a:pt x="180" y="5808"/>
                  </a:lnTo>
                  <a:lnTo>
                    <a:pt x="276" y="5712"/>
                  </a:lnTo>
                  <a:lnTo>
                    <a:pt x="408" y="5676"/>
                  </a:lnTo>
                  <a:lnTo>
                    <a:pt x="408" y="5568"/>
                  </a:lnTo>
                  <a:lnTo>
                    <a:pt x="504" y="5592"/>
                  </a:lnTo>
                  <a:lnTo>
                    <a:pt x="636" y="5568"/>
                  </a:lnTo>
                  <a:lnTo>
                    <a:pt x="804" y="5580"/>
                  </a:lnTo>
                  <a:lnTo>
                    <a:pt x="732" y="5448"/>
                  </a:lnTo>
                  <a:lnTo>
                    <a:pt x="636" y="5364"/>
                  </a:lnTo>
                  <a:lnTo>
                    <a:pt x="552" y="5268"/>
                  </a:lnTo>
                  <a:lnTo>
                    <a:pt x="552" y="5136"/>
                  </a:lnTo>
                  <a:lnTo>
                    <a:pt x="480" y="4992"/>
                  </a:lnTo>
                  <a:lnTo>
                    <a:pt x="432" y="4932"/>
                  </a:lnTo>
                  <a:lnTo>
                    <a:pt x="480" y="4884"/>
                  </a:lnTo>
                  <a:lnTo>
                    <a:pt x="540" y="4740"/>
                  </a:lnTo>
                  <a:lnTo>
                    <a:pt x="480" y="4704"/>
                  </a:lnTo>
                  <a:lnTo>
                    <a:pt x="408" y="4644"/>
                  </a:lnTo>
                  <a:lnTo>
                    <a:pt x="372" y="4536"/>
                  </a:lnTo>
                  <a:lnTo>
                    <a:pt x="288" y="4536"/>
                  </a:lnTo>
                  <a:lnTo>
                    <a:pt x="252" y="4440"/>
                  </a:lnTo>
                  <a:lnTo>
                    <a:pt x="156" y="4404"/>
                  </a:lnTo>
                  <a:lnTo>
                    <a:pt x="180" y="4296"/>
                  </a:lnTo>
                  <a:lnTo>
                    <a:pt x="180" y="4176"/>
                  </a:lnTo>
                  <a:lnTo>
                    <a:pt x="300" y="4176"/>
                  </a:lnTo>
                  <a:lnTo>
                    <a:pt x="312" y="4080"/>
                  </a:lnTo>
                  <a:lnTo>
                    <a:pt x="372" y="3924"/>
                  </a:lnTo>
                  <a:lnTo>
                    <a:pt x="480" y="4032"/>
                  </a:lnTo>
                  <a:lnTo>
                    <a:pt x="552" y="4140"/>
                  </a:lnTo>
                  <a:lnTo>
                    <a:pt x="624" y="4272"/>
                  </a:lnTo>
                  <a:lnTo>
                    <a:pt x="684" y="4344"/>
                  </a:lnTo>
                  <a:lnTo>
                    <a:pt x="756" y="4416"/>
                  </a:lnTo>
                  <a:lnTo>
                    <a:pt x="888" y="4308"/>
                  </a:lnTo>
                  <a:lnTo>
                    <a:pt x="876" y="4164"/>
                  </a:lnTo>
                  <a:lnTo>
                    <a:pt x="984" y="4044"/>
                  </a:lnTo>
                  <a:lnTo>
                    <a:pt x="1104" y="4020"/>
                  </a:lnTo>
                  <a:lnTo>
                    <a:pt x="1176" y="3972"/>
                  </a:lnTo>
                  <a:lnTo>
                    <a:pt x="1248" y="3840"/>
                  </a:lnTo>
                  <a:lnTo>
                    <a:pt x="1260" y="3696"/>
                  </a:lnTo>
                  <a:lnTo>
                    <a:pt x="1332" y="3612"/>
                  </a:lnTo>
                  <a:lnTo>
                    <a:pt x="1380" y="3456"/>
                  </a:lnTo>
                  <a:lnTo>
                    <a:pt x="1356" y="3348"/>
                  </a:lnTo>
                  <a:lnTo>
                    <a:pt x="1272" y="3228"/>
                  </a:lnTo>
                  <a:lnTo>
                    <a:pt x="1200" y="3144"/>
                  </a:lnTo>
                  <a:lnTo>
                    <a:pt x="1212" y="3024"/>
                  </a:lnTo>
                  <a:lnTo>
                    <a:pt x="1188" y="2904"/>
                  </a:lnTo>
                  <a:lnTo>
                    <a:pt x="1212" y="2760"/>
                  </a:lnTo>
                  <a:lnTo>
                    <a:pt x="1248" y="2568"/>
                  </a:lnTo>
                  <a:lnTo>
                    <a:pt x="1320" y="2448"/>
                  </a:lnTo>
                  <a:lnTo>
                    <a:pt x="1380" y="2340"/>
                  </a:lnTo>
                  <a:lnTo>
                    <a:pt x="1332" y="2220"/>
                  </a:lnTo>
                  <a:lnTo>
                    <a:pt x="1404" y="2148"/>
                  </a:lnTo>
                  <a:lnTo>
                    <a:pt x="1464" y="2220"/>
                  </a:lnTo>
                  <a:lnTo>
                    <a:pt x="1548" y="2256"/>
                  </a:lnTo>
                  <a:lnTo>
                    <a:pt x="1632" y="2292"/>
                  </a:lnTo>
                  <a:lnTo>
                    <a:pt x="1668" y="2388"/>
                  </a:lnTo>
                  <a:lnTo>
                    <a:pt x="1704" y="2520"/>
                  </a:lnTo>
                  <a:lnTo>
                    <a:pt x="1740" y="2592"/>
                  </a:lnTo>
                  <a:lnTo>
                    <a:pt x="1800" y="2520"/>
                  </a:lnTo>
                  <a:lnTo>
                    <a:pt x="1884" y="2412"/>
                  </a:lnTo>
                  <a:lnTo>
                    <a:pt x="1980" y="2376"/>
                  </a:lnTo>
                  <a:lnTo>
                    <a:pt x="1980" y="2220"/>
                  </a:lnTo>
                  <a:lnTo>
                    <a:pt x="1908" y="2148"/>
                  </a:lnTo>
                  <a:lnTo>
                    <a:pt x="1920" y="2028"/>
                  </a:lnTo>
                  <a:lnTo>
                    <a:pt x="1896" y="1956"/>
                  </a:lnTo>
                  <a:lnTo>
                    <a:pt x="1824" y="1824"/>
                  </a:lnTo>
                  <a:lnTo>
                    <a:pt x="1740" y="1740"/>
                  </a:lnTo>
                  <a:lnTo>
                    <a:pt x="1692" y="1656"/>
                  </a:lnTo>
                  <a:lnTo>
                    <a:pt x="1680" y="1512"/>
                  </a:lnTo>
                  <a:lnTo>
                    <a:pt x="1596" y="1428"/>
                  </a:lnTo>
                  <a:lnTo>
                    <a:pt x="1536" y="1332"/>
                  </a:lnTo>
                  <a:lnTo>
                    <a:pt x="1524" y="1236"/>
                  </a:lnTo>
                  <a:lnTo>
                    <a:pt x="1452" y="1200"/>
                  </a:lnTo>
                  <a:lnTo>
                    <a:pt x="1391" y="1236"/>
                  </a:lnTo>
                  <a:lnTo>
                    <a:pt x="1295" y="1260"/>
                  </a:lnTo>
                  <a:lnTo>
                    <a:pt x="1272" y="1406"/>
                  </a:lnTo>
                  <a:lnTo>
                    <a:pt x="1140" y="1392"/>
                  </a:lnTo>
                  <a:lnTo>
                    <a:pt x="999" y="1428"/>
                  </a:lnTo>
                  <a:lnTo>
                    <a:pt x="900" y="1380"/>
                  </a:lnTo>
                  <a:lnTo>
                    <a:pt x="804" y="1404"/>
                  </a:lnTo>
                  <a:lnTo>
                    <a:pt x="672" y="1428"/>
                  </a:lnTo>
                  <a:lnTo>
                    <a:pt x="552" y="1380"/>
                  </a:lnTo>
                  <a:lnTo>
                    <a:pt x="468" y="1428"/>
                  </a:lnTo>
                  <a:lnTo>
                    <a:pt x="360" y="1500"/>
                  </a:lnTo>
                  <a:lnTo>
                    <a:pt x="276" y="1548"/>
                  </a:lnTo>
                  <a:lnTo>
                    <a:pt x="180" y="1572"/>
                  </a:lnTo>
                  <a:lnTo>
                    <a:pt x="120" y="1524"/>
                  </a:lnTo>
                  <a:lnTo>
                    <a:pt x="216" y="1464"/>
                  </a:lnTo>
                  <a:lnTo>
                    <a:pt x="144" y="1416"/>
                  </a:lnTo>
                  <a:lnTo>
                    <a:pt x="56" y="1428"/>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6" name="Freeform 7">
              <a:extLst>
                <a:ext uri="{FF2B5EF4-FFF2-40B4-BE49-F238E27FC236}">
                  <a16:creationId xmlns:a16="http://schemas.microsoft.com/office/drawing/2014/main" id="{8CA3BC30-A5DD-4316-BE1C-C175367E9DF4}"/>
                </a:ext>
              </a:extLst>
            </p:cNvPr>
            <p:cNvSpPr>
              <a:spLocks/>
            </p:cNvSpPr>
            <p:nvPr/>
          </p:nvSpPr>
          <p:spPr bwMode="auto">
            <a:xfrm>
              <a:off x="3500153" y="2977188"/>
              <a:ext cx="81685" cy="54926"/>
            </a:xfrm>
            <a:custGeom>
              <a:avLst/>
              <a:gdLst>
                <a:gd name="T0" fmla="*/ 32 w 288"/>
                <a:gd name="T1" fmla="*/ 16 h 192"/>
                <a:gd name="T2" fmla="*/ 0 w 288"/>
                <a:gd name="T3" fmla="*/ 112 h 192"/>
                <a:gd name="T4" fmla="*/ 48 w 288"/>
                <a:gd name="T5" fmla="*/ 160 h 192"/>
                <a:gd name="T6" fmla="*/ 144 w 288"/>
                <a:gd name="T7" fmla="*/ 168 h 192"/>
                <a:gd name="T8" fmla="*/ 208 w 288"/>
                <a:gd name="T9" fmla="*/ 192 h 192"/>
                <a:gd name="T10" fmla="*/ 200 w 288"/>
                <a:gd name="T11" fmla="*/ 136 h 192"/>
                <a:gd name="T12" fmla="*/ 288 w 288"/>
                <a:gd name="T13" fmla="*/ 80 h 192"/>
                <a:gd name="T14" fmla="*/ 248 w 288"/>
                <a:gd name="T15" fmla="*/ 24 h 192"/>
                <a:gd name="T16" fmla="*/ 176 w 288"/>
                <a:gd name="T17" fmla="*/ 32 h 192"/>
                <a:gd name="T18" fmla="*/ 112 w 288"/>
                <a:gd name="T19" fmla="*/ 0 h 192"/>
                <a:gd name="T20" fmla="*/ 32 w 288"/>
                <a:gd name="T2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192">
                  <a:moveTo>
                    <a:pt x="32" y="16"/>
                  </a:moveTo>
                  <a:lnTo>
                    <a:pt x="0" y="112"/>
                  </a:lnTo>
                  <a:lnTo>
                    <a:pt x="48" y="160"/>
                  </a:lnTo>
                  <a:lnTo>
                    <a:pt x="144" y="168"/>
                  </a:lnTo>
                  <a:lnTo>
                    <a:pt x="208" y="192"/>
                  </a:lnTo>
                  <a:lnTo>
                    <a:pt x="200" y="136"/>
                  </a:lnTo>
                  <a:lnTo>
                    <a:pt x="288" y="80"/>
                  </a:lnTo>
                  <a:lnTo>
                    <a:pt x="248" y="24"/>
                  </a:lnTo>
                  <a:lnTo>
                    <a:pt x="176" y="32"/>
                  </a:lnTo>
                  <a:lnTo>
                    <a:pt x="112" y="0"/>
                  </a:lnTo>
                  <a:lnTo>
                    <a:pt x="32" y="16"/>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7" name="Freeform 8">
              <a:extLst>
                <a:ext uri="{FF2B5EF4-FFF2-40B4-BE49-F238E27FC236}">
                  <a16:creationId xmlns:a16="http://schemas.microsoft.com/office/drawing/2014/main" id="{8C059C3C-9636-4A59-9A7E-97925F89D4A6}"/>
                </a:ext>
              </a:extLst>
            </p:cNvPr>
            <p:cNvSpPr>
              <a:spLocks/>
            </p:cNvSpPr>
            <p:nvPr/>
          </p:nvSpPr>
          <p:spPr bwMode="auto">
            <a:xfrm>
              <a:off x="4163488" y="2958880"/>
              <a:ext cx="69010" cy="71827"/>
            </a:xfrm>
            <a:custGeom>
              <a:avLst/>
              <a:gdLst>
                <a:gd name="T0" fmla="*/ 33 w 244"/>
                <a:gd name="T1" fmla="*/ 24 h 254"/>
                <a:gd name="T2" fmla="*/ 0 w 244"/>
                <a:gd name="T3" fmla="*/ 91 h 254"/>
                <a:gd name="T4" fmla="*/ 9 w 244"/>
                <a:gd name="T5" fmla="*/ 153 h 254"/>
                <a:gd name="T6" fmla="*/ 52 w 244"/>
                <a:gd name="T7" fmla="*/ 206 h 254"/>
                <a:gd name="T8" fmla="*/ 105 w 244"/>
                <a:gd name="T9" fmla="*/ 249 h 254"/>
                <a:gd name="T10" fmla="*/ 148 w 244"/>
                <a:gd name="T11" fmla="*/ 254 h 254"/>
                <a:gd name="T12" fmla="*/ 177 w 244"/>
                <a:gd name="T13" fmla="*/ 225 h 254"/>
                <a:gd name="T14" fmla="*/ 196 w 244"/>
                <a:gd name="T15" fmla="*/ 168 h 254"/>
                <a:gd name="T16" fmla="*/ 244 w 244"/>
                <a:gd name="T17" fmla="*/ 125 h 254"/>
                <a:gd name="T18" fmla="*/ 216 w 244"/>
                <a:gd name="T19" fmla="*/ 57 h 254"/>
                <a:gd name="T20" fmla="*/ 192 w 244"/>
                <a:gd name="T21" fmla="*/ 0 h 254"/>
                <a:gd name="T22" fmla="*/ 110 w 244"/>
                <a:gd name="T23" fmla="*/ 14 h 254"/>
                <a:gd name="T24" fmla="*/ 33 w 244"/>
                <a:gd name="T25" fmla="*/ 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4">
                  <a:moveTo>
                    <a:pt x="33" y="24"/>
                  </a:moveTo>
                  <a:lnTo>
                    <a:pt x="0" y="91"/>
                  </a:lnTo>
                  <a:lnTo>
                    <a:pt x="9" y="153"/>
                  </a:lnTo>
                  <a:lnTo>
                    <a:pt x="52" y="206"/>
                  </a:lnTo>
                  <a:lnTo>
                    <a:pt x="105" y="249"/>
                  </a:lnTo>
                  <a:lnTo>
                    <a:pt x="148" y="254"/>
                  </a:lnTo>
                  <a:lnTo>
                    <a:pt x="177" y="225"/>
                  </a:lnTo>
                  <a:lnTo>
                    <a:pt x="196" y="168"/>
                  </a:lnTo>
                  <a:lnTo>
                    <a:pt x="244" y="125"/>
                  </a:lnTo>
                  <a:lnTo>
                    <a:pt x="216" y="57"/>
                  </a:lnTo>
                  <a:lnTo>
                    <a:pt x="192" y="0"/>
                  </a:lnTo>
                  <a:lnTo>
                    <a:pt x="110" y="14"/>
                  </a:lnTo>
                  <a:lnTo>
                    <a:pt x="33" y="24"/>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8" name="Freeform 9">
              <a:extLst>
                <a:ext uri="{FF2B5EF4-FFF2-40B4-BE49-F238E27FC236}">
                  <a16:creationId xmlns:a16="http://schemas.microsoft.com/office/drawing/2014/main" id="{0970ED25-01AD-430F-98C9-C6F5501D55E7}"/>
                </a:ext>
              </a:extLst>
            </p:cNvPr>
            <p:cNvSpPr>
              <a:spLocks/>
            </p:cNvSpPr>
            <p:nvPr/>
          </p:nvSpPr>
          <p:spPr bwMode="auto">
            <a:xfrm>
              <a:off x="5014135" y="2888462"/>
              <a:ext cx="54926" cy="45067"/>
            </a:xfrm>
            <a:custGeom>
              <a:avLst/>
              <a:gdLst>
                <a:gd name="T0" fmla="*/ 67 w 197"/>
                <a:gd name="T1" fmla="*/ 0 h 159"/>
                <a:gd name="T2" fmla="*/ 5 w 197"/>
                <a:gd name="T3" fmla="*/ 63 h 159"/>
                <a:gd name="T4" fmla="*/ 0 w 197"/>
                <a:gd name="T5" fmla="*/ 130 h 159"/>
                <a:gd name="T6" fmla="*/ 48 w 197"/>
                <a:gd name="T7" fmla="*/ 144 h 159"/>
                <a:gd name="T8" fmla="*/ 110 w 197"/>
                <a:gd name="T9" fmla="*/ 159 h 159"/>
                <a:gd name="T10" fmla="*/ 182 w 197"/>
                <a:gd name="T11" fmla="*/ 159 h 159"/>
                <a:gd name="T12" fmla="*/ 197 w 197"/>
                <a:gd name="T13" fmla="*/ 10 h 159"/>
                <a:gd name="T14" fmla="*/ 144 w 197"/>
                <a:gd name="T15" fmla="*/ 15 h 159"/>
                <a:gd name="T16" fmla="*/ 67 w 197"/>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59">
                  <a:moveTo>
                    <a:pt x="67" y="0"/>
                  </a:moveTo>
                  <a:lnTo>
                    <a:pt x="5" y="63"/>
                  </a:lnTo>
                  <a:lnTo>
                    <a:pt x="0" y="130"/>
                  </a:lnTo>
                  <a:lnTo>
                    <a:pt x="48" y="144"/>
                  </a:lnTo>
                  <a:lnTo>
                    <a:pt x="110" y="159"/>
                  </a:lnTo>
                  <a:lnTo>
                    <a:pt x="182" y="159"/>
                  </a:lnTo>
                  <a:lnTo>
                    <a:pt x="197" y="10"/>
                  </a:lnTo>
                  <a:lnTo>
                    <a:pt x="144" y="15"/>
                  </a:lnTo>
                  <a:lnTo>
                    <a:pt x="67"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9" name="Freeform 10">
              <a:extLst>
                <a:ext uri="{FF2B5EF4-FFF2-40B4-BE49-F238E27FC236}">
                  <a16:creationId xmlns:a16="http://schemas.microsoft.com/office/drawing/2014/main" id="{2797C3FC-2B17-4515-9405-13BB5BA8F2E0}"/>
                </a:ext>
              </a:extLst>
            </p:cNvPr>
            <p:cNvSpPr>
              <a:spLocks/>
            </p:cNvSpPr>
            <p:nvPr/>
          </p:nvSpPr>
          <p:spPr bwMode="auto">
            <a:xfrm>
              <a:off x="3590288" y="2850436"/>
              <a:ext cx="36617" cy="43659"/>
            </a:xfrm>
            <a:custGeom>
              <a:avLst/>
              <a:gdLst>
                <a:gd name="T0" fmla="*/ 72 w 130"/>
                <a:gd name="T1" fmla="*/ 0 h 153"/>
                <a:gd name="T2" fmla="*/ 24 w 130"/>
                <a:gd name="T3" fmla="*/ 14 h 153"/>
                <a:gd name="T4" fmla="*/ 0 w 130"/>
                <a:gd name="T5" fmla="*/ 101 h 153"/>
                <a:gd name="T6" fmla="*/ 24 w 130"/>
                <a:gd name="T7" fmla="*/ 153 h 153"/>
                <a:gd name="T8" fmla="*/ 87 w 130"/>
                <a:gd name="T9" fmla="*/ 153 h 153"/>
                <a:gd name="T10" fmla="*/ 87 w 130"/>
                <a:gd name="T11" fmla="*/ 105 h 153"/>
                <a:gd name="T12" fmla="*/ 116 w 130"/>
                <a:gd name="T13" fmla="*/ 77 h 153"/>
                <a:gd name="T14" fmla="*/ 130 w 130"/>
                <a:gd name="T15" fmla="*/ 38 h 153"/>
                <a:gd name="T16" fmla="*/ 111 w 130"/>
                <a:gd name="T17" fmla="*/ 19 h 153"/>
                <a:gd name="T18" fmla="*/ 72 w 130"/>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3">
                  <a:moveTo>
                    <a:pt x="72" y="0"/>
                  </a:moveTo>
                  <a:lnTo>
                    <a:pt x="24" y="14"/>
                  </a:lnTo>
                  <a:lnTo>
                    <a:pt x="0" y="101"/>
                  </a:lnTo>
                  <a:lnTo>
                    <a:pt x="24" y="153"/>
                  </a:lnTo>
                  <a:lnTo>
                    <a:pt x="87" y="153"/>
                  </a:lnTo>
                  <a:lnTo>
                    <a:pt x="87" y="105"/>
                  </a:lnTo>
                  <a:lnTo>
                    <a:pt x="116" y="77"/>
                  </a:lnTo>
                  <a:lnTo>
                    <a:pt x="130" y="38"/>
                  </a:lnTo>
                  <a:lnTo>
                    <a:pt x="111" y="19"/>
                  </a:lnTo>
                  <a:lnTo>
                    <a:pt x="72" y="0"/>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0" name="Freeform 11">
              <a:extLst>
                <a:ext uri="{FF2B5EF4-FFF2-40B4-BE49-F238E27FC236}">
                  <a16:creationId xmlns:a16="http://schemas.microsoft.com/office/drawing/2014/main" id="{3772BADA-3ED4-45D3-896D-5F127B64342B}"/>
                </a:ext>
              </a:extLst>
            </p:cNvPr>
            <p:cNvSpPr>
              <a:spLocks/>
            </p:cNvSpPr>
            <p:nvPr/>
          </p:nvSpPr>
          <p:spPr bwMode="auto">
            <a:xfrm>
              <a:off x="3305800" y="1808253"/>
              <a:ext cx="1250620" cy="1230903"/>
            </a:xfrm>
            <a:custGeom>
              <a:avLst/>
              <a:gdLst>
                <a:gd name="T0" fmla="*/ 852 w 4440"/>
                <a:gd name="T1" fmla="*/ 732 h 4368"/>
                <a:gd name="T2" fmla="*/ 396 w 4440"/>
                <a:gd name="T3" fmla="*/ 924 h 4368"/>
                <a:gd name="T4" fmla="*/ 216 w 4440"/>
                <a:gd name="T5" fmla="*/ 1692 h 4368"/>
                <a:gd name="T6" fmla="*/ 468 w 4440"/>
                <a:gd name="T7" fmla="*/ 1476 h 4368"/>
                <a:gd name="T8" fmla="*/ 708 w 4440"/>
                <a:gd name="T9" fmla="*/ 1608 h 4368"/>
                <a:gd name="T10" fmla="*/ 996 w 4440"/>
                <a:gd name="T11" fmla="*/ 1668 h 4368"/>
                <a:gd name="T12" fmla="*/ 1116 w 4440"/>
                <a:gd name="T13" fmla="*/ 2004 h 4368"/>
                <a:gd name="T14" fmla="*/ 1164 w 4440"/>
                <a:gd name="T15" fmla="*/ 2328 h 4368"/>
                <a:gd name="T16" fmla="*/ 912 w 4440"/>
                <a:gd name="T17" fmla="*/ 2568 h 4368"/>
                <a:gd name="T18" fmla="*/ 1008 w 4440"/>
                <a:gd name="T19" fmla="*/ 2820 h 4368"/>
                <a:gd name="T20" fmla="*/ 1344 w 4440"/>
                <a:gd name="T21" fmla="*/ 2976 h 4368"/>
                <a:gd name="T22" fmla="*/ 1730 w 4440"/>
                <a:gd name="T23" fmla="*/ 3111 h 4368"/>
                <a:gd name="T24" fmla="*/ 2022 w 4440"/>
                <a:gd name="T25" fmla="*/ 3275 h 4368"/>
                <a:gd name="T26" fmla="*/ 2376 w 4440"/>
                <a:gd name="T27" fmla="*/ 3384 h 4368"/>
                <a:gd name="T28" fmla="*/ 2837 w 4440"/>
                <a:gd name="T29" fmla="*/ 3147 h 4368"/>
                <a:gd name="T30" fmla="*/ 3131 w 4440"/>
                <a:gd name="T31" fmla="*/ 2952 h 4368"/>
                <a:gd name="T32" fmla="*/ 3155 w 4440"/>
                <a:gd name="T33" fmla="*/ 3206 h 4368"/>
                <a:gd name="T34" fmla="*/ 3230 w 4440"/>
                <a:gd name="T35" fmla="*/ 3492 h 4368"/>
                <a:gd name="T36" fmla="*/ 3408 w 4440"/>
                <a:gd name="T37" fmla="*/ 3659 h 4368"/>
                <a:gd name="T38" fmla="*/ 3683 w 4440"/>
                <a:gd name="T39" fmla="*/ 3503 h 4368"/>
                <a:gd name="T40" fmla="*/ 3708 w 4440"/>
                <a:gd name="T41" fmla="*/ 3770 h 4368"/>
                <a:gd name="T42" fmla="*/ 3588 w 4440"/>
                <a:gd name="T43" fmla="*/ 3923 h 4368"/>
                <a:gd name="T44" fmla="*/ 3638 w 4440"/>
                <a:gd name="T45" fmla="*/ 4122 h 4368"/>
                <a:gd name="T46" fmla="*/ 3755 w 4440"/>
                <a:gd name="T47" fmla="*/ 4322 h 4368"/>
                <a:gd name="T48" fmla="*/ 4032 w 4440"/>
                <a:gd name="T49" fmla="*/ 4284 h 4368"/>
                <a:gd name="T50" fmla="*/ 4068 w 4440"/>
                <a:gd name="T51" fmla="*/ 3828 h 4368"/>
                <a:gd name="T52" fmla="*/ 4140 w 4440"/>
                <a:gd name="T53" fmla="*/ 3492 h 4368"/>
                <a:gd name="T54" fmla="*/ 4320 w 4440"/>
                <a:gd name="T55" fmla="*/ 3312 h 4368"/>
                <a:gd name="T56" fmla="*/ 4368 w 4440"/>
                <a:gd name="T57" fmla="*/ 3156 h 4368"/>
                <a:gd name="T58" fmla="*/ 4404 w 4440"/>
                <a:gd name="T59" fmla="*/ 2688 h 4368"/>
                <a:gd name="T60" fmla="*/ 4368 w 4440"/>
                <a:gd name="T61" fmla="*/ 2436 h 4368"/>
                <a:gd name="T62" fmla="*/ 4320 w 4440"/>
                <a:gd name="T63" fmla="*/ 2088 h 4368"/>
                <a:gd name="T64" fmla="*/ 4128 w 4440"/>
                <a:gd name="T65" fmla="*/ 1752 h 4368"/>
                <a:gd name="T66" fmla="*/ 4068 w 4440"/>
                <a:gd name="T67" fmla="*/ 1344 h 4368"/>
                <a:gd name="T68" fmla="*/ 3780 w 4440"/>
                <a:gd name="T69" fmla="*/ 1200 h 4368"/>
                <a:gd name="T70" fmla="*/ 3576 w 4440"/>
                <a:gd name="T71" fmla="*/ 1044 h 4368"/>
                <a:gd name="T72" fmla="*/ 3624 w 4440"/>
                <a:gd name="T73" fmla="*/ 780 h 4368"/>
                <a:gd name="T74" fmla="*/ 3420 w 4440"/>
                <a:gd name="T75" fmla="*/ 624 h 4368"/>
                <a:gd name="T76" fmla="*/ 3336 w 4440"/>
                <a:gd name="T77" fmla="*/ 408 h 4368"/>
                <a:gd name="T78" fmla="*/ 3108 w 4440"/>
                <a:gd name="T79" fmla="*/ 228 h 4368"/>
                <a:gd name="T80" fmla="*/ 2856 w 4440"/>
                <a:gd name="T81" fmla="*/ 108 h 4368"/>
                <a:gd name="T82" fmla="*/ 2424 w 4440"/>
                <a:gd name="T83" fmla="*/ 168 h 4368"/>
                <a:gd name="T84" fmla="*/ 2196 w 4440"/>
                <a:gd name="T85" fmla="*/ 240 h 4368"/>
                <a:gd name="T86" fmla="*/ 1740 w 4440"/>
                <a:gd name="T87" fmla="*/ 228 h 4368"/>
                <a:gd name="T88" fmla="*/ 1332 w 4440"/>
                <a:gd name="T89" fmla="*/ 120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40" h="4368">
                  <a:moveTo>
                    <a:pt x="1092" y="0"/>
                  </a:moveTo>
                  <a:lnTo>
                    <a:pt x="840" y="552"/>
                  </a:lnTo>
                  <a:lnTo>
                    <a:pt x="852" y="732"/>
                  </a:lnTo>
                  <a:lnTo>
                    <a:pt x="840" y="876"/>
                  </a:lnTo>
                  <a:lnTo>
                    <a:pt x="648" y="900"/>
                  </a:lnTo>
                  <a:lnTo>
                    <a:pt x="396" y="924"/>
                  </a:lnTo>
                  <a:lnTo>
                    <a:pt x="0" y="1575"/>
                  </a:lnTo>
                  <a:lnTo>
                    <a:pt x="96" y="1656"/>
                  </a:lnTo>
                  <a:lnTo>
                    <a:pt x="216" y="1692"/>
                  </a:lnTo>
                  <a:lnTo>
                    <a:pt x="324" y="1620"/>
                  </a:lnTo>
                  <a:lnTo>
                    <a:pt x="420" y="1560"/>
                  </a:lnTo>
                  <a:lnTo>
                    <a:pt x="468" y="1476"/>
                  </a:lnTo>
                  <a:lnTo>
                    <a:pt x="552" y="1476"/>
                  </a:lnTo>
                  <a:lnTo>
                    <a:pt x="648" y="1500"/>
                  </a:lnTo>
                  <a:lnTo>
                    <a:pt x="708" y="1608"/>
                  </a:lnTo>
                  <a:lnTo>
                    <a:pt x="792" y="1704"/>
                  </a:lnTo>
                  <a:lnTo>
                    <a:pt x="816" y="1764"/>
                  </a:lnTo>
                  <a:lnTo>
                    <a:pt x="996" y="1668"/>
                  </a:lnTo>
                  <a:lnTo>
                    <a:pt x="996" y="1800"/>
                  </a:lnTo>
                  <a:lnTo>
                    <a:pt x="1032" y="1908"/>
                  </a:lnTo>
                  <a:lnTo>
                    <a:pt x="1116" y="2004"/>
                  </a:lnTo>
                  <a:lnTo>
                    <a:pt x="1188" y="2100"/>
                  </a:lnTo>
                  <a:lnTo>
                    <a:pt x="1092" y="2220"/>
                  </a:lnTo>
                  <a:lnTo>
                    <a:pt x="1164" y="2328"/>
                  </a:lnTo>
                  <a:lnTo>
                    <a:pt x="1080" y="2364"/>
                  </a:lnTo>
                  <a:lnTo>
                    <a:pt x="1020" y="2448"/>
                  </a:lnTo>
                  <a:lnTo>
                    <a:pt x="912" y="2568"/>
                  </a:lnTo>
                  <a:lnTo>
                    <a:pt x="1020" y="2640"/>
                  </a:lnTo>
                  <a:lnTo>
                    <a:pt x="960" y="2772"/>
                  </a:lnTo>
                  <a:lnTo>
                    <a:pt x="1008" y="2820"/>
                  </a:lnTo>
                  <a:lnTo>
                    <a:pt x="1104" y="2880"/>
                  </a:lnTo>
                  <a:lnTo>
                    <a:pt x="1164" y="2976"/>
                  </a:lnTo>
                  <a:lnTo>
                    <a:pt x="1344" y="2976"/>
                  </a:lnTo>
                  <a:lnTo>
                    <a:pt x="1572" y="3000"/>
                  </a:lnTo>
                  <a:lnTo>
                    <a:pt x="1671" y="3041"/>
                  </a:lnTo>
                  <a:lnTo>
                    <a:pt x="1730" y="3111"/>
                  </a:lnTo>
                  <a:lnTo>
                    <a:pt x="1748" y="3203"/>
                  </a:lnTo>
                  <a:lnTo>
                    <a:pt x="1856" y="3257"/>
                  </a:lnTo>
                  <a:lnTo>
                    <a:pt x="2022" y="3275"/>
                  </a:lnTo>
                  <a:lnTo>
                    <a:pt x="2123" y="3366"/>
                  </a:lnTo>
                  <a:lnTo>
                    <a:pt x="2243" y="3422"/>
                  </a:lnTo>
                  <a:lnTo>
                    <a:pt x="2376" y="3384"/>
                  </a:lnTo>
                  <a:lnTo>
                    <a:pt x="2514" y="3311"/>
                  </a:lnTo>
                  <a:lnTo>
                    <a:pt x="2693" y="3204"/>
                  </a:lnTo>
                  <a:lnTo>
                    <a:pt x="2837" y="3147"/>
                  </a:lnTo>
                  <a:lnTo>
                    <a:pt x="2889" y="3032"/>
                  </a:lnTo>
                  <a:lnTo>
                    <a:pt x="2916" y="2930"/>
                  </a:lnTo>
                  <a:lnTo>
                    <a:pt x="3131" y="2952"/>
                  </a:lnTo>
                  <a:lnTo>
                    <a:pt x="3240" y="3000"/>
                  </a:lnTo>
                  <a:lnTo>
                    <a:pt x="3216" y="3132"/>
                  </a:lnTo>
                  <a:lnTo>
                    <a:pt x="3155" y="3206"/>
                  </a:lnTo>
                  <a:lnTo>
                    <a:pt x="3059" y="3230"/>
                  </a:lnTo>
                  <a:lnTo>
                    <a:pt x="3165" y="3344"/>
                  </a:lnTo>
                  <a:lnTo>
                    <a:pt x="3230" y="3492"/>
                  </a:lnTo>
                  <a:lnTo>
                    <a:pt x="3314" y="3528"/>
                  </a:lnTo>
                  <a:lnTo>
                    <a:pt x="3407" y="3552"/>
                  </a:lnTo>
                  <a:lnTo>
                    <a:pt x="3408" y="3659"/>
                  </a:lnTo>
                  <a:lnTo>
                    <a:pt x="3494" y="3636"/>
                  </a:lnTo>
                  <a:lnTo>
                    <a:pt x="3585" y="3528"/>
                  </a:lnTo>
                  <a:lnTo>
                    <a:pt x="3683" y="3503"/>
                  </a:lnTo>
                  <a:lnTo>
                    <a:pt x="3684" y="3636"/>
                  </a:lnTo>
                  <a:lnTo>
                    <a:pt x="3624" y="3780"/>
                  </a:lnTo>
                  <a:lnTo>
                    <a:pt x="3708" y="3770"/>
                  </a:lnTo>
                  <a:lnTo>
                    <a:pt x="3777" y="3839"/>
                  </a:lnTo>
                  <a:lnTo>
                    <a:pt x="3690" y="3890"/>
                  </a:lnTo>
                  <a:lnTo>
                    <a:pt x="3588" y="3923"/>
                  </a:lnTo>
                  <a:lnTo>
                    <a:pt x="3587" y="3998"/>
                  </a:lnTo>
                  <a:lnTo>
                    <a:pt x="3684" y="4046"/>
                  </a:lnTo>
                  <a:lnTo>
                    <a:pt x="3638" y="4122"/>
                  </a:lnTo>
                  <a:lnTo>
                    <a:pt x="3588" y="4259"/>
                  </a:lnTo>
                  <a:lnTo>
                    <a:pt x="3648" y="4368"/>
                  </a:lnTo>
                  <a:lnTo>
                    <a:pt x="3755" y="4322"/>
                  </a:lnTo>
                  <a:lnTo>
                    <a:pt x="3830" y="4367"/>
                  </a:lnTo>
                  <a:lnTo>
                    <a:pt x="3938" y="4308"/>
                  </a:lnTo>
                  <a:lnTo>
                    <a:pt x="4032" y="4284"/>
                  </a:lnTo>
                  <a:lnTo>
                    <a:pt x="4056" y="4080"/>
                  </a:lnTo>
                  <a:lnTo>
                    <a:pt x="4152" y="3924"/>
                  </a:lnTo>
                  <a:lnTo>
                    <a:pt x="4068" y="3828"/>
                  </a:lnTo>
                  <a:lnTo>
                    <a:pt x="4164" y="3756"/>
                  </a:lnTo>
                  <a:lnTo>
                    <a:pt x="4152" y="3624"/>
                  </a:lnTo>
                  <a:lnTo>
                    <a:pt x="4140" y="3492"/>
                  </a:lnTo>
                  <a:lnTo>
                    <a:pt x="4272" y="3528"/>
                  </a:lnTo>
                  <a:lnTo>
                    <a:pt x="4284" y="3432"/>
                  </a:lnTo>
                  <a:lnTo>
                    <a:pt x="4320" y="3312"/>
                  </a:lnTo>
                  <a:lnTo>
                    <a:pt x="4248" y="3288"/>
                  </a:lnTo>
                  <a:lnTo>
                    <a:pt x="4248" y="3192"/>
                  </a:lnTo>
                  <a:lnTo>
                    <a:pt x="4368" y="3156"/>
                  </a:lnTo>
                  <a:lnTo>
                    <a:pt x="4368" y="2940"/>
                  </a:lnTo>
                  <a:lnTo>
                    <a:pt x="4392" y="2808"/>
                  </a:lnTo>
                  <a:lnTo>
                    <a:pt x="4404" y="2688"/>
                  </a:lnTo>
                  <a:lnTo>
                    <a:pt x="4320" y="2580"/>
                  </a:lnTo>
                  <a:lnTo>
                    <a:pt x="4380" y="2520"/>
                  </a:lnTo>
                  <a:lnTo>
                    <a:pt x="4368" y="2436"/>
                  </a:lnTo>
                  <a:lnTo>
                    <a:pt x="4440" y="2316"/>
                  </a:lnTo>
                  <a:lnTo>
                    <a:pt x="4392" y="2196"/>
                  </a:lnTo>
                  <a:lnTo>
                    <a:pt x="4320" y="2088"/>
                  </a:lnTo>
                  <a:lnTo>
                    <a:pt x="4284" y="1956"/>
                  </a:lnTo>
                  <a:lnTo>
                    <a:pt x="4224" y="1812"/>
                  </a:lnTo>
                  <a:lnTo>
                    <a:pt x="4128" y="1752"/>
                  </a:lnTo>
                  <a:lnTo>
                    <a:pt x="4140" y="1596"/>
                  </a:lnTo>
                  <a:lnTo>
                    <a:pt x="4080" y="1500"/>
                  </a:lnTo>
                  <a:lnTo>
                    <a:pt x="4068" y="1344"/>
                  </a:lnTo>
                  <a:lnTo>
                    <a:pt x="4044" y="1224"/>
                  </a:lnTo>
                  <a:lnTo>
                    <a:pt x="3864" y="1260"/>
                  </a:lnTo>
                  <a:lnTo>
                    <a:pt x="3780" y="1200"/>
                  </a:lnTo>
                  <a:lnTo>
                    <a:pt x="3624" y="1236"/>
                  </a:lnTo>
                  <a:lnTo>
                    <a:pt x="3564" y="1164"/>
                  </a:lnTo>
                  <a:lnTo>
                    <a:pt x="3576" y="1044"/>
                  </a:lnTo>
                  <a:lnTo>
                    <a:pt x="3516" y="948"/>
                  </a:lnTo>
                  <a:lnTo>
                    <a:pt x="3624" y="888"/>
                  </a:lnTo>
                  <a:lnTo>
                    <a:pt x="3624" y="780"/>
                  </a:lnTo>
                  <a:lnTo>
                    <a:pt x="3588" y="684"/>
                  </a:lnTo>
                  <a:lnTo>
                    <a:pt x="3492" y="576"/>
                  </a:lnTo>
                  <a:lnTo>
                    <a:pt x="3420" y="624"/>
                  </a:lnTo>
                  <a:lnTo>
                    <a:pt x="3360" y="576"/>
                  </a:lnTo>
                  <a:lnTo>
                    <a:pt x="3384" y="492"/>
                  </a:lnTo>
                  <a:lnTo>
                    <a:pt x="3336" y="408"/>
                  </a:lnTo>
                  <a:lnTo>
                    <a:pt x="3228" y="396"/>
                  </a:lnTo>
                  <a:lnTo>
                    <a:pt x="3132" y="408"/>
                  </a:lnTo>
                  <a:lnTo>
                    <a:pt x="3108" y="228"/>
                  </a:lnTo>
                  <a:lnTo>
                    <a:pt x="3036" y="180"/>
                  </a:lnTo>
                  <a:lnTo>
                    <a:pt x="2916" y="216"/>
                  </a:lnTo>
                  <a:lnTo>
                    <a:pt x="2856" y="108"/>
                  </a:lnTo>
                  <a:lnTo>
                    <a:pt x="2724" y="168"/>
                  </a:lnTo>
                  <a:lnTo>
                    <a:pt x="2580" y="204"/>
                  </a:lnTo>
                  <a:lnTo>
                    <a:pt x="2424" y="168"/>
                  </a:lnTo>
                  <a:lnTo>
                    <a:pt x="2292" y="84"/>
                  </a:lnTo>
                  <a:lnTo>
                    <a:pt x="2220" y="120"/>
                  </a:lnTo>
                  <a:lnTo>
                    <a:pt x="2196" y="240"/>
                  </a:lnTo>
                  <a:lnTo>
                    <a:pt x="2040" y="276"/>
                  </a:lnTo>
                  <a:lnTo>
                    <a:pt x="1908" y="300"/>
                  </a:lnTo>
                  <a:lnTo>
                    <a:pt x="1740" y="228"/>
                  </a:lnTo>
                  <a:lnTo>
                    <a:pt x="1608" y="276"/>
                  </a:lnTo>
                  <a:lnTo>
                    <a:pt x="1452" y="252"/>
                  </a:lnTo>
                  <a:lnTo>
                    <a:pt x="1332" y="120"/>
                  </a:lnTo>
                  <a:lnTo>
                    <a:pt x="1200" y="120"/>
                  </a:lnTo>
                  <a:lnTo>
                    <a:pt x="1092" y="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1" name="Freeform 12">
              <a:extLst>
                <a:ext uri="{FF2B5EF4-FFF2-40B4-BE49-F238E27FC236}">
                  <a16:creationId xmlns:a16="http://schemas.microsoft.com/office/drawing/2014/main" id="{06AA184C-4A02-4814-88D3-572C5B815E62}"/>
                </a:ext>
              </a:extLst>
            </p:cNvPr>
            <p:cNvSpPr>
              <a:spLocks/>
            </p:cNvSpPr>
            <p:nvPr/>
          </p:nvSpPr>
          <p:spPr bwMode="auto">
            <a:xfrm>
              <a:off x="3612821" y="1520949"/>
              <a:ext cx="881631" cy="642210"/>
            </a:xfrm>
            <a:custGeom>
              <a:avLst/>
              <a:gdLst>
                <a:gd name="T0" fmla="*/ 60 w 3132"/>
                <a:gd name="T1" fmla="*/ 888 h 2280"/>
                <a:gd name="T2" fmla="*/ 131 w 3132"/>
                <a:gd name="T3" fmla="*/ 441 h 2280"/>
                <a:gd name="T4" fmla="*/ 492 w 3132"/>
                <a:gd name="T5" fmla="*/ 552 h 2280"/>
                <a:gd name="T6" fmla="*/ 648 w 3132"/>
                <a:gd name="T7" fmla="*/ 384 h 2280"/>
                <a:gd name="T8" fmla="*/ 912 w 3132"/>
                <a:gd name="T9" fmla="*/ 336 h 2280"/>
                <a:gd name="T10" fmla="*/ 1308 w 3132"/>
                <a:gd name="T11" fmla="*/ 0 h 2280"/>
                <a:gd name="T12" fmla="*/ 1596 w 3132"/>
                <a:gd name="T13" fmla="*/ 132 h 2280"/>
                <a:gd name="T14" fmla="*/ 1788 w 3132"/>
                <a:gd name="T15" fmla="*/ 372 h 2280"/>
                <a:gd name="T16" fmla="*/ 2232 w 3132"/>
                <a:gd name="T17" fmla="*/ 276 h 2280"/>
                <a:gd name="T18" fmla="*/ 2400 w 3132"/>
                <a:gd name="T19" fmla="*/ 156 h 2280"/>
                <a:gd name="T20" fmla="*/ 2484 w 3132"/>
                <a:gd name="T21" fmla="*/ 372 h 2280"/>
                <a:gd name="T22" fmla="*/ 2712 w 3132"/>
                <a:gd name="T23" fmla="*/ 312 h 2280"/>
                <a:gd name="T24" fmla="*/ 3132 w 3132"/>
                <a:gd name="T25" fmla="*/ 384 h 2280"/>
                <a:gd name="T26" fmla="*/ 2904 w 3132"/>
                <a:gd name="T27" fmla="*/ 492 h 2280"/>
                <a:gd name="T28" fmla="*/ 2976 w 3132"/>
                <a:gd name="T29" fmla="*/ 732 h 2280"/>
                <a:gd name="T30" fmla="*/ 2976 w 3132"/>
                <a:gd name="T31" fmla="*/ 996 h 2280"/>
                <a:gd name="T32" fmla="*/ 2928 w 3132"/>
                <a:gd name="T33" fmla="*/ 1212 h 2280"/>
                <a:gd name="T34" fmla="*/ 2988 w 3132"/>
                <a:gd name="T35" fmla="*/ 1524 h 2280"/>
                <a:gd name="T36" fmla="*/ 3000 w 3132"/>
                <a:gd name="T37" fmla="*/ 1764 h 2280"/>
                <a:gd name="T38" fmla="*/ 3048 w 3132"/>
                <a:gd name="T39" fmla="*/ 1980 h 2280"/>
                <a:gd name="T40" fmla="*/ 2952 w 3132"/>
                <a:gd name="T41" fmla="*/ 2244 h 2280"/>
                <a:gd name="T42" fmla="*/ 2688 w 3132"/>
                <a:gd name="T43" fmla="*/ 2220 h 2280"/>
                <a:gd name="T44" fmla="*/ 2472 w 3132"/>
                <a:gd name="T45" fmla="*/ 2184 h 2280"/>
                <a:gd name="T46" fmla="*/ 2424 w 3132"/>
                <a:gd name="T47" fmla="*/ 1968 h 2280"/>
                <a:gd name="T48" fmla="*/ 2532 w 3132"/>
                <a:gd name="T49" fmla="*/ 1800 h 2280"/>
                <a:gd name="T50" fmla="*/ 2400 w 3132"/>
                <a:gd name="T51" fmla="*/ 1596 h 2280"/>
                <a:gd name="T52" fmla="*/ 2268 w 3132"/>
                <a:gd name="T53" fmla="*/ 1596 h 2280"/>
                <a:gd name="T54" fmla="*/ 2244 w 3132"/>
                <a:gd name="T55" fmla="*/ 1428 h 2280"/>
                <a:gd name="T56" fmla="*/ 2040 w 3132"/>
                <a:gd name="T57" fmla="*/ 1428 h 2280"/>
                <a:gd name="T58" fmla="*/ 1944 w 3132"/>
                <a:gd name="T59" fmla="*/ 1200 h 2280"/>
                <a:gd name="T60" fmla="*/ 1764 w 3132"/>
                <a:gd name="T61" fmla="*/ 1128 h 2280"/>
                <a:gd name="T62" fmla="*/ 1488 w 3132"/>
                <a:gd name="T63" fmla="*/ 1224 h 2280"/>
                <a:gd name="T64" fmla="*/ 1200 w 3132"/>
                <a:gd name="T65" fmla="*/ 1104 h 2280"/>
                <a:gd name="T66" fmla="*/ 1104 w 3132"/>
                <a:gd name="T67" fmla="*/ 1260 h 2280"/>
                <a:gd name="T68" fmla="*/ 816 w 3132"/>
                <a:gd name="T69" fmla="*/ 1320 h 2280"/>
                <a:gd name="T70" fmla="*/ 516 w 3132"/>
                <a:gd name="T71" fmla="*/ 1296 h 2280"/>
                <a:gd name="T72" fmla="*/ 240 w 3132"/>
                <a:gd name="T73" fmla="*/ 1140 h 2280"/>
                <a:gd name="T74" fmla="*/ 0 w 3132"/>
                <a:gd name="T75" fmla="*/ 1020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32" h="2280">
                  <a:moveTo>
                    <a:pt x="0" y="1020"/>
                  </a:moveTo>
                  <a:lnTo>
                    <a:pt x="60" y="888"/>
                  </a:lnTo>
                  <a:lnTo>
                    <a:pt x="0" y="792"/>
                  </a:lnTo>
                  <a:lnTo>
                    <a:pt x="131" y="441"/>
                  </a:lnTo>
                  <a:lnTo>
                    <a:pt x="336" y="444"/>
                  </a:lnTo>
                  <a:lnTo>
                    <a:pt x="492" y="552"/>
                  </a:lnTo>
                  <a:lnTo>
                    <a:pt x="576" y="456"/>
                  </a:lnTo>
                  <a:lnTo>
                    <a:pt x="648" y="384"/>
                  </a:lnTo>
                  <a:lnTo>
                    <a:pt x="804" y="336"/>
                  </a:lnTo>
                  <a:lnTo>
                    <a:pt x="912" y="336"/>
                  </a:lnTo>
                  <a:lnTo>
                    <a:pt x="1116" y="432"/>
                  </a:lnTo>
                  <a:lnTo>
                    <a:pt x="1308" y="0"/>
                  </a:lnTo>
                  <a:lnTo>
                    <a:pt x="1404" y="96"/>
                  </a:lnTo>
                  <a:lnTo>
                    <a:pt x="1596" y="132"/>
                  </a:lnTo>
                  <a:lnTo>
                    <a:pt x="1656" y="240"/>
                  </a:lnTo>
                  <a:lnTo>
                    <a:pt x="1788" y="372"/>
                  </a:lnTo>
                  <a:lnTo>
                    <a:pt x="2016" y="324"/>
                  </a:lnTo>
                  <a:lnTo>
                    <a:pt x="2232" y="276"/>
                  </a:lnTo>
                  <a:lnTo>
                    <a:pt x="2280" y="168"/>
                  </a:lnTo>
                  <a:lnTo>
                    <a:pt x="2400" y="156"/>
                  </a:lnTo>
                  <a:lnTo>
                    <a:pt x="2460" y="264"/>
                  </a:lnTo>
                  <a:lnTo>
                    <a:pt x="2484" y="372"/>
                  </a:lnTo>
                  <a:lnTo>
                    <a:pt x="2592" y="252"/>
                  </a:lnTo>
                  <a:lnTo>
                    <a:pt x="2712" y="312"/>
                  </a:lnTo>
                  <a:lnTo>
                    <a:pt x="2964" y="324"/>
                  </a:lnTo>
                  <a:lnTo>
                    <a:pt x="3132" y="384"/>
                  </a:lnTo>
                  <a:lnTo>
                    <a:pt x="3000" y="444"/>
                  </a:lnTo>
                  <a:lnTo>
                    <a:pt x="2904" y="492"/>
                  </a:lnTo>
                  <a:lnTo>
                    <a:pt x="2916" y="588"/>
                  </a:lnTo>
                  <a:lnTo>
                    <a:pt x="2976" y="732"/>
                  </a:lnTo>
                  <a:lnTo>
                    <a:pt x="2988" y="864"/>
                  </a:lnTo>
                  <a:lnTo>
                    <a:pt x="2976" y="996"/>
                  </a:lnTo>
                  <a:lnTo>
                    <a:pt x="3000" y="1104"/>
                  </a:lnTo>
                  <a:lnTo>
                    <a:pt x="2928" y="1212"/>
                  </a:lnTo>
                  <a:lnTo>
                    <a:pt x="2916" y="1416"/>
                  </a:lnTo>
                  <a:lnTo>
                    <a:pt x="2988" y="1524"/>
                  </a:lnTo>
                  <a:lnTo>
                    <a:pt x="2916" y="1740"/>
                  </a:lnTo>
                  <a:lnTo>
                    <a:pt x="3000" y="1764"/>
                  </a:lnTo>
                  <a:lnTo>
                    <a:pt x="3072" y="1836"/>
                  </a:lnTo>
                  <a:lnTo>
                    <a:pt x="3048" y="1980"/>
                  </a:lnTo>
                  <a:lnTo>
                    <a:pt x="2952" y="2088"/>
                  </a:lnTo>
                  <a:lnTo>
                    <a:pt x="2952" y="2244"/>
                  </a:lnTo>
                  <a:lnTo>
                    <a:pt x="2772" y="2280"/>
                  </a:lnTo>
                  <a:lnTo>
                    <a:pt x="2688" y="2220"/>
                  </a:lnTo>
                  <a:lnTo>
                    <a:pt x="2532" y="2256"/>
                  </a:lnTo>
                  <a:lnTo>
                    <a:pt x="2472" y="2184"/>
                  </a:lnTo>
                  <a:lnTo>
                    <a:pt x="2484" y="2064"/>
                  </a:lnTo>
                  <a:lnTo>
                    <a:pt x="2424" y="1968"/>
                  </a:lnTo>
                  <a:lnTo>
                    <a:pt x="2532" y="1908"/>
                  </a:lnTo>
                  <a:lnTo>
                    <a:pt x="2532" y="1800"/>
                  </a:lnTo>
                  <a:lnTo>
                    <a:pt x="2496" y="1704"/>
                  </a:lnTo>
                  <a:lnTo>
                    <a:pt x="2400" y="1596"/>
                  </a:lnTo>
                  <a:lnTo>
                    <a:pt x="2328" y="1644"/>
                  </a:lnTo>
                  <a:lnTo>
                    <a:pt x="2268" y="1596"/>
                  </a:lnTo>
                  <a:lnTo>
                    <a:pt x="2292" y="1512"/>
                  </a:lnTo>
                  <a:lnTo>
                    <a:pt x="2244" y="1428"/>
                  </a:lnTo>
                  <a:lnTo>
                    <a:pt x="2136" y="1416"/>
                  </a:lnTo>
                  <a:lnTo>
                    <a:pt x="2040" y="1428"/>
                  </a:lnTo>
                  <a:lnTo>
                    <a:pt x="2016" y="1248"/>
                  </a:lnTo>
                  <a:lnTo>
                    <a:pt x="1944" y="1200"/>
                  </a:lnTo>
                  <a:lnTo>
                    <a:pt x="1824" y="1236"/>
                  </a:lnTo>
                  <a:lnTo>
                    <a:pt x="1764" y="1128"/>
                  </a:lnTo>
                  <a:lnTo>
                    <a:pt x="1632" y="1188"/>
                  </a:lnTo>
                  <a:lnTo>
                    <a:pt x="1488" y="1224"/>
                  </a:lnTo>
                  <a:lnTo>
                    <a:pt x="1332" y="1188"/>
                  </a:lnTo>
                  <a:lnTo>
                    <a:pt x="1200" y="1104"/>
                  </a:lnTo>
                  <a:lnTo>
                    <a:pt x="1128" y="1140"/>
                  </a:lnTo>
                  <a:lnTo>
                    <a:pt x="1104" y="1260"/>
                  </a:lnTo>
                  <a:lnTo>
                    <a:pt x="948" y="1296"/>
                  </a:lnTo>
                  <a:lnTo>
                    <a:pt x="816" y="1320"/>
                  </a:lnTo>
                  <a:lnTo>
                    <a:pt x="648" y="1248"/>
                  </a:lnTo>
                  <a:lnTo>
                    <a:pt x="516" y="1296"/>
                  </a:lnTo>
                  <a:lnTo>
                    <a:pt x="360" y="1272"/>
                  </a:lnTo>
                  <a:lnTo>
                    <a:pt x="240" y="1140"/>
                  </a:lnTo>
                  <a:lnTo>
                    <a:pt x="108" y="1140"/>
                  </a:lnTo>
                  <a:lnTo>
                    <a:pt x="0" y="102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2" name="Freeform 13">
              <a:extLst>
                <a:ext uri="{FF2B5EF4-FFF2-40B4-BE49-F238E27FC236}">
                  <a16:creationId xmlns:a16="http://schemas.microsoft.com/office/drawing/2014/main" id="{A65824BA-D06E-416B-A8F8-018E29DBBF19}"/>
                </a:ext>
              </a:extLst>
            </p:cNvPr>
            <p:cNvSpPr>
              <a:spLocks/>
            </p:cNvSpPr>
            <p:nvPr/>
          </p:nvSpPr>
          <p:spPr bwMode="auto">
            <a:xfrm>
              <a:off x="3021312" y="2223718"/>
              <a:ext cx="754879" cy="730937"/>
            </a:xfrm>
            <a:custGeom>
              <a:avLst/>
              <a:gdLst>
                <a:gd name="T0" fmla="*/ 816 w 2682"/>
                <a:gd name="T1" fmla="*/ 253 h 2595"/>
                <a:gd name="T2" fmla="*/ 840 w 2682"/>
                <a:gd name="T3" fmla="*/ 577 h 2595"/>
                <a:gd name="T4" fmla="*/ 816 w 2682"/>
                <a:gd name="T5" fmla="*/ 793 h 2595"/>
                <a:gd name="T6" fmla="*/ 804 w 2682"/>
                <a:gd name="T7" fmla="*/ 1057 h 2595"/>
                <a:gd name="T8" fmla="*/ 624 w 2682"/>
                <a:gd name="T9" fmla="*/ 1177 h 2595"/>
                <a:gd name="T10" fmla="*/ 480 w 2682"/>
                <a:gd name="T11" fmla="*/ 1021 h 2595"/>
                <a:gd name="T12" fmla="*/ 264 w 2682"/>
                <a:gd name="T13" fmla="*/ 1213 h 2595"/>
                <a:gd name="T14" fmla="*/ 192 w 2682"/>
                <a:gd name="T15" fmla="*/ 1441 h 2595"/>
                <a:gd name="T16" fmla="*/ 240 w 2682"/>
                <a:gd name="T17" fmla="*/ 1657 h 2595"/>
                <a:gd name="T18" fmla="*/ 96 w 2682"/>
                <a:gd name="T19" fmla="*/ 1945 h 2595"/>
                <a:gd name="T20" fmla="*/ 0 w 2682"/>
                <a:gd name="T21" fmla="*/ 2341 h 2595"/>
                <a:gd name="T22" fmla="*/ 195 w 2682"/>
                <a:gd name="T23" fmla="*/ 2559 h 2595"/>
                <a:gd name="T24" fmla="*/ 326 w 2682"/>
                <a:gd name="T25" fmla="*/ 2365 h 2595"/>
                <a:gd name="T26" fmla="*/ 351 w 2682"/>
                <a:gd name="T27" fmla="*/ 2230 h 2595"/>
                <a:gd name="T28" fmla="*/ 393 w 2682"/>
                <a:gd name="T29" fmla="*/ 2139 h 2595"/>
                <a:gd name="T30" fmla="*/ 590 w 2682"/>
                <a:gd name="T31" fmla="*/ 2194 h 2595"/>
                <a:gd name="T32" fmla="*/ 644 w 2682"/>
                <a:gd name="T33" fmla="*/ 2008 h 2595"/>
                <a:gd name="T34" fmla="*/ 690 w 2682"/>
                <a:gd name="T35" fmla="*/ 1830 h 2595"/>
                <a:gd name="T36" fmla="*/ 863 w 2682"/>
                <a:gd name="T37" fmla="*/ 1875 h 2595"/>
                <a:gd name="T38" fmla="*/ 1076 w 2682"/>
                <a:gd name="T39" fmla="*/ 1903 h 2595"/>
                <a:gd name="T40" fmla="*/ 1167 w 2682"/>
                <a:gd name="T41" fmla="*/ 2085 h 2595"/>
                <a:gd name="T42" fmla="*/ 1374 w 2682"/>
                <a:gd name="T43" fmla="*/ 2148 h 2595"/>
                <a:gd name="T44" fmla="*/ 1484 w 2682"/>
                <a:gd name="T45" fmla="*/ 2404 h 2595"/>
                <a:gd name="T46" fmla="*/ 1707 w 2682"/>
                <a:gd name="T47" fmla="*/ 2499 h 2595"/>
                <a:gd name="T48" fmla="*/ 1824 w 2682"/>
                <a:gd name="T49" fmla="*/ 2595 h 2595"/>
                <a:gd name="T50" fmla="*/ 1851 w 2682"/>
                <a:gd name="T51" fmla="*/ 2415 h 2595"/>
                <a:gd name="T52" fmla="*/ 1979 w 2682"/>
                <a:gd name="T53" fmla="*/ 2358 h 2595"/>
                <a:gd name="T54" fmla="*/ 1902 w 2682"/>
                <a:gd name="T55" fmla="*/ 2194 h 2595"/>
                <a:gd name="T56" fmla="*/ 1833 w 2682"/>
                <a:gd name="T57" fmla="*/ 2053 h 2595"/>
                <a:gd name="T58" fmla="*/ 1812 w 2682"/>
                <a:gd name="T59" fmla="*/ 1801 h 2595"/>
                <a:gd name="T60" fmla="*/ 1989 w 2682"/>
                <a:gd name="T61" fmla="*/ 1710 h 2595"/>
                <a:gd name="T62" fmla="*/ 2159 w 2682"/>
                <a:gd name="T63" fmla="*/ 1507 h 2595"/>
                <a:gd name="T64" fmla="*/ 2244 w 2682"/>
                <a:gd name="T65" fmla="*/ 1609 h 2595"/>
                <a:gd name="T66" fmla="*/ 2417 w 2682"/>
                <a:gd name="T67" fmla="*/ 1572 h 2595"/>
                <a:gd name="T68" fmla="*/ 2582 w 2682"/>
                <a:gd name="T69" fmla="*/ 1644 h 2595"/>
                <a:gd name="T70" fmla="*/ 2580 w 2682"/>
                <a:gd name="T71" fmla="*/ 1525 h 2595"/>
                <a:gd name="T72" fmla="*/ 2171 w 2682"/>
                <a:gd name="T73" fmla="*/ 1501 h 2595"/>
                <a:gd name="T74" fmla="*/ 2112 w 2682"/>
                <a:gd name="T75" fmla="*/ 1405 h 2595"/>
                <a:gd name="T76" fmla="*/ 1968 w 2682"/>
                <a:gd name="T77" fmla="*/ 1297 h 2595"/>
                <a:gd name="T78" fmla="*/ 2027 w 2682"/>
                <a:gd name="T79" fmla="*/ 1164 h 2595"/>
                <a:gd name="T80" fmla="*/ 2024 w 2682"/>
                <a:gd name="T81" fmla="*/ 978 h 2595"/>
                <a:gd name="T82" fmla="*/ 2171 w 2682"/>
                <a:gd name="T83" fmla="*/ 853 h 2595"/>
                <a:gd name="T84" fmla="*/ 2196 w 2682"/>
                <a:gd name="T85" fmla="*/ 624 h 2595"/>
                <a:gd name="T86" fmla="*/ 2042 w 2682"/>
                <a:gd name="T87" fmla="*/ 436 h 2595"/>
                <a:gd name="T88" fmla="*/ 2003 w 2682"/>
                <a:gd name="T89" fmla="*/ 195 h 2595"/>
                <a:gd name="T90" fmla="*/ 1800 w 2682"/>
                <a:gd name="T91" fmla="*/ 231 h 2595"/>
                <a:gd name="T92" fmla="*/ 1659 w 2682"/>
                <a:gd name="T93" fmla="*/ 25 h 2595"/>
                <a:gd name="T94" fmla="*/ 1478 w 2682"/>
                <a:gd name="T95" fmla="*/ 0 h 2595"/>
                <a:gd name="T96" fmla="*/ 1224 w 2682"/>
                <a:gd name="T97" fmla="*/ 217 h 2595"/>
                <a:gd name="T98" fmla="*/ 1008 w 2682"/>
                <a:gd name="T99" fmla="*/ 97 h 2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82" h="2595">
                  <a:moveTo>
                    <a:pt x="1008" y="97"/>
                  </a:moveTo>
                  <a:lnTo>
                    <a:pt x="816" y="253"/>
                  </a:lnTo>
                  <a:lnTo>
                    <a:pt x="876" y="445"/>
                  </a:lnTo>
                  <a:lnTo>
                    <a:pt x="840" y="577"/>
                  </a:lnTo>
                  <a:lnTo>
                    <a:pt x="756" y="721"/>
                  </a:lnTo>
                  <a:lnTo>
                    <a:pt x="816" y="793"/>
                  </a:lnTo>
                  <a:lnTo>
                    <a:pt x="768" y="889"/>
                  </a:lnTo>
                  <a:lnTo>
                    <a:pt x="804" y="1057"/>
                  </a:lnTo>
                  <a:lnTo>
                    <a:pt x="708" y="1093"/>
                  </a:lnTo>
                  <a:lnTo>
                    <a:pt x="624" y="1177"/>
                  </a:lnTo>
                  <a:lnTo>
                    <a:pt x="552" y="1093"/>
                  </a:lnTo>
                  <a:lnTo>
                    <a:pt x="480" y="1021"/>
                  </a:lnTo>
                  <a:lnTo>
                    <a:pt x="336" y="1093"/>
                  </a:lnTo>
                  <a:lnTo>
                    <a:pt x="264" y="1213"/>
                  </a:lnTo>
                  <a:lnTo>
                    <a:pt x="180" y="1321"/>
                  </a:lnTo>
                  <a:lnTo>
                    <a:pt x="192" y="1441"/>
                  </a:lnTo>
                  <a:lnTo>
                    <a:pt x="192" y="1561"/>
                  </a:lnTo>
                  <a:lnTo>
                    <a:pt x="240" y="1657"/>
                  </a:lnTo>
                  <a:lnTo>
                    <a:pt x="144" y="1777"/>
                  </a:lnTo>
                  <a:lnTo>
                    <a:pt x="96" y="1945"/>
                  </a:lnTo>
                  <a:lnTo>
                    <a:pt x="12" y="2125"/>
                  </a:lnTo>
                  <a:lnTo>
                    <a:pt x="0" y="2341"/>
                  </a:lnTo>
                  <a:lnTo>
                    <a:pt x="39" y="2536"/>
                  </a:lnTo>
                  <a:lnTo>
                    <a:pt x="195" y="2559"/>
                  </a:lnTo>
                  <a:lnTo>
                    <a:pt x="276" y="2461"/>
                  </a:lnTo>
                  <a:lnTo>
                    <a:pt x="326" y="2365"/>
                  </a:lnTo>
                  <a:lnTo>
                    <a:pt x="254" y="2304"/>
                  </a:lnTo>
                  <a:lnTo>
                    <a:pt x="351" y="2230"/>
                  </a:lnTo>
                  <a:lnTo>
                    <a:pt x="288" y="2110"/>
                  </a:lnTo>
                  <a:lnTo>
                    <a:pt x="393" y="2139"/>
                  </a:lnTo>
                  <a:lnTo>
                    <a:pt x="492" y="2185"/>
                  </a:lnTo>
                  <a:lnTo>
                    <a:pt x="590" y="2194"/>
                  </a:lnTo>
                  <a:lnTo>
                    <a:pt x="635" y="2113"/>
                  </a:lnTo>
                  <a:lnTo>
                    <a:pt x="644" y="2008"/>
                  </a:lnTo>
                  <a:lnTo>
                    <a:pt x="698" y="1948"/>
                  </a:lnTo>
                  <a:lnTo>
                    <a:pt x="690" y="1830"/>
                  </a:lnTo>
                  <a:lnTo>
                    <a:pt x="827" y="1783"/>
                  </a:lnTo>
                  <a:lnTo>
                    <a:pt x="863" y="1875"/>
                  </a:lnTo>
                  <a:lnTo>
                    <a:pt x="984" y="1873"/>
                  </a:lnTo>
                  <a:lnTo>
                    <a:pt x="1076" y="1903"/>
                  </a:lnTo>
                  <a:lnTo>
                    <a:pt x="1128" y="1974"/>
                  </a:lnTo>
                  <a:lnTo>
                    <a:pt x="1167" y="2085"/>
                  </a:lnTo>
                  <a:lnTo>
                    <a:pt x="1271" y="2113"/>
                  </a:lnTo>
                  <a:lnTo>
                    <a:pt x="1374" y="2148"/>
                  </a:lnTo>
                  <a:lnTo>
                    <a:pt x="1478" y="2299"/>
                  </a:lnTo>
                  <a:lnTo>
                    <a:pt x="1484" y="2404"/>
                  </a:lnTo>
                  <a:lnTo>
                    <a:pt x="1634" y="2433"/>
                  </a:lnTo>
                  <a:lnTo>
                    <a:pt x="1707" y="2499"/>
                  </a:lnTo>
                  <a:lnTo>
                    <a:pt x="1758" y="2595"/>
                  </a:lnTo>
                  <a:lnTo>
                    <a:pt x="1824" y="2595"/>
                  </a:lnTo>
                  <a:lnTo>
                    <a:pt x="1887" y="2544"/>
                  </a:lnTo>
                  <a:lnTo>
                    <a:pt x="1851" y="2415"/>
                  </a:lnTo>
                  <a:lnTo>
                    <a:pt x="1929" y="2394"/>
                  </a:lnTo>
                  <a:lnTo>
                    <a:pt x="1979" y="2358"/>
                  </a:lnTo>
                  <a:lnTo>
                    <a:pt x="1977" y="2212"/>
                  </a:lnTo>
                  <a:lnTo>
                    <a:pt x="1902" y="2194"/>
                  </a:lnTo>
                  <a:lnTo>
                    <a:pt x="1832" y="2148"/>
                  </a:lnTo>
                  <a:lnTo>
                    <a:pt x="1833" y="2053"/>
                  </a:lnTo>
                  <a:lnTo>
                    <a:pt x="1797" y="1950"/>
                  </a:lnTo>
                  <a:lnTo>
                    <a:pt x="1812" y="1801"/>
                  </a:lnTo>
                  <a:lnTo>
                    <a:pt x="1896" y="1773"/>
                  </a:lnTo>
                  <a:lnTo>
                    <a:pt x="1989" y="1710"/>
                  </a:lnTo>
                  <a:lnTo>
                    <a:pt x="2043" y="1590"/>
                  </a:lnTo>
                  <a:lnTo>
                    <a:pt x="2159" y="1507"/>
                  </a:lnTo>
                  <a:lnTo>
                    <a:pt x="2181" y="1579"/>
                  </a:lnTo>
                  <a:lnTo>
                    <a:pt x="2244" y="1609"/>
                  </a:lnTo>
                  <a:lnTo>
                    <a:pt x="2316" y="1527"/>
                  </a:lnTo>
                  <a:lnTo>
                    <a:pt x="2417" y="1572"/>
                  </a:lnTo>
                  <a:lnTo>
                    <a:pt x="2475" y="1621"/>
                  </a:lnTo>
                  <a:lnTo>
                    <a:pt x="2582" y="1644"/>
                  </a:lnTo>
                  <a:lnTo>
                    <a:pt x="2682" y="1566"/>
                  </a:lnTo>
                  <a:lnTo>
                    <a:pt x="2580" y="1525"/>
                  </a:lnTo>
                  <a:lnTo>
                    <a:pt x="2351" y="1501"/>
                  </a:lnTo>
                  <a:lnTo>
                    <a:pt x="2171" y="1501"/>
                  </a:lnTo>
                  <a:lnTo>
                    <a:pt x="2141" y="1449"/>
                  </a:lnTo>
                  <a:lnTo>
                    <a:pt x="2112" y="1405"/>
                  </a:lnTo>
                  <a:lnTo>
                    <a:pt x="2018" y="1347"/>
                  </a:lnTo>
                  <a:lnTo>
                    <a:pt x="1968" y="1297"/>
                  </a:lnTo>
                  <a:lnTo>
                    <a:pt x="2004" y="1215"/>
                  </a:lnTo>
                  <a:lnTo>
                    <a:pt x="2027" y="1164"/>
                  </a:lnTo>
                  <a:lnTo>
                    <a:pt x="1919" y="1093"/>
                  </a:lnTo>
                  <a:lnTo>
                    <a:pt x="2024" y="978"/>
                  </a:lnTo>
                  <a:lnTo>
                    <a:pt x="2087" y="889"/>
                  </a:lnTo>
                  <a:lnTo>
                    <a:pt x="2171" y="853"/>
                  </a:lnTo>
                  <a:lnTo>
                    <a:pt x="2099" y="747"/>
                  </a:lnTo>
                  <a:lnTo>
                    <a:pt x="2196" y="624"/>
                  </a:lnTo>
                  <a:lnTo>
                    <a:pt x="2129" y="534"/>
                  </a:lnTo>
                  <a:lnTo>
                    <a:pt x="2042" y="436"/>
                  </a:lnTo>
                  <a:lnTo>
                    <a:pt x="2003" y="319"/>
                  </a:lnTo>
                  <a:lnTo>
                    <a:pt x="2003" y="195"/>
                  </a:lnTo>
                  <a:lnTo>
                    <a:pt x="1823" y="289"/>
                  </a:lnTo>
                  <a:lnTo>
                    <a:pt x="1800" y="231"/>
                  </a:lnTo>
                  <a:lnTo>
                    <a:pt x="1716" y="133"/>
                  </a:lnTo>
                  <a:lnTo>
                    <a:pt x="1659" y="25"/>
                  </a:lnTo>
                  <a:lnTo>
                    <a:pt x="1559" y="3"/>
                  </a:lnTo>
                  <a:lnTo>
                    <a:pt x="1478" y="0"/>
                  </a:lnTo>
                  <a:lnTo>
                    <a:pt x="1427" y="85"/>
                  </a:lnTo>
                  <a:lnTo>
                    <a:pt x="1224" y="217"/>
                  </a:lnTo>
                  <a:lnTo>
                    <a:pt x="1103" y="181"/>
                  </a:lnTo>
                  <a:lnTo>
                    <a:pt x="1008" y="97"/>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3" name="Freeform 14">
              <a:extLst>
                <a:ext uri="{FF2B5EF4-FFF2-40B4-BE49-F238E27FC236}">
                  <a16:creationId xmlns:a16="http://schemas.microsoft.com/office/drawing/2014/main" id="{A65C9C54-A632-432B-9C5C-9479243DAE23}"/>
                </a:ext>
              </a:extLst>
            </p:cNvPr>
            <p:cNvSpPr>
              <a:spLocks/>
            </p:cNvSpPr>
            <p:nvPr/>
          </p:nvSpPr>
          <p:spPr bwMode="auto">
            <a:xfrm>
              <a:off x="2743865" y="3075773"/>
              <a:ext cx="595735" cy="419690"/>
            </a:xfrm>
            <a:custGeom>
              <a:avLst/>
              <a:gdLst>
                <a:gd name="T0" fmla="*/ 2019 w 2112"/>
                <a:gd name="T1" fmla="*/ 1040 h 1488"/>
                <a:gd name="T2" fmla="*/ 1956 w 2112"/>
                <a:gd name="T3" fmla="*/ 1043 h 1488"/>
                <a:gd name="T4" fmla="*/ 1893 w 2112"/>
                <a:gd name="T5" fmla="*/ 981 h 1488"/>
                <a:gd name="T6" fmla="*/ 1775 w 2112"/>
                <a:gd name="T7" fmla="*/ 888 h 1488"/>
                <a:gd name="T8" fmla="*/ 1755 w 2112"/>
                <a:gd name="T9" fmla="*/ 813 h 1488"/>
                <a:gd name="T10" fmla="*/ 1694 w 2112"/>
                <a:gd name="T11" fmla="*/ 785 h 1488"/>
                <a:gd name="T12" fmla="*/ 1686 w 2112"/>
                <a:gd name="T13" fmla="*/ 720 h 1488"/>
                <a:gd name="T14" fmla="*/ 1718 w 2112"/>
                <a:gd name="T15" fmla="*/ 635 h 1488"/>
                <a:gd name="T16" fmla="*/ 1751 w 2112"/>
                <a:gd name="T17" fmla="*/ 561 h 1488"/>
                <a:gd name="T18" fmla="*/ 1742 w 2112"/>
                <a:gd name="T19" fmla="*/ 480 h 1488"/>
                <a:gd name="T20" fmla="*/ 1859 w 2112"/>
                <a:gd name="T21" fmla="*/ 432 h 1488"/>
                <a:gd name="T22" fmla="*/ 1787 w 2112"/>
                <a:gd name="T23" fmla="*/ 372 h 1488"/>
                <a:gd name="T24" fmla="*/ 1667 w 2112"/>
                <a:gd name="T25" fmla="*/ 408 h 1488"/>
                <a:gd name="T26" fmla="*/ 1587 w 2112"/>
                <a:gd name="T27" fmla="*/ 338 h 1488"/>
                <a:gd name="T28" fmla="*/ 1445 w 2112"/>
                <a:gd name="T29" fmla="*/ 279 h 1488"/>
                <a:gd name="T30" fmla="*/ 1359 w 2112"/>
                <a:gd name="T31" fmla="*/ 170 h 1488"/>
                <a:gd name="T32" fmla="*/ 1139 w 2112"/>
                <a:gd name="T33" fmla="*/ 0 h 1488"/>
                <a:gd name="T34" fmla="*/ 1032 w 2112"/>
                <a:gd name="T35" fmla="*/ 62 h 1488"/>
                <a:gd name="T36" fmla="*/ 936 w 2112"/>
                <a:gd name="T37" fmla="*/ 108 h 1488"/>
                <a:gd name="T38" fmla="*/ 816 w 2112"/>
                <a:gd name="T39" fmla="*/ 204 h 1488"/>
                <a:gd name="T40" fmla="*/ 660 w 2112"/>
                <a:gd name="T41" fmla="*/ 228 h 1488"/>
                <a:gd name="T42" fmla="*/ 588 w 2112"/>
                <a:gd name="T43" fmla="*/ 204 h 1488"/>
                <a:gd name="T44" fmla="*/ 480 w 2112"/>
                <a:gd name="T45" fmla="*/ 180 h 1488"/>
                <a:gd name="T46" fmla="*/ 348 w 2112"/>
                <a:gd name="T47" fmla="*/ 192 h 1488"/>
                <a:gd name="T48" fmla="*/ 216 w 2112"/>
                <a:gd name="T49" fmla="*/ 192 h 1488"/>
                <a:gd name="T50" fmla="*/ 192 w 2112"/>
                <a:gd name="T51" fmla="*/ 300 h 1488"/>
                <a:gd name="T52" fmla="*/ 156 w 2112"/>
                <a:gd name="T53" fmla="*/ 408 h 1488"/>
                <a:gd name="T54" fmla="*/ 192 w 2112"/>
                <a:gd name="T55" fmla="*/ 468 h 1488"/>
                <a:gd name="T56" fmla="*/ 96 w 2112"/>
                <a:gd name="T57" fmla="*/ 540 h 1488"/>
                <a:gd name="T58" fmla="*/ 0 w 2112"/>
                <a:gd name="T59" fmla="*/ 660 h 1488"/>
                <a:gd name="T60" fmla="*/ 48 w 2112"/>
                <a:gd name="T61" fmla="*/ 780 h 1488"/>
                <a:gd name="T62" fmla="*/ 168 w 2112"/>
                <a:gd name="T63" fmla="*/ 756 h 1488"/>
                <a:gd name="T64" fmla="*/ 288 w 2112"/>
                <a:gd name="T65" fmla="*/ 852 h 1488"/>
                <a:gd name="T66" fmla="*/ 384 w 2112"/>
                <a:gd name="T67" fmla="*/ 816 h 1488"/>
                <a:gd name="T68" fmla="*/ 492 w 2112"/>
                <a:gd name="T69" fmla="*/ 828 h 1488"/>
                <a:gd name="T70" fmla="*/ 612 w 2112"/>
                <a:gd name="T71" fmla="*/ 840 h 1488"/>
                <a:gd name="T72" fmla="*/ 696 w 2112"/>
                <a:gd name="T73" fmla="*/ 936 h 1488"/>
                <a:gd name="T74" fmla="*/ 780 w 2112"/>
                <a:gd name="T75" fmla="*/ 1032 h 1488"/>
                <a:gd name="T76" fmla="*/ 876 w 2112"/>
                <a:gd name="T77" fmla="*/ 1128 h 1488"/>
                <a:gd name="T78" fmla="*/ 912 w 2112"/>
                <a:gd name="T79" fmla="*/ 1200 h 1488"/>
                <a:gd name="T80" fmla="*/ 948 w 2112"/>
                <a:gd name="T81" fmla="*/ 1284 h 1488"/>
                <a:gd name="T82" fmla="*/ 1080 w 2112"/>
                <a:gd name="T83" fmla="*/ 1392 h 1488"/>
                <a:gd name="T84" fmla="*/ 1200 w 2112"/>
                <a:gd name="T85" fmla="*/ 1416 h 1488"/>
                <a:gd name="T86" fmla="*/ 1332 w 2112"/>
                <a:gd name="T87" fmla="*/ 1392 h 1488"/>
                <a:gd name="T88" fmla="*/ 1452 w 2112"/>
                <a:gd name="T89" fmla="*/ 1488 h 1488"/>
                <a:gd name="T90" fmla="*/ 1536 w 2112"/>
                <a:gd name="T91" fmla="*/ 1452 h 1488"/>
                <a:gd name="T92" fmla="*/ 1584 w 2112"/>
                <a:gd name="T93" fmla="*/ 1368 h 1488"/>
                <a:gd name="T94" fmla="*/ 1704 w 2112"/>
                <a:gd name="T95" fmla="*/ 1356 h 1488"/>
                <a:gd name="T96" fmla="*/ 1788 w 2112"/>
                <a:gd name="T97" fmla="*/ 1296 h 1488"/>
                <a:gd name="T98" fmla="*/ 1884 w 2112"/>
                <a:gd name="T99" fmla="*/ 1344 h 1488"/>
                <a:gd name="T100" fmla="*/ 1992 w 2112"/>
                <a:gd name="T101" fmla="*/ 1356 h 1488"/>
                <a:gd name="T102" fmla="*/ 2112 w 2112"/>
                <a:gd name="T103" fmla="*/ 1344 h 1488"/>
                <a:gd name="T104" fmla="*/ 2088 w 2112"/>
                <a:gd name="T105" fmla="*/ 1212 h 1488"/>
                <a:gd name="T106" fmla="*/ 2088 w 2112"/>
                <a:gd name="T107" fmla="*/ 1104 h 1488"/>
                <a:gd name="T108" fmla="*/ 2019 w 2112"/>
                <a:gd name="T109" fmla="*/ 1040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2" h="1488">
                  <a:moveTo>
                    <a:pt x="2019" y="1040"/>
                  </a:moveTo>
                  <a:lnTo>
                    <a:pt x="1956" y="1043"/>
                  </a:lnTo>
                  <a:lnTo>
                    <a:pt x="1893" y="981"/>
                  </a:lnTo>
                  <a:lnTo>
                    <a:pt x="1775" y="888"/>
                  </a:lnTo>
                  <a:lnTo>
                    <a:pt x="1755" y="813"/>
                  </a:lnTo>
                  <a:lnTo>
                    <a:pt x="1694" y="785"/>
                  </a:lnTo>
                  <a:lnTo>
                    <a:pt x="1686" y="720"/>
                  </a:lnTo>
                  <a:lnTo>
                    <a:pt x="1718" y="635"/>
                  </a:lnTo>
                  <a:lnTo>
                    <a:pt x="1751" y="561"/>
                  </a:lnTo>
                  <a:lnTo>
                    <a:pt x="1742" y="480"/>
                  </a:lnTo>
                  <a:lnTo>
                    <a:pt x="1859" y="432"/>
                  </a:lnTo>
                  <a:lnTo>
                    <a:pt x="1787" y="372"/>
                  </a:lnTo>
                  <a:lnTo>
                    <a:pt x="1667" y="408"/>
                  </a:lnTo>
                  <a:lnTo>
                    <a:pt x="1587" y="338"/>
                  </a:lnTo>
                  <a:lnTo>
                    <a:pt x="1445" y="279"/>
                  </a:lnTo>
                  <a:lnTo>
                    <a:pt x="1359" y="170"/>
                  </a:lnTo>
                  <a:lnTo>
                    <a:pt x="1139" y="0"/>
                  </a:lnTo>
                  <a:lnTo>
                    <a:pt x="1032" y="62"/>
                  </a:lnTo>
                  <a:lnTo>
                    <a:pt x="936" y="108"/>
                  </a:lnTo>
                  <a:lnTo>
                    <a:pt x="816" y="204"/>
                  </a:lnTo>
                  <a:lnTo>
                    <a:pt x="660" y="228"/>
                  </a:lnTo>
                  <a:lnTo>
                    <a:pt x="588" y="204"/>
                  </a:lnTo>
                  <a:lnTo>
                    <a:pt x="480" y="180"/>
                  </a:lnTo>
                  <a:lnTo>
                    <a:pt x="348" y="192"/>
                  </a:lnTo>
                  <a:lnTo>
                    <a:pt x="216" y="192"/>
                  </a:lnTo>
                  <a:lnTo>
                    <a:pt x="192" y="300"/>
                  </a:lnTo>
                  <a:lnTo>
                    <a:pt x="156" y="408"/>
                  </a:lnTo>
                  <a:lnTo>
                    <a:pt x="192" y="468"/>
                  </a:lnTo>
                  <a:lnTo>
                    <a:pt x="96" y="540"/>
                  </a:lnTo>
                  <a:lnTo>
                    <a:pt x="0" y="660"/>
                  </a:lnTo>
                  <a:lnTo>
                    <a:pt x="48" y="780"/>
                  </a:lnTo>
                  <a:lnTo>
                    <a:pt x="168" y="756"/>
                  </a:lnTo>
                  <a:lnTo>
                    <a:pt x="288" y="852"/>
                  </a:lnTo>
                  <a:lnTo>
                    <a:pt x="384" y="816"/>
                  </a:lnTo>
                  <a:lnTo>
                    <a:pt x="492" y="828"/>
                  </a:lnTo>
                  <a:lnTo>
                    <a:pt x="612" y="840"/>
                  </a:lnTo>
                  <a:lnTo>
                    <a:pt x="696" y="936"/>
                  </a:lnTo>
                  <a:lnTo>
                    <a:pt x="780" y="1032"/>
                  </a:lnTo>
                  <a:lnTo>
                    <a:pt x="876" y="1128"/>
                  </a:lnTo>
                  <a:lnTo>
                    <a:pt x="912" y="1200"/>
                  </a:lnTo>
                  <a:lnTo>
                    <a:pt x="948" y="1284"/>
                  </a:lnTo>
                  <a:lnTo>
                    <a:pt x="1080" y="1392"/>
                  </a:lnTo>
                  <a:lnTo>
                    <a:pt x="1200" y="1416"/>
                  </a:lnTo>
                  <a:lnTo>
                    <a:pt x="1332" y="1392"/>
                  </a:lnTo>
                  <a:lnTo>
                    <a:pt x="1452" y="1488"/>
                  </a:lnTo>
                  <a:lnTo>
                    <a:pt x="1536" y="1452"/>
                  </a:lnTo>
                  <a:lnTo>
                    <a:pt x="1584" y="1368"/>
                  </a:lnTo>
                  <a:lnTo>
                    <a:pt x="1704" y="1356"/>
                  </a:lnTo>
                  <a:lnTo>
                    <a:pt x="1788" y="1296"/>
                  </a:lnTo>
                  <a:lnTo>
                    <a:pt x="1884" y="1344"/>
                  </a:lnTo>
                  <a:lnTo>
                    <a:pt x="1992" y="1356"/>
                  </a:lnTo>
                  <a:lnTo>
                    <a:pt x="2112" y="1344"/>
                  </a:lnTo>
                  <a:lnTo>
                    <a:pt x="2088" y="1212"/>
                  </a:lnTo>
                  <a:lnTo>
                    <a:pt x="2088" y="1104"/>
                  </a:lnTo>
                  <a:lnTo>
                    <a:pt x="2019" y="1040"/>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4" name="Freeform 15">
              <a:extLst>
                <a:ext uri="{FF2B5EF4-FFF2-40B4-BE49-F238E27FC236}">
                  <a16:creationId xmlns:a16="http://schemas.microsoft.com/office/drawing/2014/main" id="{2F09CB29-910F-4F2D-A5DF-60E09710737E}"/>
                </a:ext>
              </a:extLst>
            </p:cNvPr>
            <p:cNvSpPr>
              <a:spLocks/>
            </p:cNvSpPr>
            <p:nvPr/>
          </p:nvSpPr>
          <p:spPr bwMode="auto">
            <a:xfrm>
              <a:off x="3048070" y="3119433"/>
              <a:ext cx="1240762" cy="1014016"/>
            </a:xfrm>
            <a:custGeom>
              <a:avLst/>
              <a:gdLst>
                <a:gd name="T0" fmla="*/ 971 w 4404"/>
                <a:gd name="T1" fmla="*/ 611 h 3600"/>
                <a:gd name="T2" fmla="*/ 1224 w 4404"/>
                <a:gd name="T3" fmla="*/ 552 h 3600"/>
                <a:gd name="T4" fmla="*/ 1356 w 4404"/>
                <a:gd name="T5" fmla="*/ 371 h 3600"/>
                <a:gd name="T6" fmla="*/ 1500 w 4404"/>
                <a:gd name="T7" fmla="*/ 489 h 3600"/>
                <a:gd name="T8" fmla="*/ 1631 w 4404"/>
                <a:gd name="T9" fmla="*/ 684 h 3600"/>
                <a:gd name="T10" fmla="*/ 1836 w 4404"/>
                <a:gd name="T11" fmla="*/ 890 h 3600"/>
                <a:gd name="T12" fmla="*/ 2337 w 4404"/>
                <a:gd name="T13" fmla="*/ 1065 h 3600"/>
                <a:gd name="T14" fmla="*/ 2696 w 4404"/>
                <a:gd name="T15" fmla="*/ 1032 h 3600"/>
                <a:gd name="T16" fmla="*/ 2855 w 4404"/>
                <a:gd name="T17" fmla="*/ 672 h 3600"/>
                <a:gd name="T18" fmla="*/ 2915 w 4404"/>
                <a:gd name="T19" fmla="*/ 419 h 3600"/>
                <a:gd name="T20" fmla="*/ 3059 w 4404"/>
                <a:gd name="T21" fmla="*/ 240 h 3600"/>
                <a:gd name="T22" fmla="*/ 2990 w 4404"/>
                <a:gd name="T23" fmla="*/ 36 h 3600"/>
                <a:gd name="T24" fmla="*/ 3377 w 4404"/>
                <a:gd name="T25" fmla="*/ 63 h 3600"/>
                <a:gd name="T26" fmla="*/ 3696 w 4404"/>
                <a:gd name="T27" fmla="*/ 167 h 3600"/>
                <a:gd name="T28" fmla="*/ 3893 w 4404"/>
                <a:gd name="T29" fmla="*/ 26 h 3600"/>
                <a:gd name="T30" fmla="*/ 3986 w 4404"/>
                <a:gd name="T31" fmla="*/ 324 h 3600"/>
                <a:gd name="T32" fmla="*/ 3936 w 4404"/>
                <a:gd name="T33" fmla="*/ 447 h 3600"/>
                <a:gd name="T34" fmla="*/ 3692 w 4404"/>
                <a:gd name="T35" fmla="*/ 882 h 3600"/>
                <a:gd name="T36" fmla="*/ 3432 w 4404"/>
                <a:gd name="T37" fmla="*/ 1128 h 3600"/>
                <a:gd name="T38" fmla="*/ 3614 w 4404"/>
                <a:gd name="T39" fmla="*/ 1271 h 3600"/>
                <a:gd name="T40" fmla="*/ 3818 w 4404"/>
                <a:gd name="T41" fmla="*/ 1188 h 3600"/>
                <a:gd name="T42" fmla="*/ 4010 w 4404"/>
                <a:gd name="T43" fmla="*/ 1356 h 3600"/>
                <a:gd name="T44" fmla="*/ 4056 w 4404"/>
                <a:gd name="T45" fmla="*/ 1574 h 3600"/>
                <a:gd name="T46" fmla="*/ 4350 w 4404"/>
                <a:gd name="T47" fmla="*/ 1779 h 3600"/>
                <a:gd name="T48" fmla="*/ 4356 w 4404"/>
                <a:gd name="T49" fmla="*/ 2075 h 3600"/>
                <a:gd name="T50" fmla="*/ 4052 w 4404"/>
                <a:gd name="T51" fmla="*/ 1835 h 3600"/>
                <a:gd name="T52" fmla="*/ 3768 w 4404"/>
                <a:gd name="T53" fmla="*/ 1917 h 3600"/>
                <a:gd name="T54" fmla="*/ 3671 w 4404"/>
                <a:gd name="T55" fmla="*/ 2289 h 3600"/>
                <a:gd name="T56" fmla="*/ 3503 w 4404"/>
                <a:gd name="T57" fmla="*/ 2174 h 3600"/>
                <a:gd name="T58" fmla="*/ 3563 w 4404"/>
                <a:gd name="T59" fmla="*/ 1884 h 3600"/>
                <a:gd name="T60" fmla="*/ 3482 w 4404"/>
                <a:gd name="T61" fmla="*/ 1787 h 3600"/>
                <a:gd name="T62" fmla="*/ 3306 w 4404"/>
                <a:gd name="T63" fmla="*/ 1689 h 3600"/>
                <a:gd name="T64" fmla="*/ 3240 w 4404"/>
                <a:gd name="T65" fmla="*/ 1895 h 3600"/>
                <a:gd name="T66" fmla="*/ 3182 w 4404"/>
                <a:gd name="T67" fmla="*/ 2196 h 3600"/>
                <a:gd name="T68" fmla="*/ 3383 w 4404"/>
                <a:gd name="T69" fmla="*/ 2376 h 3600"/>
                <a:gd name="T70" fmla="*/ 3326 w 4404"/>
                <a:gd name="T71" fmla="*/ 2676 h 3600"/>
                <a:gd name="T72" fmla="*/ 3197 w 4404"/>
                <a:gd name="T73" fmla="*/ 2844 h 3600"/>
                <a:gd name="T74" fmla="*/ 2894 w 4404"/>
                <a:gd name="T75" fmla="*/ 2916 h 3600"/>
                <a:gd name="T76" fmla="*/ 2412 w 4404"/>
                <a:gd name="T77" fmla="*/ 2940 h 3600"/>
                <a:gd name="T78" fmla="*/ 2388 w 4404"/>
                <a:gd name="T79" fmla="*/ 3326 h 3600"/>
                <a:gd name="T80" fmla="*/ 1620 w 4404"/>
                <a:gd name="T81" fmla="*/ 3564 h 3600"/>
                <a:gd name="T82" fmla="*/ 1440 w 4404"/>
                <a:gd name="T83" fmla="*/ 3084 h 3600"/>
                <a:gd name="T84" fmla="*/ 1164 w 4404"/>
                <a:gd name="T85" fmla="*/ 2700 h 3600"/>
                <a:gd name="T86" fmla="*/ 864 w 4404"/>
                <a:gd name="T87" fmla="*/ 2580 h 3600"/>
                <a:gd name="T88" fmla="*/ 684 w 4404"/>
                <a:gd name="T89" fmla="*/ 2100 h 3600"/>
                <a:gd name="T90" fmla="*/ 636 w 4404"/>
                <a:gd name="T91" fmla="*/ 1728 h 3600"/>
                <a:gd name="T92" fmla="*/ 336 w 4404"/>
                <a:gd name="T93" fmla="*/ 1584 h 3600"/>
                <a:gd name="T94" fmla="*/ 84 w 4404"/>
                <a:gd name="T95" fmla="*/ 1356 h 3600"/>
                <a:gd name="T96" fmla="*/ 252 w 4404"/>
                <a:gd name="T97" fmla="*/ 1236 h 3600"/>
                <a:gd name="T98" fmla="*/ 504 w 4404"/>
                <a:gd name="T99" fmla="*/ 1212 h 3600"/>
                <a:gd name="T100" fmla="*/ 804 w 4404"/>
                <a:gd name="T101" fmla="*/ 1188 h 3600"/>
                <a:gd name="T102" fmla="*/ 1008 w 4404"/>
                <a:gd name="T103" fmla="*/ 10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4" h="3600">
                  <a:moveTo>
                    <a:pt x="938" y="884"/>
                  </a:moveTo>
                  <a:lnTo>
                    <a:pt x="947" y="755"/>
                  </a:lnTo>
                  <a:lnTo>
                    <a:pt x="971" y="611"/>
                  </a:lnTo>
                  <a:lnTo>
                    <a:pt x="1067" y="518"/>
                  </a:lnTo>
                  <a:lnTo>
                    <a:pt x="1187" y="479"/>
                  </a:lnTo>
                  <a:lnTo>
                    <a:pt x="1224" y="552"/>
                  </a:lnTo>
                  <a:lnTo>
                    <a:pt x="1332" y="504"/>
                  </a:lnTo>
                  <a:lnTo>
                    <a:pt x="1403" y="456"/>
                  </a:lnTo>
                  <a:lnTo>
                    <a:pt x="1356" y="371"/>
                  </a:lnTo>
                  <a:lnTo>
                    <a:pt x="1439" y="312"/>
                  </a:lnTo>
                  <a:lnTo>
                    <a:pt x="1512" y="395"/>
                  </a:lnTo>
                  <a:lnTo>
                    <a:pt x="1500" y="489"/>
                  </a:lnTo>
                  <a:lnTo>
                    <a:pt x="1526" y="566"/>
                  </a:lnTo>
                  <a:lnTo>
                    <a:pt x="1584" y="611"/>
                  </a:lnTo>
                  <a:lnTo>
                    <a:pt x="1631" y="684"/>
                  </a:lnTo>
                  <a:lnTo>
                    <a:pt x="1646" y="771"/>
                  </a:lnTo>
                  <a:lnTo>
                    <a:pt x="1769" y="828"/>
                  </a:lnTo>
                  <a:lnTo>
                    <a:pt x="1836" y="890"/>
                  </a:lnTo>
                  <a:lnTo>
                    <a:pt x="1946" y="936"/>
                  </a:lnTo>
                  <a:lnTo>
                    <a:pt x="2088" y="947"/>
                  </a:lnTo>
                  <a:lnTo>
                    <a:pt x="2337" y="1065"/>
                  </a:lnTo>
                  <a:lnTo>
                    <a:pt x="2471" y="1094"/>
                  </a:lnTo>
                  <a:lnTo>
                    <a:pt x="2589" y="1080"/>
                  </a:lnTo>
                  <a:lnTo>
                    <a:pt x="2696" y="1032"/>
                  </a:lnTo>
                  <a:lnTo>
                    <a:pt x="2822" y="947"/>
                  </a:lnTo>
                  <a:lnTo>
                    <a:pt x="2904" y="819"/>
                  </a:lnTo>
                  <a:lnTo>
                    <a:pt x="2855" y="672"/>
                  </a:lnTo>
                  <a:lnTo>
                    <a:pt x="2868" y="552"/>
                  </a:lnTo>
                  <a:lnTo>
                    <a:pt x="2823" y="434"/>
                  </a:lnTo>
                  <a:lnTo>
                    <a:pt x="2915" y="419"/>
                  </a:lnTo>
                  <a:lnTo>
                    <a:pt x="3000" y="458"/>
                  </a:lnTo>
                  <a:lnTo>
                    <a:pt x="3012" y="323"/>
                  </a:lnTo>
                  <a:lnTo>
                    <a:pt x="3059" y="240"/>
                  </a:lnTo>
                  <a:lnTo>
                    <a:pt x="2916" y="182"/>
                  </a:lnTo>
                  <a:lnTo>
                    <a:pt x="2918" y="71"/>
                  </a:lnTo>
                  <a:lnTo>
                    <a:pt x="2990" y="36"/>
                  </a:lnTo>
                  <a:lnTo>
                    <a:pt x="3074" y="71"/>
                  </a:lnTo>
                  <a:lnTo>
                    <a:pt x="3212" y="84"/>
                  </a:lnTo>
                  <a:lnTo>
                    <a:pt x="3377" y="63"/>
                  </a:lnTo>
                  <a:lnTo>
                    <a:pt x="3560" y="48"/>
                  </a:lnTo>
                  <a:lnTo>
                    <a:pt x="3636" y="62"/>
                  </a:lnTo>
                  <a:lnTo>
                    <a:pt x="3696" y="167"/>
                  </a:lnTo>
                  <a:lnTo>
                    <a:pt x="3770" y="93"/>
                  </a:lnTo>
                  <a:lnTo>
                    <a:pt x="3815" y="0"/>
                  </a:lnTo>
                  <a:lnTo>
                    <a:pt x="3893" y="26"/>
                  </a:lnTo>
                  <a:lnTo>
                    <a:pt x="3984" y="96"/>
                  </a:lnTo>
                  <a:lnTo>
                    <a:pt x="4032" y="218"/>
                  </a:lnTo>
                  <a:lnTo>
                    <a:pt x="3986" y="324"/>
                  </a:lnTo>
                  <a:lnTo>
                    <a:pt x="3864" y="192"/>
                  </a:lnTo>
                  <a:lnTo>
                    <a:pt x="3890" y="315"/>
                  </a:lnTo>
                  <a:lnTo>
                    <a:pt x="3936" y="447"/>
                  </a:lnTo>
                  <a:lnTo>
                    <a:pt x="3851" y="543"/>
                  </a:lnTo>
                  <a:lnTo>
                    <a:pt x="3779" y="648"/>
                  </a:lnTo>
                  <a:lnTo>
                    <a:pt x="3692" y="882"/>
                  </a:lnTo>
                  <a:lnTo>
                    <a:pt x="3638" y="1008"/>
                  </a:lnTo>
                  <a:lnTo>
                    <a:pt x="3537" y="1082"/>
                  </a:lnTo>
                  <a:lnTo>
                    <a:pt x="3432" y="1128"/>
                  </a:lnTo>
                  <a:lnTo>
                    <a:pt x="3443" y="1235"/>
                  </a:lnTo>
                  <a:lnTo>
                    <a:pt x="3503" y="1296"/>
                  </a:lnTo>
                  <a:lnTo>
                    <a:pt x="3614" y="1271"/>
                  </a:lnTo>
                  <a:lnTo>
                    <a:pt x="3672" y="1188"/>
                  </a:lnTo>
                  <a:lnTo>
                    <a:pt x="3743" y="1200"/>
                  </a:lnTo>
                  <a:lnTo>
                    <a:pt x="3818" y="1188"/>
                  </a:lnTo>
                  <a:lnTo>
                    <a:pt x="3912" y="1188"/>
                  </a:lnTo>
                  <a:lnTo>
                    <a:pt x="3984" y="1262"/>
                  </a:lnTo>
                  <a:lnTo>
                    <a:pt x="4010" y="1356"/>
                  </a:lnTo>
                  <a:lnTo>
                    <a:pt x="3962" y="1440"/>
                  </a:lnTo>
                  <a:lnTo>
                    <a:pt x="3972" y="1524"/>
                  </a:lnTo>
                  <a:lnTo>
                    <a:pt x="4056" y="1574"/>
                  </a:lnTo>
                  <a:lnTo>
                    <a:pt x="4173" y="1595"/>
                  </a:lnTo>
                  <a:lnTo>
                    <a:pt x="4299" y="1670"/>
                  </a:lnTo>
                  <a:lnTo>
                    <a:pt x="4350" y="1779"/>
                  </a:lnTo>
                  <a:lnTo>
                    <a:pt x="4404" y="1910"/>
                  </a:lnTo>
                  <a:lnTo>
                    <a:pt x="4334" y="1968"/>
                  </a:lnTo>
                  <a:lnTo>
                    <a:pt x="4356" y="2075"/>
                  </a:lnTo>
                  <a:lnTo>
                    <a:pt x="4212" y="2016"/>
                  </a:lnTo>
                  <a:lnTo>
                    <a:pt x="4154" y="1908"/>
                  </a:lnTo>
                  <a:lnTo>
                    <a:pt x="4052" y="1835"/>
                  </a:lnTo>
                  <a:lnTo>
                    <a:pt x="3881" y="1809"/>
                  </a:lnTo>
                  <a:lnTo>
                    <a:pt x="3767" y="1802"/>
                  </a:lnTo>
                  <a:lnTo>
                    <a:pt x="3768" y="1917"/>
                  </a:lnTo>
                  <a:lnTo>
                    <a:pt x="3732" y="2031"/>
                  </a:lnTo>
                  <a:lnTo>
                    <a:pt x="3635" y="2198"/>
                  </a:lnTo>
                  <a:lnTo>
                    <a:pt x="3671" y="2289"/>
                  </a:lnTo>
                  <a:lnTo>
                    <a:pt x="3587" y="2327"/>
                  </a:lnTo>
                  <a:lnTo>
                    <a:pt x="3515" y="2258"/>
                  </a:lnTo>
                  <a:lnTo>
                    <a:pt x="3503" y="2174"/>
                  </a:lnTo>
                  <a:lnTo>
                    <a:pt x="3444" y="2076"/>
                  </a:lnTo>
                  <a:lnTo>
                    <a:pt x="3539" y="2016"/>
                  </a:lnTo>
                  <a:lnTo>
                    <a:pt x="3563" y="1884"/>
                  </a:lnTo>
                  <a:lnTo>
                    <a:pt x="3624" y="1850"/>
                  </a:lnTo>
                  <a:lnTo>
                    <a:pt x="3621" y="1787"/>
                  </a:lnTo>
                  <a:lnTo>
                    <a:pt x="3482" y="1787"/>
                  </a:lnTo>
                  <a:lnTo>
                    <a:pt x="3419" y="1730"/>
                  </a:lnTo>
                  <a:lnTo>
                    <a:pt x="3395" y="1668"/>
                  </a:lnTo>
                  <a:lnTo>
                    <a:pt x="3306" y="1689"/>
                  </a:lnTo>
                  <a:lnTo>
                    <a:pt x="3252" y="1691"/>
                  </a:lnTo>
                  <a:lnTo>
                    <a:pt x="3192" y="1776"/>
                  </a:lnTo>
                  <a:lnTo>
                    <a:pt x="3240" y="1895"/>
                  </a:lnTo>
                  <a:lnTo>
                    <a:pt x="3240" y="2004"/>
                  </a:lnTo>
                  <a:lnTo>
                    <a:pt x="3179" y="2100"/>
                  </a:lnTo>
                  <a:lnTo>
                    <a:pt x="3182" y="2196"/>
                  </a:lnTo>
                  <a:lnTo>
                    <a:pt x="3285" y="2207"/>
                  </a:lnTo>
                  <a:lnTo>
                    <a:pt x="3362" y="2234"/>
                  </a:lnTo>
                  <a:lnTo>
                    <a:pt x="3383" y="2376"/>
                  </a:lnTo>
                  <a:lnTo>
                    <a:pt x="3455" y="2462"/>
                  </a:lnTo>
                  <a:lnTo>
                    <a:pt x="3336" y="2543"/>
                  </a:lnTo>
                  <a:lnTo>
                    <a:pt x="3326" y="2676"/>
                  </a:lnTo>
                  <a:lnTo>
                    <a:pt x="3275" y="2739"/>
                  </a:lnTo>
                  <a:lnTo>
                    <a:pt x="3312" y="2856"/>
                  </a:lnTo>
                  <a:lnTo>
                    <a:pt x="3197" y="2844"/>
                  </a:lnTo>
                  <a:lnTo>
                    <a:pt x="3105" y="2831"/>
                  </a:lnTo>
                  <a:lnTo>
                    <a:pt x="3000" y="2820"/>
                  </a:lnTo>
                  <a:lnTo>
                    <a:pt x="2894" y="2916"/>
                  </a:lnTo>
                  <a:lnTo>
                    <a:pt x="2775" y="2906"/>
                  </a:lnTo>
                  <a:lnTo>
                    <a:pt x="2661" y="2880"/>
                  </a:lnTo>
                  <a:lnTo>
                    <a:pt x="2412" y="2940"/>
                  </a:lnTo>
                  <a:lnTo>
                    <a:pt x="2364" y="3119"/>
                  </a:lnTo>
                  <a:lnTo>
                    <a:pt x="2400" y="3251"/>
                  </a:lnTo>
                  <a:lnTo>
                    <a:pt x="2388" y="3326"/>
                  </a:lnTo>
                  <a:lnTo>
                    <a:pt x="2243" y="3545"/>
                  </a:lnTo>
                  <a:lnTo>
                    <a:pt x="1956" y="3600"/>
                  </a:lnTo>
                  <a:lnTo>
                    <a:pt x="1620" y="3564"/>
                  </a:lnTo>
                  <a:lnTo>
                    <a:pt x="1524" y="3444"/>
                  </a:lnTo>
                  <a:lnTo>
                    <a:pt x="1397" y="3408"/>
                  </a:lnTo>
                  <a:lnTo>
                    <a:pt x="1440" y="3084"/>
                  </a:lnTo>
                  <a:lnTo>
                    <a:pt x="1476" y="2820"/>
                  </a:lnTo>
                  <a:lnTo>
                    <a:pt x="1332" y="2772"/>
                  </a:lnTo>
                  <a:lnTo>
                    <a:pt x="1164" y="2700"/>
                  </a:lnTo>
                  <a:lnTo>
                    <a:pt x="984" y="2784"/>
                  </a:lnTo>
                  <a:lnTo>
                    <a:pt x="972" y="2640"/>
                  </a:lnTo>
                  <a:lnTo>
                    <a:pt x="864" y="2580"/>
                  </a:lnTo>
                  <a:lnTo>
                    <a:pt x="780" y="2412"/>
                  </a:lnTo>
                  <a:lnTo>
                    <a:pt x="708" y="2292"/>
                  </a:lnTo>
                  <a:lnTo>
                    <a:pt x="684" y="2100"/>
                  </a:lnTo>
                  <a:lnTo>
                    <a:pt x="684" y="1968"/>
                  </a:lnTo>
                  <a:lnTo>
                    <a:pt x="720" y="1788"/>
                  </a:lnTo>
                  <a:lnTo>
                    <a:pt x="636" y="1728"/>
                  </a:lnTo>
                  <a:lnTo>
                    <a:pt x="516" y="1692"/>
                  </a:lnTo>
                  <a:lnTo>
                    <a:pt x="444" y="1596"/>
                  </a:lnTo>
                  <a:lnTo>
                    <a:pt x="336" y="1584"/>
                  </a:lnTo>
                  <a:lnTo>
                    <a:pt x="252" y="1464"/>
                  </a:lnTo>
                  <a:lnTo>
                    <a:pt x="192" y="1392"/>
                  </a:lnTo>
                  <a:lnTo>
                    <a:pt x="84" y="1356"/>
                  </a:lnTo>
                  <a:lnTo>
                    <a:pt x="0" y="1236"/>
                  </a:lnTo>
                  <a:lnTo>
                    <a:pt x="120" y="1260"/>
                  </a:lnTo>
                  <a:lnTo>
                    <a:pt x="252" y="1236"/>
                  </a:lnTo>
                  <a:lnTo>
                    <a:pt x="372" y="1332"/>
                  </a:lnTo>
                  <a:lnTo>
                    <a:pt x="456" y="1296"/>
                  </a:lnTo>
                  <a:lnTo>
                    <a:pt x="504" y="1212"/>
                  </a:lnTo>
                  <a:lnTo>
                    <a:pt x="624" y="1200"/>
                  </a:lnTo>
                  <a:lnTo>
                    <a:pt x="708" y="1140"/>
                  </a:lnTo>
                  <a:lnTo>
                    <a:pt x="804" y="1188"/>
                  </a:lnTo>
                  <a:lnTo>
                    <a:pt x="912" y="1200"/>
                  </a:lnTo>
                  <a:lnTo>
                    <a:pt x="1032" y="1188"/>
                  </a:lnTo>
                  <a:lnTo>
                    <a:pt x="1008" y="1056"/>
                  </a:lnTo>
                  <a:lnTo>
                    <a:pt x="1008" y="948"/>
                  </a:lnTo>
                  <a:lnTo>
                    <a:pt x="938" y="884"/>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pPr fontAlgn="base">
                <a:spcBef>
                  <a:spcPct val="0"/>
                </a:spcBef>
                <a:spcAft>
                  <a:spcPct val="0"/>
                </a:spcAft>
              </a:pPr>
              <a:endParaRPr lang="zh-CN" altLang="en-US" sz="1050" b="1" kern="0">
                <a:solidFill>
                  <a:srgbClr val="000000"/>
                </a:solidFill>
                <a:latin typeface="Arial" charset="0"/>
              </a:endParaRPr>
            </a:p>
          </p:txBody>
        </p:sp>
        <p:sp>
          <p:nvSpPr>
            <p:cNvPr id="15" name="Freeform 16">
              <a:extLst>
                <a:ext uri="{FF2B5EF4-FFF2-40B4-BE49-F238E27FC236}">
                  <a16:creationId xmlns:a16="http://schemas.microsoft.com/office/drawing/2014/main" id="{B2CDBC79-DDED-4061-83C0-905D136BC998}"/>
                </a:ext>
              </a:extLst>
            </p:cNvPr>
            <p:cNvSpPr>
              <a:spLocks/>
            </p:cNvSpPr>
            <p:nvPr/>
          </p:nvSpPr>
          <p:spPr bwMode="auto">
            <a:xfrm>
              <a:off x="4431075" y="1606859"/>
              <a:ext cx="653477" cy="1421031"/>
            </a:xfrm>
            <a:custGeom>
              <a:avLst/>
              <a:gdLst>
                <a:gd name="T0" fmla="*/ 102 w 2323"/>
                <a:gd name="T1" fmla="*/ 139 h 5047"/>
                <a:gd name="T2" fmla="*/ 12 w 2323"/>
                <a:gd name="T3" fmla="*/ 280 h 5047"/>
                <a:gd name="T4" fmla="*/ 85 w 2323"/>
                <a:gd name="T5" fmla="*/ 562 h 5047"/>
                <a:gd name="T6" fmla="*/ 97 w 2323"/>
                <a:gd name="T7" fmla="*/ 805 h 5047"/>
                <a:gd name="T8" fmla="*/ 12 w 2323"/>
                <a:gd name="T9" fmla="*/ 1113 h 5047"/>
                <a:gd name="T10" fmla="*/ 12 w 2323"/>
                <a:gd name="T11" fmla="*/ 1440 h 5047"/>
                <a:gd name="T12" fmla="*/ 171 w 2323"/>
                <a:gd name="T13" fmla="*/ 1533 h 5047"/>
                <a:gd name="T14" fmla="*/ 51 w 2323"/>
                <a:gd name="T15" fmla="*/ 1785 h 5047"/>
                <a:gd name="T16" fmla="*/ 72 w 2323"/>
                <a:gd name="T17" fmla="*/ 2058 h 5047"/>
                <a:gd name="T18" fmla="*/ 144 w 2323"/>
                <a:gd name="T19" fmla="*/ 2313 h 5047"/>
                <a:gd name="T20" fmla="*/ 229 w 2323"/>
                <a:gd name="T21" fmla="*/ 2529 h 5047"/>
                <a:gd name="T22" fmla="*/ 327 w 2323"/>
                <a:gd name="T23" fmla="*/ 2811 h 5047"/>
                <a:gd name="T24" fmla="*/ 447 w 2323"/>
                <a:gd name="T25" fmla="*/ 3034 h 5047"/>
                <a:gd name="T26" fmla="*/ 387 w 2323"/>
                <a:gd name="T27" fmla="*/ 3237 h 5047"/>
                <a:gd name="T28" fmla="*/ 408 w 2323"/>
                <a:gd name="T29" fmla="*/ 3406 h 5047"/>
                <a:gd name="T30" fmla="*/ 373 w 2323"/>
                <a:gd name="T31" fmla="*/ 3657 h 5047"/>
                <a:gd name="T32" fmla="*/ 253 w 2323"/>
                <a:gd name="T33" fmla="*/ 3909 h 5047"/>
                <a:gd name="T34" fmla="*/ 322 w 2323"/>
                <a:gd name="T35" fmla="*/ 4030 h 5047"/>
                <a:gd name="T36" fmla="*/ 276 w 2323"/>
                <a:gd name="T37" fmla="*/ 4248 h 5047"/>
                <a:gd name="T38" fmla="*/ 169 w 2323"/>
                <a:gd name="T39" fmla="*/ 4476 h 5047"/>
                <a:gd name="T40" fmla="*/ 156 w 2323"/>
                <a:gd name="T41" fmla="*/ 4644 h 5047"/>
                <a:gd name="T42" fmla="*/ 169 w 2323"/>
                <a:gd name="T43" fmla="*/ 4783 h 5047"/>
                <a:gd name="T44" fmla="*/ 291 w 2323"/>
                <a:gd name="T45" fmla="*/ 4908 h 5047"/>
                <a:gd name="T46" fmla="*/ 421 w 2323"/>
                <a:gd name="T47" fmla="*/ 4932 h 5047"/>
                <a:gd name="T48" fmla="*/ 610 w 2323"/>
                <a:gd name="T49" fmla="*/ 4659 h 5047"/>
                <a:gd name="T50" fmla="*/ 807 w 2323"/>
                <a:gd name="T51" fmla="*/ 4545 h 5047"/>
                <a:gd name="T52" fmla="*/ 841 w 2323"/>
                <a:gd name="T53" fmla="*/ 4438 h 5047"/>
                <a:gd name="T54" fmla="*/ 1129 w 2323"/>
                <a:gd name="T55" fmla="*/ 4080 h 5047"/>
                <a:gd name="T56" fmla="*/ 1123 w 2323"/>
                <a:gd name="T57" fmla="*/ 3799 h 5047"/>
                <a:gd name="T58" fmla="*/ 1225 w 2323"/>
                <a:gd name="T59" fmla="*/ 3361 h 5047"/>
                <a:gd name="T60" fmla="*/ 1428 w 2323"/>
                <a:gd name="T61" fmla="*/ 3142 h 5047"/>
                <a:gd name="T62" fmla="*/ 1837 w 2323"/>
                <a:gd name="T63" fmla="*/ 2926 h 5047"/>
                <a:gd name="T64" fmla="*/ 1837 w 2323"/>
                <a:gd name="T65" fmla="*/ 2548 h 5047"/>
                <a:gd name="T66" fmla="*/ 2071 w 2323"/>
                <a:gd name="T67" fmla="*/ 2296 h 5047"/>
                <a:gd name="T68" fmla="*/ 2323 w 2323"/>
                <a:gd name="T69" fmla="*/ 1864 h 5047"/>
                <a:gd name="T70" fmla="*/ 1836 w 2323"/>
                <a:gd name="T71" fmla="*/ 1173 h 5047"/>
                <a:gd name="T72" fmla="*/ 1384 w 2323"/>
                <a:gd name="T73" fmla="*/ 742 h 5047"/>
                <a:gd name="T74" fmla="*/ 1060 w 2323"/>
                <a:gd name="T75" fmla="*/ 444 h 5047"/>
                <a:gd name="T76" fmla="*/ 552 w 2323"/>
                <a:gd name="T77" fmla="*/ 94 h 5047"/>
                <a:gd name="T78" fmla="*/ 229 w 2323"/>
                <a:gd name="T79" fmla="*/ 82 h 5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3" h="5047">
                  <a:moveTo>
                    <a:pt x="229" y="82"/>
                  </a:moveTo>
                  <a:lnTo>
                    <a:pt x="102" y="139"/>
                  </a:lnTo>
                  <a:lnTo>
                    <a:pt x="0" y="190"/>
                  </a:lnTo>
                  <a:lnTo>
                    <a:pt x="12" y="280"/>
                  </a:lnTo>
                  <a:lnTo>
                    <a:pt x="73" y="432"/>
                  </a:lnTo>
                  <a:lnTo>
                    <a:pt x="85" y="562"/>
                  </a:lnTo>
                  <a:lnTo>
                    <a:pt x="72" y="696"/>
                  </a:lnTo>
                  <a:lnTo>
                    <a:pt x="97" y="805"/>
                  </a:lnTo>
                  <a:lnTo>
                    <a:pt x="24" y="913"/>
                  </a:lnTo>
                  <a:lnTo>
                    <a:pt x="12" y="1113"/>
                  </a:lnTo>
                  <a:lnTo>
                    <a:pt x="85" y="1222"/>
                  </a:lnTo>
                  <a:lnTo>
                    <a:pt x="12" y="1440"/>
                  </a:lnTo>
                  <a:lnTo>
                    <a:pt x="93" y="1461"/>
                  </a:lnTo>
                  <a:lnTo>
                    <a:pt x="171" y="1533"/>
                  </a:lnTo>
                  <a:lnTo>
                    <a:pt x="145" y="1678"/>
                  </a:lnTo>
                  <a:lnTo>
                    <a:pt x="51" y="1785"/>
                  </a:lnTo>
                  <a:lnTo>
                    <a:pt x="48" y="1944"/>
                  </a:lnTo>
                  <a:lnTo>
                    <a:pt x="72" y="2058"/>
                  </a:lnTo>
                  <a:lnTo>
                    <a:pt x="84" y="2217"/>
                  </a:lnTo>
                  <a:lnTo>
                    <a:pt x="144" y="2313"/>
                  </a:lnTo>
                  <a:lnTo>
                    <a:pt x="135" y="2470"/>
                  </a:lnTo>
                  <a:lnTo>
                    <a:pt x="229" y="2529"/>
                  </a:lnTo>
                  <a:lnTo>
                    <a:pt x="289" y="2673"/>
                  </a:lnTo>
                  <a:lnTo>
                    <a:pt x="327" y="2811"/>
                  </a:lnTo>
                  <a:lnTo>
                    <a:pt x="394" y="2910"/>
                  </a:lnTo>
                  <a:lnTo>
                    <a:pt x="447" y="3034"/>
                  </a:lnTo>
                  <a:lnTo>
                    <a:pt x="372" y="3153"/>
                  </a:lnTo>
                  <a:lnTo>
                    <a:pt x="387" y="3237"/>
                  </a:lnTo>
                  <a:lnTo>
                    <a:pt x="327" y="3298"/>
                  </a:lnTo>
                  <a:lnTo>
                    <a:pt x="408" y="3406"/>
                  </a:lnTo>
                  <a:lnTo>
                    <a:pt x="397" y="3519"/>
                  </a:lnTo>
                  <a:lnTo>
                    <a:pt x="373" y="3657"/>
                  </a:lnTo>
                  <a:lnTo>
                    <a:pt x="373" y="3874"/>
                  </a:lnTo>
                  <a:lnTo>
                    <a:pt x="253" y="3909"/>
                  </a:lnTo>
                  <a:lnTo>
                    <a:pt x="253" y="4006"/>
                  </a:lnTo>
                  <a:lnTo>
                    <a:pt x="322" y="4030"/>
                  </a:lnTo>
                  <a:lnTo>
                    <a:pt x="291" y="4152"/>
                  </a:lnTo>
                  <a:lnTo>
                    <a:pt x="276" y="4248"/>
                  </a:lnTo>
                  <a:lnTo>
                    <a:pt x="145" y="4210"/>
                  </a:lnTo>
                  <a:lnTo>
                    <a:pt x="169" y="4476"/>
                  </a:lnTo>
                  <a:lnTo>
                    <a:pt x="73" y="4546"/>
                  </a:lnTo>
                  <a:lnTo>
                    <a:pt x="156" y="4644"/>
                  </a:lnTo>
                  <a:lnTo>
                    <a:pt x="61" y="4797"/>
                  </a:lnTo>
                  <a:lnTo>
                    <a:pt x="169" y="4783"/>
                  </a:lnTo>
                  <a:lnTo>
                    <a:pt x="202" y="4834"/>
                  </a:lnTo>
                  <a:lnTo>
                    <a:pt x="291" y="4908"/>
                  </a:lnTo>
                  <a:lnTo>
                    <a:pt x="271" y="5047"/>
                  </a:lnTo>
                  <a:lnTo>
                    <a:pt x="421" y="4932"/>
                  </a:lnTo>
                  <a:lnTo>
                    <a:pt x="526" y="4767"/>
                  </a:lnTo>
                  <a:lnTo>
                    <a:pt x="610" y="4659"/>
                  </a:lnTo>
                  <a:lnTo>
                    <a:pt x="685" y="4548"/>
                  </a:lnTo>
                  <a:lnTo>
                    <a:pt x="807" y="4545"/>
                  </a:lnTo>
                  <a:lnTo>
                    <a:pt x="898" y="4486"/>
                  </a:lnTo>
                  <a:lnTo>
                    <a:pt x="841" y="4438"/>
                  </a:lnTo>
                  <a:lnTo>
                    <a:pt x="984" y="4198"/>
                  </a:lnTo>
                  <a:lnTo>
                    <a:pt x="1129" y="4080"/>
                  </a:lnTo>
                  <a:lnTo>
                    <a:pt x="1068" y="3955"/>
                  </a:lnTo>
                  <a:lnTo>
                    <a:pt x="1123" y="3799"/>
                  </a:lnTo>
                  <a:lnTo>
                    <a:pt x="1213" y="3483"/>
                  </a:lnTo>
                  <a:lnTo>
                    <a:pt x="1225" y="3361"/>
                  </a:lnTo>
                  <a:lnTo>
                    <a:pt x="1309" y="3261"/>
                  </a:lnTo>
                  <a:lnTo>
                    <a:pt x="1428" y="3142"/>
                  </a:lnTo>
                  <a:lnTo>
                    <a:pt x="1824" y="3142"/>
                  </a:lnTo>
                  <a:lnTo>
                    <a:pt x="1837" y="2926"/>
                  </a:lnTo>
                  <a:lnTo>
                    <a:pt x="1783" y="2746"/>
                  </a:lnTo>
                  <a:lnTo>
                    <a:pt x="1837" y="2548"/>
                  </a:lnTo>
                  <a:lnTo>
                    <a:pt x="1927" y="2404"/>
                  </a:lnTo>
                  <a:lnTo>
                    <a:pt x="2071" y="2296"/>
                  </a:lnTo>
                  <a:lnTo>
                    <a:pt x="2161" y="2098"/>
                  </a:lnTo>
                  <a:lnTo>
                    <a:pt x="2323" y="1864"/>
                  </a:lnTo>
                  <a:lnTo>
                    <a:pt x="2061" y="1396"/>
                  </a:lnTo>
                  <a:lnTo>
                    <a:pt x="1836" y="1173"/>
                  </a:lnTo>
                  <a:lnTo>
                    <a:pt x="1614" y="970"/>
                  </a:lnTo>
                  <a:lnTo>
                    <a:pt x="1384" y="742"/>
                  </a:lnTo>
                  <a:lnTo>
                    <a:pt x="1260" y="627"/>
                  </a:lnTo>
                  <a:lnTo>
                    <a:pt x="1060" y="444"/>
                  </a:lnTo>
                  <a:lnTo>
                    <a:pt x="753" y="207"/>
                  </a:lnTo>
                  <a:lnTo>
                    <a:pt x="552" y="94"/>
                  </a:lnTo>
                  <a:lnTo>
                    <a:pt x="331" y="0"/>
                  </a:lnTo>
                  <a:lnTo>
                    <a:pt x="229" y="82"/>
                  </a:lnTo>
                  <a:close/>
                </a:path>
              </a:pathLst>
            </a:custGeom>
            <a:solidFill>
              <a:schemeClr val="accent4"/>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sp>
          <p:nvSpPr>
            <p:cNvPr id="16" name="Freeform 17">
              <a:extLst>
                <a:ext uri="{FF2B5EF4-FFF2-40B4-BE49-F238E27FC236}">
                  <a16:creationId xmlns:a16="http://schemas.microsoft.com/office/drawing/2014/main" id="{2101E7E1-7E72-4DA5-9ED3-0081EC9D0609}"/>
                </a:ext>
              </a:extLst>
            </p:cNvPr>
            <p:cNvSpPr>
              <a:spLocks/>
            </p:cNvSpPr>
            <p:nvPr/>
          </p:nvSpPr>
          <p:spPr bwMode="auto">
            <a:xfrm>
              <a:off x="4921183" y="2784244"/>
              <a:ext cx="154919" cy="85910"/>
            </a:xfrm>
            <a:custGeom>
              <a:avLst/>
              <a:gdLst>
                <a:gd name="T0" fmla="*/ 170 w 547"/>
                <a:gd name="T1" fmla="*/ 101 h 301"/>
                <a:gd name="T2" fmla="*/ 88 w 547"/>
                <a:gd name="T3" fmla="*/ 138 h 301"/>
                <a:gd name="T4" fmla="*/ 24 w 547"/>
                <a:gd name="T5" fmla="*/ 183 h 301"/>
                <a:gd name="T6" fmla="*/ 0 w 547"/>
                <a:gd name="T7" fmla="*/ 256 h 301"/>
                <a:gd name="T8" fmla="*/ 93 w 547"/>
                <a:gd name="T9" fmla="*/ 301 h 301"/>
                <a:gd name="T10" fmla="*/ 237 w 547"/>
                <a:gd name="T11" fmla="*/ 267 h 301"/>
                <a:gd name="T12" fmla="*/ 367 w 547"/>
                <a:gd name="T13" fmla="*/ 279 h 301"/>
                <a:gd name="T14" fmla="*/ 393 w 547"/>
                <a:gd name="T15" fmla="*/ 136 h 301"/>
                <a:gd name="T16" fmla="*/ 490 w 547"/>
                <a:gd name="T17" fmla="*/ 109 h 301"/>
                <a:gd name="T18" fmla="*/ 547 w 547"/>
                <a:gd name="T19" fmla="*/ 73 h 301"/>
                <a:gd name="T20" fmla="*/ 490 w 547"/>
                <a:gd name="T21" fmla="*/ 0 h 301"/>
                <a:gd name="T22" fmla="*/ 435 w 547"/>
                <a:gd name="T23" fmla="*/ 37 h 301"/>
                <a:gd name="T24" fmla="*/ 371 w 547"/>
                <a:gd name="T25" fmla="*/ 83 h 301"/>
                <a:gd name="T26" fmla="*/ 307 w 547"/>
                <a:gd name="T27" fmla="*/ 138 h 301"/>
                <a:gd name="T28" fmla="*/ 252 w 547"/>
                <a:gd name="T29" fmla="*/ 156 h 301"/>
                <a:gd name="T30" fmla="*/ 170 w 547"/>
                <a:gd name="T31" fmla="*/ 1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7" h="301">
                  <a:moveTo>
                    <a:pt x="170" y="101"/>
                  </a:moveTo>
                  <a:lnTo>
                    <a:pt x="88" y="138"/>
                  </a:lnTo>
                  <a:lnTo>
                    <a:pt x="24" y="183"/>
                  </a:lnTo>
                  <a:lnTo>
                    <a:pt x="0" y="256"/>
                  </a:lnTo>
                  <a:lnTo>
                    <a:pt x="93" y="301"/>
                  </a:lnTo>
                  <a:lnTo>
                    <a:pt x="237" y="267"/>
                  </a:lnTo>
                  <a:lnTo>
                    <a:pt x="367" y="279"/>
                  </a:lnTo>
                  <a:lnTo>
                    <a:pt x="393" y="136"/>
                  </a:lnTo>
                  <a:lnTo>
                    <a:pt x="490" y="109"/>
                  </a:lnTo>
                  <a:lnTo>
                    <a:pt x="547" y="73"/>
                  </a:lnTo>
                  <a:lnTo>
                    <a:pt x="490" y="0"/>
                  </a:lnTo>
                  <a:lnTo>
                    <a:pt x="435" y="37"/>
                  </a:lnTo>
                  <a:lnTo>
                    <a:pt x="371" y="83"/>
                  </a:lnTo>
                  <a:lnTo>
                    <a:pt x="307" y="138"/>
                  </a:lnTo>
                  <a:lnTo>
                    <a:pt x="252" y="156"/>
                  </a:lnTo>
                  <a:lnTo>
                    <a:pt x="170" y="101"/>
                  </a:lnTo>
                  <a:close/>
                </a:path>
              </a:pathLst>
            </a:custGeom>
            <a:solidFill>
              <a:schemeClr val="accent1"/>
            </a:solidFill>
            <a:ln w="3175">
              <a:solidFill>
                <a:schemeClr val="tx1"/>
              </a:solidFill>
            </a:ln>
          </p:spPr>
          <p:style>
            <a:lnRef idx="0">
              <a:scrgbClr r="0" g="0" b="0"/>
            </a:lnRef>
            <a:fillRef idx="0">
              <a:scrgbClr r="0" g="0" b="0"/>
            </a:fillRef>
            <a:effectRef idx="0">
              <a:scrgbClr r="0" g="0" b="0"/>
            </a:effectRef>
            <a:fontRef idx="minor">
              <a:schemeClr val="lt1"/>
            </a:fontRef>
          </p:style>
          <p:txBody>
            <a:bodyPr/>
            <a:lstStyle/>
            <a:p>
              <a:endParaRPr lang="zh-CN" altLang="en-US" sz="1050" kern="0">
                <a:solidFill>
                  <a:sysClr val="windowText" lastClr="000000"/>
                </a:solidFill>
              </a:endParaRPr>
            </a:p>
          </p:txBody>
        </p:sp>
        <p:grpSp>
          <p:nvGrpSpPr>
            <p:cNvPr id="17" name="组合 64">
              <a:extLst>
                <a:ext uri="{FF2B5EF4-FFF2-40B4-BE49-F238E27FC236}">
                  <a16:creationId xmlns:a16="http://schemas.microsoft.com/office/drawing/2014/main" id="{8D9CDE71-9ED8-43FE-990B-2C5D033BFE16}"/>
                </a:ext>
              </a:extLst>
            </p:cNvPr>
            <p:cNvGrpSpPr/>
            <p:nvPr/>
          </p:nvGrpSpPr>
          <p:grpSpPr>
            <a:xfrm>
              <a:off x="73944" y="1790476"/>
              <a:ext cx="1871590" cy="790251"/>
              <a:chOff x="416520" y="4774171"/>
              <a:chExt cx="2109658" cy="890772"/>
            </a:xfrm>
          </p:grpSpPr>
          <p:sp>
            <p:nvSpPr>
              <p:cNvPr id="18" name="圆角矩形 111">
                <a:extLst>
                  <a:ext uri="{FF2B5EF4-FFF2-40B4-BE49-F238E27FC236}">
                    <a16:creationId xmlns:a16="http://schemas.microsoft.com/office/drawing/2014/main" id="{5E665367-1A08-451A-B772-E816A08577BB}"/>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9" name="圆角矩形 45">
                <a:extLst>
                  <a:ext uri="{FF2B5EF4-FFF2-40B4-BE49-F238E27FC236}">
                    <a16:creationId xmlns:a16="http://schemas.microsoft.com/office/drawing/2014/main" id="{B1677368-A0A9-47C2-8104-CC8A8281FA3A}"/>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Oromia</a:t>
                </a:r>
                <a:endParaRPr lang="en-US" altLang="zh-CN" sz="1050" b="1" kern="0" dirty="0"/>
              </a:p>
            </p:txBody>
          </p:sp>
          <p:sp>
            <p:nvSpPr>
              <p:cNvPr id="20" name="Text Box 16">
                <a:extLst>
                  <a:ext uri="{FF2B5EF4-FFF2-40B4-BE49-F238E27FC236}">
                    <a16:creationId xmlns:a16="http://schemas.microsoft.com/office/drawing/2014/main" id="{4B955912-4766-4979-8275-5D2B3118ABE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36</a:t>
                </a:r>
              </a:p>
            </p:txBody>
          </p:sp>
        </p:grpSp>
        <p:sp>
          <p:nvSpPr>
            <p:cNvPr id="21" name="Oval 25">
              <a:extLst>
                <a:ext uri="{FF2B5EF4-FFF2-40B4-BE49-F238E27FC236}">
                  <a16:creationId xmlns:a16="http://schemas.microsoft.com/office/drawing/2014/main" id="{C32D6F10-81A4-41BC-9212-25815DCA592D}"/>
                </a:ext>
              </a:extLst>
            </p:cNvPr>
            <p:cNvSpPr>
              <a:spLocks noChangeArrowheads="1"/>
            </p:cNvSpPr>
            <p:nvPr/>
          </p:nvSpPr>
          <p:spPr bwMode="gray">
            <a:xfrm>
              <a:off x="3727920" y="297025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2" name="肘形连接符 66">
              <a:extLst>
                <a:ext uri="{FF2B5EF4-FFF2-40B4-BE49-F238E27FC236}">
                  <a16:creationId xmlns:a16="http://schemas.microsoft.com/office/drawing/2014/main" id="{355DB5E8-13CB-477D-B1BF-7F8105A96E06}"/>
                </a:ext>
              </a:extLst>
            </p:cNvPr>
            <p:cNvCxnSpPr>
              <a:cxnSpLocks/>
              <a:stCxn id="21" idx="2"/>
              <a:endCxn id="18" idx="3"/>
            </p:cNvCxnSpPr>
            <p:nvPr/>
          </p:nvCxnSpPr>
          <p:spPr>
            <a:xfrm rot="10800000">
              <a:off x="1945534" y="2266776"/>
              <a:ext cx="1782386" cy="751748"/>
            </a:xfrm>
            <a:prstGeom prst="bentConnector3">
              <a:avLst>
                <a:gd name="adj1" fmla="val 69999"/>
              </a:avLst>
            </a:prstGeom>
            <a:noFill/>
            <a:ln w="9525">
              <a:solidFill>
                <a:srgbClr val="C00000"/>
              </a:solidFill>
              <a:prstDash val="sysDash"/>
              <a:miter lim="800000"/>
              <a:headEnd/>
              <a:tailEnd/>
            </a:ln>
          </p:spPr>
        </p:cxnSp>
        <p:grpSp>
          <p:nvGrpSpPr>
            <p:cNvPr id="23" name="组合 67">
              <a:extLst>
                <a:ext uri="{FF2B5EF4-FFF2-40B4-BE49-F238E27FC236}">
                  <a16:creationId xmlns:a16="http://schemas.microsoft.com/office/drawing/2014/main" id="{724F1D65-F89E-4F3C-B6E4-32E281865FAA}"/>
                </a:ext>
              </a:extLst>
            </p:cNvPr>
            <p:cNvGrpSpPr/>
            <p:nvPr/>
          </p:nvGrpSpPr>
          <p:grpSpPr>
            <a:xfrm>
              <a:off x="75498" y="33920"/>
              <a:ext cx="1871590" cy="790251"/>
              <a:chOff x="416520" y="4774171"/>
              <a:chExt cx="2109658" cy="890772"/>
            </a:xfrm>
          </p:grpSpPr>
          <p:sp>
            <p:nvSpPr>
              <p:cNvPr id="24" name="圆角矩形 108">
                <a:extLst>
                  <a:ext uri="{FF2B5EF4-FFF2-40B4-BE49-F238E27FC236}">
                    <a16:creationId xmlns:a16="http://schemas.microsoft.com/office/drawing/2014/main" id="{6FF76637-E745-4F82-B0B7-E94F47B645F7}"/>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25" name="圆角矩形 45">
                <a:extLst>
                  <a:ext uri="{FF2B5EF4-FFF2-40B4-BE49-F238E27FC236}">
                    <a16:creationId xmlns:a16="http://schemas.microsoft.com/office/drawing/2014/main" id="{4D73194C-5A8F-4D37-9268-1AAFC446004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Amhara</a:t>
                </a:r>
                <a:endParaRPr lang="en-US" altLang="zh-CN" sz="1050" b="1" kern="0" dirty="0"/>
              </a:p>
            </p:txBody>
          </p:sp>
          <p:sp>
            <p:nvSpPr>
              <p:cNvPr id="26" name="Text Box 16">
                <a:extLst>
                  <a:ext uri="{FF2B5EF4-FFF2-40B4-BE49-F238E27FC236}">
                    <a16:creationId xmlns:a16="http://schemas.microsoft.com/office/drawing/2014/main" id="{A891C8F9-C3A9-4458-B569-EC1333C52D01}"/>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3</a:t>
                </a:r>
              </a:p>
            </p:txBody>
          </p:sp>
        </p:grpSp>
        <p:sp>
          <p:nvSpPr>
            <p:cNvPr id="27" name="Oval 25">
              <a:extLst>
                <a:ext uri="{FF2B5EF4-FFF2-40B4-BE49-F238E27FC236}">
                  <a16:creationId xmlns:a16="http://schemas.microsoft.com/office/drawing/2014/main" id="{1EEF8CB0-238E-4B62-9CB5-151DDCBD984B}"/>
                </a:ext>
              </a:extLst>
            </p:cNvPr>
            <p:cNvSpPr>
              <a:spLocks noChangeArrowheads="1"/>
            </p:cNvSpPr>
            <p:nvPr/>
          </p:nvSpPr>
          <p:spPr bwMode="gray">
            <a:xfrm>
              <a:off x="4063949" y="230496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28" name="肘形连接符 69">
              <a:extLst>
                <a:ext uri="{FF2B5EF4-FFF2-40B4-BE49-F238E27FC236}">
                  <a16:creationId xmlns:a16="http://schemas.microsoft.com/office/drawing/2014/main" id="{1FB619FC-C6C0-4060-A3C7-0EF0D76463DD}"/>
                </a:ext>
              </a:extLst>
            </p:cNvPr>
            <p:cNvCxnSpPr>
              <a:cxnSpLocks/>
              <a:stCxn id="27" idx="2"/>
              <a:endCxn id="24" idx="3"/>
            </p:cNvCxnSpPr>
            <p:nvPr/>
          </p:nvCxnSpPr>
          <p:spPr>
            <a:xfrm rot="10800000">
              <a:off x="1947089" y="510221"/>
              <a:ext cx="2116861" cy="1843014"/>
            </a:xfrm>
            <a:prstGeom prst="bentConnector3">
              <a:avLst>
                <a:gd name="adj1" fmla="val 33527"/>
              </a:avLst>
            </a:prstGeom>
            <a:noFill/>
            <a:ln w="9525">
              <a:solidFill>
                <a:srgbClr val="C00000"/>
              </a:solidFill>
              <a:prstDash val="sysDash"/>
              <a:miter lim="800000"/>
              <a:headEnd/>
              <a:tailEnd/>
            </a:ln>
          </p:spPr>
        </p:cxnSp>
        <p:grpSp>
          <p:nvGrpSpPr>
            <p:cNvPr id="29" name="组合 70">
              <a:extLst>
                <a:ext uri="{FF2B5EF4-FFF2-40B4-BE49-F238E27FC236}">
                  <a16:creationId xmlns:a16="http://schemas.microsoft.com/office/drawing/2014/main" id="{938A93DD-6989-4B28-92C1-3685E1C0601E}"/>
                </a:ext>
              </a:extLst>
            </p:cNvPr>
            <p:cNvGrpSpPr/>
            <p:nvPr/>
          </p:nvGrpSpPr>
          <p:grpSpPr>
            <a:xfrm>
              <a:off x="7145440" y="3821093"/>
              <a:ext cx="1871590" cy="865124"/>
              <a:chOff x="416520" y="4774171"/>
              <a:chExt cx="2109658" cy="975169"/>
            </a:xfrm>
          </p:grpSpPr>
          <p:sp>
            <p:nvSpPr>
              <p:cNvPr id="30" name="圆角矩形 103">
                <a:extLst>
                  <a:ext uri="{FF2B5EF4-FFF2-40B4-BE49-F238E27FC236}">
                    <a16:creationId xmlns:a16="http://schemas.microsoft.com/office/drawing/2014/main" id="{B9D541A9-098D-4F75-B40C-171EFB245E53}"/>
                  </a:ext>
                </a:extLst>
              </p:cNvPr>
              <p:cNvSpPr/>
              <p:nvPr/>
            </p:nvSpPr>
            <p:spPr>
              <a:xfrm>
                <a:off x="416520" y="4964089"/>
                <a:ext cx="2109658" cy="78525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1" name="圆角矩形 45">
                <a:extLst>
                  <a:ext uri="{FF2B5EF4-FFF2-40B4-BE49-F238E27FC236}">
                    <a16:creationId xmlns:a16="http://schemas.microsoft.com/office/drawing/2014/main" id="{7CFAA479-ECD6-470B-A2E8-BD7CCC698FBE}"/>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omali</a:t>
                </a:r>
              </a:p>
            </p:txBody>
          </p:sp>
          <p:sp>
            <p:nvSpPr>
              <p:cNvPr id="32" name="Text Box 16">
                <a:extLst>
                  <a:ext uri="{FF2B5EF4-FFF2-40B4-BE49-F238E27FC236}">
                    <a16:creationId xmlns:a16="http://schemas.microsoft.com/office/drawing/2014/main" id="{F322A253-FF51-4587-A795-37FC25BDE30C}"/>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9</a:t>
                </a:r>
              </a:p>
            </p:txBody>
          </p:sp>
        </p:grpSp>
        <p:sp>
          <p:nvSpPr>
            <p:cNvPr id="33" name="Oval 25">
              <a:extLst>
                <a:ext uri="{FF2B5EF4-FFF2-40B4-BE49-F238E27FC236}">
                  <a16:creationId xmlns:a16="http://schemas.microsoft.com/office/drawing/2014/main" id="{75323E5C-5055-492D-B326-05BCB04B538F}"/>
                </a:ext>
              </a:extLst>
            </p:cNvPr>
            <p:cNvSpPr>
              <a:spLocks noChangeArrowheads="1"/>
            </p:cNvSpPr>
            <p:nvPr/>
          </p:nvSpPr>
          <p:spPr bwMode="gray">
            <a:xfrm>
              <a:off x="5606145" y="3365781"/>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34" name="肘形连接符 72">
              <a:extLst>
                <a:ext uri="{FF2B5EF4-FFF2-40B4-BE49-F238E27FC236}">
                  <a16:creationId xmlns:a16="http://schemas.microsoft.com/office/drawing/2014/main" id="{FB45BB5F-12D5-412C-9543-6173A9441769}"/>
                </a:ext>
              </a:extLst>
            </p:cNvPr>
            <p:cNvCxnSpPr>
              <a:cxnSpLocks/>
              <a:stCxn id="33" idx="6"/>
              <a:endCxn id="30" idx="1"/>
            </p:cNvCxnSpPr>
            <p:nvPr/>
          </p:nvCxnSpPr>
          <p:spPr>
            <a:xfrm>
              <a:off x="5702686" y="3414052"/>
              <a:ext cx="1442754" cy="923847"/>
            </a:xfrm>
            <a:prstGeom prst="bentConnector3">
              <a:avLst>
                <a:gd name="adj1" fmla="val 50000"/>
              </a:avLst>
            </a:prstGeom>
            <a:noFill/>
            <a:ln w="9525">
              <a:solidFill>
                <a:srgbClr val="C00000"/>
              </a:solidFill>
              <a:prstDash val="sysDash"/>
              <a:miter lim="800000"/>
              <a:headEnd/>
              <a:tailEnd/>
            </a:ln>
          </p:spPr>
        </p:cxnSp>
        <p:grpSp>
          <p:nvGrpSpPr>
            <p:cNvPr id="35" name="组合 82">
              <a:extLst>
                <a:ext uri="{FF2B5EF4-FFF2-40B4-BE49-F238E27FC236}">
                  <a16:creationId xmlns:a16="http://schemas.microsoft.com/office/drawing/2014/main" id="{2B9DBF8E-98F3-4AAF-AE6D-4CABAE4FB6E0}"/>
                </a:ext>
              </a:extLst>
            </p:cNvPr>
            <p:cNvGrpSpPr/>
            <p:nvPr/>
          </p:nvGrpSpPr>
          <p:grpSpPr>
            <a:xfrm>
              <a:off x="75498" y="3582943"/>
              <a:ext cx="1871590" cy="790251"/>
              <a:chOff x="416520" y="4774171"/>
              <a:chExt cx="2109658" cy="890772"/>
            </a:xfrm>
          </p:grpSpPr>
          <p:sp>
            <p:nvSpPr>
              <p:cNvPr id="36" name="圆角矩形 97">
                <a:extLst>
                  <a:ext uri="{FF2B5EF4-FFF2-40B4-BE49-F238E27FC236}">
                    <a16:creationId xmlns:a16="http://schemas.microsoft.com/office/drawing/2014/main" id="{234A2F52-783F-4160-93B4-CDE4CD679102}"/>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37" name="圆角矩形 45">
                <a:extLst>
                  <a:ext uri="{FF2B5EF4-FFF2-40B4-BE49-F238E27FC236}">
                    <a16:creationId xmlns:a16="http://schemas.microsoft.com/office/drawing/2014/main" id="{D4BC0CC7-5189-44F0-9815-C6290369331E}"/>
                  </a:ext>
                </a:extLst>
              </p:cNvPr>
              <p:cNvSpPr/>
              <p:nvPr/>
            </p:nvSpPr>
            <p:spPr>
              <a:xfrm>
                <a:off x="528442" y="4774171"/>
                <a:ext cx="1885814" cy="536888"/>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SNNPR</a:t>
                </a:r>
              </a:p>
            </p:txBody>
          </p:sp>
          <p:sp>
            <p:nvSpPr>
              <p:cNvPr id="38" name="Text Box 16">
                <a:extLst>
                  <a:ext uri="{FF2B5EF4-FFF2-40B4-BE49-F238E27FC236}">
                    <a16:creationId xmlns:a16="http://schemas.microsoft.com/office/drawing/2014/main" id="{6E9A6A41-1075-48B6-8869-A1A4A98035A4}"/>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27</a:t>
                </a:r>
              </a:p>
            </p:txBody>
          </p:sp>
        </p:grpSp>
        <p:sp>
          <p:nvSpPr>
            <p:cNvPr id="39" name="Oval 25">
              <a:extLst>
                <a:ext uri="{FF2B5EF4-FFF2-40B4-BE49-F238E27FC236}">
                  <a16:creationId xmlns:a16="http://schemas.microsoft.com/office/drawing/2014/main" id="{7C6F0CAF-6F92-483B-AF87-4CB18571CE66}"/>
                </a:ext>
              </a:extLst>
            </p:cNvPr>
            <p:cNvSpPr>
              <a:spLocks noChangeArrowheads="1"/>
            </p:cNvSpPr>
            <p:nvPr/>
          </p:nvSpPr>
          <p:spPr bwMode="gray">
            <a:xfrm>
              <a:off x="4138838" y="297602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40" name="肘形连接符 96">
              <a:extLst>
                <a:ext uri="{FF2B5EF4-FFF2-40B4-BE49-F238E27FC236}">
                  <a16:creationId xmlns:a16="http://schemas.microsoft.com/office/drawing/2014/main" id="{C98FD2D6-4C85-46F0-9545-E44C0594418E}"/>
                </a:ext>
              </a:extLst>
            </p:cNvPr>
            <p:cNvCxnSpPr>
              <a:cxnSpLocks/>
              <a:stCxn id="39" idx="6"/>
              <a:endCxn id="71" idx="1"/>
            </p:cNvCxnSpPr>
            <p:nvPr/>
          </p:nvCxnSpPr>
          <p:spPr>
            <a:xfrm>
              <a:off x="4235379" y="3024300"/>
              <a:ext cx="303203" cy="1700079"/>
            </a:xfrm>
            <a:prstGeom prst="bentConnector3">
              <a:avLst>
                <a:gd name="adj1" fmla="val 50000"/>
              </a:avLst>
            </a:prstGeom>
            <a:noFill/>
            <a:ln w="9525">
              <a:solidFill>
                <a:srgbClr val="C00000"/>
              </a:solidFill>
              <a:prstDash val="sysDash"/>
              <a:miter lim="800000"/>
              <a:headEnd/>
              <a:tailEnd/>
            </a:ln>
          </p:spPr>
        </p:cxnSp>
        <p:grpSp>
          <p:nvGrpSpPr>
            <p:cNvPr id="41" name="组合 70">
              <a:extLst>
                <a:ext uri="{FF2B5EF4-FFF2-40B4-BE49-F238E27FC236}">
                  <a16:creationId xmlns:a16="http://schemas.microsoft.com/office/drawing/2014/main" id="{4D3D895E-7491-48D6-8994-4271093A8454}"/>
                </a:ext>
              </a:extLst>
            </p:cNvPr>
            <p:cNvGrpSpPr/>
            <p:nvPr/>
          </p:nvGrpSpPr>
          <p:grpSpPr>
            <a:xfrm>
              <a:off x="7141017" y="1747949"/>
              <a:ext cx="1871590" cy="865124"/>
              <a:chOff x="416520" y="4774171"/>
              <a:chExt cx="2109658" cy="975169"/>
            </a:xfrm>
          </p:grpSpPr>
          <p:sp>
            <p:nvSpPr>
              <p:cNvPr id="42" name="圆角矩形 103">
                <a:extLst>
                  <a:ext uri="{FF2B5EF4-FFF2-40B4-BE49-F238E27FC236}">
                    <a16:creationId xmlns:a16="http://schemas.microsoft.com/office/drawing/2014/main" id="{5EE43F11-9F99-4A74-8979-B22B8150CD8C}"/>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43" name="圆角矩形 45">
                <a:extLst>
                  <a:ext uri="{FF2B5EF4-FFF2-40B4-BE49-F238E27FC236}">
                    <a16:creationId xmlns:a16="http://schemas.microsoft.com/office/drawing/2014/main" id="{EB56C34B-CE67-49B7-8237-A35262C14948}"/>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Dire </a:t>
                </a:r>
                <a:r>
                  <a:rPr lang="en-US" altLang="zh-CN" sz="1050" b="1" kern="0" dirty="0" err="1"/>
                  <a:t>Dawa</a:t>
                </a:r>
                <a:endParaRPr lang="en-US" altLang="zh-CN" sz="1050" b="1" kern="0" dirty="0"/>
              </a:p>
            </p:txBody>
          </p:sp>
          <p:sp>
            <p:nvSpPr>
              <p:cNvPr id="44" name="Text Box 16">
                <a:extLst>
                  <a:ext uri="{FF2B5EF4-FFF2-40B4-BE49-F238E27FC236}">
                    <a16:creationId xmlns:a16="http://schemas.microsoft.com/office/drawing/2014/main" id="{084C8F93-E005-43E3-BB08-E7C50990B26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0" name="组合 64">
              <a:extLst>
                <a:ext uri="{FF2B5EF4-FFF2-40B4-BE49-F238E27FC236}">
                  <a16:creationId xmlns:a16="http://schemas.microsoft.com/office/drawing/2014/main" id="{30EAE193-56AF-462A-8CCF-6DFC7FB909B6}"/>
                </a:ext>
              </a:extLst>
            </p:cNvPr>
            <p:cNvGrpSpPr/>
            <p:nvPr/>
          </p:nvGrpSpPr>
          <p:grpSpPr>
            <a:xfrm>
              <a:off x="67968" y="2698050"/>
              <a:ext cx="1871590" cy="790251"/>
              <a:chOff x="416520" y="4774171"/>
              <a:chExt cx="2109658" cy="890772"/>
            </a:xfrm>
          </p:grpSpPr>
          <p:sp>
            <p:nvSpPr>
              <p:cNvPr id="51" name="圆角矩形 111">
                <a:extLst>
                  <a:ext uri="{FF2B5EF4-FFF2-40B4-BE49-F238E27FC236}">
                    <a16:creationId xmlns:a16="http://schemas.microsoft.com/office/drawing/2014/main" id="{AE0E8456-5495-42E5-A73F-87624A45681C}"/>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2" name="圆角矩形 45">
                <a:extLst>
                  <a:ext uri="{FF2B5EF4-FFF2-40B4-BE49-F238E27FC236}">
                    <a16:creationId xmlns:a16="http://schemas.microsoft.com/office/drawing/2014/main" id="{05E25267-7FDA-4CF9-BA84-305BF31792E4}"/>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t>
                </a:r>
                <a:r>
                  <a:rPr lang="en-US" altLang="zh-CN" sz="1050" b="1" kern="0" dirty="0" err="1"/>
                  <a:t>Gambella</a:t>
                </a:r>
                <a:endParaRPr lang="en-US" altLang="zh-CN" sz="1050" b="1" kern="0" dirty="0"/>
              </a:p>
            </p:txBody>
          </p:sp>
          <p:sp>
            <p:nvSpPr>
              <p:cNvPr id="53" name="Text Box 16">
                <a:extLst>
                  <a:ext uri="{FF2B5EF4-FFF2-40B4-BE49-F238E27FC236}">
                    <a16:creationId xmlns:a16="http://schemas.microsoft.com/office/drawing/2014/main" id="{342572EC-14F0-4DB1-BFB4-95C228B02A25}"/>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grpSp>
          <p:nvGrpSpPr>
            <p:cNvPr id="54" name="组合 67">
              <a:extLst>
                <a:ext uri="{FF2B5EF4-FFF2-40B4-BE49-F238E27FC236}">
                  <a16:creationId xmlns:a16="http://schemas.microsoft.com/office/drawing/2014/main" id="{6E5B4320-4D97-4B9E-B5FA-B6D0A9D0106E}"/>
                </a:ext>
              </a:extLst>
            </p:cNvPr>
            <p:cNvGrpSpPr/>
            <p:nvPr/>
          </p:nvGrpSpPr>
          <p:grpSpPr>
            <a:xfrm>
              <a:off x="75498" y="893742"/>
              <a:ext cx="1871590" cy="790251"/>
              <a:chOff x="416520" y="4774171"/>
              <a:chExt cx="2109658" cy="890772"/>
            </a:xfrm>
          </p:grpSpPr>
          <p:sp>
            <p:nvSpPr>
              <p:cNvPr id="55" name="圆角矩形 108">
                <a:extLst>
                  <a:ext uri="{FF2B5EF4-FFF2-40B4-BE49-F238E27FC236}">
                    <a16:creationId xmlns:a16="http://schemas.microsoft.com/office/drawing/2014/main" id="{98764514-5B68-4668-86C8-4D9597BDC9E5}"/>
                  </a:ext>
                </a:extLst>
              </p:cNvPr>
              <p:cNvSpPr/>
              <p:nvPr/>
            </p:nvSpPr>
            <p:spPr>
              <a:xfrm>
                <a:off x="416520" y="4964089"/>
                <a:ext cx="2109658" cy="693941"/>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56" name="圆角矩形 45">
                <a:extLst>
                  <a:ext uri="{FF2B5EF4-FFF2-40B4-BE49-F238E27FC236}">
                    <a16:creationId xmlns:a16="http://schemas.microsoft.com/office/drawing/2014/main" id="{32A417A9-B914-463B-A5F7-EEF561C48D79}"/>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a:r>
                  <a:rPr lang="en-US" altLang="zh-CN" sz="1050" b="1" kern="0" dirty="0" err="1"/>
                  <a:t>Benishangu</a:t>
                </a:r>
                <a:endParaRPr lang="en-US" altLang="zh-CN" sz="1050" b="1" kern="0" dirty="0"/>
              </a:p>
            </p:txBody>
          </p:sp>
          <p:sp>
            <p:nvSpPr>
              <p:cNvPr id="57" name="Text Box 16">
                <a:extLst>
                  <a:ext uri="{FF2B5EF4-FFF2-40B4-BE49-F238E27FC236}">
                    <a16:creationId xmlns:a16="http://schemas.microsoft.com/office/drawing/2014/main" id="{7985AD28-3535-497A-8C16-20C20A7AD2CD}"/>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cxnSp>
          <p:nvCxnSpPr>
            <p:cNvPr id="58" name="肘形连接符 69">
              <a:extLst>
                <a:ext uri="{FF2B5EF4-FFF2-40B4-BE49-F238E27FC236}">
                  <a16:creationId xmlns:a16="http://schemas.microsoft.com/office/drawing/2014/main" id="{88825988-ACC8-4991-8349-89F7708F0544}"/>
                </a:ext>
              </a:extLst>
            </p:cNvPr>
            <p:cNvCxnSpPr>
              <a:cxnSpLocks/>
              <a:stCxn id="62" idx="2"/>
              <a:endCxn id="55" idx="3"/>
            </p:cNvCxnSpPr>
            <p:nvPr/>
          </p:nvCxnSpPr>
          <p:spPr>
            <a:xfrm rot="10800000">
              <a:off x="1947088" y="1370044"/>
              <a:ext cx="1410756" cy="1145591"/>
            </a:xfrm>
            <a:prstGeom prst="bentConnector3">
              <a:avLst>
                <a:gd name="adj1" fmla="val 35169"/>
              </a:avLst>
            </a:prstGeom>
            <a:noFill/>
            <a:ln w="9525">
              <a:solidFill>
                <a:srgbClr val="C00000"/>
              </a:solidFill>
              <a:prstDash val="sysDash"/>
              <a:miter lim="800000"/>
              <a:headEnd/>
              <a:tailEnd/>
            </a:ln>
          </p:spPr>
        </p:cxnSp>
        <p:sp>
          <p:nvSpPr>
            <p:cNvPr id="62" name="Oval 25">
              <a:extLst>
                <a:ext uri="{FF2B5EF4-FFF2-40B4-BE49-F238E27FC236}">
                  <a16:creationId xmlns:a16="http://schemas.microsoft.com/office/drawing/2014/main" id="{C9E1F3BA-5535-4734-A4DA-9EC7D7F665FE}"/>
                </a:ext>
              </a:extLst>
            </p:cNvPr>
            <p:cNvSpPr>
              <a:spLocks noChangeArrowheads="1"/>
            </p:cNvSpPr>
            <p:nvPr/>
          </p:nvSpPr>
          <p:spPr bwMode="gray">
            <a:xfrm>
              <a:off x="3357844" y="24673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64" name="肘形连接符 69">
              <a:extLst>
                <a:ext uri="{FF2B5EF4-FFF2-40B4-BE49-F238E27FC236}">
                  <a16:creationId xmlns:a16="http://schemas.microsoft.com/office/drawing/2014/main" id="{5F881C9B-6FD7-4D13-939C-7381F613CA59}"/>
                </a:ext>
              </a:extLst>
            </p:cNvPr>
            <p:cNvCxnSpPr>
              <a:cxnSpLocks/>
              <a:stCxn id="65" idx="2"/>
              <a:endCxn id="51" idx="3"/>
            </p:cNvCxnSpPr>
            <p:nvPr/>
          </p:nvCxnSpPr>
          <p:spPr>
            <a:xfrm rot="10800000">
              <a:off x="1939558" y="3174350"/>
              <a:ext cx="1086134" cy="155630"/>
            </a:xfrm>
            <a:prstGeom prst="bentConnector3">
              <a:avLst>
                <a:gd name="adj1" fmla="val 50000"/>
              </a:avLst>
            </a:prstGeom>
            <a:noFill/>
            <a:ln w="9525">
              <a:solidFill>
                <a:srgbClr val="C00000"/>
              </a:solidFill>
              <a:prstDash val="sysDash"/>
              <a:miter lim="800000"/>
              <a:headEnd/>
              <a:tailEnd/>
            </a:ln>
          </p:spPr>
        </p:cxnSp>
        <p:sp>
          <p:nvSpPr>
            <p:cNvPr id="65" name="Oval 25">
              <a:extLst>
                <a:ext uri="{FF2B5EF4-FFF2-40B4-BE49-F238E27FC236}">
                  <a16:creationId xmlns:a16="http://schemas.microsoft.com/office/drawing/2014/main" id="{65B295EA-49F4-4C44-8071-5438CBC7096F}"/>
                </a:ext>
              </a:extLst>
            </p:cNvPr>
            <p:cNvSpPr>
              <a:spLocks noChangeArrowheads="1"/>
            </p:cNvSpPr>
            <p:nvPr/>
          </p:nvSpPr>
          <p:spPr bwMode="gray">
            <a:xfrm>
              <a:off x="3025692" y="328170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grpSp>
          <p:nvGrpSpPr>
            <p:cNvPr id="70" name="组合 64">
              <a:extLst>
                <a:ext uri="{FF2B5EF4-FFF2-40B4-BE49-F238E27FC236}">
                  <a16:creationId xmlns:a16="http://schemas.microsoft.com/office/drawing/2014/main" id="{7AAE5CD7-74BF-48C2-BC1F-1EFAF4E64F85}"/>
                </a:ext>
              </a:extLst>
            </p:cNvPr>
            <p:cNvGrpSpPr/>
            <p:nvPr/>
          </p:nvGrpSpPr>
          <p:grpSpPr>
            <a:xfrm>
              <a:off x="4538582" y="4248080"/>
              <a:ext cx="1871590" cy="1016860"/>
              <a:chOff x="416520" y="4774171"/>
              <a:chExt cx="2109658" cy="1146206"/>
            </a:xfrm>
          </p:grpSpPr>
          <p:sp>
            <p:nvSpPr>
              <p:cNvPr id="71" name="圆角矩形 111">
                <a:extLst>
                  <a:ext uri="{FF2B5EF4-FFF2-40B4-BE49-F238E27FC236}">
                    <a16:creationId xmlns:a16="http://schemas.microsoft.com/office/drawing/2014/main" id="{1F4174F9-786F-4A50-8E2F-6EA8D21B048D}"/>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72" name="圆角矩形 45">
                <a:extLst>
                  <a:ext uri="{FF2B5EF4-FFF2-40B4-BE49-F238E27FC236}">
                    <a16:creationId xmlns:a16="http://schemas.microsoft.com/office/drawing/2014/main" id="{CE30310A-DF3F-4809-B212-ABFDB74F27E8}"/>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ddis </a:t>
                </a:r>
                <a:r>
                  <a:rPr lang="en-US" altLang="zh-CN" sz="1050" b="1" kern="0" dirty="0" err="1"/>
                  <a:t>Addiba</a:t>
                </a:r>
                <a:endParaRPr lang="en-US" altLang="zh-CN" sz="1050" b="1" kern="0" dirty="0"/>
              </a:p>
            </p:txBody>
          </p:sp>
          <p:sp>
            <p:nvSpPr>
              <p:cNvPr id="73" name="Text Box 16">
                <a:extLst>
                  <a:ext uri="{FF2B5EF4-FFF2-40B4-BE49-F238E27FC236}">
                    <a16:creationId xmlns:a16="http://schemas.microsoft.com/office/drawing/2014/main" id="{B1C3C83E-21F1-4F0F-935D-DD830F78ABCE}"/>
                  </a:ext>
                </a:extLst>
              </p:cNvPr>
              <p:cNvSpPr txBox="1">
                <a:spLocks noChangeArrowheads="1"/>
              </p:cNvSpPr>
              <p:nvPr/>
            </p:nvSpPr>
            <p:spPr bwMode="auto">
              <a:xfrm>
                <a:off x="481277" y="5301818"/>
                <a:ext cx="1978394" cy="618559"/>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a:p>
                <a:pPr marL="117475" indent="-117475">
                  <a:lnSpc>
                    <a:spcPct val="114000"/>
                  </a:lnSpc>
                  <a:buClr>
                    <a:schemeClr val="bg1">
                      <a:lumMod val="50000"/>
                    </a:schemeClr>
                  </a:buClr>
                  <a:buSzPct val="50000"/>
                  <a:buFont typeface="Wingdings" pitchFamily="2" charset="2"/>
                  <a:buChar char="l"/>
                </a:pPr>
                <a:endParaRPr lang="en-US" altLang="zh-CN" sz="1050" dirty="0">
                  <a:latin typeface="Calibri" pitchFamily="34" charset="0"/>
                  <a:cs typeface="Calibri" pitchFamily="34" charset="0"/>
                </a:endParaRPr>
              </a:p>
            </p:txBody>
          </p:sp>
        </p:grpSp>
        <p:sp>
          <p:nvSpPr>
            <p:cNvPr id="76" name="Oval 25">
              <a:extLst>
                <a:ext uri="{FF2B5EF4-FFF2-40B4-BE49-F238E27FC236}">
                  <a16:creationId xmlns:a16="http://schemas.microsoft.com/office/drawing/2014/main" id="{BFCCB5BA-6392-496A-91F0-5C152B2CE5A9}"/>
                </a:ext>
              </a:extLst>
            </p:cNvPr>
            <p:cNvSpPr>
              <a:spLocks noChangeArrowheads="1"/>
            </p:cNvSpPr>
            <p:nvPr/>
          </p:nvSpPr>
          <p:spPr bwMode="gray">
            <a:xfrm>
              <a:off x="3542017" y="363233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77" name="肘形连接符 96">
              <a:extLst>
                <a:ext uri="{FF2B5EF4-FFF2-40B4-BE49-F238E27FC236}">
                  <a16:creationId xmlns:a16="http://schemas.microsoft.com/office/drawing/2014/main" id="{D06EE75B-4DD9-44C4-ABC9-4E22A0FDB5A5}"/>
                </a:ext>
              </a:extLst>
            </p:cNvPr>
            <p:cNvCxnSpPr>
              <a:cxnSpLocks/>
              <a:stCxn id="76" idx="4"/>
              <a:endCxn id="36" idx="3"/>
            </p:cNvCxnSpPr>
            <p:nvPr/>
          </p:nvCxnSpPr>
          <p:spPr>
            <a:xfrm rot="5400000">
              <a:off x="2603503" y="3072459"/>
              <a:ext cx="330370" cy="1643200"/>
            </a:xfrm>
            <a:prstGeom prst="bentConnector2">
              <a:avLst/>
            </a:prstGeom>
            <a:noFill/>
            <a:ln w="9525">
              <a:solidFill>
                <a:srgbClr val="C00000"/>
              </a:solidFill>
              <a:prstDash val="sysDash"/>
              <a:miter lim="800000"/>
              <a:headEnd/>
              <a:tailEnd/>
            </a:ln>
          </p:spPr>
        </p:cxnSp>
        <p:grpSp>
          <p:nvGrpSpPr>
            <p:cNvPr id="81" name="组合 64">
              <a:extLst>
                <a:ext uri="{FF2B5EF4-FFF2-40B4-BE49-F238E27FC236}">
                  <a16:creationId xmlns:a16="http://schemas.microsoft.com/office/drawing/2014/main" id="{6A036EA2-C096-476F-9783-983486308285}"/>
                </a:ext>
              </a:extLst>
            </p:cNvPr>
            <p:cNvGrpSpPr/>
            <p:nvPr/>
          </p:nvGrpSpPr>
          <p:grpSpPr>
            <a:xfrm>
              <a:off x="3626905" y="32224"/>
              <a:ext cx="1871590" cy="790251"/>
              <a:chOff x="416520" y="4774171"/>
              <a:chExt cx="2109658" cy="890772"/>
            </a:xfrm>
          </p:grpSpPr>
          <p:sp>
            <p:nvSpPr>
              <p:cNvPr id="82" name="圆角矩形 111">
                <a:extLst>
                  <a:ext uri="{FF2B5EF4-FFF2-40B4-BE49-F238E27FC236}">
                    <a16:creationId xmlns:a16="http://schemas.microsoft.com/office/drawing/2014/main" id="{1CD3CF8F-D4D5-43C1-8237-91BA11C77FEF}"/>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83" name="圆角矩形 45">
                <a:extLst>
                  <a:ext uri="{FF2B5EF4-FFF2-40B4-BE49-F238E27FC236}">
                    <a16:creationId xmlns:a16="http://schemas.microsoft.com/office/drawing/2014/main" id="{79010BF9-A98E-4CC0-ABA2-AB72BFFB0725}"/>
                  </a:ext>
                </a:extLst>
              </p:cNvPr>
              <p:cNvSpPr/>
              <p:nvPr/>
            </p:nvSpPr>
            <p:spPr>
              <a:xfrm>
                <a:off x="680339" y="4774171"/>
                <a:ext cx="1582020" cy="422783"/>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Tigray</a:t>
                </a:r>
              </a:p>
            </p:txBody>
          </p:sp>
          <p:sp>
            <p:nvSpPr>
              <p:cNvPr id="84" name="Text Box 16">
                <a:extLst>
                  <a:ext uri="{FF2B5EF4-FFF2-40B4-BE49-F238E27FC236}">
                    <a16:creationId xmlns:a16="http://schemas.microsoft.com/office/drawing/2014/main" id="{25538059-5F82-4D24-B589-CE0C0C75BC23}"/>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9</a:t>
                </a:r>
              </a:p>
            </p:txBody>
          </p:sp>
        </p:grpSp>
        <p:sp>
          <p:nvSpPr>
            <p:cNvPr id="86" name="Oval 25">
              <a:extLst>
                <a:ext uri="{FF2B5EF4-FFF2-40B4-BE49-F238E27FC236}">
                  <a16:creationId xmlns:a16="http://schemas.microsoft.com/office/drawing/2014/main" id="{758276CD-4187-49F8-BB54-873A50CD169A}"/>
                </a:ext>
              </a:extLst>
            </p:cNvPr>
            <p:cNvSpPr>
              <a:spLocks noChangeArrowheads="1"/>
            </p:cNvSpPr>
            <p:nvPr/>
          </p:nvSpPr>
          <p:spPr bwMode="gray">
            <a:xfrm>
              <a:off x="3971983" y="169127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87" name="肘形连接符 69">
              <a:extLst>
                <a:ext uri="{FF2B5EF4-FFF2-40B4-BE49-F238E27FC236}">
                  <a16:creationId xmlns:a16="http://schemas.microsoft.com/office/drawing/2014/main" id="{6FFFA2DD-BE46-489F-81DF-CD6E07B4839A}"/>
                </a:ext>
              </a:extLst>
            </p:cNvPr>
            <p:cNvCxnSpPr>
              <a:cxnSpLocks/>
              <a:stCxn id="86" idx="6"/>
              <a:endCxn id="84" idx="2"/>
            </p:cNvCxnSpPr>
            <p:nvPr/>
          </p:nvCxnSpPr>
          <p:spPr>
            <a:xfrm flipV="1">
              <a:off x="4068524" y="822475"/>
              <a:ext cx="493400" cy="917069"/>
            </a:xfrm>
            <a:prstGeom prst="bentConnector2">
              <a:avLst/>
            </a:prstGeom>
            <a:noFill/>
            <a:ln w="9525">
              <a:solidFill>
                <a:srgbClr val="C00000"/>
              </a:solidFill>
              <a:prstDash val="sysDash"/>
              <a:miter lim="800000"/>
              <a:headEnd/>
              <a:tailEnd/>
            </a:ln>
          </p:spPr>
        </p:cxnSp>
        <p:grpSp>
          <p:nvGrpSpPr>
            <p:cNvPr id="90" name="组合 64">
              <a:extLst>
                <a:ext uri="{FF2B5EF4-FFF2-40B4-BE49-F238E27FC236}">
                  <a16:creationId xmlns:a16="http://schemas.microsoft.com/office/drawing/2014/main" id="{036F07BE-20D8-4A55-BE68-2F3D5E331899}"/>
                </a:ext>
              </a:extLst>
            </p:cNvPr>
            <p:cNvGrpSpPr/>
            <p:nvPr/>
          </p:nvGrpSpPr>
          <p:grpSpPr>
            <a:xfrm>
              <a:off x="5623609" y="37096"/>
              <a:ext cx="1871590" cy="790251"/>
              <a:chOff x="416520" y="4774171"/>
              <a:chExt cx="2109658" cy="890772"/>
            </a:xfrm>
          </p:grpSpPr>
          <p:sp>
            <p:nvSpPr>
              <p:cNvPr id="91" name="圆角矩形 111">
                <a:extLst>
                  <a:ext uri="{FF2B5EF4-FFF2-40B4-BE49-F238E27FC236}">
                    <a16:creationId xmlns:a16="http://schemas.microsoft.com/office/drawing/2014/main" id="{FA4A57B1-9C83-4FB5-9CC6-8C92BDCE1318}"/>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92" name="圆角矩形 45">
                <a:extLst>
                  <a:ext uri="{FF2B5EF4-FFF2-40B4-BE49-F238E27FC236}">
                    <a16:creationId xmlns:a16="http://schemas.microsoft.com/office/drawing/2014/main" id="{3544F7C3-1725-472C-A916-C6D97A77FBF9}"/>
                  </a:ext>
                </a:extLst>
              </p:cNvPr>
              <p:cNvSpPr/>
              <p:nvPr/>
            </p:nvSpPr>
            <p:spPr>
              <a:xfrm>
                <a:off x="680339" y="4774171"/>
                <a:ext cx="1582020" cy="422783"/>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 Afar</a:t>
                </a:r>
              </a:p>
            </p:txBody>
          </p:sp>
          <p:sp>
            <p:nvSpPr>
              <p:cNvPr id="93" name="Text Box 16">
                <a:extLst>
                  <a:ext uri="{FF2B5EF4-FFF2-40B4-BE49-F238E27FC236}">
                    <a16:creationId xmlns:a16="http://schemas.microsoft.com/office/drawing/2014/main" id="{61A779D1-8C11-443F-849F-65D265531182}"/>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1</a:t>
                </a:r>
              </a:p>
            </p:txBody>
          </p:sp>
        </p:grpSp>
        <p:sp>
          <p:nvSpPr>
            <p:cNvPr id="94" name="Oval 25">
              <a:extLst>
                <a:ext uri="{FF2B5EF4-FFF2-40B4-BE49-F238E27FC236}">
                  <a16:creationId xmlns:a16="http://schemas.microsoft.com/office/drawing/2014/main" id="{18C7578B-17FD-4219-9A8D-0CAA210EA09F}"/>
                </a:ext>
              </a:extLst>
            </p:cNvPr>
            <p:cNvSpPr>
              <a:spLocks noChangeArrowheads="1"/>
            </p:cNvSpPr>
            <p:nvPr/>
          </p:nvSpPr>
          <p:spPr bwMode="gray">
            <a:xfrm>
              <a:off x="4661272" y="2023663"/>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5" name="肘形连接符 69">
              <a:extLst>
                <a:ext uri="{FF2B5EF4-FFF2-40B4-BE49-F238E27FC236}">
                  <a16:creationId xmlns:a16="http://schemas.microsoft.com/office/drawing/2014/main" id="{F5C45099-0DCB-44B9-9EA2-7A12542EF273}"/>
                </a:ext>
              </a:extLst>
            </p:cNvPr>
            <p:cNvCxnSpPr>
              <a:cxnSpLocks/>
              <a:stCxn id="94" idx="6"/>
              <a:endCxn id="93" idx="2"/>
            </p:cNvCxnSpPr>
            <p:nvPr/>
          </p:nvCxnSpPr>
          <p:spPr>
            <a:xfrm flipV="1">
              <a:off x="4757813" y="827346"/>
              <a:ext cx="1800816" cy="1244587"/>
            </a:xfrm>
            <a:prstGeom prst="bentConnector2">
              <a:avLst/>
            </a:prstGeom>
            <a:noFill/>
            <a:ln w="9525">
              <a:solidFill>
                <a:srgbClr val="C00000"/>
              </a:solidFill>
              <a:prstDash val="sysDash"/>
              <a:miter lim="800000"/>
              <a:headEnd/>
              <a:tailEnd/>
            </a:ln>
          </p:spPr>
        </p:cxnSp>
        <p:sp>
          <p:nvSpPr>
            <p:cNvPr id="98" name="Oval 25">
              <a:extLst>
                <a:ext uri="{FF2B5EF4-FFF2-40B4-BE49-F238E27FC236}">
                  <a16:creationId xmlns:a16="http://schemas.microsoft.com/office/drawing/2014/main" id="{51F9F5A8-F636-4FAF-8D88-B591F1714C09}"/>
                </a:ext>
              </a:extLst>
            </p:cNvPr>
            <p:cNvSpPr>
              <a:spLocks noChangeArrowheads="1"/>
            </p:cNvSpPr>
            <p:nvPr/>
          </p:nvSpPr>
          <p:spPr bwMode="gray">
            <a:xfrm>
              <a:off x="4921183" y="2755949"/>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99" name="肘形连接符 72">
              <a:extLst>
                <a:ext uri="{FF2B5EF4-FFF2-40B4-BE49-F238E27FC236}">
                  <a16:creationId xmlns:a16="http://schemas.microsoft.com/office/drawing/2014/main" id="{3662F052-CE6C-4A1B-9ACA-0E97C79AE060}"/>
                </a:ext>
              </a:extLst>
            </p:cNvPr>
            <p:cNvCxnSpPr>
              <a:cxnSpLocks/>
              <a:stCxn id="98" idx="0"/>
              <a:endCxn id="42" idx="1"/>
            </p:cNvCxnSpPr>
            <p:nvPr/>
          </p:nvCxnSpPr>
          <p:spPr>
            <a:xfrm rot="5400000" flipH="1" flipV="1">
              <a:off x="5809638" y="1424571"/>
              <a:ext cx="491194" cy="2171563"/>
            </a:xfrm>
            <a:prstGeom prst="bentConnector2">
              <a:avLst/>
            </a:prstGeom>
            <a:noFill/>
            <a:ln w="9525">
              <a:solidFill>
                <a:srgbClr val="C00000"/>
              </a:solidFill>
              <a:prstDash val="sysDash"/>
              <a:miter lim="800000"/>
              <a:headEnd/>
              <a:tailEnd/>
            </a:ln>
          </p:spPr>
        </p:cxnSp>
        <p:grpSp>
          <p:nvGrpSpPr>
            <p:cNvPr id="109" name="组合 70">
              <a:extLst>
                <a:ext uri="{FF2B5EF4-FFF2-40B4-BE49-F238E27FC236}">
                  <a16:creationId xmlns:a16="http://schemas.microsoft.com/office/drawing/2014/main" id="{9BA3ADDF-1C83-4B24-BCE1-A35EFEF8180F}"/>
                </a:ext>
              </a:extLst>
            </p:cNvPr>
            <p:cNvGrpSpPr/>
            <p:nvPr/>
          </p:nvGrpSpPr>
          <p:grpSpPr>
            <a:xfrm>
              <a:off x="7082014" y="2741788"/>
              <a:ext cx="1871590" cy="865124"/>
              <a:chOff x="416520" y="4774171"/>
              <a:chExt cx="2109658" cy="975169"/>
            </a:xfrm>
          </p:grpSpPr>
          <p:sp>
            <p:nvSpPr>
              <p:cNvPr id="110" name="圆角矩形 103">
                <a:extLst>
                  <a:ext uri="{FF2B5EF4-FFF2-40B4-BE49-F238E27FC236}">
                    <a16:creationId xmlns:a16="http://schemas.microsoft.com/office/drawing/2014/main" id="{16F02A84-C5AC-4394-ADC1-72AB539664C1}"/>
                  </a:ext>
                </a:extLst>
              </p:cNvPr>
              <p:cNvSpPr/>
              <p:nvPr/>
            </p:nvSpPr>
            <p:spPr>
              <a:xfrm>
                <a:off x="416520" y="4964090"/>
                <a:ext cx="2109658" cy="785250"/>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11" name="圆角矩形 45">
                <a:extLst>
                  <a:ext uri="{FF2B5EF4-FFF2-40B4-BE49-F238E27FC236}">
                    <a16:creationId xmlns:a16="http://schemas.microsoft.com/office/drawing/2014/main" id="{8464793F-819C-4AD2-BBC9-F202C8C25623}"/>
                  </a:ext>
                </a:extLst>
              </p:cNvPr>
              <p:cNvSpPr/>
              <p:nvPr/>
            </p:nvSpPr>
            <p:spPr>
              <a:xfrm>
                <a:off x="680339" y="4774171"/>
                <a:ext cx="1582020" cy="422783"/>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a:t>Harari</a:t>
                </a:r>
              </a:p>
            </p:txBody>
          </p:sp>
          <p:sp>
            <p:nvSpPr>
              <p:cNvPr id="112" name="Text Box 16">
                <a:extLst>
                  <a:ext uri="{FF2B5EF4-FFF2-40B4-BE49-F238E27FC236}">
                    <a16:creationId xmlns:a16="http://schemas.microsoft.com/office/drawing/2014/main" id="{5E4B41EB-05BA-4F44-9652-B86EAB45E2A9}"/>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0</a:t>
                </a:r>
              </a:p>
            </p:txBody>
          </p:sp>
        </p:grpSp>
        <p:sp>
          <p:nvSpPr>
            <p:cNvPr id="114" name="Oval 25">
              <a:extLst>
                <a:ext uri="{FF2B5EF4-FFF2-40B4-BE49-F238E27FC236}">
                  <a16:creationId xmlns:a16="http://schemas.microsoft.com/office/drawing/2014/main" id="{C2B008C3-D01D-4897-9901-A7836F64BA4B}"/>
                </a:ext>
              </a:extLst>
            </p:cNvPr>
            <p:cNvSpPr>
              <a:spLocks noChangeArrowheads="1"/>
            </p:cNvSpPr>
            <p:nvPr/>
          </p:nvSpPr>
          <p:spPr bwMode="gray">
            <a:xfrm>
              <a:off x="4997124" y="2866157"/>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15" name="肘形连接符 72">
              <a:extLst>
                <a:ext uri="{FF2B5EF4-FFF2-40B4-BE49-F238E27FC236}">
                  <a16:creationId xmlns:a16="http://schemas.microsoft.com/office/drawing/2014/main" id="{636E5E82-117A-40E4-BFC5-E0DD940D4473}"/>
                </a:ext>
              </a:extLst>
            </p:cNvPr>
            <p:cNvCxnSpPr>
              <a:cxnSpLocks/>
              <a:stCxn id="114" idx="6"/>
              <a:endCxn id="110" idx="1"/>
            </p:cNvCxnSpPr>
            <p:nvPr/>
          </p:nvCxnSpPr>
          <p:spPr>
            <a:xfrm>
              <a:off x="5093665" y="2914428"/>
              <a:ext cx="1988349" cy="344166"/>
            </a:xfrm>
            <a:prstGeom prst="bentConnector3">
              <a:avLst>
                <a:gd name="adj1" fmla="val 50000"/>
              </a:avLst>
            </a:prstGeom>
            <a:noFill/>
            <a:ln w="9525">
              <a:solidFill>
                <a:srgbClr val="C00000"/>
              </a:solidFill>
              <a:prstDash val="sysDash"/>
              <a:miter lim="800000"/>
              <a:headEnd/>
              <a:tailEnd/>
            </a:ln>
          </p:spPr>
        </p:cxnSp>
        <p:sp>
          <p:nvSpPr>
            <p:cNvPr id="123" name="Oval 25">
              <a:extLst>
                <a:ext uri="{FF2B5EF4-FFF2-40B4-BE49-F238E27FC236}">
                  <a16:creationId xmlns:a16="http://schemas.microsoft.com/office/drawing/2014/main" id="{E93DC02B-9D58-4888-B231-B7EBC787BFDC}"/>
                </a:ext>
              </a:extLst>
            </p:cNvPr>
            <p:cNvSpPr>
              <a:spLocks noChangeArrowheads="1"/>
            </p:cNvSpPr>
            <p:nvPr/>
          </p:nvSpPr>
          <p:spPr bwMode="gray">
            <a:xfrm>
              <a:off x="4149722" y="3550384"/>
              <a:ext cx="96541" cy="96541"/>
            </a:xfrm>
            <a:prstGeom prst="ellipse">
              <a:avLst/>
            </a:prstGeom>
            <a:solidFill>
              <a:schemeClr val="accent2"/>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050" kern="0" dirty="0">
                <a:solidFill>
                  <a:sysClr val="windowText" lastClr="000000"/>
                </a:solidFill>
                <a:latin typeface="Calibri" pitchFamily="34" charset="0"/>
              </a:endParaRPr>
            </a:p>
          </p:txBody>
        </p:sp>
        <p:cxnSp>
          <p:nvCxnSpPr>
            <p:cNvPr id="124" name="肘形连接符 96">
              <a:extLst>
                <a:ext uri="{FF2B5EF4-FFF2-40B4-BE49-F238E27FC236}">
                  <a16:creationId xmlns:a16="http://schemas.microsoft.com/office/drawing/2014/main" id="{72540446-FF33-4D44-A6A4-009F944EC95D}"/>
                </a:ext>
              </a:extLst>
            </p:cNvPr>
            <p:cNvCxnSpPr>
              <a:cxnSpLocks/>
              <a:stCxn id="123" idx="4"/>
              <a:endCxn id="126" idx="3"/>
            </p:cNvCxnSpPr>
            <p:nvPr/>
          </p:nvCxnSpPr>
          <p:spPr>
            <a:xfrm rot="5400000">
              <a:off x="3632788" y="4143122"/>
              <a:ext cx="1061402" cy="69009"/>
            </a:xfrm>
            <a:prstGeom prst="bentConnector2">
              <a:avLst/>
            </a:prstGeom>
            <a:noFill/>
            <a:ln w="9525">
              <a:solidFill>
                <a:srgbClr val="C00000"/>
              </a:solidFill>
              <a:prstDash val="sysDash"/>
              <a:miter lim="800000"/>
              <a:headEnd/>
              <a:tailEnd/>
            </a:ln>
          </p:spPr>
        </p:cxnSp>
        <p:grpSp>
          <p:nvGrpSpPr>
            <p:cNvPr id="125" name="组合 64">
              <a:extLst>
                <a:ext uri="{FF2B5EF4-FFF2-40B4-BE49-F238E27FC236}">
                  <a16:creationId xmlns:a16="http://schemas.microsoft.com/office/drawing/2014/main" id="{13FFB77C-2D13-4FF9-891F-3E5EBC054773}"/>
                </a:ext>
              </a:extLst>
            </p:cNvPr>
            <p:cNvGrpSpPr/>
            <p:nvPr/>
          </p:nvGrpSpPr>
          <p:grpSpPr>
            <a:xfrm>
              <a:off x="2257394" y="4232027"/>
              <a:ext cx="1871590" cy="790251"/>
              <a:chOff x="416520" y="4774171"/>
              <a:chExt cx="2109658" cy="890772"/>
            </a:xfrm>
          </p:grpSpPr>
          <p:sp>
            <p:nvSpPr>
              <p:cNvPr id="126" name="圆角矩形 111">
                <a:extLst>
                  <a:ext uri="{FF2B5EF4-FFF2-40B4-BE49-F238E27FC236}">
                    <a16:creationId xmlns:a16="http://schemas.microsoft.com/office/drawing/2014/main" id="{38FFAE92-199A-45E9-9C4F-ED3E34D38205}"/>
                  </a:ext>
                </a:extLst>
              </p:cNvPr>
              <p:cNvSpPr/>
              <p:nvPr/>
            </p:nvSpPr>
            <p:spPr>
              <a:xfrm>
                <a:off x="416520" y="4964087"/>
                <a:ext cx="2109658" cy="693942"/>
              </a:xfrm>
              <a:prstGeom prst="roundRect">
                <a:avLst>
                  <a:gd name="adj" fmla="val 11361"/>
                </a:avLst>
              </a:prstGeom>
              <a:noFill/>
              <a:ln w="9525">
                <a:solidFill>
                  <a:schemeClr val="bg1">
                    <a:lumMod val="65000"/>
                  </a:schemeClr>
                </a:solidFill>
                <a:prstDash val="sysDash"/>
                <a:miter lim="800000"/>
                <a:headEnd/>
                <a:tailEnd/>
              </a:ln>
            </p:spPr>
            <p:txBody>
              <a:bodyPr wrap="none" lIns="91405" tIns="45703" rIns="91405" bIns="45703" anchor="ctr"/>
              <a:lstStyle/>
              <a:p>
                <a:pPr defTabSz="913706">
                  <a:defRPr/>
                </a:pPr>
                <a:r>
                  <a:rPr lang="en-US" altLang="zh-CN" sz="1050" kern="0" dirty="0">
                    <a:solidFill>
                      <a:sysClr val="windowText" lastClr="000000"/>
                    </a:solidFill>
                    <a:latin typeface="Calibri" pitchFamily="34" charset="0"/>
                    <a:ea typeface="微软雅黑" pitchFamily="34" charset="-122"/>
                    <a:cs typeface="Calibri" pitchFamily="34" charset="0"/>
                  </a:rPr>
                  <a:t>          </a:t>
                </a:r>
                <a:endParaRPr lang="zh-CN" altLang="en-US" sz="1050" kern="0" dirty="0">
                  <a:solidFill>
                    <a:sysClr val="windowText" lastClr="000000"/>
                  </a:solidFill>
                  <a:latin typeface="Calibri" pitchFamily="34" charset="0"/>
                  <a:ea typeface="微软雅黑" pitchFamily="34" charset="-122"/>
                  <a:cs typeface="Calibri" pitchFamily="34" charset="0"/>
                </a:endParaRPr>
              </a:p>
            </p:txBody>
          </p:sp>
          <p:sp>
            <p:nvSpPr>
              <p:cNvPr id="127" name="圆角矩形 45">
                <a:extLst>
                  <a:ext uri="{FF2B5EF4-FFF2-40B4-BE49-F238E27FC236}">
                    <a16:creationId xmlns:a16="http://schemas.microsoft.com/office/drawing/2014/main" id="{A8335C70-550F-4B71-B369-9540C498C15B}"/>
                  </a:ext>
                </a:extLst>
              </p:cNvPr>
              <p:cNvSpPr/>
              <p:nvPr/>
            </p:nvSpPr>
            <p:spPr>
              <a:xfrm>
                <a:off x="680339" y="4774171"/>
                <a:ext cx="1582020" cy="422783"/>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0" tIns="45703" rIns="0" bIns="45703" anchor="ctr" anchorCtr="1"/>
              <a:lstStyle/>
              <a:p>
                <a:pPr algn="ctr" fontAlgn="base">
                  <a:spcBef>
                    <a:spcPct val="0"/>
                  </a:spcBef>
                  <a:spcAft>
                    <a:spcPct val="0"/>
                  </a:spcAft>
                </a:pPr>
                <a:r>
                  <a:rPr lang="en-US" altLang="zh-CN" sz="1050" b="1" kern="0" dirty="0" err="1"/>
                  <a:t>Sidama</a:t>
                </a:r>
                <a:endParaRPr lang="en-US" altLang="zh-CN" sz="1050" b="1" kern="0" dirty="0"/>
              </a:p>
            </p:txBody>
          </p:sp>
          <p:sp>
            <p:nvSpPr>
              <p:cNvPr id="128" name="Text Box 16">
                <a:extLst>
                  <a:ext uri="{FF2B5EF4-FFF2-40B4-BE49-F238E27FC236}">
                    <a16:creationId xmlns:a16="http://schemas.microsoft.com/office/drawing/2014/main" id="{72345BE6-B27B-407A-B540-F9CC9632D7C6}"/>
                  </a:ext>
                </a:extLst>
              </p:cNvPr>
              <p:cNvSpPr txBox="1">
                <a:spLocks noChangeArrowheads="1"/>
              </p:cNvSpPr>
              <p:nvPr/>
            </p:nvSpPr>
            <p:spPr bwMode="auto">
              <a:xfrm>
                <a:off x="481277" y="5301819"/>
                <a:ext cx="1978394" cy="363124"/>
              </a:xfrm>
              <a:prstGeom prst="rect">
                <a:avLst/>
              </a:prstGeom>
              <a:noFill/>
              <a:ln w="12700">
                <a:noFill/>
                <a:miter lim="800000"/>
                <a:headEnd/>
                <a:tailEnd/>
              </a:ln>
            </p:spPr>
            <p:txBody>
              <a:bodyPr wrap="square">
                <a:spAutoFit/>
              </a:bodyPr>
              <a:lstStyle/>
              <a:p>
                <a:pPr marL="117475" indent="-117475">
                  <a:lnSpc>
                    <a:spcPct val="114000"/>
                  </a:lnSpc>
                  <a:buClr>
                    <a:schemeClr val="bg1">
                      <a:lumMod val="50000"/>
                    </a:schemeClr>
                  </a:buClr>
                  <a:buSzPct val="50000"/>
                  <a:buFont typeface="Wingdings" pitchFamily="2" charset="2"/>
                  <a:buChar char="l"/>
                </a:pPr>
                <a:r>
                  <a:rPr lang="en-US" altLang="zh-CN" sz="1050" dirty="0">
                    <a:latin typeface="Calibri" pitchFamily="34" charset="0"/>
                    <a:cs typeface="Calibri" pitchFamily="34" charset="0"/>
                  </a:rPr>
                  <a:t>Sites - 4</a:t>
                </a:r>
              </a:p>
            </p:txBody>
          </p:sp>
        </p:grpSp>
      </p:grpSp>
      <p:sp>
        <p:nvSpPr>
          <p:cNvPr id="2" name="Title 1">
            <a:extLst>
              <a:ext uri="{FF2B5EF4-FFF2-40B4-BE49-F238E27FC236}">
                <a16:creationId xmlns:a16="http://schemas.microsoft.com/office/drawing/2014/main" id="{93C0B23C-FB28-4192-8F94-1288B3F7D3CE}"/>
              </a:ext>
            </a:extLst>
          </p:cNvPr>
          <p:cNvSpPr>
            <a:spLocks noGrp="1"/>
          </p:cNvSpPr>
          <p:nvPr>
            <p:ph type="title"/>
          </p:nvPr>
        </p:nvSpPr>
        <p:spPr>
          <a:xfrm>
            <a:off x="0" y="0"/>
            <a:ext cx="8513064" cy="765432"/>
          </a:xfrm>
        </p:spPr>
        <p:txBody>
          <a:bodyPr/>
          <a:lstStyle/>
          <a:p>
            <a:r>
              <a:rPr lang="en-ZA" dirty="0"/>
              <a:t>Year 6 – Sites Per Region</a:t>
            </a:r>
            <a:endParaRPr lang="en-GB" dirty="0"/>
          </a:p>
        </p:txBody>
      </p:sp>
      <p:sp>
        <p:nvSpPr>
          <p:cNvPr id="96" name="Rectangle: Rounded Corners 95">
            <a:extLst>
              <a:ext uri="{FF2B5EF4-FFF2-40B4-BE49-F238E27FC236}">
                <a16:creationId xmlns:a16="http://schemas.microsoft.com/office/drawing/2014/main" id="{051C770E-F35F-47BF-B3FD-1D99AABB3EBE}"/>
              </a:ext>
            </a:extLst>
          </p:cNvPr>
          <p:cNvSpPr/>
          <p:nvPr/>
        </p:nvSpPr>
        <p:spPr>
          <a:xfrm>
            <a:off x="6645720" y="209326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97" name="Rectangle: Rounded Corners 96">
            <a:extLst>
              <a:ext uri="{FF2B5EF4-FFF2-40B4-BE49-F238E27FC236}">
                <a16:creationId xmlns:a16="http://schemas.microsoft.com/office/drawing/2014/main" id="{EDFEFD44-D98C-442E-A48B-D0FEB0A1573D}"/>
              </a:ext>
            </a:extLst>
          </p:cNvPr>
          <p:cNvSpPr/>
          <p:nvPr/>
        </p:nvSpPr>
        <p:spPr>
          <a:xfrm>
            <a:off x="654553" y="2864498"/>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0" name="Rectangle: Rounded Corners 99">
            <a:extLst>
              <a:ext uri="{FF2B5EF4-FFF2-40B4-BE49-F238E27FC236}">
                <a16:creationId xmlns:a16="http://schemas.microsoft.com/office/drawing/2014/main" id="{C2AC633A-AAF1-4A78-B487-FC1126C98EA2}"/>
              </a:ext>
            </a:extLst>
          </p:cNvPr>
          <p:cNvSpPr/>
          <p:nvPr/>
        </p:nvSpPr>
        <p:spPr>
          <a:xfrm>
            <a:off x="654036" y="1293053"/>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1" name="Rectangle: Rounded Corners 100">
            <a:extLst>
              <a:ext uri="{FF2B5EF4-FFF2-40B4-BE49-F238E27FC236}">
                <a16:creationId xmlns:a16="http://schemas.microsoft.com/office/drawing/2014/main" id="{EA8CCFF5-BBB3-499E-9D71-9520A44AB5FD}"/>
              </a:ext>
            </a:extLst>
          </p:cNvPr>
          <p:cNvSpPr/>
          <p:nvPr/>
        </p:nvSpPr>
        <p:spPr>
          <a:xfrm>
            <a:off x="4412483" y="4224995"/>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2" name="Rectangle: Rounded Corners 101">
            <a:extLst>
              <a:ext uri="{FF2B5EF4-FFF2-40B4-BE49-F238E27FC236}">
                <a16:creationId xmlns:a16="http://schemas.microsoft.com/office/drawing/2014/main" id="{F5618E3F-C797-4792-9B33-6C9E7E6AE198}"/>
              </a:ext>
            </a:extLst>
          </p:cNvPr>
          <p:cNvSpPr/>
          <p:nvPr/>
        </p:nvSpPr>
        <p:spPr>
          <a:xfrm>
            <a:off x="6574718" y="2940250"/>
            <a:ext cx="1696425" cy="798275"/>
          </a:xfrm>
          <a:prstGeom prst="roundRect">
            <a:avLst/>
          </a:prstGeom>
          <a:solidFill>
            <a:schemeClr val="bg2">
              <a:alpha val="84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64352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F80624A-4B1A-444E-818A-7D5CADCC729B}"/>
              </a:ext>
            </a:extLst>
          </p:cNvPr>
          <p:cNvSpPr/>
          <p:nvPr/>
        </p:nvSpPr>
        <p:spPr>
          <a:xfrm>
            <a:off x="4478708" y="2272625"/>
            <a:ext cx="867941"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Addis Ababa </a:t>
            </a:r>
          </a:p>
        </p:txBody>
      </p:sp>
      <p:sp>
        <p:nvSpPr>
          <p:cNvPr id="7" name="Rectangle 6">
            <a:extLst>
              <a:ext uri="{FF2B5EF4-FFF2-40B4-BE49-F238E27FC236}">
                <a16:creationId xmlns:a16="http://schemas.microsoft.com/office/drawing/2014/main" id="{DF55452B-D7BA-4BB3-A000-D55EBC01BBFC}"/>
              </a:ext>
            </a:extLst>
          </p:cNvPr>
          <p:cNvSpPr/>
          <p:nvPr/>
        </p:nvSpPr>
        <p:spPr>
          <a:xfrm>
            <a:off x="5808405" y="2029228"/>
            <a:ext cx="1216025"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a:solidFill>
                  <a:srgbClr val="000000"/>
                </a:solidFill>
                <a:latin typeface="Calibri" panose="020F0502020204030204" pitchFamily="34" charset="0"/>
              </a:rPr>
              <a:t>Dire Dawa</a:t>
            </a:r>
            <a:r>
              <a:rPr lang="en-GB" sz="1050" dirty="0">
                <a:solidFill>
                  <a:srgbClr val="000000"/>
                </a:solidFill>
                <a:latin typeface="Calibri" panose="020F0502020204030204" pitchFamily="34" charset="0"/>
              </a:rPr>
              <a:t> </a:t>
            </a:r>
          </a:p>
        </p:txBody>
      </p:sp>
      <p:sp>
        <p:nvSpPr>
          <p:cNvPr id="8" name="Rectangle 7">
            <a:extLst>
              <a:ext uri="{FF2B5EF4-FFF2-40B4-BE49-F238E27FC236}">
                <a16:creationId xmlns:a16="http://schemas.microsoft.com/office/drawing/2014/main" id="{11927037-9BC8-47E1-9F7E-08B2C747887F}"/>
              </a:ext>
            </a:extLst>
          </p:cNvPr>
          <p:cNvSpPr/>
          <p:nvPr/>
        </p:nvSpPr>
        <p:spPr>
          <a:xfrm>
            <a:off x="5068232" y="359238"/>
            <a:ext cx="652449"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err="1">
                <a:solidFill>
                  <a:srgbClr val="000000"/>
                </a:solidFill>
                <a:latin typeface="Calibri" panose="020F0502020204030204" pitchFamily="34" charset="0"/>
              </a:rPr>
              <a:t>Mek'ele</a:t>
            </a:r>
            <a:r>
              <a:rPr lang="en-GB" sz="1050" dirty="0">
                <a:solidFill>
                  <a:srgbClr val="000000"/>
                </a:solidFill>
                <a:latin typeface="Calibri" panose="020F0502020204030204" pitchFamily="34" charset="0"/>
              </a:rPr>
              <a:t> </a:t>
            </a:r>
          </a:p>
        </p:txBody>
      </p:sp>
      <p:sp>
        <p:nvSpPr>
          <p:cNvPr id="27" name="Rectangle 26">
            <a:extLst>
              <a:ext uri="{FF2B5EF4-FFF2-40B4-BE49-F238E27FC236}">
                <a16:creationId xmlns:a16="http://schemas.microsoft.com/office/drawing/2014/main" id="{0C61A233-2B3C-455D-8B63-70F452E0589B}"/>
              </a:ext>
            </a:extLst>
          </p:cNvPr>
          <p:cNvSpPr/>
          <p:nvPr/>
        </p:nvSpPr>
        <p:spPr>
          <a:xfrm>
            <a:off x="5353566" y="2743887"/>
            <a:ext cx="577402"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err="1">
                <a:solidFill>
                  <a:srgbClr val="000000"/>
                </a:solidFill>
                <a:latin typeface="Calibri" panose="020F0502020204030204" pitchFamily="34" charset="0"/>
              </a:rPr>
              <a:t>Nazret</a:t>
            </a:r>
            <a:r>
              <a:rPr lang="en-GB" sz="1050" dirty="0">
                <a:solidFill>
                  <a:srgbClr val="000000"/>
                </a:solidFill>
                <a:latin typeface="Calibri" panose="020F0502020204030204" pitchFamily="34" charset="0"/>
              </a:rPr>
              <a:t> </a:t>
            </a:r>
          </a:p>
        </p:txBody>
      </p:sp>
      <p:sp>
        <p:nvSpPr>
          <p:cNvPr id="28" name="Rectangle 27">
            <a:extLst>
              <a:ext uri="{FF2B5EF4-FFF2-40B4-BE49-F238E27FC236}">
                <a16:creationId xmlns:a16="http://schemas.microsoft.com/office/drawing/2014/main" id="{76034224-0BA5-45B0-8A9D-D3B23B4D1D2C}"/>
              </a:ext>
            </a:extLst>
          </p:cNvPr>
          <p:cNvSpPr/>
          <p:nvPr/>
        </p:nvSpPr>
        <p:spPr>
          <a:xfrm>
            <a:off x="3534307" y="1341566"/>
            <a:ext cx="724878"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Bahir Dar </a:t>
            </a:r>
          </a:p>
        </p:txBody>
      </p:sp>
      <p:sp>
        <p:nvSpPr>
          <p:cNvPr id="29" name="Rectangle 28">
            <a:extLst>
              <a:ext uri="{FF2B5EF4-FFF2-40B4-BE49-F238E27FC236}">
                <a16:creationId xmlns:a16="http://schemas.microsoft.com/office/drawing/2014/main" id="{0F38E72C-B268-48FB-BC4F-36F07D08C1D4}"/>
              </a:ext>
            </a:extLst>
          </p:cNvPr>
          <p:cNvSpPr/>
          <p:nvPr/>
        </p:nvSpPr>
        <p:spPr>
          <a:xfrm>
            <a:off x="4099944" y="696748"/>
            <a:ext cx="622286"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Gondar </a:t>
            </a:r>
          </a:p>
        </p:txBody>
      </p:sp>
      <p:sp>
        <p:nvSpPr>
          <p:cNvPr id="31" name="Rectangle 30">
            <a:extLst>
              <a:ext uri="{FF2B5EF4-FFF2-40B4-BE49-F238E27FC236}">
                <a16:creationId xmlns:a16="http://schemas.microsoft.com/office/drawing/2014/main" id="{4C596F25-66A0-49FF-9F1B-2F16E29050E4}"/>
              </a:ext>
            </a:extLst>
          </p:cNvPr>
          <p:cNvSpPr/>
          <p:nvPr/>
        </p:nvSpPr>
        <p:spPr>
          <a:xfrm>
            <a:off x="5123396" y="1244251"/>
            <a:ext cx="486030"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Dese </a:t>
            </a:r>
          </a:p>
        </p:txBody>
      </p:sp>
      <p:sp>
        <p:nvSpPr>
          <p:cNvPr id="32" name="Rectangle 31">
            <a:extLst>
              <a:ext uri="{FF2B5EF4-FFF2-40B4-BE49-F238E27FC236}">
                <a16:creationId xmlns:a16="http://schemas.microsoft.com/office/drawing/2014/main" id="{6BA796C8-B618-40E9-BE69-642429974DE7}"/>
              </a:ext>
            </a:extLst>
          </p:cNvPr>
          <p:cNvSpPr/>
          <p:nvPr/>
        </p:nvSpPr>
        <p:spPr>
          <a:xfrm>
            <a:off x="3813639" y="2820044"/>
            <a:ext cx="567784"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err="1">
                <a:solidFill>
                  <a:srgbClr val="000000"/>
                </a:solidFill>
                <a:latin typeface="Calibri" panose="020F0502020204030204" pitchFamily="34" charset="0"/>
              </a:rPr>
              <a:t>Jimma</a:t>
            </a:r>
            <a:r>
              <a:rPr lang="en-GB" sz="1050" dirty="0">
                <a:solidFill>
                  <a:srgbClr val="000000"/>
                </a:solidFill>
                <a:latin typeface="Calibri" panose="020F0502020204030204" pitchFamily="34" charset="0"/>
              </a:rPr>
              <a:t> </a:t>
            </a:r>
          </a:p>
        </p:txBody>
      </p:sp>
      <p:sp>
        <p:nvSpPr>
          <p:cNvPr id="103" name="Rectangle 102">
            <a:extLst>
              <a:ext uri="{FF2B5EF4-FFF2-40B4-BE49-F238E27FC236}">
                <a16:creationId xmlns:a16="http://schemas.microsoft.com/office/drawing/2014/main" id="{E8C1B8B6-973C-4436-9D0E-12A7E8E5334C}"/>
              </a:ext>
            </a:extLst>
          </p:cNvPr>
          <p:cNvSpPr/>
          <p:nvPr/>
        </p:nvSpPr>
        <p:spPr>
          <a:xfrm>
            <a:off x="4559687" y="3592681"/>
            <a:ext cx="805345" cy="2539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defTabSz="457189"/>
            <a:r>
              <a:rPr lang="en-GB" sz="1050" dirty="0">
                <a:solidFill>
                  <a:srgbClr val="000000"/>
                </a:solidFill>
                <a:latin typeface="Calibri" panose="020F0502020204030204" pitchFamily="34" charset="0"/>
              </a:rPr>
              <a:t>Hawassa  </a:t>
            </a:r>
          </a:p>
        </p:txBody>
      </p:sp>
      <p:grpSp>
        <p:nvGrpSpPr>
          <p:cNvPr id="9" name="Group 8">
            <a:extLst>
              <a:ext uri="{FF2B5EF4-FFF2-40B4-BE49-F238E27FC236}">
                <a16:creationId xmlns:a16="http://schemas.microsoft.com/office/drawing/2014/main" id="{81447219-527F-485A-BE49-2A9E7D3A2F2D}"/>
              </a:ext>
            </a:extLst>
          </p:cNvPr>
          <p:cNvGrpSpPr/>
          <p:nvPr/>
        </p:nvGrpSpPr>
        <p:grpSpPr>
          <a:xfrm>
            <a:off x="4778238" y="2525775"/>
            <a:ext cx="304786" cy="304788"/>
            <a:chOff x="4083769" y="2552776"/>
            <a:chExt cx="529089" cy="529089"/>
          </a:xfrm>
        </p:grpSpPr>
        <p:sp>
          <p:nvSpPr>
            <p:cNvPr id="10" name="Oval 9">
              <a:extLst>
                <a:ext uri="{FF2B5EF4-FFF2-40B4-BE49-F238E27FC236}">
                  <a16:creationId xmlns:a16="http://schemas.microsoft.com/office/drawing/2014/main" id="{B2D38963-F4CA-4435-9E98-8A4A7557DCD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1" name="Freeform: Shape 298">
              <a:extLst>
                <a:ext uri="{FF2B5EF4-FFF2-40B4-BE49-F238E27FC236}">
                  <a16:creationId xmlns:a16="http://schemas.microsoft.com/office/drawing/2014/main" id="{0DC347D3-0875-4F54-86AB-0AF13C788F1F}"/>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2" name="Freeform: Shape 299">
              <a:extLst>
                <a:ext uri="{FF2B5EF4-FFF2-40B4-BE49-F238E27FC236}">
                  <a16:creationId xmlns:a16="http://schemas.microsoft.com/office/drawing/2014/main" id="{312B32A6-4AF2-46A9-8D1E-22F94EF0836E}"/>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3" name="Freeform: Shape 301">
              <a:extLst>
                <a:ext uri="{FF2B5EF4-FFF2-40B4-BE49-F238E27FC236}">
                  <a16:creationId xmlns:a16="http://schemas.microsoft.com/office/drawing/2014/main" id="{5B3BB7F4-508F-4085-B117-05EBC8AF2745}"/>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 name="Freeform: Shape 302">
              <a:extLst>
                <a:ext uri="{FF2B5EF4-FFF2-40B4-BE49-F238E27FC236}">
                  <a16:creationId xmlns:a16="http://schemas.microsoft.com/office/drawing/2014/main" id="{6B368803-90D4-4FC9-9A66-C845BA1CE7E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15" name="Group 14">
            <a:extLst>
              <a:ext uri="{FF2B5EF4-FFF2-40B4-BE49-F238E27FC236}">
                <a16:creationId xmlns:a16="http://schemas.microsoft.com/office/drawing/2014/main" id="{2E7AF790-61D0-4FBB-BB62-6691E5ACB9F6}"/>
              </a:ext>
            </a:extLst>
          </p:cNvPr>
          <p:cNvGrpSpPr/>
          <p:nvPr/>
        </p:nvGrpSpPr>
        <p:grpSpPr>
          <a:xfrm>
            <a:off x="5047895" y="2720894"/>
            <a:ext cx="304786" cy="304788"/>
            <a:chOff x="4083769" y="2552776"/>
            <a:chExt cx="529089" cy="529089"/>
          </a:xfrm>
        </p:grpSpPr>
        <p:sp>
          <p:nvSpPr>
            <p:cNvPr id="16" name="Oval 15">
              <a:extLst>
                <a:ext uri="{FF2B5EF4-FFF2-40B4-BE49-F238E27FC236}">
                  <a16:creationId xmlns:a16="http://schemas.microsoft.com/office/drawing/2014/main" id="{A7EB42AD-A55C-40E4-9B6D-AD09D079A71D}"/>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7" name="Freeform: Shape 298">
              <a:extLst>
                <a:ext uri="{FF2B5EF4-FFF2-40B4-BE49-F238E27FC236}">
                  <a16:creationId xmlns:a16="http://schemas.microsoft.com/office/drawing/2014/main" id="{D595DCC3-482C-4007-9935-CB5F887B7CF1}"/>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8" name="Freeform: Shape 299">
              <a:extLst>
                <a:ext uri="{FF2B5EF4-FFF2-40B4-BE49-F238E27FC236}">
                  <a16:creationId xmlns:a16="http://schemas.microsoft.com/office/drawing/2014/main" id="{F8022CCC-25CE-4D28-82D5-2DB7809EB83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9" name="Freeform: Shape 301">
              <a:extLst>
                <a:ext uri="{FF2B5EF4-FFF2-40B4-BE49-F238E27FC236}">
                  <a16:creationId xmlns:a16="http://schemas.microsoft.com/office/drawing/2014/main" id="{21D6117E-F794-4601-A1F0-26C09DD2CB18}"/>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0" name="Freeform: Shape 302">
              <a:extLst>
                <a:ext uri="{FF2B5EF4-FFF2-40B4-BE49-F238E27FC236}">
                  <a16:creationId xmlns:a16="http://schemas.microsoft.com/office/drawing/2014/main" id="{7CAD26FD-CB3A-47B3-A8FE-799DE6D2B0C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21" name="Group 20">
            <a:extLst>
              <a:ext uri="{FF2B5EF4-FFF2-40B4-BE49-F238E27FC236}">
                <a16:creationId xmlns:a16="http://schemas.microsoft.com/office/drawing/2014/main" id="{69FF0E9F-F4FA-4FA0-BEF8-B94D1E7CF509}"/>
              </a:ext>
            </a:extLst>
          </p:cNvPr>
          <p:cNvGrpSpPr/>
          <p:nvPr/>
        </p:nvGrpSpPr>
        <p:grpSpPr>
          <a:xfrm>
            <a:off x="3982902" y="3087750"/>
            <a:ext cx="304786" cy="304788"/>
            <a:chOff x="4083769" y="2552776"/>
            <a:chExt cx="529089" cy="529089"/>
          </a:xfrm>
        </p:grpSpPr>
        <p:sp>
          <p:nvSpPr>
            <p:cNvPr id="22" name="Oval 21">
              <a:extLst>
                <a:ext uri="{FF2B5EF4-FFF2-40B4-BE49-F238E27FC236}">
                  <a16:creationId xmlns:a16="http://schemas.microsoft.com/office/drawing/2014/main" id="{239B2EEB-7F08-40C3-93AF-18001A408168}"/>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23" name="Freeform: Shape 298">
              <a:extLst>
                <a:ext uri="{FF2B5EF4-FFF2-40B4-BE49-F238E27FC236}">
                  <a16:creationId xmlns:a16="http://schemas.microsoft.com/office/drawing/2014/main" id="{3EBB6177-6536-4AE8-9DB0-CB3685CD36C4}"/>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4" name="Freeform: Shape 299">
              <a:extLst>
                <a:ext uri="{FF2B5EF4-FFF2-40B4-BE49-F238E27FC236}">
                  <a16:creationId xmlns:a16="http://schemas.microsoft.com/office/drawing/2014/main" id="{5F6ABF24-7BBD-4F09-A496-851FE57D041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5" name="Freeform: Shape 301">
              <a:extLst>
                <a:ext uri="{FF2B5EF4-FFF2-40B4-BE49-F238E27FC236}">
                  <a16:creationId xmlns:a16="http://schemas.microsoft.com/office/drawing/2014/main" id="{226550A3-6CF5-4DD7-B052-55CF2A5E8466}"/>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26" name="Freeform: Shape 302">
              <a:extLst>
                <a:ext uri="{FF2B5EF4-FFF2-40B4-BE49-F238E27FC236}">
                  <a16:creationId xmlns:a16="http://schemas.microsoft.com/office/drawing/2014/main" id="{8C07EFDD-A9A5-41F4-A700-4CC3EFD36D86}"/>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3" name="Group 32">
            <a:extLst>
              <a:ext uri="{FF2B5EF4-FFF2-40B4-BE49-F238E27FC236}">
                <a16:creationId xmlns:a16="http://schemas.microsoft.com/office/drawing/2014/main" id="{FD745DCF-EB3C-4D8C-8BD0-7636B7A9831F}"/>
              </a:ext>
            </a:extLst>
          </p:cNvPr>
          <p:cNvGrpSpPr/>
          <p:nvPr/>
        </p:nvGrpSpPr>
        <p:grpSpPr>
          <a:xfrm>
            <a:off x="4287687" y="916050"/>
            <a:ext cx="304786" cy="304788"/>
            <a:chOff x="4083769" y="2552776"/>
            <a:chExt cx="529089" cy="529089"/>
          </a:xfrm>
        </p:grpSpPr>
        <p:sp>
          <p:nvSpPr>
            <p:cNvPr id="34" name="Oval 33">
              <a:extLst>
                <a:ext uri="{FF2B5EF4-FFF2-40B4-BE49-F238E27FC236}">
                  <a16:creationId xmlns:a16="http://schemas.microsoft.com/office/drawing/2014/main" id="{251B7E78-A7E2-42D5-A4CE-B42BA532BC2E}"/>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35" name="Freeform: Shape 298">
              <a:extLst>
                <a:ext uri="{FF2B5EF4-FFF2-40B4-BE49-F238E27FC236}">
                  <a16:creationId xmlns:a16="http://schemas.microsoft.com/office/drawing/2014/main" id="{3BD4FFD1-B883-49D3-B2BC-9489739607F3}"/>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6" name="Freeform: Shape 299">
              <a:extLst>
                <a:ext uri="{FF2B5EF4-FFF2-40B4-BE49-F238E27FC236}">
                  <a16:creationId xmlns:a16="http://schemas.microsoft.com/office/drawing/2014/main" id="{2E493D79-FDC7-4B23-85ED-6D6FCBC7EFB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7" name="Freeform: Shape 301">
              <a:extLst>
                <a:ext uri="{FF2B5EF4-FFF2-40B4-BE49-F238E27FC236}">
                  <a16:creationId xmlns:a16="http://schemas.microsoft.com/office/drawing/2014/main" id="{8ABEAFA8-7881-45ED-9045-6DCB6122B8D3}"/>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38" name="Freeform: Shape 302">
              <a:extLst>
                <a:ext uri="{FF2B5EF4-FFF2-40B4-BE49-F238E27FC236}">
                  <a16:creationId xmlns:a16="http://schemas.microsoft.com/office/drawing/2014/main" id="{D6F15397-A32C-4C94-A09F-5AB2B6461793}"/>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39" name="Group 38">
            <a:extLst>
              <a:ext uri="{FF2B5EF4-FFF2-40B4-BE49-F238E27FC236}">
                <a16:creationId xmlns:a16="http://schemas.microsoft.com/office/drawing/2014/main" id="{F389104D-DC78-445A-9A0F-0B3743EAE2D7}"/>
              </a:ext>
            </a:extLst>
          </p:cNvPr>
          <p:cNvGrpSpPr/>
          <p:nvPr/>
        </p:nvGrpSpPr>
        <p:grpSpPr>
          <a:xfrm>
            <a:off x="5200287" y="554788"/>
            <a:ext cx="304786" cy="304788"/>
            <a:chOff x="4083769" y="2552776"/>
            <a:chExt cx="529089" cy="529089"/>
          </a:xfrm>
        </p:grpSpPr>
        <p:sp>
          <p:nvSpPr>
            <p:cNvPr id="40" name="Oval 39">
              <a:extLst>
                <a:ext uri="{FF2B5EF4-FFF2-40B4-BE49-F238E27FC236}">
                  <a16:creationId xmlns:a16="http://schemas.microsoft.com/office/drawing/2014/main" id="{3694CCB0-5338-403C-B79B-EAEE5834C885}"/>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1" name="Freeform: Shape 298">
              <a:extLst>
                <a:ext uri="{FF2B5EF4-FFF2-40B4-BE49-F238E27FC236}">
                  <a16:creationId xmlns:a16="http://schemas.microsoft.com/office/drawing/2014/main" id="{5FC39C8B-A525-4622-AA9E-B73E5AE367D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2" name="Freeform: Shape 299">
              <a:extLst>
                <a:ext uri="{FF2B5EF4-FFF2-40B4-BE49-F238E27FC236}">
                  <a16:creationId xmlns:a16="http://schemas.microsoft.com/office/drawing/2014/main" id="{E59DBF68-1F6E-438E-B799-14EE17BF206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3" name="Freeform: Shape 301">
              <a:extLst>
                <a:ext uri="{FF2B5EF4-FFF2-40B4-BE49-F238E27FC236}">
                  <a16:creationId xmlns:a16="http://schemas.microsoft.com/office/drawing/2014/main" id="{824A8F69-D52C-4F73-A770-346F8F00F69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4" name="Freeform: Shape 302">
              <a:extLst>
                <a:ext uri="{FF2B5EF4-FFF2-40B4-BE49-F238E27FC236}">
                  <a16:creationId xmlns:a16="http://schemas.microsoft.com/office/drawing/2014/main" id="{15F2CB36-0EBF-4238-A505-CDA4ED618582}"/>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45" name="Group 44">
            <a:extLst>
              <a:ext uri="{FF2B5EF4-FFF2-40B4-BE49-F238E27FC236}">
                <a16:creationId xmlns:a16="http://schemas.microsoft.com/office/drawing/2014/main" id="{4CB0A7A2-2BB5-4751-A9B9-AB2020F51885}"/>
              </a:ext>
            </a:extLst>
          </p:cNvPr>
          <p:cNvGrpSpPr/>
          <p:nvPr/>
        </p:nvGrpSpPr>
        <p:grpSpPr>
          <a:xfrm>
            <a:off x="6180002" y="2289380"/>
            <a:ext cx="304786" cy="304788"/>
            <a:chOff x="4083769" y="2552776"/>
            <a:chExt cx="529089" cy="529089"/>
          </a:xfrm>
        </p:grpSpPr>
        <p:sp>
          <p:nvSpPr>
            <p:cNvPr id="46" name="Oval 45">
              <a:extLst>
                <a:ext uri="{FF2B5EF4-FFF2-40B4-BE49-F238E27FC236}">
                  <a16:creationId xmlns:a16="http://schemas.microsoft.com/office/drawing/2014/main" id="{357B1C9C-F832-4648-B459-AF0C465123E9}"/>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47" name="Freeform: Shape 298">
              <a:extLst>
                <a:ext uri="{FF2B5EF4-FFF2-40B4-BE49-F238E27FC236}">
                  <a16:creationId xmlns:a16="http://schemas.microsoft.com/office/drawing/2014/main" id="{C435DFA7-A104-45CA-9A73-96787920C080}"/>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8" name="Freeform: Shape 299">
              <a:extLst>
                <a:ext uri="{FF2B5EF4-FFF2-40B4-BE49-F238E27FC236}">
                  <a16:creationId xmlns:a16="http://schemas.microsoft.com/office/drawing/2014/main" id="{1BCF2EAC-D136-42FE-AA65-8933BCA35F41}"/>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49" name="Freeform: Shape 301">
              <a:extLst>
                <a:ext uri="{FF2B5EF4-FFF2-40B4-BE49-F238E27FC236}">
                  <a16:creationId xmlns:a16="http://schemas.microsoft.com/office/drawing/2014/main" id="{A766F728-81D9-4DBB-BA92-F1A05B6C957F}"/>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0" name="Freeform: Shape 302">
              <a:extLst>
                <a:ext uri="{FF2B5EF4-FFF2-40B4-BE49-F238E27FC236}">
                  <a16:creationId xmlns:a16="http://schemas.microsoft.com/office/drawing/2014/main" id="{228C4C6F-B28F-4FFE-A360-69660A2C6939}"/>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51" name="Group 50">
            <a:extLst>
              <a:ext uri="{FF2B5EF4-FFF2-40B4-BE49-F238E27FC236}">
                <a16:creationId xmlns:a16="http://schemas.microsoft.com/office/drawing/2014/main" id="{0FB1C294-5D17-4AF5-AFCD-A060857ADD13}"/>
              </a:ext>
            </a:extLst>
          </p:cNvPr>
          <p:cNvGrpSpPr/>
          <p:nvPr/>
        </p:nvGrpSpPr>
        <p:grpSpPr>
          <a:xfrm>
            <a:off x="4244963" y="1360550"/>
            <a:ext cx="304786" cy="304788"/>
            <a:chOff x="4083769" y="2552776"/>
            <a:chExt cx="529089" cy="529089"/>
          </a:xfrm>
        </p:grpSpPr>
        <p:sp>
          <p:nvSpPr>
            <p:cNvPr id="52" name="Oval 51">
              <a:extLst>
                <a:ext uri="{FF2B5EF4-FFF2-40B4-BE49-F238E27FC236}">
                  <a16:creationId xmlns:a16="http://schemas.microsoft.com/office/drawing/2014/main" id="{3BB041DC-0353-4257-A7E3-D81CE454F877}"/>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53" name="Freeform: Shape 298">
              <a:extLst>
                <a:ext uri="{FF2B5EF4-FFF2-40B4-BE49-F238E27FC236}">
                  <a16:creationId xmlns:a16="http://schemas.microsoft.com/office/drawing/2014/main" id="{72FAE093-DBBC-4E9E-A282-7F01454B4EFA}"/>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4" name="Freeform: Shape 299">
              <a:extLst>
                <a:ext uri="{FF2B5EF4-FFF2-40B4-BE49-F238E27FC236}">
                  <a16:creationId xmlns:a16="http://schemas.microsoft.com/office/drawing/2014/main" id="{8B5FE565-C70B-4A67-B409-449D13AFD9F2}"/>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5" name="Freeform: Shape 301">
              <a:extLst>
                <a:ext uri="{FF2B5EF4-FFF2-40B4-BE49-F238E27FC236}">
                  <a16:creationId xmlns:a16="http://schemas.microsoft.com/office/drawing/2014/main" id="{AF0E9612-140B-4A79-89FB-878C6B7F94FA}"/>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56" name="Freeform: Shape 302">
              <a:extLst>
                <a:ext uri="{FF2B5EF4-FFF2-40B4-BE49-F238E27FC236}">
                  <a16:creationId xmlns:a16="http://schemas.microsoft.com/office/drawing/2014/main" id="{CF3A108A-F986-4920-B6DD-5B3640498645}"/>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grpSp>
        <p:nvGrpSpPr>
          <p:cNvPr id="63" name="Group 62">
            <a:extLst>
              <a:ext uri="{FF2B5EF4-FFF2-40B4-BE49-F238E27FC236}">
                <a16:creationId xmlns:a16="http://schemas.microsoft.com/office/drawing/2014/main" id="{B821F67F-BB64-48A9-8FD2-A590B580A4FC}"/>
              </a:ext>
            </a:extLst>
          </p:cNvPr>
          <p:cNvGrpSpPr/>
          <p:nvPr/>
        </p:nvGrpSpPr>
        <p:grpSpPr>
          <a:xfrm>
            <a:off x="5229281" y="1504030"/>
            <a:ext cx="304786" cy="304788"/>
            <a:chOff x="4083769" y="2552776"/>
            <a:chExt cx="529089" cy="529089"/>
          </a:xfrm>
        </p:grpSpPr>
        <p:sp>
          <p:nvSpPr>
            <p:cNvPr id="64" name="Oval 63">
              <a:extLst>
                <a:ext uri="{FF2B5EF4-FFF2-40B4-BE49-F238E27FC236}">
                  <a16:creationId xmlns:a16="http://schemas.microsoft.com/office/drawing/2014/main" id="{B6ABD64D-78E6-4042-9E72-B4AE147B1226}"/>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65" name="Freeform: Shape 298">
              <a:extLst>
                <a:ext uri="{FF2B5EF4-FFF2-40B4-BE49-F238E27FC236}">
                  <a16:creationId xmlns:a16="http://schemas.microsoft.com/office/drawing/2014/main" id="{6DEAEB43-EA86-4B64-AF51-FC7F706BF675}"/>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6" name="Freeform: Shape 299">
              <a:extLst>
                <a:ext uri="{FF2B5EF4-FFF2-40B4-BE49-F238E27FC236}">
                  <a16:creationId xmlns:a16="http://schemas.microsoft.com/office/drawing/2014/main" id="{782232AC-43E6-4520-B46D-5964A3BEA06C}"/>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7" name="Freeform: Shape 301">
              <a:extLst>
                <a:ext uri="{FF2B5EF4-FFF2-40B4-BE49-F238E27FC236}">
                  <a16:creationId xmlns:a16="http://schemas.microsoft.com/office/drawing/2014/main" id="{61BFBA1B-4660-4611-A65F-720B003063F0}"/>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68" name="Freeform: Shape 302">
              <a:extLst>
                <a:ext uri="{FF2B5EF4-FFF2-40B4-BE49-F238E27FC236}">
                  <a16:creationId xmlns:a16="http://schemas.microsoft.com/office/drawing/2014/main" id="{0AB064B4-67B8-43B7-8157-B5077A916114}"/>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cxnSp>
        <p:nvCxnSpPr>
          <p:cNvPr id="70" name="Straight Connector 69">
            <a:extLst>
              <a:ext uri="{FF2B5EF4-FFF2-40B4-BE49-F238E27FC236}">
                <a16:creationId xmlns:a16="http://schemas.microsoft.com/office/drawing/2014/main" id="{D4A24A53-B2EB-47AB-8B65-7FA696E71C17}"/>
              </a:ext>
            </a:extLst>
          </p:cNvPr>
          <p:cNvCxnSpPr>
            <a:cxnSpLocks/>
            <a:stCxn id="22" idx="7"/>
            <a:endCxn id="10" idx="3"/>
          </p:cNvCxnSpPr>
          <p:nvPr/>
        </p:nvCxnSpPr>
        <p:spPr>
          <a:xfrm flipV="1">
            <a:off x="4243053" y="2785929"/>
            <a:ext cx="579821" cy="346457"/>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46BEEA4-E590-4F0D-B2B8-67AACAF840DB}"/>
              </a:ext>
            </a:extLst>
          </p:cNvPr>
          <p:cNvCxnSpPr>
            <a:cxnSpLocks/>
            <a:stCxn id="22" idx="5"/>
          </p:cNvCxnSpPr>
          <p:nvPr/>
        </p:nvCxnSpPr>
        <p:spPr>
          <a:xfrm>
            <a:off x="4243052" y="3347904"/>
            <a:ext cx="524211" cy="61612"/>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33F771E-C15C-448C-BA95-423F68A3E711}"/>
              </a:ext>
            </a:extLst>
          </p:cNvPr>
          <p:cNvCxnSpPr>
            <a:cxnSpLocks/>
            <a:endCxn id="16" idx="3"/>
          </p:cNvCxnSpPr>
          <p:nvPr/>
        </p:nvCxnSpPr>
        <p:spPr>
          <a:xfrm flipV="1">
            <a:off x="4919657" y="2981047"/>
            <a:ext cx="172873" cy="276074"/>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FC1C440-84F5-4B62-8E10-2DFF912095C8}"/>
              </a:ext>
            </a:extLst>
          </p:cNvPr>
          <p:cNvCxnSpPr>
            <a:cxnSpLocks/>
            <a:stCxn id="10" idx="5"/>
            <a:endCxn id="16" idx="1"/>
          </p:cNvCxnSpPr>
          <p:nvPr/>
        </p:nvCxnSpPr>
        <p:spPr>
          <a:xfrm flipV="1">
            <a:off x="5038390" y="2765530"/>
            <a:ext cx="54140" cy="20399"/>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50442DB-1A5D-47C8-AF91-3F6A3EE43A93}"/>
              </a:ext>
            </a:extLst>
          </p:cNvPr>
          <p:cNvCxnSpPr>
            <a:cxnSpLocks/>
            <a:stCxn id="16" idx="7"/>
            <a:endCxn id="46" idx="2"/>
          </p:cNvCxnSpPr>
          <p:nvPr/>
        </p:nvCxnSpPr>
        <p:spPr>
          <a:xfrm flipV="1">
            <a:off x="5308045" y="2441775"/>
            <a:ext cx="871956" cy="323755"/>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726C3B4-A885-430D-A16A-E1C897EB226D}"/>
              </a:ext>
            </a:extLst>
          </p:cNvPr>
          <p:cNvCxnSpPr>
            <a:cxnSpLocks/>
            <a:stCxn id="46" idx="1"/>
            <a:endCxn id="64" idx="5"/>
          </p:cNvCxnSpPr>
          <p:nvPr/>
        </p:nvCxnSpPr>
        <p:spPr>
          <a:xfrm flipH="1" flipV="1">
            <a:off x="5489432" y="1764183"/>
            <a:ext cx="735205" cy="569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56E31A6-3818-4C29-8A4F-8F444882FEDF}"/>
              </a:ext>
            </a:extLst>
          </p:cNvPr>
          <p:cNvCxnSpPr>
            <a:cxnSpLocks/>
            <a:stCxn id="10" idx="7"/>
            <a:endCxn id="64" idx="4"/>
          </p:cNvCxnSpPr>
          <p:nvPr/>
        </p:nvCxnSpPr>
        <p:spPr>
          <a:xfrm flipV="1">
            <a:off x="5038389" y="1808818"/>
            <a:ext cx="343284" cy="761592"/>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370C539-EE39-4C21-82A7-91B819DB103F}"/>
              </a:ext>
            </a:extLst>
          </p:cNvPr>
          <p:cNvCxnSpPr>
            <a:cxnSpLocks/>
            <a:stCxn id="64" idx="0"/>
            <a:endCxn id="40" idx="4"/>
          </p:cNvCxnSpPr>
          <p:nvPr/>
        </p:nvCxnSpPr>
        <p:spPr>
          <a:xfrm flipH="1" flipV="1">
            <a:off x="5352681" y="859576"/>
            <a:ext cx="28993" cy="644454"/>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EF95468-861D-47D5-86B4-DEA83CACDE92}"/>
              </a:ext>
            </a:extLst>
          </p:cNvPr>
          <p:cNvCxnSpPr>
            <a:cxnSpLocks/>
            <a:stCxn id="40" idx="2"/>
            <a:endCxn id="34" idx="7"/>
          </p:cNvCxnSpPr>
          <p:nvPr/>
        </p:nvCxnSpPr>
        <p:spPr>
          <a:xfrm flipH="1">
            <a:off x="4547839" y="707183"/>
            <a:ext cx="652449" cy="253503"/>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C0BC7CC-F767-403A-BD0F-DF021632AF99}"/>
              </a:ext>
            </a:extLst>
          </p:cNvPr>
          <p:cNvCxnSpPr>
            <a:cxnSpLocks/>
            <a:stCxn id="34" idx="5"/>
            <a:endCxn id="52" idx="7"/>
          </p:cNvCxnSpPr>
          <p:nvPr/>
        </p:nvCxnSpPr>
        <p:spPr>
          <a:xfrm flipH="1">
            <a:off x="4505114" y="1176204"/>
            <a:ext cx="42725" cy="228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D14AC26-5713-4E54-B075-D75B92C36E4C}"/>
              </a:ext>
            </a:extLst>
          </p:cNvPr>
          <p:cNvCxnSpPr>
            <a:cxnSpLocks/>
            <a:stCxn id="52" idx="4"/>
            <a:endCxn id="22" idx="0"/>
          </p:cNvCxnSpPr>
          <p:nvPr/>
        </p:nvCxnSpPr>
        <p:spPr>
          <a:xfrm flipH="1">
            <a:off x="4135295" y="1665339"/>
            <a:ext cx="262061" cy="1422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35936A4F-B2DE-407C-9D21-75185C4ACE48}"/>
              </a:ext>
            </a:extLst>
          </p:cNvPr>
          <p:cNvCxnSpPr>
            <a:cxnSpLocks/>
            <a:stCxn id="52" idx="5"/>
            <a:endCxn id="10" idx="0"/>
          </p:cNvCxnSpPr>
          <p:nvPr/>
        </p:nvCxnSpPr>
        <p:spPr>
          <a:xfrm>
            <a:off x="4505114" y="1620703"/>
            <a:ext cx="425518" cy="90507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88E75DB-D5C5-4949-80D4-D2B475995266}"/>
              </a:ext>
            </a:extLst>
          </p:cNvPr>
          <p:cNvCxnSpPr>
            <a:cxnSpLocks/>
            <a:stCxn id="52" idx="6"/>
            <a:endCxn id="64" idx="2"/>
          </p:cNvCxnSpPr>
          <p:nvPr/>
        </p:nvCxnSpPr>
        <p:spPr>
          <a:xfrm>
            <a:off x="4549749" y="1512945"/>
            <a:ext cx="679532" cy="1434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F7C84E5F-5741-4DD2-AF29-5E97705917D8}"/>
              </a:ext>
            </a:extLst>
          </p:cNvPr>
          <p:cNvGrpSpPr/>
          <p:nvPr/>
        </p:nvGrpSpPr>
        <p:grpSpPr>
          <a:xfrm>
            <a:off x="4771530" y="3257444"/>
            <a:ext cx="304786" cy="304788"/>
            <a:chOff x="4083769" y="2552776"/>
            <a:chExt cx="529089" cy="529089"/>
          </a:xfrm>
        </p:grpSpPr>
        <p:sp>
          <p:nvSpPr>
            <p:cNvPr id="138" name="Oval 137">
              <a:extLst>
                <a:ext uri="{FF2B5EF4-FFF2-40B4-BE49-F238E27FC236}">
                  <a16:creationId xmlns:a16="http://schemas.microsoft.com/office/drawing/2014/main" id="{047E33BD-90DC-4CDA-8A6D-1051BB6A32FA}"/>
                </a:ext>
              </a:extLst>
            </p:cNvPr>
            <p:cNvSpPr/>
            <p:nvPr/>
          </p:nvSpPr>
          <p:spPr>
            <a:xfrm>
              <a:off x="4083769" y="2552776"/>
              <a:ext cx="529089" cy="5290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dirty="0">
                <a:solidFill>
                  <a:srgbClr val="0D274D"/>
                </a:solidFill>
                <a:latin typeface="CiscoSansTT ExtraLight"/>
              </a:endParaRPr>
            </a:p>
          </p:txBody>
        </p:sp>
        <p:sp>
          <p:nvSpPr>
            <p:cNvPr id="139" name="Freeform: Shape 298">
              <a:extLst>
                <a:ext uri="{FF2B5EF4-FFF2-40B4-BE49-F238E27FC236}">
                  <a16:creationId xmlns:a16="http://schemas.microsoft.com/office/drawing/2014/main" id="{1AC6E427-0AF6-4872-A876-B14AF1E2EBB2}"/>
                </a:ext>
              </a:extLst>
            </p:cNvPr>
            <p:cNvSpPr/>
            <p:nvPr/>
          </p:nvSpPr>
          <p:spPr>
            <a:xfrm rot="16200000">
              <a:off x="4259221" y="2630224"/>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0" name="Freeform: Shape 299">
              <a:extLst>
                <a:ext uri="{FF2B5EF4-FFF2-40B4-BE49-F238E27FC236}">
                  <a16:creationId xmlns:a16="http://schemas.microsoft.com/office/drawing/2014/main" id="{B6DD2470-252A-498C-9FD1-C8C2DC1733A9}"/>
                </a:ext>
              </a:extLst>
            </p:cNvPr>
            <p:cNvSpPr/>
            <p:nvPr/>
          </p:nvSpPr>
          <p:spPr>
            <a:xfrm rot="5400000">
              <a:off x="4259221" y="2856081"/>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1" name="Freeform: Shape 301">
              <a:extLst>
                <a:ext uri="{FF2B5EF4-FFF2-40B4-BE49-F238E27FC236}">
                  <a16:creationId xmlns:a16="http://schemas.microsoft.com/office/drawing/2014/main" id="{441E03F0-F4EE-49BB-9534-F66557781AEE}"/>
                </a:ext>
              </a:extLst>
            </p:cNvPr>
            <p:cNvSpPr/>
            <p:nvPr/>
          </p:nvSpPr>
          <p:spPr>
            <a:xfrm rot="10800000">
              <a:off x="4372149" y="2743152"/>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sp>
          <p:nvSpPr>
            <p:cNvPr id="142" name="Freeform: Shape 302">
              <a:extLst>
                <a:ext uri="{FF2B5EF4-FFF2-40B4-BE49-F238E27FC236}">
                  <a16:creationId xmlns:a16="http://schemas.microsoft.com/office/drawing/2014/main" id="{111DC9F5-4EC2-4D0B-9AF9-FDBDE96A0E7A}"/>
                </a:ext>
              </a:extLst>
            </p:cNvPr>
            <p:cNvSpPr/>
            <p:nvPr/>
          </p:nvSpPr>
          <p:spPr>
            <a:xfrm>
              <a:off x="4146291" y="2743153"/>
              <a:ext cx="178185" cy="148335"/>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defTabSz="457189"/>
              <a:endParaRPr lang="en-US" sz="1467" dirty="0">
                <a:solidFill>
                  <a:srgbClr val="FFFFFF"/>
                </a:solidFill>
                <a:latin typeface="CiscoSansTT ExtraLight"/>
              </a:endParaRPr>
            </a:p>
          </p:txBody>
        </p:sp>
      </p:grpSp>
    </p:spTree>
    <p:extLst>
      <p:ext uri="{BB962C8B-B14F-4D97-AF65-F5344CB8AC3E}">
        <p14:creationId xmlns:p14="http://schemas.microsoft.com/office/powerpoint/2010/main" val="1880681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9528C1-1E83-47AA-8775-99628AF98ECE}"/>
              </a:ext>
            </a:extLst>
          </p:cNvPr>
          <p:cNvSpPr>
            <a:spLocks noGrp="1"/>
          </p:cNvSpPr>
          <p:nvPr>
            <p:ph type="ctrTitle"/>
          </p:nvPr>
        </p:nvSpPr>
        <p:spPr/>
        <p:txBody>
          <a:bodyPr/>
          <a:lstStyle/>
          <a:p>
            <a:r>
              <a:rPr lang="en-ZA" dirty="0"/>
              <a:t>Radio Access Network (RAN)</a:t>
            </a:r>
          </a:p>
        </p:txBody>
      </p:sp>
    </p:spTree>
    <p:extLst>
      <p:ext uri="{BB962C8B-B14F-4D97-AF65-F5344CB8AC3E}">
        <p14:creationId xmlns:p14="http://schemas.microsoft.com/office/powerpoint/2010/main" val="1089612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Radio Access and Fronthaul</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1"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7"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grpSp>
        <p:nvGrpSpPr>
          <p:cNvPr id="957" name="Group 956">
            <a:extLst>
              <a:ext uri="{FF2B5EF4-FFF2-40B4-BE49-F238E27FC236}">
                <a16:creationId xmlns:a16="http://schemas.microsoft.com/office/drawing/2014/main" id="{64452086-9719-44DE-8388-739CF1B77595}"/>
              </a:ext>
            </a:extLst>
          </p:cNvPr>
          <p:cNvGrpSpPr/>
          <p:nvPr/>
        </p:nvGrpSpPr>
        <p:grpSpPr>
          <a:xfrm>
            <a:off x="732673" y="1788912"/>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
        <p:nvSpPr>
          <p:cNvPr id="201" name="Rectangle 200">
            <a:extLst>
              <a:ext uri="{FF2B5EF4-FFF2-40B4-BE49-F238E27FC236}">
                <a16:creationId xmlns:a16="http://schemas.microsoft.com/office/drawing/2014/main" id="{EC08BCEF-0D76-4578-B3AB-22A2944AAB23}"/>
              </a:ext>
            </a:extLst>
          </p:cNvPr>
          <p:cNvSpPr/>
          <p:nvPr/>
        </p:nvSpPr>
        <p:spPr>
          <a:xfrm>
            <a:off x="2347852" y="1749440"/>
            <a:ext cx="5805328" cy="1606923"/>
          </a:xfrm>
          <a:prstGeom prst="rect">
            <a:avLst/>
          </a:prstGeom>
          <a:gradFill>
            <a:gsLst>
              <a:gs pos="0">
                <a:schemeClr val="accent1">
                  <a:lumMod val="5000"/>
                  <a:lumOff val="95000"/>
                  <a:alpha val="0"/>
                </a:schemeClr>
              </a:gs>
              <a:gs pos="7000">
                <a:schemeClr val="accent4">
                  <a:alpha val="60000"/>
                </a:schemeClr>
              </a:gs>
              <a:gs pos="100000">
                <a:schemeClr val="accent4">
                  <a:alpha val="75000"/>
                </a:schemeClr>
              </a:gs>
            </a:gsLst>
            <a:lin ang="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1" name="Rectangle 220">
            <a:extLst>
              <a:ext uri="{FF2B5EF4-FFF2-40B4-BE49-F238E27FC236}">
                <a16:creationId xmlns:a16="http://schemas.microsoft.com/office/drawing/2014/main" id="{85B5D98D-0635-4241-A5D8-01401122EDBB}"/>
              </a:ext>
            </a:extLst>
          </p:cNvPr>
          <p:cNvSpPr/>
          <p:nvPr/>
        </p:nvSpPr>
        <p:spPr>
          <a:xfrm>
            <a:off x="1789987" y="3930122"/>
            <a:ext cx="5945724" cy="588090"/>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2" name="Rectangle 221">
            <a:extLst>
              <a:ext uri="{FF2B5EF4-FFF2-40B4-BE49-F238E27FC236}">
                <a16:creationId xmlns:a16="http://schemas.microsoft.com/office/drawing/2014/main" id="{552D17C2-84BE-4ED5-8817-DA6FE9CFEF2C}"/>
              </a:ext>
            </a:extLst>
          </p:cNvPr>
          <p:cNvSpPr/>
          <p:nvPr/>
        </p:nvSpPr>
        <p:spPr>
          <a:xfrm>
            <a:off x="1789987" y="1242865"/>
            <a:ext cx="5945724" cy="488854"/>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5" name="Rectangle 224">
            <a:extLst>
              <a:ext uri="{FF2B5EF4-FFF2-40B4-BE49-F238E27FC236}">
                <a16:creationId xmlns:a16="http://schemas.microsoft.com/office/drawing/2014/main" id="{91E08B73-0E28-4E98-9CF5-0E5614079095}"/>
              </a:ext>
            </a:extLst>
          </p:cNvPr>
          <p:cNvSpPr/>
          <p:nvPr/>
        </p:nvSpPr>
        <p:spPr>
          <a:xfrm>
            <a:off x="4617642" y="3405737"/>
            <a:ext cx="3110857" cy="276998"/>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Tree>
    <p:extLst>
      <p:ext uri="{BB962C8B-B14F-4D97-AF65-F5344CB8AC3E}">
        <p14:creationId xmlns:p14="http://schemas.microsoft.com/office/powerpoint/2010/main" val="4026180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01"/>
                                        </p:tgtEl>
                                        <p:attrNameLst>
                                          <p:attrName>style.visibility</p:attrName>
                                        </p:attrNameLst>
                                      </p:cBhvr>
                                      <p:to>
                                        <p:strVal val="visible"/>
                                      </p:to>
                                    </p:set>
                                    <p:animEffect transition="in" filter="wipe(right)">
                                      <p:cBhvr>
                                        <p:cTn id="7" dur="500"/>
                                        <p:tgtEl>
                                          <p:spTgt spid="20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1"/>
                                        </p:tgtEl>
                                        <p:attrNameLst>
                                          <p:attrName>style.visibility</p:attrName>
                                        </p:attrNameLst>
                                      </p:cBhvr>
                                      <p:to>
                                        <p:strVal val="visible"/>
                                      </p:to>
                                    </p:set>
                                    <p:animEffect transition="in" filter="fade">
                                      <p:cBhvr>
                                        <p:cTn id="10" dur="500"/>
                                        <p:tgtEl>
                                          <p:spTgt spid="2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2"/>
                                        </p:tgtEl>
                                        <p:attrNameLst>
                                          <p:attrName>style.visibility</p:attrName>
                                        </p:attrNameLst>
                                      </p:cBhvr>
                                      <p:to>
                                        <p:strVal val="visible"/>
                                      </p:to>
                                    </p:set>
                                    <p:animEffect transition="in" filter="fade">
                                      <p:cBhvr>
                                        <p:cTn id="13" dur="500"/>
                                        <p:tgtEl>
                                          <p:spTgt spid="2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5"/>
                                        </p:tgtEl>
                                        <p:attrNameLst>
                                          <p:attrName>style.visibility</p:attrName>
                                        </p:attrNameLst>
                                      </p:cBhvr>
                                      <p:to>
                                        <p:strVal val="visible"/>
                                      </p:to>
                                    </p:set>
                                    <p:animEffect transition="in" filter="fade">
                                      <p:cBhvr>
                                        <p:cTn id="16" dur="50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21" grpId="0" animBg="1"/>
      <p:bldP spid="222" grpId="0" animBg="1"/>
      <p:bldP spid="22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F38A3-6EBD-4731-8291-1D04E01D33D0}"/>
              </a:ext>
            </a:extLst>
          </p:cNvPr>
          <p:cNvSpPr>
            <a:spLocks noGrp="1"/>
          </p:cNvSpPr>
          <p:nvPr>
            <p:ph type="title"/>
          </p:nvPr>
        </p:nvSpPr>
        <p:spPr/>
        <p:txBody>
          <a:bodyPr/>
          <a:lstStyle/>
          <a:p>
            <a:r>
              <a:rPr lang="en-ZA" dirty="0"/>
              <a:t>Simplification and Values Enabled by </a:t>
            </a:r>
            <a:r>
              <a:rPr lang="en-ZA" dirty="0" err="1"/>
              <a:t>vRAN</a:t>
            </a:r>
            <a:endParaRPr lang="en-ZA" dirty="0"/>
          </a:p>
        </p:txBody>
      </p:sp>
      <p:pic>
        <p:nvPicPr>
          <p:cNvPr id="3" name="Picture 2">
            <a:extLst>
              <a:ext uri="{FF2B5EF4-FFF2-40B4-BE49-F238E27FC236}">
                <a16:creationId xmlns:a16="http://schemas.microsoft.com/office/drawing/2014/main" id="{F3E50E9C-6255-42E3-9272-58A95D5F4E62}"/>
              </a:ext>
            </a:extLst>
          </p:cNvPr>
          <p:cNvPicPr>
            <a:picLocks noChangeAspect="1"/>
          </p:cNvPicPr>
          <p:nvPr/>
        </p:nvPicPr>
        <p:blipFill>
          <a:blip r:embed="rId2"/>
          <a:stretch>
            <a:fillRect/>
          </a:stretch>
        </p:blipFill>
        <p:spPr>
          <a:xfrm>
            <a:off x="1225550" y="1385601"/>
            <a:ext cx="7016750" cy="2561066"/>
          </a:xfrm>
          <a:prstGeom prst="rect">
            <a:avLst/>
          </a:prstGeom>
        </p:spPr>
      </p:pic>
      <p:sp>
        <p:nvSpPr>
          <p:cNvPr id="4" name="Rectangle 3">
            <a:extLst>
              <a:ext uri="{FF2B5EF4-FFF2-40B4-BE49-F238E27FC236}">
                <a16:creationId xmlns:a16="http://schemas.microsoft.com/office/drawing/2014/main" id="{64EC5BBB-6F95-4680-9E58-93A53B7C9798}"/>
              </a:ext>
            </a:extLst>
          </p:cNvPr>
          <p:cNvSpPr/>
          <p:nvPr/>
        </p:nvSpPr>
        <p:spPr>
          <a:xfrm>
            <a:off x="4851400" y="3887450"/>
            <a:ext cx="3989004" cy="1277273"/>
          </a:xfrm>
          <a:prstGeom prst="rect">
            <a:avLst/>
          </a:prstGeom>
        </p:spPr>
        <p:txBody>
          <a:bodyPr wrap="square">
            <a:spAutoFit/>
          </a:bodyPr>
          <a:lstStyle/>
          <a:p>
            <a:r>
              <a:rPr lang="en-ZA" sz="1100" dirty="0">
                <a:solidFill>
                  <a:srgbClr val="282828"/>
                </a:solidFill>
                <a:latin typeface="ArialMT"/>
              </a:rPr>
              <a:t>• </a:t>
            </a:r>
            <a:r>
              <a:rPr lang="en-ZA" sz="1100" dirty="0">
                <a:solidFill>
                  <a:srgbClr val="282828"/>
                </a:solidFill>
                <a:latin typeface="Calibri" panose="020F0502020204030204" pitchFamily="34" charset="0"/>
              </a:rPr>
              <a:t>Total construction cost reducing </a:t>
            </a:r>
            <a:r>
              <a:rPr lang="en-ZA" sz="1100" b="1" dirty="0">
                <a:solidFill>
                  <a:srgbClr val="E4241B"/>
                </a:solidFill>
                <a:latin typeface="Calibri-Bold"/>
              </a:rPr>
              <a:t>12%+</a:t>
            </a:r>
            <a:r>
              <a:rPr lang="en-ZA" sz="1100" dirty="0">
                <a:solidFill>
                  <a:srgbClr val="282828"/>
                </a:solidFill>
                <a:latin typeface="Calibri" panose="020F0502020204030204" pitchFamily="34" charset="0"/>
              </a:rPr>
              <a:t> </a:t>
            </a:r>
          </a:p>
          <a:p>
            <a:r>
              <a:rPr lang="fr-FR" sz="1100" dirty="0">
                <a:solidFill>
                  <a:srgbClr val="282828"/>
                </a:solidFill>
                <a:latin typeface="ArialMT"/>
              </a:rPr>
              <a:t>• </a:t>
            </a:r>
            <a:r>
              <a:rPr lang="fr-FR" sz="1100" dirty="0" err="1">
                <a:solidFill>
                  <a:srgbClr val="282828"/>
                </a:solidFill>
                <a:latin typeface="Calibri" panose="020F0502020204030204" pitchFamily="34" charset="0"/>
              </a:rPr>
              <a:t>Easy</a:t>
            </a:r>
            <a:r>
              <a:rPr lang="fr-FR" sz="1100" dirty="0">
                <a:solidFill>
                  <a:srgbClr val="282828"/>
                </a:solidFill>
                <a:latin typeface="Calibri" panose="020F0502020204030204" pitchFamily="34" charset="0"/>
              </a:rPr>
              <a:t> site acquisition, site acquisition </a:t>
            </a:r>
            <a:r>
              <a:rPr lang="fr-FR" sz="1100" dirty="0" err="1">
                <a:solidFill>
                  <a:srgbClr val="282828"/>
                </a:solidFill>
                <a:latin typeface="Calibri" panose="020F0502020204030204" pitchFamily="34" charset="0"/>
              </a:rPr>
              <a:t>success</a:t>
            </a:r>
            <a:r>
              <a:rPr lang="fr-FR" sz="1100" dirty="0">
                <a:solidFill>
                  <a:srgbClr val="282828"/>
                </a:solidFill>
                <a:latin typeface="Calibri" panose="020F0502020204030204" pitchFamily="34" charset="0"/>
              </a:rPr>
              <a:t> ratio </a:t>
            </a:r>
            <a:r>
              <a:rPr lang="fr-FR" sz="1100" dirty="0" err="1">
                <a:solidFill>
                  <a:srgbClr val="282828"/>
                </a:solidFill>
                <a:latin typeface="Calibri" panose="020F0502020204030204" pitchFamily="34" charset="0"/>
              </a:rPr>
              <a:t>improvement</a:t>
            </a:r>
            <a:r>
              <a:rPr lang="fr-FR" sz="1100" dirty="0">
                <a:solidFill>
                  <a:srgbClr val="282828"/>
                </a:solidFill>
                <a:latin typeface="Calibri" panose="020F0502020204030204" pitchFamily="34" charset="0"/>
              </a:rPr>
              <a:t>: </a:t>
            </a:r>
            <a:r>
              <a:rPr lang="fr-FR" sz="1100" b="1" dirty="0">
                <a:solidFill>
                  <a:srgbClr val="E4241B"/>
                </a:solidFill>
                <a:latin typeface="Calibri-Bold"/>
              </a:rPr>
              <a:t>10%</a:t>
            </a:r>
          </a:p>
          <a:p>
            <a:r>
              <a:rPr lang="en-ZA" sz="1100" dirty="0">
                <a:solidFill>
                  <a:srgbClr val="282828"/>
                </a:solidFill>
                <a:latin typeface="ArialMT"/>
              </a:rPr>
              <a:t>• </a:t>
            </a:r>
            <a:r>
              <a:rPr lang="en-ZA" sz="1100" dirty="0">
                <a:solidFill>
                  <a:srgbClr val="282828"/>
                </a:solidFill>
                <a:latin typeface="Calibri" panose="020F0502020204030204" pitchFamily="34" charset="0"/>
              </a:rPr>
              <a:t>Construction time savings: </a:t>
            </a:r>
            <a:r>
              <a:rPr lang="en-ZA" sz="1100" b="1" dirty="0">
                <a:solidFill>
                  <a:srgbClr val="E4241B"/>
                </a:solidFill>
                <a:latin typeface="Calibri-Bold"/>
              </a:rPr>
              <a:t>~20%</a:t>
            </a:r>
          </a:p>
          <a:p>
            <a:r>
              <a:rPr lang="en-ZA" sz="1100" dirty="0">
                <a:solidFill>
                  <a:srgbClr val="282828"/>
                </a:solidFill>
                <a:latin typeface="ArialMT"/>
              </a:rPr>
              <a:t>• </a:t>
            </a:r>
            <a:r>
              <a:rPr lang="en-ZA" sz="1100" dirty="0">
                <a:solidFill>
                  <a:srgbClr val="282828"/>
                </a:solidFill>
                <a:latin typeface="Calibri" panose="020F0502020204030204" pitchFamily="34" charset="0"/>
              </a:rPr>
              <a:t>Better coordination improving user experience: </a:t>
            </a:r>
            <a:r>
              <a:rPr lang="en-ZA" sz="1100" b="1" dirty="0">
                <a:solidFill>
                  <a:srgbClr val="E4241B"/>
                </a:solidFill>
                <a:latin typeface="Calibri-Bold"/>
              </a:rPr>
              <a:t>30%</a:t>
            </a:r>
          </a:p>
          <a:p>
            <a:r>
              <a:rPr lang="en-ZA" sz="1100" dirty="0">
                <a:solidFill>
                  <a:srgbClr val="282828"/>
                </a:solidFill>
                <a:latin typeface="ArialMT"/>
              </a:rPr>
              <a:t>• </a:t>
            </a:r>
            <a:r>
              <a:rPr lang="en-ZA" sz="1100" dirty="0">
                <a:solidFill>
                  <a:srgbClr val="282828"/>
                </a:solidFill>
                <a:latin typeface="Calibri" panose="020F0502020204030204" pitchFamily="34" charset="0"/>
              </a:rPr>
              <a:t>In rural, </a:t>
            </a:r>
            <a:r>
              <a:rPr lang="en-ZA" sz="1100" b="1" dirty="0">
                <a:solidFill>
                  <a:srgbClr val="E4241B"/>
                </a:solidFill>
                <a:latin typeface="Calibri-Bold"/>
              </a:rPr>
              <a:t>~2dB </a:t>
            </a:r>
            <a:r>
              <a:rPr lang="en-ZA" sz="1100" dirty="0">
                <a:solidFill>
                  <a:srgbClr val="282828"/>
                </a:solidFill>
                <a:latin typeface="Calibri" panose="020F0502020204030204" pitchFamily="34" charset="0"/>
              </a:rPr>
              <a:t>better coverage</a:t>
            </a:r>
          </a:p>
          <a:p>
            <a:r>
              <a:rPr lang="en-ZA" sz="1100" dirty="0">
                <a:solidFill>
                  <a:srgbClr val="282828"/>
                </a:solidFill>
                <a:latin typeface="ArialMT"/>
              </a:rPr>
              <a:t>• </a:t>
            </a:r>
            <a:r>
              <a:rPr lang="en-ZA" sz="1100" dirty="0">
                <a:solidFill>
                  <a:srgbClr val="282828"/>
                </a:solidFill>
                <a:latin typeface="Calibri" panose="020F0502020204030204" pitchFamily="34" charset="0"/>
              </a:rPr>
              <a:t>Remote upgrade of </a:t>
            </a:r>
            <a:r>
              <a:rPr lang="en-ZA" sz="1100" dirty="0" err="1">
                <a:solidFill>
                  <a:srgbClr val="282828"/>
                </a:solidFill>
                <a:latin typeface="Calibri" panose="020F0502020204030204" pitchFamily="34" charset="0"/>
              </a:rPr>
              <a:t>vRAN</a:t>
            </a:r>
            <a:r>
              <a:rPr lang="en-ZA" sz="1100" dirty="0">
                <a:solidFill>
                  <a:srgbClr val="282828"/>
                </a:solidFill>
                <a:latin typeface="Calibri" panose="020F0502020204030204" pitchFamily="34" charset="0"/>
              </a:rPr>
              <a:t> software</a:t>
            </a:r>
            <a:endParaRPr lang="en-ZA" sz="1100" dirty="0"/>
          </a:p>
        </p:txBody>
      </p:sp>
    </p:spTree>
    <p:extLst>
      <p:ext uri="{BB962C8B-B14F-4D97-AF65-F5344CB8AC3E}">
        <p14:creationId xmlns:p14="http://schemas.microsoft.com/office/powerpoint/2010/main" val="2153271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BB629C-6D43-4952-B962-597311E42F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6" imgW="604" imgH="606" progId="TCLayout.ActiveDocument.1">
                  <p:embed/>
                </p:oleObj>
              </mc:Choice>
              <mc:Fallback>
                <p:oleObj name="think-cell Slide" r:id="rId6" imgW="604" imgH="606" progId="TCLayout.ActiveDocument.1">
                  <p:embed/>
                  <p:pic>
                    <p:nvPicPr>
                      <p:cNvPr id="35" name="Object 34" hidden="1">
                        <a:extLst>
                          <a:ext uri="{FF2B5EF4-FFF2-40B4-BE49-F238E27FC236}">
                            <a16:creationId xmlns:a16="http://schemas.microsoft.com/office/drawing/2014/main" id="{4CBB629C-6D43-4952-B962-597311E42F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BE1CD8-0C53-4471-A67D-78824BB167F1}"/>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sp>
        <p:nvSpPr>
          <p:cNvPr id="129" name="Rectangle: Rounded Corners 349">
            <a:extLst>
              <a:ext uri="{FF2B5EF4-FFF2-40B4-BE49-F238E27FC236}">
                <a16:creationId xmlns:a16="http://schemas.microsoft.com/office/drawing/2014/main" id="{A8314ECA-9E17-4FB1-83FF-5E79C6CE3425}"/>
              </a:ext>
            </a:extLst>
          </p:cNvPr>
          <p:cNvSpPr/>
          <p:nvPr/>
        </p:nvSpPr>
        <p:spPr>
          <a:xfrm>
            <a:off x="3176" y="3109317"/>
            <a:ext cx="9144000" cy="2022705"/>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3" name="Title 2">
            <a:extLst>
              <a:ext uri="{FF2B5EF4-FFF2-40B4-BE49-F238E27FC236}">
                <a16:creationId xmlns:a16="http://schemas.microsoft.com/office/drawing/2014/main" id="{68F5BB5E-38C9-664C-A6AD-C341BDD708EC}"/>
              </a:ext>
            </a:extLst>
          </p:cNvPr>
          <p:cNvSpPr>
            <a:spLocks noGrp="1"/>
          </p:cNvSpPr>
          <p:nvPr>
            <p:ph type="title"/>
          </p:nvPr>
        </p:nvSpPr>
        <p:spPr/>
        <p:txBody>
          <a:bodyPr/>
          <a:lstStyle/>
          <a:p>
            <a:r>
              <a:rPr lang="en-US" dirty="0"/>
              <a:t>Cisco Converged Packet-based Fronthaul</a:t>
            </a:r>
          </a:p>
        </p:txBody>
      </p:sp>
      <p:pic>
        <p:nvPicPr>
          <p:cNvPr id="154" name="Picture 153">
            <a:extLst>
              <a:ext uri="{FF2B5EF4-FFF2-40B4-BE49-F238E27FC236}">
                <a16:creationId xmlns:a16="http://schemas.microsoft.com/office/drawing/2014/main" id="{0B4EDC26-940F-42EA-8685-99D0BCF9D7A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10238" y="3556342"/>
            <a:ext cx="576794" cy="576794"/>
          </a:xfrm>
          <a:prstGeom prst="rect">
            <a:avLst/>
          </a:prstGeom>
        </p:spPr>
      </p:pic>
      <p:pic>
        <p:nvPicPr>
          <p:cNvPr id="155" name="Picture 154">
            <a:extLst>
              <a:ext uri="{FF2B5EF4-FFF2-40B4-BE49-F238E27FC236}">
                <a16:creationId xmlns:a16="http://schemas.microsoft.com/office/drawing/2014/main" id="{77A47922-B6EF-4D68-B612-059E65D9E4F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197463" y="3556342"/>
            <a:ext cx="576795" cy="576795"/>
          </a:xfrm>
          <a:prstGeom prst="rect">
            <a:avLst/>
          </a:prstGeom>
        </p:spPr>
      </p:pic>
      <p:pic>
        <p:nvPicPr>
          <p:cNvPr id="156" name="Picture 155">
            <a:extLst>
              <a:ext uri="{FF2B5EF4-FFF2-40B4-BE49-F238E27FC236}">
                <a16:creationId xmlns:a16="http://schemas.microsoft.com/office/drawing/2014/main" id="{6CA86714-7A71-4714-BB4B-DCBF803BEC9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584689" y="3556342"/>
            <a:ext cx="576795" cy="576795"/>
          </a:xfrm>
          <a:prstGeom prst="rect">
            <a:avLst/>
          </a:prstGeom>
        </p:spPr>
      </p:pic>
      <p:pic>
        <p:nvPicPr>
          <p:cNvPr id="157" name="Picture 156">
            <a:extLst>
              <a:ext uri="{FF2B5EF4-FFF2-40B4-BE49-F238E27FC236}">
                <a16:creationId xmlns:a16="http://schemas.microsoft.com/office/drawing/2014/main" id="{1EEA0A36-7609-4311-8385-0CB5933E406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971915" y="3556342"/>
            <a:ext cx="576795" cy="576795"/>
          </a:xfrm>
          <a:prstGeom prst="rect">
            <a:avLst/>
          </a:prstGeom>
        </p:spPr>
      </p:pic>
      <p:pic>
        <p:nvPicPr>
          <p:cNvPr id="158" name="Picture 157">
            <a:extLst>
              <a:ext uri="{FF2B5EF4-FFF2-40B4-BE49-F238E27FC236}">
                <a16:creationId xmlns:a16="http://schemas.microsoft.com/office/drawing/2014/main" id="{DA9F41CA-EDC5-4CF5-8DD4-6FB30123346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359141" y="3546881"/>
            <a:ext cx="595716" cy="595716"/>
          </a:xfrm>
          <a:prstGeom prst="rect">
            <a:avLst/>
          </a:prstGeom>
        </p:spPr>
      </p:pic>
      <p:pic>
        <p:nvPicPr>
          <p:cNvPr id="159" name="Picture 158">
            <a:extLst>
              <a:ext uri="{FF2B5EF4-FFF2-40B4-BE49-F238E27FC236}">
                <a16:creationId xmlns:a16="http://schemas.microsoft.com/office/drawing/2014/main" id="{C2947728-B5C7-43B2-8632-D5CA738D98C0}"/>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65288" y="3556342"/>
            <a:ext cx="576795" cy="576795"/>
          </a:xfrm>
          <a:prstGeom prst="rect">
            <a:avLst/>
          </a:prstGeom>
        </p:spPr>
      </p:pic>
      <p:sp>
        <p:nvSpPr>
          <p:cNvPr id="166" name="TextBox 165">
            <a:extLst>
              <a:ext uri="{FF2B5EF4-FFF2-40B4-BE49-F238E27FC236}">
                <a16:creationId xmlns:a16="http://schemas.microsoft.com/office/drawing/2014/main" id="{1AA9D26F-8D25-44CB-8E7A-934A72A9A1DD}"/>
              </a:ext>
            </a:extLst>
          </p:cNvPr>
          <p:cNvSpPr txBox="1"/>
          <p:nvPr/>
        </p:nvSpPr>
        <p:spPr>
          <a:xfrm>
            <a:off x="0" y="3106756"/>
            <a:ext cx="9144000" cy="292608"/>
          </a:xfrm>
          <a:prstGeom prst="rect">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b="1">
                <a:solidFill>
                  <a:schemeClr val="bg1">
                    <a:lumMod val="20000"/>
                    <a:lumOff val="80000"/>
                  </a:schemeClr>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b="0" dirty="0">
                <a:solidFill>
                  <a:schemeClr val="accent5"/>
                </a:solidFill>
              </a:rPr>
              <a:t>Benefits</a:t>
            </a:r>
          </a:p>
        </p:txBody>
      </p:sp>
      <p:graphicFrame>
        <p:nvGraphicFramePr>
          <p:cNvPr id="237" name="Table 236"/>
          <p:cNvGraphicFramePr>
            <a:graphicFrameLocks noGrp="1"/>
          </p:cNvGraphicFramePr>
          <p:nvPr>
            <p:extLst>
              <p:ext uri="{D42A27DB-BD31-4B8C-83A1-F6EECF244321}">
                <p14:modId xmlns:p14="http://schemas.microsoft.com/office/powerpoint/2010/main" val="4283954847"/>
              </p:ext>
            </p:extLst>
          </p:nvPr>
        </p:nvGraphicFramePr>
        <p:xfrm>
          <a:off x="399255" y="4161913"/>
          <a:ext cx="8345490" cy="853440"/>
        </p:xfrm>
        <a:graphic>
          <a:graphicData uri="http://schemas.openxmlformats.org/drawingml/2006/table">
            <a:tbl>
              <a:tblPr firstRow="1" bandRow="1">
                <a:tableStyleId>{C083E6E3-FA7D-4D7B-A595-EF9225AFEA82}</a:tableStyleId>
              </a:tblPr>
              <a:tblGrid>
                <a:gridCol w="1390915">
                  <a:extLst>
                    <a:ext uri="{9D8B030D-6E8A-4147-A177-3AD203B41FA5}">
                      <a16:colId xmlns:a16="http://schemas.microsoft.com/office/drawing/2014/main" val="2052442022"/>
                    </a:ext>
                  </a:extLst>
                </a:gridCol>
                <a:gridCol w="1390915">
                  <a:extLst>
                    <a:ext uri="{9D8B030D-6E8A-4147-A177-3AD203B41FA5}">
                      <a16:colId xmlns:a16="http://schemas.microsoft.com/office/drawing/2014/main" val="1770547949"/>
                    </a:ext>
                  </a:extLst>
                </a:gridCol>
                <a:gridCol w="1390915">
                  <a:extLst>
                    <a:ext uri="{9D8B030D-6E8A-4147-A177-3AD203B41FA5}">
                      <a16:colId xmlns:a16="http://schemas.microsoft.com/office/drawing/2014/main" val="2169579410"/>
                    </a:ext>
                  </a:extLst>
                </a:gridCol>
                <a:gridCol w="1390915">
                  <a:extLst>
                    <a:ext uri="{9D8B030D-6E8A-4147-A177-3AD203B41FA5}">
                      <a16:colId xmlns:a16="http://schemas.microsoft.com/office/drawing/2014/main" val="46719057"/>
                    </a:ext>
                  </a:extLst>
                </a:gridCol>
                <a:gridCol w="1390915">
                  <a:extLst>
                    <a:ext uri="{9D8B030D-6E8A-4147-A177-3AD203B41FA5}">
                      <a16:colId xmlns:a16="http://schemas.microsoft.com/office/drawing/2014/main" val="2550866390"/>
                    </a:ext>
                  </a:extLst>
                </a:gridCol>
                <a:gridCol w="1390915">
                  <a:extLst>
                    <a:ext uri="{9D8B030D-6E8A-4147-A177-3AD203B41FA5}">
                      <a16:colId xmlns:a16="http://schemas.microsoft.com/office/drawing/2014/main" val="1440488802"/>
                    </a:ext>
                  </a:extLst>
                </a:gridCol>
              </a:tblGrid>
              <a:tr h="370840">
                <a:tc>
                  <a:txBody>
                    <a:bodyPr/>
                    <a:lstStyle/>
                    <a:p>
                      <a:pPr algn="ctr"/>
                      <a:r>
                        <a:rPr lang="en-US" sz="1000" b="0" dirty="0">
                          <a:solidFill>
                            <a:schemeClr val="bg2"/>
                          </a:solidFill>
                        </a:rPr>
                        <a:t>Convergence of radio</a:t>
                      </a: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b="0" dirty="0">
                          <a:solidFill>
                            <a:schemeClr val="bg2"/>
                          </a:solidFill>
                        </a:rPr>
                        <a:t>New enterprise services using </a:t>
                      </a:r>
                      <a:r>
                        <a:rPr lang="en-US" sz="1000" b="0" dirty="0" err="1">
                          <a:solidFill>
                            <a:schemeClr val="bg2"/>
                          </a:solidFill>
                        </a:rPr>
                        <a:t>fronthaul</a:t>
                      </a:r>
                      <a:r>
                        <a:rPr lang="en-US" sz="1000" b="0" dirty="0">
                          <a:solidFill>
                            <a:schemeClr val="bg2"/>
                          </a:solidFill>
                        </a:rPr>
                        <a:t> network</a:t>
                      </a: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b="0" dirty="0">
                          <a:solidFill>
                            <a:schemeClr val="bg2"/>
                          </a:solidFill>
                        </a:rPr>
                        <a:t>Supports packet-to-packet (p-2-p), ring topology, and Fabric Design</a:t>
                      </a: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b="0" dirty="0">
                          <a:solidFill>
                            <a:schemeClr val="bg2"/>
                          </a:solidFill>
                        </a:rPr>
                        <a:t>Capex Savings</a:t>
                      </a:r>
                    </a:p>
                    <a:p>
                      <a:pPr marL="117475" indent="-117475" algn="l">
                        <a:buFont typeface="Arial" panose="020B0604020202020204" pitchFamily="34" charset="0"/>
                        <a:buChar char="•"/>
                      </a:pPr>
                      <a:r>
                        <a:rPr lang="en-US" sz="800" b="0" dirty="0">
                          <a:solidFill>
                            <a:schemeClr val="bg2"/>
                          </a:solidFill>
                        </a:rPr>
                        <a:t>81% over </a:t>
                      </a:r>
                      <a:r>
                        <a:rPr lang="en-US" sz="800" b="0" dirty="0" err="1">
                          <a:solidFill>
                            <a:schemeClr val="bg2"/>
                          </a:solidFill>
                        </a:rPr>
                        <a:t>roadm</a:t>
                      </a:r>
                      <a:endParaRPr lang="en-US" sz="800" b="0" dirty="0">
                        <a:solidFill>
                          <a:schemeClr val="bg2"/>
                        </a:solidFill>
                      </a:endParaRPr>
                    </a:p>
                    <a:p>
                      <a:pPr marL="117475" indent="-117475" algn="l">
                        <a:buFont typeface="Arial" panose="020B0604020202020204" pitchFamily="34" charset="0"/>
                        <a:buChar char="•"/>
                      </a:pPr>
                      <a:r>
                        <a:rPr lang="en-US" sz="800" b="0" dirty="0">
                          <a:solidFill>
                            <a:schemeClr val="bg2"/>
                          </a:solidFill>
                        </a:rPr>
                        <a:t>59% over p-2-p active optical</a:t>
                      </a:r>
                    </a:p>
                    <a:p>
                      <a:pPr marL="117475" indent="-117475" algn="l">
                        <a:buFont typeface="Arial" panose="020B0604020202020204" pitchFamily="34" charset="0"/>
                        <a:buChar char="•"/>
                      </a:pPr>
                      <a:r>
                        <a:rPr lang="en-US" sz="800" b="0" dirty="0">
                          <a:solidFill>
                            <a:schemeClr val="bg2"/>
                          </a:solidFill>
                        </a:rPr>
                        <a:t>11% over p-2-p passive optical </a:t>
                      </a: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b="0" dirty="0">
                          <a:solidFill>
                            <a:schemeClr val="bg2"/>
                          </a:solidFill>
                        </a:rPr>
                        <a:t>Packetized radio stat-mux that enables SPs to increase margins</a:t>
                      </a: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b="0" dirty="0">
                          <a:solidFill>
                            <a:schemeClr val="bg2"/>
                          </a:solidFill>
                        </a:rPr>
                        <a:t>Network slicing</a:t>
                      </a:r>
                    </a:p>
                  </a:txBody>
                  <a:tcP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79776135"/>
                  </a:ext>
                </a:extLst>
              </a:tr>
            </a:tbl>
          </a:graphicData>
        </a:graphic>
      </p:graphicFrame>
      <p:grpSp>
        <p:nvGrpSpPr>
          <p:cNvPr id="5" name="Group 4">
            <a:extLst>
              <a:ext uri="{FF2B5EF4-FFF2-40B4-BE49-F238E27FC236}">
                <a16:creationId xmlns:a16="http://schemas.microsoft.com/office/drawing/2014/main" id="{F5F135C2-9E8E-4238-AA8E-ABDBCBF2EA28}"/>
              </a:ext>
            </a:extLst>
          </p:cNvPr>
          <p:cNvGrpSpPr/>
          <p:nvPr/>
        </p:nvGrpSpPr>
        <p:grpSpPr>
          <a:xfrm>
            <a:off x="152104" y="894875"/>
            <a:ext cx="8839793" cy="2188196"/>
            <a:chOff x="152104" y="814190"/>
            <a:chExt cx="8839793" cy="2188196"/>
          </a:xfrm>
        </p:grpSpPr>
        <p:sp>
          <p:nvSpPr>
            <p:cNvPr id="147" name="Rectangle: Rounded Corners 90">
              <a:extLst>
                <a:ext uri="{FF2B5EF4-FFF2-40B4-BE49-F238E27FC236}">
                  <a16:creationId xmlns:a16="http://schemas.microsoft.com/office/drawing/2014/main" id="{C92EE6C5-6A94-4E85-AF4C-22448E76EFF9}"/>
                </a:ext>
              </a:extLst>
            </p:cNvPr>
            <p:cNvSpPr/>
            <p:nvPr/>
          </p:nvSpPr>
          <p:spPr>
            <a:xfrm>
              <a:off x="152104" y="814190"/>
              <a:ext cx="4313415" cy="2188196"/>
            </a:xfrm>
            <a:prstGeom prst="roundRect">
              <a:avLst>
                <a:gd name="adj" fmla="val 8978"/>
              </a:avLst>
            </a:prstGeom>
            <a:solidFill>
              <a:schemeClr val="bg2">
                <a:lumMod val="9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lIns="27432" tIns="9144" rIns="27432" bIns="27432" rtlCol="0" anchor="t"/>
            <a:lstStyle/>
            <a:p>
              <a:pPr algn="ctr"/>
              <a:r>
                <a:rPr lang="en-US" sz="1400" dirty="0"/>
                <a:t>Optical </a:t>
              </a:r>
              <a:r>
                <a:rPr lang="en-US" sz="1400" dirty="0" err="1"/>
                <a:t>Fronthaul</a:t>
              </a:r>
              <a:endParaRPr lang="en-US" sz="1400" dirty="0"/>
            </a:p>
          </p:txBody>
        </p:sp>
        <p:sp>
          <p:nvSpPr>
            <p:cNvPr id="148" name="Rectangle: Rounded Corners 151">
              <a:extLst>
                <a:ext uri="{FF2B5EF4-FFF2-40B4-BE49-F238E27FC236}">
                  <a16:creationId xmlns:a16="http://schemas.microsoft.com/office/drawing/2014/main" id="{A30E78AC-1500-4F7C-8681-942592E2E8A9}"/>
                </a:ext>
              </a:extLst>
            </p:cNvPr>
            <p:cNvSpPr/>
            <p:nvPr/>
          </p:nvSpPr>
          <p:spPr>
            <a:xfrm>
              <a:off x="4678482" y="814190"/>
              <a:ext cx="4313415" cy="2188196"/>
            </a:xfrm>
            <a:prstGeom prst="roundRect">
              <a:avLst>
                <a:gd name="adj" fmla="val 10650"/>
              </a:avLst>
            </a:prstGeom>
            <a:solidFill>
              <a:schemeClr val="bg2">
                <a:lumMod val="9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9144" rIns="27432" bIns="27432" numCol="1" spcCol="0" rtlCol="0" fromWordArt="0" anchor="t" anchorCtr="0" forceAA="0" compatLnSpc="1">
              <a:prstTxWarp prst="textNoShape">
                <a:avLst/>
              </a:prstTxWarp>
              <a:noAutofit/>
            </a:bodyPr>
            <a:lstStyle/>
            <a:p>
              <a:pPr algn="ctr"/>
              <a:r>
                <a:rPr lang="en-US" sz="1400" dirty="0"/>
                <a:t>Converged Packet-based Fronthaul</a:t>
              </a:r>
            </a:p>
          </p:txBody>
        </p:sp>
        <p:sp>
          <p:nvSpPr>
            <p:cNvPr id="244" name="Isosceles Triangle 243"/>
            <p:cNvSpPr/>
            <p:nvPr/>
          </p:nvSpPr>
          <p:spPr>
            <a:xfrm rot="5400000">
              <a:off x="4489494" y="1849779"/>
              <a:ext cx="165691" cy="117019"/>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53" name="Rounded Rectangle 152">
              <a:extLst>
                <a:ext uri="{FF2B5EF4-FFF2-40B4-BE49-F238E27FC236}">
                  <a16:creationId xmlns:a16="http://schemas.microsoft.com/office/drawing/2014/main" id="{DCEA5560-F9F9-074B-A087-E98AAFC3ACD8}"/>
                </a:ext>
              </a:extLst>
            </p:cNvPr>
            <p:cNvSpPr/>
            <p:nvPr/>
          </p:nvSpPr>
          <p:spPr>
            <a:xfrm>
              <a:off x="206926" y="1216117"/>
              <a:ext cx="1963067" cy="1633785"/>
            </a:xfrm>
            <a:prstGeom prst="roundRect">
              <a:avLst>
                <a:gd name="adj" fmla="val 1263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514337">
                <a:defRPr/>
              </a:pPr>
              <a:endParaRPr lang="en-US" sz="825">
                <a:solidFill>
                  <a:schemeClr val="bg2"/>
                </a:solidFill>
              </a:endParaRPr>
            </a:p>
          </p:txBody>
        </p:sp>
        <p:sp>
          <p:nvSpPr>
            <p:cNvPr id="160" name="Rounded Rectangle 159">
              <a:extLst>
                <a:ext uri="{FF2B5EF4-FFF2-40B4-BE49-F238E27FC236}">
                  <a16:creationId xmlns:a16="http://schemas.microsoft.com/office/drawing/2014/main" id="{861D3063-6627-4D4D-99A8-592E2CD86A59}"/>
                </a:ext>
              </a:extLst>
            </p:cNvPr>
            <p:cNvSpPr/>
            <p:nvPr/>
          </p:nvSpPr>
          <p:spPr>
            <a:xfrm>
              <a:off x="2546565" y="1221135"/>
              <a:ext cx="1855657" cy="1628767"/>
            </a:xfrm>
            <a:prstGeom prst="roundRect">
              <a:avLst>
                <a:gd name="adj" fmla="val 10828"/>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514337">
                <a:defRPr/>
              </a:pPr>
              <a:endParaRPr lang="en-US" sz="825">
                <a:solidFill>
                  <a:schemeClr val="bg2"/>
                </a:solidFill>
              </a:endParaRPr>
            </a:p>
          </p:txBody>
        </p:sp>
        <p:grpSp>
          <p:nvGrpSpPr>
            <p:cNvPr id="168" name="Group 167">
              <a:extLst>
                <a:ext uri="{FF2B5EF4-FFF2-40B4-BE49-F238E27FC236}">
                  <a16:creationId xmlns:a16="http://schemas.microsoft.com/office/drawing/2014/main" id="{F0502BE3-C679-4A4F-A5B6-3633577E1782}"/>
                </a:ext>
              </a:extLst>
            </p:cNvPr>
            <p:cNvGrpSpPr>
              <a:grpSpLocks noChangeAspect="1"/>
            </p:cNvGrpSpPr>
            <p:nvPr/>
          </p:nvGrpSpPr>
          <p:grpSpPr>
            <a:xfrm flipH="1">
              <a:off x="3694859" y="1716353"/>
              <a:ext cx="230765" cy="412439"/>
              <a:chOff x="6146801" y="2133602"/>
              <a:chExt cx="644525" cy="566738"/>
            </a:xfrm>
          </p:grpSpPr>
          <p:sp>
            <p:nvSpPr>
              <p:cNvPr id="171" name="Freeform 278">
                <a:extLst>
                  <a:ext uri="{FF2B5EF4-FFF2-40B4-BE49-F238E27FC236}">
                    <a16:creationId xmlns:a16="http://schemas.microsoft.com/office/drawing/2014/main" id="{78F22937-9BCD-F646-BEDB-F69707FF6299}"/>
                  </a:ext>
                </a:extLst>
              </p:cNvPr>
              <p:cNvSpPr>
                <a:spLocks/>
              </p:cNvSpPr>
              <p:nvPr/>
            </p:nvSpPr>
            <p:spPr bwMode="auto">
              <a:xfrm>
                <a:off x="6146801" y="2482852"/>
                <a:ext cx="644525" cy="103188"/>
              </a:xfrm>
              <a:custGeom>
                <a:avLst/>
                <a:gdLst>
                  <a:gd name="T0" fmla="*/ 387 w 387"/>
                  <a:gd name="T1" fmla="*/ 10 h 62"/>
                  <a:gd name="T2" fmla="*/ 387 w 387"/>
                  <a:gd name="T3" fmla="*/ 52 h 62"/>
                  <a:gd name="T4" fmla="*/ 376 w 387"/>
                  <a:gd name="T5" fmla="*/ 62 h 62"/>
                  <a:gd name="T6" fmla="*/ 11 w 387"/>
                  <a:gd name="T7" fmla="*/ 62 h 62"/>
                  <a:gd name="T8" fmla="*/ 0 w 387"/>
                  <a:gd name="T9" fmla="*/ 52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2"/>
                      <a:pt x="387" y="52"/>
                      <a:pt x="387" y="52"/>
                    </a:cubicBezTo>
                    <a:cubicBezTo>
                      <a:pt x="387" y="57"/>
                      <a:pt x="382" y="62"/>
                      <a:pt x="376" y="62"/>
                    </a:cubicBezTo>
                    <a:cubicBezTo>
                      <a:pt x="11" y="62"/>
                      <a:pt x="11" y="62"/>
                      <a:pt x="11" y="62"/>
                    </a:cubicBezTo>
                    <a:cubicBezTo>
                      <a:pt x="5" y="62"/>
                      <a:pt x="0" y="57"/>
                      <a:pt x="0" y="52"/>
                    </a:cubicBezTo>
                    <a:cubicBezTo>
                      <a:pt x="0" y="10"/>
                      <a:pt x="0" y="10"/>
                      <a:pt x="0" y="10"/>
                    </a:cubicBezTo>
                    <a:cubicBezTo>
                      <a:pt x="0" y="5"/>
                      <a:pt x="5" y="0"/>
                      <a:pt x="11" y="0"/>
                    </a:cubicBezTo>
                    <a:cubicBezTo>
                      <a:pt x="376" y="0"/>
                      <a:pt x="376" y="0"/>
                      <a:pt x="376" y="0"/>
                    </a:cubicBezTo>
                    <a:cubicBezTo>
                      <a:pt x="382" y="0"/>
                      <a:pt x="387" y="5"/>
                      <a:pt x="387" y="1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72" name="Line 279">
                <a:extLst>
                  <a:ext uri="{FF2B5EF4-FFF2-40B4-BE49-F238E27FC236}">
                    <a16:creationId xmlns:a16="http://schemas.microsoft.com/office/drawing/2014/main" id="{00F5653C-AA12-E44D-BF96-42D2F5454EAC}"/>
                  </a:ext>
                </a:extLst>
              </p:cNvPr>
              <p:cNvSpPr>
                <a:spLocks noChangeShapeType="1"/>
              </p:cNvSpPr>
              <p:nvPr/>
            </p:nvSpPr>
            <p:spPr bwMode="auto">
              <a:xfrm flipV="1">
                <a:off x="6176964"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73" name="Line 280">
                <a:extLst>
                  <a:ext uri="{FF2B5EF4-FFF2-40B4-BE49-F238E27FC236}">
                    <a16:creationId xmlns:a16="http://schemas.microsoft.com/office/drawing/2014/main" id="{F2E5371F-6675-A847-A9B5-F77B17B3E292}"/>
                  </a:ext>
                </a:extLst>
              </p:cNvPr>
              <p:cNvSpPr>
                <a:spLocks noChangeShapeType="1"/>
              </p:cNvSpPr>
              <p:nvPr/>
            </p:nvSpPr>
            <p:spPr bwMode="auto">
              <a:xfrm flipV="1">
                <a:off x="6207126"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74" name="Line 281">
                <a:extLst>
                  <a:ext uri="{FF2B5EF4-FFF2-40B4-BE49-F238E27FC236}">
                    <a16:creationId xmlns:a16="http://schemas.microsoft.com/office/drawing/2014/main" id="{EA33A454-7BDD-704F-BC3B-F324F1E6A9B7}"/>
                  </a:ext>
                </a:extLst>
              </p:cNvPr>
              <p:cNvSpPr>
                <a:spLocks noChangeShapeType="1"/>
              </p:cNvSpPr>
              <p:nvPr/>
            </p:nvSpPr>
            <p:spPr bwMode="auto">
              <a:xfrm flipV="1">
                <a:off x="6238876"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79" name="Line 282">
                <a:extLst>
                  <a:ext uri="{FF2B5EF4-FFF2-40B4-BE49-F238E27FC236}">
                    <a16:creationId xmlns:a16="http://schemas.microsoft.com/office/drawing/2014/main" id="{AC12D128-7F35-EB46-81F5-735B01B9A5DA}"/>
                  </a:ext>
                </a:extLst>
              </p:cNvPr>
              <p:cNvSpPr>
                <a:spLocks noChangeShapeType="1"/>
              </p:cNvSpPr>
              <p:nvPr/>
            </p:nvSpPr>
            <p:spPr bwMode="auto">
              <a:xfrm flipV="1">
                <a:off x="6267451"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80" name="Line 283">
                <a:extLst>
                  <a:ext uri="{FF2B5EF4-FFF2-40B4-BE49-F238E27FC236}">
                    <a16:creationId xmlns:a16="http://schemas.microsoft.com/office/drawing/2014/main" id="{A4202398-B4C3-724B-A84C-7A7C29BA31F3}"/>
                  </a:ext>
                </a:extLst>
              </p:cNvPr>
              <p:cNvSpPr>
                <a:spLocks noChangeShapeType="1"/>
              </p:cNvSpPr>
              <p:nvPr/>
            </p:nvSpPr>
            <p:spPr bwMode="auto">
              <a:xfrm flipV="1">
                <a:off x="6297614"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81" name="Freeform 284">
                <a:extLst>
                  <a:ext uri="{FF2B5EF4-FFF2-40B4-BE49-F238E27FC236}">
                    <a16:creationId xmlns:a16="http://schemas.microsoft.com/office/drawing/2014/main" id="{AD303241-C667-CD44-AE8C-968FF861C603}"/>
                  </a:ext>
                </a:extLst>
              </p:cNvPr>
              <p:cNvSpPr>
                <a:spLocks/>
              </p:cNvSpPr>
              <p:nvPr/>
            </p:nvSpPr>
            <p:spPr bwMode="auto">
              <a:xfrm>
                <a:off x="6146801" y="2598740"/>
                <a:ext cx="644525" cy="101600"/>
              </a:xfrm>
              <a:custGeom>
                <a:avLst/>
                <a:gdLst>
                  <a:gd name="T0" fmla="*/ 387 w 387"/>
                  <a:gd name="T1" fmla="*/ 10 h 61"/>
                  <a:gd name="T2" fmla="*/ 387 w 387"/>
                  <a:gd name="T3" fmla="*/ 51 h 61"/>
                  <a:gd name="T4" fmla="*/ 376 w 387"/>
                  <a:gd name="T5" fmla="*/ 61 h 61"/>
                  <a:gd name="T6" fmla="*/ 11 w 387"/>
                  <a:gd name="T7" fmla="*/ 61 h 61"/>
                  <a:gd name="T8" fmla="*/ 0 w 387"/>
                  <a:gd name="T9" fmla="*/ 51 h 61"/>
                  <a:gd name="T10" fmla="*/ 0 w 387"/>
                  <a:gd name="T11" fmla="*/ 10 h 61"/>
                  <a:gd name="T12" fmla="*/ 11 w 387"/>
                  <a:gd name="T13" fmla="*/ 0 h 61"/>
                  <a:gd name="T14" fmla="*/ 376 w 387"/>
                  <a:gd name="T15" fmla="*/ 0 h 61"/>
                  <a:gd name="T16" fmla="*/ 387 w 387"/>
                  <a:gd name="T17"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1">
                    <a:moveTo>
                      <a:pt x="387" y="10"/>
                    </a:moveTo>
                    <a:cubicBezTo>
                      <a:pt x="387" y="51"/>
                      <a:pt x="387" y="51"/>
                      <a:pt x="387" y="51"/>
                    </a:cubicBezTo>
                    <a:cubicBezTo>
                      <a:pt x="387" y="57"/>
                      <a:pt x="382" y="61"/>
                      <a:pt x="376" y="61"/>
                    </a:cubicBezTo>
                    <a:cubicBezTo>
                      <a:pt x="11" y="61"/>
                      <a:pt x="11" y="61"/>
                      <a:pt x="11" y="61"/>
                    </a:cubicBezTo>
                    <a:cubicBezTo>
                      <a:pt x="5" y="61"/>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83" name="Line 285">
                <a:extLst>
                  <a:ext uri="{FF2B5EF4-FFF2-40B4-BE49-F238E27FC236}">
                    <a16:creationId xmlns:a16="http://schemas.microsoft.com/office/drawing/2014/main" id="{C53FCA4F-E28C-7E4E-B568-3FC0E0B36A28}"/>
                  </a:ext>
                </a:extLst>
              </p:cNvPr>
              <p:cNvSpPr>
                <a:spLocks noChangeShapeType="1"/>
              </p:cNvSpPr>
              <p:nvPr/>
            </p:nvSpPr>
            <p:spPr bwMode="auto">
              <a:xfrm flipV="1">
                <a:off x="6176964"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84" name="Line 286">
                <a:extLst>
                  <a:ext uri="{FF2B5EF4-FFF2-40B4-BE49-F238E27FC236}">
                    <a16:creationId xmlns:a16="http://schemas.microsoft.com/office/drawing/2014/main" id="{C9728D45-7785-B54D-A6AD-0EB2D2177A1E}"/>
                  </a:ext>
                </a:extLst>
              </p:cNvPr>
              <p:cNvSpPr>
                <a:spLocks noChangeShapeType="1"/>
              </p:cNvSpPr>
              <p:nvPr/>
            </p:nvSpPr>
            <p:spPr bwMode="auto">
              <a:xfrm flipV="1">
                <a:off x="6207126"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85" name="Line 287">
                <a:extLst>
                  <a:ext uri="{FF2B5EF4-FFF2-40B4-BE49-F238E27FC236}">
                    <a16:creationId xmlns:a16="http://schemas.microsoft.com/office/drawing/2014/main" id="{FC6EE4F6-7804-5D46-84BF-12761B9D882B}"/>
                  </a:ext>
                </a:extLst>
              </p:cNvPr>
              <p:cNvSpPr>
                <a:spLocks noChangeShapeType="1"/>
              </p:cNvSpPr>
              <p:nvPr/>
            </p:nvSpPr>
            <p:spPr bwMode="auto">
              <a:xfrm flipV="1">
                <a:off x="6238876"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86" name="Line 288">
                <a:extLst>
                  <a:ext uri="{FF2B5EF4-FFF2-40B4-BE49-F238E27FC236}">
                    <a16:creationId xmlns:a16="http://schemas.microsoft.com/office/drawing/2014/main" id="{673672A8-4E12-CD46-92CD-3B482F1741E9}"/>
                  </a:ext>
                </a:extLst>
              </p:cNvPr>
              <p:cNvSpPr>
                <a:spLocks noChangeShapeType="1"/>
              </p:cNvSpPr>
              <p:nvPr/>
            </p:nvSpPr>
            <p:spPr bwMode="auto">
              <a:xfrm flipV="1">
                <a:off x="6267451"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87" name="Line 289">
                <a:extLst>
                  <a:ext uri="{FF2B5EF4-FFF2-40B4-BE49-F238E27FC236}">
                    <a16:creationId xmlns:a16="http://schemas.microsoft.com/office/drawing/2014/main" id="{55669EC0-BAC2-D540-97FD-FD872205D41A}"/>
                  </a:ext>
                </a:extLst>
              </p:cNvPr>
              <p:cNvSpPr>
                <a:spLocks noChangeShapeType="1"/>
              </p:cNvSpPr>
              <p:nvPr/>
            </p:nvSpPr>
            <p:spPr bwMode="auto">
              <a:xfrm flipV="1">
                <a:off x="6297614"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88" name="Freeform 290">
                <a:extLst>
                  <a:ext uri="{FF2B5EF4-FFF2-40B4-BE49-F238E27FC236}">
                    <a16:creationId xmlns:a16="http://schemas.microsoft.com/office/drawing/2014/main" id="{593678EC-3CE6-7146-B480-9ED47EBCE966}"/>
                  </a:ext>
                </a:extLst>
              </p:cNvPr>
              <p:cNvSpPr>
                <a:spLocks/>
              </p:cNvSpPr>
              <p:nvPr/>
            </p:nvSpPr>
            <p:spPr bwMode="auto">
              <a:xfrm>
                <a:off x="6146801" y="2133602"/>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7"/>
                      <a:pt x="382" y="62"/>
                      <a:pt x="376" y="62"/>
                    </a:cubicBezTo>
                    <a:cubicBezTo>
                      <a:pt x="11" y="62"/>
                      <a:pt x="11" y="62"/>
                      <a:pt x="11" y="62"/>
                    </a:cubicBezTo>
                    <a:cubicBezTo>
                      <a:pt x="5" y="62"/>
                      <a:pt x="0" y="57"/>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91" name="Line 291">
                <a:extLst>
                  <a:ext uri="{FF2B5EF4-FFF2-40B4-BE49-F238E27FC236}">
                    <a16:creationId xmlns:a16="http://schemas.microsoft.com/office/drawing/2014/main" id="{054BA7FC-E55D-3B4C-BF95-738462958218}"/>
                  </a:ext>
                </a:extLst>
              </p:cNvPr>
              <p:cNvSpPr>
                <a:spLocks noChangeShapeType="1"/>
              </p:cNvSpPr>
              <p:nvPr/>
            </p:nvSpPr>
            <p:spPr bwMode="auto">
              <a:xfrm flipV="1">
                <a:off x="6176964"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97" name="Line 292">
                <a:extLst>
                  <a:ext uri="{FF2B5EF4-FFF2-40B4-BE49-F238E27FC236}">
                    <a16:creationId xmlns:a16="http://schemas.microsoft.com/office/drawing/2014/main" id="{7B02F9AB-8D8A-CA46-BB8E-E5C55AE06B71}"/>
                  </a:ext>
                </a:extLst>
              </p:cNvPr>
              <p:cNvSpPr>
                <a:spLocks noChangeShapeType="1"/>
              </p:cNvSpPr>
              <p:nvPr/>
            </p:nvSpPr>
            <p:spPr bwMode="auto">
              <a:xfrm flipV="1">
                <a:off x="6207126"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98" name="Line 293">
                <a:extLst>
                  <a:ext uri="{FF2B5EF4-FFF2-40B4-BE49-F238E27FC236}">
                    <a16:creationId xmlns:a16="http://schemas.microsoft.com/office/drawing/2014/main" id="{4ADD1DD3-0D9C-1B4A-BAB6-DC81A882D096}"/>
                  </a:ext>
                </a:extLst>
              </p:cNvPr>
              <p:cNvSpPr>
                <a:spLocks noChangeShapeType="1"/>
              </p:cNvSpPr>
              <p:nvPr/>
            </p:nvSpPr>
            <p:spPr bwMode="auto">
              <a:xfrm flipV="1">
                <a:off x="6238876"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199" name="Line 294">
                <a:extLst>
                  <a:ext uri="{FF2B5EF4-FFF2-40B4-BE49-F238E27FC236}">
                    <a16:creationId xmlns:a16="http://schemas.microsoft.com/office/drawing/2014/main" id="{143E9CB3-2765-534B-8BE1-D315AD4FD49B}"/>
                  </a:ext>
                </a:extLst>
              </p:cNvPr>
              <p:cNvSpPr>
                <a:spLocks noChangeShapeType="1"/>
              </p:cNvSpPr>
              <p:nvPr/>
            </p:nvSpPr>
            <p:spPr bwMode="auto">
              <a:xfrm flipV="1">
                <a:off x="6267451"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00" name="Line 295">
                <a:extLst>
                  <a:ext uri="{FF2B5EF4-FFF2-40B4-BE49-F238E27FC236}">
                    <a16:creationId xmlns:a16="http://schemas.microsoft.com/office/drawing/2014/main" id="{2B7B5BBF-2CBB-214D-B41A-7E627F7DB1F7}"/>
                  </a:ext>
                </a:extLst>
              </p:cNvPr>
              <p:cNvSpPr>
                <a:spLocks noChangeShapeType="1"/>
              </p:cNvSpPr>
              <p:nvPr/>
            </p:nvSpPr>
            <p:spPr bwMode="auto">
              <a:xfrm flipV="1">
                <a:off x="6297614"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01" name="Freeform 296">
                <a:extLst>
                  <a:ext uri="{FF2B5EF4-FFF2-40B4-BE49-F238E27FC236}">
                    <a16:creationId xmlns:a16="http://schemas.microsoft.com/office/drawing/2014/main" id="{809DD16A-4CC6-9E48-922F-49F097CE5FCA}"/>
                  </a:ext>
                </a:extLst>
              </p:cNvPr>
              <p:cNvSpPr>
                <a:spLocks/>
              </p:cNvSpPr>
              <p:nvPr/>
            </p:nvSpPr>
            <p:spPr bwMode="auto">
              <a:xfrm>
                <a:off x="6146801" y="2365377"/>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8"/>
                      <a:pt x="382" y="62"/>
                      <a:pt x="376" y="62"/>
                    </a:cubicBezTo>
                    <a:cubicBezTo>
                      <a:pt x="11" y="62"/>
                      <a:pt x="11" y="62"/>
                      <a:pt x="11" y="62"/>
                    </a:cubicBezTo>
                    <a:cubicBezTo>
                      <a:pt x="5" y="62"/>
                      <a:pt x="0" y="58"/>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02" name="Line 297">
                <a:extLst>
                  <a:ext uri="{FF2B5EF4-FFF2-40B4-BE49-F238E27FC236}">
                    <a16:creationId xmlns:a16="http://schemas.microsoft.com/office/drawing/2014/main" id="{DEA8E942-9C36-D840-B4C9-6A4853FE9B6B}"/>
                  </a:ext>
                </a:extLst>
              </p:cNvPr>
              <p:cNvSpPr>
                <a:spLocks noChangeShapeType="1"/>
              </p:cNvSpPr>
              <p:nvPr/>
            </p:nvSpPr>
            <p:spPr bwMode="auto">
              <a:xfrm flipV="1">
                <a:off x="6176964"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45" name="Line 298">
                <a:extLst>
                  <a:ext uri="{FF2B5EF4-FFF2-40B4-BE49-F238E27FC236}">
                    <a16:creationId xmlns:a16="http://schemas.microsoft.com/office/drawing/2014/main" id="{0087A031-6DFC-C24B-A77A-685BB273D6A3}"/>
                  </a:ext>
                </a:extLst>
              </p:cNvPr>
              <p:cNvSpPr>
                <a:spLocks noChangeShapeType="1"/>
              </p:cNvSpPr>
              <p:nvPr/>
            </p:nvSpPr>
            <p:spPr bwMode="auto">
              <a:xfrm flipV="1">
                <a:off x="6207126"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46" name="Line 299">
                <a:extLst>
                  <a:ext uri="{FF2B5EF4-FFF2-40B4-BE49-F238E27FC236}">
                    <a16:creationId xmlns:a16="http://schemas.microsoft.com/office/drawing/2014/main" id="{67B83E80-BB21-9B41-89BC-AAC838AD7146}"/>
                  </a:ext>
                </a:extLst>
              </p:cNvPr>
              <p:cNvSpPr>
                <a:spLocks noChangeShapeType="1"/>
              </p:cNvSpPr>
              <p:nvPr/>
            </p:nvSpPr>
            <p:spPr bwMode="auto">
              <a:xfrm flipV="1">
                <a:off x="6238876"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47" name="Line 300">
                <a:extLst>
                  <a:ext uri="{FF2B5EF4-FFF2-40B4-BE49-F238E27FC236}">
                    <a16:creationId xmlns:a16="http://schemas.microsoft.com/office/drawing/2014/main" id="{7F3DBDF5-D5C2-C54B-B6E2-E10A949F4860}"/>
                  </a:ext>
                </a:extLst>
              </p:cNvPr>
              <p:cNvSpPr>
                <a:spLocks noChangeShapeType="1"/>
              </p:cNvSpPr>
              <p:nvPr/>
            </p:nvSpPr>
            <p:spPr bwMode="auto">
              <a:xfrm flipV="1">
                <a:off x="6267451"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48" name="Line 301">
                <a:extLst>
                  <a:ext uri="{FF2B5EF4-FFF2-40B4-BE49-F238E27FC236}">
                    <a16:creationId xmlns:a16="http://schemas.microsoft.com/office/drawing/2014/main" id="{1720E4C4-0C3D-8047-8D4F-DBD4D791A46D}"/>
                  </a:ext>
                </a:extLst>
              </p:cNvPr>
              <p:cNvSpPr>
                <a:spLocks noChangeShapeType="1"/>
              </p:cNvSpPr>
              <p:nvPr/>
            </p:nvSpPr>
            <p:spPr bwMode="auto">
              <a:xfrm flipV="1">
                <a:off x="6297614"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49" name="Freeform 302">
                <a:extLst>
                  <a:ext uri="{FF2B5EF4-FFF2-40B4-BE49-F238E27FC236}">
                    <a16:creationId xmlns:a16="http://schemas.microsoft.com/office/drawing/2014/main" id="{FC3FC0BB-7755-AE48-80D3-6FA071EABB9B}"/>
                  </a:ext>
                </a:extLst>
              </p:cNvPr>
              <p:cNvSpPr>
                <a:spLocks/>
              </p:cNvSpPr>
              <p:nvPr/>
            </p:nvSpPr>
            <p:spPr bwMode="auto">
              <a:xfrm>
                <a:off x="6146801" y="2251077"/>
                <a:ext cx="644525" cy="103188"/>
              </a:xfrm>
              <a:custGeom>
                <a:avLst/>
                <a:gdLst>
                  <a:gd name="T0" fmla="*/ 387 w 387"/>
                  <a:gd name="T1" fmla="*/ 10 h 62"/>
                  <a:gd name="T2" fmla="*/ 387 w 387"/>
                  <a:gd name="T3" fmla="*/ 51 h 62"/>
                  <a:gd name="T4" fmla="*/ 376 w 387"/>
                  <a:gd name="T5" fmla="*/ 62 h 62"/>
                  <a:gd name="T6" fmla="*/ 11 w 387"/>
                  <a:gd name="T7" fmla="*/ 62 h 62"/>
                  <a:gd name="T8" fmla="*/ 0 w 387"/>
                  <a:gd name="T9" fmla="*/ 51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1"/>
                      <a:pt x="387" y="51"/>
                      <a:pt x="387" y="51"/>
                    </a:cubicBezTo>
                    <a:cubicBezTo>
                      <a:pt x="387" y="57"/>
                      <a:pt x="382" y="62"/>
                      <a:pt x="376" y="62"/>
                    </a:cubicBezTo>
                    <a:cubicBezTo>
                      <a:pt x="11" y="62"/>
                      <a:pt x="11" y="62"/>
                      <a:pt x="11" y="62"/>
                    </a:cubicBezTo>
                    <a:cubicBezTo>
                      <a:pt x="5" y="62"/>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50" name="Line 303">
                <a:extLst>
                  <a:ext uri="{FF2B5EF4-FFF2-40B4-BE49-F238E27FC236}">
                    <a16:creationId xmlns:a16="http://schemas.microsoft.com/office/drawing/2014/main" id="{5B661AEA-837F-2A42-955B-61C8402FDEFA}"/>
                  </a:ext>
                </a:extLst>
              </p:cNvPr>
              <p:cNvSpPr>
                <a:spLocks noChangeShapeType="1"/>
              </p:cNvSpPr>
              <p:nvPr/>
            </p:nvSpPr>
            <p:spPr bwMode="auto">
              <a:xfrm flipV="1">
                <a:off x="6176964"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51" name="Line 304">
                <a:extLst>
                  <a:ext uri="{FF2B5EF4-FFF2-40B4-BE49-F238E27FC236}">
                    <a16:creationId xmlns:a16="http://schemas.microsoft.com/office/drawing/2014/main" id="{AA55565C-683F-5D47-B10A-385087D6C3BA}"/>
                  </a:ext>
                </a:extLst>
              </p:cNvPr>
              <p:cNvSpPr>
                <a:spLocks noChangeShapeType="1"/>
              </p:cNvSpPr>
              <p:nvPr/>
            </p:nvSpPr>
            <p:spPr bwMode="auto">
              <a:xfrm flipV="1">
                <a:off x="6207126"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52" name="Line 305">
                <a:extLst>
                  <a:ext uri="{FF2B5EF4-FFF2-40B4-BE49-F238E27FC236}">
                    <a16:creationId xmlns:a16="http://schemas.microsoft.com/office/drawing/2014/main" id="{DF8EBE3D-0E6E-2B40-A51C-6783B1D346C0}"/>
                  </a:ext>
                </a:extLst>
              </p:cNvPr>
              <p:cNvSpPr>
                <a:spLocks noChangeShapeType="1"/>
              </p:cNvSpPr>
              <p:nvPr/>
            </p:nvSpPr>
            <p:spPr bwMode="auto">
              <a:xfrm flipV="1">
                <a:off x="6238876"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53" name="Line 306">
                <a:extLst>
                  <a:ext uri="{FF2B5EF4-FFF2-40B4-BE49-F238E27FC236}">
                    <a16:creationId xmlns:a16="http://schemas.microsoft.com/office/drawing/2014/main" id="{3162BFE6-686E-8442-A3C8-58EC4F181720}"/>
                  </a:ext>
                </a:extLst>
              </p:cNvPr>
              <p:cNvSpPr>
                <a:spLocks noChangeShapeType="1"/>
              </p:cNvSpPr>
              <p:nvPr/>
            </p:nvSpPr>
            <p:spPr bwMode="auto">
              <a:xfrm flipV="1">
                <a:off x="6267451"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254" name="Line 307">
                <a:extLst>
                  <a:ext uri="{FF2B5EF4-FFF2-40B4-BE49-F238E27FC236}">
                    <a16:creationId xmlns:a16="http://schemas.microsoft.com/office/drawing/2014/main" id="{A6AD93CC-0E44-8B42-974C-2A1E4377EE5B}"/>
                  </a:ext>
                </a:extLst>
              </p:cNvPr>
              <p:cNvSpPr>
                <a:spLocks noChangeShapeType="1"/>
              </p:cNvSpPr>
              <p:nvPr/>
            </p:nvSpPr>
            <p:spPr bwMode="auto">
              <a:xfrm flipV="1">
                <a:off x="6297614"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grpSp>
        <p:sp>
          <p:nvSpPr>
            <p:cNvPr id="255" name="Rounded Rectangle 254">
              <a:extLst>
                <a:ext uri="{FF2B5EF4-FFF2-40B4-BE49-F238E27FC236}">
                  <a16:creationId xmlns:a16="http://schemas.microsoft.com/office/drawing/2014/main" id="{D50CBBDE-363E-994B-9CD2-AC473DE0BC84}"/>
                </a:ext>
              </a:extLst>
            </p:cNvPr>
            <p:cNvSpPr/>
            <p:nvPr/>
          </p:nvSpPr>
          <p:spPr>
            <a:xfrm>
              <a:off x="1455148" y="1700009"/>
              <a:ext cx="643769" cy="483213"/>
            </a:xfrm>
            <a:prstGeom prst="roundRect">
              <a:avLst/>
            </a:prstGeom>
            <a:solidFill>
              <a:schemeClr val="tx1">
                <a:lumMod val="10000"/>
                <a:lumOff val="90000"/>
              </a:schemeClr>
            </a:solidFill>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514337">
                <a:defRPr/>
              </a:pPr>
              <a:endParaRPr lang="en-US" sz="825">
                <a:solidFill>
                  <a:srgbClr val="282828"/>
                </a:solidFill>
              </a:endParaRPr>
            </a:p>
          </p:txBody>
        </p:sp>
        <p:cxnSp>
          <p:nvCxnSpPr>
            <p:cNvPr id="256" name="Straight Arrow Connector 255">
              <a:extLst>
                <a:ext uri="{FF2B5EF4-FFF2-40B4-BE49-F238E27FC236}">
                  <a16:creationId xmlns:a16="http://schemas.microsoft.com/office/drawing/2014/main" id="{E61BC9A7-B961-4B41-A885-E55D787027F2}"/>
                </a:ext>
              </a:extLst>
            </p:cNvPr>
            <p:cNvCxnSpPr>
              <a:cxnSpLocks/>
            </p:cNvCxnSpPr>
            <p:nvPr/>
          </p:nvCxnSpPr>
          <p:spPr>
            <a:xfrm>
              <a:off x="891382" y="1947870"/>
              <a:ext cx="567339" cy="526"/>
            </a:xfrm>
            <a:prstGeom prst="straightConnector1">
              <a:avLst/>
            </a:prstGeom>
            <a:ln w="12700" cmpd="sng">
              <a:solidFill>
                <a:schemeClr val="bg2"/>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57" name="TextBox 256">
              <a:extLst>
                <a:ext uri="{FF2B5EF4-FFF2-40B4-BE49-F238E27FC236}">
                  <a16:creationId xmlns:a16="http://schemas.microsoft.com/office/drawing/2014/main" id="{9DAE53EB-F5CD-8C48-8B85-35B05C618122}"/>
                </a:ext>
              </a:extLst>
            </p:cNvPr>
            <p:cNvSpPr txBox="1"/>
            <p:nvPr/>
          </p:nvSpPr>
          <p:spPr>
            <a:xfrm>
              <a:off x="894955" y="1609601"/>
              <a:ext cx="597171" cy="307777"/>
            </a:xfrm>
            <a:prstGeom prst="rect">
              <a:avLst/>
            </a:prstGeom>
            <a:noFill/>
          </p:spPr>
          <p:txBody>
            <a:bodyPr wrap="square" rtlCol="0">
              <a:spAutoFit/>
            </a:bodyPr>
            <a:lstStyle/>
            <a:p>
              <a:pPr defTabSz="514337">
                <a:defRPr/>
              </a:pPr>
              <a:r>
                <a:rPr lang="en-US" sz="700" b="1" dirty="0">
                  <a:solidFill>
                    <a:schemeClr val="bg2"/>
                  </a:solidFill>
                  <a:latin typeface="+mn-lt"/>
                </a:rPr>
                <a:t>CPRI</a:t>
              </a:r>
            </a:p>
            <a:p>
              <a:pPr defTabSz="514337">
                <a:defRPr/>
              </a:pPr>
              <a:r>
                <a:rPr lang="en-US" sz="700" b="1" dirty="0">
                  <a:solidFill>
                    <a:schemeClr val="bg2"/>
                  </a:solidFill>
                  <a:latin typeface="+mn-lt"/>
                </a:rPr>
                <a:t>Interfaces</a:t>
              </a:r>
            </a:p>
          </p:txBody>
        </p:sp>
        <p:sp>
          <p:nvSpPr>
            <p:cNvPr id="258" name="TextBox 257">
              <a:extLst>
                <a:ext uri="{FF2B5EF4-FFF2-40B4-BE49-F238E27FC236}">
                  <a16:creationId xmlns:a16="http://schemas.microsoft.com/office/drawing/2014/main" id="{5573D9B0-4FAA-364E-9309-2970FBA7CD6E}"/>
                </a:ext>
              </a:extLst>
            </p:cNvPr>
            <p:cNvSpPr txBox="1"/>
            <p:nvPr/>
          </p:nvSpPr>
          <p:spPr>
            <a:xfrm>
              <a:off x="206926" y="2608666"/>
              <a:ext cx="1891992" cy="246221"/>
            </a:xfrm>
            <a:prstGeom prst="rect">
              <a:avLst/>
            </a:prstGeom>
            <a:noFill/>
          </p:spPr>
          <p:txBody>
            <a:bodyPr wrap="square" rtlCol="0">
              <a:spAutoFit/>
            </a:bodyPr>
            <a:lstStyle/>
            <a:p>
              <a:pPr algn="ctr" defTabSz="514337">
                <a:defRPr/>
              </a:pPr>
              <a:r>
                <a:rPr lang="en-US" sz="1000" dirty="0">
                  <a:solidFill>
                    <a:srgbClr val="FFC000"/>
                  </a:solidFill>
                  <a:latin typeface="+mn-lt"/>
                </a:rPr>
                <a:t>Cell Site</a:t>
              </a:r>
            </a:p>
          </p:txBody>
        </p:sp>
        <p:sp>
          <p:nvSpPr>
            <p:cNvPr id="259" name="Trapezoid 258">
              <a:extLst>
                <a:ext uri="{FF2B5EF4-FFF2-40B4-BE49-F238E27FC236}">
                  <a16:creationId xmlns:a16="http://schemas.microsoft.com/office/drawing/2014/main" id="{724EAE21-DC24-2941-ADF9-99A8CEA3B958}"/>
                </a:ext>
              </a:extLst>
            </p:cNvPr>
            <p:cNvSpPr/>
            <p:nvPr/>
          </p:nvSpPr>
          <p:spPr>
            <a:xfrm rot="5400000">
              <a:off x="1727698" y="1897014"/>
              <a:ext cx="338185" cy="70530"/>
            </a:xfrm>
            <a:prstGeom prst="trapezoid">
              <a:avLst/>
            </a:prstGeom>
            <a:solidFill>
              <a:schemeClr val="tx1">
                <a:lumMod val="50000"/>
                <a:lumOff val="5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defRPr/>
              </a:pPr>
              <a:endParaRPr lang="en-US" sz="825">
                <a:solidFill>
                  <a:srgbClr val="282828"/>
                </a:solidFill>
              </a:endParaRPr>
            </a:p>
          </p:txBody>
        </p:sp>
        <p:sp>
          <p:nvSpPr>
            <p:cNvPr id="260" name="Rounded Rectangle 259">
              <a:extLst>
                <a:ext uri="{FF2B5EF4-FFF2-40B4-BE49-F238E27FC236}">
                  <a16:creationId xmlns:a16="http://schemas.microsoft.com/office/drawing/2014/main" id="{9ECBA135-5828-634A-ABDF-DE980AB8307D}"/>
                </a:ext>
              </a:extLst>
            </p:cNvPr>
            <p:cNvSpPr/>
            <p:nvPr/>
          </p:nvSpPr>
          <p:spPr>
            <a:xfrm>
              <a:off x="2791515" y="1705341"/>
              <a:ext cx="648633" cy="483213"/>
            </a:xfrm>
            <a:prstGeom prst="roundRect">
              <a:avLst/>
            </a:prstGeom>
            <a:solidFill>
              <a:schemeClr val="tx1">
                <a:lumMod val="10000"/>
                <a:lumOff val="9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defRPr/>
              </a:pPr>
              <a:endParaRPr lang="en-US" sz="825">
                <a:solidFill>
                  <a:srgbClr val="282828"/>
                </a:solidFill>
              </a:endParaRPr>
            </a:p>
          </p:txBody>
        </p:sp>
        <p:cxnSp>
          <p:nvCxnSpPr>
            <p:cNvPr id="261" name="Straight Arrow Connector 260">
              <a:extLst>
                <a:ext uri="{FF2B5EF4-FFF2-40B4-BE49-F238E27FC236}">
                  <a16:creationId xmlns:a16="http://schemas.microsoft.com/office/drawing/2014/main" id="{F06BDF8E-0B0C-E64F-8F91-BC5F6B573A98}"/>
                </a:ext>
              </a:extLst>
            </p:cNvPr>
            <p:cNvCxnSpPr/>
            <p:nvPr/>
          </p:nvCxnSpPr>
          <p:spPr>
            <a:xfrm>
              <a:off x="3983714" y="1922730"/>
              <a:ext cx="217016" cy="0"/>
            </a:xfrm>
            <a:prstGeom prst="straightConnector1">
              <a:avLst/>
            </a:prstGeom>
            <a:ln w="12700" cmpd="sng">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62" name="TextBox 261">
              <a:extLst>
                <a:ext uri="{FF2B5EF4-FFF2-40B4-BE49-F238E27FC236}">
                  <a16:creationId xmlns:a16="http://schemas.microsoft.com/office/drawing/2014/main" id="{BDF93EA7-C7B7-734B-AEA3-69A191325B03}"/>
                </a:ext>
              </a:extLst>
            </p:cNvPr>
            <p:cNvSpPr txBox="1"/>
            <p:nvPr/>
          </p:nvSpPr>
          <p:spPr>
            <a:xfrm>
              <a:off x="3879531" y="1691419"/>
              <a:ext cx="548548" cy="200055"/>
            </a:xfrm>
            <a:prstGeom prst="rect">
              <a:avLst/>
            </a:prstGeom>
            <a:noFill/>
            <a:effectLst/>
          </p:spPr>
          <p:txBody>
            <a:bodyPr wrap="none" rtlCol="0">
              <a:spAutoFit/>
            </a:bodyPr>
            <a:lstStyle/>
            <a:p>
              <a:pPr defTabSz="514337">
                <a:defRPr/>
              </a:pPr>
              <a:r>
                <a:rPr lang="en-US" sz="700" dirty="0">
                  <a:solidFill>
                    <a:schemeClr val="bg2"/>
                  </a:solidFill>
                  <a:latin typeface="+mn-lt"/>
                </a:rPr>
                <a:t>Backhaul</a:t>
              </a:r>
            </a:p>
          </p:txBody>
        </p:sp>
        <p:sp>
          <p:nvSpPr>
            <p:cNvPr id="263" name="TextBox 262">
              <a:extLst>
                <a:ext uri="{FF2B5EF4-FFF2-40B4-BE49-F238E27FC236}">
                  <a16:creationId xmlns:a16="http://schemas.microsoft.com/office/drawing/2014/main" id="{E0410D07-F330-454F-9A3C-7A242D6074FE}"/>
                </a:ext>
              </a:extLst>
            </p:cNvPr>
            <p:cNvSpPr txBox="1"/>
            <p:nvPr/>
          </p:nvSpPr>
          <p:spPr>
            <a:xfrm>
              <a:off x="2546565" y="2604529"/>
              <a:ext cx="1855656" cy="246221"/>
            </a:xfrm>
            <a:prstGeom prst="rect">
              <a:avLst/>
            </a:prstGeom>
            <a:noFill/>
          </p:spPr>
          <p:txBody>
            <a:bodyPr wrap="square" rtlCol="0">
              <a:spAutoFit/>
            </a:bodyPr>
            <a:lstStyle/>
            <a:p>
              <a:pPr algn="ctr" defTabSz="514337">
                <a:defRPr/>
              </a:pPr>
              <a:r>
                <a:rPr lang="en-US" sz="1000" dirty="0">
                  <a:solidFill>
                    <a:srgbClr val="FFC000"/>
                  </a:solidFill>
                  <a:latin typeface="+mn-lt"/>
                </a:rPr>
                <a:t>CRAN Hub</a:t>
              </a:r>
            </a:p>
          </p:txBody>
        </p:sp>
        <p:sp>
          <p:nvSpPr>
            <p:cNvPr id="264" name="Trapezoid 263">
              <a:extLst>
                <a:ext uri="{FF2B5EF4-FFF2-40B4-BE49-F238E27FC236}">
                  <a16:creationId xmlns:a16="http://schemas.microsoft.com/office/drawing/2014/main" id="{D9FC0EC2-E16A-8245-B40E-C628D9F673A2}"/>
                </a:ext>
              </a:extLst>
            </p:cNvPr>
            <p:cNvSpPr/>
            <p:nvPr/>
          </p:nvSpPr>
          <p:spPr>
            <a:xfrm rot="16200000">
              <a:off x="2828799" y="1911683"/>
              <a:ext cx="338185" cy="70530"/>
            </a:xfrm>
            <a:prstGeom prst="trapezoid">
              <a:avLst/>
            </a:prstGeom>
            <a:solidFill>
              <a:schemeClr val="tx1">
                <a:lumMod val="50000"/>
                <a:lumOff val="5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defRPr/>
              </a:pPr>
              <a:endParaRPr lang="en-US" sz="825">
                <a:solidFill>
                  <a:srgbClr val="282828"/>
                </a:solidFill>
              </a:endParaRPr>
            </a:p>
          </p:txBody>
        </p:sp>
        <p:cxnSp>
          <p:nvCxnSpPr>
            <p:cNvPr id="265" name="Straight Arrow Connector 264">
              <a:extLst>
                <a:ext uri="{FF2B5EF4-FFF2-40B4-BE49-F238E27FC236}">
                  <a16:creationId xmlns:a16="http://schemas.microsoft.com/office/drawing/2014/main" id="{4DF70449-F1FE-814B-8EEF-EC4DF7A95DF2}"/>
                </a:ext>
              </a:extLst>
            </p:cNvPr>
            <p:cNvCxnSpPr/>
            <p:nvPr/>
          </p:nvCxnSpPr>
          <p:spPr>
            <a:xfrm>
              <a:off x="3033157" y="1832273"/>
              <a:ext cx="132077" cy="0"/>
            </a:xfrm>
            <a:prstGeom prst="straightConnector1">
              <a:avLst/>
            </a:prstGeom>
            <a:ln w="12700" cmpd="sng">
              <a:solidFill>
                <a:srgbClr val="C0000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66" name="Straight Arrow Connector 265">
              <a:extLst>
                <a:ext uri="{FF2B5EF4-FFF2-40B4-BE49-F238E27FC236}">
                  <a16:creationId xmlns:a16="http://schemas.microsoft.com/office/drawing/2014/main" id="{C9011E6A-9437-FE47-B005-398FF8938F24}"/>
                </a:ext>
              </a:extLst>
            </p:cNvPr>
            <p:cNvCxnSpPr>
              <a:stCxn id="264" idx="2"/>
            </p:cNvCxnSpPr>
            <p:nvPr/>
          </p:nvCxnSpPr>
          <p:spPr>
            <a:xfrm flipV="1">
              <a:off x="3033157" y="1941615"/>
              <a:ext cx="132077" cy="5333"/>
            </a:xfrm>
            <a:prstGeom prst="straightConnector1">
              <a:avLst/>
            </a:prstGeom>
            <a:ln w="12700" cmpd="sng">
              <a:solidFill>
                <a:srgbClr val="00B0F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67" name="Straight Arrow Connector 266">
              <a:extLst>
                <a:ext uri="{FF2B5EF4-FFF2-40B4-BE49-F238E27FC236}">
                  <a16:creationId xmlns:a16="http://schemas.microsoft.com/office/drawing/2014/main" id="{250C520D-753B-7945-9139-6E7033130F4B}"/>
                </a:ext>
              </a:extLst>
            </p:cNvPr>
            <p:cNvCxnSpPr/>
            <p:nvPr/>
          </p:nvCxnSpPr>
          <p:spPr>
            <a:xfrm>
              <a:off x="3033157" y="2045964"/>
              <a:ext cx="132077" cy="0"/>
            </a:xfrm>
            <a:prstGeom prst="straightConnector1">
              <a:avLst/>
            </a:prstGeom>
            <a:ln w="12700" cmpd="sng">
              <a:solidFill>
                <a:srgbClr val="92D05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68" name="TextBox 267">
              <a:extLst>
                <a:ext uri="{FF2B5EF4-FFF2-40B4-BE49-F238E27FC236}">
                  <a16:creationId xmlns:a16="http://schemas.microsoft.com/office/drawing/2014/main" id="{BDCDB06B-C6A8-9D44-AF10-405FF01FA3B0}"/>
                </a:ext>
              </a:extLst>
            </p:cNvPr>
            <p:cNvSpPr txBox="1"/>
            <p:nvPr/>
          </p:nvSpPr>
          <p:spPr>
            <a:xfrm>
              <a:off x="2676881" y="1381369"/>
              <a:ext cx="641879" cy="184666"/>
            </a:xfrm>
            <a:prstGeom prst="rect">
              <a:avLst/>
            </a:prstGeom>
            <a:noFill/>
          </p:spPr>
          <p:txBody>
            <a:bodyPr wrap="square" rtlCol="0">
              <a:spAutoFit/>
            </a:bodyPr>
            <a:lstStyle/>
            <a:p>
              <a:pPr defTabSz="514337">
                <a:defRPr/>
              </a:pPr>
              <a:r>
                <a:rPr lang="de-DE" sz="600" b="1" dirty="0">
                  <a:solidFill>
                    <a:schemeClr val="bg2"/>
                  </a:solidFill>
                  <a:latin typeface="+mn-lt"/>
                </a:rPr>
                <a:t>MUX/DEMUX</a:t>
              </a:r>
              <a:endParaRPr lang="en-US" sz="600" b="1" dirty="0">
                <a:solidFill>
                  <a:schemeClr val="bg2"/>
                </a:solidFill>
                <a:latin typeface="+mn-lt"/>
              </a:endParaRPr>
            </a:p>
          </p:txBody>
        </p:sp>
        <p:cxnSp>
          <p:nvCxnSpPr>
            <p:cNvPr id="269" name="Straight Arrow Connector 268">
              <a:extLst>
                <a:ext uri="{FF2B5EF4-FFF2-40B4-BE49-F238E27FC236}">
                  <a16:creationId xmlns:a16="http://schemas.microsoft.com/office/drawing/2014/main" id="{ACA43819-0C35-214C-99C6-1E82709234F7}"/>
                </a:ext>
              </a:extLst>
            </p:cNvPr>
            <p:cNvCxnSpPr>
              <a:cxnSpLocks/>
              <a:endCxn id="264" idx="0"/>
            </p:cNvCxnSpPr>
            <p:nvPr/>
          </p:nvCxnSpPr>
          <p:spPr>
            <a:xfrm>
              <a:off x="1932056" y="1946947"/>
              <a:ext cx="1030572" cy="1"/>
            </a:xfrm>
            <a:prstGeom prst="straightConnector1">
              <a:avLst/>
            </a:prstGeom>
            <a:ln w="28575" cmpd="sng">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70" name="Rounded Rectangle 269">
              <a:extLst>
                <a:ext uri="{FF2B5EF4-FFF2-40B4-BE49-F238E27FC236}">
                  <a16:creationId xmlns:a16="http://schemas.microsoft.com/office/drawing/2014/main" id="{66DCCC61-137B-4147-94A5-9FD63E3DEF96}"/>
                </a:ext>
              </a:extLst>
            </p:cNvPr>
            <p:cNvSpPr/>
            <p:nvPr/>
          </p:nvSpPr>
          <p:spPr>
            <a:xfrm>
              <a:off x="3176232" y="1769634"/>
              <a:ext cx="203161" cy="346407"/>
            </a:xfrm>
            <a:prstGeom prst="roundRect">
              <a:avLst/>
            </a:pr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defRPr/>
              </a:pPr>
              <a:endParaRPr lang="en-US" sz="825">
                <a:solidFill>
                  <a:schemeClr val="bg2"/>
                </a:solidFill>
              </a:endParaRPr>
            </a:p>
          </p:txBody>
        </p:sp>
        <p:cxnSp>
          <p:nvCxnSpPr>
            <p:cNvPr id="271" name="Straight Arrow Connector 270">
              <a:extLst>
                <a:ext uri="{FF2B5EF4-FFF2-40B4-BE49-F238E27FC236}">
                  <a16:creationId xmlns:a16="http://schemas.microsoft.com/office/drawing/2014/main" id="{E3072F6A-1186-5D41-8F57-A4A4D43EDBEE}"/>
                </a:ext>
              </a:extLst>
            </p:cNvPr>
            <p:cNvCxnSpPr/>
            <p:nvPr/>
          </p:nvCxnSpPr>
          <p:spPr>
            <a:xfrm flipV="1">
              <a:off x="3379393" y="1832273"/>
              <a:ext cx="288409" cy="3009"/>
            </a:xfrm>
            <a:prstGeom prst="straightConnector1">
              <a:avLst/>
            </a:prstGeom>
            <a:ln w="12700" cmpd="sng">
              <a:solidFill>
                <a:schemeClr val="tx1">
                  <a:lumMod val="50000"/>
                  <a:lumOff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2" name="Straight Arrow Connector 271">
              <a:extLst>
                <a:ext uri="{FF2B5EF4-FFF2-40B4-BE49-F238E27FC236}">
                  <a16:creationId xmlns:a16="http://schemas.microsoft.com/office/drawing/2014/main" id="{FEDE0556-387A-7E47-A7C9-7753EA24F735}"/>
                </a:ext>
              </a:extLst>
            </p:cNvPr>
            <p:cNvCxnSpPr/>
            <p:nvPr/>
          </p:nvCxnSpPr>
          <p:spPr>
            <a:xfrm flipV="1">
              <a:off x="3385240" y="1928794"/>
              <a:ext cx="288409" cy="3009"/>
            </a:xfrm>
            <a:prstGeom prst="straightConnector1">
              <a:avLst/>
            </a:prstGeom>
            <a:ln w="12700" cmpd="sng">
              <a:solidFill>
                <a:schemeClr val="tx1">
                  <a:lumMod val="50000"/>
                  <a:lumOff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3" name="Straight Arrow Connector 272">
              <a:extLst>
                <a:ext uri="{FF2B5EF4-FFF2-40B4-BE49-F238E27FC236}">
                  <a16:creationId xmlns:a16="http://schemas.microsoft.com/office/drawing/2014/main" id="{FF855CDE-29FF-A541-8A9E-49124F8E2E71}"/>
                </a:ext>
              </a:extLst>
            </p:cNvPr>
            <p:cNvCxnSpPr/>
            <p:nvPr/>
          </p:nvCxnSpPr>
          <p:spPr>
            <a:xfrm flipV="1">
              <a:off x="3385240" y="2025314"/>
              <a:ext cx="294256" cy="4764"/>
            </a:xfrm>
            <a:prstGeom prst="straightConnector1">
              <a:avLst/>
            </a:prstGeom>
            <a:ln w="12700" cmpd="sng">
              <a:solidFill>
                <a:schemeClr val="tx1">
                  <a:lumMod val="50000"/>
                  <a:lumOff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4" name="Straight Arrow Connector 273">
              <a:extLst>
                <a:ext uri="{FF2B5EF4-FFF2-40B4-BE49-F238E27FC236}">
                  <a16:creationId xmlns:a16="http://schemas.microsoft.com/office/drawing/2014/main" id="{E3942273-A57A-9C43-828C-6440E71D4B46}"/>
                </a:ext>
              </a:extLst>
            </p:cNvPr>
            <p:cNvCxnSpPr>
              <a:cxnSpLocks/>
            </p:cNvCxnSpPr>
            <p:nvPr/>
          </p:nvCxnSpPr>
          <p:spPr>
            <a:xfrm flipH="1">
              <a:off x="3277814" y="1494290"/>
              <a:ext cx="1323" cy="261497"/>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275" name="TextBox 274">
              <a:extLst>
                <a:ext uri="{FF2B5EF4-FFF2-40B4-BE49-F238E27FC236}">
                  <a16:creationId xmlns:a16="http://schemas.microsoft.com/office/drawing/2014/main" id="{BE82AB20-F92A-4E4F-B2DD-F8841EAC915D}"/>
                </a:ext>
              </a:extLst>
            </p:cNvPr>
            <p:cNvSpPr txBox="1"/>
            <p:nvPr/>
          </p:nvSpPr>
          <p:spPr>
            <a:xfrm>
              <a:off x="3115831" y="1842740"/>
              <a:ext cx="317716" cy="184666"/>
            </a:xfrm>
            <a:prstGeom prst="rect">
              <a:avLst/>
            </a:prstGeom>
            <a:noFill/>
          </p:spPr>
          <p:txBody>
            <a:bodyPr wrap="none" rtlCol="0">
              <a:spAutoFit/>
            </a:bodyPr>
            <a:lstStyle/>
            <a:p>
              <a:pPr defTabSz="514337">
                <a:defRPr/>
              </a:pPr>
              <a:r>
                <a:rPr lang="en-US" sz="600" b="1" dirty="0" err="1">
                  <a:solidFill>
                    <a:schemeClr val="bg2"/>
                  </a:solidFill>
                  <a:latin typeface="+mn-lt"/>
                </a:rPr>
                <a:t>TxP</a:t>
              </a:r>
              <a:endParaRPr lang="en-US" sz="600" b="1" dirty="0">
                <a:solidFill>
                  <a:schemeClr val="bg2"/>
                </a:solidFill>
                <a:latin typeface="+mn-lt"/>
              </a:endParaRPr>
            </a:p>
          </p:txBody>
        </p:sp>
        <p:sp>
          <p:nvSpPr>
            <p:cNvPr id="276" name="Rounded Rectangle 275">
              <a:extLst>
                <a:ext uri="{FF2B5EF4-FFF2-40B4-BE49-F238E27FC236}">
                  <a16:creationId xmlns:a16="http://schemas.microsoft.com/office/drawing/2014/main" id="{E620306B-0B76-7743-AA0A-AFC7761A9DCC}"/>
                </a:ext>
              </a:extLst>
            </p:cNvPr>
            <p:cNvSpPr/>
            <p:nvPr/>
          </p:nvSpPr>
          <p:spPr>
            <a:xfrm>
              <a:off x="1508215" y="1754964"/>
              <a:ext cx="203161" cy="346407"/>
            </a:xfrm>
            <a:prstGeom prst="roundRect">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defRPr/>
              </a:pPr>
              <a:endParaRPr lang="en-US" sz="825">
                <a:solidFill>
                  <a:schemeClr val="bg2"/>
                </a:solidFill>
              </a:endParaRPr>
            </a:p>
          </p:txBody>
        </p:sp>
        <p:cxnSp>
          <p:nvCxnSpPr>
            <p:cNvPr id="277" name="Straight Arrow Connector 276">
              <a:extLst>
                <a:ext uri="{FF2B5EF4-FFF2-40B4-BE49-F238E27FC236}">
                  <a16:creationId xmlns:a16="http://schemas.microsoft.com/office/drawing/2014/main" id="{BB82237C-7F96-5449-B80D-2F46CDCA1218}"/>
                </a:ext>
              </a:extLst>
            </p:cNvPr>
            <p:cNvCxnSpPr/>
            <p:nvPr/>
          </p:nvCxnSpPr>
          <p:spPr>
            <a:xfrm>
              <a:off x="1710993" y="1842739"/>
              <a:ext cx="132077" cy="0"/>
            </a:xfrm>
            <a:prstGeom prst="straightConnector1">
              <a:avLst/>
            </a:prstGeom>
            <a:ln w="12700" cmpd="sng">
              <a:solidFill>
                <a:srgbClr val="C0000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8" name="Straight Arrow Connector 277">
              <a:extLst>
                <a:ext uri="{FF2B5EF4-FFF2-40B4-BE49-F238E27FC236}">
                  <a16:creationId xmlns:a16="http://schemas.microsoft.com/office/drawing/2014/main" id="{D06D1A10-29D8-2B4E-81DE-DACEA40ACFC9}"/>
                </a:ext>
              </a:extLst>
            </p:cNvPr>
            <p:cNvCxnSpPr/>
            <p:nvPr/>
          </p:nvCxnSpPr>
          <p:spPr>
            <a:xfrm flipV="1">
              <a:off x="1714423" y="1938949"/>
              <a:ext cx="132077" cy="5333"/>
            </a:xfrm>
            <a:prstGeom prst="straightConnector1">
              <a:avLst/>
            </a:prstGeom>
            <a:ln w="12700" cmpd="sng">
              <a:solidFill>
                <a:srgbClr val="00B0F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9" name="Straight Arrow Connector 278">
              <a:extLst>
                <a:ext uri="{FF2B5EF4-FFF2-40B4-BE49-F238E27FC236}">
                  <a16:creationId xmlns:a16="http://schemas.microsoft.com/office/drawing/2014/main" id="{8AD9EFC4-6258-4B4D-9A54-8E891150D991}"/>
                </a:ext>
              </a:extLst>
            </p:cNvPr>
            <p:cNvCxnSpPr/>
            <p:nvPr/>
          </p:nvCxnSpPr>
          <p:spPr>
            <a:xfrm>
              <a:off x="1714423" y="2034194"/>
              <a:ext cx="132077" cy="0"/>
            </a:xfrm>
            <a:prstGeom prst="straightConnector1">
              <a:avLst/>
            </a:prstGeom>
            <a:ln w="12700" cmpd="sng">
              <a:solidFill>
                <a:srgbClr val="92D05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80" name="TextBox 279">
              <a:extLst>
                <a:ext uri="{FF2B5EF4-FFF2-40B4-BE49-F238E27FC236}">
                  <a16:creationId xmlns:a16="http://schemas.microsoft.com/office/drawing/2014/main" id="{405121FF-9C65-7640-AD18-BD9FF61362B8}"/>
                </a:ext>
              </a:extLst>
            </p:cNvPr>
            <p:cNvSpPr txBox="1"/>
            <p:nvPr/>
          </p:nvSpPr>
          <p:spPr>
            <a:xfrm>
              <a:off x="1446640" y="1862564"/>
              <a:ext cx="300082" cy="173124"/>
            </a:xfrm>
            <a:prstGeom prst="rect">
              <a:avLst/>
            </a:prstGeom>
            <a:noFill/>
          </p:spPr>
          <p:txBody>
            <a:bodyPr wrap="none" rtlCol="0">
              <a:spAutoFit/>
            </a:bodyPr>
            <a:lstStyle/>
            <a:p>
              <a:pPr defTabSz="514337">
                <a:defRPr/>
              </a:pPr>
              <a:r>
                <a:rPr lang="en-US" sz="525" b="1" dirty="0" err="1">
                  <a:solidFill>
                    <a:schemeClr val="bg2"/>
                  </a:solidFill>
                  <a:latin typeface="+mn-lt"/>
                </a:rPr>
                <a:t>TxP</a:t>
              </a:r>
              <a:endParaRPr lang="en-US" sz="525" b="1" dirty="0">
                <a:solidFill>
                  <a:schemeClr val="bg2"/>
                </a:solidFill>
                <a:latin typeface="+mn-lt"/>
              </a:endParaRPr>
            </a:p>
          </p:txBody>
        </p:sp>
        <p:sp>
          <p:nvSpPr>
            <p:cNvPr id="281" name="TextBox 280">
              <a:extLst>
                <a:ext uri="{FF2B5EF4-FFF2-40B4-BE49-F238E27FC236}">
                  <a16:creationId xmlns:a16="http://schemas.microsoft.com/office/drawing/2014/main" id="{7A003B0A-EBD5-0940-B9EB-BC0ADB903DF8}"/>
                </a:ext>
              </a:extLst>
            </p:cNvPr>
            <p:cNvSpPr txBox="1"/>
            <p:nvPr/>
          </p:nvSpPr>
          <p:spPr>
            <a:xfrm>
              <a:off x="3142111" y="1320648"/>
              <a:ext cx="772713" cy="215444"/>
            </a:xfrm>
            <a:prstGeom prst="rect">
              <a:avLst/>
            </a:prstGeom>
            <a:noFill/>
          </p:spPr>
          <p:txBody>
            <a:bodyPr wrap="square" rtlCol="0">
              <a:spAutoFit/>
            </a:bodyPr>
            <a:lstStyle/>
            <a:p>
              <a:pPr defTabSz="514337">
                <a:defRPr/>
              </a:pPr>
              <a:r>
                <a:rPr lang="en-US" sz="800" b="1" dirty="0">
                  <a:solidFill>
                    <a:schemeClr val="bg2"/>
                  </a:solidFill>
                  <a:latin typeface="+mn-lt"/>
                </a:rPr>
                <a:t>Transponder</a:t>
              </a:r>
            </a:p>
          </p:txBody>
        </p:sp>
        <p:sp>
          <p:nvSpPr>
            <p:cNvPr id="282" name="TextBox 281">
              <a:extLst>
                <a:ext uri="{FF2B5EF4-FFF2-40B4-BE49-F238E27FC236}">
                  <a16:creationId xmlns:a16="http://schemas.microsoft.com/office/drawing/2014/main" id="{FBF4172B-5BF1-CD40-B557-5A4C73C5B860}"/>
                </a:ext>
              </a:extLst>
            </p:cNvPr>
            <p:cNvSpPr txBox="1"/>
            <p:nvPr/>
          </p:nvSpPr>
          <p:spPr>
            <a:xfrm>
              <a:off x="2788627" y="2261017"/>
              <a:ext cx="644920" cy="307777"/>
            </a:xfrm>
            <a:prstGeom prst="rect">
              <a:avLst/>
            </a:prstGeom>
            <a:noFill/>
          </p:spPr>
          <p:txBody>
            <a:bodyPr wrap="square" rtlCol="0">
              <a:spAutoFit/>
            </a:bodyPr>
            <a:lstStyle/>
            <a:p>
              <a:pPr algn="ctr" defTabSz="514337">
                <a:defRPr/>
              </a:pPr>
              <a:r>
                <a:rPr lang="en-US" sz="700" b="1" dirty="0">
                  <a:solidFill>
                    <a:schemeClr val="bg2"/>
                  </a:solidFill>
                  <a:latin typeface="+mn-lt"/>
                </a:rPr>
                <a:t>Colored Optics</a:t>
              </a:r>
            </a:p>
          </p:txBody>
        </p:sp>
        <p:cxnSp>
          <p:nvCxnSpPr>
            <p:cNvPr id="283" name="Straight Arrow Connector 282">
              <a:extLst>
                <a:ext uri="{FF2B5EF4-FFF2-40B4-BE49-F238E27FC236}">
                  <a16:creationId xmlns:a16="http://schemas.microsoft.com/office/drawing/2014/main" id="{B7A9F06C-DDF5-F74F-9C01-6CC6567EB6DE}"/>
                </a:ext>
              </a:extLst>
            </p:cNvPr>
            <p:cNvCxnSpPr>
              <a:cxnSpLocks/>
              <a:endCxn id="282" idx="0"/>
            </p:cNvCxnSpPr>
            <p:nvPr/>
          </p:nvCxnSpPr>
          <p:spPr>
            <a:xfrm>
              <a:off x="3100609" y="2073338"/>
              <a:ext cx="10478" cy="1876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4" name="Straight Arrow Connector 283">
              <a:extLst>
                <a:ext uri="{FF2B5EF4-FFF2-40B4-BE49-F238E27FC236}">
                  <a16:creationId xmlns:a16="http://schemas.microsoft.com/office/drawing/2014/main" id="{ADCF180C-29CC-8941-B7DA-0BEA64111DDC}"/>
                </a:ext>
              </a:extLst>
            </p:cNvPr>
            <p:cNvCxnSpPr>
              <a:cxnSpLocks/>
              <a:stCxn id="268" idx="2"/>
              <a:endCxn id="264" idx="3"/>
            </p:cNvCxnSpPr>
            <p:nvPr/>
          </p:nvCxnSpPr>
          <p:spPr>
            <a:xfrm>
              <a:off x="2997821" y="1566035"/>
              <a:ext cx="71" cy="2206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5" name="TextBox 284">
              <a:extLst>
                <a:ext uri="{FF2B5EF4-FFF2-40B4-BE49-F238E27FC236}">
                  <a16:creationId xmlns:a16="http://schemas.microsoft.com/office/drawing/2014/main" id="{FC115B06-E5EC-ED49-BF42-9BA739934B29}"/>
                </a:ext>
              </a:extLst>
            </p:cNvPr>
            <p:cNvSpPr txBox="1"/>
            <p:nvPr/>
          </p:nvSpPr>
          <p:spPr>
            <a:xfrm>
              <a:off x="3406859" y="2328387"/>
              <a:ext cx="623044" cy="307777"/>
            </a:xfrm>
            <a:prstGeom prst="rect">
              <a:avLst/>
            </a:prstGeom>
            <a:noFill/>
          </p:spPr>
          <p:txBody>
            <a:bodyPr wrap="square" rtlCol="0">
              <a:spAutoFit/>
            </a:bodyPr>
            <a:lstStyle/>
            <a:p>
              <a:pPr defTabSz="514337">
                <a:defRPr/>
              </a:pPr>
              <a:r>
                <a:rPr lang="en-US" sz="700" b="1" dirty="0">
                  <a:solidFill>
                    <a:schemeClr val="bg2"/>
                  </a:solidFill>
                  <a:latin typeface="+mn-lt"/>
                </a:rPr>
                <a:t>Grey Optics</a:t>
              </a:r>
            </a:p>
          </p:txBody>
        </p:sp>
        <p:cxnSp>
          <p:nvCxnSpPr>
            <p:cNvPr id="286" name="Straight Arrow Connector 285">
              <a:extLst>
                <a:ext uri="{FF2B5EF4-FFF2-40B4-BE49-F238E27FC236}">
                  <a16:creationId xmlns:a16="http://schemas.microsoft.com/office/drawing/2014/main" id="{DA1DC92C-6320-A64E-A289-D998CF9EE732}"/>
                </a:ext>
              </a:extLst>
            </p:cNvPr>
            <p:cNvCxnSpPr>
              <a:cxnSpLocks/>
            </p:cNvCxnSpPr>
            <p:nvPr/>
          </p:nvCxnSpPr>
          <p:spPr>
            <a:xfrm>
              <a:off x="3390390" y="2038874"/>
              <a:ext cx="201213" cy="3269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7" name="Rounded Rectangle 286">
              <a:extLst>
                <a:ext uri="{FF2B5EF4-FFF2-40B4-BE49-F238E27FC236}">
                  <a16:creationId xmlns:a16="http://schemas.microsoft.com/office/drawing/2014/main" id="{09E46F63-BE85-F641-A59A-F72DEB9BF188}"/>
                </a:ext>
              </a:extLst>
            </p:cNvPr>
            <p:cNvSpPr/>
            <p:nvPr/>
          </p:nvSpPr>
          <p:spPr>
            <a:xfrm>
              <a:off x="4756689" y="1221135"/>
              <a:ext cx="1963067" cy="1628767"/>
            </a:xfrm>
            <a:prstGeom prst="roundRect">
              <a:avLst>
                <a:gd name="adj" fmla="val 11062"/>
              </a:avLst>
            </a:prstGeom>
            <a:solidFill>
              <a:srgbClr val="005073"/>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defRPr/>
              </a:pPr>
              <a:endParaRPr lang="en-US" sz="825">
                <a:solidFill>
                  <a:srgbClr val="282828"/>
                </a:solidFill>
              </a:endParaRPr>
            </a:p>
          </p:txBody>
        </p:sp>
        <p:sp>
          <p:nvSpPr>
            <p:cNvPr id="288" name="TextBox 287">
              <a:extLst>
                <a:ext uri="{FF2B5EF4-FFF2-40B4-BE49-F238E27FC236}">
                  <a16:creationId xmlns:a16="http://schemas.microsoft.com/office/drawing/2014/main" id="{1010ED5C-04C1-1E41-8F5C-344A416A7BC2}"/>
                </a:ext>
              </a:extLst>
            </p:cNvPr>
            <p:cNvSpPr txBox="1"/>
            <p:nvPr/>
          </p:nvSpPr>
          <p:spPr>
            <a:xfrm>
              <a:off x="4766655" y="2594367"/>
              <a:ext cx="1958734" cy="246221"/>
            </a:xfrm>
            <a:prstGeom prst="rect">
              <a:avLst/>
            </a:prstGeom>
            <a:noFill/>
            <a:ln>
              <a:noFill/>
            </a:ln>
          </p:spPr>
          <p:txBody>
            <a:bodyPr wrap="square" rtlCol="0">
              <a:spAutoFit/>
            </a:bodyPr>
            <a:lstStyle/>
            <a:p>
              <a:pPr algn="ctr" defTabSz="514337">
                <a:defRPr/>
              </a:pPr>
              <a:r>
                <a:rPr lang="en-US" sz="1000" dirty="0">
                  <a:solidFill>
                    <a:schemeClr val="accent5"/>
                  </a:solidFill>
                  <a:latin typeface="+mn-lt"/>
                </a:rPr>
                <a:t>Cell Site</a:t>
              </a:r>
            </a:p>
          </p:txBody>
        </p:sp>
        <p:sp>
          <p:nvSpPr>
            <p:cNvPr id="289" name="Rounded Rectangle 288">
              <a:extLst>
                <a:ext uri="{FF2B5EF4-FFF2-40B4-BE49-F238E27FC236}">
                  <a16:creationId xmlns:a16="http://schemas.microsoft.com/office/drawing/2014/main" id="{C5CE9657-5C58-E741-AC0A-3CA6860BBCBD}"/>
                </a:ext>
              </a:extLst>
            </p:cNvPr>
            <p:cNvSpPr/>
            <p:nvPr/>
          </p:nvSpPr>
          <p:spPr>
            <a:xfrm>
              <a:off x="7068349" y="1208005"/>
              <a:ext cx="1842059" cy="1641897"/>
            </a:xfrm>
            <a:prstGeom prst="roundRect">
              <a:avLst>
                <a:gd name="adj" fmla="val 9253"/>
              </a:avLst>
            </a:prstGeom>
            <a:solidFill>
              <a:srgbClr val="005073"/>
            </a:solidFill>
            <a:ln>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endParaRPr lang="en-US" sz="825">
                <a:solidFill>
                  <a:srgbClr val="282828"/>
                </a:solidFill>
              </a:endParaRPr>
            </a:p>
          </p:txBody>
        </p:sp>
        <p:cxnSp>
          <p:nvCxnSpPr>
            <p:cNvPr id="290" name="Straight Arrow Connector 289">
              <a:extLst>
                <a:ext uri="{FF2B5EF4-FFF2-40B4-BE49-F238E27FC236}">
                  <a16:creationId xmlns:a16="http://schemas.microsoft.com/office/drawing/2014/main" id="{42C99BB9-6FD6-2B43-AFC1-4590ECE9B6B0}"/>
                </a:ext>
              </a:extLst>
            </p:cNvPr>
            <p:cNvCxnSpPr/>
            <p:nvPr/>
          </p:nvCxnSpPr>
          <p:spPr>
            <a:xfrm>
              <a:off x="8525957" y="1974985"/>
              <a:ext cx="217016" cy="0"/>
            </a:xfrm>
            <a:prstGeom prst="straightConnector1">
              <a:avLst/>
            </a:prstGeom>
            <a:ln w="12700" cmpd="sng">
              <a:no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1" name="TextBox 290">
              <a:extLst>
                <a:ext uri="{FF2B5EF4-FFF2-40B4-BE49-F238E27FC236}">
                  <a16:creationId xmlns:a16="http://schemas.microsoft.com/office/drawing/2014/main" id="{1C214E0E-14AF-904F-93F9-D3F7D276DE81}"/>
                </a:ext>
              </a:extLst>
            </p:cNvPr>
            <p:cNvSpPr txBox="1"/>
            <p:nvPr/>
          </p:nvSpPr>
          <p:spPr>
            <a:xfrm>
              <a:off x="8417786" y="1758097"/>
              <a:ext cx="548548" cy="200055"/>
            </a:xfrm>
            <a:prstGeom prst="rect">
              <a:avLst/>
            </a:prstGeom>
            <a:noFill/>
            <a:ln>
              <a:noFill/>
            </a:ln>
          </p:spPr>
          <p:txBody>
            <a:bodyPr wrap="none" rtlCol="0">
              <a:spAutoFit/>
            </a:bodyPr>
            <a:lstStyle/>
            <a:p>
              <a:pPr defTabSz="514337">
                <a:defRPr/>
              </a:pPr>
              <a:r>
                <a:rPr lang="en-US" sz="700" dirty="0">
                  <a:solidFill>
                    <a:schemeClr val="bg2"/>
                  </a:solidFill>
                  <a:latin typeface="+mn-lt"/>
                </a:rPr>
                <a:t>Backhaul</a:t>
              </a:r>
            </a:p>
          </p:txBody>
        </p:sp>
        <p:sp>
          <p:nvSpPr>
            <p:cNvPr id="292" name="TextBox 291">
              <a:extLst>
                <a:ext uri="{FF2B5EF4-FFF2-40B4-BE49-F238E27FC236}">
                  <a16:creationId xmlns:a16="http://schemas.microsoft.com/office/drawing/2014/main" id="{438B05EA-2E12-C843-ACB2-8E08AD1A96E1}"/>
                </a:ext>
              </a:extLst>
            </p:cNvPr>
            <p:cNvSpPr txBox="1"/>
            <p:nvPr/>
          </p:nvSpPr>
          <p:spPr>
            <a:xfrm>
              <a:off x="7073980" y="2597125"/>
              <a:ext cx="1836427" cy="246221"/>
            </a:xfrm>
            <a:prstGeom prst="rect">
              <a:avLst/>
            </a:prstGeom>
            <a:noFill/>
            <a:ln>
              <a:noFill/>
            </a:ln>
          </p:spPr>
          <p:txBody>
            <a:bodyPr wrap="square" rtlCol="0">
              <a:spAutoFit/>
            </a:bodyPr>
            <a:lstStyle/>
            <a:p>
              <a:pPr algn="ctr" defTabSz="514337">
                <a:defRPr/>
              </a:pPr>
              <a:r>
                <a:rPr lang="en-US" sz="1000" dirty="0">
                  <a:solidFill>
                    <a:schemeClr val="accent5"/>
                  </a:solidFill>
                  <a:latin typeface="+mn-lt"/>
                </a:rPr>
                <a:t>CRAN Hub</a:t>
              </a:r>
            </a:p>
          </p:txBody>
        </p:sp>
        <p:grpSp>
          <p:nvGrpSpPr>
            <p:cNvPr id="293" name="Group 292">
              <a:extLst>
                <a:ext uri="{FF2B5EF4-FFF2-40B4-BE49-F238E27FC236}">
                  <a16:creationId xmlns:a16="http://schemas.microsoft.com/office/drawing/2014/main" id="{4069F7C5-81AE-E24F-B07D-6DF3275277A3}"/>
                </a:ext>
              </a:extLst>
            </p:cNvPr>
            <p:cNvGrpSpPr/>
            <p:nvPr/>
          </p:nvGrpSpPr>
          <p:grpSpPr>
            <a:xfrm>
              <a:off x="5080560" y="1609484"/>
              <a:ext cx="719236" cy="482594"/>
              <a:chOff x="4835499" y="1188119"/>
              <a:chExt cx="1093841" cy="569145"/>
            </a:xfrm>
          </p:grpSpPr>
          <p:sp>
            <p:nvSpPr>
              <p:cNvPr id="294" name="Rounded Rectangle 293">
                <a:extLst>
                  <a:ext uri="{FF2B5EF4-FFF2-40B4-BE49-F238E27FC236}">
                    <a16:creationId xmlns:a16="http://schemas.microsoft.com/office/drawing/2014/main" id="{39E808B2-81E8-D846-90A8-D8098750FB83}"/>
                  </a:ext>
                </a:extLst>
              </p:cNvPr>
              <p:cNvSpPr/>
              <p:nvPr/>
            </p:nvSpPr>
            <p:spPr>
              <a:xfrm>
                <a:off x="4843011" y="1484881"/>
                <a:ext cx="1086329" cy="272383"/>
              </a:xfrm>
              <a:prstGeom prst="roundRect">
                <a:avLst/>
              </a:prstGeom>
              <a:solidFill>
                <a:schemeClr val="accent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defTabSz="457178">
                  <a:defRPr/>
                </a:pPr>
                <a:r>
                  <a:rPr lang="en-US" sz="700" dirty="0">
                    <a:solidFill>
                      <a:srgbClr val="FFFFFF"/>
                    </a:solidFill>
                  </a:rPr>
                  <a:t>5G NR </a:t>
                </a:r>
                <a:br>
                  <a:rPr lang="en-US" sz="700" dirty="0">
                    <a:solidFill>
                      <a:srgbClr val="FFFFFF"/>
                    </a:solidFill>
                  </a:rPr>
                </a:br>
                <a:r>
                  <a:rPr lang="en-US" sz="700" dirty="0">
                    <a:solidFill>
                      <a:srgbClr val="FFFFFF"/>
                    </a:solidFill>
                  </a:rPr>
                  <a:t>RRH</a:t>
                </a:r>
                <a:endParaRPr lang="en-AU" sz="700" dirty="0">
                  <a:solidFill>
                    <a:srgbClr val="FFFFFF"/>
                  </a:solidFill>
                </a:endParaRPr>
              </a:p>
            </p:txBody>
          </p:sp>
          <p:sp>
            <p:nvSpPr>
              <p:cNvPr id="295" name="Rounded Rectangle 294">
                <a:extLst>
                  <a:ext uri="{FF2B5EF4-FFF2-40B4-BE49-F238E27FC236}">
                    <a16:creationId xmlns:a16="http://schemas.microsoft.com/office/drawing/2014/main" id="{3B99F217-2BA8-6D4D-8C48-0F24A0DE7447}"/>
                  </a:ext>
                </a:extLst>
              </p:cNvPr>
              <p:cNvSpPr/>
              <p:nvPr/>
            </p:nvSpPr>
            <p:spPr>
              <a:xfrm>
                <a:off x="4835499" y="1188119"/>
                <a:ext cx="1086329" cy="272383"/>
              </a:xfrm>
              <a:prstGeom prst="roundRect">
                <a:avLst/>
              </a:prstGeom>
              <a:solidFill>
                <a:schemeClr val="accent2"/>
              </a:solidFill>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rtlCol="0" anchor="ctr"/>
              <a:lstStyle/>
              <a:p>
                <a:pPr defTabSz="457178">
                  <a:defRPr/>
                </a:pPr>
                <a:r>
                  <a:rPr lang="en-US" sz="700" b="1" dirty="0">
                    <a:solidFill>
                      <a:srgbClr val="FFFFFF"/>
                    </a:solidFill>
                  </a:rPr>
                  <a:t>Business CPE / BBU</a:t>
                </a:r>
                <a:endParaRPr lang="en-AU" sz="700" b="1" dirty="0">
                  <a:solidFill>
                    <a:srgbClr val="FFFFFF"/>
                  </a:solidFill>
                </a:endParaRPr>
              </a:p>
            </p:txBody>
          </p:sp>
        </p:grpSp>
        <p:cxnSp>
          <p:nvCxnSpPr>
            <p:cNvPr id="296" name="Elbow Connector 295">
              <a:extLst>
                <a:ext uri="{FF2B5EF4-FFF2-40B4-BE49-F238E27FC236}">
                  <a16:creationId xmlns:a16="http://schemas.microsoft.com/office/drawing/2014/main" id="{9E516D12-7E75-0C45-BD06-42329E15E6F9}"/>
                </a:ext>
              </a:extLst>
            </p:cNvPr>
            <p:cNvCxnSpPr>
              <a:endCxn id="294" idx="3"/>
            </p:cNvCxnSpPr>
            <p:nvPr/>
          </p:nvCxnSpPr>
          <p:spPr>
            <a:xfrm rot="10800000" flipV="1">
              <a:off x="5799797" y="1902647"/>
              <a:ext cx="511444" cy="73950"/>
            </a:xfrm>
            <a:prstGeom prst="bentConnector3">
              <a:avLst>
                <a:gd name="adj1" fmla="val 50000"/>
              </a:avLst>
            </a:prstGeom>
            <a:ln w="9525" cap="flat" cmpd="sng" algn="ctr">
              <a:solidFill>
                <a:schemeClr val="bg2"/>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7" name="Elbow Connector 296">
              <a:extLst>
                <a:ext uri="{FF2B5EF4-FFF2-40B4-BE49-F238E27FC236}">
                  <a16:creationId xmlns:a16="http://schemas.microsoft.com/office/drawing/2014/main" id="{6F17161F-83D4-C14C-8056-C9C22EC57B7E}"/>
                </a:ext>
              </a:extLst>
            </p:cNvPr>
            <p:cNvCxnSpPr>
              <a:cxnSpLocks/>
              <a:stCxn id="340" idx="2"/>
            </p:cNvCxnSpPr>
            <p:nvPr/>
          </p:nvCxnSpPr>
          <p:spPr>
            <a:xfrm rot="5400000">
              <a:off x="6038729" y="1937507"/>
              <a:ext cx="93493" cy="571352"/>
            </a:xfrm>
            <a:prstGeom prst="bentConnector2">
              <a:avLst/>
            </a:prstGeom>
            <a:ln w="9525">
              <a:solidFill>
                <a:schemeClr val="bg2"/>
              </a:solidFill>
              <a:prstDash val="sysDash"/>
            </a:ln>
            <a:effectLst/>
          </p:spPr>
          <p:style>
            <a:lnRef idx="3">
              <a:schemeClr val="accent1"/>
            </a:lnRef>
            <a:fillRef idx="0">
              <a:schemeClr val="accent1"/>
            </a:fillRef>
            <a:effectRef idx="2">
              <a:schemeClr val="accent1"/>
            </a:effectRef>
            <a:fontRef idx="minor">
              <a:schemeClr val="tx1"/>
            </a:fontRef>
          </p:style>
        </p:cxnSp>
        <p:cxnSp>
          <p:nvCxnSpPr>
            <p:cNvPr id="298" name="Elbow Connector 297">
              <a:extLst>
                <a:ext uri="{FF2B5EF4-FFF2-40B4-BE49-F238E27FC236}">
                  <a16:creationId xmlns:a16="http://schemas.microsoft.com/office/drawing/2014/main" id="{03BC302A-8A34-0E4B-B0B6-F0E088D26146}"/>
                </a:ext>
              </a:extLst>
            </p:cNvPr>
            <p:cNvCxnSpPr>
              <a:cxnSpLocks/>
              <a:stCxn id="340" idx="0"/>
              <a:endCxn id="295" idx="3"/>
            </p:cNvCxnSpPr>
            <p:nvPr/>
          </p:nvCxnSpPr>
          <p:spPr>
            <a:xfrm rot="16200000" flipV="1">
              <a:off x="6022408" y="1497415"/>
              <a:ext cx="121193" cy="576294"/>
            </a:xfrm>
            <a:prstGeom prst="bentConnector2">
              <a:avLst/>
            </a:prstGeom>
            <a:ln>
              <a:solidFill>
                <a:schemeClr val="bg2"/>
              </a:solidFill>
            </a:ln>
          </p:spPr>
          <p:style>
            <a:lnRef idx="1">
              <a:schemeClr val="accent2"/>
            </a:lnRef>
            <a:fillRef idx="0">
              <a:schemeClr val="accent2"/>
            </a:fillRef>
            <a:effectRef idx="0">
              <a:schemeClr val="accent2"/>
            </a:effectRef>
            <a:fontRef idx="minor">
              <a:schemeClr val="tx1"/>
            </a:fontRef>
          </p:style>
        </p:cxnSp>
        <p:sp>
          <p:nvSpPr>
            <p:cNvPr id="299" name="TextBox 298">
              <a:extLst>
                <a:ext uri="{FF2B5EF4-FFF2-40B4-BE49-F238E27FC236}">
                  <a16:creationId xmlns:a16="http://schemas.microsoft.com/office/drawing/2014/main" id="{7D78643B-6AB0-CF43-BA7C-9A038587B17E}"/>
                </a:ext>
              </a:extLst>
            </p:cNvPr>
            <p:cNvSpPr txBox="1"/>
            <p:nvPr/>
          </p:nvSpPr>
          <p:spPr>
            <a:xfrm>
              <a:off x="3562408" y="1523038"/>
              <a:ext cx="648633" cy="215444"/>
            </a:xfrm>
            <a:prstGeom prst="rect">
              <a:avLst/>
            </a:prstGeom>
            <a:noFill/>
          </p:spPr>
          <p:txBody>
            <a:bodyPr wrap="square" rtlCol="0">
              <a:spAutoFit/>
            </a:bodyPr>
            <a:lstStyle/>
            <a:p>
              <a:pPr defTabSz="514337">
                <a:defRPr/>
              </a:pPr>
              <a:r>
                <a:rPr lang="en-US" sz="800" b="1" dirty="0">
                  <a:solidFill>
                    <a:schemeClr val="bg2"/>
                  </a:solidFill>
                  <a:latin typeface="+mn-lt"/>
                </a:rPr>
                <a:t>BBU Pool</a:t>
              </a:r>
            </a:p>
          </p:txBody>
        </p:sp>
        <p:sp>
          <p:nvSpPr>
            <p:cNvPr id="300" name="Rounded Rectangle 299">
              <a:extLst>
                <a:ext uri="{FF2B5EF4-FFF2-40B4-BE49-F238E27FC236}">
                  <a16:creationId xmlns:a16="http://schemas.microsoft.com/office/drawing/2014/main" id="{DA74548B-3495-8149-B305-175A5DB2EE27}"/>
                </a:ext>
              </a:extLst>
            </p:cNvPr>
            <p:cNvSpPr/>
            <p:nvPr/>
          </p:nvSpPr>
          <p:spPr>
            <a:xfrm>
              <a:off x="253844" y="1822526"/>
              <a:ext cx="714872" cy="239745"/>
            </a:xfrm>
            <a:prstGeom prst="roundRect">
              <a:avLst/>
            </a:prstGeom>
            <a:solidFill>
              <a:srgbClr val="FBAB1A"/>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defTabSz="457178">
                <a:defRPr/>
              </a:pPr>
              <a:r>
                <a:rPr lang="en-US" sz="750" b="1" dirty="0">
                  <a:solidFill>
                    <a:schemeClr val="tx1"/>
                  </a:solidFill>
                </a:rPr>
                <a:t>4G RRH</a:t>
              </a:r>
              <a:endParaRPr lang="en-AU" sz="750" b="1" dirty="0">
                <a:solidFill>
                  <a:schemeClr val="tx1"/>
                </a:solidFill>
              </a:endParaRPr>
            </a:p>
          </p:txBody>
        </p:sp>
        <p:sp>
          <p:nvSpPr>
            <p:cNvPr id="301" name="Freeform 41">
              <a:extLst>
                <a:ext uri="{FF2B5EF4-FFF2-40B4-BE49-F238E27FC236}">
                  <a16:creationId xmlns:a16="http://schemas.microsoft.com/office/drawing/2014/main" id="{BB775CBB-099F-2F43-AB0D-257B71C93311}"/>
                </a:ext>
              </a:extLst>
            </p:cNvPr>
            <p:cNvSpPr>
              <a:spLocks noEditPoints="1"/>
            </p:cNvSpPr>
            <p:nvPr/>
          </p:nvSpPr>
          <p:spPr bwMode="auto">
            <a:xfrm flipH="1">
              <a:off x="732722" y="1862824"/>
              <a:ext cx="181154" cy="179809"/>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sz="500" dirty="0">
                <a:solidFill>
                  <a:srgbClr val="39393B"/>
                </a:solidFill>
                <a:latin typeface="+mn-lt"/>
                <a:ea typeface=""/>
                <a:cs typeface=""/>
              </a:endParaRPr>
            </a:p>
          </p:txBody>
        </p:sp>
        <p:sp>
          <p:nvSpPr>
            <p:cNvPr id="302" name="Rounded Rectangle 301">
              <a:extLst>
                <a:ext uri="{FF2B5EF4-FFF2-40B4-BE49-F238E27FC236}">
                  <a16:creationId xmlns:a16="http://schemas.microsoft.com/office/drawing/2014/main" id="{EC506381-9A87-3848-8055-45ED8AE8FACC}"/>
                </a:ext>
              </a:extLst>
            </p:cNvPr>
            <p:cNvSpPr/>
            <p:nvPr/>
          </p:nvSpPr>
          <p:spPr>
            <a:xfrm>
              <a:off x="5086334" y="2118541"/>
              <a:ext cx="719237" cy="239745"/>
            </a:xfrm>
            <a:prstGeom prst="roundRect">
              <a:avLst/>
            </a:prstGeom>
            <a:solidFill>
              <a:srgbClr val="FFC000"/>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defTabSz="457178">
                <a:defRPr/>
              </a:pPr>
              <a:r>
                <a:rPr lang="en-US" sz="700" b="1" dirty="0">
                  <a:solidFill>
                    <a:schemeClr val="tx1"/>
                  </a:solidFill>
                </a:rPr>
                <a:t>4G RRH</a:t>
              </a:r>
              <a:endParaRPr lang="en-AU" sz="700" b="1" dirty="0">
                <a:solidFill>
                  <a:schemeClr val="tx1"/>
                </a:solidFill>
              </a:endParaRPr>
            </a:p>
          </p:txBody>
        </p:sp>
        <p:sp>
          <p:nvSpPr>
            <p:cNvPr id="303" name="Freeform 41">
              <a:extLst>
                <a:ext uri="{FF2B5EF4-FFF2-40B4-BE49-F238E27FC236}">
                  <a16:creationId xmlns:a16="http://schemas.microsoft.com/office/drawing/2014/main" id="{562A9095-54A3-7F43-ADE2-F760093F851F}"/>
                </a:ext>
              </a:extLst>
            </p:cNvPr>
            <p:cNvSpPr>
              <a:spLocks noEditPoints="1"/>
            </p:cNvSpPr>
            <p:nvPr/>
          </p:nvSpPr>
          <p:spPr bwMode="auto">
            <a:xfrm flipH="1">
              <a:off x="5558275" y="2145566"/>
              <a:ext cx="181154" cy="153974"/>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sz="500" dirty="0">
                <a:solidFill>
                  <a:srgbClr val="39393B"/>
                </a:solidFill>
                <a:latin typeface="+mn-lt"/>
                <a:ea typeface=""/>
                <a:cs typeface=""/>
              </a:endParaRPr>
            </a:p>
          </p:txBody>
        </p:sp>
        <p:sp>
          <p:nvSpPr>
            <p:cNvPr id="304" name="Freeform 41">
              <a:extLst>
                <a:ext uri="{FF2B5EF4-FFF2-40B4-BE49-F238E27FC236}">
                  <a16:creationId xmlns:a16="http://schemas.microsoft.com/office/drawing/2014/main" id="{BF378989-70A8-114E-8B88-C52E99C120BF}"/>
                </a:ext>
              </a:extLst>
            </p:cNvPr>
            <p:cNvSpPr>
              <a:spLocks noEditPoints="1"/>
            </p:cNvSpPr>
            <p:nvPr/>
          </p:nvSpPr>
          <p:spPr bwMode="auto">
            <a:xfrm flipH="1">
              <a:off x="5625127" y="1896516"/>
              <a:ext cx="148493" cy="155400"/>
            </a:xfrm>
            <a:custGeom>
              <a:avLst/>
              <a:gdLst/>
              <a:ahLst/>
              <a:cxnLst>
                <a:cxn ang="0">
                  <a:pos x="1096" y="796"/>
                </a:cxn>
                <a:cxn ang="0">
                  <a:pos x="1096" y="290"/>
                </a:cxn>
                <a:cxn ang="0">
                  <a:pos x="1024" y="362"/>
                </a:cxn>
                <a:cxn ang="0">
                  <a:pos x="1024" y="724"/>
                </a:cxn>
                <a:cxn ang="0">
                  <a:pos x="1096" y="796"/>
                </a:cxn>
                <a:cxn ang="0">
                  <a:pos x="744" y="665"/>
                </a:cxn>
                <a:cxn ang="0">
                  <a:pos x="461" y="1419"/>
                </a:cxn>
                <a:cxn ang="0">
                  <a:pos x="1224" y="1419"/>
                </a:cxn>
                <a:cxn ang="0">
                  <a:pos x="941" y="665"/>
                </a:cxn>
                <a:cxn ang="0">
                  <a:pos x="996" y="548"/>
                </a:cxn>
                <a:cxn ang="0">
                  <a:pos x="843" y="395"/>
                </a:cxn>
                <a:cxn ang="0">
                  <a:pos x="689" y="548"/>
                </a:cxn>
                <a:cxn ang="0">
                  <a:pos x="744" y="665"/>
                </a:cxn>
                <a:cxn ang="0">
                  <a:pos x="978" y="1055"/>
                </a:cxn>
                <a:cxn ang="0">
                  <a:pos x="1076" y="1316"/>
                </a:cxn>
                <a:cxn ang="0">
                  <a:pos x="609" y="1316"/>
                </a:cxn>
                <a:cxn ang="0">
                  <a:pos x="707" y="1055"/>
                </a:cxn>
                <a:cxn ang="0">
                  <a:pos x="978" y="1055"/>
                </a:cxn>
                <a:cxn ang="0">
                  <a:pos x="840" y="701"/>
                </a:cxn>
                <a:cxn ang="0">
                  <a:pos x="843" y="702"/>
                </a:cxn>
                <a:cxn ang="0">
                  <a:pos x="845" y="701"/>
                </a:cxn>
                <a:cxn ang="0">
                  <a:pos x="940" y="953"/>
                </a:cxn>
                <a:cxn ang="0">
                  <a:pos x="746" y="953"/>
                </a:cxn>
                <a:cxn ang="0">
                  <a:pos x="840" y="701"/>
                </a:cxn>
                <a:cxn ang="0">
                  <a:pos x="1168" y="869"/>
                </a:cxn>
                <a:cxn ang="0">
                  <a:pos x="1241" y="941"/>
                </a:cxn>
                <a:cxn ang="0">
                  <a:pos x="1241" y="145"/>
                </a:cxn>
                <a:cxn ang="0">
                  <a:pos x="1168" y="217"/>
                </a:cxn>
                <a:cxn ang="0">
                  <a:pos x="1168" y="869"/>
                </a:cxn>
                <a:cxn ang="0">
                  <a:pos x="433" y="1572"/>
                </a:cxn>
                <a:cxn ang="0">
                  <a:pos x="1252" y="1572"/>
                </a:cxn>
                <a:cxn ang="0">
                  <a:pos x="1252" y="1470"/>
                </a:cxn>
                <a:cxn ang="0">
                  <a:pos x="433" y="1470"/>
                </a:cxn>
                <a:cxn ang="0">
                  <a:pos x="433" y="1572"/>
                </a:cxn>
                <a:cxn ang="0">
                  <a:pos x="372" y="72"/>
                </a:cxn>
                <a:cxn ang="0">
                  <a:pos x="300" y="0"/>
                </a:cxn>
                <a:cxn ang="0">
                  <a:pos x="300" y="1086"/>
                </a:cxn>
                <a:cxn ang="0">
                  <a:pos x="372" y="1014"/>
                </a:cxn>
                <a:cxn ang="0">
                  <a:pos x="372" y="72"/>
                </a:cxn>
                <a:cxn ang="0">
                  <a:pos x="1386" y="0"/>
                </a:cxn>
                <a:cxn ang="0">
                  <a:pos x="1313" y="72"/>
                </a:cxn>
                <a:cxn ang="0">
                  <a:pos x="1313" y="1014"/>
                </a:cxn>
                <a:cxn ang="0">
                  <a:pos x="1386" y="1086"/>
                </a:cxn>
                <a:cxn ang="0">
                  <a:pos x="1386" y="0"/>
                </a:cxn>
                <a:cxn ang="0">
                  <a:pos x="444" y="941"/>
                </a:cxn>
                <a:cxn ang="0">
                  <a:pos x="517" y="869"/>
                </a:cxn>
                <a:cxn ang="0">
                  <a:pos x="517" y="217"/>
                </a:cxn>
                <a:cxn ang="0">
                  <a:pos x="444" y="145"/>
                </a:cxn>
                <a:cxn ang="0">
                  <a:pos x="444" y="941"/>
                </a:cxn>
                <a:cxn ang="0">
                  <a:pos x="589" y="796"/>
                </a:cxn>
                <a:cxn ang="0">
                  <a:pos x="662" y="724"/>
                </a:cxn>
                <a:cxn ang="0">
                  <a:pos x="662" y="362"/>
                </a:cxn>
                <a:cxn ang="0">
                  <a:pos x="589" y="290"/>
                </a:cxn>
                <a:cxn ang="0">
                  <a:pos x="589" y="796"/>
                </a:cxn>
              </a:cxnLst>
              <a:rect l="0" t="0" r="r" b="b"/>
              <a:pathLst>
                <a:path w="1685" h="1572">
                  <a:moveTo>
                    <a:pt x="1096" y="796"/>
                  </a:moveTo>
                  <a:cubicBezTo>
                    <a:pt x="1236" y="657"/>
                    <a:pt x="1236" y="429"/>
                    <a:pt x="1096" y="290"/>
                  </a:cubicBezTo>
                  <a:cubicBezTo>
                    <a:pt x="1024" y="362"/>
                    <a:pt x="1024" y="362"/>
                    <a:pt x="1024" y="362"/>
                  </a:cubicBezTo>
                  <a:cubicBezTo>
                    <a:pt x="1123" y="462"/>
                    <a:pt x="1123" y="624"/>
                    <a:pt x="1024" y="724"/>
                  </a:cubicBezTo>
                  <a:lnTo>
                    <a:pt x="1096" y="796"/>
                  </a:lnTo>
                  <a:close/>
                  <a:moveTo>
                    <a:pt x="744" y="665"/>
                  </a:moveTo>
                  <a:cubicBezTo>
                    <a:pt x="461" y="1419"/>
                    <a:pt x="461" y="1419"/>
                    <a:pt x="461" y="1419"/>
                  </a:cubicBezTo>
                  <a:cubicBezTo>
                    <a:pt x="1224" y="1419"/>
                    <a:pt x="1224" y="1419"/>
                    <a:pt x="1224" y="1419"/>
                  </a:cubicBezTo>
                  <a:cubicBezTo>
                    <a:pt x="941" y="665"/>
                    <a:pt x="941" y="665"/>
                    <a:pt x="941" y="665"/>
                  </a:cubicBezTo>
                  <a:cubicBezTo>
                    <a:pt x="974" y="637"/>
                    <a:pt x="996" y="595"/>
                    <a:pt x="996" y="548"/>
                  </a:cubicBezTo>
                  <a:cubicBezTo>
                    <a:pt x="996" y="463"/>
                    <a:pt x="927" y="395"/>
                    <a:pt x="843" y="395"/>
                  </a:cubicBezTo>
                  <a:cubicBezTo>
                    <a:pt x="758" y="395"/>
                    <a:pt x="689" y="463"/>
                    <a:pt x="689" y="548"/>
                  </a:cubicBezTo>
                  <a:cubicBezTo>
                    <a:pt x="689" y="595"/>
                    <a:pt x="711" y="637"/>
                    <a:pt x="744" y="665"/>
                  </a:cubicBezTo>
                  <a:close/>
                  <a:moveTo>
                    <a:pt x="978" y="1055"/>
                  </a:moveTo>
                  <a:cubicBezTo>
                    <a:pt x="1076" y="1316"/>
                    <a:pt x="1076" y="1316"/>
                    <a:pt x="1076" y="1316"/>
                  </a:cubicBezTo>
                  <a:cubicBezTo>
                    <a:pt x="609" y="1316"/>
                    <a:pt x="609" y="1316"/>
                    <a:pt x="609" y="1316"/>
                  </a:cubicBezTo>
                  <a:cubicBezTo>
                    <a:pt x="707" y="1055"/>
                    <a:pt x="707" y="1055"/>
                    <a:pt x="707" y="1055"/>
                  </a:cubicBezTo>
                  <a:lnTo>
                    <a:pt x="978" y="1055"/>
                  </a:lnTo>
                  <a:close/>
                  <a:moveTo>
                    <a:pt x="840" y="701"/>
                  </a:moveTo>
                  <a:cubicBezTo>
                    <a:pt x="841" y="702"/>
                    <a:pt x="842" y="702"/>
                    <a:pt x="843" y="702"/>
                  </a:cubicBezTo>
                  <a:cubicBezTo>
                    <a:pt x="844" y="702"/>
                    <a:pt x="844" y="702"/>
                    <a:pt x="845" y="701"/>
                  </a:cubicBezTo>
                  <a:cubicBezTo>
                    <a:pt x="940" y="953"/>
                    <a:pt x="940" y="953"/>
                    <a:pt x="940" y="953"/>
                  </a:cubicBezTo>
                  <a:cubicBezTo>
                    <a:pt x="746" y="953"/>
                    <a:pt x="746" y="953"/>
                    <a:pt x="746" y="953"/>
                  </a:cubicBezTo>
                  <a:lnTo>
                    <a:pt x="840" y="701"/>
                  </a:lnTo>
                  <a:close/>
                  <a:moveTo>
                    <a:pt x="1168" y="869"/>
                  </a:moveTo>
                  <a:cubicBezTo>
                    <a:pt x="1241" y="941"/>
                    <a:pt x="1241" y="941"/>
                    <a:pt x="1241" y="941"/>
                  </a:cubicBezTo>
                  <a:cubicBezTo>
                    <a:pt x="1460" y="722"/>
                    <a:pt x="1460" y="364"/>
                    <a:pt x="1241" y="145"/>
                  </a:cubicBezTo>
                  <a:cubicBezTo>
                    <a:pt x="1168" y="217"/>
                    <a:pt x="1168" y="217"/>
                    <a:pt x="1168" y="217"/>
                  </a:cubicBezTo>
                  <a:cubicBezTo>
                    <a:pt x="1348" y="397"/>
                    <a:pt x="1348" y="689"/>
                    <a:pt x="1168" y="869"/>
                  </a:cubicBezTo>
                  <a:close/>
                  <a:moveTo>
                    <a:pt x="433" y="1572"/>
                  </a:moveTo>
                  <a:cubicBezTo>
                    <a:pt x="1252" y="1572"/>
                    <a:pt x="1252" y="1572"/>
                    <a:pt x="1252" y="1572"/>
                  </a:cubicBezTo>
                  <a:cubicBezTo>
                    <a:pt x="1252" y="1470"/>
                    <a:pt x="1252" y="1470"/>
                    <a:pt x="1252" y="1470"/>
                  </a:cubicBezTo>
                  <a:cubicBezTo>
                    <a:pt x="433" y="1470"/>
                    <a:pt x="433" y="1470"/>
                    <a:pt x="433" y="1470"/>
                  </a:cubicBezTo>
                  <a:lnTo>
                    <a:pt x="433" y="1572"/>
                  </a:lnTo>
                  <a:close/>
                  <a:moveTo>
                    <a:pt x="372" y="72"/>
                  </a:moveTo>
                  <a:cubicBezTo>
                    <a:pt x="300" y="0"/>
                    <a:pt x="300" y="0"/>
                    <a:pt x="300" y="0"/>
                  </a:cubicBezTo>
                  <a:cubicBezTo>
                    <a:pt x="0" y="299"/>
                    <a:pt x="0" y="787"/>
                    <a:pt x="300" y="1086"/>
                  </a:cubicBezTo>
                  <a:cubicBezTo>
                    <a:pt x="372" y="1014"/>
                    <a:pt x="372" y="1014"/>
                    <a:pt x="372" y="1014"/>
                  </a:cubicBezTo>
                  <a:cubicBezTo>
                    <a:pt x="113" y="754"/>
                    <a:pt x="113" y="332"/>
                    <a:pt x="372" y="72"/>
                  </a:cubicBezTo>
                  <a:close/>
                  <a:moveTo>
                    <a:pt x="1386" y="0"/>
                  </a:moveTo>
                  <a:cubicBezTo>
                    <a:pt x="1313" y="72"/>
                    <a:pt x="1313" y="72"/>
                    <a:pt x="1313" y="72"/>
                  </a:cubicBezTo>
                  <a:cubicBezTo>
                    <a:pt x="1573" y="332"/>
                    <a:pt x="1573" y="754"/>
                    <a:pt x="1313" y="1014"/>
                  </a:cubicBezTo>
                  <a:cubicBezTo>
                    <a:pt x="1386" y="1086"/>
                    <a:pt x="1386" y="1086"/>
                    <a:pt x="1386" y="1086"/>
                  </a:cubicBezTo>
                  <a:cubicBezTo>
                    <a:pt x="1685" y="787"/>
                    <a:pt x="1685" y="299"/>
                    <a:pt x="1386" y="0"/>
                  </a:cubicBezTo>
                  <a:close/>
                  <a:moveTo>
                    <a:pt x="444" y="941"/>
                  </a:moveTo>
                  <a:cubicBezTo>
                    <a:pt x="517" y="869"/>
                    <a:pt x="517" y="869"/>
                    <a:pt x="517" y="869"/>
                  </a:cubicBezTo>
                  <a:cubicBezTo>
                    <a:pt x="337" y="689"/>
                    <a:pt x="337" y="397"/>
                    <a:pt x="517" y="217"/>
                  </a:cubicBezTo>
                  <a:cubicBezTo>
                    <a:pt x="444" y="145"/>
                    <a:pt x="444" y="145"/>
                    <a:pt x="444" y="145"/>
                  </a:cubicBezTo>
                  <a:cubicBezTo>
                    <a:pt x="225" y="364"/>
                    <a:pt x="225" y="722"/>
                    <a:pt x="444" y="941"/>
                  </a:cubicBezTo>
                  <a:close/>
                  <a:moveTo>
                    <a:pt x="589" y="796"/>
                  </a:moveTo>
                  <a:cubicBezTo>
                    <a:pt x="662" y="724"/>
                    <a:pt x="662" y="724"/>
                    <a:pt x="662" y="724"/>
                  </a:cubicBezTo>
                  <a:cubicBezTo>
                    <a:pt x="562" y="624"/>
                    <a:pt x="562" y="462"/>
                    <a:pt x="662" y="362"/>
                  </a:cubicBezTo>
                  <a:cubicBezTo>
                    <a:pt x="589" y="290"/>
                    <a:pt x="589" y="290"/>
                    <a:pt x="589" y="290"/>
                  </a:cubicBezTo>
                  <a:cubicBezTo>
                    <a:pt x="450" y="429"/>
                    <a:pt x="450" y="657"/>
                    <a:pt x="589" y="796"/>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456917">
                <a:defRPr/>
              </a:pPr>
              <a:endParaRPr lang="en-US" sz="500" dirty="0">
                <a:solidFill>
                  <a:srgbClr val="39393B"/>
                </a:solidFill>
                <a:latin typeface="+mn-lt"/>
                <a:ea typeface=""/>
                <a:cs typeface=""/>
              </a:endParaRPr>
            </a:p>
          </p:txBody>
        </p:sp>
        <p:cxnSp>
          <p:nvCxnSpPr>
            <p:cNvPr id="305" name="Straight Connector 304">
              <a:extLst>
                <a:ext uri="{FF2B5EF4-FFF2-40B4-BE49-F238E27FC236}">
                  <a16:creationId xmlns:a16="http://schemas.microsoft.com/office/drawing/2014/main" id="{1244C247-A2F0-AF49-8A05-8623CAE8DFDF}"/>
                </a:ext>
              </a:extLst>
            </p:cNvPr>
            <p:cNvCxnSpPr>
              <a:cxnSpLocks/>
              <a:endCxn id="306" idx="1"/>
            </p:cNvCxnSpPr>
            <p:nvPr/>
          </p:nvCxnSpPr>
          <p:spPr>
            <a:xfrm>
              <a:off x="6689795" y="1972304"/>
              <a:ext cx="616450" cy="475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06" name="Rounded Rectangle 305">
              <a:extLst>
                <a:ext uri="{FF2B5EF4-FFF2-40B4-BE49-F238E27FC236}">
                  <a16:creationId xmlns:a16="http://schemas.microsoft.com/office/drawing/2014/main" id="{3BC7F99F-1715-4E4C-B5D1-DC3CDD904BA8}"/>
                </a:ext>
              </a:extLst>
            </p:cNvPr>
            <p:cNvSpPr/>
            <p:nvPr/>
          </p:nvSpPr>
          <p:spPr>
            <a:xfrm>
              <a:off x="7306245" y="1724965"/>
              <a:ext cx="779882" cy="504193"/>
            </a:xfrm>
            <a:prstGeom prst="roundRect">
              <a:avLst/>
            </a:prstGeom>
            <a:solidFill>
              <a:srgbClr val="FFC000"/>
            </a:solidFill>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rtlCol="0" anchor="ctr"/>
            <a:lstStyle/>
            <a:p>
              <a:pPr algn="ctr" defTabSz="457178">
                <a:defRPr/>
              </a:pPr>
              <a:r>
                <a:rPr lang="en-US" sz="700" b="1" dirty="0">
                  <a:solidFill>
                    <a:srgbClr val="282828"/>
                  </a:solidFill>
                </a:rPr>
                <a:t>Fronthaul  Aggregation Router</a:t>
              </a:r>
              <a:endParaRPr lang="en-AU" sz="700" b="1" dirty="0">
                <a:solidFill>
                  <a:srgbClr val="282828"/>
                </a:solidFill>
              </a:endParaRPr>
            </a:p>
          </p:txBody>
        </p:sp>
        <p:grpSp>
          <p:nvGrpSpPr>
            <p:cNvPr id="307" name="Group 306">
              <a:extLst>
                <a:ext uri="{FF2B5EF4-FFF2-40B4-BE49-F238E27FC236}">
                  <a16:creationId xmlns:a16="http://schemas.microsoft.com/office/drawing/2014/main" id="{E3D49E4C-20A3-A647-A5B3-9BFF171B8B29}"/>
                </a:ext>
              </a:extLst>
            </p:cNvPr>
            <p:cNvGrpSpPr>
              <a:grpSpLocks noChangeAspect="1"/>
            </p:cNvGrpSpPr>
            <p:nvPr/>
          </p:nvGrpSpPr>
          <p:grpSpPr>
            <a:xfrm flipH="1">
              <a:off x="8234893" y="1763998"/>
              <a:ext cx="230765" cy="412439"/>
              <a:chOff x="6146801" y="2133602"/>
              <a:chExt cx="644525" cy="566738"/>
            </a:xfrm>
          </p:grpSpPr>
          <p:sp>
            <p:nvSpPr>
              <p:cNvPr id="308" name="Freeform 278">
                <a:extLst>
                  <a:ext uri="{FF2B5EF4-FFF2-40B4-BE49-F238E27FC236}">
                    <a16:creationId xmlns:a16="http://schemas.microsoft.com/office/drawing/2014/main" id="{83D3BA40-C508-2443-96D0-BB909A381F1D}"/>
                  </a:ext>
                </a:extLst>
              </p:cNvPr>
              <p:cNvSpPr>
                <a:spLocks/>
              </p:cNvSpPr>
              <p:nvPr/>
            </p:nvSpPr>
            <p:spPr bwMode="auto">
              <a:xfrm>
                <a:off x="6146801" y="2482852"/>
                <a:ext cx="644525" cy="103188"/>
              </a:xfrm>
              <a:custGeom>
                <a:avLst/>
                <a:gdLst>
                  <a:gd name="T0" fmla="*/ 387 w 387"/>
                  <a:gd name="T1" fmla="*/ 10 h 62"/>
                  <a:gd name="T2" fmla="*/ 387 w 387"/>
                  <a:gd name="T3" fmla="*/ 52 h 62"/>
                  <a:gd name="T4" fmla="*/ 376 w 387"/>
                  <a:gd name="T5" fmla="*/ 62 h 62"/>
                  <a:gd name="T6" fmla="*/ 11 w 387"/>
                  <a:gd name="T7" fmla="*/ 62 h 62"/>
                  <a:gd name="T8" fmla="*/ 0 w 387"/>
                  <a:gd name="T9" fmla="*/ 52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2"/>
                      <a:pt x="387" y="52"/>
                      <a:pt x="387" y="52"/>
                    </a:cubicBezTo>
                    <a:cubicBezTo>
                      <a:pt x="387" y="57"/>
                      <a:pt x="382" y="62"/>
                      <a:pt x="376" y="62"/>
                    </a:cubicBezTo>
                    <a:cubicBezTo>
                      <a:pt x="11" y="62"/>
                      <a:pt x="11" y="62"/>
                      <a:pt x="11" y="62"/>
                    </a:cubicBezTo>
                    <a:cubicBezTo>
                      <a:pt x="5" y="62"/>
                      <a:pt x="0" y="57"/>
                      <a:pt x="0" y="52"/>
                    </a:cubicBezTo>
                    <a:cubicBezTo>
                      <a:pt x="0" y="10"/>
                      <a:pt x="0" y="10"/>
                      <a:pt x="0" y="10"/>
                    </a:cubicBezTo>
                    <a:cubicBezTo>
                      <a:pt x="0" y="5"/>
                      <a:pt x="5" y="0"/>
                      <a:pt x="11" y="0"/>
                    </a:cubicBezTo>
                    <a:cubicBezTo>
                      <a:pt x="376" y="0"/>
                      <a:pt x="376" y="0"/>
                      <a:pt x="376" y="0"/>
                    </a:cubicBezTo>
                    <a:cubicBezTo>
                      <a:pt x="382" y="0"/>
                      <a:pt x="387" y="5"/>
                      <a:pt x="387" y="1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09" name="Line 279">
                <a:extLst>
                  <a:ext uri="{FF2B5EF4-FFF2-40B4-BE49-F238E27FC236}">
                    <a16:creationId xmlns:a16="http://schemas.microsoft.com/office/drawing/2014/main" id="{EA8AEF4B-5393-1742-BF34-F306725171CA}"/>
                  </a:ext>
                </a:extLst>
              </p:cNvPr>
              <p:cNvSpPr>
                <a:spLocks noChangeShapeType="1"/>
              </p:cNvSpPr>
              <p:nvPr/>
            </p:nvSpPr>
            <p:spPr bwMode="auto">
              <a:xfrm flipV="1">
                <a:off x="6176964"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0" name="Line 280">
                <a:extLst>
                  <a:ext uri="{FF2B5EF4-FFF2-40B4-BE49-F238E27FC236}">
                    <a16:creationId xmlns:a16="http://schemas.microsoft.com/office/drawing/2014/main" id="{E4770E8F-7876-E74B-B7DD-8DE5F7798822}"/>
                  </a:ext>
                </a:extLst>
              </p:cNvPr>
              <p:cNvSpPr>
                <a:spLocks noChangeShapeType="1"/>
              </p:cNvSpPr>
              <p:nvPr/>
            </p:nvSpPr>
            <p:spPr bwMode="auto">
              <a:xfrm flipV="1">
                <a:off x="6207126"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1" name="Line 281">
                <a:extLst>
                  <a:ext uri="{FF2B5EF4-FFF2-40B4-BE49-F238E27FC236}">
                    <a16:creationId xmlns:a16="http://schemas.microsoft.com/office/drawing/2014/main" id="{E26DFC56-A4B4-EB48-8236-091545CA3288}"/>
                  </a:ext>
                </a:extLst>
              </p:cNvPr>
              <p:cNvSpPr>
                <a:spLocks noChangeShapeType="1"/>
              </p:cNvSpPr>
              <p:nvPr/>
            </p:nvSpPr>
            <p:spPr bwMode="auto">
              <a:xfrm flipV="1">
                <a:off x="6238876"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2" name="Line 282">
                <a:extLst>
                  <a:ext uri="{FF2B5EF4-FFF2-40B4-BE49-F238E27FC236}">
                    <a16:creationId xmlns:a16="http://schemas.microsoft.com/office/drawing/2014/main" id="{6E1540D3-DFDF-EA4B-91B7-627D29054AFE}"/>
                  </a:ext>
                </a:extLst>
              </p:cNvPr>
              <p:cNvSpPr>
                <a:spLocks noChangeShapeType="1"/>
              </p:cNvSpPr>
              <p:nvPr/>
            </p:nvSpPr>
            <p:spPr bwMode="auto">
              <a:xfrm flipV="1">
                <a:off x="6267451"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3" name="Line 283">
                <a:extLst>
                  <a:ext uri="{FF2B5EF4-FFF2-40B4-BE49-F238E27FC236}">
                    <a16:creationId xmlns:a16="http://schemas.microsoft.com/office/drawing/2014/main" id="{9CEA4DFA-0C7B-8A43-AD9F-04A0D7ADB425}"/>
                  </a:ext>
                </a:extLst>
              </p:cNvPr>
              <p:cNvSpPr>
                <a:spLocks noChangeShapeType="1"/>
              </p:cNvSpPr>
              <p:nvPr/>
            </p:nvSpPr>
            <p:spPr bwMode="auto">
              <a:xfrm flipV="1">
                <a:off x="6297614"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4" name="Freeform 284">
                <a:extLst>
                  <a:ext uri="{FF2B5EF4-FFF2-40B4-BE49-F238E27FC236}">
                    <a16:creationId xmlns:a16="http://schemas.microsoft.com/office/drawing/2014/main" id="{AA612824-9C20-724F-8A41-DD5596FC4020}"/>
                  </a:ext>
                </a:extLst>
              </p:cNvPr>
              <p:cNvSpPr>
                <a:spLocks/>
              </p:cNvSpPr>
              <p:nvPr/>
            </p:nvSpPr>
            <p:spPr bwMode="auto">
              <a:xfrm>
                <a:off x="6146801" y="2598740"/>
                <a:ext cx="644525" cy="101600"/>
              </a:xfrm>
              <a:custGeom>
                <a:avLst/>
                <a:gdLst>
                  <a:gd name="T0" fmla="*/ 387 w 387"/>
                  <a:gd name="T1" fmla="*/ 10 h 61"/>
                  <a:gd name="T2" fmla="*/ 387 w 387"/>
                  <a:gd name="T3" fmla="*/ 51 h 61"/>
                  <a:gd name="T4" fmla="*/ 376 w 387"/>
                  <a:gd name="T5" fmla="*/ 61 h 61"/>
                  <a:gd name="T6" fmla="*/ 11 w 387"/>
                  <a:gd name="T7" fmla="*/ 61 h 61"/>
                  <a:gd name="T8" fmla="*/ 0 w 387"/>
                  <a:gd name="T9" fmla="*/ 51 h 61"/>
                  <a:gd name="T10" fmla="*/ 0 w 387"/>
                  <a:gd name="T11" fmla="*/ 10 h 61"/>
                  <a:gd name="T12" fmla="*/ 11 w 387"/>
                  <a:gd name="T13" fmla="*/ 0 h 61"/>
                  <a:gd name="T14" fmla="*/ 376 w 387"/>
                  <a:gd name="T15" fmla="*/ 0 h 61"/>
                  <a:gd name="T16" fmla="*/ 387 w 387"/>
                  <a:gd name="T17"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1">
                    <a:moveTo>
                      <a:pt x="387" y="10"/>
                    </a:moveTo>
                    <a:cubicBezTo>
                      <a:pt x="387" y="51"/>
                      <a:pt x="387" y="51"/>
                      <a:pt x="387" y="51"/>
                    </a:cubicBezTo>
                    <a:cubicBezTo>
                      <a:pt x="387" y="57"/>
                      <a:pt x="382" y="61"/>
                      <a:pt x="376" y="61"/>
                    </a:cubicBezTo>
                    <a:cubicBezTo>
                      <a:pt x="11" y="61"/>
                      <a:pt x="11" y="61"/>
                      <a:pt x="11" y="61"/>
                    </a:cubicBezTo>
                    <a:cubicBezTo>
                      <a:pt x="5" y="61"/>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5" name="Line 285">
                <a:extLst>
                  <a:ext uri="{FF2B5EF4-FFF2-40B4-BE49-F238E27FC236}">
                    <a16:creationId xmlns:a16="http://schemas.microsoft.com/office/drawing/2014/main" id="{6F5564C8-0D2A-9940-9BF6-E24442D7903B}"/>
                  </a:ext>
                </a:extLst>
              </p:cNvPr>
              <p:cNvSpPr>
                <a:spLocks noChangeShapeType="1"/>
              </p:cNvSpPr>
              <p:nvPr/>
            </p:nvSpPr>
            <p:spPr bwMode="auto">
              <a:xfrm flipV="1">
                <a:off x="6176964"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6" name="Line 286">
                <a:extLst>
                  <a:ext uri="{FF2B5EF4-FFF2-40B4-BE49-F238E27FC236}">
                    <a16:creationId xmlns:a16="http://schemas.microsoft.com/office/drawing/2014/main" id="{553780AF-E20A-FA48-86A8-D592D4B539FD}"/>
                  </a:ext>
                </a:extLst>
              </p:cNvPr>
              <p:cNvSpPr>
                <a:spLocks noChangeShapeType="1"/>
              </p:cNvSpPr>
              <p:nvPr/>
            </p:nvSpPr>
            <p:spPr bwMode="auto">
              <a:xfrm flipV="1">
                <a:off x="6207126"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7" name="Line 287">
                <a:extLst>
                  <a:ext uri="{FF2B5EF4-FFF2-40B4-BE49-F238E27FC236}">
                    <a16:creationId xmlns:a16="http://schemas.microsoft.com/office/drawing/2014/main" id="{98E98365-A1AE-784E-9570-FC2DA0DB2176}"/>
                  </a:ext>
                </a:extLst>
              </p:cNvPr>
              <p:cNvSpPr>
                <a:spLocks noChangeShapeType="1"/>
              </p:cNvSpPr>
              <p:nvPr/>
            </p:nvSpPr>
            <p:spPr bwMode="auto">
              <a:xfrm flipV="1">
                <a:off x="6238876"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8" name="Line 288">
                <a:extLst>
                  <a:ext uri="{FF2B5EF4-FFF2-40B4-BE49-F238E27FC236}">
                    <a16:creationId xmlns:a16="http://schemas.microsoft.com/office/drawing/2014/main" id="{297F664D-3A08-8342-88EC-6FC553F53759}"/>
                  </a:ext>
                </a:extLst>
              </p:cNvPr>
              <p:cNvSpPr>
                <a:spLocks noChangeShapeType="1"/>
              </p:cNvSpPr>
              <p:nvPr/>
            </p:nvSpPr>
            <p:spPr bwMode="auto">
              <a:xfrm flipV="1">
                <a:off x="6267451"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19" name="Line 289">
                <a:extLst>
                  <a:ext uri="{FF2B5EF4-FFF2-40B4-BE49-F238E27FC236}">
                    <a16:creationId xmlns:a16="http://schemas.microsoft.com/office/drawing/2014/main" id="{320A75C3-5F8A-C14E-B495-6A363963ABC6}"/>
                  </a:ext>
                </a:extLst>
              </p:cNvPr>
              <p:cNvSpPr>
                <a:spLocks noChangeShapeType="1"/>
              </p:cNvSpPr>
              <p:nvPr/>
            </p:nvSpPr>
            <p:spPr bwMode="auto">
              <a:xfrm flipV="1">
                <a:off x="6297614"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0" name="Freeform 290">
                <a:extLst>
                  <a:ext uri="{FF2B5EF4-FFF2-40B4-BE49-F238E27FC236}">
                    <a16:creationId xmlns:a16="http://schemas.microsoft.com/office/drawing/2014/main" id="{9ACDD919-C05A-8E47-A378-7EC3EA14A999}"/>
                  </a:ext>
                </a:extLst>
              </p:cNvPr>
              <p:cNvSpPr>
                <a:spLocks/>
              </p:cNvSpPr>
              <p:nvPr/>
            </p:nvSpPr>
            <p:spPr bwMode="auto">
              <a:xfrm>
                <a:off x="6146801" y="2133602"/>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7"/>
                      <a:pt x="382" y="62"/>
                      <a:pt x="376" y="62"/>
                    </a:cubicBezTo>
                    <a:cubicBezTo>
                      <a:pt x="11" y="62"/>
                      <a:pt x="11" y="62"/>
                      <a:pt x="11" y="62"/>
                    </a:cubicBezTo>
                    <a:cubicBezTo>
                      <a:pt x="5" y="62"/>
                      <a:pt x="0" y="57"/>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1" name="Line 291">
                <a:extLst>
                  <a:ext uri="{FF2B5EF4-FFF2-40B4-BE49-F238E27FC236}">
                    <a16:creationId xmlns:a16="http://schemas.microsoft.com/office/drawing/2014/main" id="{938FBBEF-3FA7-3848-A168-30E0B75F0EC1}"/>
                  </a:ext>
                </a:extLst>
              </p:cNvPr>
              <p:cNvSpPr>
                <a:spLocks noChangeShapeType="1"/>
              </p:cNvSpPr>
              <p:nvPr/>
            </p:nvSpPr>
            <p:spPr bwMode="auto">
              <a:xfrm flipV="1">
                <a:off x="6176964"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2" name="Line 292">
                <a:extLst>
                  <a:ext uri="{FF2B5EF4-FFF2-40B4-BE49-F238E27FC236}">
                    <a16:creationId xmlns:a16="http://schemas.microsoft.com/office/drawing/2014/main" id="{3F16C527-3B04-8E46-A637-631C7242066D}"/>
                  </a:ext>
                </a:extLst>
              </p:cNvPr>
              <p:cNvSpPr>
                <a:spLocks noChangeShapeType="1"/>
              </p:cNvSpPr>
              <p:nvPr/>
            </p:nvSpPr>
            <p:spPr bwMode="auto">
              <a:xfrm flipV="1">
                <a:off x="6207126"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3" name="Line 293">
                <a:extLst>
                  <a:ext uri="{FF2B5EF4-FFF2-40B4-BE49-F238E27FC236}">
                    <a16:creationId xmlns:a16="http://schemas.microsoft.com/office/drawing/2014/main" id="{FABC5C83-1D37-564C-8017-E268652E6FDE}"/>
                  </a:ext>
                </a:extLst>
              </p:cNvPr>
              <p:cNvSpPr>
                <a:spLocks noChangeShapeType="1"/>
              </p:cNvSpPr>
              <p:nvPr/>
            </p:nvSpPr>
            <p:spPr bwMode="auto">
              <a:xfrm flipV="1">
                <a:off x="6238876"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4" name="Line 294">
                <a:extLst>
                  <a:ext uri="{FF2B5EF4-FFF2-40B4-BE49-F238E27FC236}">
                    <a16:creationId xmlns:a16="http://schemas.microsoft.com/office/drawing/2014/main" id="{283A4883-4CCA-614C-8260-8EBD5FE4FD4C}"/>
                  </a:ext>
                </a:extLst>
              </p:cNvPr>
              <p:cNvSpPr>
                <a:spLocks noChangeShapeType="1"/>
              </p:cNvSpPr>
              <p:nvPr/>
            </p:nvSpPr>
            <p:spPr bwMode="auto">
              <a:xfrm flipV="1">
                <a:off x="6267451"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5" name="Line 295">
                <a:extLst>
                  <a:ext uri="{FF2B5EF4-FFF2-40B4-BE49-F238E27FC236}">
                    <a16:creationId xmlns:a16="http://schemas.microsoft.com/office/drawing/2014/main" id="{0D83256C-ED63-E04F-A4CD-50C22D76321C}"/>
                  </a:ext>
                </a:extLst>
              </p:cNvPr>
              <p:cNvSpPr>
                <a:spLocks noChangeShapeType="1"/>
              </p:cNvSpPr>
              <p:nvPr/>
            </p:nvSpPr>
            <p:spPr bwMode="auto">
              <a:xfrm flipV="1">
                <a:off x="6297614"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6" name="Freeform 296">
                <a:extLst>
                  <a:ext uri="{FF2B5EF4-FFF2-40B4-BE49-F238E27FC236}">
                    <a16:creationId xmlns:a16="http://schemas.microsoft.com/office/drawing/2014/main" id="{647434EA-D716-2342-BBA0-A57104E3A1D9}"/>
                  </a:ext>
                </a:extLst>
              </p:cNvPr>
              <p:cNvSpPr>
                <a:spLocks/>
              </p:cNvSpPr>
              <p:nvPr/>
            </p:nvSpPr>
            <p:spPr bwMode="auto">
              <a:xfrm>
                <a:off x="6146801" y="2365377"/>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8"/>
                      <a:pt x="382" y="62"/>
                      <a:pt x="376" y="62"/>
                    </a:cubicBezTo>
                    <a:cubicBezTo>
                      <a:pt x="11" y="62"/>
                      <a:pt x="11" y="62"/>
                      <a:pt x="11" y="62"/>
                    </a:cubicBezTo>
                    <a:cubicBezTo>
                      <a:pt x="5" y="62"/>
                      <a:pt x="0" y="58"/>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7" name="Line 297">
                <a:extLst>
                  <a:ext uri="{FF2B5EF4-FFF2-40B4-BE49-F238E27FC236}">
                    <a16:creationId xmlns:a16="http://schemas.microsoft.com/office/drawing/2014/main" id="{D2061E51-E07B-3A46-8E0F-638763EA5BA4}"/>
                  </a:ext>
                </a:extLst>
              </p:cNvPr>
              <p:cNvSpPr>
                <a:spLocks noChangeShapeType="1"/>
              </p:cNvSpPr>
              <p:nvPr/>
            </p:nvSpPr>
            <p:spPr bwMode="auto">
              <a:xfrm flipV="1">
                <a:off x="6176964"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8" name="Line 298">
                <a:extLst>
                  <a:ext uri="{FF2B5EF4-FFF2-40B4-BE49-F238E27FC236}">
                    <a16:creationId xmlns:a16="http://schemas.microsoft.com/office/drawing/2014/main" id="{AB4E3682-82E8-9B42-82D7-4D2CE935FB1E}"/>
                  </a:ext>
                </a:extLst>
              </p:cNvPr>
              <p:cNvSpPr>
                <a:spLocks noChangeShapeType="1"/>
              </p:cNvSpPr>
              <p:nvPr/>
            </p:nvSpPr>
            <p:spPr bwMode="auto">
              <a:xfrm flipV="1">
                <a:off x="6207126"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29" name="Line 299">
                <a:extLst>
                  <a:ext uri="{FF2B5EF4-FFF2-40B4-BE49-F238E27FC236}">
                    <a16:creationId xmlns:a16="http://schemas.microsoft.com/office/drawing/2014/main" id="{829DCEFE-EBAF-E64B-8352-AB2CB2551F4C}"/>
                  </a:ext>
                </a:extLst>
              </p:cNvPr>
              <p:cNvSpPr>
                <a:spLocks noChangeShapeType="1"/>
              </p:cNvSpPr>
              <p:nvPr/>
            </p:nvSpPr>
            <p:spPr bwMode="auto">
              <a:xfrm flipV="1">
                <a:off x="6238876"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30" name="Line 300">
                <a:extLst>
                  <a:ext uri="{FF2B5EF4-FFF2-40B4-BE49-F238E27FC236}">
                    <a16:creationId xmlns:a16="http://schemas.microsoft.com/office/drawing/2014/main" id="{144CF057-4A88-7B4B-9662-78466C5C96BC}"/>
                  </a:ext>
                </a:extLst>
              </p:cNvPr>
              <p:cNvSpPr>
                <a:spLocks noChangeShapeType="1"/>
              </p:cNvSpPr>
              <p:nvPr/>
            </p:nvSpPr>
            <p:spPr bwMode="auto">
              <a:xfrm flipV="1">
                <a:off x="6267451"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31" name="Line 301">
                <a:extLst>
                  <a:ext uri="{FF2B5EF4-FFF2-40B4-BE49-F238E27FC236}">
                    <a16:creationId xmlns:a16="http://schemas.microsoft.com/office/drawing/2014/main" id="{33D874AD-258B-A04A-8070-1C0CF0971605}"/>
                  </a:ext>
                </a:extLst>
              </p:cNvPr>
              <p:cNvSpPr>
                <a:spLocks noChangeShapeType="1"/>
              </p:cNvSpPr>
              <p:nvPr/>
            </p:nvSpPr>
            <p:spPr bwMode="auto">
              <a:xfrm flipV="1">
                <a:off x="6297614"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32" name="Freeform 302">
                <a:extLst>
                  <a:ext uri="{FF2B5EF4-FFF2-40B4-BE49-F238E27FC236}">
                    <a16:creationId xmlns:a16="http://schemas.microsoft.com/office/drawing/2014/main" id="{34AA63CE-67CA-094E-BCB4-717B83944F18}"/>
                  </a:ext>
                </a:extLst>
              </p:cNvPr>
              <p:cNvSpPr>
                <a:spLocks/>
              </p:cNvSpPr>
              <p:nvPr/>
            </p:nvSpPr>
            <p:spPr bwMode="auto">
              <a:xfrm>
                <a:off x="6146801" y="2251077"/>
                <a:ext cx="644525" cy="103188"/>
              </a:xfrm>
              <a:custGeom>
                <a:avLst/>
                <a:gdLst>
                  <a:gd name="T0" fmla="*/ 387 w 387"/>
                  <a:gd name="T1" fmla="*/ 10 h 62"/>
                  <a:gd name="T2" fmla="*/ 387 w 387"/>
                  <a:gd name="T3" fmla="*/ 51 h 62"/>
                  <a:gd name="T4" fmla="*/ 376 w 387"/>
                  <a:gd name="T5" fmla="*/ 62 h 62"/>
                  <a:gd name="T6" fmla="*/ 11 w 387"/>
                  <a:gd name="T7" fmla="*/ 62 h 62"/>
                  <a:gd name="T8" fmla="*/ 0 w 387"/>
                  <a:gd name="T9" fmla="*/ 51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1"/>
                      <a:pt x="387" y="51"/>
                      <a:pt x="387" y="51"/>
                    </a:cubicBezTo>
                    <a:cubicBezTo>
                      <a:pt x="387" y="57"/>
                      <a:pt x="382" y="62"/>
                      <a:pt x="376" y="62"/>
                    </a:cubicBezTo>
                    <a:cubicBezTo>
                      <a:pt x="11" y="62"/>
                      <a:pt x="11" y="62"/>
                      <a:pt x="11" y="62"/>
                    </a:cubicBezTo>
                    <a:cubicBezTo>
                      <a:pt x="5" y="62"/>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33" name="Line 303">
                <a:extLst>
                  <a:ext uri="{FF2B5EF4-FFF2-40B4-BE49-F238E27FC236}">
                    <a16:creationId xmlns:a16="http://schemas.microsoft.com/office/drawing/2014/main" id="{1DBFE385-63A8-AC4E-A462-23DA357B55F1}"/>
                  </a:ext>
                </a:extLst>
              </p:cNvPr>
              <p:cNvSpPr>
                <a:spLocks noChangeShapeType="1"/>
              </p:cNvSpPr>
              <p:nvPr/>
            </p:nvSpPr>
            <p:spPr bwMode="auto">
              <a:xfrm flipV="1">
                <a:off x="6176964"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34" name="Line 304">
                <a:extLst>
                  <a:ext uri="{FF2B5EF4-FFF2-40B4-BE49-F238E27FC236}">
                    <a16:creationId xmlns:a16="http://schemas.microsoft.com/office/drawing/2014/main" id="{D3F3D2D4-D1FA-364A-BD4B-6E7299B7538A}"/>
                  </a:ext>
                </a:extLst>
              </p:cNvPr>
              <p:cNvSpPr>
                <a:spLocks noChangeShapeType="1"/>
              </p:cNvSpPr>
              <p:nvPr/>
            </p:nvSpPr>
            <p:spPr bwMode="auto">
              <a:xfrm flipV="1">
                <a:off x="6207126"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35" name="Line 305">
                <a:extLst>
                  <a:ext uri="{FF2B5EF4-FFF2-40B4-BE49-F238E27FC236}">
                    <a16:creationId xmlns:a16="http://schemas.microsoft.com/office/drawing/2014/main" id="{31A1C95F-AD5C-3E4B-9D5C-A2BC326E7D2B}"/>
                  </a:ext>
                </a:extLst>
              </p:cNvPr>
              <p:cNvSpPr>
                <a:spLocks noChangeShapeType="1"/>
              </p:cNvSpPr>
              <p:nvPr/>
            </p:nvSpPr>
            <p:spPr bwMode="auto">
              <a:xfrm flipV="1">
                <a:off x="6238876"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36" name="Line 306">
                <a:extLst>
                  <a:ext uri="{FF2B5EF4-FFF2-40B4-BE49-F238E27FC236}">
                    <a16:creationId xmlns:a16="http://schemas.microsoft.com/office/drawing/2014/main" id="{A2DE219E-D53D-3C42-8F4E-544B4A33B523}"/>
                  </a:ext>
                </a:extLst>
              </p:cNvPr>
              <p:cNvSpPr>
                <a:spLocks noChangeShapeType="1"/>
              </p:cNvSpPr>
              <p:nvPr/>
            </p:nvSpPr>
            <p:spPr bwMode="auto">
              <a:xfrm flipV="1">
                <a:off x="6267451"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sp>
            <p:nvSpPr>
              <p:cNvPr id="337" name="Line 307">
                <a:extLst>
                  <a:ext uri="{FF2B5EF4-FFF2-40B4-BE49-F238E27FC236}">
                    <a16:creationId xmlns:a16="http://schemas.microsoft.com/office/drawing/2014/main" id="{B969A5D1-B5D4-724F-869D-8BA891054575}"/>
                  </a:ext>
                </a:extLst>
              </p:cNvPr>
              <p:cNvSpPr>
                <a:spLocks noChangeShapeType="1"/>
              </p:cNvSpPr>
              <p:nvPr/>
            </p:nvSpPr>
            <p:spPr bwMode="auto">
              <a:xfrm flipV="1">
                <a:off x="6297614"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200" dirty="0">
                  <a:solidFill>
                    <a:srgbClr val="282828"/>
                  </a:solidFill>
                  <a:latin typeface="+mn-lt"/>
                </a:endParaRPr>
              </a:p>
            </p:txBody>
          </p:sp>
        </p:grpSp>
        <p:cxnSp>
          <p:nvCxnSpPr>
            <p:cNvPr id="338" name="Straight Arrow Connector 337">
              <a:extLst>
                <a:ext uri="{FF2B5EF4-FFF2-40B4-BE49-F238E27FC236}">
                  <a16:creationId xmlns:a16="http://schemas.microsoft.com/office/drawing/2014/main" id="{F5CDF8B4-7BB7-A648-AAB9-7715E292633C}"/>
                </a:ext>
              </a:extLst>
            </p:cNvPr>
            <p:cNvCxnSpPr>
              <a:cxnSpLocks/>
              <a:endCxn id="326" idx="7"/>
            </p:cNvCxnSpPr>
            <p:nvPr/>
          </p:nvCxnSpPr>
          <p:spPr>
            <a:xfrm>
              <a:off x="8086126" y="1932671"/>
              <a:ext cx="155327" cy="0"/>
            </a:xfrm>
            <a:prstGeom prst="straightConnector1">
              <a:avLst/>
            </a:prstGeom>
            <a:ln w="12700" cmpd="sng">
              <a:solidFill>
                <a:schemeClr val="bg2"/>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339" name="TextBox 338">
              <a:extLst>
                <a:ext uri="{FF2B5EF4-FFF2-40B4-BE49-F238E27FC236}">
                  <a16:creationId xmlns:a16="http://schemas.microsoft.com/office/drawing/2014/main" id="{D61CA075-0908-1449-B3C4-320C36A8C812}"/>
                </a:ext>
              </a:extLst>
            </p:cNvPr>
            <p:cNvSpPr txBox="1"/>
            <p:nvPr/>
          </p:nvSpPr>
          <p:spPr>
            <a:xfrm>
              <a:off x="8063888" y="1557715"/>
              <a:ext cx="653531" cy="215444"/>
            </a:xfrm>
            <a:prstGeom prst="rect">
              <a:avLst/>
            </a:prstGeom>
            <a:noFill/>
          </p:spPr>
          <p:txBody>
            <a:bodyPr wrap="square" rtlCol="0">
              <a:spAutoFit/>
            </a:bodyPr>
            <a:lstStyle/>
            <a:p>
              <a:pPr defTabSz="514337">
                <a:defRPr/>
              </a:pPr>
              <a:r>
                <a:rPr lang="en-US" sz="800" b="1" dirty="0">
                  <a:solidFill>
                    <a:schemeClr val="bg2"/>
                  </a:solidFill>
                  <a:latin typeface="+mn-lt"/>
                </a:rPr>
                <a:t>BBU Pool</a:t>
              </a:r>
            </a:p>
          </p:txBody>
        </p:sp>
        <p:sp>
          <p:nvSpPr>
            <p:cNvPr id="340" name="Rounded Rectangle 339">
              <a:extLst>
                <a:ext uri="{FF2B5EF4-FFF2-40B4-BE49-F238E27FC236}">
                  <a16:creationId xmlns:a16="http://schemas.microsoft.com/office/drawing/2014/main" id="{7A948888-1D9A-2549-A494-3D6F70525194}"/>
                </a:ext>
              </a:extLst>
            </p:cNvPr>
            <p:cNvSpPr/>
            <p:nvPr/>
          </p:nvSpPr>
          <p:spPr>
            <a:xfrm>
              <a:off x="6052506" y="1846158"/>
              <a:ext cx="637289" cy="330279"/>
            </a:xfrm>
            <a:prstGeom prst="roundRect">
              <a:avLst/>
            </a:prstGeom>
            <a:solidFill>
              <a:srgbClr val="FFC000"/>
            </a:solidFill>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rtlCol="0" anchor="ctr"/>
            <a:lstStyle/>
            <a:p>
              <a:pPr algn="ctr" defTabSz="457178">
                <a:defRPr/>
              </a:pPr>
              <a:r>
                <a:rPr lang="en-US" sz="700" b="1" dirty="0">
                  <a:solidFill>
                    <a:srgbClr val="282828"/>
                  </a:solidFill>
                </a:rPr>
                <a:t>Fronthaul Cell Site Router</a:t>
              </a:r>
              <a:endParaRPr lang="en-AU" sz="700" b="1" dirty="0">
                <a:solidFill>
                  <a:srgbClr val="282828"/>
                </a:solidFill>
              </a:endParaRPr>
            </a:p>
          </p:txBody>
        </p:sp>
      </p:grpSp>
    </p:spTree>
    <p:extLst>
      <p:ext uri="{BB962C8B-B14F-4D97-AF65-F5344CB8AC3E}">
        <p14:creationId xmlns:p14="http://schemas.microsoft.com/office/powerpoint/2010/main" val="120237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F38A3-6EBD-4731-8291-1D04E01D33D0}"/>
              </a:ext>
            </a:extLst>
          </p:cNvPr>
          <p:cNvSpPr>
            <a:spLocks noGrp="1"/>
          </p:cNvSpPr>
          <p:nvPr>
            <p:ph type="title"/>
          </p:nvPr>
        </p:nvSpPr>
        <p:spPr/>
        <p:txBody>
          <a:bodyPr/>
          <a:lstStyle/>
          <a:p>
            <a:r>
              <a:rPr lang="en-US" dirty="0"/>
              <a:t>Ethiopia by Numbers</a:t>
            </a:r>
            <a:endParaRPr lang="en-ZA" dirty="0"/>
          </a:p>
        </p:txBody>
      </p:sp>
      <p:graphicFrame>
        <p:nvGraphicFramePr>
          <p:cNvPr id="4" name="Table 3">
            <a:extLst>
              <a:ext uri="{FF2B5EF4-FFF2-40B4-BE49-F238E27FC236}">
                <a16:creationId xmlns:a16="http://schemas.microsoft.com/office/drawing/2014/main" id="{C230798F-1F6D-0F40-81BC-74B9873ABBEC}"/>
              </a:ext>
            </a:extLst>
          </p:cNvPr>
          <p:cNvGraphicFramePr>
            <a:graphicFrameLocks noGrp="1"/>
          </p:cNvGraphicFramePr>
          <p:nvPr/>
        </p:nvGraphicFramePr>
        <p:xfrm>
          <a:off x="576610" y="1645661"/>
          <a:ext cx="7886701" cy="1339409"/>
        </p:xfrm>
        <a:graphic>
          <a:graphicData uri="http://schemas.openxmlformats.org/drawingml/2006/table">
            <a:tbl>
              <a:tblPr/>
              <a:tblGrid>
                <a:gridCol w="1621836">
                  <a:extLst>
                    <a:ext uri="{9D8B030D-6E8A-4147-A177-3AD203B41FA5}">
                      <a16:colId xmlns:a16="http://schemas.microsoft.com/office/drawing/2014/main" val="2789052240"/>
                    </a:ext>
                  </a:extLst>
                </a:gridCol>
                <a:gridCol w="542692">
                  <a:extLst>
                    <a:ext uri="{9D8B030D-6E8A-4147-A177-3AD203B41FA5}">
                      <a16:colId xmlns:a16="http://schemas.microsoft.com/office/drawing/2014/main" val="934059172"/>
                    </a:ext>
                  </a:extLst>
                </a:gridCol>
                <a:gridCol w="548929">
                  <a:extLst>
                    <a:ext uri="{9D8B030D-6E8A-4147-A177-3AD203B41FA5}">
                      <a16:colId xmlns:a16="http://schemas.microsoft.com/office/drawing/2014/main" val="2030006261"/>
                    </a:ext>
                  </a:extLst>
                </a:gridCol>
                <a:gridCol w="548929">
                  <a:extLst>
                    <a:ext uri="{9D8B030D-6E8A-4147-A177-3AD203B41FA5}">
                      <a16:colId xmlns:a16="http://schemas.microsoft.com/office/drawing/2014/main" val="432826536"/>
                    </a:ext>
                  </a:extLst>
                </a:gridCol>
                <a:gridCol w="548929">
                  <a:extLst>
                    <a:ext uri="{9D8B030D-6E8A-4147-A177-3AD203B41FA5}">
                      <a16:colId xmlns:a16="http://schemas.microsoft.com/office/drawing/2014/main" val="2227601458"/>
                    </a:ext>
                  </a:extLst>
                </a:gridCol>
                <a:gridCol w="582198">
                  <a:extLst>
                    <a:ext uri="{9D8B030D-6E8A-4147-A177-3AD203B41FA5}">
                      <a16:colId xmlns:a16="http://schemas.microsoft.com/office/drawing/2014/main" val="1817565240"/>
                    </a:ext>
                  </a:extLst>
                </a:gridCol>
                <a:gridCol w="582198">
                  <a:extLst>
                    <a:ext uri="{9D8B030D-6E8A-4147-A177-3AD203B41FA5}">
                      <a16:colId xmlns:a16="http://schemas.microsoft.com/office/drawing/2014/main" val="4163547157"/>
                    </a:ext>
                  </a:extLst>
                </a:gridCol>
                <a:gridCol w="582198">
                  <a:extLst>
                    <a:ext uri="{9D8B030D-6E8A-4147-A177-3AD203B41FA5}">
                      <a16:colId xmlns:a16="http://schemas.microsoft.com/office/drawing/2014/main" val="3691000936"/>
                    </a:ext>
                  </a:extLst>
                </a:gridCol>
                <a:gridCol w="582198">
                  <a:extLst>
                    <a:ext uri="{9D8B030D-6E8A-4147-A177-3AD203B41FA5}">
                      <a16:colId xmlns:a16="http://schemas.microsoft.com/office/drawing/2014/main" val="3215540460"/>
                    </a:ext>
                  </a:extLst>
                </a:gridCol>
                <a:gridCol w="582198">
                  <a:extLst>
                    <a:ext uri="{9D8B030D-6E8A-4147-A177-3AD203B41FA5}">
                      <a16:colId xmlns:a16="http://schemas.microsoft.com/office/drawing/2014/main" val="4221008561"/>
                    </a:ext>
                  </a:extLst>
                </a:gridCol>
                <a:gridCol w="582198">
                  <a:extLst>
                    <a:ext uri="{9D8B030D-6E8A-4147-A177-3AD203B41FA5}">
                      <a16:colId xmlns:a16="http://schemas.microsoft.com/office/drawing/2014/main" val="3569585098"/>
                    </a:ext>
                  </a:extLst>
                </a:gridCol>
                <a:gridCol w="582198">
                  <a:extLst>
                    <a:ext uri="{9D8B030D-6E8A-4147-A177-3AD203B41FA5}">
                      <a16:colId xmlns:a16="http://schemas.microsoft.com/office/drawing/2014/main" val="358231805"/>
                    </a:ext>
                  </a:extLst>
                </a:gridCol>
              </a:tblGrid>
              <a:tr h="133109">
                <a:tc>
                  <a:txBody>
                    <a:bodyPr/>
                    <a:lstStyle/>
                    <a:p>
                      <a:pPr algn="l" fontAlgn="b"/>
                      <a:r>
                        <a:rPr lang="en-ZA" sz="700" b="1" i="0" u="none" strike="noStrike" dirty="0">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Technolog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700" b="1" i="0" u="none" strike="noStrike" dirty="0">
                          <a:solidFill>
                            <a:srgbClr val="000000"/>
                          </a:solidFill>
                          <a:effectLst/>
                          <a:latin typeface="Calibri" panose="020F0502020204030204" pitchFamily="34" charset="0"/>
                        </a:rPr>
                        <a:t>Year 1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114353897"/>
                  </a:ext>
                </a:extLst>
              </a:tr>
              <a:tr h="133109">
                <a:tc>
                  <a:txBody>
                    <a:bodyPr/>
                    <a:lstStyle/>
                    <a:p>
                      <a:pPr algn="l" fontAlgn="b"/>
                      <a:r>
                        <a:rPr lang="en-ZA" sz="700" b="1" i="0" u="none" strike="noStrike" dirty="0">
                          <a:solidFill>
                            <a:srgbClr val="000000"/>
                          </a:solidFill>
                          <a:effectLst/>
                          <a:latin typeface="Calibri" panose="020F0502020204030204" pitchFamily="34" charset="0"/>
                        </a:rPr>
                        <a:t>Year (1st July)</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02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618845660"/>
                  </a:ext>
                </a:extLst>
              </a:tr>
              <a:tr h="133109">
                <a:tc>
                  <a:txBody>
                    <a:bodyPr/>
                    <a:lstStyle/>
                    <a:p>
                      <a:pPr algn="l" fontAlgn="b"/>
                      <a:r>
                        <a:rPr lang="en-ZA" sz="700" b="1" i="0" u="none" strike="noStrike" dirty="0">
                          <a:solidFill>
                            <a:srgbClr val="000000"/>
                          </a:solidFill>
                          <a:effectLst/>
                          <a:latin typeface="Calibri" panose="020F0502020204030204" pitchFamily="34" charset="0"/>
                        </a:rPr>
                        <a:t>Total Population</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17 533 7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20 634 9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23 826 7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27 103 0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30 466 0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33 917 9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37 461 2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41 098 2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44 831 4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48 663 52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532162061"/>
                  </a:ext>
                </a:extLst>
              </a:tr>
              <a:tr h="133109">
                <a:tc>
                  <a:txBody>
                    <a:bodyPr/>
                    <a:lstStyle/>
                    <a:p>
                      <a:pPr algn="l" fontAlgn="b"/>
                      <a:r>
                        <a:rPr lang="en-ZA" sz="800" b="0" i="0" u="none" strike="noStrike" dirty="0">
                          <a:solidFill>
                            <a:srgbClr val="000000"/>
                          </a:solidFill>
                          <a:effectLst/>
                          <a:latin typeface="Calibri" panose="020F0502020204030204" pitchFamily="34" charset="0"/>
                        </a:rPr>
                        <a:t>Active Customer Base (30 Day)</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1 322 4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5 772 9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12 163 0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21 784 36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29 920 4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36 263 4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39 716 2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43 075 2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46 671 8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50 307 77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150244833"/>
                  </a:ext>
                </a:extLst>
              </a:tr>
              <a:tr h="133109">
                <a:tc>
                  <a:txBody>
                    <a:bodyPr/>
                    <a:lstStyle/>
                    <a:p>
                      <a:pPr algn="l" fontAlgn="b"/>
                      <a:r>
                        <a:rPr lang="en-ZA" sz="700" b="1" i="0" u="none" strike="noStrike" dirty="0">
                          <a:solidFill>
                            <a:srgbClr val="000000"/>
                          </a:solidFill>
                          <a:effectLst/>
                          <a:latin typeface="Calibri" panose="020F0502020204030204" pitchFamily="34" charset="0"/>
                        </a:rPr>
                        <a:t>Active Data Base (30 Day)</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 076 7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4 757 4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0 134 7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8 326 36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5 294 3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30 849 7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33 920 0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36 906 0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40 109 7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43 353 59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411860653"/>
                  </a:ext>
                </a:extLst>
              </a:tr>
              <a:tr h="133109">
                <a:tc>
                  <a:txBody>
                    <a:bodyPr/>
                    <a:lstStyle/>
                    <a:p>
                      <a:pPr algn="l" fontAlgn="b"/>
                      <a:r>
                        <a:rPr lang="en-ZA" sz="800" b="0" i="0" u="none" strike="noStrike" dirty="0">
                          <a:solidFill>
                            <a:srgbClr val="000000"/>
                          </a:solidFill>
                          <a:effectLst/>
                          <a:latin typeface="Calibri" panose="020F0502020204030204" pitchFamily="34" charset="0"/>
                        </a:rPr>
                        <a:t>Market share of active data users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14,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1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2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2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2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2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29,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72345004"/>
                  </a:ext>
                </a:extLst>
              </a:tr>
              <a:tr h="133109">
                <a:tc>
                  <a:txBody>
                    <a:bodyPr/>
                    <a:lstStyle/>
                    <a:p>
                      <a:pPr algn="l" fontAlgn="b"/>
                      <a:r>
                        <a:rPr lang="en-ZA" sz="800" b="0" i="0" u="none" strike="noStrike" dirty="0">
                          <a:solidFill>
                            <a:srgbClr val="000000"/>
                          </a:solidFill>
                          <a:effectLst/>
                          <a:latin typeface="Calibri" panose="020F0502020204030204" pitchFamily="34" charset="0"/>
                        </a:rPr>
                        <a:t>Voice MOU [min]</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8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             11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             143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              16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              17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              17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              179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              184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              189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800" b="0" i="0" u="none" strike="noStrike" dirty="0">
                          <a:solidFill>
                            <a:srgbClr val="000000"/>
                          </a:solidFill>
                          <a:effectLst/>
                          <a:latin typeface="Calibri" panose="020F0502020204030204" pitchFamily="34" charset="0"/>
                        </a:rPr>
                        <a:t>              194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71923459"/>
                  </a:ext>
                </a:extLst>
              </a:tr>
              <a:tr h="133109">
                <a:tc>
                  <a:txBody>
                    <a:bodyPr/>
                    <a:lstStyle/>
                    <a:p>
                      <a:pPr algn="l" fontAlgn="b"/>
                      <a:r>
                        <a:rPr lang="en-ZA" sz="700" b="1" i="0" u="none" strike="noStrike" dirty="0">
                          <a:solidFill>
                            <a:srgbClr val="000000"/>
                          </a:solidFill>
                          <a:effectLst/>
                          <a:latin typeface="Calibri" panose="020F0502020204030204" pitchFamily="34" charset="0"/>
                        </a:rPr>
                        <a:t>Data per Month [GB]</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0,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700" b="1" i="0" u="none" strike="noStrike" dirty="0">
                          <a:solidFill>
                            <a:srgbClr val="000000"/>
                          </a:solidFill>
                          <a:effectLst/>
                          <a:latin typeface="Calibri" panose="020F0502020204030204" pitchFamily="34" charset="0"/>
                        </a:rPr>
                        <a:t>6,4</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602359942"/>
                  </a:ext>
                </a:extLst>
              </a:tr>
              <a:tr h="133109">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40820014"/>
                  </a:ext>
                </a:extLst>
              </a:tr>
              <a:tr h="141428">
                <a:tc>
                  <a:txBody>
                    <a:bodyPr/>
                    <a:lstStyle/>
                    <a:p>
                      <a:pPr algn="l" fontAlgn="b"/>
                      <a:r>
                        <a:rPr lang="en-ZA" sz="700" b="0" i="0" u="none" strike="noStrike" dirty="0">
                          <a:solidFill>
                            <a:srgbClr val="FFFFFF"/>
                          </a:solidFill>
                          <a:effectLst/>
                          <a:latin typeface="Calibri" panose="020F0502020204030204" pitchFamily="34" charset="0"/>
                        </a:rPr>
                        <a:t>Total LTE Cell Capacity [Mbp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l" fontAlgn="b"/>
                      <a:r>
                        <a:rPr lang="en-ZA" sz="8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700" b="0" i="0" u="none" strike="noStrike" dirty="0">
                          <a:solidFill>
                            <a:srgbClr val="FFFFFF"/>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b"/>
                      <a:r>
                        <a:rPr lang="en-ZA" sz="700" b="0" i="0" u="none" strike="noStrike" dirty="0">
                          <a:solidFill>
                            <a:srgbClr val="FFFFFF"/>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b"/>
                      <a:r>
                        <a:rPr lang="en-ZA" sz="700" b="0" i="0" u="none" strike="noStrike" dirty="0">
                          <a:solidFill>
                            <a:srgbClr val="FFFFFF"/>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b"/>
                      <a:r>
                        <a:rPr lang="en-ZA" sz="700" b="0" i="0" u="none" strike="noStrike" dirty="0">
                          <a:solidFill>
                            <a:srgbClr val="FFFFFF"/>
                          </a:solidFill>
                          <a:effectLst/>
                          <a:latin typeface="Calibri" panose="020F0502020204030204" pitchFamily="34" charset="0"/>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4"/>
                    </a:solidFill>
                  </a:tcPr>
                </a:tc>
                <a:tc>
                  <a:txBody>
                    <a:bodyPr/>
                    <a:lstStyle/>
                    <a:p>
                      <a:pPr algn="r" fontAlgn="b"/>
                      <a:r>
                        <a:rPr lang="en-ZA" sz="700" b="0" i="0" u="none" strike="noStrike" dirty="0">
                          <a:solidFill>
                            <a:srgbClr val="FFFFFF"/>
                          </a:solidFill>
                          <a:effectLst/>
                          <a:latin typeface="Calibri" panose="020F0502020204030204" pitchFamily="34" charset="0"/>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4"/>
                    </a:solidFill>
                  </a:tcPr>
                </a:tc>
                <a:tc>
                  <a:txBody>
                    <a:bodyPr/>
                    <a:lstStyle/>
                    <a:p>
                      <a:pPr algn="r" fontAlgn="b"/>
                      <a:r>
                        <a:rPr lang="en-ZA" sz="700" b="0" i="0" u="none" strike="noStrike" dirty="0">
                          <a:solidFill>
                            <a:srgbClr val="FFFFFF"/>
                          </a:solidFill>
                          <a:effectLst/>
                          <a:latin typeface="Calibri" panose="020F0502020204030204" pitchFamily="34" charset="0"/>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4"/>
                    </a:solidFill>
                  </a:tcPr>
                </a:tc>
                <a:tc>
                  <a:txBody>
                    <a:bodyPr/>
                    <a:lstStyle/>
                    <a:p>
                      <a:pPr algn="r" fontAlgn="b"/>
                      <a:r>
                        <a:rPr lang="en-ZA" sz="700" b="0" i="0" u="none" strike="noStrike" dirty="0">
                          <a:solidFill>
                            <a:srgbClr val="FFFFFF"/>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algn="r" fontAlgn="b"/>
                      <a:r>
                        <a:rPr lang="en-ZA" sz="700" b="0" i="0" u="none" strike="noStrike" dirty="0">
                          <a:solidFill>
                            <a:srgbClr val="FFFFFF"/>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algn="r" fontAlgn="b"/>
                      <a:r>
                        <a:rPr lang="en-ZA" sz="700" b="0" i="0" u="none" strike="noStrike" dirty="0">
                          <a:solidFill>
                            <a:srgbClr val="FFFFFF"/>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tc>
                  <a:txBody>
                    <a:bodyPr/>
                    <a:lstStyle/>
                    <a:p>
                      <a:pPr algn="r" fontAlgn="b"/>
                      <a:r>
                        <a:rPr lang="en-ZA" sz="700" b="0" i="0" u="none" strike="noStrike" dirty="0">
                          <a:solidFill>
                            <a:srgbClr val="FFFFFF"/>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extLst>
                  <a:ext uri="{0D108BD9-81ED-4DB2-BD59-A6C34878D82A}">
                    <a16:rowId xmlns:a16="http://schemas.microsoft.com/office/drawing/2014/main" val="485113184"/>
                  </a:ext>
                </a:extLst>
              </a:tr>
            </a:tbl>
          </a:graphicData>
        </a:graphic>
      </p:graphicFrame>
      <p:sp>
        <p:nvSpPr>
          <p:cNvPr id="5" name="Title 1">
            <a:extLst>
              <a:ext uri="{FF2B5EF4-FFF2-40B4-BE49-F238E27FC236}">
                <a16:creationId xmlns:a16="http://schemas.microsoft.com/office/drawing/2014/main" id="{2FAF38A3-6EBD-4731-8291-1D04E01D33D0}"/>
              </a:ext>
            </a:extLst>
          </p:cNvPr>
          <p:cNvSpPr txBox="1">
            <a:spLocks/>
          </p:cNvSpPr>
          <p:nvPr/>
        </p:nvSpPr>
        <p:spPr bwMode="auto">
          <a:xfrm>
            <a:off x="513970" y="1103320"/>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800">
                <a:solidFill>
                  <a:srgbClr val="FF0000"/>
                </a:solidFill>
              </a:rPr>
              <a:t>Subscriber projections</a:t>
            </a:r>
          </a:p>
        </p:txBody>
      </p:sp>
      <p:sp>
        <p:nvSpPr>
          <p:cNvPr id="6" name="Title 1">
            <a:extLst>
              <a:ext uri="{FF2B5EF4-FFF2-40B4-BE49-F238E27FC236}">
                <a16:creationId xmlns:a16="http://schemas.microsoft.com/office/drawing/2014/main" id="{2FAF38A3-6EBD-4731-8291-1D04E01D33D0}"/>
              </a:ext>
            </a:extLst>
          </p:cNvPr>
          <p:cNvSpPr txBox="1">
            <a:spLocks/>
          </p:cNvSpPr>
          <p:nvPr/>
        </p:nvSpPr>
        <p:spPr bwMode="auto">
          <a:xfrm>
            <a:off x="513970" y="305280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800">
                <a:solidFill>
                  <a:srgbClr val="FF0000"/>
                </a:solidFill>
              </a:rPr>
              <a:t>Datacenter distribution</a:t>
            </a:r>
          </a:p>
        </p:txBody>
      </p:sp>
      <p:graphicFrame>
        <p:nvGraphicFramePr>
          <p:cNvPr id="3" name="Table 2"/>
          <p:cNvGraphicFramePr>
            <a:graphicFrameLocks noGrp="1"/>
          </p:cNvGraphicFramePr>
          <p:nvPr/>
        </p:nvGraphicFramePr>
        <p:xfrm>
          <a:off x="576610" y="3613772"/>
          <a:ext cx="2725390" cy="741680"/>
        </p:xfrm>
        <a:graphic>
          <a:graphicData uri="http://schemas.openxmlformats.org/drawingml/2006/table">
            <a:tbl>
              <a:tblPr firstRow="1" bandRow="1">
                <a:tableStyleId>{5940675A-B579-460E-94D1-54222C63F5DA}</a:tableStyleId>
              </a:tblPr>
              <a:tblGrid>
                <a:gridCol w="1362695">
                  <a:extLst>
                    <a:ext uri="{9D8B030D-6E8A-4147-A177-3AD203B41FA5}">
                      <a16:colId xmlns:a16="http://schemas.microsoft.com/office/drawing/2014/main" val="20000"/>
                    </a:ext>
                  </a:extLst>
                </a:gridCol>
                <a:gridCol w="1362695">
                  <a:extLst>
                    <a:ext uri="{9D8B030D-6E8A-4147-A177-3AD203B41FA5}">
                      <a16:colId xmlns:a16="http://schemas.microsoft.com/office/drawing/2014/main" val="20001"/>
                    </a:ext>
                  </a:extLst>
                </a:gridCol>
              </a:tblGrid>
              <a:tr h="370840">
                <a:tc>
                  <a:txBody>
                    <a:bodyPr/>
                    <a:lstStyle/>
                    <a:p>
                      <a:r>
                        <a:rPr lang="en-US" dirty="0"/>
                        <a:t>National DC’s</a:t>
                      </a:r>
                    </a:p>
                  </a:txBody>
                  <a:tcPr/>
                </a:tc>
                <a:tc>
                  <a:txBody>
                    <a:bodyPr/>
                    <a:lstStyle/>
                    <a:p>
                      <a:pPr algn="ctr"/>
                      <a:r>
                        <a:rPr lang="en-US" dirty="0">
                          <a:solidFill>
                            <a:srgbClr val="FF0000"/>
                          </a:solidFill>
                        </a:rPr>
                        <a:t>2+1 (TBC)</a:t>
                      </a:r>
                    </a:p>
                  </a:txBody>
                  <a:tcPr/>
                </a:tc>
                <a:extLst>
                  <a:ext uri="{0D108BD9-81ED-4DB2-BD59-A6C34878D82A}">
                    <a16:rowId xmlns:a16="http://schemas.microsoft.com/office/drawing/2014/main" val="10000"/>
                  </a:ext>
                </a:extLst>
              </a:tr>
              <a:tr h="370840">
                <a:tc>
                  <a:txBody>
                    <a:bodyPr/>
                    <a:lstStyle/>
                    <a:p>
                      <a:r>
                        <a:rPr lang="en-US" dirty="0"/>
                        <a:t>Regional DC’s</a:t>
                      </a:r>
                    </a:p>
                  </a:txBody>
                  <a:tcPr/>
                </a:tc>
                <a:tc>
                  <a:txBody>
                    <a:bodyPr/>
                    <a:lstStyle/>
                    <a:p>
                      <a:pPr algn="ctr"/>
                      <a:r>
                        <a:rPr lang="en-US" dirty="0">
                          <a:solidFill>
                            <a:srgbClr val="FF0000"/>
                          </a:solidFill>
                        </a:rPr>
                        <a:t>6 (TBC)</a:t>
                      </a:r>
                    </a:p>
                  </a:txBody>
                  <a:tcPr/>
                </a:tc>
                <a:extLst>
                  <a:ext uri="{0D108BD9-81ED-4DB2-BD59-A6C34878D82A}">
                    <a16:rowId xmlns:a16="http://schemas.microsoft.com/office/drawing/2014/main" val="10001"/>
                  </a:ext>
                </a:extLst>
              </a:tr>
            </a:tbl>
          </a:graphicData>
        </a:graphic>
      </p:graphicFrame>
      <p:sp>
        <p:nvSpPr>
          <p:cNvPr id="8" name="Rounded Rectangle 7"/>
          <p:cNvSpPr/>
          <p:nvPr/>
        </p:nvSpPr>
        <p:spPr>
          <a:xfrm>
            <a:off x="372533" y="1022348"/>
            <a:ext cx="8280400" cy="3676650"/>
          </a:xfrm>
          <a:prstGeom prst="roundRect">
            <a:avLst>
              <a:gd name="adj" fmla="val 9528"/>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566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950055" y="797076"/>
            <a:ext cx="2651760" cy="2651760"/>
          </a:xfrm>
          <a:prstGeom prst="rect">
            <a:avLst/>
          </a:prstGeom>
        </p:spPr>
      </p:pic>
      <p:sp>
        <p:nvSpPr>
          <p:cNvPr id="12" name="Title 84"/>
          <p:cNvSpPr txBox="1">
            <a:spLocks/>
          </p:cNvSpPr>
          <p:nvPr/>
        </p:nvSpPr>
        <p:spPr bwMode="auto">
          <a:xfrm>
            <a:off x="362204" y="3255590"/>
            <a:ext cx="3827463" cy="18288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a:t>NCS 500 Series Access Routers</a:t>
            </a:r>
          </a:p>
        </p:txBody>
      </p:sp>
      <p:grpSp>
        <p:nvGrpSpPr>
          <p:cNvPr id="13" name="Group 12"/>
          <p:cNvGrpSpPr/>
          <p:nvPr/>
        </p:nvGrpSpPr>
        <p:grpSpPr>
          <a:xfrm>
            <a:off x="6393077" y="302107"/>
            <a:ext cx="914011" cy="819869"/>
            <a:chOff x="7306495" y="267381"/>
            <a:chExt cx="914011" cy="819869"/>
          </a:xfrm>
        </p:grpSpPr>
        <p:pic>
          <p:nvPicPr>
            <p:cNvPr id="14" name="Picture 13">
              <a:extLst>
                <a:ext uri="{FF2B5EF4-FFF2-40B4-BE49-F238E27FC236}">
                  <a16:creationId xmlns:a16="http://schemas.microsoft.com/office/drawing/2014/main" id="{B22989E0-EBEA-0A44-8443-3F15084231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31715" y="267381"/>
              <a:ext cx="454460" cy="454460"/>
            </a:xfrm>
            <a:prstGeom prst="rect">
              <a:avLst/>
            </a:prstGeom>
          </p:spPr>
        </p:pic>
        <p:sp>
          <p:nvSpPr>
            <p:cNvPr id="15" name="TextBox 14">
              <a:extLst>
                <a:ext uri="{FF2B5EF4-FFF2-40B4-BE49-F238E27FC236}">
                  <a16:creationId xmlns:a16="http://schemas.microsoft.com/office/drawing/2014/main" id="{56742AE6-9499-4A4D-8233-ABA6C2F04477}"/>
                </a:ext>
              </a:extLst>
            </p:cNvPr>
            <p:cNvSpPr txBox="1"/>
            <p:nvPr/>
          </p:nvSpPr>
          <p:spPr>
            <a:xfrm>
              <a:off x="7306495" y="717918"/>
              <a:ext cx="914011" cy="369332"/>
            </a:xfrm>
            <a:prstGeom prst="rect">
              <a:avLst/>
            </a:prstGeom>
            <a:noFill/>
          </p:spPr>
          <p:txBody>
            <a:bodyPr wrap="square" rtlCol="0">
              <a:spAutoFit/>
            </a:bodyPr>
            <a:lstStyle/>
            <a:p>
              <a:pPr algn="ctr"/>
              <a:r>
                <a:rPr lang="en-US" sz="900" dirty="0">
                  <a:solidFill>
                    <a:schemeClr val="bg1"/>
                  </a:solidFill>
                  <a:latin typeface="+mn-lt"/>
                </a:rPr>
                <a:t>Edge Distribution</a:t>
              </a:r>
            </a:p>
          </p:txBody>
        </p:sp>
      </p:grpSp>
      <p:sp>
        <p:nvSpPr>
          <p:cNvPr id="18" name="Text Placeholder 2"/>
          <p:cNvSpPr txBox="1">
            <a:spLocks/>
          </p:cNvSpPr>
          <p:nvPr/>
        </p:nvSpPr>
        <p:spPr>
          <a:xfrm>
            <a:off x="4914178" y="1307939"/>
            <a:ext cx="3789984" cy="3560902"/>
          </a:xfrm>
          <a:prstGeom prst="rect">
            <a:avLst/>
          </a:prstGeom>
        </p:spPr>
        <p:txBody>
          <a:bodyPr lIns="0" rIns="0" anchor="t" anchorCtr="0"/>
          <a:lstStyle>
            <a:lvl1pPr marL="169863" indent="-169863" algn="l" defTabSz="684213" rtl="0" eaLnBrk="1" fontAlgn="base" hangingPunct="1">
              <a:lnSpc>
                <a:spcPct val="100000"/>
              </a:lnSpc>
              <a:spcBef>
                <a:spcPts val="1075"/>
              </a:spcBef>
              <a:spcAft>
                <a:spcPct val="0"/>
              </a:spcAft>
              <a:buClr>
                <a:schemeClr val="tx1"/>
              </a:buClr>
              <a:buSzPct val="60000"/>
              <a:buFont typeface="Arial" panose="020B0604020202020204" pitchFamily="34" charset="0"/>
              <a:buChar char="•"/>
              <a:tabLst>
                <a:tab pos="228600" algn="l"/>
              </a:tabLst>
              <a:defRPr lang="en-US" sz="2400" kern="1200">
                <a:solidFill>
                  <a:schemeClr val="tx1"/>
                </a:solidFill>
                <a:latin typeface="+mn-lt"/>
                <a:ea typeface="ＭＳ Ｐゴシック" charset="0"/>
                <a:cs typeface="CiscoSans"/>
              </a:defRPr>
            </a:lvl1pPr>
            <a:lvl2pPr marL="346075" indent="-171450" algn="l" defTabSz="684213" rtl="0" eaLnBrk="1" fontAlgn="base" hangingPunct="1">
              <a:lnSpc>
                <a:spcPct val="100000"/>
              </a:lnSpc>
              <a:spcBef>
                <a:spcPts val="600"/>
              </a:spcBef>
              <a:spcAft>
                <a:spcPct val="0"/>
              </a:spcAft>
              <a:buClr>
                <a:schemeClr val="tx1"/>
              </a:buClr>
              <a:buSzPct val="60000"/>
              <a:buFont typeface="Arial" panose="020B0604020202020204" pitchFamily="34" charset="0"/>
              <a:buChar char="•"/>
              <a:defRPr lang="en-US" sz="2400" kern="1200">
                <a:solidFill>
                  <a:schemeClr val="tx1"/>
                </a:solidFill>
                <a:latin typeface="+mn-lt"/>
                <a:ea typeface="ＭＳ Ｐゴシック" charset="0"/>
                <a:cs typeface="CiscoSans"/>
              </a:defRPr>
            </a:lvl2pPr>
            <a:lvl3pPr marL="457200"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2000" kern="1200">
                <a:solidFill>
                  <a:schemeClr val="tx1"/>
                </a:solidFill>
                <a:latin typeface="+mn-lt"/>
                <a:ea typeface="ＭＳ Ｐゴシック" charset="0"/>
                <a:cs typeface="CiscoSans"/>
              </a:defRPr>
            </a:lvl3pPr>
            <a:lvl4pPr marL="574675"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tabLst/>
              <a:defRPr lang="en-US" sz="1800" kern="1200">
                <a:solidFill>
                  <a:schemeClr val="tx1"/>
                </a:solidFill>
                <a:latin typeface="+mn-lt"/>
                <a:ea typeface="ＭＳ Ｐゴシック" charset="0"/>
                <a:cs typeface="CiscoSans"/>
              </a:defRPr>
            </a:lvl4pPr>
            <a:lvl5pPr marL="744538" indent="-112713"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1800" kern="120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sz="2000" b="1" dirty="0"/>
              <a:t>NCS 500 Series</a:t>
            </a:r>
          </a:p>
          <a:p>
            <a:pPr lvl="1">
              <a:lnSpc>
                <a:spcPct val="110000"/>
              </a:lnSpc>
            </a:pPr>
            <a:r>
              <a:rPr lang="en-US" sz="1800" dirty="0"/>
              <a:t>Front-haul, mid-haul, back-haul</a:t>
            </a:r>
          </a:p>
          <a:p>
            <a:pPr lvl="1">
              <a:lnSpc>
                <a:spcPct val="110000"/>
              </a:lnSpc>
            </a:pPr>
            <a:r>
              <a:rPr lang="en-US" sz="1800" dirty="0"/>
              <a:t>Supports stringent 5G specs</a:t>
            </a:r>
          </a:p>
          <a:p>
            <a:pPr lvl="1">
              <a:lnSpc>
                <a:spcPct val="110000"/>
              </a:lnSpc>
            </a:pPr>
            <a:r>
              <a:rPr lang="en-US" sz="1800" dirty="0"/>
              <a:t>Greatest port density in 1RU form factor</a:t>
            </a:r>
          </a:p>
          <a:p>
            <a:pPr lvl="1">
              <a:lnSpc>
                <a:spcPct val="110000"/>
              </a:lnSpc>
            </a:pPr>
            <a:r>
              <a:rPr lang="en-US" sz="1800" dirty="0"/>
              <a:t>Leading throughput – 300 Gbps</a:t>
            </a:r>
          </a:p>
          <a:p>
            <a:pPr lvl="1">
              <a:lnSpc>
                <a:spcPct val="110000"/>
              </a:lnSpc>
            </a:pPr>
            <a:r>
              <a:rPr lang="en-US" sz="1800" dirty="0"/>
              <a:t>Low power consumption</a:t>
            </a:r>
          </a:p>
          <a:p>
            <a:pPr lvl="1">
              <a:lnSpc>
                <a:spcPct val="110000"/>
              </a:lnSpc>
            </a:pPr>
            <a:r>
              <a:rPr lang="en-US" sz="1800" dirty="0"/>
              <a:t>Zero-touch deployment</a:t>
            </a:r>
          </a:p>
          <a:p>
            <a:pPr lvl="1">
              <a:lnSpc>
                <a:spcPct val="110000"/>
              </a:lnSpc>
            </a:pPr>
            <a:r>
              <a:rPr lang="en-US" sz="1800" dirty="0"/>
              <a:t>CPRI/</a:t>
            </a:r>
            <a:r>
              <a:rPr lang="en-US" sz="1800" dirty="0" err="1"/>
              <a:t>eCPRI</a:t>
            </a:r>
            <a:r>
              <a:rPr lang="en-US" sz="1800" dirty="0"/>
              <a:t>/Ethernet Universal Port</a:t>
            </a:r>
          </a:p>
        </p:txBody>
      </p:sp>
    </p:spTree>
    <p:extLst>
      <p:ext uri="{BB962C8B-B14F-4D97-AF65-F5344CB8AC3E}">
        <p14:creationId xmlns:p14="http://schemas.microsoft.com/office/powerpoint/2010/main" val="303613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A8190-28B4-A649-9F58-09946878D14F}"/>
              </a:ext>
            </a:extLst>
          </p:cNvPr>
          <p:cNvSpPr>
            <a:spLocks noGrp="1"/>
          </p:cNvSpPr>
          <p:nvPr>
            <p:ph type="title"/>
          </p:nvPr>
        </p:nvSpPr>
        <p:spPr/>
        <p:txBody>
          <a:bodyPr/>
          <a:lstStyle/>
          <a:p>
            <a:r>
              <a:rPr lang="en-US" dirty="0"/>
              <a:t>Fronthaul Portfolio Summary</a:t>
            </a:r>
          </a:p>
        </p:txBody>
      </p:sp>
      <p:sp>
        <p:nvSpPr>
          <p:cNvPr id="2" name="TextBox 1">
            <a:extLst>
              <a:ext uri="{FF2B5EF4-FFF2-40B4-BE49-F238E27FC236}">
                <a16:creationId xmlns:a16="http://schemas.microsoft.com/office/drawing/2014/main" id="{EEB51697-54AD-CB48-8FB3-CC042E04C3EF}"/>
              </a:ext>
            </a:extLst>
          </p:cNvPr>
          <p:cNvSpPr txBox="1"/>
          <p:nvPr/>
        </p:nvSpPr>
        <p:spPr>
          <a:xfrm>
            <a:off x="4359979" y="4712613"/>
            <a:ext cx="4784021" cy="430887"/>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82828"/>
                </a:solidFill>
                <a:effectLst/>
                <a:uLnTx/>
                <a:uFillTx/>
                <a:latin typeface="CiscoSansTT ExtraLight"/>
                <a:ea typeface="ＭＳ Ｐゴシック" charset="0"/>
                <a:cs typeface="+mn-cs"/>
              </a:rPr>
              <a:t>*Universal Port = Port can be used for CPRI or </a:t>
            </a:r>
            <a:r>
              <a:rPr kumimoji="0" lang="en-US" sz="1100" b="1" i="0" u="none" strike="noStrike" kern="1200" cap="none" spc="0" normalizeH="0" baseline="0" noProof="0" dirty="0" err="1">
                <a:ln>
                  <a:noFill/>
                </a:ln>
                <a:solidFill>
                  <a:srgbClr val="282828"/>
                </a:solidFill>
                <a:effectLst/>
                <a:uLnTx/>
                <a:uFillTx/>
                <a:latin typeface="CiscoSansTT ExtraLight"/>
                <a:ea typeface="ＭＳ Ｐゴシック" charset="0"/>
                <a:cs typeface="+mn-cs"/>
              </a:rPr>
              <a:t>eCPRI</a:t>
            </a:r>
            <a:r>
              <a:rPr kumimoji="0" lang="en-US" sz="1100" b="1" i="0" u="none" strike="noStrike" kern="1200" cap="none" spc="0" normalizeH="0" baseline="0" noProof="0" dirty="0">
                <a:ln>
                  <a:noFill/>
                </a:ln>
                <a:solidFill>
                  <a:srgbClr val="282828"/>
                </a:solidFill>
                <a:effectLst/>
                <a:uLnTx/>
                <a:uFillTx/>
                <a:latin typeface="CiscoSansTT ExtraLight"/>
                <a:ea typeface="ＭＳ Ｐゴシック" charset="0"/>
                <a:cs typeface="+mn-cs"/>
              </a:rPr>
              <a:t> or Ethernet (1/10/25GE)</a:t>
            </a:r>
          </a:p>
        </p:txBody>
      </p:sp>
      <p:graphicFrame>
        <p:nvGraphicFramePr>
          <p:cNvPr id="7" name="Table 6">
            <a:extLst>
              <a:ext uri="{FF2B5EF4-FFF2-40B4-BE49-F238E27FC236}">
                <a16:creationId xmlns:a16="http://schemas.microsoft.com/office/drawing/2014/main" id="{21088676-15C6-6E4F-802C-6F803F975DD9}"/>
              </a:ext>
            </a:extLst>
          </p:cNvPr>
          <p:cNvGraphicFramePr>
            <a:graphicFrameLocks noGrp="1"/>
          </p:cNvGraphicFramePr>
          <p:nvPr>
            <p:extLst>
              <p:ext uri="{D42A27DB-BD31-4B8C-83A1-F6EECF244321}">
                <p14:modId xmlns:p14="http://schemas.microsoft.com/office/powerpoint/2010/main" val="2278544141"/>
              </p:ext>
            </p:extLst>
          </p:nvPr>
        </p:nvGraphicFramePr>
        <p:xfrm>
          <a:off x="542286" y="960018"/>
          <a:ext cx="8059428" cy="3424741"/>
        </p:xfrm>
        <a:graphic>
          <a:graphicData uri="http://schemas.openxmlformats.org/drawingml/2006/table">
            <a:tbl>
              <a:tblPr firstRow="1" firstCol="1" bandRow="1">
                <a:tableStyleId>{69012ECD-51FC-41F1-AA8D-1B2483CD663E}</a:tableStyleId>
              </a:tblPr>
              <a:tblGrid>
                <a:gridCol w="1386267">
                  <a:extLst>
                    <a:ext uri="{9D8B030D-6E8A-4147-A177-3AD203B41FA5}">
                      <a16:colId xmlns:a16="http://schemas.microsoft.com/office/drawing/2014/main" val="937742701"/>
                    </a:ext>
                  </a:extLst>
                </a:gridCol>
                <a:gridCol w="1655601">
                  <a:extLst>
                    <a:ext uri="{9D8B030D-6E8A-4147-A177-3AD203B41FA5}">
                      <a16:colId xmlns:a16="http://schemas.microsoft.com/office/drawing/2014/main" val="2958995981"/>
                    </a:ext>
                  </a:extLst>
                </a:gridCol>
                <a:gridCol w="2206349">
                  <a:extLst>
                    <a:ext uri="{9D8B030D-6E8A-4147-A177-3AD203B41FA5}">
                      <a16:colId xmlns:a16="http://schemas.microsoft.com/office/drawing/2014/main" val="2511157838"/>
                    </a:ext>
                  </a:extLst>
                </a:gridCol>
                <a:gridCol w="746121">
                  <a:extLst>
                    <a:ext uri="{9D8B030D-6E8A-4147-A177-3AD203B41FA5}">
                      <a16:colId xmlns:a16="http://schemas.microsoft.com/office/drawing/2014/main" val="298906801"/>
                    </a:ext>
                  </a:extLst>
                </a:gridCol>
                <a:gridCol w="746121">
                  <a:extLst>
                    <a:ext uri="{9D8B030D-6E8A-4147-A177-3AD203B41FA5}">
                      <a16:colId xmlns:a16="http://schemas.microsoft.com/office/drawing/2014/main" val="2529853739"/>
                    </a:ext>
                  </a:extLst>
                </a:gridCol>
                <a:gridCol w="1318969">
                  <a:extLst>
                    <a:ext uri="{9D8B030D-6E8A-4147-A177-3AD203B41FA5}">
                      <a16:colId xmlns:a16="http://schemas.microsoft.com/office/drawing/2014/main" val="3344599115"/>
                    </a:ext>
                  </a:extLst>
                </a:gridCol>
              </a:tblGrid>
              <a:tr h="747176">
                <a:tc>
                  <a:txBody>
                    <a:bodyPr/>
                    <a:lstStyle/>
                    <a:p>
                      <a:pPr algn="ctr" rtl="0" fontAlgn="ctr"/>
                      <a:r>
                        <a:rPr lang="en-US" sz="1050" u="none" strike="noStrike" dirty="0">
                          <a:effectLst/>
                        </a:rPr>
                        <a:t>Fronthaul Router</a:t>
                      </a:r>
                      <a:endParaRPr lang="en-US" sz="1050" b="1"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Use Case</a:t>
                      </a:r>
                      <a:endParaRPr lang="en-US" sz="1050" b="1"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Port Config</a:t>
                      </a:r>
                      <a:endParaRPr lang="en-US" sz="1050" b="1"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Height</a:t>
                      </a:r>
                      <a:endParaRPr lang="en-US" sz="1050" b="1"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ASIC</a:t>
                      </a:r>
                      <a:endParaRPr lang="en-US" sz="1050" b="1"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marL="0" algn="ctr" defTabSz="685777" rtl="0" eaLnBrk="1" fontAlgn="ctr" latinLnBrk="0" hangingPunct="1"/>
                      <a:r>
                        <a:rPr lang="en-US" sz="1050" u="none" strike="noStrike" kern="1200" dirty="0">
                          <a:effectLst/>
                        </a:rPr>
                        <a:t>Software</a:t>
                      </a:r>
                      <a:endParaRPr lang="en-US" sz="1050" b="1" u="none" strike="noStrike" kern="1200" dirty="0">
                        <a:solidFill>
                          <a:schemeClr val="accent3">
                            <a:lumMod val="10000"/>
                          </a:schemeClr>
                        </a:solidFill>
                        <a:effectLst/>
                        <a:latin typeface="+mn-lt"/>
                        <a:ea typeface="+mn-ea"/>
                        <a:cs typeface="+mn-cs"/>
                      </a:endParaRPr>
                    </a:p>
                  </a:txBody>
                  <a:tcPr marL="8238" marR="8238" marT="8238" marB="0" anchor="ctr"/>
                </a:tc>
                <a:extLst>
                  <a:ext uri="{0D108BD9-81ED-4DB2-BD59-A6C34878D82A}">
                    <a16:rowId xmlns:a16="http://schemas.microsoft.com/office/drawing/2014/main" val="187032160"/>
                  </a:ext>
                </a:extLst>
              </a:tr>
              <a:tr h="1111426">
                <a:tc>
                  <a:txBody>
                    <a:bodyPr/>
                    <a:lstStyle/>
                    <a:p>
                      <a:pPr algn="ctr" rtl="0" fontAlgn="ctr"/>
                      <a:r>
                        <a:rPr lang="en-US" sz="1050" u="none" strike="noStrike" dirty="0">
                          <a:effectLst/>
                        </a:rPr>
                        <a:t>N540-FH-CSR-SYS</a:t>
                      </a:r>
                    </a:p>
                    <a:p>
                      <a:pPr algn="ctr" rtl="0" fontAlgn="ctr"/>
                      <a:r>
                        <a:rPr lang="en-US" sz="1050" u="none" strike="noStrike" dirty="0">
                          <a:effectLst/>
                        </a:rPr>
                        <a:t>(Remote Indoor)</a:t>
                      </a:r>
                      <a:endParaRPr lang="en-US" sz="1050" b="1"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Remote Indoor Router</a:t>
                      </a:r>
                      <a:br>
                        <a:rPr lang="en-US" sz="1050" u="none" strike="noStrike" dirty="0">
                          <a:effectLst/>
                        </a:rPr>
                      </a:br>
                      <a:r>
                        <a:rPr lang="en-US" sz="1050" u="none" strike="noStrike" dirty="0">
                          <a:effectLst/>
                        </a:rPr>
                        <a:t>[Packet + CPRI +TSN]</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12x1/10G (CPRI option 1-8)+ 8x1/10G + 4x10/25G + 2x10/25G (802.1Qbu)+ 2x100G</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1 RU</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Q-AX 300Gbps</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IOS XR</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extLst>
                  <a:ext uri="{0D108BD9-81ED-4DB2-BD59-A6C34878D82A}">
                    <a16:rowId xmlns:a16="http://schemas.microsoft.com/office/drawing/2014/main" val="1204375747"/>
                  </a:ext>
                </a:extLst>
              </a:tr>
              <a:tr h="892523">
                <a:tc>
                  <a:txBody>
                    <a:bodyPr/>
                    <a:lstStyle/>
                    <a:p>
                      <a:pPr algn="ctr" rtl="0" fontAlgn="ctr"/>
                      <a:r>
                        <a:rPr lang="en-US" sz="1050" u="none" strike="noStrike" dirty="0">
                          <a:effectLst/>
                        </a:rPr>
                        <a:t>N540-FH-IP65-SYS</a:t>
                      </a:r>
                    </a:p>
                    <a:p>
                      <a:pPr algn="ctr" rtl="0" fontAlgn="ctr"/>
                      <a:r>
                        <a:rPr lang="en-US" sz="1050" u="none" strike="noStrike" dirty="0">
                          <a:effectLst/>
                        </a:rPr>
                        <a:t>(Remote Outdoor)</a:t>
                      </a:r>
                      <a:endParaRPr lang="en-US" sz="1050" b="1"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Remote Outdoor Router</a:t>
                      </a:r>
                    </a:p>
                    <a:p>
                      <a:pPr algn="ctr" rtl="0" fontAlgn="ctr"/>
                      <a:r>
                        <a:rPr lang="en-US" sz="1050" u="none" strike="noStrike" dirty="0">
                          <a:effectLst/>
                        </a:rPr>
                        <a:t>[Packet + CPRI+ TSN + IP65]</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4x1/10G (CPRI option 1-8) +*2x10G/25G (CPRI option  1-8) +2x10/25G (802.1Qbu)</a:t>
                      </a:r>
                      <a:endParaRPr lang="en-US" sz="1050" u="none" strike="noStrike" dirty="0">
                        <a:solidFill>
                          <a:schemeClr val="accent3">
                            <a:lumMod val="10000"/>
                          </a:schemeClr>
                        </a:solidFill>
                        <a:effectLst/>
                      </a:endParaRPr>
                    </a:p>
                  </a:txBody>
                  <a:tcPr marL="8238" marR="8238" marT="8238" marB="0" anchor="ctr"/>
                </a:tc>
                <a:tc>
                  <a:txBody>
                    <a:bodyPr/>
                    <a:lstStyle/>
                    <a:p>
                      <a:pPr algn="ctr" rtl="0" fontAlgn="ctr"/>
                      <a:r>
                        <a:rPr lang="en-US" sz="1050" u="none" strike="noStrike" dirty="0">
                          <a:effectLst/>
                        </a:rPr>
                        <a:t>NA</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Q-AX 160Gbps</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IOS XR</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extLst>
                  <a:ext uri="{0D108BD9-81ED-4DB2-BD59-A6C34878D82A}">
                    <a16:rowId xmlns:a16="http://schemas.microsoft.com/office/drawing/2014/main" val="775484562"/>
                  </a:ext>
                </a:extLst>
              </a:tr>
              <a:tr h="673616">
                <a:tc>
                  <a:txBody>
                    <a:bodyPr/>
                    <a:lstStyle/>
                    <a:p>
                      <a:pPr algn="ctr" rtl="0" fontAlgn="ctr"/>
                      <a:endParaRPr lang="en-US" sz="1050" u="none" strike="noStrike" dirty="0">
                        <a:effectLst/>
                      </a:endParaRPr>
                    </a:p>
                    <a:p>
                      <a:pPr algn="ctr" rtl="0" fontAlgn="ctr"/>
                      <a:r>
                        <a:rPr lang="en-US" sz="1050" u="none" strike="noStrike" dirty="0">
                          <a:effectLst/>
                        </a:rPr>
                        <a:t>N540-FH-AGG-SYS</a:t>
                      </a:r>
                      <a:br>
                        <a:rPr lang="en-US" sz="1050" u="none" strike="noStrike" dirty="0">
                          <a:effectLst/>
                        </a:rPr>
                      </a:br>
                      <a:r>
                        <a:rPr lang="en-US" sz="1050" u="none" strike="noStrike" dirty="0">
                          <a:effectLst/>
                        </a:rPr>
                        <a:t>(</a:t>
                      </a:r>
                      <a:r>
                        <a:rPr lang="en-US" sz="1050" u="none" strike="noStrike" kern="1200" dirty="0">
                          <a:effectLst/>
                        </a:rPr>
                        <a:t>Aggregation)</a:t>
                      </a:r>
                      <a:endParaRPr lang="en-US" sz="1050" b="1" i="0" u="none" strike="noStrike" kern="1200" dirty="0">
                        <a:solidFill>
                          <a:schemeClr val="accent3">
                            <a:lumMod val="10000"/>
                          </a:schemeClr>
                        </a:solidFill>
                        <a:effectLst/>
                        <a:latin typeface="CiscoSans" panose="020B0503020201020303" pitchFamily="34" charset="0"/>
                        <a:ea typeface="+mn-ea"/>
                        <a:cs typeface="+mn-cs"/>
                      </a:endParaRPr>
                    </a:p>
                  </a:txBody>
                  <a:tcPr marL="8238" marR="8238" marT="8238" marB="0" anchor="ctr"/>
                </a:tc>
                <a:tc>
                  <a:txBody>
                    <a:bodyPr/>
                    <a:lstStyle/>
                    <a:p>
                      <a:pPr algn="ctr" rtl="0" fontAlgn="ctr"/>
                      <a:r>
                        <a:rPr lang="en-US" sz="1050" u="none" strike="noStrike" dirty="0">
                          <a:effectLst/>
                        </a:rPr>
                        <a:t>Aggregate Site Router [Packet + CPRI + TSN]</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24x10G/25G (802.1Qbu, CPRI 1-8)+4x100G</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1 RU</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Jericho+ 900Gbps</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tc>
                  <a:txBody>
                    <a:bodyPr/>
                    <a:lstStyle/>
                    <a:p>
                      <a:pPr algn="ctr" rtl="0" fontAlgn="ctr"/>
                      <a:r>
                        <a:rPr lang="en-US" sz="1050" u="none" strike="noStrike" dirty="0">
                          <a:effectLst/>
                        </a:rPr>
                        <a:t>IOS XR</a:t>
                      </a:r>
                      <a:endParaRPr lang="en-US" sz="1050" b="0" i="0" u="none" strike="noStrike" dirty="0">
                        <a:solidFill>
                          <a:schemeClr val="accent3">
                            <a:lumMod val="10000"/>
                          </a:schemeClr>
                        </a:solidFill>
                        <a:effectLst/>
                        <a:latin typeface="CiscoSans" panose="020B0503020201020303" pitchFamily="34" charset="0"/>
                      </a:endParaRPr>
                    </a:p>
                  </a:txBody>
                  <a:tcPr marL="8238" marR="8238" marT="8238" marB="0" anchor="ctr"/>
                </a:tc>
                <a:extLst>
                  <a:ext uri="{0D108BD9-81ED-4DB2-BD59-A6C34878D82A}">
                    <a16:rowId xmlns:a16="http://schemas.microsoft.com/office/drawing/2014/main" val="333615637"/>
                  </a:ext>
                </a:extLst>
              </a:tr>
            </a:tbl>
          </a:graphicData>
        </a:graphic>
      </p:graphicFrame>
    </p:spTree>
    <p:extLst>
      <p:ext uri="{BB962C8B-B14F-4D97-AF65-F5344CB8AC3E}">
        <p14:creationId xmlns:p14="http://schemas.microsoft.com/office/powerpoint/2010/main" val="227441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0DEE13-B33E-471E-92C1-967026D76640}"/>
              </a:ext>
            </a:extLst>
          </p:cNvPr>
          <p:cNvSpPr>
            <a:spLocks noGrp="1"/>
          </p:cNvSpPr>
          <p:nvPr>
            <p:ph type="ctrTitle"/>
          </p:nvPr>
        </p:nvSpPr>
        <p:spPr/>
        <p:txBody>
          <a:bodyPr/>
          <a:lstStyle/>
          <a:p>
            <a:r>
              <a:rPr lang="en-ZA" dirty="0"/>
              <a:t>Access, Pre-Aggregation</a:t>
            </a:r>
          </a:p>
        </p:txBody>
      </p:sp>
    </p:spTree>
    <p:extLst>
      <p:ext uri="{BB962C8B-B14F-4D97-AF65-F5344CB8AC3E}">
        <p14:creationId xmlns:p14="http://schemas.microsoft.com/office/powerpoint/2010/main" val="9333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Access and Pre-Aggregation</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1"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7"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grpSp>
        <p:nvGrpSpPr>
          <p:cNvPr id="957" name="Group 956">
            <a:extLst>
              <a:ext uri="{FF2B5EF4-FFF2-40B4-BE49-F238E27FC236}">
                <a16:creationId xmlns:a16="http://schemas.microsoft.com/office/drawing/2014/main" id="{64452086-9719-44DE-8388-739CF1B77595}"/>
              </a:ext>
            </a:extLst>
          </p:cNvPr>
          <p:cNvGrpSpPr/>
          <p:nvPr/>
        </p:nvGrpSpPr>
        <p:grpSpPr>
          <a:xfrm>
            <a:off x="732673" y="1788912"/>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
        <p:nvSpPr>
          <p:cNvPr id="201" name="Rectangle 200">
            <a:extLst>
              <a:ext uri="{FF2B5EF4-FFF2-40B4-BE49-F238E27FC236}">
                <a16:creationId xmlns:a16="http://schemas.microsoft.com/office/drawing/2014/main" id="{EC08BCEF-0D76-4578-B3AB-22A2944AAB23}"/>
              </a:ext>
            </a:extLst>
          </p:cNvPr>
          <p:cNvSpPr/>
          <p:nvPr/>
        </p:nvSpPr>
        <p:spPr>
          <a:xfrm>
            <a:off x="4815888" y="1749440"/>
            <a:ext cx="3337291" cy="1606923"/>
          </a:xfrm>
          <a:prstGeom prst="rect">
            <a:avLst/>
          </a:prstGeom>
          <a:gradFill>
            <a:gsLst>
              <a:gs pos="0">
                <a:schemeClr val="accent1">
                  <a:lumMod val="5000"/>
                  <a:lumOff val="95000"/>
                  <a:alpha val="0"/>
                </a:schemeClr>
              </a:gs>
              <a:gs pos="12000">
                <a:schemeClr val="accent4">
                  <a:alpha val="60000"/>
                </a:schemeClr>
              </a:gs>
              <a:gs pos="100000">
                <a:schemeClr val="accent4">
                  <a:alpha val="75000"/>
                </a:schemeClr>
              </a:gs>
            </a:gsLst>
            <a:lin ang="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1" name="Rectangle 220">
            <a:extLst>
              <a:ext uri="{FF2B5EF4-FFF2-40B4-BE49-F238E27FC236}">
                <a16:creationId xmlns:a16="http://schemas.microsoft.com/office/drawing/2014/main" id="{85B5D98D-0635-4241-A5D8-01401122EDBB}"/>
              </a:ext>
            </a:extLst>
          </p:cNvPr>
          <p:cNvSpPr/>
          <p:nvPr/>
        </p:nvSpPr>
        <p:spPr>
          <a:xfrm>
            <a:off x="1789987" y="4176608"/>
            <a:ext cx="5945724" cy="341604"/>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2" name="Rectangle 221">
            <a:extLst>
              <a:ext uri="{FF2B5EF4-FFF2-40B4-BE49-F238E27FC236}">
                <a16:creationId xmlns:a16="http://schemas.microsoft.com/office/drawing/2014/main" id="{552D17C2-84BE-4ED5-8817-DA6FE9CFEF2C}"/>
              </a:ext>
            </a:extLst>
          </p:cNvPr>
          <p:cNvSpPr/>
          <p:nvPr/>
        </p:nvSpPr>
        <p:spPr>
          <a:xfrm>
            <a:off x="1789987" y="1242865"/>
            <a:ext cx="5945724" cy="488854"/>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6" name="Rectangle 225">
            <a:extLst>
              <a:ext uri="{FF2B5EF4-FFF2-40B4-BE49-F238E27FC236}">
                <a16:creationId xmlns:a16="http://schemas.microsoft.com/office/drawing/2014/main" id="{20FDCFC6-C215-41A1-B7EB-BF570CFA26F4}"/>
              </a:ext>
            </a:extLst>
          </p:cNvPr>
          <p:cNvSpPr/>
          <p:nvPr/>
        </p:nvSpPr>
        <p:spPr>
          <a:xfrm>
            <a:off x="4617642" y="3405737"/>
            <a:ext cx="3110857" cy="276998"/>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Tree>
    <p:extLst>
      <p:ext uri="{BB962C8B-B14F-4D97-AF65-F5344CB8AC3E}">
        <p14:creationId xmlns:p14="http://schemas.microsoft.com/office/powerpoint/2010/main" val="215852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01"/>
                                        </p:tgtEl>
                                        <p:attrNameLst>
                                          <p:attrName>style.visibility</p:attrName>
                                        </p:attrNameLst>
                                      </p:cBhvr>
                                      <p:to>
                                        <p:strVal val="visible"/>
                                      </p:to>
                                    </p:set>
                                    <p:animEffect transition="in" filter="wipe(right)">
                                      <p:cBhvr>
                                        <p:cTn id="7" dur="500"/>
                                        <p:tgtEl>
                                          <p:spTgt spid="20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6"/>
                                        </p:tgtEl>
                                        <p:attrNameLst>
                                          <p:attrName>style.visibility</p:attrName>
                                        </p:attrNameLst>
                                      </p:cBhvr>
                                      <p:to>
                                        <p:strVal val="visible"/>
                                      </p:to>
                                    </p:set>
                                    <p:animEffect transition="in" filter="fade">
                                      <p:cBhvr>
                                        <p:cTn id="10" dur="500"/>
                                        <p:tgtEl>
                                          <p:spTgt spid="2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26"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950055" y="797076"/>
            <a:ext cx="2651760" cy="2651760"/>
          </a:xfrm>
          <a:prstGeom prst="rect">
            <a:avLst/>
          </a:prstGeom>
        </p:spPr>
      </p:pic>
      <p:sp>
        <p:nvSpPr>
          <p:cNvPr id="12" name="Title 84"/>
          <p:cNvSpPr txBox="1">
            <a:spLocks/>
          </p:cNvSpPr>
          <p:nvPr/>
        </p:nvSpPr>
        <p:spPr bwMode="auto">
          <a:xfrm>
            <a:off x="362204" y="3255590"/>
            <a:ext cx="3827463" cy="18288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a:t>NCS 500 Series Access Routers</a:t>
            </a:r>
          </a:p>
        </p:txBody>
      </p:sp>
      <p:grpSp>
        <p:nvGrpSpPr>
          <p:cNvPr id="13" name="Group 12"/>
          <p:cNvGrpSpPr/>
          <p:nvPr/>
        </p:nvGrpSpPr>
        <p:grpSpPr>
          <a:xfrm>
            <a:off x="6393077" y="302107"/>
            <a:ext cx="914011" cy="819869"/>
            <a:chOff x="7306495" y="267381"/>
            <a:chExt cx="914011" cy="819869"/>
          </a:xfrm>
        </p:grpSpPr>
        <p:pic>
          <p:nvPicPr>
            <p:cNvPr id="14" name="Picture 13">
              <a:extLst>
                <a:ext uri="{FF2B5EF4-FFF2-40B4-BE49-F238E27FC236}">
                  <a16:creationId xmlns:a16="http://schemas.microsoft.com/office/drawing/2014/main" id="{B22989E0-EBEA-0A44-8443-3F15084231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31715" y="267381"/>
              <a:ext cx="454460" cy="454460"/>
            </a:xfrm>
            <a:prstGeom prst="rect">
              <a:avLst/>
            </a:prstGeom>
          </p:spPr>
        </p:pic>
        <p:sp>
          <p:nvSpPr>
            <p:cNvPr id="15" name="TextBox 14">
              <a:extLst>
                <a:ext uri="{FF2B5EF4-FFF2-40B4-BE49-F238E27FC236}">
                  <a16:creationId xmlns:a16="http://schemas.microsoft.com/office/drawing/2014/main" id="{56742AE6-9499-4A4D-8233-ABA6C2F04477}"/>
                </a:ext>
              </a:extLst>
            </p:cNvPr>
            <p:cNvSpPr txBox="1"/>
            <p:nvPr/>
          </p:nvSpPr>
          <p:spPr>
            <a:xfrm>
              <a:off x="7306495" y="717918"/>
              <a:ext cx="914011" cy="369332"/>
            </a:xfrm>
            <a:prstGeom prst="rect">
              <a:avLst/>
            </a:prstGeom>
            <a:noFill/>
          </p:spPr>
          <p:txBody>
            <a:bodyPr wrap="square" rtlCol="0">
              <a:spAutoFit/>
            </a:bodyPr>
            <a:lstStyle/>
            <a:p>
              <a:pPr algn="ctr"/>
              <a:r>
                <a:rPr lang="en-US" sz="900" dirty="0">
                  <a:solidFill>
                    <a:schemeClr val="bg1"/>
                  </a:solidFill>
                  <a:latin typeface="+mn-lt"/>
                </a:rPr>
                <a:t>Edge Distribution</a:t>
              </a:r>
            </a:p>
          </p:txBody>
        </p:sp>
      </p:grpSp>
      <p:sp>
        <p:nvSpPr>
          <p:cNvPr id="18" name="Text Placeholder 2"/>
          <p:cNvSpPr txBox="1">
            <a:spLocks/>
          </p:cNvSpPr>
          <p:nvPr/>
        </p:nvSpPr>
        <p:spPr>
          <a:xfrm>
            <a:off x="4914178" y="1307939"/>
            <a:ext cx="3789984" cy="3560902"/>
          </a:xfrm>
          <a:prstGeom prst="rect">
            <a:avLst/>
          </a:prstGeom>
        </p:spPr>
        <p:txBody>
          <a:bodyPr lIns="0" rIns="0" anchor="t" anchorCtr="0"/>
          <a:lstStyle>
            <a:lvl1pPr marL="169863" indent="-169863" algn="l" defTabSz="684213" rtl="0" eaLnBrk="1" fontAlgn="base" hangingPunct="1">
              <a:lnSpc>
                <a:spcPct val="100000"/>
              </a:lnSpc>
              <a:spcBef>
                <a:spcPts val="1075"/>
              </a:spcBef>
              <a:spcAft>
                <a:spcPct val="0"/>
              </a:spcAft>
              <a:buClr>
                <a:schemeClr val="tx1"/>
              </a:buClr>
              <a:buSzPct val="60000"/>
              <a:buFont typeface="Arial" panose="020B0604020202020204" pitchFamily="34" charset="0"/>
              <a:buChar char="•"/>
              <a:tabLst>
                <a:tab pos="228600" algn="l"/>
              </a:tabLst>
              <a:defRPr lang="en-US" sz="2400" kern="1200">
                <a:solidFill>
                  <a:schemeClr val="tx1"/>
                </a:solidFill>
                <a:latin typeface="+mn-lt"/>
                <a:ea typeface="ＭＳ Ｐゴシック" charset="0"/>
                <a:cs typeface="CiscoSans"/>
              </a:defRPr>
            </a:lvl1pPr>
            <a:lvl2pPr marL="346075" indent="-171450" algn="l" defTabSz="684213" rtl="0" eaLnBrk="1" fontAlgn="base" hangingPunct="1">
              <a:lnSpc>
                <a:spcPct val="100000"/>
              </a:lnSpc>
              <a:spcBef>
                <a:spcPts val="600"/>
              </a:spcBef>
              <a:spcAft>
                <a:spcPct val="0"/>
              </a:spcAft>
              <a:buClr>
                <a:schemeClr val="tx1"/>
              </a:buClr>
              <a:buSzPct val="60000"/>
              <a:buFont typeface="Arial" panose="020B0604020202020204" pitchFamily="34" charset="0"/>
              <a:buChar char="•"/>
              <a:defRPr lang="en-US" sz="2400" kern="1200">
                <a:solidFill>
                  <a:schemeClr val="tx1"/>
                </a:solidFill>
                <a:latin typeface="+mn-lt"/>
                <a:ea typeface="ＭＳ Ｐゴシック" charset="0"/>
                <a:cs typeface="CiscoSans"/>
              </a:defRPr>
            </a:lvl2pPr>
            <a:lvl3pPr marL="457200"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2000" kern="1200">
                <a:solidFill>
                  <a:schemeClr val="tx1"/>
                </a:solidFill>
                <a:latin typeface="+mn-lt"/>
                <a:ea typeface="ＭＳ Ｐゴシック" charset="0"/>
                <a:cs typeface="CiscoSans"/>
              </a:defRPr>
            </a:lvl3pPr>
            <a:lvl4pPr marL="574675"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tabLst/>
              <a:defRPr lang="en-US" sz="1800" kern="1200">
                <a:solidFill>
                  <a:schemeClr val="tx1"/>
                </a:solidFill>
                <a:latin typeface="+mn-lt"/>
                <a:ea typeface="ＭＳ Ｐゴシック" charset="0"/>
                <a:cs typeface="CiscoSans"/>
              </a:defRPr>
            </a:lvl4pPr>
            <a:lvl5pPr marL="744538" indent="-112713"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1800" kern="120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sz="2000" b="1" dirty="0"/>
              <a:t>NCS 500 Series</a:t>
            </a:r>
          </a:p>
          <a:p>
            <a:pPr lvl="1">
              <a:lnSpc>
                <a:spcPct val="110000"/>
              </a:lnSpc>
            </a:pPr>
            <a:r>
              <a:rPr lang="en-US" sz="1800" dirty="0"/>
              <a:t>Front-haul, mid-haul, back-haul</a:t>
            </a:r>
          </a:p>
          <a:p>
            <a:pPr lvl="1">
              <a:lnSpc>
                <a:spcPct val="110000"/>
              </a:lnSpc>
            </a:pPr>
            <a:r>
              <a:rPr lang="en-US" sz="1800" dirty="0"/>
              <a:t>Supports stringent 5G specs</a:t>
            </a:r>
          </a:p>
          <a:p>
            <a:pPr lvl="1">
              <a:lnSpc>
                <a:spcPct val="110000"/>
              </a:lnSpc>
            </a:pPr>
            <a:r>
              <a:rPr lang="en-US" sz="1800" dirty="0"/>
              <a:t>Single OS domain, end-to-end</a:t>
            </a:r>
          </a:p>
          <a:p>
            <a:pPr lvl="1">
              <a:lnSpc>
                <a:spcPct val="110000"/>
              </a:lnSpc>
            </a:pPr>
            <a:r>
              <a:rPr lang="en-US" sz="1800" dirty="0"/>
              <a:t>Greatest port density in 1RU form factor</a:t>
            </a:r>
          </a:p>
          <a:p>
            <a:pPr lvl="1">
              <a:lnSpc>
                <a:spcPct val="110000"/>
              </a:lnSpc>
            </a:pPr>
            <a:r>
              <a:rPr lang="en-US" sz="1800" dirty="0"/>
              <a:t>Leading throughput – 300 Gbps</a:t>
            </a:r>
          </a:p>
          <a:p>
            <a:pPr lvl="1">
              <a:lnSpc>
                <a:spcPct val="110000"/>
              </a:lnSpc>
            </a:pPr>
            <a:r>
              <a:rPr lang="en-US" sz="1800" dirty="0"/>
              <a:t>Low power consumption</a:t>
            </a:r>
          </a:p>
          <a:p>
            <a:pPr lvl="1">
              <a:lnSpc>
                <a:spcPct val="110000"/>
              </a:lnSpc>
            </a:pPr>
            <a:r>
              <a:rPr lang="en-US" sz="1800" dirty="0"/>
              <a:t>Zero-touch deployment</a:t>
            </a:r>
          </a:p>
          <a:p>
            <a:pPr lvl="1">
              <a:lnSpc>
                <a:spcPct val="110000"/>
              </a:lnSpc>
            </a:pPr>
            <a:r>
              <a:rPr lang="en-US" sz="1800" dirty="0"/>
              <a:t>DWDM Support</a:t>
            </a:r>
          </a:p>
        </p:txBody>
      </p:sp>
    </p:spTree>
    <p:extLst>
      <p:ext uri="{BB962C8B-B14F-4D97-AF65-F5344CB8AC3E}">
        <p14:creationId xmlns:p14="http://schemas.microsoft.com/office/powerpoint/2010/main" val="3281215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4116A5-B01A-FD41-AF8D-27FE0DC38FEE}"/>
              </a:ext>
            </a:extLst>
          </p:cNvPr>
          <p:cNvSpPr/>
          <p:nvPr/>
        </p:nvSpPr>
        <p:spPr>
          <a:xfrm>
            <a:off x="55798" y="2885894"/>
            <a:ext cx="978938" cy="47459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a:solidFill>
                  <a:schemeClr val="bg2"/>
                </a:solidFill>
              </a:rPr>
              <a:t>Targeted Positioning</a:t>
            </a:r>
          </a:p>
        </p:txBody>
      </p:sp>
      <p:sp>
        <p:nvSpPr>
          <p:cNvPr id="29" name="Rectangle 28">
            <a:extLst>
              <a:ext uri="{FF2B5EF4-FFF2-40B4-BE49-F238E27FC236}">
                <a16:creationId xmlns:a16="http://schemas.microsoft.com/office/drawing/2014/main" id="{925813AC-2C77-394C-8DDA-8568544AC49B}"/>
              </a:ext>
            </a:extLst>
          </p:cNvPr>
          <p:cNvSpPr/>
          <p:nvPr/>
        </p:nvSpPr>
        <p:spPr>
          <a:xfrm>
            <a:off x="1487819" y="1486946"/>
            <a:ext cx="1354308" cy="47459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err="1">
                <a:solidFill>
                  <a:schemeClr val="bg1"/>
                </a:solidFill>
              </a:rPr>
              <a:t>xHaul</a:t>
            </a:r>
            <a:r>
              <a:rPr lang="en-US" sz="800" b="1" dirty="0">
                <a:solidFill>
                  <a:schemeClr val="bg1"/>
                </a:solidFill>
              </a:rPr>
              <a:t> </a:t>
            </a:r>
          </a:p>
        </p:txBody>
      </p:sp>
      <p:sp>
        <p:nvSpPr>
          <p:cNvPr id="31" name="Rectangle 30">
            <a:extLst>
              <a:ext uri="{FF2B5EF4-FFF2-40B4-BE49-F238E27FC236}">
                <a16:creationId xmlns:a16="http://schemas.microsoft.com/office/drawing/2014/main" id="{5A6E3DE6-6E1D-D74E-968D-FEC97F389884}"/>
              </a:ext>
            </a:extLst>
          </p:cNvPr>
          <p:cNvSpPr/>
          <p:nvPr/>
        </p:nvSpPr>
        <p:spPr>
          <a:xfrm>
            <a:off x="1487819" y="4033212"/>
            <a:ext cx="1341785" cy="47459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a:solidFill>
                  <a:schemeClr val="bg1"/>
                </a:solidFill>
              </a:rPr>
              <a:t>Access/Pre-aggregation</a:t>
            </a:r>
          </a:p>
        </p:txBody>
      </p:sp>
      <p:sp>
        <p:nvSpPr>
          <p:cNvPr id="36" name="Rectangle 35">
            <a:extLst>
              <a:ext uri="{FF2B5EF4-FFF2-40B4-BE49-F238E27FC236}">
                <a16:creationId xmlns:a16="http://schemas.microsoft.com/office/drawing/2014/main" id="{B7580EC8-3D20-7041-BAF6-47E43AA5E5BD}"/>
              </a:ext>
            </a:extLst>
          </p:cNvPr>
          <p:cNvSpPr/>
          <p:nvPr/>
        </p:nvSpPr>
        <p:spPr>
          <a:xfrm>
            <a:off x="1471223" y="2885894"/>
            <a:ext cx="1341785" cy="47459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a:solidFill>
                  <a:schemeClr val="bg1"/>
                </a:solidFill>
              </a:rPr>
              <a:t>Access/Aggregation</a:t>
            </a:r>
          </a:p>
        </p:txBody>
      </p:sp>
      <p:sp>
        <p:nvSpPr>
          <p:cNvPr id="37" name="Rectangle 36">
            <a:extLst>
              <a:ext uri="{FF2B5EF4-FFF2-40B4-BE49-F238E27FC236}">
                <a16:creationId xmlns:a16="http://schemas.microsoft.com/office/drawing/2014/main" id="{3FBA128E-77CC-0F44-BDA5-C40B04DF7A63}"/>
              </a:ext>
            </a:extLst>
          </p:cNvPr>
          <p:cNvSpPr/>
          <p:nvPr/>
        </p:nvSpPr>
        <p:spPr>
          <a:xfrm>
            <a:off x="3306379" y="1026638"/>
            <a:ext cx="1391478" cy="47459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a:solidFill>
                  <a:schemeClr val="bg1"/>
                </a:solidFill>
              </a:rPr>
              <a:t>300G B/W</a:t>
            </a:r>
          </a:p>
          <a:p>
            <a:pPr algn="ctr"/>
            <a:r>
              <a:rPr lang="en-US" sz="800" b="1" dirty="0">
                <a:solidFill>
                  <a:schemeClr val="bg1"/>
                </a:solidFill>
              </a:rPr>
              <a:t>1/10/25/100G interfaces</a:t>
            </a:r>
          </a:p>
        </p:txBody>
      </p:sp>
      <p:sp>
        <p:nvSpPr>
          <p:cNvPr id="38" name="Rectangle 37">
            <a:extLst>
              <a:ext uri="{FF2B5EF4-FFF2-40B4-BE49-F238E27FC236}">
                <a16:creationId xmlns:a16="http://schemas.microsoft.com/office/drawing/2014/main" id="{9244A240-584B-F64A-8651-01AE04CAA0EA}"/>
              </a:ext>
            </a:extLst>
          </p:cNvPr>
          <p:cNvSpPr/>
          <p:nvPr/>
        </p:nvSpPr>
        <p:spPr>
          <a:xfrm>
            <a:off x="3306379" y="1973628"/>
            <a:ext cx="1391478" cy="47459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a:solidFill>
                  <a:schemeClr val="bg1"/>
                </a:solidFill>
              </a:rPr>
              <a:t>140G B/W</a:t>
            </a:r>
          </a:p>
          <a:p>
            <a:pPr algn="ctr"/>
            <a:r>
              <a:rPr lang="en-US" sz="800" b="1" dirty="0">
                <a:solidFill>
                  <a:schemeClr val="bg1"/>
                </a:solidFill>
              </a:rPr>
              <a:t>1/10G and Cu interfaces</a:t>
            </a:r>
          </a:p>
        </p:txBody>
      </p:sp>
      <p:sp>
        <p:nvSpPr>
          <p:cNvPr id="39" name="Rectangle 38">
            <a:extLst>
              <a:ext uri="{FF2B5EF4-FFF2-40B4-BE49-F238E27FC236}">
                <a16:creationId xmlns:a16="http://schemas.microsoft.com/office/drawing/2014/main" id="{AFC25685-D8A5-E748-B452-60EA44C31BF0}"/>
              </a:ext>
            </a:extLst>
          </p:cNvPr>
          <p:cNvSpPr/>
          <p:nvPr/>
        </p:nvSpPr>
        <p:spPr>
          <a:xfrm>
            <a:off x="3306379" y="2885894"/>
            <a:ext cx="1391478" cy="47459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a:solidFill>
                  <a:schemeClr val="bg1"/>
                </a:solidFill>
              </a:rPr>
              <a:t>300G B/W</a:t>
            </a:r>
          </a:p>
          <a:p>
            <a:pPr algn="ctr"/>
            <a:r>
              <a:rPr lang="en-US" sz="800" b="1" dirty="0">
                <a:solidFill>
                  <a:schemeClr val="bg1"/>
                </a:solidFill>
              </a:rPr>
              <a:t>10/100G interfaces </a:t>
            </a:r>
          </a:p>
        </p:txBody>
      </p:sp>
      <p:sp>
        <p:nvSpPr>
          <p:cNvPr id="40" name="Rectangle 39">
            <a:extLst>
              <a:ext uri="{FF2B5EF4-FFF2-40B4-BE49-F238E27FC236}">
                <a16:creationId xmlns:a16="http://schemas.microsoft.com/office/drawing/2014/main" id="{C8DAA97E-1C3E-3C45-BE49-EE9B85DE5045}"/>
              </a:ext>
            </a:extLst>
          </p:cNvPr>
          <p:cNvSpPr/>
          <p:nvPr/>
        </p:nvSpPr>
        <p:spPr>
          <a:xfrm>
            <a:off x="5537622" y="631262"/>
            <a:ext cx="1391478" cy="47459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a:solidFill>
                  <a:schemeClr val="tx1"/>
                </a:solidFill>
              </a:rPr>
              <a:t>Modular, Redundant Power Supply</a:t>
            </a:r>
          </a:p>
        </p:txBody>
      </p:sp>
      <p:sp>
        <p:nvSpPr>
          <p:cNvPr id="41" name="Rectangle 40">
            <a:extLst>
              <a:ext uri="{FF2B5EF4-FFF2-40B4-BE49-F238E27FC236}">
                <a16:creationId xmlns:a16="http://schemas.microsoft.com/office/drawing/2014/main" id="{66F815C7-E3DB-DD45-BA1E-CC31A0C1E5B8}"/>
              </a:ext>
            </a:extLst>
          </p:cNvPr>
          <p:cNvSpPr/>
          <p:nvPr/>
        </p:nvSpPr>
        <p:spPr>
          <a:xfrm>
            <a:off x="5537622" y="1263935"/>
            <a:ext cx="1391478" cy="47459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a:solidFill>
                  <a:schemeClr val="tx1"/>
                </a:solidFill>
              </a:rPr>
              <a:t>Cu Interfaces +</a:t>
            </a:r>
          </a:p>
          <a:p>
            <a:pPr algn="ctr"/>
            <a:r>
              <a:rPr lang="en-US" sz="800" b="1" dirty="0">
                <a:solidFill>
                  <a:schemeClr val="tx1"/>
                </a:solidFill>
              </a:rPr>
              <a:t>Fixed power supply</a:t>
            </a:r>
          </a:p>
        </p:txBody>
      </p:sp>
      <p:sp>
        <p:nvSpPr>
          <p:cNvPr id="42" name="Rectangle 41">
            <a:extLst>
              <a:ext uri="{FF2B5EF4-FFF2-40B4-BE49-F238E27FC236}">
                <a16:creationId xmlns:a16="http://schemas.microsoft.com/office/drawing/2014/main" id="{76B87F7D-3E44-5549-B52E-5944FDC7DE15}"/>
              </a:ext>
            </a:extLst>
          </p:cNvPr>
          <p:cNvSpPr/>
          <p:nvPr/>
        </p:nvSpPr>
        <p:spPr>
          <a:xfrm>
            <a:off x="3306379" y="4033212"/>
            <a:ext cx="1391478" cy="47459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dirty="0">
                <a:solidFill>
                  <a:schemeClr val="bg1"/>
                </a:solidFill>
              </a:rPr>
              <a:t>140G B/W</a:t>
            </a:r>
          </a:p>
          <a:p>
            <a:pPr algn="ctr"/>
            <a:r>
              <a:rPr lang="en-US" sz="800" b="1" dirty="0">
                <a:solidFill>
                  <a:schemeClr val="bg1"/>
                </a:solidFill>
              </a:rPr>
              <a:t>1/10G interfaces</a:t>
            </a:r>
          </a:p>
        </p:txBody>
      </p:sp>
      <p:cxnSp>
        <p:nvCxnSpPr>
          <p:cNvPr id="17" name="Elbow Connector 16">
            <a:extLst>
              <a:ext uri="{FF2B5EF4-FFF2-40B4-BE49-F238E27FC236}">
                <a16:creationId xmlns:a16="http://schemas.microsoft.com/office/drawing/2014/main" id="{706FF024-74BB-3E43-B405-61F2B0BD5442}"/>
              </a:ext>
            </a:extLst>
          </p:cNvPr>
          <p:cNvCxnSpPr>
            <a:cxnSpLocks/>
            <a:stCxn id="5" idx="3"/>
            <a:endCxn id="29" idx="1"/>
          </p:cNvCxnSpPr>
          <p:nvPr/>
        </p:nvCxnSpPr>
        <p:spPr>
          <a:xfrm flipV="1">
            <a:off x="1034736" y="1724243"/>
            <a:ext cx="453083" cy="1398948"/>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6" name="Elbow Connector 45">
            <a:extLst>
              <a:ext uri="{FF2B5EF4-FFF2-40B4-BE49-F238E27FC236}">
                <a16:creationId xmlns:a16="http://schemas.microsoft.com/office/drawing/2014/main" id="{E7B95BC4-4FB8-F74C-BB6D-68A097330128}"/>
              </a:ext>
            </a:extLst>
          </p:cNvPr>
          <p:cNvCxnSpPr>
            <a:cxnSpLocks/>
            <a:stCxn id="5" idx="3"/>
            <a:endCxn id="31" idx="1"/>
          </p:cNvCxnSpPr>
          <p:nvPr/>
        </p:nvCxnSpPr>
        <p:spPr>
          <a:xfrm>
            <a:off x="1034736" y="3123191"/>
            <a:ext cx="453083" cy="1147318"/>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65" name="Rectangle 64">
            <a:extLst>
              <a:ext uri="{FF2B5EF4-FFF2-40B4-BE49-F238E27FC236}">
                <a16:creationId xmlns:a16="http://schemas.microsoft.com/office/drawing/2014/main" id="{9E2925FE-ECA6-5148-8B90-B8F7BEB32DBF}"/>
              </a:ext>
            </a:extLst>
          </p:cNvPr>
          <p:cNvSpPr/>
          <p:nvPr/>
        </p:nvSpPr>
        <p:spPr>
          <a:xfrm>
            <a:off x="7526017" y="631262"/>
            <a:ext cx="1391478" cy="47459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814388" fontAlgn="auto">
              <a:spcBef>
                <a:spcPts val="0"/>
              </a:spcBef>
              <a:spcAft>
                <a:spcPts val="200"/>
              </a:spcAft>
              <a:buSzPct val="80000"/>
              <a:defRPr/>
            </a:pPr>
            <a:endParaRPr lang="en-US" sz="800" b="1" dirty="0">
              <a:solidFill>
                <a:schemeClr val="tx1"/>
              </a:solidFill>
              <a:cs typeface="Calibri" panose="020F0502020204030204" pitchFamily="34" charset="0"/>
            </a:endParaRPr>
          </a:p>
          <a:p>
            <a:pPr algn="ctr" defTabSz="814388" fontAlgn="auto">
              <a:spcBef>
                <a:spcPts val="0"/>
              </a:spcBef>
              <a:spcAft>
                <a:spcPts val="200"/>
              </a:spcAft>
              <a:buSzPct val="80000"/>
              <a:defRPr/>
            </a:pPr>
            <a:r>
              <a:rPr lang="en-US" sz="800" b="1" dirty="0">
                <a:solidFill>
                  <a:schemeClr val="tx1"/>
                </a:solidFill>
                <a:cs typeface="Calibri" panose="020F0502020204030204" pitchFamily="34" charset="0"/>
              </a:rPr>
              <a:t>N540-ACC-SYS</a:t>
            </a:r>
          </a:p>
          <a:p>
            <a:pPr algn="ctr" defTabSz="814388" fontAlgn="auto">
              <a:spcBef>
                <a:spcPts val="0"/>
              </a:spcBef>
              <a:spcAft>
                <a:spcPts val="200"/>
              </a:spcAft>
              <a:buSzPct val="80000"/>
              <a:defRPr/>
            </a:pPr>
            <a:r>
              <a:rPr lang="en-US" sz="800" b="1" dirty="0">
                <a:solidFill>
                  <a:schemeClr val="tx1"/>
                </a:solidFill>
                <a:cs typeface="Calibri" panose="020F0502020204030204" pitchFamily="34" charset="0"/>
              </a:rPr>
              <a:t>(</a:t>
            </a:r>
            <a:r>
              <a:rPr lang="en-US" sz="800" b="1" dirty="0" err="1">
                <a:solidFill>
                  <a:schemeClr val="tx1"/>
                </a:solidFill>
                <a:cs typeface="Calibri" panose="020F0502020204030204" pitchFamily="34" charset="0"/>
              </a:rPr>
              <a:t>Tortin</a:t>
            </a:r>
            <a:r>
              <a:rPr lang="en-US" sz="800" b="1" dirty="0">
                <a:solidFill>
                  <a:schemeClr val="tx1"/>
                </a:solidFill>
                <a:cs typeface="Calibri" panose="020F0502020204030204" pitchFamily="34" charset="0"/>
              </a:rPr>
              <a:t>)</a:t>
            </a:r>
          </a:p>
          <a:p>
            <a:pPr algn="ctr" defTabSz="814388" fontAlgn="auto">
              <a:spcBef>
                <a:spcPts val="0"/>
              </a:spcBef>
              <a:spcAft>
                <a:spcPts val="200"/>
              </a:spcAft>
              <a:buSzPct val="80000"/>
              <a:defRPr/>
            </a:pPr>
            <a:endParaRPr lang="en-US" sz="800" b="1" dirty="0">
              <a:solidFill>
                <a:schemeClr val="tx1"/>
              </a:solidFill>
              <a:cs typeface="Calibri" panose="020F0502020204030204" pitchFamily="34" charset="0"/>
            </a:endParaRPr>
          </a:p>
        </p:txBody>
      </p:sp>
      <p:sp>
        <p:nvSpPr>
          <p:cNvPr id="66" name="Rectangle 65">
            <a:extLst>
              <a:ext uri="{FF2B5EF4-FFF2-40B4-BE49-F238E27FC236}">
                <a16:creationId xmlns:a16="http://schemas.microsoft.com/office/drawing/2014/main" id="{9F550E8B-6FC8-8149-B69B-88C37844F673}"/>
              </a:ext>
            </a:extLst>
          </p:cNvPr>
          <p:cNvSpPr/>
          <p:nvPr/>
        </p:nvSpPr>
        <p:spPr>
          <a:xfrm>
            <a:off x="7526017" y="1263935"/>
            <a:ext cx="1391478" cy="47459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814388" fontAlgn="auto">
              <a:spcBef>
                <a:spcPts val="0"/>
              </a:spcBef>
              <a:spcAft>
                <a:spcPts val="200"/>
              </a:spcAft>
              <a:buSzPct val="80000"/>
              <a:defRPr/>
            </a:pPr>
            <a:r>
              <a:rPr lang="en-CA" sz="800" b="1" dirty="0">
                <a:solidFill>
                  <a:schemeClr val="tx1"/>
                </a:solidFill>
                <a:cs typeface="Calibri" panose="020F0502020204030204" pitchFamily="34" charset="0"/>
              </a:rPr>
              <a:t>N540X-16Z4G8Q2C</a:t>
            </a:r>
          </a:p>
          <a:p>
            <a:pPr algn="ctr" defTabSz="814388" fontAlgn="auto">
              <a:spcBef>
                <a:spcPts val="0"/>
              </a:spcBef>
              <a:spcAft>
                <a:spcPts val="200"/>
              </a:spcAft>
              <a:buSzPct val="80000"/>
              <a:defRPr/>
            </a:pPr>
            <a:r>
              <a:rPr lang="en-CA" sz="800" b="1" dirty="0">
                <a:solidFill>
                  <a:schemeClr val="tx1"/>
                </a:solidFill>
                <a:cs typeface="Calibri" panose="020F0502020204030204" pitchFamily="34" charset="0"/>
              </a:rPr>
              <a:t>(Everglades) </a:t>
            </a:r>
            <a:endParaRPr lang="en-US" sz="800" b="1" dirty="0">
              <a:solidFill>
                <a:schemeClr val="tx1"/>
              </a:solidFill>
              <a:cs typeface="Calibri" panose="020F0502020204030204" pitchFamily="34" charset="0"/>
            </a:endParaRPr>
          </a:p>
        </p:txBody>
      </p:sp>
      <p:sp>
        <p:nvSpPr>
          <p:cNvPr id="67" name="Rectangle 66">
            <a:extLst>
              <a:ext uri="{FF2B5EF4-FFF2-40B4-BE49-F238E27FC236}">
                <a16:creationId xmlns:a16="http://schemas.microsoft.com/office/drawing/2014/main" id="{DCAF87D0-45CE-3F49-BED1-58A92B0FAD7A}"/>
              </a:ext>
            </a:extLst>
          </p:cNvPr>
          <p:cNvSpPr/>
          <p:nvPr/>
        </p:nvSpPr>
        <p:spPr>
          <a:xfrm>
            <a:off x="7526017" y="1973628"/>
            <a:ext cx="1391478" cy="47459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814388" fontAlgn="auto">
              <a:spcBef>
                <a:spcPts val="0"/>
              </a:spcBef>
              <a:spcAft>
                <a:spcPts val="200"/>
              </a:spcAft>
              <a:buSzPct val="80000"/>
              <a:defRPr/>
            </a:pPr>
            <a:r>
              <a:rPr lang="en-CA" sz="800" b="1" dirty="0">
                <a:solidFill>
                  <a:schemeClr val="tx1"/>
                </a:solidFill>
                <a:cs typeface="Calibri" panose="020F0502020204030204" pitchFamily="34" charset="0"/>
              </a:rPr>
              <a:t>N540X-12Z16G-SYS</a:t>
            </a:r>
          </a:p>
          <a:p>
            <a:pPr algn="ctr" defTabSz="814388" fontAlgn="auto">
              <a:spcBef>
                <a:spcPts val="0"/>
              </a:spcBef>
              <a:spcAft>
                <a:spcPts val="200"/>
              </a:spcAft>
              <a:buSzPct val="80000"/>
              <a:defRPr/>
            </a:pPr>
            <a:r>
              <a:rPr lang="en-CA" sz="800" b="1" dirty="0">
                <a:solidFill>
                  <a:schemeClr val="tx1"/>
                </a:solidFill>
                <a:cs typeface="Calibri" panose="020F0502020204030204" pitchFamily="34" charset="0"/>
              </a:rPr>
              <a:t> (Acadia)</a:t>
            </a:r>
          </a:p>
        </p:txBody>
      </p:sp>
      <p:sp>
        <p:nvSpPr>
          <p:cNvPr id="68" name="Rectangle 67">
            <a:extLst>
              <a:ext uri="{FF2B5EF4-FFF2-40B4-BE49-F238E27FC236}">
                <a16:creationId xmlns:a16="http://schemas.microsoft.com/office/drawing/2014/main" id="{B795E9F5-606A-4140-9BFE-03034BDC5CA3}"/>
              </a:ext>
            </a:extLst>
          </p:cNvPr>
          <p:cNvSpPr/>
          <p:nvPr/>
        </p:nvSpPr>
        <p:spPr>
          <a:xfrm>
            <a:off x="7526017" y="2885894"/>
            <a:ext cx="1391478" cy="47459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IN" sz="800" b="1" dirty="0">
                <a:solidFill>
                  <a:schemeClr val="tx1"/>
                </a:solidFill>
              </a:rPr>
              <a:t>N540-28Z4C-SYS</a:t>
            </a:r>
            <a:endParaRPr lang="en-US" sz="800" b="1" dirty="0">
              <a:solidFill>
                <a:schemeClr val="tx1"/>
              </a:solidFill>
            </a:endParaRPr>
          </a:p>
          <a:p>
            <a:pPr algn="ctr"/>
            <a:r>
              <a:rPr lang="en-US" sz="800" b="1" dirty="0">
                <a:solidFill>
                  <a:schemeClr val="tx1"/>
                </a:solidFill>
              </a:rPr>
              <a:t>(Crater Lake)</a:t>
            </a:r>
          </a:p>
        </p:txBody>
      </p:sp>
      <p:sp>
        <p:nvSpPr>
          <p:cNvPr id="69" name="Rectangle 68">
            <a:extLst>
              <a:ext uri="{FF2B5EF4-FFF2-40B4-BE49-F238E27FC236}">
                <a16:creationId xmlns:a16="http://schemas.microsoft.com/office/drawing/2014/main" id="{A533742D-33ED-1A40-8911-C23D81A79143}"/>
              </a:ext>
            </a:extLst>
          </p:cNvPr>
          <p:cNvSpPr/>
          <p:nvPr/>
        </p:nvSpPr>
        <p:spPr>
          <a:xfrm>
            <a:off x="7526017" y="4033212"/>
            <a:ext cx="1391478" cy="47459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sz="800" b="1" dirty="0">
              <a:solidFill>
                <a:schemeClr val="tx1"/>
              </a:solidFill>
            </a:endParaRPr>
          </a:p>
          <a:p>
            <a:pPr algn="ctr"/>
            <a:endParaRPr lang="en-IN" sz="800" b="1" dirty="0">
              <a:solidFill>
                <a:schemeClr val="tx1"/>
              </a:solidFill>
            </a:endParaRPr>
          </a:p>
          <a:p>
            <a:pPr algn="ctr"/>
            <a:r>
              <a:rPr lang="en-IN" sz="800" b="1" dirty="0">
                <a:solidFill>
                  <a:schemeClr val="tx1"/>
                </a:solidFill>
              </a:rPr>
              <a:t>N540-12Z20G-SYS</a:t>
            </a:r>
          </a:p>
          <a:p>
            <a:pPr algn="ctr"/>
            <a:r>
              <a:rPr lang="en-IN" sz="800" b="1" dirty="0">
                <a:solidFill>
                  <a:schemeClr val="tx1"/>
                </a:solidFill>
              </a:rPr>
              <a:t>(Denali)</a:t>
            </a:r>
          </a:p>
          <a:p>
            <a:pPr algn="ctr"/>
            <a:endParaRPr lang="en-US" sz="800" b="1" dirty="0">
              <a:solidFill>
                <a:schemeClr val="tx1"/>
              </a:solidFill>
            </a:endParaRPr>
          </a:p>
        </p:txBody>
      </p:sp>
      <p:cxnSp>
        <p:nvCxnSpPr>
          <p:cNvPr id="71" name="Elbow Connector 70">
            <a:extLst>
              <a:ext uri="{FF2B5EF4-FFF2-40B4-BE49-F238E27FC236}">
                <a16:creationId xmlns:a16="http://schemas.microsoft.com/office/drawing/2014/main" id="{CECF9ADD-07FF-1D4C-AD71-0E21EE546B8A}"/>
              </a:ext>
            </a:extLst>
          </p:cNvPr>
          <p:cNvCxnSpPr>
            <a:cxnSpLocks/>
            <a:stCxn id="37" idx="3"/>
          </p:cNvCxnSpPr>
          <p:nvPr/>
        </p:nvCxnSpPr>
        <p:spPr>
          <a:xfrm flipV="1">
            <a:off x="4697857" y="858079"/>
            <a:ext cx="860404" cy="405856"/>
          </a:xfrm>
          <a:prstGeom prst="bentConnector3">
            <a:avLst>
              <a:gd name="adj1" fmla="val 47251"/>
            </a:avLst>
          </a:prstGeom>
          <a:ln>
            <a:tailEnd type="triangle"/>
          </a:ln>
        </p:spPr>
        <p:style>
          <a:lnRef idx="1">
            <a:schemeClr val="dk1"/>
          </a:lnRef>
          <a:fillRef idx="0">
            <a:schemeClr val="dk1"/>
          </a:fillRef>
          <a:effectRef idx="0">
            <a:schemeClr val="dk1"/>
          </a:effectRef>
          <a:fontRef idx="minor">
            <a:schemeClr val="tx1"/>
          </a:fontRef>
        </p:style>
      </p:cxnSp>
      <p:cxnSp>
        <p:nvCxnSpPr>
          <p:cNvPr id="84" name="Elbow Connector 83">
            <a:extLst>
              <a:ext uri="{FF2B5EF4-FFF2-40B4-BE49-F238E27FC236}">
                <a16:creationId xmlns:a16="http://schemas.microsoft.com/office/drawing/2014/main" id="{E94A6C38-77EC-B540-92C0-8D21CCBD4217}"/>
              </a:ext>
            </a:extLst>
          </p:cNvPr>
          <p:cNvCxnSpPr>
            <a:cxnSpLocks/>
          </p:cNvCxnSpPr>
          <p:nvPr/>
        </p:nvCxnSpPr>
        <p:spPr>
          <a:xfrm>
            <a:off x="4688232" y="1263935"/>
            <a:ext cx="839765" cy="237297"/>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91" name="Straight Arrow Connector 90">
            <a:extLst>
              <a:ext uri="{FF2B5EF4-FFF2-40B4-BE49-F238E27FC236}">
                <a16:creationId xmlns:a16="http://schemas.microsoft.com/office/drawing/2014/main" id="{E5E1D76C-0BD0-824F-8955-8C69123929A9}"/>
              </a:ext>
            </a:extLst>
          </p:cNvPr>
          <p:cNvCxnSpPr>
            <a:cxnSpLocks/>
            <a:endCxn id="39" idx="1"/>
          </p:cNvCxnSpPr>
          <p:nvPr/>
        </p:nvCxnSpPr>
        <p:spPr>
          <a:xfrm>
            <a:off x="2781970" y="3123191"/>
            <a:ext cx="52440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5" name="Straight Arrow Connector 94">
            <a:extLst>
              <a:ext uri="{FF2B5EF4-FFF2-40B4-BE49-F238E27FC236}">
                <a16:creationId xmlns:a16="http://schemas.microsoft.com/office/drawing/2014/main" id="{B0DFEE3C-40A3-2246-B515-E299CC1B6A5A}"/>
              </a:ext>
            </a:extLst>
          </p:cNvPr>
          <p:cNvCxnSpPr>
            <a:cxnSpLocks/>
            <a:stCxn id="31" idx="3"/>
            <a:endCxn id="42" idx="1"/>
          </p:cNvCxnSpPr>
          <p:nvPr/>
        </p:nvCxnSpPr>
        <p:spPr>
          <a:xfrm>
            <a:off x="2829604" y="4270509"/>
            <a:ext cx="47677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7" name="Straight Arrow Connector 96">
            <a:extLst>
              <a:ext uri="{FF2B5EF4-FFF2-40B4-BE49-F238E27FC236}">
                <a16:creationId xmlns:a16="http://schemas.microsoft.com/office/drawing/2014/main" id="{A38A267D-E0AC-1B49-B9E3-A3617B7E2744}"/>
              </a:ext>
            </a:extLst>
          </p:cNvPr>
          <p:cNvCxnSpPr>
            <a:stCxn id="40" idx="3"/>
            <a:endCxn id="65" idx="1"/>
          </p:cNvCxnSpPr>
          <p:nvPr/>
        </p:nvCxnSpPr>
        <p:spPr>
          <a:xfrm>
            <a:off x="6929100" y="868559"/>
            <a:ext cx="59691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7" name="Straight Arrow Connector 106">
            <a:extLst>
              <a:ext uri="{FF2B5EF4-FFF2-40B4-BE49-F238E27FC236}">
                <a16:creationId xmlns:a16="http://schemas.microsoft.com/office/drawing/2014/main" id="{FC92B2BB-F162-FF40-9373-AD94236FEAD7}"/>
              </a:ext>
            </a:extLst>
          </p:cNvPr>
          <p:cNvCxnSpPr>
            <a:cxnSpLocks/>
            <a:stCxn id="41" idx="3"/>
          </p:cNvCxnSpPr>
          <p:nvPr/>
        </p:nvCxnSpPr>
        <p:spPr>
          <a:xfrm>
            <a:off x="6929100" y="1501232"/>
            <a:ext cx="5680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10" name="Title 5">
            <a:extLst>
              <a:ext uri="{FF2B5EF4-FFF2-40B4-BE49-F238E27FC236}">
                <a16:creationId xmlns:a16="http://schemas.microsoft.com/office/drawing/2014/main" id="{1D582F78-8316-E242-A3B8-2DCBE862FFEC}"/>
              </a:ext>
            </a:extLst>
          </p:cNvPr>
          <p:cNvSpPr>
            <a:spLocks noGrp="1"/>
          </p:cNvSpPr>
          <p:nvPr>
            <p:ph type="title"/>
          </p:nvPr>
        </p:nvSpPr>
        <p:spPr/>
        <p:txBody>
          <a:bodyPr/>
          <a:lstStyle/>
          <a:p>
            <a:r>
              <a:rPr lang="en-US" sz="2400" b="1" dirty="0">
                <a:solidFill>
                  <a:schemeClr val="bg1">
                    <a:lumMod val="75000"/>
                  </a:schemeClr>
                </a:solidFill>
              </a:rPr>
              <a:t>NCS 540 Decision Tree</a:t>
            </a:r>
          </a:p>
        </p:txBody>
      </p:sp>
      <p:pic>
        <p:nvPicPr>
          <p:cNvPr id="53" name="Picture 52">
            <a:extLst>
              <a:ext uri="{FF2B5EF4-FFF2-40B4-BE49-F238E27FC236}">
                <a16:creationId xmlns:a16="http://schemas.microsoft.com/office/drawing/2014/main" id="{E86E49A5-C6A2-F64F-9B9D-697B2246A15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596" y="2657259"/>
            <a:ext cx="436488" cy="436488"/>
          </a:xfrm>
          <a:prstGeom prst="rect">
            <a:avLst/>
          </a:prstGeom>
        </p:spPr>
      </p:pic>
      <p:cxnSp>
        <p:nvCxnSpPr>
          <p:cNvPr id="47" name="Straight Arrow Connector 46">
            <a:extLst>
              <a:ext uri="{FF2B5EF4-FFF2-40B4-BE49-F238E27FC236}">
                <a16:creationId xmlns:a16="http://schemas.microsoft.com/office/drawing/2014/main" id="{8E1775B0-DABA-9C45-8467-CD1D21575F4A}"/>
              </a:ext>
            </a:extLst>
          </p:cNvPr>
          <p:cNvCxnSpPr>
            <a:endCxn id="36" idx="1"/>
          </p:cNvCxnSpPr>
          <p:nvPr/>
        </p:nvCxnSpPr>
        <p:spPr>
          <a:xfrm>
            <a:off x="1252979" y="3123191"/>
            <a:ext cx="21824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Elbow Connector 60">
            <a:extLst>
              <a:ext uri="{FF2B5EF4-FFF2-40B4-BE49-F238E27FC236}">
                <a16:creationId xmlns:a16="http://schemas.microsoft.com/office/drawing/2014/main" id="{C529D475-5F24-844E-A431-B16201246E50}"/>
              </a:ext>
            </a:extLst>
          </p:cNvPr>
          <p:cNvCxnSpPr>
            <a:cxnSpLocks/>
          </p:cNvCxnSpPr>
          <p:nvPr/>
        </p:nvCxnSpPr>
        <p:spPr>
          <a:xfrm>
            <a:off x="2843869" y="1724243"/>
            <a:ext cx="464252" cy="517221"/>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63" name="Elbow Connector 62">
            <a:extLst>
              <a:ext uri="{FF2B5EF4-FFF2-40B4-BE49-F238E27FC236}">
                <a16:creationId xmlns:a16="http://schemas.microsoft.com/office/drawing/2014/main" id="{AABCAB20-6ACB-994F-8DE8-422A901B0CD9}"/>
              </a:ext>
            </a:extLst>
          </p:cNvPr>
          <p:cNvCxnSpPr>
            <a:endCxn id="37" idx="1"/>
          </p:cNvCxnSpPr>
          <p:nvPr/>
        </p:nvCxnSpPr>
        <p:spPr>
          <a:xfrm rot="5400000" flipH="1" flipV="1">
            <a:off x="2957921" y="1375785"/>
            <a:ext cx="460308" cy="236608"/>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43" name="Straight Arrow Connector 42">
            <a:extLst>
              <a:ext uri="{FF2B5EF4-FFF2-40B4-BE49-F238E27FC236}">
                <a16:creationId xmlns:a16="http://schemas.microsoft.com/office/drawing/2014/main" id="{862DB50A-EABC-6146-836D-BD34E93C16E1}"/>
              </a:ext>
            </a:extLst>
          </p:cNvPr>
          <p:cNvCxnSpPr>
            <a:cxnSpLocks/>
            <a:endCxn id="67" idx="1"/>
          </p:cNvCxnSpPr>
          <p:nvPr/>
        </p:nvCxnSpPr>
        <p:spPr>
          <a:xfrm flipV="1">
            <a:off x="4688232" y="2210925"/>
            <a:ext cx="2837785" cy="93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4" name="Straight Arrow Connector 43">
            <a:extLst>
              <a:ext uri="{FF2B5EF4-FFF2-40B4-BE49-F238E27FC236}">
                <a16:creationId xmlns:a16="http://schemas.microsoft.com/office/drawing/2014/main" id="{C295C25F-C472-1049-A5F1-24BCB35FEF98}"/>
              </a:ext>
            </a:extLst>
          </p:cNvPr>
          <p:cNvCxnSpPr>
            <a:cxnSpLocks/>
            <a:endCxn id="68" idx="1"/>
          </p:cNvCxnSpPr>
          <p:nvPr/>
        </p:nvCxnSpPr>
        <p:spPr>
          <a:xfrm>
            <a:off x="4697857" y="3123191"/>
            <a:ext cx="282816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5" name="Straight Arrow Connector 44">
            <a:extLst>
              <a:ext uri="{FF2B5EF4-FFF2-40B4-BE49-F238E27FC236}">
                <a16:creationId xmlns:a16="http://schemas.microsoft.com/office/drawing/2014/main" id="{E3151C33-0686-3D48-A4C3-DBD79876BE30}"/>
              </a:ext>
            </a:extLst>
          </p:cNvPr>
          <p:cNvCxnSpPr>
            <a:cxnSpLocks/>
            <a:endCxn id="69" idx="1"/>
          </p:cNvCxnSpPr>
          <p:nvPr/>
        </p:nvCxnSpPr>
        <p:spPr>
          <a:xfrm>
            <a:off x="4697857" y="4270509"/>
            <a:ext cx="282816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9866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A0CD88F-956E-FB4A-BD6F-7B54BF11F8C1}"/>
              </a:ext>
            </a:extLst>
          </p:cNvPr>
          <p:cNvSpPr/>
          <p:nvPr/>
        </p:nvSpPr>
        <p:spPr>
          <a:xfrm>
            <a:off x="0" y="4762500"/>
            <a:ext cx="1905000" cy="381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287510" y="2369745"/>
            <a:ext cx="3722029" cy="364528"/>
          </a:xfrm>
          <a:prstGeom prst="rect">
            <a:avLst/>
          </a:prstGeom>
        </p:spPr>
      </p:pic>
      <p:pic>
        <p:nvPicPr>
          <p:cNvPr id="15" name="Picture 1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376040" y="1570595"/>
            <a:ext cx="3573029" cy="757327"/>
          </a:xfrm>
          <a:prstGeom prst="rect">
            <a:avLst/>
          </a:prstGeom>
        </p:spPr>
      </p:pic>
      <p:sp>
        <p:nvSpPr>
          <p:cNvPr id="3" name="Title 2"/>
          <p:cNvSpPr>
            <a:spLocks noGrp="1"/>
          </p:cNvSpPr>
          <p:nvPr>
            <p:ph type="title"/>
          </p:nvPr>
        </p:nvSpPr>
        <p:spPr/>
        <p:txBody>
          <a:bodyPr/>
          <a:lstStyle/>
          <a:p>
            <a:pPr defTabSz="684213" eaLnBrk="1" hangingPunct="1">
              <a:defRPr/>
            </a:pPr>
            <a:r>
              <a:rPr lang="en-US" sz="2400" b="1" dirty="0">
                <a:solidFill>
                  <a:schemeClr val="bg1">
                    <a:lumMod val="75000"/>
                  </a:schemeClr>
                </a:solidFill>
                <a:latin typeface="+mj-lt"/>
                <a:ea typeface="ＭＳ Ｐゴシック" charset="0"/>
                <a:cs typeface="CiscoSansTT Thin" charset="0"/>
              </a:rPr>
              <a:t>NCS 540</a:t>
            </a:r>
            <a:endParaRPr lang="cs-CZ" sz="2400" b="1" dirty="0">
              <a:solidFill>
                <a:schemeClr val="bg1">
                  <a:lumMod val="75000"/>
                </a:schemeClr>
              </a:solidFill>
              <a:latin typeface="+mj-lt"/>
              <a:ea typeface="ＭＳ Ｐゴシック" charset="0"/>
              <a:cs typeface="CiscoSansTT Thin" charset="0"/>
            </a:endParaRPr>
          </a:p>
        </p:txBody>
      </p:sp>
      <p:graphicFrame>
        <p:nvGraphicFramePr>
          <p:cNvPr id="5" name="Diagram 4"/>
          <p:cNvGraphicFramePr/>
          <p:nvPr/>
        </p:nvGraphicFramePr>
        <p:xfrm>
          <a:off x="185866" y="837983"/>
          <a:ext cx="5112748" cy="321445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4" name="Picture 13"/>
          <p:cNvPicPr/>
          <p:nvPr/>
        </p:nvPicPr>
        <p:blipFill>
          <a:blip r:embed="rId10" cstate="email">
            <a:extLst>
              <a:ext uri="{28A0092B-C50C-407E-A947-70E740481C1C}">
                <a14:useLocalDpi xmlns:a14="http://schemas.microsoft.com/office/drawing/2010/main"/>
              </a:ext>
            </a:extLst>
          </a:blip>
          <a:srcRect/>
          <a:stretch>
            <a:fillRect/>
          </a:stretch>
        </p:blipFill>
        <p:spPr bwMode="auto">
          <a:xfrm>
            <a:off x="5376040" y="3285998"/>
            <a:ext cx="3573029" cy="1151914"/>
          </a:xfrm>
          <a:prstGeom prst="rect">
            <a:avLst/>
          </a:prstGeom>
          <a:noFill/>
          <a:ln>
            <a:noFill/>
          </a:ln>
        </p:spPr>
      </p:pic>
      <p:pic>
        <p:nvPicPr>
          <p:cNvPr id="7" name="Picture 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376041" y="2765673"/>
            <a:ext cx="3573029" cy="379790"/>
          </a:xfrm>
          <a:prstGeom prst="rect">
            <a:avLst/>
          </a:prstGeom>
        </p:spPr>
      </p:pic>
      <p:graphicFrame>
        <p:nvGraphicFramePr>
          <p:cNvPr id="6" name="Diagram 5"/>
          <p:cNvGraphicFramePr/>
          <p:nvPr/>
        </p:nvGraphicFramePr>
        <p:xfrm>
          <a:off x="296077" y="848067"/>
          <a:ext cx="4890414" cy="407603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9" name="Footer Placeholder 8">
            <a:extLst>
              <a:ext uri="{FF2B5EF4-FFF2-40B4-BE49-F238E27FC236}">
                <a16:creationId xmlns:a16="http://schemas.microsoft.com/office/drawing/2014/main" id="{8BA52CEF-9DE2-3941-8D11-9763CF49083B}"/>
              </a:ext>
            </a:extLst>
          </p:cNvPr>
          <p:cNvSpPr>
            <a:spLocks noGrp="1"/>
          </p:cNvSpPr>
          <p:nvPr>
            <p:ph type="ftr" sz="quarter" idx="10"/>
          </p:nvPr>
        </p:nvSpPr>
        <p:spPr>
          <a:xfrm>
            <a:off x="3809367" y="4946904"/>
            <a:ext cx="1461600" cy="154518"/>
          </a:xfrm>
          <a:prstGeom prst="rect">
            <a:avLst/>
          </a:prstGeom>
          <a:noFill/>
          <a:ln w="9525">
            <a:noFill/>
            <a:miter lim="800000"/>
            <a:headEnd/>
            <a:tailEnd/>
          </a:ln>
          <a:effectLst/>
        </p:spPr>
        <p:txBody>
          <a:bodyPr wrap="square" lIns="61586" tIns="30792" rIns="61586" bIns="30792" anchor="b">
            <a:spAutoFit/>
          </a:bodyPr>
          <a:lstStyle>
            <a:defPPr>
              <a:defRPr lang="en-US"/>
            </a:defPPr>
            <a:lvl1pPr algn="r" defTabSz="457200" rtl="0" fontAlgn="base">
              <a:spcBef>
                <a:spcPct val="0"/>
              </a:spcBef>
              <a:spcAft>
                <a:spcPct val="0"/>
              </a:spcAft>
              <a:defRPr lang="en-US" sz="600" b="0" kern="1200">
                <a:solidFill>
                  <a:srgbClr val="282828"/>
                </a:solidFill>
                <a:latin typeface="Arial" charset="0"/>
                <a:ea typeface="ＭＳ Ｐゴシック" charset="0"/>
                <a:cs typeface="CiscoSans Thin"/>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10744"/>
            <a:r>
              <a:rPr lang="en-CA"/>
              <a:t>BRKSPG-2159</a:t>
            </a:r>
            <a:endParaRPr lang="en-GB" dirty="0"/>
          </a:p>
        </p:txBody>
      </p:sp>
      <p:sp>
        <p:nvSpPr>
          <p:cNvPr id="10" name="Slide Number Placeholder 9">
            <a:extLst>
              <a:ext uri="{FF2B5EF4-FFF2-40B4-BE49-F238E27FC236}">
                <a16:creationId xmlns:a16="http://schemas.microsoft.com/office/drawing/2014/main" id="{D4158299-42A4-2D4F-A7C7-00790B89C7DF}"/>
              </a:ext>
            </a:extLst>
          </p:cNvPr>
          <p:cNvSpPr>
            <a:spLocks noGrp="1"/>
          </p:cNvSpPr>
          <p:nvPr>
            <p:ph type="sldNum" sz="quarter" idx="4"/>
          </p:nvPr>
        </p:nvSpPr>
        <p:spPr/>
        <p:txBody>
          <a:bodyPr/>
          <a:lstStyle/>
          <a:p>
            <a:fld id="{96A97DD0-5BE7-4856-A2A9-C42C6688E607}" type="slidenum">
              <a:rPr lang="en-US" smtClean="0"/>
              <a:pPr/>
              <a:t>56</a:t>
            </a:fld>
            <a:endParaRPr lang="en-US" dirty="0"/>
          </a:p>
        </p:txBody>
      </p:sp>
    </p:spTree>
    <p:extLst>
      <p:ext uri="{BB962C8B-B14F-4D97-AF65-F5344CB8AC3E}">
        <p14:creationId xmlns:p14="http://schemas.microsoft.com/office/powerpoint/2010/main" val="4122498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85866" y="90648"/>
            <a:ext cx="7908518" cy="731837"/>
          </a:xfrm>
        </p:spPr>
        <p:txBody>
          <a:bodyPr/>
          <a:lstStyle/>
          <a:p>
            <a:br>
              <a:rPr lang="en-US" b="1" dirty="0">
                <a:solidFill>
                  <a:schemeClr val="bg1">
                    <a:lumMod val="75000"/>
                  </a:schemeClr>
                </a:solidFill>
              </a:rPr>
            </a:br>
            <a:r>
              <a:rPr lang="en-IN" sz="2400" b="1" dirty="0">
                <a:solidFill>
                  <a:schemeClr val="bg1">
                    <a:lumMod val="75000"/>
                  </a:schemeClr>
                </a:solidFill>
                <a:ea typeface="ＭＳ Ｐゴシック" charset="0"/>
              </a:rPr>
              <a:t>N540X-12Z16G-SYS-A/D (aka Acadia)</a:t>
            </a:r>
            <a:br>
              <a:rPr lang="en-US" sz="2400" b="1" dirty="0">
                <a:solidFill>
                  <a:schemeClr val="bg1">
                    <a:lumMod val="75000"/>
                  </a:schemeClr>
                </a:solidFill>
                <a:ea typeface="ＭＳ Ｐゴシック" charset="0"/>
              </a:rPr>
            </a:br>
            <a:endParaRPr lang="cs-CZ" sz="2400" b="1" dirty="0">
              <a:solidFill>
                <a:schemeClr val="bg1">
                  <a:lumMod val="75000"/>
                </a:schemeClr>
              </a:solidFill>
              <a:ea typeface="ＭＳ Ｐゴシック" charset="0"/>
            </a:endParaRPr>
          </a:p>
        </p:txBody>
      </p:sp>
      <p:graphicFrame>
        <p:nvGraphicFramePr>
          <p:cNvPr id="5" name="Diagram 4"/>
          <p:cNvGraphicFramePr/>
          <p:nvPr/>
        </p:nvGraphicFramePr>
        <p:xfrm>
          <a:off x="185866" y="837983"/>
          <a:ext cx="5112748" cy="3214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289463" y="869408"/>
          <a:ext cx="4905554" cy="35783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3" name="Picture 12" descr="A close up of a window&#10;&#10;Description automatically generated">
            <a:extLst>
              <a:ext uri="{FF2B5EF4-FFF2-40B4-BE49-F238E27FC236}">
                <a16:creationId xmlns:a16="http://schemas.microsoft.com/office/drawing/2014/main" id="{A6AACE1E-21C4-AD43-96F7-895807D83E2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402211" y="2182987"/>
            <a:ext cx="3635099" cy="388763"/>
          </a:xfrm>
          <a:prstGeom prst="rect">
            <a:avLst/>
          </a:prstGeom>
        </p:spPr>
      </p:pic>
      <p:pic>
        <p:nvPicPr>
          <p:cNvPr id="14" name="Picture 13">
            <a:extLst>
              <a:ext uri="{FF2B5EF4-FFF2-40B4-BE49-F238E27FC236}">
                <a16:creationId xmlns:a16="http://schemas.microsoft.com/office/drawing/2014/main" id="{A5058607-077F-D745-B314-FFC3C7929EB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402211" y="2661385"/>
            <a:ext cx="3635099" cy="376254"/>
          </a:xfrm>
          <a:prstGeom prst="rect">
            <a:avLst/>
          </a:prstGeom>
        </p:spPr>
      </p:pic>
      <p:sp>
        <p:nvSpPr>
          <p:cNvPr id="2" name="TextBox 1">
            <a:extLst>
              <a:ext uri="{FF2B5EF4-FFF2-40B4-BE49-F238E27FC236}">
                <a16:creationId xmlns:a16="http://schemas.microsoft.com/office/drawing/2014/main" id="{6153C2E8-85A9-9445-913C-DA5EB15EE1C5}"/>
              </a:ext>
            </a:extLst>
          </p:cNvPr>
          <p:cNvSpPr txBox="1"/>
          <p:nvPr/>
        </p:nvSpPr>
        <p:spPr>
          <a:xfrm>
            <a:off x="6605208" y="3143808"/>
            <a:ext cx="1382486" cy="248236"/>
          </a:xfrm>
          <a:prstGeom prst="rect">
            <a:avLst/>
          </a:prstGeom>
          <a:solidFill>
            <a:schemeClr val="accent1"/>
          </a:solidFill>
        </p:spPr>
        <p:txBody>
          <a:bodyPr wrap="square" rtlCol="0">
            <a:spAutoFit/>
          </a:bodyPr>
          <a:lstStyle/>
          <a:p>
            <a:pPr algn="ctr"/>
            <a:r>
              <a:rPr lang="en-US" sz="1000" dirty="0">
                <a:latin typeface="+mn-lt"/>
              </a:rPr>
              <a:t>AC/DC Variants</a:t>
            </a:r>
          </a:p>
        </p:txBody>
      </p:sp>
    </p:spTree>
    <p:extLst>
      <p:ext uri="{BB962C8B-B14F-4D97-AF65-F5344CB8AC3E}">
        <p14:creationId xmlns:p14="http://schemas.microsoft.com/office/powerpoint/2010/main" val="293722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85866" y="90648"/>
            <a:ext cx="7908518" cy="731837"/>
          </a:xfrm>
        </p:spPr>
        <p:txBody>
          <a:bodyPr/>
          <a:lstStyle/>
          <a:p>
            <a:r>
              <a:rPr lang="en-IN" sz="2400" b="1" dirty="0">
                <a:solidFill>
                  <a:schemeClr val="bg1">
                    <a:lumMod val="75000"/>
                  </a:schemeClr>
                </a:solidFill>
                <a:ea typeface="ＭＳ Ｐゴシック" charset="0"/>
              </a:rPr>
              <a:t>N540X-16Z4G8Q2C-A/D (aka Everglades</a:t>
            </a:r>
            <a:r>
              <a:rPr lang="en-IN" b="1" dirty="0">
                <a:solidFill>
                  <a:schemeClr val="bg1">
                    <a:lumMod val="75000"/>
                  </a:schemeClr>
                </a:solidFill>
              </a:rPr>
              <a:t>)</a:t>
            </a:r>
            <a:endParaRPr lang="cs-CZ" b="1" dirty="0">
              <a:solidFill>
                <a:schemeClr val="bg1">
                  <a:lumMod val="75000"/>
                </a:schemeClr>
              </a:solidFill>
            </a:endParaRPr>
          </a:p>
        </p:txBody>
      </p:sp>
      <p:graphicFrame>
        <p:nvGraphicFramePr>
          <p:cNvPr id="5" name="Diagram 4"/>
          <p:cNvGraphicFramePr/>
          <p:nvPr/>
        </p:nvGraphicFramePr>
        <p:xfrm>
          <a:off x="185866" y="837983"/>
          <a:ext cx="5112748" cy="3214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289463" y="869408"/>
          <a:ext cx="4905554" cy="35783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TextBox 14">
            <a:extLst>
              <a:ext uri="{FF2B5EF4-FFF2-40B4-BE49-F238E27FC236}">
                <a16:creationId xmlns:a16="http://schemas.microsoft.com/office/drawing/2014/main" id="{FFE14A22-25D5-B443-9E7F-61010D0B064E}"/>
              </a:ext>
            </a:extLst>
          </p:cNvPr>
          <p:cNvSpPr txBox="1"/>
          <p:nvPr/>
        </p:nvSpPr>
        <p:spPr>
          <a:xfrm>
            <a:off x="6528517" y="3099159"/>
            <a:ext cx="1382486" cy="248236"/>
          </a:xfrm>
          <a:prstGeom prst="rect">
            <a:avLst/>
          </a:prstGeom>
          <a:solidFill>
            <a:schemeClr val="accent1"/>
          </a:solidFill>
        </p:spPr>
        <p:txBody>
          <a:bodyPr wrap="square" rtlCol="0">
            <a:spAutoFit/>
          </a:bodyPr>
          <a:lstStyle/>
          <a:p>
            <a:pPr algn="ctr"/>
            <a:r>
              <a:rPr lang="en-US" sz="1000" dirty="0">
                <a:latin typeface="+mn-lt"/>
              </a:rPr>
              <a:t>AC/DC Variants</a:t>
            </a:r>
          </a:p>
        </p:txBody>
      </p:sp>
      <p:pic>
        <p:nvPicPr>
          <p:cNvPr id="13" name="Picture 12" descr="A close up of a computer&#10;&#10;Description automatically generated">
            <a:extLst>
              <a:ext uri="{FF2B5EF4-FFF2-40B4-BE49-F238E27FC236}">
                <a16:creationId xmlns:a16="http://schemas.microsoft.com/office/drawing/2014/main" id="{301D1091-E27F-F643-9143-0FEC048E43A0}"/>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298614" y="2000249"/>
            <a:ext cx="3635099" cy="392107"/>
          </a:xfrm>
          <a:prstGeom prst="rect">
            <a:avLst/>
          </a:prstGeom>
        </p:spPr>
      </p:pic>
      <p:pic>
        <p:nvPicPr>
          <p:cNvPr id="14" name="Picture 13" descr="A close up of a computer&#10;&#10;Description automatically generated">
            <a:extLst>
              <a:ext uri="{FF2B5EF4-FFF2-40B4-BE49-F238E27FC236}">
                <a16:creationId xmlns:a16="http://schemas.microsoft.com/office/drawing/2014/main" id="{53F03197-0E67-3645-A925-3D3F391AD7AA}"/>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298614" y="2498254"/>
            <a:ext cx="3635099" cy="389109"/>
          </a:xfrm>
          <a:prstGeom prst="rect">
            <a:avLst/>
          </a:prstGeom>
        </p:spPr>
      </p:pic>
    </p:spTree>
    <p:extLst>
      <p:ext uri="{BB962C8B-B14F-4D97-AF65-F5344CB8AC3E}">
        <p14:creationId xmlns:p14="http://schemas.microsoft.com/office/powerpoint/2010/main" val="315938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85866" y="90648"/>
            <a:ext cx="7908518" cy="731837"/>
          </a:xfrm>
        </p:spPr>
        <p:txBody>
          <a:bodyPr/>
          <a:lstStyle/>
          <a:p>
            <a:r>
              <a:rPr lang="en-IN" sz="2400" b="1" dirty="0">
                <a:solidFill>
                  <a:schemeClr val="bg1">
                    <a:lumMod val="75000"/>
                  </a:schemeClr>
                </a:solidFill>
              </a:rPr>
              <a:t>N540-28Z4C-SYS-A /D</a:t>
            </a:r>
            <a:r>
              <a:rPr lang="en-IN" sz="2400" b="1" dirty="0">
                <a:solidFill>
                  <a:schemeClr val="bg1">
                    <a:lumMod val="75000"/>
                  </a:schemeClr>
                </a:solidFill>
                <a:ea typeface="ＭＳ Ｐゴシック" charset="0"/>
              </a:rPr>
              <a:t> (aka Crater Lake</a:t>
            </a:r>
            <a:r>
              <a:rPr lang="en-IN" sz="2400" b="1" dirty="0">
                <a:solidFill>
                  <a:schemeClr val="bg1">
                    <a:lumMod val="75000"/>
                  </a:schemeClr>
                </a:solidFill>
              </a:rPr>
              <a:t>)</a:t>
            </a:r>
            <a:endParaRPr lang="cs-CZ" sz="2400" b="1" dirty="0">
              <a:solidFill>
                <a:schemeClr val="bg1">
                  <a:lumMod val="75000"/>
                </a:schemeClr>
              </a:solidFill>
            </a:endParaRPr>
          </a:p>
        </p:txBody>
      </p:sp>
      <p:graphicFrame>
        <p:nvGraphicFramePr>
          <p:cNvPr id="5" name="Diagram 4"/>
          <p:cNvGraphicFramePr/>
          <p:nvPr/>
        </p:nvGraphicFramePr>
        <p:xfrm>
          <a:off x="185866" y="837983"/>
          <a:ext cx="5112748" cy="3214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289463" y="869408"/>
          <a:ext cx="4905554" cy="35783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TextBox 14">
            <a:extLst>
              <a:ext uri="{FF2B5EF4-FFF2-40B4-BE49-F238E27FC236}">
                <a16:creationId xmlns:a16="http://schemas.microsoft.com/office/drawing/2014/main" id="{FFE14A22-25D5-B443-9E7F-61010D0B064E}"/>
              </a:ext>
            </a:extLst>
          </p:cNvPr>
          <p:cNvSpPr txBox="1"/>
          <p:nvPr/>
        </p:nvSpPr>
        <p:spPr>
          <a:xfrm>
            <a:off x="6449341" y="3267355"/>
            <a:ext cx="1382486" cy="248236"/>
          </a:xfrm>
          <a:prstGeom prst="rect">
            <a:avLst/>
          </a:prstGeom>
          <a:solidFill>
            <a:schemeClr val="accent1"/>
          </a:solidFill>
        </p:spPr>
        <p:txBody>
          <a:bodyPr wrap="square" rtlCol="0">
            <a:spAutoFit/>
          </a:bodyPr>
          <a:lstStyle/>
          <a:p>
            <a:pPr algn="ctr"/>
            <a:r>
              <a:rPr lang="en-US" sz="1000" dirty="0">
                <a:latin typeface="+mn-lt"/>
              </a:rPr>
              <a:t>AC/DC Variants</a:t>
            </a:r>
          </a:p>
        </p:txBody>
      </p:sp>
      <p:pic>
        <p:nvPicPr>
          <p:cNvPr id="11" name="Picture 10" descr="A close up of a device&#10;&#10;Description automatically generated">
            <a:extLst>
              <a:ext uri="{FF2B5EF4-FFF2-40B4-BE49-F238E27FC236}">
                <a16:creationId xmlns:a16="http://schemas.microsoft.com/office/drawing/2014/main" id="{53B14D71-4581-5B4E-B952-CE83362E8D6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402211" y="2645909"/>
            <a:ext cx="3635099" cy="382800"/>
          </a:xfrm>
          <a:prstGeom prst="rect">
            <a:avLst/>
          </a:prstGeom>
        </p:spPr>
      </p:pic>
      <p:pic>
        <p:nvPicPr>
          <p:cNvPr id="12" name="Picture 11">
            <a:extLst>
              <a:ext uri="{FF2B5EF4-FFF2-40B4-BE49-F238E27FC236}">
                <a16:creationId xmlns:a16="http://schemas.microsoft.com/office/drawing/2014/main" id="{20858F56-45CC-434D-BEEA-E9B50EB52A0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402211" y="2145708"/>
            <a:ext cx="3635099" cy="426042"/>
          </a:xfrm>
          <a:prstGeom prst="rect">
            <a:avLst/>
          </a:prstGeom>
        </p:spPr>
      </p:pic>
    </p:spTree>
    <p:extLst>
      <p:ext uri="{BB962C8B-B14F-4D97-AF65-F5344CB8AC3E}">
        <p14:creationId xmlns:p14="http://schemas.microsoft.com/office/powerpoint/2010/main" val="651971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F38A3-6EBD-4731-8291-1D04E01D33D0}"/>
              </a:ext>
            </a:extLst>
          </p:cNvPr>
          <p:cNvSpPr>
            <a:spLocks noGrp="1"/>
          </p:cNvSpPr>
          <p:nvPr>
            <p:ph type="title"/>
          </p:nvPr>
        </p:nvSpPr>
        <p:spPr/>
        <p:txBody>
          <a:bodyPr/>
          <a:lstStyle/>
          <a:p>
            <a:r>
              <a:rPr lang="en-US" dirty="0"/>
              <a:t>Assumptions</a:t>
            </a:r>
            <a:endParaRPr lang="en-ZA" dirty="0"/>
          </a:p>
        </p:txBody>
      </p:sp>
      <p:sp>
        <p:nvSpPr>
          <p:cNvPr id="11" name="Content Placeholder 2"/>
          <p:cNvSpPr>
            <a:spLocks noGrp="1"/>
          </p:cNvSpPr>
          <p:nvPr>
            <p:ph type="body" sz="quarter" idx="10"/>
          </p:nvPr>
        </p:nvSpPr>
        <p:spPr/>
        <p:txBody>
          <a:bodyPr/>
          <a:lstStyle/>
          <a:p>
            <a:r>
              <a:rPr lang="en-US" dirty="0"/>
              <a:t>Greenfield network.</a:t>
            </a:r>
          </a:p>
          <a:p>
            <a:r>
              <a:rPr lang="en-US" dirty="0"/>
              <a:t>Radio - regulator may grant new entrant the ability to roam on 2G and 3G at a premium, or Vodacom can build out their own RAN.</a:t>
            </a:r>
          </a:p>
          <a:p>
            <a:r>
              <a:rPr lang="en-US" dirty="0"/>
              <a:t>Fibre - should either be leased from Ethiotel, built by Vodacom, or by some 3</a:t>
            </a:r>
            <a:r>
              <a:rPr lang="en-US" baseline="30000" dirty="0"/>
              <a:t>rd</a:t>
            </a:r>
            <a:r>
              <a:rPr lang="en-US" dirty="0"/>
              <a:t> party dark-fibre provider.</a:t>
            </a:r>
          </a:p>
          <a:p>
            <a:r>
              <a:rPr lang="en-US" dirty="0"/>
              <a:t>2G &amp; 3G RAN as well as related core infrastructure such as MSCs/STPs/HSS/MGWs, will be provided through partners.</a:t>
            </a:r>
          </a:p>
          <a:p>
            <a:endParaRPr lang="en-US" dirty="0"/>
          </a:p>
        </p:txBody>
      </p:sp>
      <p:sp>
        <p:nvSpPr>
          <p:cNvPr id="3" name="Rounded Rectangle 7">
            <a:extLst>
              <a:ext uri="{FF2B5EF4-FFF2-40B4-BE49-F238E27FC236}">
                <a16:creationId xmlns:a16="http://schemas.microsoft.com/office/drawing/2014/main" id="{C535F819-429E-4667-8B72-98962CC88D6B}"/>
              </a:ext>
            </a:extLst>
          </p:cNvPr>
          <p:cNvSpPr/>
          <p:nvPr/>
        </p:nvSpPr>
        <p:spPr>
          <a:xfrm>
            <a:off x="372533" y="1022348"/>
            <a:ext cx="8402863" cy="3159579"/>
          </a:xfrm>
          <a:prstGeom prst="roundRect">
            <a:avLst>
              <a:gd name="adj" fmla="val 9528"/>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221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85866" y="90648"/>
            <a:ext cx="7908518" cy="731837"/>
          </a:xfrm>
        </p:spPr>
        <p:txBody>
          <a:bodyPr/>
          <a:lstStyle/>
          <a:p>
            <a:r>
              <a:rPr lang="en-IN" sz="2400" b="1" dirty="0">
                <a:solidFill>
                  <a:schemeClr val="bg1">
                    <a:lumMod val="75000"/>
                  </a:schemeClr>
                </a:solidFill>
              </a:rPr>
              <a:t>N540-12Z20G-SYS-A /D</a:t>
            </a:r>
            <a:r>
              <a:rPr lang="en-IN" sz="2400" b="1" dirty="0">
                <a:solidFill>
                  <a:schemeClr val="bg1">
                    <a:lumMod val="75000"/>
                  </a:schemeClr>
                </a:solidFill>
                <a:ea typeface="ＭＳ Ｐゴシック" charset="0"/>
              </a:rPr>
              <a:t> (aka Denali</a:t>
            </a:r>
            <a:r>
              <a:rPr lang="en-IN" sz="2400" b="1" dirty="0">
                <a:solidFill>
                  <a:schemeClr val="bg1">
                    <a:lumMod val="75000"/>
                  </a:schemeClr>
                </a:solidFill>
              </a:rPr>
              <a:t>)</a:t>
            </a:r>
            <a:endParaRPr lang="cs-CZ" sz="2400" b="1" dirty="0">
              <a:solidFill>
                <a:schemeClr val="bg1">
                  <a:lumMod val="75000"/>
                </a:schemeClr>
              </a:solidFill>
            </a:endParaRPr>
          </a:p>
        </p:txBody>
      </p:sp>
      <p:graphicFrame>
        <p:nvGraphicFramePr>
          <p:cNvPr id="5" name="Diagram 4"/>
          <p:cNvGraphicFramePr/>
          <p:nvPr/>
        </p:nvGraphicFramePr>
        <p:xfrm>
          <a:off x="185866" y="837983"/>
          <a:ext cx="5112748" cy="3214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289463" y="869408"/>
          <a:ext cx="4905554" cy="35783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TextBox 14">
            <a:extLst>
              <a:ext uri="{FF2B5EF4-FFF2-40B4-BE49-F238E27FC236}">
                <a16:creationId xmlns:a16="http://schemas.microsoft.com/office/drawing/2014/main" id="{FFE14A22-25D5-B443-9E7F-61010D0B064E}"/>
              </a:ext>
            </a:extLst>
          </p:cNvPr>
          <p:cNvSpPr txBox="1"/>
          <p:nvPr/>
        </p:nvSpPr>
        <p:spPr>
          <a:xfrm>
            <a:off x="6449341" y="3267355"/>
            <a:ext cx="1382486" cy="248236"/>
          </a:xfrm>
          <a:prstGeom prst="rect">
            <a:avLst/>
          </a:prstGeom>
          <a:solidFill>
            <a:schemeClr val="accent1"/>
          </a:solidFill>
        </p:spPr>
        <p:txBody>
          <a:bodyPr wrap="square" rtlCol="0">
            <a:spAutoFit/>
          </a:bodyPr>
          <a:lstStyle/>
          <a:p>
            <a:pPr algn="ctr"/>
            <a:r>
              <a:rPr lang="en-US" sz="1000" dirty="0">
                <a:latin typeface="+mn-lt"/>
              </a:rPr>
              <a:t>AC/DC Variants</a:t>
            </a:r>
          </a:p>
        </p:txBody>
      </p:sp>
      <p:pic>
        <p:nvPicPr>
          <p:cNvPr id="9" name="Picture 8" descr="A close up of a device&#10;&#10;Description automatically generated">
            <a:extLst>
              <a:ext uri="{FF2B5EF4-FFF2-40B4-BE49-F238E27FC236}">
                <a16:creationId xmlns:a16="http://schemas.microsoft.com/office/drawing/2014/main" id="{F2BE4AD5-AE7B-704A-937A-FD697BF4C13D}"/>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402211" y="2148479"/>
            <a:ext cx="3635099" cy="368190"/>
          </a:xfrm>
          <a:prstGeom prst="rect">
            <a:avLst/>
          </a:prstGeom>
        </p:spPr>
      </p:pic>
      <p:pic>
        <p:nvPicPr>
          <p:cNvPr id="10" name="Picture 9" descr="A close up of a keyboard&#10;&#10;Description automatically generated">
            <a:extLst>
              <a:ext uri="{FF2B5EF4-FFF2-40B4-BE49-F238E27FC236}">
                <a16:creationId xmlns:a16="http://schemas.microsoft.com/office/drawing/2014/main" id="{24A0B57F-45D7-3046-ADED-DE47DC09503A}"/>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402211" y="2658573"/>
            <a:ext cx="3635099" cy="390573"/>
          </a:xfrm>
          <a:prstGeom prst="rect">
            <a:avLst/>
          </a:prstGeom>
        </p:spPr>
      </p:pic>
    </p:spTree>
    <p:extLst>
      <p:ext uri="{BB962C8B-B14F-4D97-AF65-F5344CB8AC3E}">
        <p14:creationId xmlns:p14="http://schemas.microsoft.com/office/powerpoint/2010/main" val="115120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84"/>
          <p:cNvSpPr txBox="1">
            <a:spLocks/>
          </p:cNvSpPr>
          <p:nvPr/>
        </p:nvSpPr>
        <p:spPr bwMode="auto">
          <a:xfrm>
            <a:off x="362204" y="3255590"/>
            <a:ext cx="3827463" cy="18288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a:t>NCS 560 Series Pre-</a:t>
            </a:r>
            <a:r>
              <a:rPr lang="en-US" err="1"/>
              <a:t>Agg</a:t>
            </a:r>
            <a:r>
              <a:rPr lang="en-US"/>
              <a:t> / Aggregation</a:t>
            </a:r>
          </a:p>
        </p:txBody>
      </p:sp>
      <p:grpSp>
        <p:nvGrpSpPr>
          <p:cNvPr id="13" name="Group 12"/>
          <p:cNvGrpSpPr/>
          <p:nvPr/>
        </p:nvGrpSpPr>
        <p:grpSpPr>
          <a:xfrm>
            <a:off x="6393077" y="302107"/>
            <a:ext cx="914011" cy="819869"/>
            <a:chOff x="7306495" y="267381"/>
            <a:chExt cx="914011" cy="819869"/>
          </a:xfrm>
        </p:grpSpPr>
        <p:pic>
          <p:nvPicPr>
            <p:cNvPr id="14" name="Picture 13">
              <a:extLst>
                <a:ext uri="{FF2B5EF4-FFF2-40B4-BE49-F238E27FC236}">
                  <a16:creationId xmlns:a16="http://schemas.microsoft.com/office/drawing/2014/main" id="{B22989E0-EBEA-0A44-8443-3F15084231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31715" y="267381"/>
              <a:ext cx="454460" cy="454460"/>
            </a:xfrm>
            <a:prstGeom prst="rect">
              <a:avLst/>
            </a:prstGeom>
          </p:spPr>
        </p:pic>
        <p:sp>
          <p:nvSpPr>
            <p:cNvPr id="15" name="TextBox 14">
              <a:extLst>
                <a:ext uri="{FF2B5EF4-FFF2-40B4-BE49-F238E27FC236}">
                  <a16:creationId xmlns:a16="http://schemas.microsoft.com/office/drawing/2014/main" id="{56742AE6-9499-4A4D-8233-ABA6C2F04477}"/>
                </a:ext>
              </a:extLst>
            </p:cNvPr>
            <p:cNvSpPr txBox="1"/>
            <p:nvPr/>
          </p:nvSpPr>
          <p:spPr>
            <a:xfrm>
              <a:off x="7306495" y="717918"/>
              <a:ext cx="914011" cy="369332"/>
            </a:xfrm>
            <a:prstGeom prst="rect">
              <a:avLst/>
            </a:prstGeom>
            <a:noFill/>
          </p:spPr>
          <p:txBody>
            <a:bodyPr wrap="square" rtlCol="0">
              <a:spAutoFit/>
            </a:bodyPr>
            <a:lstStyle/>
            <a:p>
              <a:pPr algn="ctr"/>
              <a:r>
                <a:rPr lang="en-US" sz="900" dirty="0">
                  <a:solidFill>
                    <a:schemeClr val="bg1"/>
                  </a:solidFill>
                  <a:latin typeface="+mn-lt"/>
                </a:rPr>
                <a:t>Edge Distribution</a:t>
              </a:r>
            </a:p>
          </p:txBody>
        </p:sp>
      </p:grpSp>
      <p:sp>
        <p:nvSpPr>
          <p:cNvPr id="18" name="Text Placeholder 2"/>
          <p:cNvSpPr txBox="1">
            <a:spLocks/>
          </p:cNvSpPr>
          <p:nvPr/>
        </p:nvSpPr>
        <p:spPr>
          <a:xfrm>
            <a:off x="4914178" y="1307939"/>
            <a:ext cx="3789984" cy="3560902"/>
          </a:xfrm>
          <a:prstGeom prst="rect">
            <a:avLst/>
          </a:prstGeom>
        </p:spPr>
        <p:txBody>
          <a:bodyPr lIns="0" rIns="0" anchor="t" anchorCtr="0"/>
          <a:lstStyle>
            <a:lvl1pPr marL="169863" indent="-169863" algn="l" defTabSz="684213" rtl="0" eaLnBrk="1" fontAlgn="base" hangingPunct="1">
              <a:lnSpc>
                <a:spcPct val="100000"/>
              </a:lnSpc>
              <a:spcBef>
                <a:spcPts val="1075"/>
              </a:spcBef>
              <a:spcAft>
                <a:spcPct val="0"/>
              </a:spcAft>
              <a:buClr>
                <a:schemeClr val="tx1"/>
              </a:buClr>
              <a:buSzPct val="60000"/>
              <a:buFont typeface="Arial" panose="020B0604020202020204" pitchFamily="34" charset="0"/>
              <a:buChar char="•"/>
              <a:tabLst>
                <a:tab pos="228600" algn="l"/>
              </a:tabLst>
              <a:defRPr lang="en-US" sz="2400" kern="1200">
                <a:solidFill>
                  <a:schemeClr val="tx1"/>
                </a:solidFill>
                <a:latin typeface="+mn-lt"/>
                <a:ea typeface="ＭＳ Ｐゴシック" charset="0"/>
                <a:cs typeface="CiscoSans"/>
              </a:defRPr>
            </a:lvl1pPr>
            <a:lvl2pPr marL="346075" indent="-171450" algn="l" defTabSz="684213" rtl="0" eaLnBrk="1" fontAlgn="base" hangingPunct="1">
              <a:lnSpc>
                <a:spcPct val="100000"/>
              </a:lnSpc>
              <a:spcBef>
                <a:spcPts val="600"/>
              </a:spcBef>
              <a:spcAft>
                <a:spcPct val="0"/>
              </a:spcAft>
              <a:buClr>
                <a:schemeClr val="tx1"/>
              </a:buClr>
              <a:buSzPct val="60000"/>
              <a:buFont typeface="Arial" panose="020B0604020202020204" pitchFamily="34" charset="0"/>
              <a:buChar char="•"/>
              <a:defRPr lang="en-US" sz="2400" kern="1200">
                <a:solidFill>
                  <a:schemeClr val="tx1"/>
                </a:solidFill>
                <a:latin typeface="+mn-lt"/>
                <a:ea typeface="ＭＳ Ｐゴシック" charset="0"/>
                <a:cs typeface="CiscoSans"/>
              </a:defRPr>
            </a:lvl2pPr>
            <a:lvl3pPr marL="457200"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2000" kern="1200">
                <a:solidFill>
                  <a:schemeClr val="tx1"/>
                </a:solidFill>
                <a:latin typeface="+mn-lt"/>
                <a:ea typeface="ＭＳ Ｐゴシック" charset="0"/>
                <a:cs typeface="CiscoSans"/>
              </a:defRPr>
            </a:lvl3pPr>
            <a:lvl4pPr marL="574675"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tabLst/>
              <a:defRPr lang="en-US" sz="1800" kern="1200">
                <a:solidFill>
                  <a:schemeClr val="tx1"/>
                </a:solidFill>
                <a:latin typeface="+mn-lt"/>
                <a:ea typeface="ＭＳ Ｐゴシック" charset="0"/>
                <a:cs typeface="CiscoSans"/>
              </a:defRPr>
            </a:lvl4pPr>
            <a:lvl5pPr marL="744538" indent="-112713"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1800" kern="120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sz="2000" b="1" dirty="0"/>
              <a:t>NCS 560 Series</a:t>
            </a:r>
          </a:p>
          <a:p>
            <a:pPr lvl="1">
              <a:lnSpc>
                <a:spcPct val="110000"/>
              </a:lnSpc>
            </a:pPr>
            <a:r>
              <a:rPr lang="en-ZA" sz="1800" dirty="0"/>
              <a:t>Unprecedented capacity, density and scale</a:t>
            </a:r>
          </a:p>
          <a:p>
            <a:pPr lvl="1">
              <a:lnSpc>
                <a:spcPct val="110000"/>
              </a:lnSpc>
            </a:pPr>
            <a:r>
              <a:rPr lang="en-ZA" sz="1800" dirty="0"/>
              <a:t>Carrier Ethernet, Mobile Backhaul, Cable/Remote </a:t>
            </a:r>
            <a:r>
              <a:rPr lang="en-ZA" sz="1800" dirty="0" err="1"/>
              <a:t>Phy</a:t>
            </a:r>
            <a:r>
              <a:rPr lang="en-ZA" sz="1800" dirty="0"/>
              <a:t> and </a:t>
            </a:r>
            <a:r>
              <a:rPr lang="en-ZA" sz="1800" dirty="0" err="1"/>
              <a:t>FTTx</a:t>
            </a:r>
            <a:endParaRPr lang="en-ZA" sz="1800" dirty="0"/>
          </a:p>
          <a:p>
            <a:pPr lvl="1">
              <a:lnSpc>
                <a:spcPct val="110000"/>
              </a:lnSpc>
            </a:pPr>
            <a:r>
              <a:rPr lang="en-ZA" sz="1800" dirty="0"/>
              <a:t>Simplified &amp; application aware networking – Segment Routing</a:t>
            </a:r>
          </a:p>
          <a:p>
            <a:pPr lvl="1">
              <a:lnSpc>
                <a:spcPct val="110000"/>
              </a:lnSpc>
            </a:pPr>
            <a:r>
              <a:rPr lang="en-US" sz="1800" dirty="0"/>
              <a:t>Intent driven automation</a:t>
            </a:r>
          </a:p>
          <a:p>
            <a:pPr lvl="1">
              <a:lnSpc>
                <a:spcPct val="110000"/>
              </a:lnSpc>
            </a:pPr>
            <a:endParaRPr lang="en-US" sz="1800" dirty="0"/>
          </a:p>
        </p:txBody>
      </p:sp>
      <p:grpSp>
        <p:nvGrpSpPr>
          <p:cNvPr id="2" name="Group 1">
            <a:extLst>
              <a:ext uri="{FF2B5EF4-FFF2-40B4-BE49-F238E27FC236}">
                <a16:creationId xmlns:a16="http://schemas.microsoft.com/office/drawing/2014/main" id="{A1FE5209-29A8-4D91-856F-7FA09D5BEE2A}"/>
              </a:ext>
            </a:extLst>
          </p:cNvPr>
          <p:cNvGrpSpPr/>
          <p:nvPr/>
        </p:nvGrpSpPr>
        <p:grpSpPr>
          <a:xfrm>
            <a:off x="950055" y="797076"/>
            <a:ext cx="2651760" cy="2651760"/>
            <a:chOff x="950055" y="797076"/>
            <a:chExt cx="2651760" cy="2651760"/>
          </a:xfrm>
        </p:grpSpPr>
        <p:pic>
          <p:nvPicPr>
            <p:cNvPr id="11" name="Picture 10"/>
            <p:cNvPicPr>
              <a:picLocks noChangeAspect="1"/>
            </p:cNvPicPr>
            <p:nvPr/>
          </p:nvPicPr>
          <p:blipFill>
            <a:blip r:embed="rId4"/>
            <a:stretch>
              <a:fillRect/>
            </a:stretch>
          </p:blipFill>
          <p:spPr>
            <a:xfrm>
              <a:off x="950055" y="797076"/>
              <a:ext cx="2651760" cy="2651760"/>
            </a:xfrm>
            <a:prstGeom prst="rect">
              <a:avLst/>
            </a:prstGeom>
          </p:spPr>
        </p:pic>
        <p:pic>
          <p:nvPicPr>
            <p:cNvPr id="8" name="Picture 7">
              <a:extLst>
                <a:ext uri="{FF2B5EF4-FFF2-40B4-BE49-F238E27FC236}">
                  <a16:creationId xmlns:a16="http://schemas.microsoft.com/office/drawing/2014/main" id="{FB5D7953-04D7-47CA-9DA1-28C4C8F3C166}"/>
                </a:ext>
              </a:extLst>
            </p:cNvPr>
            <p:cNvPicPr>
              <a:picLocks noChangeAspect="1"/>
            </p:cNvPicPr>
            <p:nvPr/>
          </p:nvPicPr>
          <p:blipFill>
            <a:blip r:embed="rId4"/>
            <a:stretch>
              <a:fillRect/>
            </a:stretch>
          </p:blipFill>
          <p:spPr>
            <a:xfrm>
              <a:off x="1317606" y="2158560"/>
              <a:ext cx="611801" cy="611801"/>
            </a:xfrm>
            <a:prstGeom prst="rect">
              <a:avLst/>
            </a:prstGeom>
          </p:spPr>
        </p:pic>
        <p:pic>
          <p:nvPicPr>
            <p:cNvPr id="9" name="Picture 8">
              <a:extLst>
                <a:ext uri="{FF2B5EF4-FFF2-40B4-BE49-F238E27FC236}">
                  <a16:creationId xmlns:a16="http://schemas.microsoft.com/office/drawing/2014/main" id="{3E212F9A-EDE8-4F6C-9831-343EE900D1BC}"/>
                </a:ext>
              </a:extLst>
            </p:cNvPr>
            <p:cNvPicPr>
              <a:picLocks noChangeAspect="1"/>
            </p:cNvPicPr>
            <p:nvPr/>
          </p:nvPicPr>
          <p:blipFill>
            <a:blip r:embed="rId4"/>
            <a:stretch>
              <a:fillRect/>
            </a:stretch>
          </p:blipFill>
          <p:spPr>
            <a:xfrm>
              <a:off x="1997926" y="2571750"/>
              <a:ext cx="600208" cy="600208"/>
            </a:xfrm>
            <a:prstGeom prst="rect">
              <a:avLst/>
            </a:prstGeom>
          </p:spPr>
        </p:pic>
        <p:pic>
          <p:nvPicPr>
            <p:cNvPr id="10" name="Picture 9">
              <a:extLst>
                <a:ext uri="{FF2B5EF4-FFF2-40B4-BE49-F238E27FC236}">
                  <a16:creationId xmlns:a16="http://schemas.microsoft.com/office/drawing/2014/main" id="{783EF4EC-6A30-4093-9CED-E0C2AFD8502B}"/>
                </a:ext>
              </a:extLst>
            </p:cNvPr>
            <p:cNvPicPr>
              <a:picLocks noChangeAspect="1"/>
            </p:cNvPicPr>
            <p:nvPr/>
          </p:nvPicPr>
          <p:blipFill>
            <a:blip r:embed="rId4"/>
            <a:stretch>
              <a:fillRect/>
            </a:stretch>
          </p:blipFill>
          <p:spPr>
            <a:xfrm>
              <a:off x="2678246" y="2158560"/>
              <a:ext cx="611801" cy="611801"/>
            </a:xfrm>
            <a:prstGeom prst="rect">
              <a:avLst/>
            </a:prstGeom>
          </p:spPr>
        </p:pic>
      </p:grpSp>
    </p:spTree>
    <p:extLst>
      <p:ext uri="{BB962C8B-B14F-4D97-AF65-F5344CB8AC3E}">
        <p14:creationId xmlns:p14="http://schemas.microsoft.com/office/powerpoint/2010/main" val="318576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37375" y="147083"/>
            <a:ext cx="8345488" cy="731837"/>
          </a:xfrm>
        </p:spPr>
        <p:txBody>
          <a:bodyPr/>
          <a:lstStyle/>
          <a:p>
            <a:r>
              <a:rPr lang="en-US" dirty="0"/>
              <a:t>Introducing NCS 560</a:t>
            </a:r>
            <a:br>
              <a:rPr lang="en-US" dirty="0"/>
            </a:br>
            <a:r>
              <a:rPr lang="en-US" sz="1800" dirty="0">
                <a:solidFill>
                  <a:schemeClr val="accent1"/>
                </a:solidFill>
              </a:rPr>
              <a:t>Next Generation Modular Aggregation Routers</a:t>
            </a:r>
            <a:endParaRPr lang="en-US" dirty="0">
              <a:solidFill>
                <a:schemeClr val="accent1"/>
              </a:solidFill>
            </a:endParaRPr>
          </a:p>
        </p:txBody>
      </p:sp>
      <p:pic>
        <p:nvPicPr>
          <p:cNvPr id="9" name="Picture 8">
            <a:extLst>
              <a:ext uri="{FF2B5EF4-FFF2-40B4-BE49-F238E27FC236}">
                <a16:creationId xmlns:a16="http://schemas.microsoft.com/office/drawing/2014/main" id="{B122435E-3FB7-0A4C-B456-3A20511A55B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21420000">
            <a:off x="6399620" y="2831562"/>
            <a:ext cx="2248293" cy="1798635"/>
          </a:xfrm>
          <a:prstGeom prst="rect">
            <a:avLst/>
          </a:prstGeom>
        </p:spPr>
      </p:pic>
      <p:pic>
        <p:nvPicPr>
          <p:cNvPr id="5" name="Picture 4">
            <a:extLst>
              <a:ext uri="{FF2B5EF4-FFF2-40B4-BE49-F238E27FC236}">
                <a16:creationId xmlns:a16="http://schemas.microsoft.com/office/drawing/2014/main" id="{124EC6F5-C654-B945-B338-270063481F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24094" y="4913"/>
            <a:ext cx="2724358" cy="2179487"/>
          </a:xfrm>
          <a:prstGeom prst="rect">
            <a:avLst/>
          </a:prstGeom>
        </p:spPr>
      </p:pic>
      <p:pic>
        <p:nvPicPr>
          <p:cNvPr id="11" name="Picture 10">
            <a:extLst>
              <a:ext uri="{FF2B5EF4-FFF2-40B4-BE49-F238E27FC236}">
                <a16:creationId xmlns:a16="http://schemas.microsoft.com/office/drawing/2014/main" id="{0A63EB71-F755-E34A-A48F-C39AE7708B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60000">
            <a:off x="6663433" y="4049919"/>
            <a:ext cx="1539788" cy="1080226"/>
          </a:xfrm>
          <a:prstGeom prst="rect">
            <a:avLst/>
          </a:prstGeom>
        </p:spPr>
      </p:pic>
      <p:sp>
        <p:nvSpPr>
          <p:cNvPr id="5878" name="TextBox 5877"/>
          <p:cNvSpPr txBox="1"/>
          <p:nvPr/>
        </p:nvSpPr>
        <p:spPr>
          <a:xfrm>
            <a:off x="283999" y="945443"/>
            <a:ext cx="6027901" cy="3716009"/>
          </a:xfrm>
          <a:prstGeom prst="rect">
            <a:avLst/>
          </a:prstGeom>
          <a:solidFill>
            <a:schemeClr val="bg2"/>
          </a:solidFill>
        </p:spPr>
        <p:txBody>
          <a:bodyPr wrap="square" lIns="68574" tIns="34288" rIns="68574" bIns="34288" rtlCol="0">
            <a:noAutofit/>
          </a:bodyPr>
          <a:lstStyle/>
          <a:p>
            <a:pPr marL="274320" lvl="0" indent="-285750">
              <a:spcBef>
                <a:spcPts val="600"/>
              </a:spcBef>
              <a:buFont typeface="Arial" panose="020B0604020202020204" pitchFamily="34" charset="0"/>
              <a:buChar char="•"/>
            </a:pPr>
            <a:r>
              <a:rPr lang="en-US" sz="1200" dirty="0">
                <a:solidFill>
                  <a:schemeClr val="accent4">
                    <a:lumMod val="50000"/>
                  </a:schemeClr>
                </a:solidFill>
                <a:latin typeface="+mn-lt"/>
              </a:rPr>
              <a:t>Unprecedented capacity, density and scale</a:t>
            </a:r>
          </a:p>
          <a:p>
            <a:pPr marL="731520" lvl="1" indent="-285750">
              <a:spcBef>
                <a:spcPts val="600"/>
              </a:spcBef>
              <a:buFont typeface="Arial" panose="020B0604020202020204" pitchFamily="34" charset="0"/>
              <a:buChar char="•"/>
            </a:pPr>
            <a:r>
              <a:rPr lang="en-US" sz="1200" dirty="0">
                <a:solidFill>
                  <a:schemeClr val="accent4">
                    <a:lumMod val="50000"/>
                  </a:schemeClr>
                </a:solidFill>
                <a:latin typeface="+mn-lt"/>
              </a:rPr>
              <a:t>Dense combination of 1, 10, 40 &amp; 100G ports</a:t>
            </a:r>
          </a:p>
          <a:p>
            <a:pPr marL="731520" lvl="1" indent="-285750">
              <a:spcBef>
                <a:spcPts val="600"/>
              </a:spcBef>
              <a:buFont typeface="Arial" panose="020B0604020202020204" pitchFamily="34" charset="0"/>
              <a:buChar char="•"/>
            </a:pPr>
            <a:r>
              <a:rPr lang="en-US" sz="1200" dirty="0">
                <a:solidFill>
                  <a:schemeClr val="accent4">
                    <a:lumMod val="50000"/>
                  </a:schemeClr>
                </a:solidFill>
                <a:latin typeface="+mn-lt"/>
              </a:rPr>
              <a:t>Roadmap for 25G ports</a:t>
            </a:r>
          </a:p>
          <a:p>
            <a:pPr marL="731520" lvl="1" indent="-285750">
              <a:spcBef>
                <a:spcPts val="600"/>
              </a:spcBef>
              <a:buFont typeface="Arial" panose="020B0604020202020204" pitchFamily="34" charset="0"/>
              <a:buChar char="•"/>
            </a:pPr>
            <a:r>
              <a:rPr lang="en-US" sz="1200" dirty="0">
                <a:solidFill>
                  <a:schemeClr val="accent4">
                    <a:lumMod val="50000"/>
                  </a:schemeClr>
                </a:solidFill>
                <a:latin typeface="+mn-lt"/>
              </a:rPr>
              <a:t>Roadmap for 100G/200G IPoDWDM</a:t>
            </a:r>
          </a:p>
          <a:p>
            <a:pPr marL="731520" lvl="1" indent="-285750">
              <a:spcBef>
                <a:spcPts val="600"/>
              </a:spcBef>
              <a:buFont typeface="Arial" panose="020B0604020202020204" pitchFamily="34" charset="0"/>
              <a:buChar char="•"/>
            </a:pPr>
            <a:r>
              <a:rPr lang="en-US" sz="1200" dirty="0">
                <a:solidFill>
                  <a:schemeClr val="accent4">
                    <a:lumMod val="50000"/>
                  </a:schemeClr>
                </a:solidFill>
                <a:latin typeface="+mn-lt"/>
              </a:rPr>
              <a:t>lowest power &amp; cost per Gigabit</a:t>
            </a:r>
          </a:p>
          <a:p>
            <a:pPr marL="274320" lvl="0" indent="-285750">
              <a:spcBef>
                <a:spcPts val="600"/>
              </a:spcBef>
              <a:buFont typeface="Arial" panose="020B0604020202020204" pitchFamily="34" charset="0"/>
              <a:buChar char="•"/>
            </a:pPr>
            <a:r>
              <a:rPr lang="en-US" sz="1200" dirty="0">
                <a:solidFill>
                  <a:schemeClr val="accent4">
                    <a:lumMod val="50000"/>
                  </a:schemeClr>
                </a:solidFill>
                <a:latin typeface="+mn-lt"/>
              </a:rPr>
              <a:t>Converged services delivery</a:t>
            </a:r>
          </a:p>
          <a:p>
            <a:pPr marL="731520" lvl="1" indent="-285750">
              <a:spcBef>
                <a:spcPts val="600"/>
              </a:spcBef>
              <a:buFont typeface="Arial" panose="020B0604020202020204" pitchFamily="34" charset="0"/>
              <a:buChar char="•"/>
            </a:pPr>
            <a:r>
              <a:rPr lang="en-US" sz="1200" dirty="0">
                <a:solidFill>
                  <a:schemeClr val="accent4">
                    <a:lumMod val="50000"/>
                  </a:schemeClr>
                </a:solidFill>
                <a:latin typeface="+mn-lt"/>
              </a:rPr>
              <a:t>Carrier Ethernet, Mobile Backhaul, Cable/Remote </a:t>
            </a:r>
            <a:r>
              <a:rPr lang="en-US" sz="1200" dirty="0" err="1">
                <a:solidFill>
                  <a:schemeClr val="accent4">
                    <a:lumMod val="50000"/>
                  </a:schemeClr>
                </a:solidFill>
                <a:latin typeface="+mn-lt"/>
              </a:rPr>
              <a:t>Phy</a:t>
            </a:r>
            <a:r>
              <a:rPr lang="en-US" sz="1200" dirty="0">
                <a:solidFill>
                  <a:schemeClr val="accent4">
                    <a:lumMod val="50000"/>
                  </a:schemeClr>
                </a:solidFill>
                <a:latin typeface="+mn-lt"/>
              </a:rPr>
              <a:t> and </a:t>
            </a:r>
            <a:r>
              <a:rPr lang="en-US" sz="1200" dirty="0" err="1">
                <a:solidFill>
                  <a:schemeClr val="accent4">
                    <a:lumMod val="50000"/>
                  </a:schemeClr>
                </a:solidFill>
                <a:latin typeface="+mn-lt"/>
              </a:rPr>
              <a:t>FTTx</a:t>
            </a:r>
            <a:endParaRPr lang="en-US" sz="1200" dirty="0">
              <a:solidFill>
                <a:schemeClr val="accent4">
                  <a:lumMod val="50000"/>
                </a:schemeClr>
              </a:solidFill>
              <a:latin typeface="+mn-lt"/>
            </a:endParaRPr>
          </a:p>
          <a:p>
            <a:pPr marL="274320" lvl="0" indent="-285750">
              <a:spcBef>
                <a:spcPts val="600"/>
              </a:spcBef>
              <a:buFont typeface="Arial" panose="020B0604020202020204" pitchFamily="34" charset="0"/>
              <a:buChar char="•"/>
            </a:pPr>
            <a:r>
              <a:rPr lang="en-US" sz="1200" dirty="0">
                <a:solidFill>
                  <a:schemeClr val="accent4">
                    <a:lumMod val="50000"/>
                  </a:schemeClr>
                </a:solidFill>
                <a:latin typeface="+mn-lt"/>
              </a:rPr>
              <a:t>Highly secure and available </a:t>
            </a:r>
          </a:p>
          <a:p>
            <a:pPr marL="731520" lvl="1" indent="-285750">
              <a:spcBef>
                <a:spcPts val="600"/>
              </a:spcBef>
              <a:buFont typeface="Arial" panose="020B0604020202020204" pitchFamily="34" charset="0"/>
              <a:buChar char="•"/>
            </a:pPr>
            <a:r>
              <a:rPr lang="en-US" sz="1200" dirty="0">
                <a:solidFill>
                  <a:schemeClr val="accent4">
                    <a:lumMod val="50000"/>
                  </a:schemeClr>
                </a:solidFill>
                <a:latin typeface="+mn-lt"/>
              </a:rPr>
              <a:t>OS developed with critical components to deliver Security, Reliability, Stability</a:t>
            </a:r>
          </a:p>
          <a:p>
            <a:pPr marL="274320" indent="-285750">
              <a:spcBef>
                <a:spcPts val="600"/>
              </a:spcBef>
              <a:buFont typeface="Arial" panose="020B0604020202020204" pitchFamily="34" charset="0"/>
              <a:buChar char="•"/>
            </a:pPr>
            <a:r>
              <a:rPr lang="nl-NL" sz="1200" dirty="0">
                <a:solidFill>
                  <a:schemeClr val="accent4">
                    <a:lumMod val="50000"/>
                  </a:schemeClr>
                </a:solidFill>
                <a:latin typeface="+mn-lt"/>
              </a:rPr>
              <a:t>Simplified </a:t>
            </a:r>
            <a:r>
              <a:rPr lang="en-US" sz="1200" dirty="0">
                <a:solidFill>
                  <a:schemeClr val="accent4">
                    <a:lumMod val="50000"/>
                  </a:schemeClr>
                </a:solidFill>
                <a:latin typeface="+mn-lt"/>
              </a:rPr>
              <a:t>and Programmable</a:t>
            </a:r>
          </a:p>
          <a:p>
            <a:pPr marL="731520" lvl="1" indent="-285750">
              <a:spcBef>
                <a:spcPts val="600"/>
              </a:spcBef>
              <a:buFont typeface="Arial" panose="020B0604020202020204" pitchFamily="34" charset="0"/>
              <a:buChar char="•"/>
            </a:pPr>
            <a:r>
              <a:rPr lang="nl-NL" sz="1200" dirty="0">
                <a:solidFill>
                  <a:schemeClr val="accent4">
                    <a:lumMod val="50000"/>
                  </a:schemeClr>
                </a:solidFill>
                <a:latin typeface="+mn-lt"/>
              </a:rPr>
              <a:t>Simplified &amp; application aware networking – Segment Routing</a:t>
            </a:r>
          </a:p>
          <a:p>
            <a:pPr marL="731520" lvl="1" indent="-285750">
              <a:spcBef>
                <a:spcPts val="600"/>
              </a:spcBef>
              <a:buFont typeface="Arial" panose="020B0604020202020204" pitchFamily="34" charset="0"/>
              <a:buChar char="•"/>
            </a:pPr>
            <a:r>
              <a:rPr lang="nl-NL" sz="1200" dirty="0">
                <a:solidFill>
                  <a:schemeClr val="accent4">
                    <a:lumMod val="50000"/>
                  </a:schemeClr>
                </a:solidFill>
                <a:latin typeface="+mn-lt"/>
              </a:rPr>
              <a:t>Network Programmability – NC/YANG</a:t>
            </a:r>
          </a:p>
          <a:p>
            <a:pPr marL="274320" indent="-285750">
              <a:spcBef>
                <a:spcPts val="600"/>
              </a:spcBef>
              <a:buFont typeface="Arial" panose="020B0604020202020204" pitchFamily="34" charset="0"/>
              <a:buChar char="•"/>
            </a:pPr>
            <a:r>
              <a:rPr lang="nl-NL" sz="1200" dirty="0">
                <a:solidFill>
                  <a:schemeClr val="accent4">
                    <a:lumMod val="50000"/>
                  </a:schemeClr>
                </a:solidFill>
                <a:latin typeface="+mn-lt"/>
              </a:rPr>
              <a:t>Intent driven automation</a:t>
            </a:r>
          </a:p>
          <a:p>
            <a:pPr marL="731520" lvl="1" indent="-285750">
              <a:spcBef>
                <a:spcPts val="600"/>
              </a:spcBef>
              <a:buFont typeface="Arial" panose="020B0604020202020204" pitchFamily="34" charset="0"/>
              <a:buChar char="•"/>
            </a:pPr>
            <a:r>
              <a:rPr lang="nl-NL" sz="1200" dirty="0">
                <a:solidFill>
                  <a:schemeClr val="accent4">
                    <a:lumMod val="50000"/>
                  </a:schemeClr>
                </a:solidFill>
                <a:latin typeface="+mn-lt"/>
              </a:rPr>
              <a:t>‘Open’ infrastructure to deliver automated network &amp; services intent through orchestration</a:t>
            </a:r>
          </a:p>
        </p:txBody>
      </p:sp>
      <p:pic>
        <p:nvPicPr>
          <p:cNvPr id="4" name="Picture 3">
            <a:extLst>
              <a:ext uri="{FF2B5EF4-FFF2-40B4-BE49-F238E27FC236}">
                <a16:creationId xmlns:a16="http://schemas.microsoft.com/office/drawing/2014/main" id="{8FFDD4F8-B907-46C7-8672-4677FA71FDC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870231" y="1969041"/>
            <a:ext cx="3307069" cy="1328415"/>
          </a:xfrm>
          <a:prstGeom prst="rect">
            <a:avLst/>
          </a:prstGeom>
        </p:spPr>
      </p:pic>
    </p:spTree>
    <p:extLst>
      <p:ext uri="{BB962C8B-B14F-4D97-AF65-F5344CB8AC3E}">
        <p14:creationId xmlns:p14="http://schemas.microsoft.com/office/powerpoint/2010/main" val="3105066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85866" y="90648"/>
            <a:ext cx="7908518" cy="731837"/>
          </a:xfrm>
        </p:spPr>
        <p:txBody>
          <a:bodyPr/>
          <a:lstStyle/>
          <a:p>
            <a:r>
              <a:rPr lang="cs-CZ" dirty="0"/>
              <a:t>N</a:t>
            </a:r>
            <a:r>
              <a:rPr lang="nl-NL" dirty="0"/>
              <a:t>CS 560-7 (7RU) </a:t>
            </a:r>
            <a:r>
              <a:rPr lang="nl-NL" dirty="0" err="1"/>
              <a:t>Overview</a:t>
            </a:r>
            <a:endParaRPr lang="cs-CZ" dirty="0"/>
          </a:p>
        </p:txBody>
      </p:sp>
      <p:graphicFrame>
        <p:nvGraphicFramePr>
          <p:cNvPr id="5" name="Diagram 4"/>
          <p:cNvGraphicFramePr/>
          <p:nvPr/>
        </p:nvGraphicFramePr>
        <p:xfrm>
          <a:off x="185866" y="837983"/>
          <a:ext cx="5112748" cy="3214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515533" y="848067"/>
          <a:ext cx="4572000" cy="35783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 name="Picture 7">
            <a:extLst>
              <a:ext uri="{FF2B5EF4-FFF2-40B4-BE49-F238E27FC236}">
                <a16:creationId xmlns:a16="http://schemas.microsoft.com/office/drawing/2014/main" id="{AB1358F6-7723-FF40-A56F-EE8D852FE34A}"/>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rot="21420000">
            <a:off x="6374221" y="2447803"/>
            <a:ext cx="2248293" cy="1798635"/>
          </a:xfrm>
          <a:prstGeom prst="rect">
            <a:avLst/>
          </a:prstGeom>
        </p:spPr>
      </p:pic>
      <p:pic>
        <p:nvPicPr>
          <p:cNvPr id="9" name="Picture 8">
            <a:extLst>
              <a:ext uri="{FF2B5EF4-FFF2-40B4-BE49-F238E27FC236}">
                <a16:creationId xmlns:a16="http://schemas.microsoft.com/office/drawing/2014/main" id="{3B3249E3-DF71-CD4D-825F-469C8E64CE31}"/>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rot="60000">
            <a:off x="6955535" y="3816468"/>
            <a:ext cx="1539788" cy="1080226"/>
          </a:xfrm>
          <a:prstGeom prst="rect">
            <a:avLst/>
          </a:prstGeom>
        </p:spPr>
      </p:pic>
      <p:pic>
        <p:nvPicPr>
          <p:cNvPr id="10" name="Picture 9">
            <a:extLst>
              <a:ext uri="{FF2B5EF4-FFF2-40B4-BE49-F238E27FC236}">
                <a16:creationId xmlns:a16="http://schemas.microsoft.com/office/drawing/2014/main" id="{7444C349-F07D-814E-9EA6-137A287F3373}"/>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821072" y="590129"/>
            <a:ext cx="3045668" cy="2436535"/>
          </a:xfrm>
          <a:prstGeom prst="rect">
            <a:avLst/>
          </a:prstGeom>
        </p:spPr>
      </p:pic>
      <p:sp>
        <p:nvSpPr>
          <p:cNvPr id="11" name="TextBox 10">
            <a:extLst>
              <a:ext uri="{FF2B5EF4-FFF2-40B4-BE49-F238E27FC236}">
                <a16:creationId xmlns:a16="http://schemas.microsoft.com/office/drawing/2014/main" id="{8C41EC86-4935-284F-96C7-11C586583E7D}"/>
              </a:ext>
            </a:extLst>
          </p:cNvPr>
          <p:cNvSpPr txBox="1"/>
          <p:nvPr/>
        </p:nvSpPr>
        <p:spPr>
          <a:xfrm>
            <a:off x="5273902" y="4843045"/>
            <a:ext cx="3870098" cy="200055"/>
          </a:xfrm>
          <a:prstGeom prst="rect">
            <a:avLst/>
          </a:prstGeom>
          <a:noFill/>
        </p:spPr>
        <p:txBody>
          <a:bodyPr wrap="square" rtlCol="0">
            <a:spAutoFit/>
          </a:bodyPr>
          <a:lstStyle/>
          <a:p>
            <a:r>
              <a:rPr lang="en-US" sz="700" dirty="0">
                <a:solidFill>
                  <a:schemeClr val="bg1"/>
                </a:solidFill>
              </a:rPr>
              <a:t>*	Scale targets – To Be Confirmed</a:t>
            </a:r>
          </a:p>
        </p:txBody>
      </p:sp>
      <p:pic>
        <p:nvPicPr>
          <p:cNvPr id="12" name="Picture 11">
            <a:extLst>
              <a:ext uri="{FF2B5EF4-FFF2-40B4-BE49-F238E27FC236}">
                <a16:creationId xmlns:a16="http://schemas.microsoft.com/office/drawing/2014/main" id="{04B05592-500C-9E4E-98CF-4B484B238C58}"/>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476806" y="141402"/>
            <a:ext cx="1502754" cy="546456"/>
          </a:xfrm>
          <a:prstGeom prst="rect">
            <a:avLst/>
          </a:prstGeom>
        </p:spPr>
      </p:pic>
    </p:spTree>
    <p:extLst>
      <p:ext uri="{BB962C8B-B14F-4D97-AF65-F5344CB8AC3E}">
        <p14:creationId xmlns:p14="http://schemas.microsoft.com/office/powerpoint/2010/main" val="16135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85866" y="90648"/>
            <a:ext cx="7908518" cy="731837"/>
          </a:xfrm>
        </p:spPr>
        <p:txBody>
          <a:bodyPr/>
          <a:lstStyle/>
          <a:p>
            <a:r>
              <a:rPr lang="cs-CZ" dirty="0"/>
              <a:t>N</a:t>
            </a:r>
            <a:r>
              <a:rPr lang="nl-NL" dirty="0"/>
              <a:t>CS 560-4 (4RU) </a:t>
            </a:r>
            <a:r>
              <a:rPr lang="nl-NL" dirty="0" err="1"/>
              <a:t>Overview</a:t>
            </a:r>
            <a:endParaRPr lang="cs-CZ" dirty="0"/>
          </a:p>
        </p:txBody>
      </p:sp>
      <p:graphicFrame>
        <p:nvGraphicFramePr>
          <p:cNvPr id="5" name="Diagram 4"/>
          <p:cNvGraphicFramePr/>
          <p:nvPr/>
        </p:nvGraphicFramePr>
        <p:xfrm>
          <a:off x="-40382" y="960534"/>
          <a:ext cx="5112748" cy="3214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517885" y="830918"/>
          <a:ext cx="4572000" cy="35783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 name="Picture 7">
            <a:extLst>
              <a:ext uri="{FF2B5EF4-FFF2-40B4-BE49-F238E27FC236}">
                <a16:creationId xmlns:a16="http://schemas.microsoft.com/office/drawing/2014/main" id="{AB1358F6-7723-FF40-A56F-EE8D852FE34A}"/>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rot="21420000">
            <a:off x="5859017" y="1940598"/>
            <a:ext cx="2688165" cy="2150533"/>
          </a:xfrm>
          <a:prstGeom prst="rect">
            <a:avLst/>
          </a:prstGeom>
        </p:spPr>
      </p:pic>
      <p:pic>
        <p:nvPicPr>
          <p:cNvPr id="9" name="Picture 8">
            <a:extLst>
              <a:ext uri="{FF2B5EF4-FFF2-40B4-BE49-F238E27FC236}">
                <a16:creationId xmlns:a16="http://schemas.microsoft.com/office/drawing/2014/main" id="{3B3249E3-DF71-CD4D-825F-469C8E64CE31}"/>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rot="60000">
            <a:off x="7009248" y="3514209"/>
            <a:ext cx="1608210" cy="1128227"/>
          </a:xfrm>
          <a:prstGeom prst="rect">
            <a:avLst/>
          </a:prstGeom>
        </p:spPr>
      </p:pic>
      <p:sp>
        <p:nvSpPr>
          <p:cNvPr id="10" name="TextBox 9">
            <a:extLst>
              <a:ext uri="{FF2B5EF4-FFF2-40B4-BE49-F238E27FC236}">
                <a16:creationId xmlns:a16="http://schemas.microsoft.com/office/drawing/2014/main" id="{E03F2452-A81F-854A-BD32-2FD6A38F7445}"/>
              </a:ext>
            </a:extLst>
          </p:cNvPr>
          <p:cNvSpPr txBox="1"/>
          <p:nvPr/>
        </p:nvSpPr>
        <p:spPr>
          <a:xfrm>
            <a:off x="5273902" y="4843045"/>
            <a:ext cx="3870098" cy="200055"/>
          </a:xfrm>
          <a:prstGeom prst="rect">
            <a:avLst/>
          </a:prstGeom>
          <a:noFill/>
        </p:spPr>
        <p:txBody>
          <a:bodyPr wrap="square" rtlCol="0">
            <a:spAutoFit/>
          </a:bodyPr>
          <a:lstStyle/>
          <a:p>
            <a:r>
              <a:rPr lang="en-US" sz="700" dirty="0">
                <a:solidFill>
                  <a:schemeClr val="bg1"/>
                </a:solidFill>
              </a:rPr>
              <a:t>*	Scale targets – To Be Confirmed</a:t>
            </a:r>
          </a:p>
        </p:txBody>
      </p:sp>
      <p:pic>
        <p:nvPicPr>
          <p:cNvPr id="11" name="Picture 10">
            <a:extLst>
              <a:ext uri="{FF2B5EF4-FFF2-40B4-BE49-F238E27FC236}">
                <a16:creationId xmlns:a16="http://schemas.microsoft.com/office/drawing/2014/main" id="{ADF47680-1BD3-4514-81D0-F90FA891DCCA}"/>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5283436" y="809181"/>
            <a:ext cx="3860564" cy="1550748"/>
          </a:xfrm>
          <a:prstGeom prst="rect">
            <a:avLst/>
          </a:prstGeom>
        </p:spPr>
      </p:pic>
    </p:spTree>
    <p:extLst>
      <p:ext uri="{BB962C8B-B14F-4D97-AF65-F5344CB8AC3E}">
        <p14:creationId xmlns:p14="http://schemas.microsoft.com/office/powerpoint/2010/main" val="1613873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604" imgH="606" progId="TCLayout.ActiveDocument.1">
                  <p:embed/>
                </p:oleObj>
              </mc:Choice>
              <mc:Fallback>
                <p:oleObj name="think-cell Slide" r:id="rId6" imgW="604" imgH="606"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base"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5073"/>
              </a:solidFill>
              <a:effectLst/>
              <a:uLnTx/>
              <a:uFillTx/>
              <a:latin typeface="CiscoSansTT ExtraLight"/>
              <a:ea typeface="+mn-ea"/>
              <a:cs typeface="+mn-cs"/>
              <a:sym typeface="CiscoSansTT ExtraLight"/>
            </a:endParaRPr>
          </a:p>
        </p:txBody>
      </p:sp>
      <p:sp>
        <p:nvSpPr>
          <p:cNvPr id="4" name="Rounded Rectangle 3"/>
          <p:cNvSpPr/>
          <p:nvPr/>
        </p:nvSpPr>
        <p:spPr>
          <a:xfrm>
            <a:off x="972301" y="2076316"/>
            <a:ext cx="1505298" cy="652796"/>
          </a:xfrm>
          <a:prstGeom prst="roundRect">
            <a:avLst>
              <a:gd name="adj" fmla="val 0"/>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Service</a:t>
            </a:r>
          </a:p>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Orchestration and Programmability</a:t>
            </a:r>
          </a:p>
        </p:txBody>
      </p:sp>
      <p:sp>
        <p:nvSpPr>
          <p:cNvPr id="5" name="Rounded Rectangle 4"/>
          <p:cNvSpPr/>
          <p:nvPr/>
        </p:nvSpPr>
        <p:spPr>
          <a:xfrm>
            <a:off x="972300" y="3029283"/>
            <a:ext cx="1519303" cy="363432"/>
          </a:xfrm>
          <a:prstGeom prst="roundRect">
            <a:avLst>
              <a:gd name="adj" fmla="val 0"/>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Service</a:t>
            </a:r>
          </a:p>
        </p:txBody>
      </p:sp>
      <p:sp>
        <p:nvSpPr>
          <p:cNvPr id="6" name="Rounded Rectangle 5"/>
          <p:cNvSpPr/>
          <p:nvPr/>
        </p:nvSpPr>
        <p:spPr>
          <a:xfrm>
            <a:off x="972301" y="3844939"/>
            <a:ext cx="1519302" cy="405464"/>
          </a:xfrm>
          <a:prstGeom prst="roundRect">
            <a:avLst>
              <a:gd name="adj" fmla="val 0"/>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Transport</a:t>
            </a:r>
          </a:p>
        </p:txBody>
      </p:sp>
      <p:sp>
        <p:nvSpPr>
          <p:cNvPr id="3" name="Rounded Rectangle 2"/>
          <p:cNvSpPr/>
          <p:nvPr/>
        </p:nvSpPr>
        <p:spPr>
          <a:xfrm>
            <a:off x="972300" y="1320025"/>
            <a:ext cx="1431535" cy="497515"/>
          </a:xfrm>
          <a:prstGeom prst="roundRect">
            <a:avLst>
              <a:gd name="adj" fmla="val 0"/>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Converge </a:t>
            </a:r>
          </a:p>
          <a:p>
            <a:pPr marL="3175" marR="0" lvl="0" algn="l" defTabSz="457200" rtl="0" eaLnBrk="1" fontAlgn="base" latinLnBrk="0" hangingPunct="1">
              <a:lnSpc>
                <a:spcPct val="100000"/>
              </a:lnSpc>
              <a:spcBef>
                <a:spcPct val="0"/>
              </a:spcBef>
              <a:spcAft>
                <a:spcPct val="0"/>
              </a:spcAft>
              <a:buClrTx/>
              <a:buSzTx/>
              <a:buFontTx/>
              <a:buNone/>
              <a:defRPr/>
            </a:pPr>
            <a:r>
              <a:rPr kumimoji="0" lang="en-US" sz="1200" u="none" strike="noStrike" kern="1200" cap="none" spc="0" normalizeH="0" baseline="0" noProof="0" dirty="0">
                <a:ln>
                  <a:noFill/>
                </a:ln>
                <a:solidFill>
                  <a:srgbClr val="282828"/>
                </a:solidFill>
                <a:effectLst/>
                <a:uLnTx/>
                <a:uFillTx/>
                <a:latin typeface="CiscoSansTT ExtraLight"/>
                <a:ea typeface="+mn-ea"/>
                <a:cs typeface="+mn-cs"/>
              </a:rPr>
              <a:t>IP + Optical</a:t>
            </a:r>
          </a:p>
        </p:txBody>
      </p:sp>
      <p:sp>
        <p:nvSpPr>
          <p:cNvPr id="13" name="Rectangle 12"/>
          <p:cNvSpPr/>
          <p:nvPr/>
        </p:nvSpPr>
        <p:spPr>
          <a:xfrm>
            <a:off x="2600809" y="1305612"/>
            <a:ext cx="6173007" cy="497732"/>
          </a:xfrm>
          <a:prstGeom prst="roundRect">
            <a:avLst/>
          </a:prstGeom>
          <a:noFill/>
          <a:ln w="12700">
            <a:solidFill>
              <a:schemeClr val="accent1"/>
            </a:solid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5" name="Rectangle 14"/>
          <p:cNvSpPr/>
          <p:nvPr/>
        </p:nvSpPr>
        <p:spPr>
          <a:xfrm>
            <a:off x="2600808" y="3002084"/>
            <a:ext cx="6165348" cy="517296"/>
          </a:xfrm>
          <a:prstGeom prst="roundRect">
            <a:avLst>
              <a:gd name="adj" fmla="val 14550"/>
            </a:avLst>
          </a:prstGeom>
          <a:noFill/>
          <a:ln w="12700">
            <a:solidFill>
              <a:schemeClr val="accent5"/>
            </a:solidFill>
          </a:ln>
          <a:effectLst/>
        </p:spPr>
        <p:style>
          <a:lnRef idx="1">
            <a:schemeClr val="accent5"/>
          </a:lnRef>
          <a:fillRef idx="3">
            <a:schemeClr val="accent5"/>
          </a:fillRef>
          <a:effectRef idx="2">
            <a:schemeClr val="accent5"/>
          </a:effectRef>
          <a:fontRef idx="minor">
            <a:schemeClr val="lt1"/>
          </a:fontRef>
        </p:style>
        <p:txBody>
          <a:bodyPr rtlCol="0" anchor="ctr"/>
          <a:lstStyle/>
          <a:p>
            <a:pPr marL="3175" lvl="3">
              <a:defRPr/>
            </a:pPr>
            <a:r>
              <a:rPr lang="en-US" sz="1200" dirty="0">
                <a:solidFill>
                  <a:schemeClr val="tx1"/>
                </a:solidFill>
              </a:rPr>
              <a:t>Converged Services Layer: Ethernet VPN (EVPN) and L3VPN</a:t>
            </a:r>
          </a:p>
        </p:txBody>
      </p:sp>
      <p:sp>
        <p:nvSpPr>
          <p:cNvPr id="16" name="Rectangle 15"/>
          <p:cNvSpPr/>
          <p:nvPr/>
        </p:nvSpPr>
        <p:spPr>
          <a:xfrm>
            <a:off x="2604626" y="3597507"/>
            <a:ext cx="6153924" cy="652679"/>
          </a:xfrm>
          <a:prstGeom prst="roundRect">
            <a:avLst>
              <a:gd name="adj" fmla="val 9262"/>
            </a:avLst>
          </a:prstGeom>
          <a:noFill/>
          <a:ln w="12700">
            <a:solidFill>
              <a:schemeClr val="accent3"/>
            </a:solidFill>
          </a:ln>
          <a:effectLst/>
        </p:spPr>
        <p:style>
          <a:lnRef idx="1">
            <a:schemeClr val="accent5"/>
          </a:lnRef>
          <a:fillRef idx="3">
            <a:schemeClr val="accent5"/>
          </a:fillRef>
          <a:effectRef idx="2">
            <a:schemeClr val="accent5"/>
          </a:effectRef>
          <a:fontRef idx="minor">
            <a:schemeClr val="lt1"/>
          </a:fontRef>
        </p:style>
        <p:txBody>
          <a:bodyPr rtlCol="0" anchor="ctr"/>
          <a:lstStyle/>
          <a:p>
            <a:pPr marL="3175" lvl="3">
              <a:defRPr/>
            </a:pPr>
            <a:r>
              <a:rPr lang="en-US" sz="1200" dirty="0">
                <a:solidFill>
                  <a:schemeClr val="tx1"/>
                </a:solidFill>
              </a:rPr>
              <a:t>API driven, Intent based, Programmable SR implementation</a:t>
            </a:r>
          </a:p>
          <a:p>
            <a:pPr marL="3175" lvl="3">
              <a:defRPr/>
            </a:pPr>
            <a:r>
              <a:rPr lang="en-US" sz="1200" dirty="0">
                <a:solidFill>
                  <a:schemeClr val="tx1"/>
                </a:solidFill>
              </a:rPr>
              <a:t>SR MPLS or SRv6 based underlay transport foundation</a:t>
            </a:r>
          </a:p>
        </p:txBody>
      </p:sp>
      <p:sp>
        <p:nvSpPr>
          <p:cNvPr id="104" name="Rounded Rectangle 103"/>
          <p:cNvSpPr/>
          <p:nvPr/>
        </p:nvSpPr>
        <p:spPr>
          <a:xfrm>
            <a:off x="2600808" y="1856204"/>
            <a:ext cx="6161561" cy="1090920"/>
          </a:xfrm>
          <a:prstGeom prst="roundRect">
            <a:avLst>
              <a:gd name="adj" fmla="val 7936"/>
            </a:avLst>
          </a:prstGeom>
          <a:noFill/>
          <a:ln w="12700">
            <a:solidFill>
              <a:schemeClr val="accent2"/>
            </a:solidFill>
          </a:ln>
          <a:effectLst/>
        </p:spPr>
        <p:style>
          <a:lnRef idx="1">
            <a:schemeClr val="accent4"/>
          </a:lnRef>
          <a:fillRef idx="3">
            <a:schemeClr val="accent4"/>
          </a:fillRef>
          <a:effectRef idx="2">
            <a:schemeClr val="accent4"/>
          </a:effectRef>
          <a:fontRef idx="minor">
            <a:schemeClr val="lt1"/>
          </a:fontRef>
        </p:style>
        <p:txBody>
          <a:bodyPr rtlCol="0" anchor="ctr"/>
          <a:lstStyle/>
          <a:p>
            <a:pPr marL="3175" lvl="3">
              <a:defRPr/>
            </a:pPr>
            <a:endParaRPr lang="en-US" sz="1200" dirty="0">
              <a:solidFill>
                <a:schemeClr val="tx1"/>
              </a:solidFill>
            </a:endParaRPr>
          </a:p>
        </p:txBody>
      </p:sp>
      <p:sp>
        <p:nvSpPr>
          <p:cNvPr id="11" name="Title 10"/>
          <p:cNvSpPr>
            <a:spLocks noGrp="1"/>
          </p:cNvSpPr>
          <p:nvPr>
            <p:ph type="title"/>
          </p:nvPr>
        </p:nvSpPr>
        <p:spPr/>
        <p:txBody>
          <a:bodyPr/>
          <a:lstStyle/>
          <a:p>
            <a:r>
              <a:rPr lang="en-US" dirty="0"/>
              <a:t>Metro Transport Building Blocks</a:t>
            </a:r>
          </a:p>
        </p:txBody>
      </p:sp>
      <p:pic>
        <p:nvPicPr>
          <p:cNvPr id="74" name="Picture 7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23660" y="2934955"/>
            <a:ext cx="548640" cy="548640"/>
          </a:xfrm>
          <a:prstGeom prst="rect">
            <a:avLst/>
          </a:prstGeom>
        </p:spPr>
      </p:pic>
      <p:pic>
        <p:nvPicPr>
          <p:cNvPr id="75" name="Picture 7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23660" y="2104418"/>
            <a:ext cx="548640" cy="548640"/>
          </a:xfrm>
          <a:prstGeom prst="rect">
            <a:avLst/>
          </a:prstGeom>
        </p:spPr>
      </p:pic>
      <p:pic>
        <p:nvPicPr>
          <p:cNvPr id="76" name="Picture 7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23660" y="3765491"/>
            <a:ext cx="548640" cy="548640"/>
          </a:xfrm>
          <a:prstGeom prst="rect">
            <a:avLst/>
          </a:prstGeom>
        </p:spPr>
      </p:pic>
      <p:sp>
        <p:nvSpPr>
          <p:cNvPr id="77" name="Rounded Rectangle 76"/>
          <p:cNvSpPr/>
          <p:nvPr/>
        </p:nvSpPr>
        <p:spPr>
          <a:xfrm>
            <a:off x="2703590" y="1947021"/>
            <a:ext cx="2344019" cy="402249"/>
          </a:xfrm>
          <a:prstGeom prst="roundRect">
            <a:avLst>
              <a:gd name="adj" fmla="val 50000"/>
            </a:avLst>
          </a:prstGeom>
          <a:solidFill>
            <a:schemeClr val="accent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lvl="0">
              <a:defRPr/>
            </a:pPr>
            <a:r>
              <a:rPr lang="en-US" sz="1050" dirty="0">
                <a:solidFill>
                  <a:srgbClr val="FFFFFF"/>
                </a:solidFill>
              </a:rPr>
              <a:t>Automation Workflow Capability</a:t>
            </a:r>
          </a:p>
        </p:txBody>
      </p:sp>
      <p:sp>
        <p:nvSpPr>
          <p:cNvPr id="81" name="Rounded Rectangle 80"/>
          <p:cNvSpPr/>
          <p:nvPr/>
        </p:nvSpPr>
        <p:spPr>
          <a:xfrm>
            <a:off x="5113382" y="1944556"/>
            <a:ext cx="2344019" cy="402249"/>
          </a:xfrm>
          <a:prstGeom prst="roundRect">
            <a:avLst>
              <a:gd name="adj" fmla="val 50000"/>
            </a:avLst>
          </a:prstGeom>
          <a:solidFill>
            <a:schemeClr val="accent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lvl="0">
              <a:defRPr/>
            </a:pPr>
            <a:r>
              <a:rPr lang="en-US" sz="1050" dirty="0">
                <a:solidFill>
                  <a:srgbClr val="FFFFFF"/>
                </a:solidFill>
              </a:rPr>
              <a:t>Dynamic SW/SR Control</a:t>
            </a:r>
          </a:p>
        </p:txBody>
      </p:sp>
      <p:sp>
        <p:nvSpPr>
          <p:cNvPr id="82" name="Rounded Rectangle 81"/>
          <p:cNvSpPr/>
          <p:nvPr/>
        </p:nvSpPr>
        <p:spPr>
          <a:xfrm>
            <a:off x="2703589" y="2450160"/>
            <a:ext cx="2344019" cy="402249"/>
          </a:xfrm>
          <a:prstGeom prst="roundRect">
            <a:avLst>
              <a:gd name="adj" fmla="val 50000"/>
            </a:avLst>
          </a:prstGeom>
          <a:solidFill>
            <a:schemeClr val="accent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lvl="0">
              <a:defRPr/>
            </a:pPr>
            <a:r>
              <a:rPr lang="en-US" sz="1050" dirty="0">
                <a:solidFill>
                  <a:srgbClr val="FFFFFF"/>
                </a:solidFill>
              </a:rPr>
              <a:t>Real time WAN Traffic </a:t>
            </a:r>
            <a:r>
              <a:rPr lang="en-US" sz="1050" dirty="0" err="1">
                <a:solidFill>
                  <a:srgbClr val="FFFFFF"/>
                </a:solidFill>
              </a:rPr>
              <a:t>Mgmt</a:t>
            </a:r>
            <a:r>
              <a:rPr lang="en-US" sz="1050" dirty="0">
                <a:solidFill>
                  <a:srgbClr val="FFFFFF"/>
                </a:solidFill>
              </a:rPr>
              <a:t> Control</a:t>
            </a:r>
          </a:p>
        </p:txBody>
      </p:sp>
      <p:sp>
        <p:nvSpPr>
          <p:cNvPr id="83" name="Rounded Rectangle 82"/>
          <p:cNvSpPr/>
          <p:nvPr/>
        </p:nvSpPr>
        <p:spPr>
          <a:xfrm>
            <a:off x="5113382" y="2450338"/>
            <a:ext cx="2344019" cy="402249"/>
          </a:xfrm>
          <a:prstGeom prst="roundRect">
            <a:avLst>
              <a:gd name="adj" fmla="val 50000"/>
            </a:avLst>
          </a:prstGeom>
          <a:solidFill>
            <a:schemeClr val="accent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lvl="0">
              <a:defRPr/>
            </a:pPr>
            <a:r>
              <a:rPr lang="en-US" sz="1050" dirty="0">
                <a:solidFill>
                  <a:srgbClr val="FFFFFF"/>
                </a:solidFill>
              </a:rPr>
              <a:t>ML/AI Enhanced </a:t>
            </a:r>
            <a:r>
              <a:rPr lang="en-US" sz="1050" dirty="0" err="1">
                <a:solidFill>
                  <a:srgbClr val="FFFFFF"/>
                </a:solidFill>
              </a:rPr>
              <a:t>Mgmt</a:t>
            </a:r>
            <a:r>
              <a:rPr lang="en-US" sz="1050" dirty="0">
                <a:solidFill>
                  <a:srgbClr val="FFFFFF"/>
                </a:solidFill>
              </a:rPr>
              <a:t> Tools</a:t>
            </a:r>
          </a:p>
        </p:txBody>
      </p:sp>
      <p:pic>
        <p:nvPicPr>
          <p:cNvPr id="26" name="Picture 25">
            <a:extLst>
              <a:ext uri="{FF2B5EF4-FFF2-40B4-BE49-F238E27FC236}">
                <a16:creationId xmlns:a16="http://schemas.microsoft.com/office/drawing/2014/main" id="{D0206A38-5A93-4023-BDE8-D75BB21A298D}"/>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98002" y="1298837"/>
            <a:ext cx="577342" cy="577341"/>
          </a:xfrm>
          <a:prstGeom prst="rect">
            <a:avLst/>
          </a:prstGeom>
        </p:spPr>
      </p:pic>
      <p:sp>
        <p:nvSpPr>
          <p:cNvPr id="10" name="Rectangle 9"/>
          <p:cNvSpPr/>
          <p:nvPr/>
        </p:nvSpPr>
        <p:spPr>
          <a:xfrm>
            <a:off x="2703589" y="1349130"/>
            <a:ext cx="5878436" cy="461665"/>
          </a:xfrm>
          <a:prstGeom prst="rect">
            <a:avLst/>
          </a:prstGeom>
        </p:spPr>
        <p:txBody>
          <a:bodyPr wrap="square">
            <a:spAutoFit/>
          </a:bodyPr>
          <a:lstStyle/>
          <a:p>
            <a:pPr marL="3175" lvl="3">
              <a:defRPr/>
            </a:pPr>
            <a:r>
              <a:rPr lang="en-US" sz="1200" dirty="0">
                <a:latin typeface="+mn-lt"/>
              </a:rPr>
              <a:t>Aggregation &amp; Pre-Aggregation Routers with CFP2 100/200G ports supporting Digital Coherent Optics.   </a:t>
            </a:r>
          </a:p>
        </p:txBody>
      </p:sp>
    </p:spTree>
    <p:extLst>
      <p:ext uri="{BB962C8B-B14F-4D97-AF65-F5344CB8AC3E}">
        <p14:creationId xmlns:p14="http://schemas.microsoft.com/office/powerpoint/2010/main" val="72454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Converged SDN-enabled IP Transport</a:t>
            </a:r>
            <a:endParaRPr lang="en-US" dirty="0">
              <a:solidFill>
                <a:srgbClr val="FF0000"/>
              </a:solidFill>
            </a:endParaRPr>
          </a:p>
        </p:txBody>
      </p:sp>
      <p:grpSp>
        <p:nvGrpSpPr>
          <p:cNvPr id="957" name="Group 956">
            <a:extLst>
              <a:ext uri="{FF2B5EF4-FFF2-40B4-BE49-F238E27FC236}">
                <a16:creationId xmlns:a16="http://schemas.microsoft.com/office/drawing/2014/main" id="{64452086-9719-44DE-8388-739CF1B77595}"/>
              </a:ext>
            </a:extLst>
          </p:cNvPr>
          <p:cNvGrpSpPr/>
          <p:nvPr/>
        </p:nvGrpSpPr>
        <p:grpSpPr>
          <a:xfrm>
            <a:off x="732673" y="1268480"/>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
        <p:nvSpPr>
          <p:cNvPr id="226" name="Rectangle: Rounded Corners 349">
            <a:extLst>
              <a:ext uri="{FF2B5EF4-FFF2-40B4-BE49-F238E27FC236}">
                <a16:creationId xmlns:a16="http://schemas.microsoft.com/office/drawing/2014/main" id="{D1251564-DF79-4FFB-ADD0-871162AA87A4}"/>
              </a:ext>
            </a:extLst>
          </p:cNvPr>
          <p:cNvSpPr/>
          <p:nvPr/>
        </p:nvSpPr>
        <p:spPr>
          <a:xfrm>
            <a:off x="3512" y="3362093"/>
            <a:ext cx="9144000" cy="1791801"/>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27" name="Arrow: Bent 226">
            <a:extLst>
              <a:ext uri="{FF2B5EF4-FFF2-40B4-BE49-F238E27FC236}">
                <a16:creationId xmlns:a16="http://schemas.microsoft.com/office/drawing/2014/main" id="{6D126190-DE9E-4985-9098-7A0C06B9846F}"/>
              </a:ext>
            </a:extLst>
          </p:cNvPr>
          <p:cNvSpPr/>
          <p:nvPr/>
        </p:nvSpPr>
        <p:spPr>
          <a:xfrm rot="10800000">
            <a:off x="6617406" y="4221787"/>
            <a:ext cx="2102707" cy="921713"/>
          </a:xfrm>
          <a:prstGeom prst="bentArrow">
            <a:avLst>
              <a:gd name="adj1" fmla="val 25000"/>
              <a:gd name="adj2" fmla="val 25000"/>
              <a:gd name="adj3" fmla="val 25000"/>
              <a:gd name="adj4" fmla="val 14199"/>
            </a:avLst>
          </a:prstGeom>
          <a:solidFill>
            <a:srgbClr val="00BCEB">
              <a:alpha val="1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228" name="Arrow: Bent 227">
            <a:extLst>
              <a:ext uri="{FF2B5EF4-FFF2-40B4-BE49-F238E27FC236}">
                <a16:creationId xmlns:a16="http://schemas.microsoft.com/office/drawing/2014/main" id="{5A804E31-2368-4115-B08F-69919940B037}"/>
              </a:ext>
            </a:extLst>
          </p:cNvPr>
          <p:cNvSpPr/>
          <p:nvPr/>
        </p:nvSpPr>
        <p:spPr>
          <a:xfrm>
            <a:off x="6568394" y="3597875"/>
            <a:ext cx="2102707" cy="921713"/>
          </a:xfrm>
          <a:prstGeom prst="bentArrow">
            <a:avLst>
              <a:gd name="adj1" fmla="val 25000"/>
              <a:gd name="adj2" fmla="val 25000"/>
              <a:gd name="adj3" fmla="val 25704"/>
              <a:gd name="adj4" fmla="val 14199"/>
            </a:avLst>
          </a:prstGeom>
          <a:solidFill>
            <a:srgbClr val="00BCEB">
              <a:alpha val="1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282828"/>
              </a:solidFill>
              <a:effectLst/>
              <a:uLnTx/>
              <a:uFillTx/>
              <a:latin typeface="CiscoSansTT ExtraLight"/>
              <a:ea typeface="+mn-ea"/>
              <a:cs typeface="+mn-cs"/>
            </a:endParaRPr>
          </a:p>
        </p:txBody>
      </p:sp>
      <p:graphicFrame>
        <p:nvGraphicFramePr>
          <p:cNvPr id="229" name="Table 228">
            <a:extLst>
              <a:ext uri="{FF2B5EF4-FFF2-40B4-BE49-F238E27FC236}">
                <a16:creationId xmlns:a16="http://schemas.microsoft.com/office/drawing/2014/main" id="{85274BA5-EEE4-44C6-8FDB-629D832A042D}"/>
              </a:ext>
            </a:extLst>
          </p:cNvPr>
          <p:cNvGraphicFramePr>
            <a:graphicFrameLocks noGrp="1"/>
          </p:cNvGraphicFramePr>
          <p:nvPr/>
        </p:nvGraphicFramePr>
        <p:xfrm>
          <a:off x="542979" y="3780024"/>
          <a:ext cx="2153678" cy="1112520"/>
        </p:xfrm>
        <a:graphic>
          <a:graphicData uri="http://schemas.openxmlformats.org/drawingml/2006/table">
            <a:tbl>
              <a:tblPr>
                <a:tableStyleId>{C083E6E3-FA7D-4D7B-A595-EF9225AFEA82}</a:tableStyleId>
              </a:tblPr>
              <a:tblGrid>
                <a:gridCol w="1076839">
                  <a:extLst>
                    <a:ext uri="{9D8B030D-6E8A-4147-A177-3AD203B41FA5}">
                      <a16:colId xmlns:a16="http://schemas.microsoft.com/office/drawing/2014/main" val="1669241252"/>
                    </a:ext>
                  </a:extLst>
                </a:gridCol>
                <a:gridCol w="1076839">
                  <a:extLst>
                    <a:ext uri="{9D8B030D-6E8A-4147-A177-3AD203B41FA5}">
                      <a16:colId xmlns:a16="http://schemas.microsoft.com/office/drawing/2014/main" val="3203567132"/>
                    </a:ext>
                  </a:extLst>
                </a:gridCol>
              </a:tblGrid>
              <a:tr h="370840">
                <a:tc>
                  <a:txBody>
                    <a:bodyPr/>
                    <a:lstStyle/>
                    <a:p>
                      <a:r>
                        <a:rPr lang="en-US" sz="800" dirty="0">
                          <a:solidFill>
                            <a:schemeClr val="bg2"/>
                          </a:solidFill>
                        </a:rPr>
                        <a:t>Collaboration Services</a:t>
                      </a:r>
                    </a:p>
                  </a:txBody>
                  <a:tcPr/>
                </a:tc>
                <a:tc>
                  <a:txBody>
                    <a:bodyPr/>
                    <a:lstStyle/>
                    <a:p>
                      <a:r>
                        <a:rPr lang="en-US" sz="800" dirty="0">
                          <a:solidFill>
                            <a:schemeClr val="bg2"/>
                          </a:solidFill>
                        </a:rPr>
                        <a:t>Smart City / </a:t>
                      </a:r>
                      <a:br>
                        <a:rPr lang="en-US" sz="800" dirty="0">
                          <a:solidFill>
                            <a:schemeClr val="bg2"/>
                          </a:solidFill>
                        </a:rPr>
                      </a:br>
                      <a:r>
                        <a:rPr lang="en-US" sz="800" dirty="0" err="1">
                          <a:solidFill>
                            <a:schemeClr val="bg2"/>
                          </a:solidFill>
                        </a:rPr>
                        <a:t>IoT</a:t>
                      </a:r>
                      <a:endParaRPr lang="en-US" sz="800" dirty="0">
                        <a:solidFill>
                          <a:schemeClr val="bg2"/>
                        </a:solidFill>
                      </a:endParaRPr>
                    </a:p>
                  </a:txBody>
                  <a:tcPr/>
                </a:tc>
                <a:extLst>
                  <a:ext uri="{0D108BD9-81ED-4DB2-BD59-A6C34878D82A}">
                    <a16:rowId xmlns:a16="http://schemas.microsoft.com/office/drawing/2014/main" val="1361453354"/>
                  </a:ext>
                </a:extLst>
              </a:tr>
              <a:tr h="370840">
                <a:tc>
                  <a:txBody>
                    <a:bodyPr/>
                    <a:lstStyle/>
                    <a:p>
                      <a:r>
                        <a:rPr lang="en-US" sz="800" dirty="0">
                          <a:solidFill>
                            <a:schemeClr val="bg2"/>
                          </a:solidFill>
                        </a:rPr>
                        <a:t>Security </a:t>
                      </a:r>
                      <a:br>
                        <a:rPr lang="en-US" sz="800" dirty="0">
                          <a:solidFill>
                            <a:schemeClr val="bg2"/>
                          </a:solidFill>
                        </a:rPr>
                      </a:br>
                      <a:r>
                        <a:rPr lang="en-US" sz="800" dirty="0">
                          <a:solidFill>
                            <a:schemeClr val="bg2"/>
                          </a:solidFill>
                        </a:rPr>
                        <a:t>Services</a:t>
                      </a:r>
                    </a:p>
                  </a:txBody>
                  <a:tcPr/>
                </a:tc>
                <a:tc>
                  <a:txBody>
                    <a:bodyPr/>
                    <a:lstStyle/>
                    <a:p>
                      <a:r>
                        <a:rPr lang="en-US" sz="800" dirty="0">
                          <a:solidFill>
                            <a:schemeClr val="bg2"/>
                          </a:solidFill>
                        </a:rPr>
                        <a:t>Enterprise</a:t>
                      </a:r>
                      <a:r>
                        <a:rPr lang="en-US" sz="800" baseline="0" dirty="0">
                          <a:solidFill>
                            <a:schemeClr val="bg2"/>
                          </a:solidFill>
                        </a:rPr>
                        <a:t> / Public Sector Applications</a:t>
                      </a:r>
                      <a:endParaRPr lang="en-US" sz="800" dirty="0">
                        <a:solidFill>
                          <a:schemeClr val="bg2"/>
                        </a:solidFill>
                      </a:endParaRPr>
                    </a:p>
                  </a:txBody>
                  <a:tcPr/>
                </a:tc>
                <a:extLst>
                  <a:ext uri="{0D108BD9-81ED-4DB2-BD59-A6C34878D82A}">
                    <a16:rowId xmlns:a16="http://schemas.microsoft.com/office/drawing/2014/main" val="288228981"/>
                  </a:ext>
                </a:extLst>
              </a:tr>
              <a:tr h="370840">
                <a:tc>
                  <a:txBody>
                    <a:bodyPr/>
                    <a:lstStyle/>
                    <a:p>
                      <a:r>
                        <a:rPr lang="en-US" sz="800" dirty="0">
                          <a:solidFill>
                            <a:schemeClr val="bg2"/>
                          </a:solidFill>
                        </a:rPr>
                        <a:t>AR / VR /</a:t>
                      </a:r>
                      <a:r>
                        <a:rPr lang="en-US" sz="800" baseline="0" dirty="0">
                          <a:solidFill>
                            <a:schemeClr val="bg2"/>
                          </a:solidFill>
                        </a:rPr>
                        <a:t> </a:t>
                      </a:r>
                      <a:br>
                        <a:rPr lang="en-US" sz="800" baseline="0" dirty="0">
                          <a:solidFill>
                            <a:schemeClr val="bg2"/>
                          </a:solidFill>
                        </a:rPr>
                      </a:br>
                      <a:r>
                        <a:rPr lang="en-US" sz="800" baseline="0" dirty="0">
                          <a:solidFill>
                            <a:schemeClr val="bg2"/>
                          </a:solidFill>
                        </a:rPr>
                        <a:t>Gaming</a:t>
                      </a:r>
                      <a:endParaRPr lang="en-US" sz="800" dirty="0">
                        <a:solidFill>
                          <a:schemeClr val="bg2"/>
                        </a:solidFill>
                      </a:endParaRPr>
                    </a:p>
                  </a:txBody>
                  <a:tcPr/>
                </a:tc>
                <a:tc>
                  <a:txBody>
                    <a:bodyPr/>
                    <a:lstStyle/>
                    <a:p>
                      <a:r>
                        <a:rPr lang="en-US" sz="800" dirty="0">
                          <a:solidFill>
                            <a:schemeClr val="bg2"/>
                          </a:solidFill>
                        </a:rPr>
                        <a:t>Legacy</a:t>
                      </a:r>
                      <a:br>
                        <a:rPr lang="en-US" sz="800" dirty="0">
                          <a:solidFill>
                            <a:schemeClr val="bg2"/>
                          </a:solidFill>
                        </a:rPr>
                      </a:br>
                      <a:r>
                        <a:rPr lang="en-US" sz="800" dirty="0">
                          <a:solidFill>
                            <a:schemeClr val="bg2"/>
                          </a:solidFill>
                        </a:rPr>
                        <a:t>Services</a:t>
                      </a:r>
                    </a:p>
                  </a:txBody>
                  <a:tcPr/>
                </a:tc>
                <a:extLst>
                  <a:ext uri="{0D108BD9-81ED-4DB2-BD59-A6C34878D82A}">
                    <a16:rowId xmlns:a16="http://schemas.microsoft.com/office/drawing/2014/main" val="1449680389"/>
                  </a:ext>
                </a:extLst>
              </a:tr>
            </a:tbl>
          </a:graphicData>
        </a:graphic>
      </p:graphicFrame>
      <p:sp>
        <p:nvSpPr>
          <p:cNvPr id="230" name="Rectangle: Rounded Corners 229">
            <a:extLst>
              <a:ext uri="{FF2B5EF4-FFF2-40B4-BE49-F238E27FC236}">
                <a16:creationId xmlns:a16="http://schemas.microsoft.com/office/drawing/2014/main" id="{3E938C49-2C13-4165-B822-D0B50BD7614C}"/>
              </a:ext>
            </a:extLst>
          </p:cNvPr>
          <p:cNvSpPr/>
          <p:nvPr/>
        </p:nvSpPr>
        <p:spPr>
          <a:xfrm>
            <a:off x="1011" y="3073265"/>
            <a:ext cx="9144000" cy="295115"/>
          </a:xfrm>
          <a:prstGeom prst="roundRect">
            <a:avLst>
              <a:gd name="adj"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Converged Network for all Wireline and Wireless Services</a:t>
            </a:r>
          </a:p>
        </p:txBody>
      </p:sp>
      <p:sp>
        <p:nvSpPr>
          <p:cNvPr id="231" name="TextBox 230">
            <a:extLst>
              <a:ext uri="{FF2B5EF4-FFF2-40B4-BE49-F238E27FC236}">
                <a16:creationId xmlns:a16="http://schemas.microsoft.com/office/drawing/2014/main" id="{7E363AC9-FD8D-4C85-A74A-2D9080B492D5}"/>
              </a:ext>
            </a:extLst>
          </p:cNvPr>
          <p:cNvSpPr txBox="1"/>
          <p:nvPr/>
        </p:nvSpPr>
        <p:spPr>
          <a:xfrm>
            <a:off x="70034" y="3394711"/>
            <a:ext cx="2520357"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BAB18"/>
                </a:solidFill>
                <a:effectLst/>
                <a:uLnTx/>
                <a:uFillTx/>
                <a:latin typeface="CiscoSansTT ExtraLight"/>
                <a:ea typeface="ＭＳ Ｐゴシック" charset="0"/>
              </a:rPr>
              <a:t>Any Access - Any Service</a:t>
            </a:r>
          </a:p>
        </p:txBody>
      </p:sp>
      <p:sp>
        <p:nvSpPr>
          <p:cNvPr id="232" name="TextBox 231">
            <a:extLst>
              <a:ext uri="{FF2B5EF4-FFF2-40B4-BE49-F238E27FC236}">
                <a16:creationId xmlns:a16="http://schemas.microsoft.com/office/drawing/2014/main" id="{D128EC69-38C0-4BD2-899B-744975493E65}"/>
              </a:ext>
            </a:extLst>
          </p:cNvPr>
          <p:cNvSpPr txBox="1"/>
          <p:nvPr/>
        </p:nvSpPr>
        <p:spPr>
          <a:xfrm>
            <a:off x="2922835" y="3394711"/>
            <a:ext cx="3108464"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BAB18"/>
                </a:solidFill>
                <a:effectLst/>
                <a:uLnTx/>
                <a:uFillTx/>
                <a:latin typeface="CiscoSansTT ExtraLight"/>
                <a:ea typeface="ＭＳ Ｐゴシック" charset="0"/>
              </a:rPr>
              <a:t>Routing + Optical Convergence</a:t>
            </a:r>
          </a:p>
        </p:txBody>
      </p:sp>
      <p:sp>
        <p:nvSpPr>
          <p:cNvPr id="233" name="TextBox 232">
            <a:extLst>
              <a:ext uri="{FF2B5EF4-FFF2-40B4-BE49-F238E27FC236}">
                <a16:creationId xmlns:a16="http://schemas.microsoft.com/office/drawing/2014/main" id="{841FDA62-B709-4C4D-890F-E96FF9911D90}"/>
              </a:ext>
            </a:extLst>
          </p:cNvPr>
          <p:cNvSpPr txBox="1"/>
          <p:nvPr/>
        </p:nvSpPr>
        <p:spPr>
          <a:xfrm>
            <a:off x="6168811" y="3394711"/>
            <a:ext cx="2905156"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BAB18"/>
                </a:solidFill>
                <a:effectLst/>
                <a:uLnTx/>
                <a:uFillTx/>
                <a:latin typeface="CiscoSansTT ExtraLight"/>
                <a:ea typeface="ＭＳ Ｐゴシック" charset="0"/>
              </a:rPr>
              <a:t>SDN-enabled Service Delivery</a:t>
            </a:r>
          </a:p>
        </p:txBody>
      </p:sp>
      <p:grpSp>
        <p:nvGrpSpPr>
          <p:cNvPr id="234" name="Group 233">
            <a:extLst>
              <a:ext uri="{FF2B5EF4-FFF2-40B4-BE49-F238E27FC236}">
                <a16:creationId xmlns:a16="http://schemas.microsoft.com/office/drawing/2014/main" id="{01919632-CFDA-4935-AB95-C35DB74774B6}"/>
              </a:ext>
            </a:extLst>
          </p:cNvPr>
          <p:cNvGrpSpPr/>
          <p:nvPr/>
        </p:nvGrpSpPr>
        <p:grpSpPr>
          <a:xfrm>
            <a:off x="3175045" y="3834336"/>
            <a:ext cx="2826922" cy="664449"/>
            <a:chOff x="3009763" y="3875253"/>
            <a:chExt cx="2904330" cy="606833"/>
          </a:xfrm>
        </p:grpSpPr>
        <p:grpSp>
          <p:nvGrpSpPr>
            <p:cNvPr id="235" name="Group 234">
              <a:extLst>
                <a:ext uri="{FF2B5EF4-FFF2-40B4-BE49-F238E27FC236}">
                  <a16:creationId xmlns:a16="http://schemas.microsoft.com/office/drawing/2014/main" id="{BB211C37-7746-461C-A3EB-F35D7A24CF1C}"/>
                </a:ext>
              </a:extLst>
            </p:cNvPr>
            <p:cNvGrpSpPr/>
            <p:nvPr/>
          </p:nvGrpSpPr>
          <p:grpSpPr>
            <a:xfrm>
              <a:off x="5360147" y="3932278"/>
              <a:ext cx="553946" cy="502920"/>
              <a:chOff x="3107456" y="1416189"/>
              <a:chExt cx="519429" cy="517682"/>
            </a:xfrm>
            <a:solidFill>
              <a:schemeClr val="bg2"/>
            </a:solidFill>
          </p:grpSpPr>
          <p:sp>
            <p:nvSpPr>
              <p:cNvPr id="271" name="Oval 270">
                <a:extLst>
                  <a:ext uri="{FF2B5EF4-FFF2-40B4-BE49-F238E27FC236}">
                    <a16:creationId xmlns:a16="http://schemas.microsoft.com/office/drawing/2014/main" id="{DFC9988E-6B8A-4154-BEA2-B767C4BF2E61}"/>
                  </a:ext>
                </a:extLst>
              </p:cNvPr>
              <p:cNvSpPr/>
              <p:nvPr/>
            </p:nvSpPr>
            <p:spPr>
              <a:xfrm>
                <a:off x="3107456" y="1416189"/>
                <a:ext cx="519429" cy="51768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72" name="Group 271">
                <a:extLst>
                  <a:ext uri="{FF2B5EF4-FFF2-40B4-BE49-F238E27FC236}">
                    <a16:creationId xmlns:a16="http://schemas.microsoft.com/office/drawing/2014/main" id="{B72D4C75-786A-4AB0-8014-8A13FC7B32CA}"/>
                  </a:ext>
                </a:extLst>
              </p:cNvPr>
              <p:cNvGrpSpPr/>
              <p:nvPr/>
            </p:nvGrpSpPr>
            <p:grpSpPr>
              <a:xfrm rot="5400000">
                <a:off x="3186142" y="1495624"/>
                <a:ext cx="363100" cy="339098"/>
                <a:chOff x="2746951" y="-3197140"/>
                <a:chExt cx="4576546" cy="4274050"/>
              </a:xfrm>
              <a:grpFill/>
            </p:grpSpPr>
            <p:sp>
              <p:nvSpPr>
                <p:cNvPr id="273" name="Freeform: Shape 272">
                  <a:extLst>
                    <a:ext uri="{FF2B5EF4-FFF2-40B4-BE49-F238E27FC236}">
                      <a16:creationId xmlns:a16="http://schemas.microsoft.com/office/drawing/2014/main" id="{2D942994-3FEA-4449-9D41-598B907748D3}"/>
                    </a:ext>
                  </a:extLst>
                </p:cNvPr>
                <p:cNvSpPr/>
                <p:nvPr/>
              </p:nvSpPr>
              <p:spPr>
                <a:xfrm rot="5400000">
                  <a:off x="4602063" y="-3016788"/>
                  <a:ext cx="2153137" cy="1792433"/>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4" name="Freeform: Shape 273">
                  <a:extLst>
                    <a:ext uri="{FF2B5EF4-FFF2-40B4-BE49-F238E27FC236}">
                      <a16:creationId xmlns:a16="http://schemas.microsoft.com/office/drawing/2014/main" id="{18CB3828-571E-47FB-B487-9A458806DD07}"/>
                    </a:ext>
                  </a:extLst>
                </p:cNvPr>
                <p:cNvSpPr/>
                <p:nvPr/>
              </p:nvSpPr>
              <p:spPr>
                <a:xfrm rot="16200000">
                  <a:off x="5350696" y="-895892"/>
                  <a:ext cx="2153145"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5" name="Freeform: Shape 274">
                  <a:extLst>
                    <a:ext uri="{FF2B5EF4-FFF2-40B4-BE49-F238E27FC236}">
                      <a16:creationId xmlns:a16="http://schemas.microsoft.com/office/drawing/2014/main" id="{852999F5-8E52-4EE2-BBE0-9E2622D58AC1}"/>
                    </a:ext>
                  </a:extLst>
                </p:cNvPr>
                <p:cNvSpPr/>
                <p:nvPr/>
              </p:nvSpPr>
              <p:spPr>
                <a:xfrm rot="5400000">
                  <a:off x="2566611" y="-3016793"/>
                  <a:ext cx="2153137"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6" name="Freeform: Shape 275">
                  <a:extLst>
                    <a:ext uri="{FF2B5EF4-FFF2-40B4-BE49-F238E27FC236}">
                      <a16:creationId xmlns:a16="http://schemas.microsoft.com/office/drawing/2014/main" id="{311EEB6A-9635-45F6-8A01-66BF2C1F4165}"/>
                    </a:ext>
                  </a:extLst>
                </p:cNvPr>
                <p:cNvSpPr/>
                <p:nvPr/>
              </p:nvSpPr>
              <p:spPr>
                <a:xfrm rot="16200000">
                  <a:off x="3315258" y="-895895"/>
                  <a:ext cx="2153152"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sp>
          <p:nvSpPr>
            <p:cNvPr id="236" name="Arrow: Right 235">
              <a:extLst>
                <a:ext uri="{FF2B5EF4-FFF2-40B4-BE49-F238E27FC236}">
                  <a16:creationId xmlns:a16="http://schemas.microsoft.com/office/drawing/2014/main" id="{70266483-33C0-4767-AE0D-C80999405A4C}"/>
                </a:ext>
              </a:extLst>
            </p:cNvPr>
            <p:cNvSpPr/>
            <p:nvPr/>
          </p:nvSpPr>
          <p:spPr>
            <a:xfrm>
              <a:off x="3009763" y="3875253"/>
              <a:ext cx="2196713" cy="606833"/>
            </a:xfrm>
            <a:prstGeom prst="rightArrow">
              <a:avLst>
                <a:gd name="adj1" fmla="val 82149"/>
                <a:gd name="adj2" fmla="val 50000"/>
              </a:avLst>
            </a:prstGeom>
            <a:solidFill>
              <a:schemeClr val="bg2">
                <a:alpha val="1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37" name="Group 236">
              <a:extLst>
                <a:ext uri="{FF2B5EF4-FFF2-40B4-BE49-F238E27FC236}">
                  <a16:creationId xmlns:a16="http://schemas.microsoft.com/office/drawing/2014/main" id="{58A7949D-95DA-4574-A724-E99F1DDCA0F0}"/>
                </a:ext>
              </a:extLst>
            </p:cNvPr>
            <p:cNvGrpSpPr/>
            <p:nvPr/>
          </p:nvGrpSpPr>
          <p:grpSpPr>
            <a:xfrm>
              <a:off x="3425189" y="4030780"/>
              <a:ext cx="440538" cy="295778"/>
              <a:chOff x="1434371" y="3498776"/>
              <a:chExt cx="608935" cy="479425"/>
            </a:xfrm>
          </p:grpSpPr>
          <p:grpSp>
            <p:nvGrpSpPr>
              <p:cNvPr id="265" name="Group 264">
                <a:extLst>
                  <a:ext uri="{FF2B5EF4-FFF2-40B4-BE49-F238E27FC236}">
                    <a16:creationId xmlns:a16="http://schemas.microsoft.com/office/drawing/2014/main" id="{5B11D5D3-E6F8-4449-AC19-08F3F66D2629}"/>
                  </a:ext>
                </a:extLst>
              </p:cNvPr>
              <p:cNvGrpSpPr/>
              <p:nvPr/>
            </p:nvGrpSpPr>
            <p:grpSpPr>
              <a:xfrm>
                <a:off x="1434371" y="3498776"/>
                <a:ext cx="608935" cy="479425"/>
                <a:chOff x="1434371" y="3501603"/>
                <a:chExt cx="608935" cy="479425"/>
              </a:xfrm>
            </p:grpSpPr>
            <p:cxnSp>
              <p:nvCxnSpPr>
                <p:cNvPr id="269" name="Straight Connector 268">
                  <a:extLst>
                    <a:ext uri="{FF2B5EF4-FFF2-40B4-BE49-F238E27FC236}">
                      <a16:creationId xmlns:a16="http://schemas.microsoft.com/office/drawing/2014/main" id="{DEFDDDB5-5038-4E22-AA97-9A1E2339B81C}"/>
                    </a:ext>
                  </a:extLst>
                </p:cNvPr>
                <p:cNvCxnSpPr>
                  <a:cxnSpLocks/>
                </p:cNvCxnSpPr>
                <p:nvPr/>
              </p:nvCxnSpPr>
              <p:spPr>
                <a:xfrm>
                  <a:off x="1434371" y="3981028"/>
                  <a:ext cx="608935" cy="0"/>
                </a:xfrm>
                <a:prstGeom prst="line">
                  <a:avLst/>
                </a:prstGeom>
                <a:ln w="22225" cap="rnd">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89265B6E-DB33-4ADA-A79A-1BA37E23B6CE}"/>
                    </a:ext>
                  </a:extLst>
                </p:cNvPr>
                <p:cNvCxnSpPr>
                  <a:cxnSpLocks/>
                </p:cNvCxnSpPr>
                <p:nvPr/>
              </p:nvCxnSpPr>
              <p:spPr>
                <a:xfrm>
                  <a:off x="1434371" y="3501603"/>
                  <a:ext cx="608935" cy="0"/>
                </a:xfrm>
                <a:prstGeom prst="line">
                  <a:avLst/>
                </a:prstGeom>
                <a:ln w="22225" cap="rnd">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6" name="Group 265">
                <a:extLst>
                  <a:ext uri="{FF2B5EF4-FFF2-40B4-BE49-F238E27FC236}">
                    <a16:creationId xmlns:a16="http://schemas.microsoft.com/office/drawing/2014/main" id="{D0C19952-3C99-4264-8A43-2C6CD0A1657F}"/>
                  </a:ext>
                </a:extLst>
              </p:cNvPr>
              <p:cNvGrpSpPr/>
              <p:nvPr/>
            </p:nvGrpSpPr>
            <p:grpSpPr>
              <a:xfrm>
                <a:off x="1434371" y="3634741"/>
                <a:ext cx="608935" cy="207496"/>
                <a:chOff x="1434371" y="3501603"/>
                <a:chExt cx="608935" cy="479425"/>
              </a:xfrm>
            </p:grpSpPr>
            <p:cxnSp>
              <p:nvCxnSpPr>
                <p:cNvPr id="267" name="Straight Connector 266">
                  <a:extLst>
                    <a:ext uri="{FF2B5EF4-FFF2-40B4-BE49-F238E27FC236}">
                      <a16:creationId xmlns:a16="http://schemas.microsoft.com/office/drawing/2014/main" id="{B8DF5A7C-BCF9-40D0-BE6A-70FA65465C04}"/>
                    </a:ext>
                  </a:extLst>
                </p:cNvPr>
                <p:cNvCxnSpPr>
                  <a:cxnSpLocks/>
                </p:cNvCxnSpPr>
                <p:nvPr/>
              </p:nvCxnSpPr>
              <p:spPr>
                <a:xfrm>
                  <a:off x="1434371" y="3981028"/>
                  <a:ext cx="608935" cy="0"/>
                </a:xfrm>
                <a:prstGeom prst="line">
                  <a:avLst/>
                </a:prstGeom>
                <a:ln w="22225" cap="rnd">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532FCDA8-7555-44F2-BA2C-51D7E72291A8}"/>
                    </a:ext>
                  </a:extLst>
                </p:cNvPr>
                <p:cNvCxnSpPr>
                  <a:cxnSpLocks/>
                </p:cNvCxnSpPr>
                <p:nvPr/>
              </p:nvCxnSpPr>
              <p:spPr>
                <a:xfrm>
                  <a:off x="1434371" y="3501603"/>
                  <a:ext cx="608935" cy="0"/>
                </a:xfrm>
                <a:prstGeom prst="line">
                  <a:avLst/>
                </a:prstGeom>
                <a:ln w="22225" cap="rnd">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38" name="Group 237">
              <a:extLst>
                <a:ext uri="{FF2B5EF4-FFF2-40B4-BE49-F238E27FC236}">
                  <a16:creationId xmlns:a16="http://schemas.microsoft.com/office/drawing/2014/main" id="{BE701F0F-AC62-4991-BF80-D2E6F637032F}"/>
                </a:ext>
              </a:extLst>
            </p:cNvPr>
            <p:cNvGrpSpPr/>
            <p:nvPr/>
          </p:nvGrpSpPr>
          <p:grpSpPr>
            <a:xfrm>
              <a:off x="4168510" y="4030780"/>
              <a:ext cx="592037" cy="295778"/>
              <a:chOff x="2461828" y="3498776"/>
              <a:chExt cx="818344" cy="479425"/>
            </a:xfrm>
          </p:grpSpPr>
          <p:cxnSp>
            <p:nvCxnSpPr>
              <p:cNvPr id="259" name="Straight Connector 258">
                <a:extLst>
                  <a:ext uri="{FF2B5EF4-FFF2-40B4-BE49-F238E27FC236}">
                    <a16:creationId xmlns:a16="http://schemas.microsoft.com/office/drawing/2014/main" id="{362368A0-4A88-4DD7-8BC1-79BB505281F7}"/>
                  </a:ext>
                </a:extLst>
              </p:cNvPr>
              <p:cNvCxnSpPr>
                <a:cxnSpLocks/>
              </p:cNvCxnSpPr>
              <p:nvPr/>
            </p:nvCxnSpPr>
            <p:spPr>
              <a:xfrm flipV="1">
                <a:off x="2461828" y="3745706"/>
                <a:ext cx="813581" cy="232495"/>
              </a:xfrm>
              <a:prstGeom prst="line">
                <a:avLst/>
              </a:prstGeom>
              <a:ln w="22225"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61AB16CD-DE4D-42E3-AFDD-2A05DC8B5811}"/>
                  </a:ext>
                </a:extLst>
              </p:cNvPr>
              <p:cNvCxnSpPr>
                <a:cxnSpLocks/>
              </p:cNvCxnSpPr>
              <p:nvPr/>
            </p:nvCxnSpPr>
            <p:spPr>
              <a:xfrm>
                <a:off x="2461828" y="3498776"/>
                <a:ext cx="818344" cy="239787"/>
              </a:xfrm>
              <a:prstGeom prst="line">
                <a:avLst/>
              </a:prstGeom>
              <a:ln w="22225"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09494DDF-1473-4562-9649-B39F3325EE56}"/>
                  </a:ext>
                </a:extLst>
              </p:cNvPr>
              <p:cNvCxnSpPr>
                <a:cxnSpLocks/>
              </p:cNvCxnSpPr>
              <p:nvPr/>
            </p:nvCxnSpPr>
            <p:spPr>
              <a:xfrm flipV="1">
                <a:off x="2461828" y="3742134"/>
                <a:ext cx="808819" cy="100103"/>
              </a:xfrm>
              <a:prstGeom prst="line">
                <a:avLst/>
              </a:prstGeom>
              <a:ln w="22225"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919EFF2F-6212-4EAD-A8E1-CE14CC6E1F05}"/>
                  </a:ext>
                </a:extLst>
              </p:cNvPr>
              <p:cNvCxnSpPr>
                <a:cxnSpLocks/>
              </p:cNvCxnSpPr>
              <p:nvPr/>
            </p:nvCxnSpPr>
            <p:spPr>
              <a:xfrm>
                <a:off x="2461828" y="3634741"/>
                <a:ext cx="817153" cy="103822"/>
              </a:xfrm>
              <a:prstGeom prst="line">
                <a:avLst/>
              </a:prstGeom>
              <a:ln w="22225"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39" name="Group 238">
              <a:extLst>
                <a:ext uri="{FF2B5EF4-FFF2-40B4-BE49-F238E27FC236}">
                  <a16:creationId xmlns:a16="http://schemas.microsoft.com/office/drawing/2014/main" id="{FDCD50CF-5892-42B5-AF5E-328357AFC7D5}"/>
                </a:ext>
              </a:extLst>
            </p:cNvPr>
            <p:cNvGrpSpPr/>
            <p:nvPr/>
          </p:nvGrpSpPr>
          <p:grpSpPr>
            <a:xfrm>
              <a:off x="3036114" y="3975980"/>
              <a:ext cx="475366" cy="405378"/>
              <a:chOff x="3119641" y="1416189"/>
              <a:chExt cx="507244" cy="507244"/>
            </a:xfrm>
          </p:grpSpPr>
          <p:sp>
            <p:nvSpPr>
              <p:cNvPr id="249" name="Oval 248">
                <a:extLst>
                  <a:ext uri="{FF2B5EF4-FFF2-40B4-BE49-F238E27FC236}">
                    <a16:creationId xmlns:a16="http://schemas.microsoft.com/office/drawing/2014/main" id="{E7743CB9-0B11-40F6-BDDA-E9913DD4F676}"/>
                  </a:ext>
                </a:extLst>
              </p:cNvPr>
              <p:cNvSpPr/>
              <p:nvPr/>
            </p:nvSpPr>
            <p:spPr>
              <a:xfrm>
                <a:off x="3119641" y="1416189"/>
                <a:ext cx="507244" cy="507244"/>
              </a:xfrm>
              <a:prstGeom prst="ellipse">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50" name="Group 249">
                <a:extLst>
                  <a:ext uri="{FF2B5EF4-FFF2-40B4-BE49-F238E27FC236}">
                    <a16:creationId xmlns:a16="http://schemas.microsoft.com/office/drawing/2014/main" id="{0700FFCB-B1C3-44AE-B268-2987CB46FEC9}"/>
                  </a:ext>
                </a:extLst>
              </p:cNvPr>
              <p:cNvGrpSpPr/>
              <p:nvPr/>
            </p:nvGrpSpPr>
            <p:grpSpPr>
              <a:xfrm rot="5400000">
                <a:off x="3186142" y="1495624"/>
                <a:ext cx="363100" cy="339098"/>
                <a:chOff x="2746951" y="-3197140"/>
                <a:chExt cx="4576546" cy="4274050"/>
              </a:xfrm>
              <a:solidFill>
                <a:schemeClr val="bg2"/>
              </a:solidFill>
            </p:grpSpPr>
            <p:sp>
              <p:nvSpPr>
                <p:cNvPr id="251" name="Freeform: Shape 250">
                  <a:extLst>
                    <a:ext uri="{FF2B5EF4-FFF2-40B4-BE49-F238E27FC236}">
                      <a16:creationId xmlns:a16="http://schemas.microsoft.com/office/drawing/2014/main" id="{CC6C7133-8571-4F31-AFEA-445EB05CFDB9}"/>
                    </a:ext>
                  </a:extLst>
                </p:cNvPr>
                <p:cNvSpPr/>
                <p:nvPr/>
              </p:nvSpPr>
              <p:spPr>
                <a:xfrm rot="5400000">
                  <a:off x="4602063" y="-3016788"/>
                  <a:ext cx="2153137" cy="1792433"/>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52" name="Freeform: Shape 251">
                  <a:extLst>
                    <a:ext uri="{FF2B5EF4-FFF2-40B4-BE49-F238E27FC236}">
                      <a16:creationId xmlns:a16="http://schemas.microsoft.com/office/drawing/2014/main" id="{4D8DBC7F-797E-4A58-B8EC-99BABF7C8F8D}"/>
                    </a:ext>
                  </a:extLst>
                </p:cNvPr>
                <p:cNvSpPr/>
                <p:nvPr/>
              </p:nvSpPr>
              <p:spPr>
                <a:xfrm rot="16200000">
                  <a:off x="5350696" y="-895892"/>
                  <a:ext cx="2153145"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53" name="Freeform: Shape 252">
                  <a:extLst>
                    <a:ext uri="{FF2B5EF4-FFF2-40B4-BE49-F238E27FC236}">
                      <a16:creationId xmlns:a16="http://schemas.microsoft.com/office/drawing/2014/main" id="{36413D0B-0C7F-466B-9C67-B1DBF419CD0F}"/>
                    </a:ext>
                  </a:extLst>
                </p:cNvPr>
                <p:cNvSpPr/>
                <p:nvPr/>
              </p:nvSpPr>
              <p:spPr>
                <a:xfrm rot="5400000">
                  <a:off x="2566611" y="-3016793"/>
                  <a:ext cx="2153137"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54" name="Freeform: Shape 253">
                  <a:extLst>
                    <a:ext uri="{FF2B5EF4-FFF2-40B4-BE49-F238E27FC236}">
                      <a16:creationId xmlns:a16="http://schemas.microsoft.com/office/drawing/2014/main" id="{F5E2F333-0376-442B-A9A4-F35ED460C3CC}"/>
                    </a:ext>
                  </a:extLst>
                </p:cNvPr>
                <p:cNvSpPr/>
                <p:nvPr/>
              </p:nvSpPr>
              <p:spPr>
                <a:xfrm rot="16200000">
                  <a:off x="3315258" y="-895895"/>
                  <a:ext cx="2153152" cy="1792457"/>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grpSp>
          <p:nvGrpSpPr>
            <p:cNvPr id="240" name="Group 239">
              <a:extLst>
                <a:ext uri="{FF2B5EF4-FFF2-40B4-BE49-F238E27FC236}">
                  <a16:creationId xmlns:a16="http://schemas.microsoft.com/office/drawing/2014/main" id="{BA7F3710-BA40-4011-9C81-0C154A14F7EF}"/>
                </a:ext>
              </a:extLst>
            </p:cNvPr>
            <p:cNvGrpSpPr/>
            <p:nvPr/>
          </p:nvGrpSpPr>
          <p:grpSpPr>
            <a:xfrm>
              <a:off x="3779436" y="3975980"/>
              <a:ext cx="475366" cy="405378"/>
              <a:chOff x="1224607" y="3805450"/>
              <a:chExt cx="433812" cy="433812"/>
            </a:xfrm>
          </p:grpSpPr>
          <p:sp>
            <p:nvSpPr>
              <p:cNvPr id="244" name="Oval 243">
                <a:extLst>
                  <a:ext uri="{FF2B5EF4-FFF2-40B4-BE49-F238E27FC236}">
                    <a16:creationId xmlns:a16="http://schemas.microsoft.com/office/drawing/2014/main" id="{9932DC3D-7F55-4B36-9D99-B206C804E702}"/>
                  </a:ext>
                </a:extLst>
              </p:cNvPr>
              <p:cNvSpPr/>
              <p:nvPr/>
            </p:nvSpPr>
            <p:spPr>
              <a:xfrm>
                <a:off x="1224607" y="3805450"/>
                <a:ext cx="433812" cy="433812"/>
              </a:xfrm>
              <a:prstGeom prst="ellipse">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45" name="Freeform: Shape 244">
                <a:extLst>
                  <a:ext uri="{FF2B5EF4-FFF2-40B4-BE49-F238E27FC236}">
                    <a16:creationId xmlns:a16="http://schemas.microsoft.com/office/drawing/2014/main" id="{15AC2BF3-10E1-4545-BC3B-AF8F5E7ED4A6}"/>
                  </a:ext>
                </a:extLst>
              </p:cNvPr>
              <p:cNvSpPr/>
              <p:nvPr/>
            </p:nvSpPr>
            <p:spPr>
              <a:xfrm rot="8100000">
                <a:off x="1433937" y="3896072"/>
                <a:ext cx="146098" cy="121623"/>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46" name="Freeform: Shape 245">
                <a:extLst>
                  <a:ext uri="{FF2B5EF4-FFF2-40B4-BE49-F238E27FC236}">
                    <a16:creationId xmlns:a16="http://schemas.microsoft.com/office/drawing/2014/main" id="{16D43E14-9B8D-4C89-94FC-16F1C80256B8}"/>
                  </a:ext>
                </a:extLst>
              </p:cNvPr>
              <p:cNvSpPr/>
              <p:nvPr/>
            </p:nvSpPr>
            <p:spPr>
              <a:xfrm rot="18900000">
                <a:off x="1302990" y="4027019"/>
                <a:ext cx="146098" cy="121623"/>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47" name="Freeform: Shape 246">
                <a:extLst>
                  <a:ext uri="{FF2B5EF4-FFF2-40B4-BE49-F238E27FC236}">
                    <a16:creationId xmlns:a16="http://schemas.microsoft.com/office/drawing/2014/main" id="{08053A5E-B717-4B9D-93F3-36AABF095506}"/>
                  </a:ext>
                </a:extLst>
              </p:cNvPr>
              <p:cNvSpPr/>
              <p:nvPr/>
            </p:nvSpPr>
            <p:spPr>
              <a:xfrm rot="13500000">
                <a:off x="1433937" y="4027017"/>
                <a:ext cx="146098" cy="121624"/>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48" name="Freeform: Shape 247">
                <a:extLst>
                  <a:ext uri="{FF2B5EF4-FFF2-40B4-BE49-F238E27FC236}">
                    <a16:creationId xmlns:a16="http://schemas.microsoft.com/office/drawing/2014/main" id="{187076D9-FBC2-454E-AD7C-FFFE55E2D527}"/>
                  </a:ext>
                </a:extLst>
              </p:cNvPr>
              <p:cNvSpPr/>
              <p:nvPr/>
            </p:nvSpPr>
            <p:spPr>
              <a:xfrm rot="2700000">
                <a:off x="1302991" y="3896072"/>
                <a:ext cx="146098" cy="121624"/>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nvGrpSpPr>
            <p:cNvPr id="241" name="Group 240">
              <a:extLst>
                <a:ext uri="{FF2B5EF4-FFF2-40B4-BE49-F238E27FC236}">
                  <a16:creationId xmlns:a16="http://schemas.microsoft.com/office/drawing/2014/main" id="{9046DF05-79E9-4164-A605-F1D9872D3189}"/>
                </a:ext>
              </a:extLst>
            </p:cNvPr>
            <p:cNvGrpSpPr/>
            <p:nvPr/>
          </p:nvGrpSpPr>
          <p:grpSpPr>
            <a:xfrm>
              <a:off x="4522757" y="3975980"/>
              <a:ext cx="442534" cy="405378"/>
              <a:chOff x="2051694" y="3805450"/>
              <a:chExt cx="403850" cy="433812"/>
            </a:xfrm>
          </p:grpSpPr>
          <p:sp>
            <p:nvSpPr>
              <p:cNvPr id="242" name="Oval 241">
                <a:extLst>
                  <a:ext uri="{FF2B5EF4-FFF2-40B4-BE49-F238E27FC236}">
                    <a16:creationId xmlns:a16="http://schemas.microsoft.com/office/drawing/2014/main" id="{C0D28CFA-EEEC-4B76-842C-A7AA24F76592}"/>
                  </a:ext>
                </a:extLst>
              </p:cNvPr>
              <p:cNvSpPr/>
              <p:nvPr/>
            </p:nvSpPr>
            <p:spPr>
              <a:xfrm>
                <a:off x="2051694" y="3805450"/>
                <a:ext cx="403850" cy="433812"/>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43" name="Freeform 594">
                <a:extLst>
                  <a:ext uri="{FF2B5EF4-FFF2-40B4-BE49-F238E27FC236}">
                    <a16:creationId xmlns:a16="http://schemas.microsoft.com/office/drawing/2014/main" id="{AEA0E6C8-FF15-447C-89CD-C40498B95BBC}"/>
                  </a:ext>
                </a:extLst>
              </p:cNvPr>
              <p:cNvSpPr>
                <a:spLocks noChangeAspect="1" noEditPoints="1"/>
              </p:cNvSpPr>
              <p:nvPr/>
            </p:nvSpPr>
            <p:spPr bwMode="auto">
              <a:xfrm>
                <a:off x="2074640" y="3844008"/>
                <a:ext cx="357958" cy="356695"/>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277" name="Group 276">
            <a:extLst>
              <a:ext uri="{FF2B5EF4-FFF2-40B4-BE49-F238E27FC236}">
                <a16:creationId xmlns:a16="http://schemas.microsoft.com/office/drawing/2014/main" id="{B57E3068-3727-4169-86C9-5BDDB7E5BACA}"/>
              </a:ext>
            </a:extLst>
          </p:cNvPr>
          <p:cNvGrpSpPr/>
          <p:nvPr/>
        </p:nvGrpSpPr>
        <p:grpSpPr>
          <a:xfrm>
            <a:off x="3124056" y="4498786"/>
            <a:ext cx="2941951" cy="507831"/>
            <a:chOff x="3028644" y="4498786"/>
            <a:chExt cx="2941951" cy="507831"/>
          </a:xfrm>
        </p:grpSpPr>
        <p:sp>
          <p:nvSpPr>
            <p:cNvPr id="278" name="TextBox 277">
              <a:extLst>
                <a:ext uri="{FF2B5EF4-FFF2-40B4-BE49-F238E27FC236}">
                  <a16:creationId xmlns:a16="http://schemas.microsoft.com/office/drawing/2014/main" id="{9F5C64A6-888C-4842-9A52-046C685CD031}"/>
                </a:ext>
              </a:extLst>
            </p:cNvPr>
            <p:cNvSpPr txBox="1"/>
            <p:nvPr/>
          </p:nvSpPr>
          <p:spPr>
            <a:xfrm>
              <a:off x="3028644" y="4637285"/>
              <a:ext cx="547482" cy="230832"/>
            </a:xfrm>
            <a:prstGeom prst="rect">
              <a:avLst/>
            </a:prstGeom>
            <a:noFill/>
            <a:ln w="19050">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rPr>
                <a:t>Router</a:t>
              </a:r>
            </a:p>
          </p:txBody>
        </p:sp>
        <p:sp>
          <p:nvSpPr>
            <p:cNvPr id="279" name="TextBox 278">
              <a:extLst>
                <a:ext uri="{FF2B5EF4-FFF2-40B4-BE49-F238E27FC236}">
                  <a16:creationId xmlns:a16="http://schemas.microsoft.com/office/drawing/2014/main" id="{EC157C33-CBB2-4CDF-9145-A49CE49D2AEA}"/>
                </a:ext>
              </a:extLst>
            </p:cNvPr>
            <p:cNvSpPr txBox="1"/>
            <p:nvPr/>
          </p:nvSpPr>
          <p:spPr>
            <a:xfrm>
              <a:off x="4517086" y="4637285"/>
              <a:ext cx="607203" cy="230832"/>
            </a:xfrm>
            <a:prstGeom prst="rect">
              <a:avLst/>
            </a:prstGeom>
            <a:noFill/>
            <a:ln w="19050">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iscoSansTT ExtraLight"/>
                  <a:ea typeface="ＭＳ Ｐゴシック" charset="0"/>
                </a:rPr>
                <a:t>ROADM</a:t>
              </a:r>
              <a:endPar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sp>
          <p:nvSpPr>
            <p:cNvPr id="280" name="TextBox 279">
              <a:extLst>
                <a:ext uri="{FF2B5EF4-FFF2-40B4-BE49-F238E27FC236}">
                  <a16:creationId xmlns:a16="http://schemas.microsoft.com/office/drawing/2014/main" id="{FCB8AC1A-4126-4F35-A7EB-949C70A6BC6B}"/>
                </a:ext>
              </a:extLst>
            </p:cNvPr>
            <p:cNvSpPr txBox="1"/>
            <p:nvPr/>
          </p:nvSpPr>
          <p:spPr>
            <a:xfrm>
              <a:off x="3680407" y="4568035"/>
              <a:ext cx="688145" cy="369332"/>
            </a:xfrm>
            <a:prstGeom prst="rect">
              <a:avLst/>
            </a:prstGeom>
            <a:noFill/>
            <a:ln w="19050">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rPr>
                <a:t> DCI o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rPr>
                <a:t>OTN </a:t>
              </a:r>
            </a:p>
          </p:txBody>
        </p:sp>
        <p:grpSp>
          <p:nvGrpSpPr>
            <p:cNvPr id="281" name="Group 280">
              <a:extLst>
                <a:ext uri="{FF2B5EF4-FFF2-40B4-BE49-F238E27FC236}">
                  <a16:creationId xmlns:a16="http://schemas.microsoft.com/office/drawing/2014/main" id="{B3114E47-AD02-478B-A3C6-05F860DBFE82}"/>
                </a:ext>
              </a:extLst>
            </p:cNvPr>
            <p:cNvGrpSpPr>
              <a:grpSpLocks noChangeAspect="1"/>
            </p:cNvGrpSpPr>
            <p:nvPr/>
          </p:nvGrpSpPr>
          <p:grpSpPr>
            <a:xfrm>
              <a:off x="4381256" y="4688668"/>
              <a:ext cx="151090" cy="128067"/>
              <a:chOff x="1579728" y="2192901"/>
              <a:chExt cx="496986" cy="493986"/>
            </a:xfrm>
          </p:grpSpPr>
          <p:sp>
            <p:nvSpPr>
              <p:cNvPr id="289" name="Freeform 664">
                <a:extLst>
                  <a:ext uri="{FF2B5EF4-FFF2-40B4-BE49-F238E27FC236}">
                    <a16:creationId xmlns:a16="http://schemas.microsoft.com/office/drawing/2014/main" id="{6770286A-1A35-4110-936C-E6097C835F9A}"/>
                  </a:ext>
                </a:extLst>
              </p:cNvPr>
              <p:cNvSpPr>
                <a:spLocks noChangeAspect="1"/>
              </p:cNvSpPr>
              <p:nvPr/>
            </p:nvSpPr>
            <p:spPr bwMode="auto">
              <a:xfrm>
                <a:off x="1759722" y="2192901"/>
                <a:ext cx="134996" cy="493986"/>
              </a:xfrm>
              <a:custGeom>
                <a:avLst/>
                <a:gdLst>
                  <a:gd name="T0" fmla="*/ 29 w 57"/>
                  <a:gd name="T1" fmla="*/ 209 h 209"/>
                  <a:gd name="T2" fmla="*/ 29 w 57"/>
                  <a:gd name="T3" fmla="*/ 209 h 209"/>
                  <a:gd name="T4" fmla="*/ 0 w 57"/>
                  <a:gd name="T5" fmla="*/ 181 h 209"/>
                  <a:gd name="T6" fmla="*/ 0 w 57"/>
                  <a:gd name="T7" fmla="*/ 28 h 209"/>
                  <a:gd name="T8" fmla="*/ 29 w 57"/>
                  <a:gd name="T9" fmla="*/ 0 h 209"/>
                  <a:gd name="T10" fmla="*/ 57 w 57"/>
                  <a:gd name="T11" fmla="*/ 28 h 209"/>
                  <a:gd name="T12" fmla="*/ 57 w 57"/>
                  <a:gd name="T13" fmla="*/ 181 h 209"/>
                  <a:gd name="T14" fmla="*/ 29 w 57"/>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9">
                    <a:moveTo>
                      <a:pt x="29" y="209"/>
                    </a:moveTo>
                    <a:cubicBezTo>
                      <a:pt x="29" y="209"/>
                      <a:pt x="29" y="209"/>
                      <a:pt x="29" y="209"/>
                    </a:cubicBezTo>
                    <a:cubicBezTo>
                      <a:pt x="13" y="209"/>
                      <a:pt x="0" y="196"/>
                      <a:pt x="0" y="181"/>
                    </a:cubicBezTo>
                    <a:cubicBezTo>
                      <a:pt x="0" y="28"/>
                      <a:pt x="0" y="28"/>
                      <a:pt x="0" y="28"/>
                    </a:cubicBezTo>
                    <a:cubicBezTo>
                      <a:pt x="0" y="13"/>
                      <a:pt x="13" y="0"/>
                      <a:pt x="29" y="0"/>
                    </a:cubicBezTo>
                    <a:cubicBezTo>
                      <a:pt x="45" y="0"/>
                      <a:pt x="57" y="13"/>
                      <a:pt x="57" y="28"/>
                    </a:cubicBezTo>
                    <a:cubicBezTo>
                      <a:pt x="57" y="181"/>
                      <a:pt x="57" y="181"/>
                      <a:pt x="57" y="181"/>
                    </a:cubicBezTo>
                    <a:cubicBezTo>
                      <a:pt x="57" y="196"/>
                      <a:pt x="45" y="209"/>
                      <a:pt x="29" y="209"/>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90" name="Freeform 665">
                <a:extLst>
                  <a:ext uri="{FF2B5EF4-FFF2-40B4-BE49-F238E27FC236}">
                    <a16:creationId xmlns:a16="http://schemas.microsoft.com/office/drawing/2014/main" id="{49678F88-104C-4B4F-AA25-99C54C991792}"/>
                  </a:ext>
                </a:extLst>
              </p:cNvPr>
              <p:cNvSpPr>
                <a:spLocks noChangeAspect="1"/>
              </p:cNvSpPr>
              <p:nvPr/>
            </p:nvSpPr>
            <p:spPr bwMode="auto">
              <a:xfrm>
                <a:off x="1579728" y="2368943"/>
                <a:ext cx="496986" cy="134996"/>
              </a:xfrm>
              <a:custGeom>
                <a:avLst/>
                <a:gdLst>
                  <a:gd name="T0" fmla="*/ 0 w 210"/>
                  <a:gd name="T1" fmla="*/ 28 h 57"/>
                  <a:gd name="T2" fmla="*/ 0 w 210"/>
                  <a:gd name="T3" fmla="*/ 28 h 57"/>
                  <a:gd name="T4" fmla="*/ 29 w 210"/>
                  <a:gd name="T5" fmla="*/ 0 h 57"/>
                  <a:gd name="T6" fmla="*/ 181 w 210"/>
                  <a:gd name="T7" fmla="*/ 0 h 57"/>
                  <a:gd name="T8" fmla="*/ 210 w 210"/>
                  <a:gd name="T9" fmla="*/ 28 h 57"/>
                  <a:gd name="T10" fmla="*/ 181 w 210"/>
                  <a:gd name="T11" fmla="*/ 57 h 57"/>
                  <a:gd name="T12" fmla="*/ 29 w 210"/>
                  <a:gd name="T13" fmla="*/ 57 h 57"/>
                  <a:gd name="T14" fmla="*/ 0 w 210"/>
                  <a:gd name="T15" fmla="*/ 2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7">
                    <a:moveTo>
                      <a:pt x="0" y="28"/>
                    </a:moveTo>
                    <a:cubicBezTo>
                      <a:pt x="0" y="28"/>
                      <a:pt x="0" y="28"/>
                      <a:pt x="0" y="28"/>
                    </a:cubicBezTo>
                    <a:cubicBezTo>
                      <a:pt x="0" y="13"/>
                      <a:pt x="13" y="0"/>
                      <a:pt x="29" y="0"/>
                    </a:cubicBezTo>
                    <a:cubicBezTo>
                      <a:pt x="181" y="0"/>
                      <a:pt x="181" y="0"/>
                      <a:pt x="181" y="0"/>
                    </a:cubicBezTo>
                    <a:cubicBezTo>
                      <a:pt x="197" y="0"/>
                      <a:pt x="210" y="13"/>
                      <a:pt x="210" y="28"/>
                    </a:cubicBezTo>
                    <a:cubicBezTo>
                      <a:pt x="210" y="44"/>
                      <a:pt x="197" y="57"/>
                      <a:pt x="181" y="57"/>
                    </a:cubicBezTo>
                    <a:cubicBezTo>
                      <a:pt x="29" y="57"/>
                      <a:pt x="29" y="57"/>
                      <a:pt x="29" y="57"/>
                    </a:cubicBezTo>
                    <a:cubicBezTo>
                      <a:pt x="13" y="57"/>
                      <a:pt x="0" y="44"/>
                      <a:pt x="0" y="2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91" name="Rectangle 290">
                <a:extLst>
                  <a:ext uri="{FF2B5EF4-FFF2-40B4-BE49-F238E27FC236}">
                    <a16:creationId xmlns:a16="http://schemas.microsoft.com/office/drawing/2014/main" id="{FE6979AA-12D8-4544-A330-944C708EB7CC}"/>
                  </a:ext>
                </a:extLst>
              </p:cNvPr>
              <p:cNvSpPr/>
              <p:nvPr/>
            </p:nvSpPr>
            <p:spPr>
              <a:xfrm>
                <a:off x="1759636" y="2367857"/>
                <a:ext cx="137160" cy="137160"/>
              </a:xfrm>
              <a:prstGeom prst="rect">
                <a:avLst/>
              </a:prstGeom>
              <a:solidFill>
                <a:schemeClr val="bg2"/>
              </a:solid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284" name="Group 283">
              <a:extLst>
                <a:ext uri="{FF2B5EF4-FFF2-40B4-BE49-F238E27FC236}">
                  <a16:creationId xmlns:a16="http://schemas.microsoft.com/office/drawing/2014/main" id="{CA277D2C-B416-4C8D-80B9-35AA86D7D8A5}"/>
                </a:ext>
              </a:extLst>
            </p:cNvPr>
            <p:cNvGrpSpPr>
              <a:grpSpLocks noChangeAspect="1"/>
            </p:cNvGrpSpPr>
            <p:nvPr/>
          </p:nvGrpSpPr>
          <p:grpSpPr>
            <a:xfrm>
              <a:off x="3548602" y="4688668"/>
              <a:ext cx="151090" cy="128067"/>
              <a:chOff x="1579728" y="2192901"/>
              <a:chExt cx="496986" cy="493986"/>
            </a:xfrm>
          </p:grpSpPr>
          <p:sp>
            <p:nvSpPr>
              <p:cNvPr id="286" name="Freeform 664">
                <a:extLst>
                  <a:ext uri="{FF2B5EF4-FFF2-40B4-BE49-F238E27FC236}">
                    <a16:creationId xmlns:a16="http://schemas.microsoft.com/office/drawing/2014/main" id="{BE2A6D83-D587-4E96-A215-C6A269DF8C73}"/>
                  </a:ext>
                </a:extLst>
              </p:cNvPr>
              <p:cNvSpPr>
                <a:spLocks noChangeAspect="1"/>
              </p:cNvSpPr>
              <p:nvPr/>
            </p:nvSpPr>
            <p:spPr bwMode="auto">
              <a:xfrm>
                <a:off x="1759722" y="2192901"/>
                <a:ext cx="134996" cy="493986"/>
              </a:xfrm>
              <a:custGeom>
                <a:avLst/>
                <a:gdLst>
                  <a:gd name="T0" fmla="*/ 29 w 57"/>
                  <a:gd name="T1" fmla="*/ 209 h 209"/>
                  <a:gd name="T2" fmla="*/ 29 w 57"/>
                  <a:gd name="T3" fmla="*/ 209 h 209"/>
                  <a:gd name="T4" fmla="*/ 0 w 57"/>
                  <a:gd name="T5" fmla="*/ 181 h 209"/>
                  <a:gd name="T6" fmla="*/ 0 w 57"/>
                  <a:gd name="T7" fmla="*/ 28 h 209"/>
                  <a:gd name="T8" fmla="*/ 29 w 57"/>
                  <a:gd name="T9" fmla="*/ 0 h 209"/>
                  <a:gd name="T10" fmla="*/ 57 w 57"/>
                  <a:gd name="T11" fmla="*/ 28 h 209"/>
                  <a:gd name="T12" fmla="*/ 57 w 57"/>
                  <a:gd name="T13" fmla="*/ 181 h 209"/>
                  <a:gd name="T14" fmla="*/ 29 w 57"/>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9">
                    <a:moveTo>
                      <a:pt x="29" y="209"/>
                    </a:moveTo>
                    <a:cubicBezTo>
                      <a:pt x="29" y="209"/>
                      <a:pt x="29" y="209"/>
                      <a:pt x="29" y="209"/>
                    </a:cubicBezTo>
                    <a:cubicBezTo>
                      <a:pt x="13" y="209"/>
                      <a:pt x="0" y="196"/>
                      <a:pt x="0" y="181"/>
                    </a:cubicBezTo>
                    <a:cubicBezTo>
                      <a:pt x="0" y="28"/>
                      <a:pt x="0" y="28"/>
                      <a:pt x="0" y="28"/>
                    </a:cubicBezTo>
                    <a:cubicBezTo>
                      <a:pt x="0" y="13"/>
                      <a:pt x="13" y="0"/>
                      <a:pt x="29" y="0"/>
                    </a:cubicBezTo>
                    <a:cubicBezTo>
                      <a:pt x="45" y="0"/>
                      <a:pt x="57" y="13"/>
                      <a:pt x="57" y="28"/>
                    </a:cubicBezTo>
                    <a:cubicBezTo>
                      <a:pt x="57" y="181"/>
                      <a:pt x="57" y="181"/>
                      <a:pt x="57" y="181"/>
                    </a:cubicBezTo>
                    <a:cubicBezTo>
                      <a:pt x="57" y="196"/>
                      <a:pt x="45" y="209"/>
                      <a:pt x="29" y="209"/>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87" name="Freeform 665">
                <a:extLst>
                  <a:ext uri="{FF2B5EF4-FFF2-40B4-BE49-F238E27FC236}">
                    <a16:creationId xmlns:a16="http://schemas.microsoft.com/office/drawing/2014/main" id="{97295213-8AB0-4E8E-B9B7-FCFE5E9D07BD}"/>
                  </a:ext>
                </a:extLst>
              </p:cNvPr>
              <p:cNvSpPr>
                <a:spLocks noChangeAspect="1"/>
              </p:cNvSpPr>
              <p:nvPr/>
            </p:nvSpPr>
            <p:spPr bwMode="auto">
              <a:xfrm>
                <a:off x="1579728" y="2368943"/>
                <a:ext cx="496986" cy="134996"/>
              </a:xfrm>
              <a:custGeom>
                <a:avLst/>
                <a:gdLst>
                  <a:gd name="T0" fmla="*/ 0 w 210"/>
                  <a:gd name="T1" fmla="*/ 28 h 57"/>
                  <a:gd name="T2" fmla="*/ 0 w 210"/>
                  <a:gd name="T3" fmla="*/ 28 h 57"/>
                  <a:gd name="T4" fmla="*/ 29 w 210"/>
                  <a:gd name="T5" fmla="*/ 0 h 57"/>
                  <a:gd name="T6" fmla="*/ 181 w 210"/>
                  <a:gd name="T7" fmla="*/ 0 h 57"/>
                  <a:gd name="T8" fmla="*/ 210 w 210"/>
                  <a:gd name="T9" fmla="*/ 28 h 57"/>
                  <a:gd name="T10" fmla="*/ 181 w 210"/>
                  <a:gd name="T11" fmla="*/ 57 h 57"/>
                  <a:gd name="T12" fmla="*/ 29 w 210"/>
                  <a:gd name="T13" fmla="*/ 57 h 57"/>
                  <a:gd name="T14" fmla="*/ 0 w 210"/>
                  <a:gd name="T15" fmla="*/ 2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7">
                    <a:moveTo>
                      <a:pt x="0" y="28"/>
                    </a:moveTo>
                    <a:cubicBezTo>
                      <a:pt x="0" y="28"/>
                      <a:pt x="0" y="28"/>
                      <a:pt x="0" y="28"/>
                    </a:cubicBezTo>
                    <a:cubicBezTo>
                      <a:pt x="0" y="13"/>
                      <a:pt x="13" y="0"/>
                      <a:pt x="29" y="0"/>
                    </a:cubicBezTo>
                    <a:cubicBezTo>
                      <a:pt x="181" y="0"/>
                      <a:pt x="181" y="0"/>
                      <a:pt x="181" y="0"/>
                    </a:cubicBezTo>
                    <a:cubicBezTo>
                      <a:pt x="197" y="0"/>
                      <a:pt x="210" y="13"/>
                      <a:pt x="210" y="28"/>
                    </a:cubicBezTo>
                    <a:cubicBezTo>
                      <a:pt x="210" y="44"/>
                      <a:pt x="197" y="57"/>
                      <a:pt x="181" y="57"/>
                    </a:cubicBezTo>
                    <a:cubicBezTo>
                      <a:pt x="29" y="57"/>
                      <a:pt x="29" y="57"/>
                      <a:pt x="29" y="57"/>
                    </a:cubicBezTo>
                    <a:cubicBezTo>
                      <a:pt x="13" y="57"/>
                      <a:pt x="0" y="44"/>
                      <a:pt x="0" y="2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88" name="Rectangle 287">
                <a:extLst>
                  <a:ext uri="{FF2B5EF4-FFF2-40B4-BE49-F238E27FC236}">
                    <a16:creationId xmlns:a16="http://schemas.microsoft.com/office/drawing/2014/main" id="{35837512-000F-4B62-8960-7ED1620C9EEE}"/>
                  </a:ext>
                </a:extLst>
              </p:cNvPr>
              <p:cNvSpPr/>
              <p:nvPr/>
            </p:nvSpPr>
            <p:spPr>
              <a:xfrm>
                <a:off x="1759636" y="2367857"/>
                <a:ext cx="137160" cy="137160"/>
              </a:xfrm>
              <a:prstGeom prst="rect">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285" name="TextBox 284">
              <a:extLst>
                <a:ext uri="{FF2B5EF4-FFF2-40B4-BE49-F238E27FC236}">
                  <a16:creationId xmlns:a16="http://schemas.microsoft.com/office/drawing/2014/main" id="{6CA5E0F8-42C0-4FA4-8A44-E7CF5BF4806B}"/>
                </a:ext>
              </a:extLst>
            </p:cNvPr>
            <p:cNvSpPr txBox="1"/>
            <p:nvPr/>
          </p:nvSpPr>
          <p:spPr>
            <a:xfrm>
              <a:off x="5363392" y="4498786"/>
              <a:ext cx="607203" cy="507831"/>
            </a:xfrm>
            <a:prstGeom prst="rect">
              <a:avLst/>
            </a:prstGeom>
            <a:noFill/>
            <a:ln w="19050">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iscoSansTT ExtraLight"/>
                  <a:ea typeface="ＭＳ Ｐゴシック" charset="0"/>
                </a:rPr>
                <a:t>Route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CiscoSansTT ExtraLight"/>
                  <a:ea typeface="ＭＳ Ｐゴシック" charset="0"/>
                </a:rPr>
                <a:t>Optics</a:t>
              </a:r>
            </a:p>
          </p:txBody>
        </p:sp>
      </p:grpSp>
      <p:cxnSp>
        <p:nvCxnSpPr>
          <p:cNvPr id="292" name="Straight Connector 291">
            <a:extLst>
              <a:ext uri="{FF2B5EF4-FFF2-40B4-BE49-F238E27FC236}">
                <a16:creationId xmlns:a16="http://schemas.microsoft.com/office/drawing/2014/main" id="{A897550E-B21E-41E0-95E0-42D731F570D9}"/>
              </a:ext>
            </a:extLst>
          </p:cNvPr>
          <p:cNvCxnSpPr/>
          <p:nvPr/>
        </p:nvCxnSpPr>
        <p:spPr>
          <a:xfrm flipV="1">
            <a:off x="5285986" y="4698514"/>
            <a:ext cx="166664" cy="3193"/>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20C05877-FFBB-436E-AEC0-100F7333EC15}"/>
              </a:ext>
            </a:extLst>
          </p:cNvPr>
          <p:cNvCxnSpPr/>
          <p:nvPr/>
        </p:nvCxnSpPr>
        <p:spPr>
          <a:xfrm flipV="1">
            <a:off x="5287316" y="4787306"/>
            <a:ext cx="166664" cy="3193"/>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94" name="Rectangle 293">
            <a:extLst>
              <a:ext uri="{FF2B5EF4-FFF2-40B4-BE49-F238E27FC236}">
                <a16:creationId xmlns:a16="http://schemas.microsoft.com/office/drawing/2014/main" id="{E60E874E-B634-40C1-B381-EC189717A7AE}"/>
              </a:ext>
            </a:extLst>
          </p:cNvPr>
          <p:cNvSpPr/>
          <p:nvPr/>
        </p:nvSpPr>
        <p:spPr>
          <a:xfrm>
            <a:off x="6915819" y="3724424"/>
            <a:ext cx="1512268" cy="3944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iscoSansTT ExtraLight"/>
                <a:ea typeface="+mn-ea"/>
                <a:cs typeface="CiscoSansTT Light" panose="020B0503020201020303" pitchFamily="34" charset="0"/>
              </a:rPr>
              <a:t>intent based automation</a:t>
            </a:r>
          </a:p>
        </p:txBody>
      </p:sp>
      <p:pic>
        <p:nvPicPr>
          <p:cNvPr id="295" name="Picture 294">
            <a:extLst>
              <a:ext uri="{FF2B5EF4-FFF2-40B4-BE49-F238E27FC236}">
                <a16:creationId xmlns:a16="http://schemas.microsoft.com/office/drawing/2014/main" id="{F6068295-824E-4FDA-A4AD-87CBFD5D92A9}"/>
              </a:ext>
            </a:extLst>
          </p:cNvPr>
          <p:cNvPicPr preferRelativeResize="0">
            <a:picLocks/>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338197" y="4037962"/>
            <a:ext cx="667512" cy="667512"/>
          </a:xfrm>
          <a:prstGeom prst="rect">
            <a:avLst/>
          </a:prstGeom>
          <a:solidFill>
            <a:schemeClr val="bg1"/>
          </a:solidFill>
          <a:ln>
            <a:noFill/>
          </a:ln>
        </p:spPr>
      </p:pic>
      <p:sp>
        <p:nvSpPr>
          <p:cNvPr id="296" name="Rectangle 295">
            <a:extLst>
              <a:ext uri="{FF2B5EF4-FFF2-40B4-BE49-F238E27FC236}">
                <a16:creationId xmlns:a16="http://schemas.microsoft.com/office/drawing/2014/main" id="{518EBBDD-F7BE-47EA-8461-B400FC6EFDEC}"/>
              </a:ext>
            </a:extLst>
          </p:cNvPr>
          <p:cNvSpPr/>
          <p:nvPr/>
        </p:nvSpPr>
        <p:spPr>
          <a:xfrm>
            <a:off x="8033914" y="4225688"/>
            <a:ext cx="875756" cy="29206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iscoSansTT ExtraLight"/>
                <a:ea typeface="+mn-ea"/>
                <a:cs typeface="CiscoSansTT Light" panose="020B0503020201020303" pitchFamily="34" charset="0"/>
              </a:rPr>
              <a:t>open, programmable</a:t>
            </a:r>
          </a:p>
        </p:txBody>
      </p:sp>
      <p:sp>
        <p:nvSpPr>
          <p:cNvPr id="297" name="Rectangle 296">
            <a:extLst>
              <a:ext uri="{FF2B5EF4-FFF2-40B4-BE49-F238E27FC236}">
                <a16:creationId xmlns:a16="http://schemas.microsoft.com/office/drawing/2014/main" id="{106B454D-1597-4FD4-AB2B-E2349171F39C}"/>
              </a:ext>
            </a:extLst>
          </p:cNvPr>
          <p:cNvSpPr/>
          <p:nvPr/>
        </p:nvSpPr>
        <p:spPr>
          <a:xfrm>
            <a:off x="6836644" y="4733378"/>
            <a:ext cx="1670619" cy="3114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iscoSansTT ExtraLight"/>
                <a:ea typeface="+mn-ea"/>
                <a:cs typeface="CiscoSansTT Light" panose="020B0503020201020303" pitchFamily="34" charset="0"/>
              </a:rPr>
              <a:t>third-party application hosting</a:t>
            </a:r>
          </a:p>
        </p:txBody>
      </p:sp>
      <p:sp>
        <p:nvSpPr>
          <p:cNvPr id="298" name="Rectangle 297">
            <a:extLst>
              <a:ext uri="{FF2B5EF4-FFF2-40B4-BE49-F238E27FC236}">
                <a16:creationId xmlns:a16="http://schemas.microsoft.com/office/drawing/2014/main" id="{7CCB838A-6552-4CF0-B7BA-7488F9735655}"/>
              </a:ext>
            </a:extLst>
          </p:cNvPr>
          <p:cNvSpPr/>
          <p:nvPr/>
        </p:nvSpPr>
        <p:spPr>
          <a:xfrm>
            <a:off x="6398627" y="4260156"/>
            <a:ext cx="859378" cy="2231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iscoSansTT ExtraLight"/>
                <a:ea typeface="+mn-ea"/>
                <a:cs typeface="CiscoSansTT Light" panose="020B0503020201020303" pitchFamily="34" charset="0"/>
              </a:rPr>
              <a:t>analytics ready</a:t>
            </a:r>
          </a:p>
        </p:txBody>
      </p:sp>
      <p:grpSp>
        <p:nvGrpSpPr>
          <p:cNvPr id="299" name="Group 298">
            <a:extLst>
              <a:ext uri="{FF2B5EF4-FFF2-40B4-BE49-F238E27FC236}">
                <a16:creationId xmlns:a16="http://schemas.microsoft.com/office/drawing/2014/main" id="{2B8064D0-F187-42FF-A11B-B17CFF849783}"/>
              </a:ext>
            </a:extLst>
          </p:cNvPr>
          <p:cNvGrpSpPr/>
          <p:nvPr/>
        </p:nvGrpSpPr>
        <p:grpSpPr>
          <a:xfrm>
            <a:off x="364337" y="3862177"/>
            <a:ext cx="1302939" cy="952351"/>
            <a:chOff x="364337" y="3862177"/>
            <a:chExt cx="1302939" cy="952351"/>
          </a:xfrm>
        </p:grpSpPr>
        <p:grpSp>
          <p:nvGrpSpPr>
            <p:cNvPr id="300" name="Group 105">
              <a:extLst>
                <a:ext uri="{FF2B5EF4-FFF2-40B4-BE49-F238E27FC236}">
                  <a16:creationId xmlns:a16="http://schemas.microsoft.com/office/drawing/2014/main" id="{6F6D90D3-75F4-4256-B80E-2EF9083CBD96}"/>
                </a:ext>
              </a:extLst>
            </p:cNvPr>
            <p:cNvGrpSpPr>
              <a:grpSpLocks noChangeAspect="1"/>
            </p:cNvGrpSpPr>
            <p:nvPr/>
          </p:nvGrpSpPr>
          <p:grpSpPr bwMode="auto">
            <a:xfrm>
              <a:off x="1468565" y="4261129"/>
              <a:ext cx="181559" cy="160449"/>
              <a:chOff x="1991" y="1544"/>
              <a:chExt cx="961" cy="906"/>
            </a:xfrm>
          </p:grpSpPr>
          <p:sp>
            <p:nvSpPr>
              <p:cNvPr id="328" name="Freeform 116">
                <a:extLst>
                  <a:ext uri="{FF2B5EF4-FFF2-40B4-BE49-F238E27FC236}">
                    <a16:creationId xmlns:a16="http://schemas.microsoft.com/office/drawing/2014/main" id="{4FAE424A-2508-42C4-8524-B2E936B9811D}"/>
                  </a:ext>
                </a:extLst>
              </p:cNvPr>
              <p:cNvSpPr>
                <a:spLocks/>
              </p:cNvSpPr>
              <p:nvPr/>
            </p:nvSpPr>
            <p:spPr bwMode="auto">
              <a:xfrm>
                <a:off x="2517" y="1846"/>
                <a:ext cx="435" cy="604"/>
              </a:xfrm>
              <a:custGeom>
                <a:avLst/>
                <a:gdLst>
                  <a:gd name="T0" fmla="*/ 5 w 52"/>
                  <a:gd name="T1" fmla="*/ 0 h 74"/>
                  <a:gd name="T2" fmla="*/ 0 w 52"/>
                  <a:gd name="T3" fmla="*/ 5 h 74"/>
                  <a:gd name="T4" fmla="*/ 0 w 52"/>
                  <a:gd name="T5" fmla="*/ 74 h 74"/>
                  <a:gd name="T6" fmla="*/ 52 w 52"/>
                  <a:gd name="T7" fmla="*/ 74 h 74"/>
                  <a:gd name="T8" fmla="*/ 52 w 52"/>
                  <a:gd name="T9" fmla="*/ 5 h 74"/>
                  <a:gd name="T10" fmla="*/ 47 w 52"/>
                  <a:gd name="T11" fmla="*/ 0 h 74"/>
                  <a:gd name="T12" fmla="*/ 5 w 52"/>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2" h="74">
                    <a:moveTo>
                      <a:pt x="5" y="0"/>
                    </a:moveTo>
                    <a:cubicBezTo>
                      <a:pt x="2" y="0"/>
                      <a:pt x="0" y="2"/>
                      <a:pt x="0" y="5"/>
                    </a:cubicBezTo>
                    <a:cubicBezTo>
                      <a:pt x="0" y="74"/>
                      <a:pt x="0" y="74"/>
                      <a:pt x="0" y="74"/>
                    </a:cubicBezTo>
                    <a:cubicBezTo>
                      <a:pt x="52" y="74"/>
                      <a:pt x="52" y="74"/>
                      <a:pt x="52" y="74"/>
                    </a:cubicBezTo>
                    <a:cubicBezTo>
                      <a:pt x="52" y="5"/>
                      <a:pt x="52" y="5"/>
                      <a:pt x="52" y="5"/>
                    </a:cubicBezTo>
                    <a:cubicBezTo>
                      <a:pt x="52" y="2"/>
                      <a:pt x="50" y="0"/>
                      <a:pt x="47" y="0"/>
                    </a:cubicBezTo>
                    <a:lnTo>
                      <a:pt x="5"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29" name="Freeform 106">
                <a:extLst>
                  <a:ext uri="{FF2B5EF4-FFF2-40B4-BE49-F238E27FC236}">
                    <a16:creationId xmlns:a16="http://schemas.microsoft.com/office/drawing/2014/main" id="{60BBBB1D-9EF3-4015-9DE7-AC75CAA1B7BF}"/>
                  </a:ext>
                </a:extLst>
              </p:cNvPr>
              <p:cNvSpPr>
                <a:spLocks/>
              </p:cNvSpPr>
              <p:nvPr/>
            </p:nvSpPr>
            <p:spPr bwMode="auto">
              <a:xfrm>
                <a:off x="1991" y="1544"/>
                <a:ext cx="585" cy="906"/>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0" name="Rectangle 107">
                <a:extLst>
                  <a:ext uri="{FF2B5EF4-FFF2-40B4-BE49-F238E27FC236}">
                    <a16:creationId xmlns:a16="http://schemas.microsoft.com/office/drawing/2014/main" id="{552EBE4D-59EF-43B6-933B-47C1B0646465}"/>
                  </a:ext>
                </a:extLst>
              </p:cNvPr>
              <p:cNvSpPr>
                <a:spLocks noChangeArrowheads="1"/>
              </p:cNvSpPr>
              <p:nvPr/>
            </p:nvSpPr>
            <p:spPr bwMode="auto">
              <a:xfrm>
                <a:off x="2099"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1" name="Rectangle 108">
                <a:extLst>
                  <a:ext uri="{FF2B5EF4-FFF2-40B4-BE49-F238E27FC236}">
                    <a16:creationId xmlns:a16="http://schemas.microsoft.com/office/drawing/2014/main" id="{220B1BBA-6E30-4EC8-9AF5-4D96C26BED16}"/>
                  </a:ext>
                </a:extLst>
              </p:cNvPr>
              <p:cNvSpPr>
                <a:spLocks noChangeArrowheads="1"/>
              </p:cNvSpPr>
              <p:nvPr/>
            </p:nvSpPr>
            <p:spPr bwMode="auto">
              <a:xfrm>
                <a:off x="2241"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2" name="Rectangle 109">
                <a:extLst>
                  <a:ext uri="{FF2B5EF4-FFF2-40B4-BE49-F238E27FC236}">
                    <a16:creationId xmlns:a16="http://schemas.microsoft.com/office/drawing/2014/main" id="{9B325ED7-60AF-47A9-8332-833CA8C831E1}"/>
                  </a:ext>
                </a:extLst>
              </p:cNvPr>
              <p:cNvSpPr>
                <a:spLocks noChangeArrowheads="1"/>
              </p:cNvSpPr>
              <p:nvPr/>
            </p:nvSpPr>
            <p:spPr bwMode="auto">
              <a:xfrm>
                <a:off x="2383"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3" name="Rectangle 110">
                <a:extLst>
                  <a:ext uri="{FF2B5EF4-FFF2-40B4-BE49-F238E27FC236}">
                    <a16:creationId xmlns:a16="http://schemas.microsoft.com/office/drawing/2014/main" id="{8E6813C6-18A2-4802-9CEE-1F9663886AF6}"/>
                  </a:ext>
                </a:extLst>
              </p:cNvPr>
              <p:cNvSpPr>
                <a:spLocks noChangeArrowheads="1"/>
              </p:cNvSpPr>
              <p:nvPr/>
            </p:nvSpPr>
            <p:spPr bwMode="auto">
              <a:xfrm>
                <a:off x="2099"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4" name="Rectangle 111">
                <a:extLst>
                  <a:ext uri="{FF2B5EF4-FFF2-40B4-BE49-F238E27FC236}">
                    <a16:creationId xmlns:a16="http://schemas.microsoft.com/office/drawing/2014/main" id="{DEC0F5D0-C0B9-4180-81C7-A4531477EC7E}"/>
                  </a:ext>
                </a:extLst>
              </p:cNvPr>
              <p:cNvSpPr>
                <a:spLocks noChangeArrowheads="1"/>
              </p:cNvSpPr>
              <p:nvPr/>
            </p:nvSpPr>
            <p:spPr bwMode="auto">
              <a:xfrm>
                <a:off x="2241"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5" name="Rectangle 112">
                <a:extLst>
                  <a:ext uri="{FF2B5EF4-FFF2-40B4-BE49-F238E27FC236}">
                    <a16:creationId xmlns:a16="http://schemas.microsoft.com/office/drawing/2014/main" id="{7C09AD2F-59B8-4D72-AC72-F2B35B8A7327}"/>
                  </a:ext>
                </a:extLst>
              </p:cNvPr>
              <p:cNvSpPr>
                <a:spLocks noChangeArrowheads="1"/>
              </p:cNvSpPr>
              <p:nvPr/>
            </p:nvSpPr>
            <p:spPr bwMode="auto">
              <a:xfrm>
                <a:off x="2383"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6" name="Rectangle 113">
                <a:extLst>
                  <a:ext uri="{FF2B5EF4-FFF2-40B4-BE49-F238E27FC236}">
                    <a16:creationId xmlns:a16="http://schemas.microsoft.com/office/drawing/2014/main" id="{14B5BAA0-7C8B-4071-AA47-40FBDA3B2B8E}"/>
                  </a:ext>
                </a:extLst>
              </p:cNvPr>
              <p:cNvSpPr>
                <a:spLocks noChangeArrowheads="1"/>
              </p:cNvSpPr>
              <p:nvPr/>
            </p:nvSpPr>
            <p:spPr bwMode="auto">
              <a:xfrm>
                <a:off x="2099"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7" name="Rectangle 114">
                <a:extLst>
                  <a:ext uri="{FF2B5EF4-FFF2-40B4-BE49-F238E27FC236}">
                    <a16:creationId xmlns:a16="http://schemas.microsoft.com/office/drawing/2014/main" id="{AA724F36-FEC1-4B7C-A6BC-9D1D990D7EA8}"/>
                  </a:ext>
                </a:extLst>
              </p:cNvPr>
              <p:cNvSpPr>
                <a:spLocks noChangeArrowheads="1"/>
              </p:cNvSpPr>
              <p:nvPr/>
            </p:nvSpPr>
            <p:spPr bwMode="auto">
              <a:xfrm>
                <a:off x="2241"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8" name="Rectangle 115">
                <a:extLst>
                  <a:ext uri="{FF2B5EF4-FFF2-40B4-BE49-F238E27FC236}">
                    <a16:creationId xmlns:a16="http://schemas.microsoft.com/office/drawing/2014/main" id="{8EC9D1E5-698A-435C-8EE3-E012234781DF}"/>
                  </a:ext>
                </a:extLst>
              </p:cNvPr>
              <p:cNvSpPr>
                <a:spLocks noChangeArrowheads="1"/>
              </p:cNvSpPr>
              <p:nvPr/>
            </p:nvSpPr>
            <p:spPr bwMode="auto">
              <a:xfrm>
                <a:off x="2383"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39" name="Rectangle 117">
                <a:extLst>
                  <a:ext uri="{FF2B5EF4-FFF2-40B4-BE49-F238E27FC236}">
                    <a16:creationId xmlns:a16="http://schemas.microsoft.com/office/drawing/2014/main" id="{A4050D7B-805D-42C5-A163-3B8C1559BFED}"/>
                  </a:ext>
                </a:extLst>
              </p:cNvPr>
              <p:cNvSpPr>
                <a:spLocks noChangeArrowheads="1"/>
              </p:cNvSpPr>
              <p:nvPr/>
            </p:nvSpPr>
            <p:spPr bwMode="auto">
              <a:xfrm>
                <a:off x="2629"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40" name="Rectangle 118">
                <a:extLst>
                  <a:ext uri="{FF2B5EF4-FFF2-40B4-BE49-F238E27FC236}">
                    <a16:creationId xmlns:a16="http://schemas.microsoft.com/office/drawing/2014/main" id="{C09192B3-9B58-4591-8925-E604A9368092}"/>
                  </a:ext>
                </a:extLst>
              </p:cNvPr>
              <p:cNvSpPr>
                <a:spLocks noChangeArrowheads="1"/>
              </p:cNvSpPr>
              <p:nvPr/>
            </p:nvSpPr>
            <p:spPr bwMode="auto">
              <a:xfrm>
                <a:off x="2725" y="1927"/>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41" name="Rectangle 119">
                <a:extLst>
                  <a:ext uri="{FF2B5EF4-FFF2-40B4-BE49-F238E27FC236}">
                    <a16:creationId xmlns:a16="http://schemas.microsoft.com/office/drawing/2014/main" id="{2B13A656-0F17-46FB-B28A-9266A1A3EBE2}"/>
                  </a:ext>
                </a:extLst>
              </p:cNvPr>
              <p:cNvSpPr>
                <a:spLocks noChangeArrowheads="1"/>
              </p:cNvSpPr>
              <p:nvPr/>
            </p:nvSpPr>
            <p:spPr bwMode="auto">
              <a:xfrm>
                <a:off x="2823"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42" name="Rectangle 120">
                <a:extLst>
                  <a:ext uri="{FF2B5EF4-FFF2-40B4-BE49-F238E27FC236}">
                    <a16:creationId xmlns:a16="http://schemas.microsoft.com/office/drawing/2014/main" id="{0E120697-880F-459F-AF3A-2268878C17F5}"/>
                  </a:ext>
                </a:extLst>
              </p:cNvPr>
              <p:cNvSpPr>
                <a:spLocks noChangeArrowheads="1"/>
              </p:cNvSpPr>
              <p:nvPr/>
            </p:nvSpPr>
            <p:spPr bwMode="auto">
              <a:xfrm>
                <a:off x="2629"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43" name="Rectangle 121">
                <a:extLst>
                  <a:ext uri="{FF2B5EF4-FFF2-40B4-BE49-F238E27FC236}">
                    <a16:creationId xmlns:a16="http://schemas.microsoft.com/office/drawing/2014/main" id="{4968B763-5AE8-4576-8E36-867D0342FC31}"/>
                  </a:ext>
                </a:extLst>
              </p:cNvPr>
              <p:cNvSpPr>
                <a:spLocks noChangeArrowheads="1"/>
              </p:cNvSpPr>
              <p:nvPr/>
            </p:nvSpPr>
            <p:spPr bwMode="auto">
              <a:xfrm>
                <a:off x="2725" y="2189"/>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44" name="Rectangle 122">
                <a:extLst>
                  <a:ext uri="{FF2B5EF4-FFF2-40B4-BE49-F238E27FC236}">
                    <a16:creationId xmlns:a16="http://schemas.microsoft.com/office/drawing/2014/main" id="{09B48724-E3E4-43FB-BAA9-DF911BAA77ED}"/>
                  </a:ext>
                </a:extLst>
              </p:cNvPr>
              <p:cNvSpPr>
                <a:spLocks noChangeArrowheads="1"/>
              </p:cNvSpPr>
              <p:nvPr/>
            </p:nvSpPr>
            <p:spPr bwMode="auto">
              <a:xfrm>
                <a:off x="2823"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45" name="Rectangle 123">
                <a:extLst>
                  <a:ext uri="{FF2B5EF4-FFF2-40B4-BE49-F238E27FC236}">
                    <a16:creationId xmlns:a16="http://schemas.microsoft.com/office/drawing/2014/main" id="{618D01AE-3646-4A9C-8434-D4035CD379F1}"/>
                  </a:ext>
                </a:extLst>
              </p:cNvPr>
              <p:cNvSpPr>
                <a:spLocks noChangeArrowheads="1"/>
              </p:cNvSpPr>
              <p:nvPr/>
            </p:nvSpPr>
            <p:spPr bwMode="auto">
              <a:xfrm>
                <a:off x="2629"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46" name="Rectangle 124">
                <a:extLst>
                  <a:ext uri="{FF2B5EF4-FFF2-40B4-BE49-F238E27FC236}">
                    <a16:creationId xmlns:a16="http://schemas.microsoft.com/office/drawing/2014/main" id="{CFE7258D-13EF-42EC-B010-41C46BF2F8EF}"/>
                  </a:ext>
                </a:extLst>
              </p:cNvPr>
              <p:cNvSpPr>
                <a:spLocks noChangeArrowheads="1"/>
              </p:cNvSpPr>
              <p:nvPr/>
            </p:nvSpPr>
            <p:spPr bwMode="auto">
              <a:xfrm>
                <a:off x="2725" y="2058"/>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47" name="Rectangle 125">
                <a:extLst>
                  <a:ext uri="{FF2B5EF4-FFF2-40B4-BE49-F238E27FC236}">
                    <a16:creationId xmlns:a16="http://schemas.microsoft.com/office/drawing/2014/main" id="{8FE8C637-C7D7-46BD-AA78-6DE7A9055271}"/>
                  </a:ext>
                </a:extLst>
              </p:cNvPr>
              <p:cNvSpPr>
                <a:spLocks noChangeArrowheads="1"/>
              </p:cNvSpPr>
              <p:nvPr/>
            </p:nvSpPr>
            <p:spPr bwMode="auto">
              <a:xfrm>
                <a:off x="2823"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grpSp>
        <p:grpSp>
          <p:nvGrpSpPr>
            <p:cNvPr id="301" name="Group 30">
              <a:extLst>
                <a:ext uri="{FF2B5EF4-FFF2-40B4-BE49-F238E27FC236}">
                  <a16:creationId xmlns:a16="http://schemas.microsoft.com/office/drawing/2014/main" id="{E920EFD0-23D3-4BF1-A1C4-A4B51489694C}"/>
                </a:ext>
              </a:extLst>
            </p:cNvPr>
            <p:cNvGrpSpPr>
              <a:grpSpLocks noChangeAspect="1"/>
            </p:cNvGrpSpPr>
            <p:nvPr/>
          </p:nvGrpSpPr>
          <p:grpSpPr bwMode="auto">
            <a:xfrm>
              <a:off x="403958" y="4601371"/>
              <a:ext cx="103097" cy="172423"/>
              <a:chOff x="1972" y="0"/>
              <a:chExt cx="1816" cy="3240"/>
            </a:xfrm>
          </p:grpSpPr>
          <p:sp>
            <p:nvSpPr>
              <p:cNvPr id="324" name="Freeform 31">
                <a:extLst>
                  <a:ext uri="{FF2B5EF4-FFF2-40B4-BE49-F238E27FC236}">
                    <a16:creationId xmlns:a16="http://schemas.microsoft.com/office/drawing/2014/main" id="{60B66044-DF78-4350-9EB0-58D9F7FF1646}"/>
                  </a:ext>
                </a:extLst>
              </p:cNvPr>
              <p:cNvSpPr>
                <a:spLocks noEditPoints="1"/>
              </p:cNvSpPr>
              <p:nvPr/>
            </p:nvSpPr>
            <p:spPr bwMode="auto">
              <a:xfrm>
                <a:off x="1972" y="68"/>
                <a:ext cx="1816" cy="3172"/>
              </a:xfrm>
              <a:custGeom>
                <a:avLst/>
                <a:gdLst>
                  <a:gd name="T0" fmla="*/ 5035 w 5479"/>
                  <a:gd name="T1" fmla="*/ 2296 h 9591"/>
                  <a:gd name="T2" fmla="*/ 2739 w 5479"/>
                  <a:gd name="T3" fmla="*/ 4592 h 9591"/>
                  <a:gd name="T4" fmla="*/ 443 w 5479"/>
                  <a:gd name="T5" fmla="*/ 2296 h 9591"/>
                  <a:gd name="T6" fmla="*/ 2739 w 5479"/>
                  <a:gd name="T7" fmla="*/ 0 h 9591"/>
                  <a:gd name="T8" fmla="*/ 5035 w 5479"/>
                  <a:gd name="T9" fmla="*/ 2296 h 9591"/>
                  <a:gd name="T10" fmla="*/ 5479 w 5479"/>
                  <a:gd name="T11" fmla="*/ 7187 h 9591"/>
                  <a:gd name="T12" fmla="*/ 5479 w 5479"/>
                  <a:gd name="T13" fmla="*/ 7187 h 9591"/>
                  <a:gd name="T14" fmla="*/ 5479 w 5479"/>
                  <a:gd name="T15" fmla="*/ 9591 h 9591"/>
                  <a:gd name="T16" fmla="*/ 0 w 5479"/>
                  <a:gd name="T17" fmla="*/ 9591 h 9591"/>
                  <a:gd name="T18" fmla="*/ 0 w 5479"/>
                  <a:gd name="T19" fmla="*/ 7187 h 9591"/>
                  <a:gd name="T20" fmla="*/ 1712 w 5479"/>
                  <a:gd name="T21" fmla="*/ 5488 h 9591"/>
                  <a:gd name="T22" fmla="*/ 3768 w 5479"/>
                  <a:gd name="T23" fmla="*/ 5488 h 9591"/>
                  <a:gd name="T24" fmla="*/ 5479 w 5479"/>
                  <a:gd name="T25" fmla="*/ 7187 h 9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9" h="9591">
                    <a:moveTo>
                      <a:pt x="5035" y="2296"/>
                    </a:moveTo>
                    <a:cubicBezTo>
                      <a:pt x="5035" y="3564"/>
                      <a:pt x="4007" y="4592"/>
                      <a:pt x="2739" y="4592"/>
                    </a:cubicBezTo>
                    <a:cubicBezTo>
                      <a:pt x="1471" y="4592"/>
                      <a:pt x="443" y="3564"/>
                      <a:pt x="443" y="2296"/>
                    </a:cubicBezTo>
                    <a:cubicBezTo>
                      <a:pt x="443" y="1028"/>
                      <a:pt x="1471" y="0"/>
                      <a:pt x="2739" y="0"/>
                    </a:cubicBezTo>
                    <a:cubicBezTo>
                      <a:pt x="4007" y="0"/>
                      <a:pt x="5035" y="1028"/>
                      <a:pt x="5035" y="2296"/>
                    </a:cubicBezTo>
                    <a:close/>
                    <a:moveTo>
                      <a:pt x="5479" y="7187"/>
                    </a:moveTo>
                    <a:cubicBezTo>
                      <a:pt x="5479" y="7187"/>
                      <a:pt x="5479" y="7187"/>
                      <a:pt x="5479" y="7187"/>
                    </a:cubicBezTo>
                    <a:cubicBezTo>
                      <a:pt x="5479" y="9591"/>
                      <a:pt x="5479" y="9591"/>
                      <a:pt x="5479" y="9591"/>
                    </a:cubicBezTo>
                    <a:cubicBezTo>
                      <a:pt x="0" y="9591"/>
                      <a:pt x="0" y="9591"/>
                      <a:pt x="0" y="9591"/>
                    </a:cubicBezTo>
                    <a:cubicBezTo>
                      <a:pt x="0" y="7187"/>
                      <a:pt x="0" y="7187"/>
                      <a:pt x="0" y="7187"/>
                    </a:cubicBezTo>
                    <a:cubicBezTo>
                      <a:pt x="0" y="6247"/>
                      <a:pt x="766" y="5488"/>
                      <a:pt x="1712" y="5488"/>
                    </a:cubicBezTo>
                    <a:cubicBezTo>
                      <a:pt x="1712" y="5488"/>
                      <a:pt x="1712" y="5488"/>
                      <a:pt x="3768" y="5488"/>
                    </a:cubicBezTo>
                    <a:cubicBezTo>
                      <a:pt x="4714" y="5488"/>
                      <a:pt x="5479" y="6247"/>
                      <a:pt x="5479" y="7187"/>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25" name="Freeform 32">
                <a:extLst>
                  <a:ext uri="{FF2B5EF4-FFF2-40B4-BE49-F238E27FC236}">
                    <a16:creationId xmlns:a16="http://schemas.microsoft.com/office/drawing/2014/main" id="{CC2AD0B7-79E8-4C18-ABC5-EECC6760A9DF}"/>
                  </a:ext>
                </a:extLst>
              </p:cNvPr>
              <p:cNvSpPr>
                <a:spLocks noEditPoints="1"/>
              </p:cNvSpPr>
              <p:nvPr/>
            </p:nvSpPr>
            <p:spPr bwMode="auto">
              <a:xfrm>
                <a:off x="2637" y="0"/>
                <a:ext cx="1055" cy="828"/>
              </a:xfrm>
              <a:custGeom>
                <a:avLst/>
                <a:gdLst>
                  <a:gd name="T0" fmla="*/ 2244 w 3184"/>
                  <a:gd name="T1" fmla="*/ 2136 h 2504"/>
                  <a:gd name="T2" fmla="*/ 2244 w 3184"/>
                  <a:gd name="T3" fmla="*/ 2312 h 2504"/>
                  <a:gd name="T4" fmla="*/ 2112 w 3184"/>
                  <a:gd name="T5" fmla="*/ 2444 h 2504"/>
                  <a:gd name="T6" fmla="*/ 968 w 3184"/>
                  <a:gd name="T7" fmla="*/ 2444 h 2504"/>
                  <a:gd name="T8" fmla="*/ 836 w 3184"/>
                  <a:gd name="T9" fmla="*/ 2312 h 2504"/>
                  <a:gd name="T10" fmla="*/ 836 w 3184"/>
                  <a:gd name="T11" fmla="*/ 2136 h 2504"/>
                  <a:gd name="T12" fmla="*/ 968 w 3184"/>
                  <a:gd name="T13" fmla="*/ 2004 h 2504"/>
                  <a:gd name="T14" fmla="*/ 2112 w 3184"/>
                  <a:gd name="T15" fmla="*/ 2004 h 2504"/>
                  <a:gd name="T16" fmla="*/ 2244 w 3184"/>
                  <a:gd name="T17" fmla="*/ 2136 h 2504"/>
                  <a:gd name="T18" fmla="*/ 734 w 3184"/>
                  <a:gd name="T19" fmla="*/ 55 h 2504"/>
                  <a:gd name="T20" fmla="*/ 426 w 3184"/>
                  <a:gd name="T21" fmla="*/ 74 h 2504"/>
                  <a:gd name="T22" fmla="*/ 308 w 3184"/>
                  <a:gd name="T23" fmla="*/ 0 h 2504"/>
                  <a:gd name="T24" fmla="*/ 132 w 3184"/>
                  <a:gd name="T25" fmla="*/ 0 h 2504"/>
                  <a:gd name="T26" fmla="*/ 0 w 3184"/>
                  <a:gd name="T27" fmla="*/ 132 h 2504"/>
                  <a:gd name="T28" fmla="*/ 0 w 3184"/>
                  <a:gd name="T29" fmla="*/ 1277 h 2504"/>
                  <a:gd name="T30" fmla="*/ 132 w 3184"/>
                  <a:gd name="T31" fmla="*/ 1409 h 2504"/>
                  <a:gd name="T32" fmla="*/ 308 w 3184"/>
                  <a:gd name="T33" fmla="*/ 1409 h 2504"/>
                  <a:gd name="T34" fmla="*/ 440 w 3184"/>
                  <a:gd name="T35" fmla="*/ 1277 h 2504"/>
                  <a:gd name="T36" fmla="*/ 440 w 3184"/>
                  <a:gd name="T37" fmla="*/ 227 h 2504"/>
                  <a:gd name="T38" fmla="*/ 734 w 3184"/>
                  <a:gd name="T39" fmla="*/ 208 h 2504"/>
                  <a:gd name="T40" fmla="*/ 3030 w 3184"/>
                  <a:gd name="T41" fmla="*/ 2504 h 2504"/>
                  <a:gd name="T42" fmla="*/ 3184 w 3184"/>
                  <a:gd name="T43" fmla="*/ 2504 h 2504"/>
                  <a:gd name="T44" fmla="*/ 734 w 3184"/>
                  <a:gd name="T45" fmla="*/ 55 h 2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4" h="2504">
                    <a:moveTo>
                      <a:pt x="2244" y="2136"/>
                    </a:moveTo>
                    <a:cubicBezTo>
                      <a:pt x="2244" y="2312"/>
                      <a:pt x="2244" y="2312"/>
                      <a:pt x="2244" y="2312"/>
                    </a:cubicBezTo>
                    <a:cubicBezTo>
                      <a:pt x="2244" y="2385"/>
                      <a:pt x="2185" y="2444"/>
                      <a:pt x="2112" y="2444"/>
                    </a:cubicBezTo>
                    <a:cubicBezTo>
                      <a:pt x="968" y="2444"/>
                      <a:pt x="968" y="2444"/>
                      <a:pt x="968" y="2444"/>
                    </a:cubicBezTo>
                    <a:cubicBezTo>
                      <a:pt x="895" y="2444"/>
                      <a:pt x="836" y="2385"/>
                      <a:pt x="836" y="2312"/>
                    </a:cubicBezTo>
                    <a:cubicBezTo>
                      <a:pt x="836" y="2136"/>
                      <a:pt x="836" y="2136"/>
                      <a:pt x="836" y="2136"/>
                    </a:cubicBezTo>
                    <a:cubicBezTo>
                      <a:pt x="836" y="2064"/>
                      <a:pt x="895" y="2004"/>
                      <a:pt x="968" y="2004"/>
                    </a:cubicBezTo>
                    <a:cubicBezTo>
                      <a:pt x="2112" y="2004"/>
                      <a:pt x="2112" y="2004"/>
                      <a:pt x="2112" y="2004"/>
                    </a:cubicBezTo>
                    <a:cubicBezTo>
                      <a:pt x="2185" y="2004"/>
                      <a:pt x="2244" y="2064"/>
                      <a:pt x="2244" y="2136"/>
                    </a:cubicBezTo>
                    <a:close/>
                    <a:moveTo>
                      <a:pt x="734" y="55"/>
                    </a:moveTo>
                    <a:cubicBezTo>
                      <a:pt x="630" y="55"/>
                      <a:pt x="527" y="61"/>
                      <a:pt x="426" y="74"/>
                    </a:cubicBezTo>
                    <a:cubicBezTo>
                      <a:pt x="405" y="30"/>
                      <a:pt x="360" y="0"/>
                      <a:pt x="308" y="0"/>
                    </a:cubicBezTo>
                    <a:cubicBezTo>
                      <a:pt x="132" y="0"/>
                      <a:pt x="132" y="0"/>
                      <a:pt x="132" y="0"/>
                    </a:cubicBezTo>
                    <a:cubicBezTo>
                      <a:pt x="59" y="0"/>
                      <a:pt x="0" y="60"/>
                      <a:pt x="0" y="132"/>
                    </a:cubicBezTo>
                    <a:cubicBezTo>
                      <a:pt x="0" y="1277"/>
                      <a:pt x="0" y="1277"/>
                      <a:pt x="0" y="1277"/>
                    </a:cubicBezTo>
                    <a:cubicBezTo>
                      <a:pt x="0" y="1349"/>
                      <a:pt x="59" y="1409"/>
                      <a:pt x="132" y="1409"/>
                    </a:cubicBezTo>
                    <a:cubicBezTo>
                      <a:pt x="308" y="1409"/>
                      <a:pt x="308" y="1409"/>
                      <a:pt x="308" y="1409"/>
                    </a:cubicBezTo>
                    <a:cubicBezTo>
                      <a:pt x="381" y="1409"/>
                      <a:pt x="440" y="1349"/>
                      <a:pt x="440" y="1277"/>
                    </a:cubicBezTo>
                    <a:cubicBezTo>
                      <a:pt x="440" y="227"/>
                      <a:pt x="440" y="227"/>
                      <a:pt x="440" y="227"/>
                    </a:cubicBezTo>
                    <a:cubicBezTo>
                      <a:pt x="536" y="215"/>
                      <a:pt x="635" y="208"/>
                      <a:pt x="734" y="208"/>
                    </a:cubicBezTo>
                    <a:cubicBezTo>
                      <a:pt x="2002" y="208"/>
                      <a:pt x="3030" y="1236"/>
                      <a:pt x="3030" y="2504"/>
                    </a:cubicBezTo>
                    <a:cubicBezTo>
                      <a:pt x="3184" y="2504"/>
                      <a:pt x="3184" y="2504"/>
                      <a:pt x="3184" y="2504"/>
                    </a:cubicBezTo>
                    <a:cubicBezTo>
                      <a:pt x="3184" y="1151"/>
                      <a:pt x="2087" y="55"/>
                      <a:pt x="734" y="55"/>
                    </a:cubicBezTo>
                    <a:close/>
                  </a:path>
                </a:pathLst>
              </a:custGeom>
              <a:solidFill>
                <a:srgbClr val="018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26" name="Freeform 33">
                <a:extLst>
                  <a:ext uri="{FF2B5EF4-FFF2-40B4-BE49-F238E27FC236}">
                    <a16:creationId xmlns:a16="http://schemas.microsoft.com/office/drawing/2014/main" id="{40EE1C52-0C40-40FB-A2A0-90299098C74D}"/>
                  </a:ext>
                </a:extLst>
              </p:cNvPr>
              <p:cNvSpPr>
                <a:spLocks/>
              </p:cNvSpPr>
              <p:nvPr/>
            </p:nvSpPr>
            <p:spPr bwMode="auto">
              <a:xfrm>
                <a:off x="3285" y="466"/>
                <a:ext cx="453" cy="539"/>
              </a:xfrm>
              <a:custGeom>
                <a:avLst/>
                <a:gdLst>
                  <a:gd name="T0" fmla="*/ 1367 w 1367"/>
                  <a:gd name="T1" fmla="*/ 387 h 1631"/>
                  <a:gd name="T2" fmla="*/ 1367 w 1367"/>
                  <a:gd name="T3" fmla="*/ 1244 h 1631"/>
                  <a:gd name="T4" fmla="*/ 980 w 1367"/>
                  <a:gd name="T5" fmla="*/ 1631 h 1631"/>
                  <a:gd name="T6" fmla="*/ 387 w 1367"/>
                  <a:gd name="T7" fmla="*/ 1631 h 1631"/>
                  <a:gd name="T8" fmla="*/ 0 w 1367"/>
                  <a:gd name="T9" fmla="*/ 1244 h 1631"/>
                  <a:gd name="T10" fmla="*/ 0 w 1367"/>
                  <a:gd name="T11" fmla="*/ 387 h 1631"/>
                  <a:gd name="T12" fmla="*/ 387 w 1367"/>
                  <a:gd name="T13" fmla="*/ 0 h 1631"/>
                  <a:gd name="T14" fmla="*/ 980 w 1367"/>
                  <a:gd name="T15" fmla="*/ 0 h 1631"/>
                  <a:gd name="T16" fmla="*/ 1367 w 1367"/>
                  <a:gd name="T17" fmla="*/ 387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7" h="1631">
                    <a:moveTo>
                      <a:pt x="1367" y="387"/>
                    </a:moveTo>
                    <a:cubicBezTo>
                      <a:pt x="1367" y="1244"/>
                      <a:pt x="1367" y="1244"/>
                      <a:pt x="1367" y="1244"/>
                    </a:cubicBezTo>
                    <a:cubicBezTo>
                      <a:pt x="1367" y="1457"/>
                      <a:pt x="1193" y="1631"/>
                      <a:pt x="980" y="1631"/>
                    </a:cubicBezTo>
                    <a:cubicBezTo>
                      <a:pt x="387" y="1631"/>
                      <a:pt x="387" y="1631"/>
                      <a:pt x="387" y="1631"/>
                    </a:cubicBezTo>
                    <a:cubicBezTo>
                      <a:pt x="174" y="1631"/>
                      <a:pt x="0" y="1457"/>
                      <a:pt x="0" y="1244"/>
                    </a:cubicBezTo>
                    <a:cubicBezTo>
                      <a:pt x="0" y="387"/>
                      <a:pt x="0" y="387"/>
                      <a:pt x="0" y="387"/>
                    </a:cubicBezTo>
                    <a:cubicBezTo>
                      <a:pt x="0" y="174"/>
                      <a:pt x="174" y="0"/>
                      <a:pt x="387" y="0"/>
                    </a:cubicBezTo>
                    <a:cubicBezTo>
                      <a:pt x="980" y="0"/>
                      <a:pt x="980" y="0"/>
                      <a:pt x="980" y="0"/>
                    </a:cubicBezTo>
                    <a:cubicBezTo>
                      <a:pt x="1193" y="0"/>
                      <a:pt x="1367" y="174"/>
                      <a:pt x="1367" y="387"/>
                    </a:cubicBezTo>
                    <a:close/>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27" name="Oval 34">
                <a:extLst>
                  <a:ext uri="{FF2B5EF4-FFF2-40B4-BE49-F238E27FC236}">
                    <a16:creationId xmlns:a16="http://schemas.microsoft.com/office/drawing/2014/main" id="{F9C0110F-A069-499E-A6F5-FD493F1B48D0}"/>
                  </a:ext>
                </a:extLst>
              </p:cNvPr>
              <p:cNvSpPr>
                <a:spLocks noChangeArrowheads="1"/>
              </p:cNvSpPr>
              <p:nvPr/>
            </p:nvSpPr>
            <p:spPr bwMode="auto">
              <a:xfrm>
                <a:off x="2380" y="406"/>
                <a:ext cx="658" cy="658"/>
              </a:xfrm>
              <a:prstGeom prst="ellipse">
                <a:avLst/>
              </a:prstGeom>
              <a:solidFill>
                <a:srgbClr val="0147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grpSp>
          <p:nvGrpSpPr>
            <p:cNvPr id="302" name="Group 301">
              <a:extLst>
                <a:ext uri="{FF2B5EF4-FFF2-40B4-BE49-F238E27FC236}">
                  <a16:creationId xmlns:a16="http://schemas.microsoft.com/office/drawing/2014/main" id="{5E920872-06D2-4432-89FB-F81342361524}"/>
                </a:ext>
              </a:extLst>
            </p:cNvPr>
            <p:cNvGrpSpPr/>
            <p:nvPr/>
          </p:nvGrpSpPr>
          <p:grpSpPr>
            <a:xfrm>
              <a:off x="1497841" y="3875253"/>
              <a:ext cx="123007" cy="159268"/>
              <a:chOff x="359686" y="1973323"/>
              <a:chExt cx="331311" cy="457636"/>
            </a:xfrm>
          </p:grpSpPr>
          <p:sp>
            <p:nvSpPr>
              <p:cNvPr id="320" name="Rectangle: Rounded Corners 763">
                <a:extLst>
                  <a:ext uri="{FF2B5EF4-FFF2-40B4-BE49-F238E27FC236}">
                    <a16:creationId xmlns:a16="http://schemas.microsoft.com/office/drawing/2014/main" id="{1FA3A058-30F1-47AA-8C97-76A7964A2324}"/>
                  </a:ext>
                </a:extLst>
              </p:cNvPr>
              <p:cNvSpPr/>
              <p:nvPr/>
            </p:nvSpPr>
            <p:spPr>
              <a:xfrm>
                <a:off x="402186" y="2146685"/>
                <a:ext cx="245299" cy="127431"/>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321" name="Group 320">
                <a:extLst>
                  <a:ext uri="{FF2B5EF4-FFF2-40B4-BE49-F238E27FC236}">
                    <a16:creationId xmlns:a16="http://schemas.microsoft.com/office/drawing/2014/main" id="{FF25C242-D66F-42A1-8024-E85A40D4355A}"/>
                  </a:ext>
                </a:extLst>
              </p:cNvPr>
              <p:cNvGrpSpPr/>
              <p:nvPr/>
            </p:nvGrpSpPr>
            <p:grpSpPr>
              <a:xfrm>
                <a:off x="359686" y="1973323"/>
                <a:ext cx="331311" cy="457636"/>
                <a:chOff x="649288" y="3575048"/>
                <a:chExt cx="220663" cy="304799"/>
              </a:xfrm>
            </p:grpSpPr>
            <p:sp>
              <p:nvSpPr>
                <p:cNvPr id="322" name="Freeform 63">
                  <a:extLst>
                    <a:ext uri="{FF2B5EF4-FFF2-40B4-BE49-F238E27FC236}">
                      <a16:creationId xmlns:a16="http://schemas.microsoft.com/office/drawing/2014/main" id="{499595D0-8912-4B1E-ACB8-FCBE5A3B31D5}"/>
                    </a:ext>
                  </a:extLst>
                </p:cNvPr>
                <p:cNvSpPr>
                  <a:spLocks noEditPoints="1"/>
                </p:cNvSpPr>
                <p:nvPr/>
              </p:nvSpPr>
              <p:spPr bwMode="auto">
                <a:xfrm>
                  <a:off x="649288" y="3808410"/>
                  <a:ext cx="220663" cy="71437"/>
                </a:xfrm>
                <a:custGeom>
                  <a:avLst/>
                  <a:gdLst>
                    <a:gd name="T0" fmla="*/ 213 w 213"/>
                    <a:gd name="T1" fmla="*/ 71 h 71"/>
                    <a:gd name="T2" fmla="*/ 186 w 213"/>
                    <a:gd name="T3" fmla="*/ 71 h 71"/>
                    <a:gd name="T4" fmla="*/ 184 w 213"/>
                    <a:gd name="T5" fmla="*/ 69 h 71"/>
                    <a:gd name="T6" fmla="*/ 176 w 213"/>
                    <a:gd name="T7" fmla="*/ 64 h 71"/>
                    <a:gd name="T8" fmla="*/ 38 w 213"/>
                    <a:gd name="T9" fmla="*/ 64 h 71"/>
                    <a:gd name="T10" fmla="*/ 29 w 213"/>
                    <a:gd name="T11" fmla="*/ 69 h 71"/>
                    <a:gd name="T12" fmla="*/ 27 w 213"/>
                    <a:gd name="T13" fmla="*/ 71 h 71"/>
                    <a:gd name="T14" fmla="*/ 0 w 213"/>
                    <a:gd name="T15" fmla="*/ 71 h 71"/>
                    <a:gd name="T16" fmla="*/ 48 w 213"/>
                    <a:gd name="T17" fmla="*/ 0 h 71"/>
                    <a:gd name="T18" fmla="*/ 165 w 213"/>
                    <a:gd name="T19" fmla="*/ 0 h 71"/>
                    <a:gd name="T20" fmla="*/ 187 w 213"/>
                    <a:gd name="T21" fmla="*/ 34 h 71"/>
                    <a:gd name="T22" fmla="*/ 213 w 213"/>
                    <a:gd name="T23" fmla="*/ 71 h 71"/>
                    <a:gd name="T24" fmla="*/ 47 w 213"/>
                    <a:gd name="T25" fmla="*/ 41 h 71"/>
                    <a:gd name="T26" fmla="*/ 166 w 213"/>
                    <a:gd name="T27" fmla="*/ 41 h 71"/>
                    <a:gd name="T28" fmla="*/ 157 w 213"/>
                    <a:gd name="T29" fmla="*/ 29 h 71"/>
                    <a:gd name="T30" fmla="*/ 146 w 213"/>
                    <a:gd name="T31" fmla="*/ 23 h 71"/>
                    <a:gd name="T32" fmla="*/ 66 w 213"/>
                    <a:gd name="T33" fmla="*/ 23 h 71"/>
                    <a:gd name="T34" fmla="*/ 54 w 213"/>
                    <a:gd name="T35" fmla="*/ 29 h 71"/>
                    <a:gd name="T36" fmla="*/ 47 w 213"/>
                    <a:gd name="T37" fmla="*/ 4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3" h="71">
                      <a:moveTo>
                        <a:pt x="213" y="71"/>
                      </a:moveTo>
                      <a:cubicBezTo>
                        <a:pt x="186" y="71"/>
                        <a:pt x="186" y="71"/>
                        <a:pt x="186" y="71"/>
                      </a:cubicBezTo>
                      <a:cubicBezTo>
                        <a:pt x="184" y="69"/>
                        <a:pt x="184" y="69"/>
                        <a:pt x="184" y="69"/>
                      </a:cubicBezTo>
                      <a:cubicBezTo>
                        <a:pt x="182" y="66"/>
                        <a:pt x="179" y="64"/>
                        <a:pt x="176" y="64"/>
                      </a:cubicBezTo>
                      <a:cubicBezTo>
                        <a:pt x="38" y="64"/>
                        <a:pt x="38" y="64"/>
                        <a:pt x="38" y="64"/>
                      </a:cubicBezTo>
                      <a:cubicBezTo>
                        <a:pt x="35" y="64"/>
                        <a:pt x="31" y="66"/>
                        <a:pt x="29" y="69"/>
                      </a:cubicBezTo>
                      <a:cubicBezTo>
                        <a:pt x="27" y="71"/>
                        <a:pt x="27" y="71"/>
                        <a:pt x="27" y="71"/>
                      </a:cubicBezTo>
                      <a:cubicBezTo>
                        <a:pt x="0" y="71"/>
                        <a:pt x="0" y="71"/>
                        <a:pt x="0" y="71"/>
                      </a:cubicBezTo>
                      <a:cubicBezTo>
                        <a:pt x="48" y="0"/>
                        <a:pt x="48" y="0"/>
                        <a:pt x="48" y="0"/>
                      </a:cubicBezTo>
                      <a:cubicBezTo>
                        <a:pt x="165" y="0"/>
                        <a:pt x="165" y="0"/>
                        <a:pt x="165" y="0"/>
                      </a:cubicBezTo>
                      <a:cubicBezTo>
                        <a:pt x="165" y="0"/>
                        <a:pt x="180" y="23"/>
                        <a:pt x="187" y="34"/>
                      </a:cubicBezTo>
                      <a:cubicBezTo>
                        <a:pt x="196" y="46"/>
                        <a:pt x="204" y="59"/>
                        <a:pt x="213" y="71"/>
                      </a:cubicBezTo>
                      <a:close/>
                      <a:moveTo>
                        <a:pt x="47" y="41"/>
                      </a:moveTo>
                      <a:cubicBezTo>
                        <a:pt x="166" y="41"/>
                        <a:pt x="166" y="41"/>
                        <a:pt x="166" y="41"/>
                      </a:cubicBezTo>
                      <a:cubicBezTo>
                        <a:pt x="157" y="29"/>
                        <a:pt x="157" y="29"/>
                        <a:pt x="157" y="29"/>
                      </a:cubicBezTo>
                      <a:cubicBezTo>
                        <a:pt x="155" y="25"/>
                        <a:pt x="150" y="23"/>
                        <a:pt x="146" y="23"/>
                      </a:cubicBezTo>
                      <a:cubicBezTo>
                        <a:pt x="66" y="23"/>
                        <a:pt x="66" y="23"/>
                        <a:pt x="66" y="23"/>
                      </a:cubicBezTo>
                      <a:cubicBezTo>
                        <a:pt x="61" y="23"/>
                        <a:pt x="56" y="25"/>
                        <a:pt x="54" y="29"/>
                      </a:cubicBezTo>
                      <a:lnTo>
                        <a:pt x="47" y="4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sp>
              <p:nvSpPr>
                <p:cNvPr id="323" name="Freeform 64">
                  <a:extLst>
                    <a:ext uri="{FF2B5EF4-FFF2-40B4-BE49-F238E27FC236}">
                      <a16:creationId xmlns:a16="http://schemas.microsoft.com/office/drawing/2014/main" id="{A79523ED-59FB-47CD-AEED-2260057EF58B}"/>
                    </a:ext>
                  </a:extLst>
                </p:cNvPr>
                <p:cNvSpPr>
                  <a:spLocks noEditPoints="1"/>
                </p:cNvSpPr>
                <p:nvPr/>
              </p:nvSpPr>
              <p:spPr bwMode="auto">
                <a:xfrm>
                  <a:off x="668338" y="3575048"/>
                  <a:ext cx="182563" cy="212725"/>
                </a:xfrm>
                <a:custGeom>
                  <a:avLst/>
                  <a:gdLst>
                    <a:gd name="T0" fmla="*/ 177 w 177"/>
                    <a:gd name="T1" fmla="*/ 18 h 211"/>
                    <a:gd name="T2" fmla="*/ 160 w 177"/>
                    <a:gd name="T3" fmla="*/ 0 h 211"/>
                    <a:gd name="T4" fmla="*/ 17 w 177"/>
                    <a:gd name="T5" fmla="*/ 0 h 211"/>
                    <a:gd name="T6" fmla="*/ 0 w 177"/>
                    <a:gd name="T7" fmla="*/ 18 h 211"/>
                    <a:gd name="T8" fmla="*/ 0 w 177"/>
                    <a:gd name="T9" fmla="*/ 193 h 211"/>
                    <a:gd name="T10" fmla="*/ 17 w 177"/>
                    <a:gd name="T11" fmla="*/ 211 h 211"/>
                    <a:gd name="T12" fmla="*/ 160 w 177"/>
                    <a:gd name="T13" fmla="*/ 211 h 211"/>
                    <a:gd name="T14" fmla="*/ 177 w 177"/>
                    <a:gd name="T15" fmla="*/ 193 h 211"/>
                    <a:gd name="T16" fmla="*/ 177 w 177"/>
                    <a:gd name="T17" fmla="*/ 18 h 211"/>
                    <a:gd name="T18" fmla="*/ 156 w 177"/>
                    <a:gd name="T19" fmla="*/ 64 h 211"/>
                    <a:gd name="T20" fmla="*/ 116 w 177"/>
                    <a:gd name="T21" fmla="*/ 104 h 211"/>
                    <a:gd name="T22" fmla="*/ 58 w 177"/>
                    <a:gd name="T23" fmla="*/ 104 h 211"/>
                    <a:gd name="T24" fmla="*/ 19 w 177"/>
                    <a:gd name="T25" fmla="*/ 64 h 211"/>
                    <a:gd name="T26" fmla="*/ 19 w 177"/>
                    <a:gd name="T27" fmla="*/ 64 h 211"/>
                    <a:gd name="T28" fmla="*/ 58 w 177"/>
                    <a:gd name="T29" fmla="*/ 25 h 211"/>
                    <a:gd name="T30" fmla="*/ 116 w 177"/>
                    <a:gd name="T31" fmla="*/ 25 h 211"/>
                    <a:gd name="T32" fmla="*/ 156 w 177"/>
                    <a:gd name="T33" fmla="*/ 64 h 211"/>
                    <a:gd name="T34" fmla="*/ 39 w 177"/>
                    <a:gd name="T35" fmla="*/ 186 h 211"/>
                    <a:gd name="T36" fmla="*/ 20 w 177"/>
                    <a:gd name="T37" fmla="*/ 168 h 211"/>
                    <a:gd name="T38" fmla="*/ 39 w 177"/>
                    <a:gd name="T39" fmla="*/ 149 h 211"/>
                    <a:gd name="T40" fmla="*/ 57 w 177"/>
                    <a:gd name="T41" fmla="*/ 168 h 211"/>
                    <a:gd name="T42" fmla="*/ 39 w 177"/>
                    <a:gd name="T43" fmla="*/ 186 h 211"/>
                    <a:gd name="T44" fmla="*/ 139 w 177"/>
                    <a:gd name="T45" fmla="*/ 186 h 211"/>
                    <a:gd name="T46" fmla="*/ 121 w 177"/>
                    <a:gd name="T47" fmla="*/ 168 h 211"/>
                    <a:gd name="T48" fmla="*/ 139 w 177"/>
                    <a:gd name="T49" fmla="*/ 149 h 211"/>
                    <a:gd name="T50" fmla="*/ 157 w 177"/>
                    <a:gd name="T51" fmla="*/ 168 h 211"/>
                    <a:gd name="T52" fmla="*/ 139 w 177"/>
                    <a:gd name="T53" fmla="*/ 18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211">
                      <a:moveTo>
                        <a:pt x="177" y="18"/>
                      </a:moveTo>
                      <a:cubicBezTo>
                        <a:pt x="177" y="8"/>
                        <a:pt x="170" y="0"/>
                        <a:pt x="160" y="0"/>
                      </a:cubicBezTo>
                      <a:cubicBezTo>
                        <a:pt x="17" y="0"/>
                        <a:pt x="17" y="0"/>
                        <a:pt x="17" y="0"/>
                      </a:cubicBezTo>
                      <a:cubicBezTo>
                        <a:pt x="7" y="0"/>
                        <a:pt x="0" y="8"/>
                        <a:pt x="0" y="18"/>
                      </a:cubicBezTo>
                      <a:cubicBezTo>
                        <a:pt x="0" y="193"/>
                        <a:pt x="0" y="193"/>
                        <a:pt x="0" y="193"/>
                      </a:cubicBezTo>
                      <a:cubicBezTo>
                        <a:pt x="0" y="203"/>
                        <a:pt x="7" y="211"/>
                        <a:pt x="17" y="211"/>
                      </a:cubicBezTo>
                      <a:cubicBezTo>
                        <a:pt x="160" y="211"/>
                        <a:pt x="160" y="211"/>
                        <a:pt x="160" y="211"/>
                      </a:cubicBezTo>
                      <a:cubicBezTo>
                        <a:pt x="170" y="211"/>
                        <a:pt x="177" y="203"/>
                        <a:pt x="177" y="193"/>
                      </a:cubicBezTo>
                      <a:lnTo>
                        <a:pt x="177" y="18"/>
                      </a:lnTo>
                      <a:close/>
                      <a:moveTo>
                        <a:pt x="156" y="64"/>
                      </a:moveTo>
                      <a:cubicBezTo>
                        <a:pt x="156" y="86"/>
                        <a:pt x="138" y="104"/>
                        <a:pt x="116" y="104"/>
                      </a:cubicBezTo>
                      <a:cubicBezTo>
                        <a:pt x="58" y="104"/>
                        <a:pt x="58" y="104"/>
                        <a:pt x="58" y="104"/>
                      </a:cubicBezTo>
                      <a:cubicBezTo>
                        <a:pt x="36" y="104"/>
                        <a:pt x="19" y="86"/>
                        <a:pt x="19" y="64"/>
                      </a:cubicBezTo>
                      <a:cubicBezTo>
                        <a:pt x="19" y="64"/>
                        <a:pt x="19" y="64"/>
                        <a:pt x="19" y="64"/>
                      </a:cubicBezTo>
                      <a:cubicBezTo>
                        <a:pt x="19" y="43"/>
                        <a:pt x="36" y="25"/>
                        <a:pt x="58" y="25"/>
                      </a:cubicBezTo>
                      <a:cubicBezTo>
                        <a:pt x="116" y="25"/>
                        <a:pt x="116" y="25"/>
                        <a:pt x="116" y="25"/>
                      </a:cubicBezTo>
                      <a:cubicBezTo>
                        <a:pt x="138" y="25"/>
                        <a:pt x="156" y="43"/>
                        <a:pt x="156" y="64"/>
                      </a:cubicBezTo>
                      <a:close/>
                      <a:moveTo>
                        <a:pt x="39" y="186"/>
                      </a:moveTo>
                      <a:cubicBezTo>
                        <a:pt x="28" y="186"/>
                        <a:pt x="20" y="178"/>
                        <a:pt x="20" y="168"/>
                      </a:cubicBezTo>
                      <a:cubicBezTo>
                        <a:pt x="20" y="158"/>
                        <a:pt x="28" y="149"/>
                        <a:pt x="39" y="149"/>
                      </a:cubicBezTo>
                      <a:cubicBezTo>
                        <a:pt x="49" y="149"/>
                        <a:pt x="57" y="158"/>
                        <a:pt x="57" y="168"/>
                      </a:cubicBezTo>
                      <a:cubicBezTo>
                        <a:pt x="57" y="178"/>
                        <a:pt x="49" y="186"/>
                        <a:pt x="39" y="186"/>
                      </a:cubicBezTo>
                      <a:close/>
                      <a:moveTo>
                        <a:pt x="139" y="186"/>
                      </a:moveTo>
                      <a:cubicBezTo>
                        <a:pt x="129" y="186"/>
                        <a:pt x="121" y="178"/>
                        <a:pt x="121" y="168"/>
                      </a:cubicBezTo>
                      <a:cubicBezTo>
                        <a:pt x="121" y="158"/>
                        <a:pt x="129" y="149"/>
                        <a:pt x="139" y="149"/>
                      </a:cubicBezTo>
                      <a:cubicBezTo>
                        <a:pt x="149" y="149"/>
                        <a:pt x="157" y="158"/>
                        <a:pt x="157" y="168"/>
                      </a:cubicBezTo>
                      <a:cubicBezTo>
                        <a:pt x="157" y="178"/>
                        <a:pt x="149" y="186"/>
                        <a:pt x="139" y="18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endParaRPr>
                </a:p>
              </p:txBody>
            </p:sp>
          </p:grpSp>
        </p:grpSp>
        <p:grpSp>
          <p:nvGrpSpPr>
            <p:cNvPr id="303" name="Group 302">
              <a:extLst>
                <a:ext uri="{FF2B5EF4-FFF2-40B4-BE49-F238E27FC236}">
                  <a16:creationId xmlns:a16="http://schemas.microsoft.com/office/drawing/2014/main" id="{AF418B23-297B-4509-BEBB-524B41C4EE9E}"/>
                </a:ext>
              </a:extLst>
            </p:cNvPr>
            <p:cNvGrpSpPr>
              <a:grpSpLocks noChangeAspect="1"/>
            </p:cNvGrpSpPr>
            <p:nvPr/>
          </p:nvGrpSpPr>
          <p:grpSpPr>
            <a:xfrm>
              <a:off x="364337" y="4241293"/>
              <a:ext cx="182338" cy="169296"/>
              <a:chOff x="7217546" y="3327525"/>
              <a:chExt cx="524977" cy="519986"/>
            </a:xfrm>
            <a:solidFill>
              <a:schemeClr val="accent1"/>
            </a:solidFill>
          </p:grpSpPr>
          <p:sp>
            <p:nvSpPr>
              <p:cNvPr id="315" name="Freeform 108">
                <a:extLst>
                  <a:ext uri="{FF2B5EF4-FFF2-40B4-BE49-F238E27FC236}">
                    <a16:creationId xmlns:a16="http://schemas.microsoft.com/office/drawing/2014/main" id="{8FC29353-D64B-41D7-B313-E1008DE61BB5}"/>
                  </a:ext>
                </a:extLst>
              </p:cNvPr>
              <p:cNvSpPr>
                <a:spLocks/>
              </p:cNvSpPr>
              <p:nvPr/>
            </p:nvSpPr>
            <p:spPr bwMode="auto">
              <a:xfrm>
                <a:off x="7225541" y="3327525"/>
                <a:ext cx="516982" cy="387987"/>
              </a:xfrm>
              <a:custGeom>
                <a:avLst/>
                <a:gdLst>
                  <a:gd name="T0" fmla="*/ 199 w 219"/>
                  <a:gd name="T1" fmla="*/ 164 h 164"/>
                  <a:gd name="T2" fmla="*/ 197 w 219"/>
                  <a:gd name="T3" fmla="*/ 164 h 164"/>
                  <a:gd name="T4" fmla="*/ 194 w 219"/>
                  <a:gd name="T5" fmla="*/ 156 h 164"/>
                  <a:gd name="T6" fmla="*/ 199 w 219"/>
                  <a:gd name="T7" fmla="*/ 81 h 164"/>
                  <a:gd name="T8" fmla="*/ 150 w 219"/>
                  <a:gd name="T9" fmla="*/ 25 h 164"/>
                  <a:gd name="T10" fmla="*/ 75 w 219"/>
                  <a:gd name="T11" fmla="*/ 20 h 164"/>
                  <a:gd name="T12" fmla="*/ 19 w 219"/>
                  <a:gd name="T13" fmla="*/ 70 h 164"/>
                  <a:gd name="T14" fmla="*/ 12 w 219"/>
                  <a:gd name="T15" fmla="*/ 90 h 164"/>
                  <a:gd name="T16" fmla="*/ 5 w 219"/>
                  <a:gd name="T17" fmla="*/ 94 h 164"/>
                  <a:gd name="T18" fmla="*/ 0 w 219"/>
                  <a:gd name="T19" fmla="*/ 87 h 164"/>
                  <a:gd name="T20" fmla="*/ 9 w 219"/>
                  <a:gd name="T21" fmla="*/ 65 h 164"/>
                  <a:gd name="T22" fmla="*/ 71 w 219"/>
                  <a:gd name="T23" fmla="*/ 10 h 164"/>
                  <a:gd name="T24" fmla="*/ 155 w 219"/>
                  <a:gd name="T25" fmla="*/ 15 h 164"/>
                  <a:gd name="T26" fmla="*/ 210 w 219"/>
                  <a:gd name="T27" fmla="*/ 78 h 164"/>
                  <a:gd name="T28" fmla="*/ 204 w 219"/>
                  <a:gd name="T29" fmla="*/ 161 h 164"/>
                  <a:gd name="T30" fmla="*/ 199 w 219"/>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64">
                    <a:moveTo>
                      <a:pt x="199" y="164"/>
                    </a:moveTo>
                    <a:cubicBezTo>
                      <a:pt x="198" y="164"/>
                      <a:pt x="197" y="164"/>
                      <a:pt x="197" y="164"/>
                    </a:cubicBezTo>
                    <a:cubicBezTo>
                      <a:pt x="194" y="162"/>
                      <a:pt x="193" y="159"/>
                      <a:pt x="194" y="156"/>
                    </a:cubicBezTo>
                    <a:cubicBezTo>
                      <a:pt x="206" y="133"/>
                      <a:pt x="207" y="106"/>
                      <a:pt x="199" y="81"/>
                    </a:cubicBezTo>
                    <a:cubicBezTo>
                      <a:pt x="191" y="57"/>
                      <a:pt x="173" y="37"/>
                      <a:pt x="150" y="25"/>
                    </a:cubicBezTo>
                    <a:cubicBezTo>
                      <a:pt x="126" y="14"/>
                      <a:pt x="100" y="12"/>
                      <a:pt x="75" y="20"/>
                    </a:cubicBezTo>
                    <a:cubicBezTo>
                      <a:pt x="50" y="29"/>
                      <a:pt x="31" y="46"/>
                      <a:pt x="19" y="70"/>
                    </a:cubicBezTo>
                    <a:cubicBezTo>
                      <a:pt x="16" y="76"/>
                      <a:pt x="13" y="83"/>
                      <a:pt x="12" y="90"/>
                    </a:cubicBezTo>
                    <a:cubicBezTo>
                      <a:pt x="11" y="93"/>
                      <a:pt x="8" y="95"/>
                      <a:pt x="5" y="94"/>
                    </a:cubicBezTo>
                    <a:cubicBezTo>
                      <a:pt x="2" y="94"/>
                      <a:pt x="0" y="90"/>
                      <a:pt x="0" y="87"/>
                    </a:cubicBezTo>
                    <a:cubicBezTo>
                      <a:pt x="2" y="80"/>
                      <a:pt x="5" y="72"/>
                      <a:pt x="9" y="65"/>
                    </a:cubicBezTo>
                    <a:cubicBezTo>
                      <a:pt x="22" y="38"/>
                      <a:pt x="44" y="19"/>
                      <a:pt x="71" y="10"/>
                    </a:cubicBezTo>
                    <a:cubicBezTo>
                      <a:pt x="99" y="0"/>
                      <a:pt x="129" y="2"/>
                      <a:pt x="155" y="15"/>
                    </a:cubicBezTo>
                    <a:cubicBezTo>
                      <a:pt x="181" y="28"/>
                      <a:pt x="200" y="50"/>
                      <a:pt x="210" y="78"/>
                    </a:cubicBezTo>
                    <a:cubicBezTo>
                      <a:pt x="219" y="105"/>
                      <a:pt x="217" y="135"/>
                      <a:pt x="204" y="161"/>
                    </a:cubicBezTo>
                    <a:cubicBezTo>
                      <a:pt x="203" y="163"/>
                      <a:pt x="201" y="164"/>
                      <a:pt x="199"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6" name="Freeform 109">
                <a:extLst>
                  <a:ext uri="{FF2B5EF4-FFF2-40B4-BE49-F238E27FC236}">
                    <a16:creationId xmlns:a16="http://schemas.microsoft.com/office/drawing/2014/main" id="{C7FAAA83-7812-45F6-9149-FD5AD259E86D}"/>
                  </a:ext>
                </a:extLst>
              </p:cNvPr>
              <p:cNvSpPr>
                <a:spLocks/>
              </p:cNvSpPr>
              <p:nvPr/>
            </p:nvSpPr>
            <p:spPr bwMode="auto">
              <a:xfrm>
                <a:off x="7255539" y="3509518"/>
                <a:ext cx="302990" cy="316990"/>
              </a:xfrm>
              <a:custGeom>
                <a:avLst/>
                <a:gdLst>
                  <a:gd name="T0" fmla="*/ 50 w 128"/>
                  <a:gd name="T1" fmla="*/ 134 h 134"/>
                  <a:gd name="T2" fmla="*/ 45 w 128"/>
                  <a:gd name="T3" fmla="*/ 131 h 134"/>
                  <a:gd name="T4" fmla="*/ 47 w 128"/>
                  <a:gd name="T5" fmla="*/ 123 h 134"/>
                  <a:gd name="T6" fmla="*/ 94 w 128"/>
                  <a:gd name="T7" fmla="*/ 81 h 134"/>
                  <a:gd name="T8" fmla="*/ 113 w 128"/>
                  <a:gd name="T9" fmla="*/ 40 h 134"/>
                  <a:gd name="T10" fmla="*/ 102 w 128"/>
                  <a:gd name="T11" fmla="*/ 18 h 134"/>
                  <a:gd name="T12" fmla="*/ 76 w 128"/>
                  <a:gd name="T13" fmla="*/ 27 h 134"/>
                  <a:gd name="T14" fmla="*/ 71 w 128"/>
                  <a:gd name="T15" fmla="*/ 37 h 134"/>
                  <a:gd name="T16" fmla="*/ 53 w 128"/>
                  <a:gd name="T17" fmla="*/ 70 h 134"/>
                  <a:gd name="T18" fmla="*/ 8 w 128"/>
                  <a:gd name="T19" fmla="*/ 96 h 134"/>
                  <a:gd name="T20" fmla="*/ 1 w 128"/>
                  <a:gd name="T21" fmla="*/ 92 h 134"/>
                  <a:gd name="T22" fmla="*/ 4 w 128"/>
                  <a:gd name="T23" fmla="*/ 85 h 134"/>
                  <a:gd name="T24" fmla="*/ 44 w 128"/>
                  <a:gd name="T25" fmla="*/ 63 h 134"/>
                  <a:gd name="T26" fmla="*/ 61 w 128"/>
                  <a:gd name="T27" fmla="*/ 32 h 134"/>
                  <a:gd name="T28" fmla="*/ 65 w 128"/>
                  <a:gd name="T29" fmla="*/ 22 h 134"/>
                  <a:gd name="T30" fmla="*/ 107 w 128"/>
                  <a:gd name="T31" fmla="*/ 8 h 134"/>
                  <a:gd name="T32" fmla="*/ 123 w 128"/>
                  <a:gd name="T33" fmla="*/ 44 h 134"/>
                  <a:gd name="T34" fmla="*/ 104 w 128"/>
                  <a:gd name="T35" fmla="*/ 88 h 134"/>
                  <a:gd name="T36" fmla="*/ 52 w 128"/>
                  <a:gd name="T37" fmla="*/ 133 h 134"/>
                  <a:gd name="T38" fmla="*/ 50 w 128"/>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4">
                    <a:moveTo>
                      <a:pt x="50" y="134"/>
                    </a:moveTo>
                    <a:cubicBezTo>
                      <a:pt x="48" y="134"/>
                      <a:pt x="46" y="133"/>
                      <a:pt x="45" y="131"/>
                    </a:cubicBezTo>
                    <a:cubicBezTo>
                      <a:pt x="43" y="128"/>
                      <a:pt x="44" y="125"/>
                      <a:pt x="47" y="123"/>
                    </a:cubicBezTo>
                    <a:cubicBezTo>
                      <a:pt x="47" y="123"/>
                      <a:pt x="78" y="106"/>
                      <a:pt x="94" y="81"/>
                    </a:cubicBezTo>
                    <a:cubicBezTo>
                      <a:pt x="104" y="67"/>
                      <a:pt x="110" y="48"/>
                      <a:pt x="113" y="40"/>
                    </a:cubicBezTo>
                    <a:cubicBezTo>
                      <a:pt x="116" y="30"/>
                      <a:pt x="113" y="23"/>
                      <a:pt x="102" y="18"/>
                    </a:cubicBezTo>
                    <a:cubicBezTo>
                      <a:pt x="93" y="13"/>
                      <a:pt x="81" y="17"/>
                      <a:pt x="76" y="27"/>
                    </a:cubicBezTo>
                    <a:cubicBezTo>
                      <a:pt x="74" y="30"/>
                      <a:pt x="73" y="33"/>
                      <a:pt x="71" y="37"/>
                    </a:cubicBezTo>
                    <a:cubicBezTo>
                      <a:pt x="66" y="47"/>
                      <a:pt x="61" y="60"/>
                      <a:pt x="53" y="70"/>
                    </a:cubicBezTo>
                    <a:cubicBezTo>
                      <a:pt x="41" y="86"/>
                      <a:pt x="9" y="96"/>
                      <a:pt x="8" y="96"/>
                    </a:cubicBezTo>
                    <a:cubicBezTo>
                      <a:pt x="5" y="97"/>
                      <a:pt x="2" y="95"/>
                      <a:pt x="1" y="92"/>
                    </a:cubicBezTo>
                    <a:cubicBezTo>
                      <a:pt x="0" y="89"/>
                      <a:pt x="1" y="86"/>
                      <a:pt x="4" y="85"/>
                    </a:cubicBezTo>
                    <a:cubicBezTo>
                      <a:pt x="13" y="83"/>
                      <a:pt x="36" y="74"/>
                      <a:pt x="44" y="63"/>
                    </a:cubicBezTo>
                    <a:cubicBezTo>
                      <a:pt x="51" y="54"/>
                      <a:pt x="56" y="42"/>
                      <a:pt x="61" y="32"/>
                    </a:cubicBezTo>
                    <a:cubicBezTo>
                      <a:pt x="62" y="28"/>
                      <a:pt x="64" y="25"/>
                      <a:pt x="65" y="22"/>
                    </a:cubicBezTo>
                    <a:cubicBezTo>
                      <a:pt x="73" y="6"/>
                      <a:pt x="92" y="0"/>
                      <a:pt x="107" y="8"/>
                    </a:cubicBezTo>
                    <a:cubicBezTo>
                      <a:pt x="123" y="15"/>
                      <a:pt x="128" y="28"/>
                      <a:pt x="123" y="44"/>
                    </a:cubicBezTo>
                    <a:cubicBezTo>
                      <a:pt x="121" y="52"/>
                      <a:pt x="114" y="72"/>
                      <a:pt x="104" y="88"/>
                    </a:cubicBezTo>
                    <a:cubicBezTo>
                      <a:pt x="86" y="115"/>
                      <a:pt x="54" y="132"/>
                      <a:pt x="52" y="133"/>
                    </a:cubicBezTo>
                    <a:cubicBezTo>
                      <a:pt x="51" y="134"/>
                      <a:pt x="51" y="134"/>
                      <a:pt x="5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7" name="Freeform 110">
                <a:extLst>
                  <a:ext uri="{FF2B5EF4-FFF2-40B4-BE49-F238E27FC236}">
                    <a16:creationId xmlns:a16="http://schemas.microsoft.com/office/drawing/2014/main" id="{2204DD0D-3202-4C3C-BE68-CB90C961F603}"/>
                  </a:ext>
                </a:extLst>
              </p:cNvPr>
              <p:cNvSpPr>
                <a:spLocks/>
              </p:cNvSpPr>
              <p:nvPr/>
            </p:nvSpPr>
            <p:spPr bwMode="auto">
              <a:xfrm>
                <a:off x="7227540" y="3455525"/>
                <a:ext cx="398986" cy="391986"/>
              </a:xfrm>
              <a:custGeom>
                <a:avLst/>
                <a:gdLst>
                  <a:gd name="T0" fmla="*/ 94 w 169"/>
                  <a:gd name="T1" fmla="*/ 166 h 166"/>
                  <a:gd name="T2" fmla="*/ 89 w 169"/>
                  <a:gd name="T3" fmla="*/ 164 h 166"/>
                  <a:gd name="T4" fmla="*/ 90 w 169"/>
                  <a:gd name="T5" fmla="*/ 156 h 166"/>
                  <a:gd name="T6" fmla="*/ 129 w 169"/>
                  <a:gd name="T7" fmla="*/ 117 h 166"/>
                  <a:gd name="T8" fmla="*/ 147 w 169"/>
                  <a:gd name="T9" fmla="*/ 77 h 166"/>
                  <a:gd name="T10" fmla="*/ 126 w 169"/>
                  <a:gd name="T11" fmla="*/ 18 h 166"/>
                  <a:gd name="T12" fmla="*/ 64 w 169"/>
                  <a:gd name="T13" fmla="*/ 39 h 166"/>
                  <a:gd name="T14" fmla="*/ 63 w 169"/>
                  <a:gd name="T15" fmla="*/ 42 h 166"/>
                  <a:gd name="T16" fmla="*/ 49 w 169"/>
                  <a:gd name="T17" fmla="*/ 71 h 166"/>
                  <a:gd name="T18" fmla="*/ 7 w 169"/>
                  <a:gd name="T19" fmla="*/ 96 h 166"/>
                  <a:gd name="T20" fmla="*/ 0 w 169"/>
                  <a:gd name="T21" fmla="*/ 92 h 166"/>
                  <a:gd name="T22" fmla="*/ 5 w 169"/>
                  <a:gd name="T23" fmla="*/ 85 h 166"/>
                  <a:gd name="T24" fmla="*/ 40 w 169"/>
                  <a:gd name="T25" fmla="*/ 65 h 166"/>
                  <a:gd name="T26" fmla="*/ 52 w 169"/>
                  <a:gd name="T27" fmla="*/ 39 h 166"/>
                  <a:gd name="T28" fmla="*/ 54 w 169"/>
                  <a:gd name="T29" fmla="*/ 33 h 166"/>
                  <a:gd name="T30" fmla="*/ 87 w 169"/>
                  <a:gd name="T31" fmla="*/ 5 h 166"/>
                  <a:gd name="T32" fmla="*/ 131 w 169"/>
                  <a:gd name="T33" fmla="*/ 7 h 166"/>
                  <a:gd name="T34" fmla="*/ 158 w 169"/>
                  <a:gd name="T35" fmla="*/ 81 h 166"/>
                  <a:gd name="T36" fmla="*/ 138 w 169"/>
                  <a:gd name="T37" fmla="*/ 123 h 166"/>
                  <a:gd name="T38" fmla="*/ 97 w 169"/>
                  <a:gd name="T39" fmla="*/ 165 h 166"/>
                  <a:gd name="T40" fmla="*/ 94 w 169"/>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166">
                    <a:moveTo>
                      <a:pt x="94" y="166"/>
                    </a:moveTo>
                    <a:cubicBezTo>
                      <a:pt x="92" y="166"/>
                      <a:pt x="91" y="166"/>
                      <a:pt x="89" y="164"/>
                    </a:cubicBezTo>
                    <a:cubicBezTo>
                      <a:pt x="87" y="162"/>
                      <a:pt x="88" y="158"/>
                      <a:pt x="90" y="156"/>
                    </a:cubicBezTo>
                    <a:cubicBezTo>
                      <a:pt x="91" y="156"/>
                      <a:pt x="115" y="137"/>
                      <a:pt x="129" y="117"/>
                    </a:cubicBezTo>
                    <a:cubicBezTo>
                      <a:pt x="136" y="106"/>
                      <a:pt x="142" y="93"/>
                      <a:pt x="147" y="77"/>
                    </a:cubicBezTo>
                    <a:cubicBezTo>
                      <a:pt x="157" y="48"/>
                      <a:pt x="150" y="29"/>
                      <a:pt x="126" y="18"/>
                    </a:cubicBezTo>
                    <a:cubicBezTo>
                      <a:pt x="103" y="6"/>
                      <a:pt x="77" y="16"/>
                      <a:pt x="64" y="39"/>
                    </a:cubicBezTo>
                    <a:cubicBezTo>
                      <a:pt x="64" y="39"/>
                      <a:pt x="63" y="41"/>
                      <a:pt x="63" y="42"/>
                    </a:cubicBezTo>
                    <a:cubicBezTo>
                      <a:pt x="60" y="49"/>
                      <a:pt x="56" y="60"/>
                      <a:pt x="49" y="71"/>
                    </a:cubicBezTo>
                    <a:cubicBezTo>
                      <a:pt x="39" y="88"/>
                      <a:pt x="9" y="96"/>
                      <a:pt x="7" y="96"/>
                    </a:cubicBezTo>
                    <a:cubicBezTo>
                      <a:pt x="4" y="97"/>
                      <a:pt x="1" y="95"/>
                      <a:pt x="0" y="92"/>
                    </a:cubicBezTo>
                    <a:cubicBezTo>
                      <a:pt x="0" y="89"/>
                      <a:pt x="2" y="86"/>
                      <a:pt x="5" y="85"/>
                    </a:cubicBezTo>
                    <a:cubicBezTo>
                      <a:pt x="12" y="83"/>
                      <a:pt x="33" y="76"/>
                      <a:pt x="40" y="65"/>
                    </a:cubicBezTo>
                    <a:cubicBezTo>
                      <a:pt x="46" y="55"/>
                      <a:pt x="50" y="45"/>
                      <a:pt x="52" y="39"/>
                    </a:cubicBezTo>
                    <a:cubicBezTo>
                      <a:pt x="53" y="36"/>
                      <a:pt x="53" y="34"/>
                      <a:pt x="54" y="33"/>
                    </a:cubicBezTo>
                    <a:cubicBezTo>
                      <a:pt x="62" y="20"/>
                      <a:pt x="73" y="10"/>
                      <a:pt x="87" y="5"/>
                    </a:cubicBezTo>
                    <a:cubicBezTo>
                      <a:pt x="102" y="0"/>
                      <a:pt x="117" y="1"/>
                      <a:pt x="131" y="7"/>
                    </a:cubicBezTo>
                    <a:cubicBezTo>
                      <a:pt x="160" y="22"/>
                      <a:pt x="169" y="46"/>
                      <a:pt x="158" y="81"/>
                    </a:cubicBezTo>
                    <a:cubicBezTo>
                      <a:pt x="152" y="98"/>
                      <a:pt x="146" y="112"/>
                      <a:pt x="138" y="123"/>
                    </a:cubicBezTo>
                    <a:cubicBezTo>
                      <a:pt x="123" y="145"/>
                      <a:pt x="98" y="164"/>
                      <a:pt x="97" y="165"/>
                    </a:cubicBezTo>
                    <a:cubicBezTo>
                      <a:pt x="96" y="166"/>
                      <a:pt x="95" y="166"/>
                      <a:pt x="9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8" name="Freeform 111">
                <a:extLst>
                  <a:ext uri="{FF2B5EF4-FFF2-40B4-BE49-F238E27FC236}">
                    <a16:creationId xmlns:a16="http://schemas.microsoft.com/office/drawing/2014/main" id="{B4E16469-5886-4AFE-813E-EF8B7F2597D0}"/>
                  </a:ext>
                </a:extLst>
              </p:cNvPr>
              <p:cNvSpPr>
                <a:spLocks/>
              </p:cNvSpPr>
              <p:nvPr/>
            </p:nvSpPr>
            <p:spPr bwMode="auto">
              <a:xfrm>
                <a:off x="7217546" y="3370522"/>
                <a:ext cx="479985" cy="464986"/>
              </a:xfrm>
              <a:custGeom>
                <a:avLst/>
                <a:gdLst>
                  <a:gd name="T0" fmla="*/ 141 w 203"/>
                  <a:gd name="T1" fmla="*/ 197 h 197"/>
                  <a:gd name="T2" fmla="*/ 137 w 203"/>
                  <a:gd name="T3" fmla="*/ 196 h 197"/>
                  <a:gd name="T4" fmla="*/ 137 w 203"/>
                  <a:gd name="T5" fmla="*/ 188 h 197"/>
                  <a:gd name="T6" fmla="*/ 171 w 203"/>
                  <a:gd name="T7" fmla="*/ 133 h 197"/>
                  <a:gd name="T8" fmla="*/ 141 w 203"/>
                  <a:gd name="T9" fmla="*/ 30 h 197"/>
                  <a:gd name="T10" fmla="*/ 45 w 203"/>
                  <a:gd name="T11" fmla="*/ 63 h 197"/>
                  <a:gd name="T12" fmla="*/ 41 w 203"/>
                  <a:gd name="T13" fmla="*/ 75 h 197"/>
                  <a:gd name="T14" fmla="*/ 38 w 203"/>
                  <a:gd name="T15" fmla="*/ 82 h 197"/>
                  <a:gd name="T16" fmla="*/ 7 w 203"/>
                  <a:gd name="T17" fmla="*/ 106 h 197"/>
                  <a:gd name="T18" fmla="*/ 0 w 203"/>
                  <a:gd name="T19" fmla="*/ 102 h 197"/>
                  <a:gd name="T20" fmla="*/ 5 w 203"/>
                  <a:gd name="T21" fmla="*/ 95 h 197"/>
                  <a:gd name="T22" fmla="*/ 28 w 203"/>
                  <a:gd name="T23" fmla="*/ 78 h 197"/>
                  <a:gd name="T24" fmla="*/ 30 w 203"/>
                  <a:gd name="T25" fmla="*/ 72 h 197"/>
                  <a:gd name="T26" fmla="*/ 35 w 203"/>
                  <a:gd name="T27" fmla="*/ 58 h 197"/>
                  <a:gd name="T28" fmla="*/ 146 w 203"/>
                  <a:gd name="T29" fmla="*/ 20 h 197"/>
                  <a:gd name="T30" fmla="*/ 182 w 203"/>
                  <a:gd name="T31" fmla="*/ 137 h 197"/>
                  <a:gd name="T32" fmla="*/ 146 w 203"/>
                  <a:gd name="T33" fmla="*/ 195 h 197"/>
                  <a:gd name="T34" fmla="*/ 141 w 203"/>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7">
                    <a:moveTo>
                      <a:pt x="141" y="197"/>
                    </a:moveTo>
                    <a:cubicBezTo>
                      <a:pt x="140" y="197"/>
                      <a:pt x="139" y="197"/>
                      <a:pt x="137" y="196"/>
                    </a:cubicBezTo>
                    <a:cubicBezTo>
                      <a:pt x="135" y="194"/>
                      <a:pt x="135" y="190"/>
                      <a:pt x="137" y="188"/>
                    </a:cubicBezTo>
                    <a:cubicBezTo>
                      <a:pt x="137" y="188"/>
                      <a:pt x="159" y="163"/>
                      <a:pt x="171" y="133"/>
                    </a:cubicBezTo>
                    <a:cubicBezTo>
                      <a:pt x="190" y="86"/>
                      <a:pt x="179" y="49"/>
                      <a:pt x="141" y="30"/>
                    </a:cubicBezTo>
                    <a:cubicBezTo>
                      <a:pt x="106" y="13"/>
                      <a:pt x="62" y="27"/>
                      <a:pt x="45" y="63"/>
                    </a:cubicBezTo>
                    <a:cubicBezTo>
                      <a:pt x="43" y="67"/>
                      <a:pt x="42" y="71"/>
                      <a:pt x="41" y="75"/>
                    </a:cubicBezTo>
                    <a:cubicBezTo>
                      <a:pt x="40" y="77"/>
                      <a:pt x="39" y="80"/>
                      <a:pt x="38" y="82"/>
                    </a:cubicBezTo>
                    <a:cubicBezTo>
                      <a:pt x="32" y="100"/>
                      <a:pt x="8" y="106"/>
                      <a:pt x="7" y="106"/>
                    </a:cubicBezTo>
                    <a:cubicBezTo>
                      <a:pt x="4" y="107"/>
                      <a:pt x="1" y="105"/>
                      <a:pt x="0" y="102"/>
                    </a:cubicBezTo>
                    <a:cubicBezTo>
                      <a:pt x="0" y="99"/>
                      <a:pt x="1" y="96"/>
                      <a:pt x="5" y="95"/>
                    </a:cubicBezTo>
                    <a:cubicBezTo>
                      <a:pt x="5" y="95"/>
                      <a:pt x="24" y="91"/>
                      <a:pt x="28" y="78"/>
                    </a:cubicBezTo>
                    <a:cubicBezTo>
                      <a:pt x="28" y="76"/>
                      <a:pt x="29" y="74"/>
                      <a:pt x="30" y="72"/>
                    </a:cubicBezTo>
                    <a:cubicBezTo>
                      <a:pt x="31" y="67"/>
                      <a:pt x="32" y="63"/>
                      <a:pt x="35" y="58"/>
                    </a:cubicBezTo>
                    <a:cubicBezTo>
                      <a:pt x="55" y="17"/>
                      <a:pt x="105" y="0"/>
                      <a:pt x="146" y="20"/>
                    </a:cubicBezTo>
                    <a:cubicBezTo>
                      <a:pt x="190" y="41"/>
                      <a:pt x="203" y="85"/>
                      <a:pt x="182" y="137"/>
                    </a:cubicBezTo>
                    <a:cubicBezTo>
                      <a:pt x="169" y="169"/>
                      <a:pt x="146" y="194"/>
                      <a:pt x="146" y="195"/>
                    </a:cubicBezTo>
                    <a:cubicBezTo>
                      <a:pt x="144" y="197"/>
                      <a:pt x="143" y="197"/>
                      <a:pt x="14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9" name="Freeform 112">
                <a:extLst>
                  <a:ext uri="{FF2B5EF4-FFF2-40B4-BE49-F238E27FC236}">
                    <a16:creationId xmlns:a16="http://schemas.microsoft.com/office/drawing/2014/main" id="{3768B01E-6088-4343-A818-4C7BD715244B}"/>
                  </a:ext>
                </a:extLst>
              </p:cNvPr>
              <p:cNvSpPr>
                <a:spLocks/>
              </p:cNvSpPr>
              <p:nvPr/>
            </p:nvSpPr>
            <p:spPr bwMode="auto">
              <a:xfrm>
                <a:off x="7295551" y="3585518"/>
                <a:ext cx="191993" cy="202993"/>
              </a:xfrm>
              <a:custGeom>
                <a:avLst/>
                <a:gdLst>
                  <a:gd name="T0" fmla="*/ 7 w 81"/>
                  <a:gd name="T1" fmla="*/ 86 h 86"/>
                  <a:gd name="T2" fmla="*/ 2 w 81"/>
                  <a:gd name="T3" fmla="*/ 83 h 86"/>
                  <a:gd name="T4" fmla="*/ 4 w 81"/>
                  <a:gd name="T5" fmla="*/ 75 h 86"/>
                  <a:gd name="T6" fmla="*/ 45 w 81"/>
                  <a:gd name="T7" fmla="*/ 48 h 86"/>
                  <a:gd name="T8" fmla="*/ 69 w 81"/>
                  <a:gd name="T9" fmla="*/ 5 h 86"/>
                  <a:gd name="T10" fmla="*/ 76 w 81"/>
                  <a:gd name="T11" fmla="*/ 0 h 86"/>
                  <a:gd name="T12" fmla="*/ 81 w 81"/>
                  <a:gd name="T13" fmla="*/ 7 h 86"/>
                  <a:gd name="T14" fmla="*/ 54 w 81"/>
                  <a:gd name="T15" fmla="*/ 56 h 86"/>
                  <a:gd name="T16" fmla="*/ 9 w 81"/>
                  <a:gd name="T17" fmla="*/ 86 h 86"/>
                  <a:gd name="T18" fmla="*/ 7 w 8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6">
                    <a:moveTo>
                      <a:pt x="7" y="86"/>
                    </a:moveTo>
                    <a:cubicBezTo>
                      <a:pt x="5" y="86"/>
                      <a:pt x="3" y="85"/>
                      <a:pt x="2" y="83"/>
                    </a:cubicBezTo>
                    <a:cubicBezTo>
                      <a:pt x="0" y="80"/>
                      <a:pt x="2" y="76"/>
                      <a:pt x="4" y="75"/>
                    </a:cubicBezTo>
                    <a:cubicBezTo>
                      <a:pt x="5" y="75"/>
                      <a:pt x="33" y="62"/>
                      <a:pt x="45" y="48"/>
                    </a:cubicBezTo>
                    <a:cubicBezTo>
                      <a:pt x="65" y="26"/>
                      <a:pt x="69" y="5"/>
                      <a:pt x="69" y="5"/>
                    </a:cubicBezTo>
                    <a:cubicBezTo>
                      <a:pt x="70" y="2"/>
                      <a:pt x="73" y="0"/>
                      <a:pt x="76" y="0"/>
                    </a:cubicBezTo>
                    <a:cubicBezTo>
                      <a:pt x="79" y="1"/>
                      <a:pt x="81" y="4"/>
                      <a:pt x="81" y="7"/>
                    </a:cubicBezTo>
                    <a:cubicBezTo>
                      <a:pt x="80" y="8"/>
                      <a:pt x="75" y="31"/>
                      <a:pt x="54" y="56"/>
                    </a:cubicBezTo>
                    <a:cubicBezTo>
                      <a:pt x="39" y="72"/>
                      <a:pt x="10" y="85"/>
                      <a:pt x="9" y="86"/>
                    </a:cubicBezTo>
                    <a:cubicBezTo>
                      <a:pt x="8" y="86"/>
                      <a:pt x="8" y="86"/>
                      <a:pt x="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304" name="Group 303">
              <a:extLst>
                <a:ext uri="{FF2B5EF4-FFF2-40B4-BE49-F238E27FC236}">
                  <a16:creationId xmlns:a16="http://schemas.microsoft.com/office/drawing/2014/main" id="{02E1FBBF-5EB8-42B8-8181-F4305771AD3B}"/>
                </a:ext>
              </a:extLst>
            </p:cNvPr>
            <p:cNvGrpSpPr/>
            <p:nvPr/>
          </p:nvGrpSpPr>
          <p:grpSpPr>
            <a:xfrm>
              <a:off x="366082" y="3862177"/>
              <a:ext cx="178849" cy="160357"/>
              <a:chOff x="6493428" y="-20381"/>
              <a:chExt cx="1290463" cy="1234331"/>
            </a:xfrm>
          </p:grpSpPr>
          <p:grpSp>
            <p:nvGrpSpPr>
              <p:cNvPr id="306" name="Group 4">
                <a:extLst>
                  <a:ext uri="{FF2B5EF4-FFF2-40B4-BE49-F238E27FC236}">
                    <a16:creationId xmlns:a16="http://schemas.microsoft.com/office/drawing/2014/main" id="{09EB34D2-3D9B-4DBF-9632-36C9957804AC}"/>
                  </a:ext>
                </a:extLst>
              </p:cNvPr>
              <p:cNvGrpSpPr>
                <a:grpSpLocks noChangeAspect="1"/>
              </p:cNvGrpSpPr>
              <p:nvPr/>
            </p:nvGrpSpPr>
            <p:grpSpPr bwMode="auto">
              <a:xfrm>
                <a:off x="6493428" y="299646"/>
                <a:ext cx="412157" cy="883191"/>
                <a:chOff x="598" y="1936"/>
                <a:chExt cx="287" cy="615"/>
              </a:xfrm>
              <a:solidFill>
                <a:schemeClr val="accent2"/>
              </a:solidFill>
            </p:grpSpPr>
            <p:sp>
              <p:nvSpPr>
                <p:cNvPr id="313" name="Freeform 6">
                  <a:extLst>
                    <a:ext uri="{FF2B5EF4-FFF2-40B4-BE49-F238E27FC236}">
                      <a16:creationId xmlns:a16="http://schemas.microsoft.com/office/drawing/2014/main" id="{183F723F-99EB-407A-8659-0F2B3BFD06D0}"/>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4" name="Freeform 7">
                  <a:extLst>
                    <a:ext uri="{FF2B5EF4-FFF2-40B4-BE49-F238E27FC236}">
                      <a16:creationId xmlns:a16="http://schemas.microsoft.com/office/drawing/2014/main" id="{C96F9578-B597-460F-834F-FB1D459B840A}"/>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307" name="Group 4">
                <a:extLst>
                  <a:ext uri="{FF2B5EF4-FFF2-40B4-BE49-F238E27FC236}">
                    <a16:creationId xmlns:a16="http://schemas.microsoft.com/office/drawing/2014/main" id="{684D6367-D660-4BA1-BAC0-8AEA7092C2A4}"/>
                  </a:ext>
                </a:extLst>
              </p:cNvPr>
              <p:cNvGrpSpPr>
                <a:grpSpLocks noChangeAspect="1"/>
              </p:cNvGrpSpPr>
              <p:nvPr/>
            </p:nvGrpSpPr>
            <p:grpSpPr bwMode="auto">
              <a:xfrm>
                <a:off x="7371734" y="299646"/>
                <a:ext cx="412157" cy="883191"/>
                <a:chOff x="598" y="1936"/>
                <a:chExt cx="287" cy="615"/>
              </a:xfrm>
              <a:solidFill>
                <a:schemeClr val="accent1"/>
              </a:solidFill>
            </p:grpSpPr>
            <p:sp>
              <p:nvSpPr>
                <p:cNvPr id="311" name="Freeform 6">
                  <a:extLst>
                    <a:ext uri="{FF2B5EF4-FFF2-40B4-BE49-F238E27FC236}">
                      <a16:creationId xmlns:a16="http://schemas.microsoft.com/office/drawing/2014/main" id="{EEC9EE54-AAE3-41C0-A7D6-50F160DBBBD5}"/>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2" name="Freeform 7">
                  <a:extLst>
                    <a:ext uri="{FF2B5EF4-FFF2-40B4-BE49-F238E27FC236}">
                      <a16:creationId xmlns:a16="http://schemas.microsoft.com/office/drawing/2014/main" id="{8B786CE3-312C-41DB-BBAD-9CF919AE1757}"/>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308" name="Group 4">
                <a:extLst>
                  <a:ext uri="{FF2B5EF4-FFF2-40B4-BE49-F238E27FC236}">
                    <a16:creationId xmlns:a16="http://schemas.microsoft.com/office/drawing/2014/main" id="{240A278D-EE4C-4D97-BD5A-D335C457665B}"/>
                  </a:ext>
                </a:extLst>
              </p:cNvPr>
              <p:cNvGrpSpPr>
                <a:grpSpLocks noChangeAspect="1"/>
              </p:cNvGrpSpPr>
              <p:nvPr/>
            </p:nvGrpSpPr>
            <p:grpSpPr bwMode="auto">
              <a:xfrm>
                <a:off x="6846909" y="-20381"/>
                <a:ext cx="576018" cy="1234331"/>
                <a:chOff x="598" y="1936"/>
                <a:chExt cx="287" cy="615"/>
              </a:xfrm>
              <a:solidFill>
                <a:schemeClr val="accent5"/>
              </a:solidFill>
            </p:grpSpPr>
            <p:sp>
              <p:nvSpPr>
                <p:cNvPr id="309" name="Freeform 6">
                  <a:extLst>
                    <a:ext uri="{FF2B5EF4-FFF2-40B4-BE49-F238E27FC236}">
                      <a16:creationId xmlns:a16="http://schemas.microsoft.com/office/drawing/2014/main" id="{5CC537E1-8A08-4414-8A35-2B2FECC07AA4}"/>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0" name="Freeform 7">
                  <a:extLst>
                    <a:ext uri="{FF2B5EF4-FFF2-40B4-BE49-F238E27FC236}">
                      <a16:creationId xmlns:a16="http://schemas.microsoft.com/office/drawing/2014/main" id="{654712E8-3D1A-4060-8B78-793E3AAA4BCE}"/>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pic>
          <p:nvPicPr>
            <p:cNvPr id="305" name="Picture 304">
              <a:extLst>
                <a:ext uri="{FF2B5EF4-FFF2-40B4-BE49-F238E27FC236}">
                  <a16:creationId xmlns:a16="http://schemas.microsoft.com/office/drawing/2014/main" id="{396D856D-E53C-4709-A39C-E6B9F21A9C3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451412" y="4598664"/>
              <a:ext cx="215864" cy="215864"/>
            </a:xfrm>
            <a:prstGeom prst="rect">
              <a:avLst/>
            </a:prstGeom>
          </p:spPr>
        </p:pic>
      </p:grpSp>
    </p:spTree>
    <p:extLst>
      <p:ext uri="{BB962C8B-B14F-4D97-AF65-F5344CB8AC3E}">
        <p14:creationId xmlns:p14="http://schemas.microsoft.com/office/powerpoint/2010/main" val="3235973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94075" y="133794"/>
            <a:ext cx="8345488" cy="731837"/>
          </a:xfrm>
        </p:spPr>
        <p:txBody>
          <a:bodyPr/>
          <a:lstStyle/>
          <a:p>
            <a:r>
              <a:rPr lang="en-US" sz="2400" dirty="0"/>
              <a:t>Metro Transport – Options</a:t>
            </a:r>
            <a:br>
              <a:rPr lang="en-US" sz="2400" dirty="0"/>
            </a:br>
            <a:r>
              <a:rPr lang="en-US" sz="1800" dirty="0"/>
              <a:t>The case for Digital Coherent Optics</a:t>
            </a:r>
            <a:endParaRPr lang="en-US" dirty="0"/>
          </a:p>
        </p:txBody>
      </p:sp>
      <p:grpSp>
        <p:nvGrpSpPr>
          <p:cNvPr id="13" name="Group 12"/>
          <p:cNvGrpSpPr/>
          <p:nvPr/>
        </p:nvGrpSpPr>
        <p:grpSpPr>
          <a:xfrm>
            <a:off x="3122210" y="918613"/>
            <a:ext cx="2743587" cy="751265"/>
            <a:chOff x="495085" y="2068166"/>
            <a:chExt cx="3319741" cy="751265"/>
          </a:xfrm>
        </p:grpSpPr>
        <p:grpSp>
          <p:nvGrpSpPr>
            <p:cNvPr id="183" name="Group 182">
              <a:extLst>
                <a:ext uri="{FF2B5EF4-FFF2-40B4-BE49-F238E27FC236}">
                  <a16:creationId xmlns:a16="http://schemas.microsoft.com/office/drawing/2014/main" id="{9A68A9BC-49CF-4D69-B1F2-53ACDD08F3FD}"/>
                </a:ext>
              </a:extLst>
            </p:cNvPr>
            <p:cNvGrpSpPr/>
            <p:nvPr/>
          </p:nvGrpSpPr>
          <p:grpSpPr>
            <a:xfrm>
              <a:off x="838471" y="2068166"/>
              <a:ext cx="2517050" cy="745550"/>
              <a:chOff x="3181900" y="1656890"/>
              <a:chExt cx="1650331" cy="994066"/>
            </a:xfrm>
          </p:grpSpPr>
          <p:grpSp>
            <p:nvGrpSpPr>
              <p:cNvPr id="184" name="Group 183">
                <a:extLst>
                  <a:ext uri="{FF2B5EF4-FFF2-40B4-BE49-F238E27FC236}">
                    <a16:creationId xmlns:a16="http://schemas.microsoft.com/office/drawing/2014/main" id="{C4311654-66A1-42F2-9D38-D44F0DF29C22}"/>
                  </a:ext>
                </a:extLst>
              </p:cNvPr>
              <p:cNvGrpSpPr/>
              <p:nvPr/>
            </p:nvGrpSpPr>
            <p:grpSpPr>
              <a:xfrm>
                <a:off x="3227827" y="2056864"/>
                <a:ext cx="1604404" cy="594092"/>
                <a:chOff x="3576919" y="2078361"/>
                <a:chExt cx="1617419" cy="598911"/>
              </a:xfrm>
              <a:solidFill>
                <a:schemeClr val="bg2">
                  <a:lumMod val="85000"/>
                </a:schemeClr>
              </a:solidFill>
            </p:grpSpPr>
            <p:sp>
              <p:nvSpPr>
                <p:cNvPr id="190" name="Rectangle: Rounded Corners 170">
                  <a:extLst>
                    <a:ext uri="{FF2B5EF4-FFF2-40B4-BE49-F238E27FC236}">
                      <a16:creationId xmlns:a16="http://schemas.microsoft.com/office/drawing/2014/main" id="{A1500D27-D1AC-415E-B0E6-BDCDD7418F5E}"/>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1" name="Rectangle: Rounded Corners 172">
                  <a:extLst>
                    <a:ext uri="{FF2B5EF4-FFF2-40B4-BE49-F238E27FC236}">
                      <a16:creationId xmlns:a16="http://schemas.microsoft.com/office/drawing/2014/main" id="{DC42303D-B42E-482D-B438-A6D2F1FD823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2" name="Rectangle: Rounded Corners 173">
                  <a:extLst>
                    <a:ext uri="{FF2B5EF4-FFF2-40B4-BE49-F238E27FC236}">
                      <a16:creationId xmlns:a16="http://schemas.microsoft.com/office/drawing/2014/main" id="{79389838-0458-4507-A00C-6F45713B4FF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3" name="Rectangle: Rounded Corners 174">
                  <a:extLst>
                    <a:ext uri="{FF2B5EF4-FFF2-40B4-BE49-F238E27FC236}">
                      <a16:creationId xmlns:a16="http://schemas.microsoft.com/office/drawing/2014/main" id="{D52CABE5-CEAF-48EA-A09D-49A89B41A01B}"/>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185" name="Group 184">
                <a:extLst>
                  <a:ext uri="{FF2B5EF4-FFF2-40B4-BE49-F238E27FC236}">
                    <a16:creationId xmlns:a16="http://schemas.microsoft.com/office/drawing/2014/main" id="{4848F165-505E-4289-8140-A60F51066ED5}"/>
                  </a:ext>
                </a:extLst>
              </p:cNvPr>
              <p:cNvGrpSpPr/>
              <p:nvPr/>
            </p:nvGrpSpPr>
            <p:grpSpPr>
              <a:xfrm>
                <a:off x="3181900" y="1656890"/>
                <a:ext cx="1443178" cy="594090"/>
                <a:chOff x="3531197" y="1518292"/>
                <a:chExt cx="1454884" cy="598911"/>
              </a:xfrm>
              <a:solidFill>
                <a:schemeClr val="bg2">
                  <a:lumMod val="85000"/>
                </a:schemeClr>
              </a:solidFill>
            </p:grpSpPr>
            <p:sp>
              <p:nvSpPr>
                <p:cNvPr id="186" name="Rectangle: Rounded Corners 175">
                  <a:extLst>
                    <a:ext uri="{FF2B5EF4-FFF2-40B4-BE49-F238E27FC236}">
                      <a16:creationId xmlns:a16="http://schemas.microsoft.com/office/drawing/2014/main" id="{EBFA6562-1C73-431C-8707-E2BB23FE1D26}"/>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7" name="Rectangle: Rounded Corners 176">
                  <a:extLst>
                    <a:ext uri="{FF2B5EF4-FFF2-40B4-BE49-F238E27FC236}">
                      <a16:creationId xmlns:a16="http://schemas.microsoft.com/office/drawing/2014/main" id="{CD7EB29B-CD49-4D31-A7CA-29A8C9F8282B}"/>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8" name="Rectangle: Rounded Corners 177">
                  <a:extLst>
                    <a:ext uri="{FF2B5EF4-FFF2-40B4-BE49-F238E27FC236}">
                      <a16:creationId xmlns:a16="http://schemas.microsoft.com/office/drawing/2014/main" id="{B4B16E87-1429-47E5-A58A-F051F8865715}"/>
                    </a:ext>
                  </a:extLst>
                </p:cNvPr>
                <p:cNvSpPr/>
                <p:nvPr/>
              </p:nvSpPr>
              <p:spPr>
                <a:xfrm rot="10800000">
                  <a:off x="3531197" y="1602112"/>
                  <a:ext cx="767917" cy="29030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9" name="Rectangle: Rounded Corners 178">
                  <a:extLst>
                    <a:ext uri="{FF2B5EF4-FFF2-40B4-BE49-F238E27FC236}">
                      <a16:creationId xmlns:a16="http://schemas.microsoft.com/office/drawing/2014/main" id="{67FD8CC4-DE78-41F7-96AE-841F71846E5C}"/>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grpSp>
          <p:nvGrpSpPr>
            <p:cNvPr id="12" name="Group 11"/>
            <p:cNvGrpSpPr/>
            <p:nvPr/>
          </p:nvGrpSpPr>
          <p:grpSpPr>
            <a:xfrm>
              <a:off x="2983667" y="2360184"/>
              <a:ext cx="316655" cy="203929"/>
              <a:chOff x="7181639" y="2719679"/>
              <a:chExt cx="633591" cy="232246"/>
            </a:xfrm>
          </p:grpSpPr>
          <p:cxnSp>
            <p:nvCxnSpPr>
              <p:cNvPr id="45" name="Straight Connector 44"/>
              <p:cNvCxnSpPr/>
              <p:nvPr/>
            </p:nvCxnSpPr>
            <p:spPr>
              <a:xfrm flipV="1">
                <a:off x="7192747" y="2800151"/>
                <a:ext cx="597093" cy="4274"/>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7181639" y="2873899"/>
                <a:ext cx="597093" cy="4274"/>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7208614" y="2947651"/>
                <a:ext cx="597093" cy="4274"/>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V="1">
                <a:off x="7218137" y="2719679"/>
                <a:ext cx="597093" cy="4274"/>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6" name="Can 15"/>
            <p:cNvSpPr/>
            <p:nvPr/>
          </p:nvSpPr>
          <p:spPr>
            <a:xfrm rot="5400000" flipH="1">
              <a:off x="1965494" y="1918677"/>
              <a:ext cx="158845" cy="1194371"/>
            </a:xfrm>
            <a:prstGeom prst="can">
              <a:avLst/>
            </a:prstGeom>
            <a:solidFill>
              <a:schemeClr val="bg2">
                <a:lumMod val="50000"/>
              </a:schemeClr>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78"/>
              <a:endParaRPr lang="en-US" sz="1800" dirty="0">
                <a:solidFill>
                  <a:srgbClr val="FFFFFF"/>
                </a:solidFill>
                <a:latin typeface="CiscoSansTT ExtraLight"/>
              </a:endParaRPr>
            </a:p>
          </p:txBody>
        </p:sp>
        <p:cxnSp>
          <p:nvCxnSpPr>
            <p:cNvPr id="17" name="Straight Connector 16"/>
            <p:cNvCxnSpPr/>
            <p:nvPr/>
          </p:nvCxnSpPr>
          <p:spPr>
            <a:xfrm>
              <a:off x="1447733" y="2474793"/>
              <a:ext cx="1163441"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451698" y="2543729"/>
              <a:ext cx="1163441" cy="0"/>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820230" y="2407118"/>
              <a:ext cx="316655" cy="196792"/>
              <a:chOff x="7181639" y="2719679"/>
              <a:chExt cx="633591" cy="232246"/>
            </a:xfrm>
          </p:grpSpPr>
          <p:cxnSp>
            <p:nvCxnSpPr>
              <p:cNvPr id="37" name="Straight Connector 36"/>
              <p:cNvCxnSpPr/>
              <p:nvPr/>
            </p:nvCxnSpPr>
            <p:spPr>
              <a:xfrm flipV="1">
                <a:off x="7192747" y="2800151"/>
                <a:ext cx="597093" cy="4274"/>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7181639" y="2873899"/>
                <a:ext cx="597093" cy="4274"/>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7208614" y="2947651"/>
                <a:ext cx="597093" cy="4274"/>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7218137" y="2719679"/>
                <a:ext cx="597093" cy="4274"/>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1532023" y="2184204"/>
              <a:ext cx="937535" cy="215444"/>
              <a:chOff x="4342162" y="1182294"/>
              <a:chExt cx="1491875" cy="245361"/>
            </a:xfrm>
          </p:grpSpPr>
          <p:sp>
            <p:nvSpPr>
              <p:cNvPr id="33" name="Rounded Rectangle 32"/>
              <p:cNvSpPr/>
              <p:nvPr/>
            </p:nvSpPr>
            <p:spPr>
              <a:xfrm>
                <a:off x="4501577" y="1191397"/>
                <a:ext cx="1126191" cy="21852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sz="800" dirty="0">
                  <a:solidFill>
                    <a:srgbClr val="005073"/>
                  </a:solidFill>
                  <a:latin typeface="CiscoSansTT ExtraLight"/>
                </a:endParaRPr>
              </a:p>
            </p:txBody>
          </p:sp>
          <p:sp>
            <p:nvSpPr>
              <p:cNvPr id="34" name="TextBox 33"/>
              <p:cNvSpPr txBox="1"/>
              <p:nvPr/>
            </p:nvSpPr>
            <p:spPr>
              <a:xfrm>
                <a:off x="4342162" y="1182294"/>
                <a:ext cx="1491875" cy="245361"/>
              </a:xfrm>
              <a:prstGeom prst="rect">
                <a:avLst/>
              </a:prstGeom>
              <a:noFill/>
            </p:spPr>
            <p:txBody>
              <a:bodyPr wrap="square" rtlCol="0">
                <a:spAutoFit/>
              </a:bodyPr>
              <a:lstStyle/>
              <a:p>
                <a:pPr algn="ctr" defTabSz="457178">
                  <a:spcAft>
                    <a:spcPts val="600"/>
                  </a:spcAft>
                </a:pPr>
                <a:r>
                  <a:rPr lang="en-US" sz="800" b="1" dirty="0">
                    <a:solidFill>
                      <a:schemeClr val="bg2"/>
                    </a:solidFill>
                  </a:rPr>
                  <a:t>IP+DWDM</a:t>
                </a:r>
              </a:p>
            </p:txBody>
          </p:sp>
        </p:grpSp>
        <p:pic>
          <p:nvPicPr>
            <p:cNvPr id="52" name="Picture 11" descr="C:\Users\ecoffey\AppData\Local\Temp\Rar$DRa0.386\30067_Device_router_default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2064" y="2106671"/>
              <a:ext cx="712762" cy="71276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1" descr="C:\Users\ecoffey\AppData\Local\Temp\Rar$DRa0.386\30067_Device_router_default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085" y="2314248"/>
              <a:ext cx="402336" cy="40233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1" descr="C:\Users\ecoffey\AppData\Local\Temp\Rar$DRa0.892\30057_Device_optical_transport_default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7545" y="2277717"/>
              <a:ext cx="442569" cy="44256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1" descr="C:\Users\ecoffey\AppData\Local\Temp\Rar$DRa0.892\30057_Device_optical_transport_default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41098" y="2277716"/>
              <a:ext cx="442569" cy="4425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6263901" y="946130"/>
            <a:ext cx="2697722" cy="781203"/>
            <a:chOff x="6019383" y="829142"/>
            <a:chExt cx="2697722" cy="781203"/>
          </a:xfrm>
        </p:grpSpPr>
        <p:grpSp>
          <p:nvGrpSpPr>
            <p:cNvPr id="149" name="Group 148">
              <a:extLst>
                <a:ext uri="{FF2B5EF4-FFF2-40B4-BE49-F238E27FC236}">
                  <a16:creationId xmlns:a16="http://schemas.microsoft.com/office/drawing/2014/main" id="{9A68A9BC-49CF-4D69-B1F2-53ACDD08F3FD}"/>
                </a:ext>
              </a:extLst>
            </p:cNvPr>
            <p:cNvGrpSpPr/>
            <p:nvPr/>
          </p:nvGrpSpPr>
          <p:grpSpPr>
            <a:xfrm>
              <a:off x="6324939" y="829142"/>
              <a:ext cx="1643900" cy="745550"/>
              <a:chOff x="3181900" y="1656890"/>
              <a:chExt cx="1650331" cy="994066"/>
            </a:xfrm>
          </p:grpSpPr>
          <p:grpSp>
            <p:nvGrpSpPr>
              <p:cNvPr id="169" name="Group 168">
                <a:extLst>
                  <a:ext uri="{FF2B5EF4-FFF2-40B4-BE49-F238E27FC236}">
                    <a16:creationId xmlns:a16="http://schemas.microsoft.com/office/drawing/2014/main" id="{C4311654-66A1-42F2-9D38-D44F0DF29C22}"/>
                  </a:ext>
                </a:extLst>
              </p:cNvPr>
              <p:cNvGrpSpPr/>
              <p:nvPr/>
            </p:nvGrpSpPr>
            <p:grpSpPr>
              <a:xfrm>
                <a:off x="3227827" y="2056864"/>
                <a:ext cx="1604404" cy="594092"/>
                <a:chOff x="3576919" y="2078361"/>
                <a:chExt cx="1617419" cy="598911"/>
              </a:xfrm>
              <a:solidFill>
                <a:schemeClr val="bg2">
                  <a:lumMod val="85000"/>
                </a:schemeClr>
              </a:solidFill>
            </p:grpSpPr>
            <p:sp>
              <p:nvSpPr>
                <p:cNvPr id="179" name="Rectangle: Rounded Corners 170">
                  <a:extLst>
                    <a:ext uri="{FF2B5EF4-FFF2-40B4-BE49-F238E27FC236}">
                      <a16:creationId xmlns:a16="http://schemas.microsoft.com/office/drawing/2014/main" id="{A1500D27-D1AC-415E-B0E6-BDCDD7418F5E}"/>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0" name="Rectangle: Rounded Corners 172">
                  <a:extLst>
                    <a:ext uri="{FF2B5EF4-FFF2-40B4-BE49-F238E27FC236}">
                      <a16:creationId xmlns:a16="http://schemas.microsoft.com/office/drawing/2014/main" id="{DC42303D-B42E-482D-B438-A6D2F1FD823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1" name="Rectangle: Rounded Corners 173">
                  <a:extLst>
                    <a:ext uri="{FF2B5EF4-FFF2-40B4-BE49-F238E27FC236}">
                      <a16:creationId xmlns:a16="http://schemas.microsoft.com/office/drawing/2014/main" id="{79389838-0458-4507-A00C-6F45713B4FF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2" name="Rectangle: Rounded Corners 174">
                  <a:extLst>
                    <a:ext uri="{FF2B5EF4-FFF2-40B4-BE49-F238E27FC236}">
                      <a16:creationId xmlns:a16="http://schemas.microsoft.com/office/drawing/2014/main" id="{D52CABE5-CEAF-48EA-A09D-49A89B41A01B}"/>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173" name="Group 172">
                <a:extLst>
                  <a:ext uri="{FF2B5EF4-FFF2-40B4-BE49-F238E27FC236}">
                    <a16:creationId xmlns:a16="http://schemas.microsoft.com/office/drawing/2014/main" id="{4848F165-505E-4289-8140-A60F51066ED5}"/>
                  </a:ext>
                </a:extLst>
              </p:cNvPr>
              <p:cNvGrpSpPr/>
              <p:nvPr/>
            </p:nvGrpSpPr>
            <p:grpSpPr>
              <a:xfrm>
                <a:off x="3181900" y="1656890"/>
                <a:ext cx="1443178" cy="594090"/>
                <a:chOff x="3531197" y="1518292"/>
                <a:chExt cx="1454884" cy="598911"/>
              </a:xfrm>
              <a:solidFill>
                <a:schemeClr val="bg2">
                  <a:lumMod val="85000"/>
                </a:schemeClr>
              </a:solidFill>
            </p:grpSpPr>
            <p:sp>
              <p:nvSpPr>
                <p:cNvPr id="175" name="Rectangle: Rounded Corners 175">
                  <a:extLst>
                    <a:ext uri="{FF2B5EF4-FFF2-40B4-BE49-F238E27FC236}">
                      <a16:creationId xmlns:a16="http://schemas.microsoft.com/office/drawing/2014/main" id="{EBFA6562-1C73-431C-8707-E2BB23FE1D26}"/>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6" name="Rectangle: Rounded Corners 176">
                  <a:extLst>
                    <a:ext uri="{FF2B5EF4-FFF2-40B4-BE49-F238E27FC236}">
                      <a16:creationId xmlns:a16="http://schemas.microsoft.com/office/drawing/2014/main" id="{CD7EB29B-CD49-4D31-A7CA-29A8C9F8282B}"/>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7" name="Rectangle: Rounded Corners 177">
                  <a:extLst>
                    <a:ext uri="{FF2B5EF4-FFF2-40B4-BE49-F238E27FC236}">
                      <a16:creationId xmlns:a16="http://schemas.microsoft.com/office/drawing/2014/main" id="{B4B16E87-1429-47E5-A58A-F051F8865715}"/>
                    </a:ext>
                  </a:extLst>
                </p:cNvPr>
                <p:cNvSpPr/>
                <p:nvPr/>
              </p:nvSpPr>
              <p:spPr>
                <a:xfrm rot="10800000">
                  <a:off x="3531197" y="1602112"/>
                  <a:ext cx="767917" cy="29030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8" name="Rectangle: Rounded Corners 178">
                  <a:extLst>
                    <a:ext uri="{FF2B5EF4-FFF2-40B4-BE49-F238E27FC236}">
                      <a16:creationId xmlns:a16="http://schemas.microsoft.com/office/drawing/2014/main" id="{67FD8CC4-DE78-41F7-96AE-841F71846E5C}"/>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sp>
          <p:nvSpPr>
            <p:cNvPr id="20" name="Can 19"/>
            <p:cNvSpPr/>
            <p:nvPr/>
          </p:nvSpPr>
          <p:spPr>
            <a:xfrm rot="5400000" flipH="1">
              <a:off x="7320910" y="-31520"/>
              <a:ext cx="146979" cy="2583092"/>
            </a:xfrm>
            <a:prstGeom prst="can">
              <a:avLst/>
            </a:prstGeom>
            <a:solidFill>
              <a:schemeClr val="bg2">
                <a:lumMod val="50000"/>
              </a:schemeClr>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78"/>
              <a:endParaRPr lang="en-US" sz="1800" dirty="0">
                <a:solidFill>
                  <a:srgbClr val="FFFFFF"/>
                </a:solidFill>
                <a:latin typeface="CiscoSansTT ExtraLight"/>
              </a:endParaRPr>
            </a:p>
          </p:txBody>
        </p:sp>
        <p:cxnSp>
          <p:nvCxnSpPr>
            <p:cNvPr id="25" name="Straight Connector 24"/>
            <p:cNvCxnSpPr/>
            <p:nvPr/>
          </p:nvCxnSpPr>
          <p:spPr>
            <a:xfrm>
              <a:off x="6105453" y="1285308"/>
              <a:ext cx="2329753" cy="0"/>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6792159" y="982966"/>
              <a:ext cx="816280" cy="227438"/>
              <a:chOff x="4428014" y="1207174"/>
              <a:chExt cx="1298921" cy="259018"/>
            </a:xfrm>
          </p:grpSpPr>
          <p:sp>
            <p:nvSpPr>
              <p:cNvPr id="31" name="Rounded Rectangle 30"/>
              <p:cNvSpPr/>
              <p:nvPr/>
            </p:nvSpPr>
            <p:spPr>
              <a:xfrm>
                <a:off x="4501576" y="1207174"/>
                <a:ext cx="1126193" cy="21852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sz="800" dirty="0">
                  <a:solidFill>
                    <a:srgbClr val="005073"/>
                  </a:solidFill>
                  <a:latin typeface="CiscoSansTT ExtraLight"/>
                </a:endParaRPr>
              </a:p>
            </p:txBody>
          </p:sp>
          <p:sp>
            <p:nvSpPr>
              <p:cNvPr id="32" name="TextBox 31"/>
              <p:cNvSpPr txBox="1"/>
              <p:nvPr/>
            </p:nvSpPr>
            <p:spPr>
              <a:xfrm>
                <a:off x="4428014" y="1220834"/>
                <a:ext cx="1298921" cy="245358"/>
              </a:xfrm>
              <a:prstGeom prst="rect">
                <a:avLst/>
              </a:prstGeom>
              <a:noFill/>
            </p:spPr>
            <p:txBody>
              <a:bodyPr wrap="square" rtlCol="0">
                <a:spAutoFit/>
              </a:bodyPr>
              <a:lstStyle/>
              <a:p>
                <a:pPr algn="ctr" defTabSz="457178">
                  <a:spcAft>
                    <a:spcPts val="600"/>
                  </a:spcAft>
                </a:pPr>
                <a:r>
                  <a:rPr lang="en-US" sz="800" b="1" dirty="0" err="1">
                    <a:solidFill>
                      <a:schemeClr val="bg2"/>
                    </a:solidFill>
                  </a:rPr>
                  <a:t>IPoDWDM</a:t>
                </a:r>
                <a:endParaRPr lang="en-US" sz="800" b="1" dirty="0">
                  <a:solidFill>
                    <a:schemeClr val="bg2"/>
                  </a:solidFill>
                </a:endParaRPr>
              </a:p>
            </p:txBody>
          </p:sp>
        </p:grpSp>
        <p:cxnSp>
          <p:nvCxnSpPr>
            <p:cNvPr id="24" name="Straight Connector 23"/>
            <p:cNvCxnSpPr/>
            <p:nvPr/>
          </p:nvCxnSpPr>
          <p:spPr>
            <a:xfrm>
              <a:off x="6102855" y="1225933"/>
              <a:ext cx="2329753" cy="0"/>
            </a:xfrm>
            <a:prstGeom prst="line">
              <a:avLst/>
            </a:prstGeom>
            <a:ln w="22225"/>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5"/>
            <a:stretch>
              <a:fillRect/>
            </a:stretch>
          </p:blipFill>
          <p:spPr>
            <a:xfrm>
              <a:off x="6479317" y="1066552"/>
              <a:ext cx="289931" cy="390530"/>
            </a:xfrm>
            <a:prstGeom prst="rect">
              <a:avLst/>
            </a:prstGeom>
          </p:spPr>
        </p:pic>
        <p:pic>
          <p:nvPicPr>
            <p:cNvPr id="59" name="Picture 58"/>
            <p:cNvPicPr>
              <a:picLocks noChangeAspect="1"/>
            </p:cNvPicPr>
            <p:nvPr/>
          </p:nvPicPr>
          <p:blipFill>
            <a:blip r:embed="rId5"/>
            <a:stretch>
              <a:fillRect/>
            </a:stretch>
          </p:blipFill>
          <p:spPr>
            <a:xfrm>
              <a:off x="7608439" y="1076347"/>
              <a:ext cx="289931" cy="390530"/>
            </a:xfrm>
            <a:prstGeom prst="rect">
              <a:avLst/>
            </a:prstGeom>
          </p:spPr>
        </p:pic>
        <p:pic>
          <p:nvPicPr>
            <p:cNvPr id="56" name="Picture 11" descr="C:\Users\ecoffey\AppData\Local\Temp\Rar$DRa0.386\30067_Device_router_default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9383" y="1049187"/>
              <a:ext cx="402336" cy="40233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1" descr="C:\Users\ecoffey\AppData\Local\Temp\Rar$DRa0.386\30067_Device_router_default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4343" y="897583"/>
              <a:ext cx="712762" cy="712762"/>
            </a:xfrm>
            <a:prstGeom prst="rect">
              <a:avLst/>
            </a:prstGeom>
            <a:noFill/>
            <a:extLst>
              <a:ext uri="{909E8E84-426E-40DD-AFC4-6F175D3DCCD1}">
                <a14:hiddenFill xmlns:a14="http://schemas.microsoft.com/office/drawing/2010/main">
                  <a:solidFill>
                    <a:srgbClr val="FFFFFF"/>
                  </a:solidFill>
                </a14:hiddenFill>
              </a:ext>
            </a:extLst>
          </p:spPr>
        </p:pic>
      </p:grpSp>
      <p:sp>
        <p:nvSpPr>
          <p:cNvPr id="174" name="Rounded Rectangle 55">
            <a:extLst>
              <a:ext uri="{FF2B5EF4-FFF2-40B4-BE49-F238E27FC236}">
                <a16:creationId xmlns:a16="http://schemas.microsoft.com/office/drawing/2014/main" id="{9841FD4A-1E1C-40AA-8F93-314E704CAB89}"/>
              </a:ext>
            </a:extLst>
          </p:cNvPr>
          <p:cNvSpPr/>
          <p:nvPr/>
        </p:nvSpPr>
        <p:spPr>
          <a:xfrm>
            <a:off x="559543" y="4171184"/>
            <a:ext cx="7866500" cy="51693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457166">
              <a:lnSpc>
                <a:spcPts val="1000"/>
              </a:lnSpc>
              <a:spcAft>
                <a:spcPts val="600"/>
              </a:spcAft>
              <a:buClr>
                <a:schemeClr val="bg2"/>
              </a:buClr>
              <a:buSzPct val="80000"/>
              <a:buFont typeface="Arial" panose="020B0604020202020204" pitchFamily="34" charset="0"/>
              <a:buChar char="•"/>
            </a:pPr>
            <a:r>
              <a:rPr lang="en-US" sz="1050" dirty="0">
                <a:solidFill>
                  <a:schemeClr val="bg2"/>
                </a:solidFill>
              </a:rPr>
              <a:t>Digital Coherent Optics - Pluggable Coherent front end optics on CFP2 ports.</a:t>
            </a:r>
          </a:p>
          <a:p>
            <a:pPr marL="171446" indent="-171446" defTabSz="457166">
              <a:lnSpc>
                <a:spcPts val="1000"/>
              </a:lnSpc>
              <a:spcAft>
                <a:spcPts val="600"/>
              </a:spcAft>
              <a:buClr>
                <a:schemeClr val="bg2"/>
              </a:buClr>
              <a:buSzPct val="80000"/>
              <a:buFont typeface="Arial" panose="020B0604020202020204" pitchFamily="34" charset="0"/>
              <a:buChar char="•"/>
            </a:pPr>
            <a:r>
              <a:rPr lang="en-US" sz="1050" dirty="0">
                <a:solidFill>
                  <a:schemeClr val="bg2"/>
                </a:solidFill>
              </a:rPr>
              <a:t>DSP integrated with the Optics; supports OTN framing/FEC &amp; SW reconfigurable modulation format</a:t>
            </a:r>
          </a:p>
        </p:txBody>
      </p:sp>
      <p:pic>
        <p:nvPicPr>
          <p:cNvPr id="135" name="Picture 13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40208" y="4066728"/>
            <a:ext cx="725842" cy="725842"/>
          </a:xfrm>
          <a:prstGeom prst="rect">
            <a:avLst/>
          </a:prstGeom>
        </p:spPr>
      </p:pic>
      <p:grpSp>
        <p:nvGrpSpPr>
          <p:cNvPr id="9" name="Group 8"/>
          <p:cNvGrpSpPr/>
          <p:nvPr/>
        </p:nvGrpSpPr>
        <p:grpSpPr>
          <a:xfrm>
            <a:off x="199879" y="1110317"/>
            <a:ext cx="2568404" cy="781691"/>
            <a:chOff x="260395" y="946994"/>
            <a:chExt cx="2568404" cy="781691"/>
          </a:xfrm>
        </p:grpSpPr>
        <p:grpSp>
          <p:nvGrpSpPr>
            <p:cNvPr id="6" name="Group 5"/>
            <p:cNvGrpSpPr/>
            <p:nvPr/>
          </p:nvGrpSpPr>
          <p:grpSpPr>
            <a:xfrm>
              <a:off x="260395" y="946994"/>
              <a:ext cx="2142656" cy="745550"/>
              <a:chOff x="260395" y="946994"/>
              <a:chExt cx="2142656" cy="745550"/>
            </a:xfrm>
          </p:grpSpPr>
          <p:grpSp>
            <p:nvGrpSpPr>
              <p:cNvPr id="136" name="Group 135">
                <a:extLst>
                  <a:ext uri="{FF2B5EF4-FFF2-40B4-BE49-F238E27FC236}">
                    <a16:creationId xmlns:a16="http://schemas.microsoft.com/office/drawing/2014/main" id="{9A68A9BC-49CF-4D69-B1F2-53ACDD08F3FD}"/>
                  </a:ext>
                </a:extLst>
              </p:cNvPr>
              <p:cNvGrpSpPr/>
              <p:nvPr/>
            </p:nvGrpSpPr>
            <p:grpSpPr>
              <a:xfrm>
                <a:off x="497124" y="946994"/>
                <a:ext cx="1643900" cy="745550"/>
                <a:chOff x="3181900" y="1656890"/>
                <a:chExt cx="1650331" cy="994066"/>
              </a:xfrm>
            </p:grpSpPr>
            <p:grpSp>
              <p:nvGrpSpPr>
                <p:cNvPr id="137" name="Group 136">
                  <a:extLst>
                    <a:ext uri="{FF2B5EF4-FFF2-40B4-BE49-F238E27FC236}">
                      <a16:creationId xmlns:a16="http://schemas.microsoft.com/office/drawing/2014/main" id="{C4311654-66A1-42F2-9D38-D44F0DF29C22}"/>
                    </a:ext>
                  </a:extLst>
                </p:cNvPr>
                <p:cNvGrpSpPr/>
                <p:nvPr/>
              </p:nvGrpSpPr>
              <p:grpSpPr>
                <a:xfrm>
                  <a:off x="3227827" y="2056864"/>
                  <a:ext cx="1604404" cy="594092"/>
                  <a:chOff x="3576919" y="2078361"/>
                  <a:chExt cx="1617419" cy="598911"/>
                </a:xfrm>
                <a:solidFill>
                  <a:schemeClr val="bg2">
                    <a:lumMod val="85000"/>
                  </a:schemeClr>
                </a:solidFill>
              </p:grpSpPr>
              <p:sp>
                <p:nvSpPr>
                  <p:cNvPr id="143" name="Rectangle: Rounded Corners 170">
                    <a:extLst>
                      <a:ext uri="{FF2B5EF4-FFF2-40B4-BE49-F238E27FC236}">
                        <a16:creationId xmlns:a16="http://schemas.microsoft.com/office/drawing/2014/main" id="{A1500D27-D1AC-415E-B0E6-BDCDD7418F5E}"/>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6" name="Rectangle: Rounded Corners 172">
                    <a:extLst>
                      <a:ext uri="{FF2B5EF4-FFF2-40B4-BE49-F238E27FC236}">
                        <a16:creationId xmlns:a16="http://schemas.microsoft.com/office/drawing/2014/main" id="{DC42303D-B42E-482D-B438-A6D2F1FD823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7" name="Rectangle: Rounded Corners 173">
                    <a:extLst>
                      <a:ext uri="{FF2B5EF4-FFF2-40B4-BE49-F238E27FC236}">
                        <a16:creationId xmlns:a16="http://schemas.microsoft.com/office/drawing/2014/main" id="{79389838-0458-4507-A00C-6F45713B4FF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8" name="Rectangle: Rounded Corners 174">
                    <a:extLst>
                      <a:ext uri="{FF2B5EF4-FFF2-40B4-BE49-F238E27FC236}">
                        <a16:creationId xmlns:a16="http://schemas.microsoft.com/office/drawing/2014/main" id="{D52CABE5-CEAF-48EA-A09D-49A89B41A01B}"/>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138" name="Group 137">
                  <a:extLst>
                    <a:ext uri="{FF2B5EF4-FFF2-40B4-BE49-F238E27FC236}">
                      <a16:creationId xmlns:a16="http://schemas.microsoft.com/office/drawing/2014/main" id="{4848F165-505E-4289-8140-A60F51066ED5}"/>
                    </a:ext>
                  </a:extLst>
                </p:cNvPr>
                <p:cNvGrpSpPr/>
                <p:nvPr/>
              </p:nvGrpSpPr>
              <p:grpSpPr>
                <a:xfrm>
                  <a:off x="3181900" y="1656890"/>
                  <a:ext cx="1443178" cy="594090"/>
                  <a:chOff x="3531197" y="1518292"/>
                  <a:chExt cx="1454884" cy="598911"/>
                </a:xfrm>
                <a:solidFill>
                  <a:schemeClr val="bg2">
                    <a:lumMod val="85000"/>
                  </a:schemeClr>
                </a:solidFill>
              </p:grpSpPr>
              <p:sp>
                <p:nvSpPr>
                  <p:cNvPr id="139" name="Rectangle: Rounded Corners 175">
                    <a:extLst>
                      <a:ext uri="{FF2B5EF4-FFF2-40B4-BE49-F238E27FC236}">
                        <a16:creationId xmlns:a16="http://schemas.microsoft.com/office/drawing/2014/main" id="{EBFA6562-1C73-431C-8707-E2BB23FE1D26}"/>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0" name="Rectangle: Rounded Corners 176">
                    <a:extLst>
                      <a:ext uri="{FF2B5EF4-FFF2-40B4-BE49-F238E27FC236}">
                        <a16:creationId xmlns:a16="http://schemas.microsoft.com/office/drawing/2014/main" id="{CD7EB29B-CD49-4D31-A7CA-29A8C9F8282B}"/>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1" name="Rectangle: Rounded Corners 177">
                    <a:extLst>
                      <a:ext uri="{FF2B5EF4-FFF2-40B4-BE49-F238E27FC236}">
                        <a16:creationId xmlns:a16="http://schemas.microsoft.com/office/drawing/2014/main" id="{B4B16E87-1429-47E5-A58A-F051F8865715}"/>
                      </a:ext>
                    </a:extLst>
                  </p:cNvPr>
                  <p:cNvSpPr/>
                  <p:nvPr/>
                </p:nvSpPr>
                <p:spPr>
                  <a:xfrm rot="10800000">
                    <a:off x="3531197" y="1602112"/>
                    <a:ext cx="767917" cy="29030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2" name="Rectangle: Rounded Corners 178">
                    <a:extLst>
                      <a:ext uri="{FF2B5EF4-FFF2-40B4-BE49-F238E27FC236}">
                        <a16:creationId xmlns:a16="http://schemas.microsoft.com/office/drawing/2014/main" id="{67FD8CC4-DE78-41F7-96AE-841F71846E5C}"/>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sp>
            <p:nvSpPr>
              <p:cNvPr id="7" name="Can 6"/>
              <p:cNvSpPr/>
              <p:nvPr/>
            </p:nvSpPr>
            <p:spPr>
              <a:xfrm rot="5400000" flipH="1">
                <a:off x="1402751" y="437321"/>
                <a:ext cx="156672" cy="1843928"/>
              </a:xfrm>
              <a:prstGeom prst="can">
                <a:avLst/>
              </a:prstGeom>
              <a:solidFill>
                <a:schemeClr val="bg2">
                  <a:lumMod val="50000"/>
                </a:schemeClr>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78"/>
                <a:r>
                  <a:rPr lang="en-US" sz="825" dirty="0">
                    <a:solidFill>
                      <a:srgbClr val="FFFFFF"/>
                    </a:solidFill>
                    <a:latin typeface="CiscoSansTT ExtraLight"/>
                  </a:rPr>
                  <a:t>1 x </a:t>
                </a:r>
                <a:r>
                  <a:rPr lang="en-US" sz="900" dirty="0">
                    <a:solidFill>
                      <a:schemeClr val="bg2"/>
                    </a:solidFill>
                  </a:rPr>
                  <a:t>100G</a:t>
                </a:r>
                <a:r>
                  <a:rPr lang="en-US" sz="825" dirty="0">
                    <a:solidFill>
                      <a:srgbClr val="FFFFFF"/>
                    </a:solidFill>
                    <a:latin typeface="CiscoSansTT ExtraLight"/>
                  </a:rPr>
                  <a:t> per fiber pair</a:t>
                </a:r>
              </a:p>
            </p:txBody>
          </p:sp>
          <p:grpSp>
            <p:nvGrpSpPr>
              <p:cNvPr id="28" name="Group 27"/>
              <p:cNvGrpSpPr/>
              <p:nvPr/>
            </p:nvGrpSpPr>
            <p:grpSpPr>
              <a:xfrm>
                <a:off x="994866" y="981799"/>
                <a:ext cx="816280" cy="220118"/>
                <a:chOff x="4414945" y="1151953"/>
                <a:chExt cx="1298921" cy="250685"/>
              </a:xfrm>
            </p:grpSpPr>
            <p:sp>
              <p:nvSpPr>
                <p:cNvPr id="35" name="Rounded Rectangle 34"/>
                <p:cNvSpPr/>
                <p:nvPr/>
              </p:nvSpPr>
              <p:spPr>
                <a:xfrm>
                  <a:off x="4501577" y="1151953"/>
                  <a:ext cx="1126192" cy="21852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en-US" sz="800" dirty="0">
                    <a:solidFill>
                      <a:srgbClr val="005073"/>
                    </a:solidFill>
                    <a:latin typeface="CiscoSansTT ExtraLight"/>
                  </a:endParaRPr>
                </a:p>
              </p:txBody>
            </p:sp>
            <p:sp>
              <p:nvSpPr>
                <p:cNvPr id="36" name="TextBox 35"/>
                <p:cNvSpPr txBox="1"/>
                <p:nvPr/>
              </p:nvSpPr>
              <p:spPr>
                <a:xfrm>
                  <a:off x="4414945" y="1157276"/>
                  <a:ext cx="1298921" cy="245362"/>
                </a:xfrm>
                <a:prstGeom prst="rect">
                  <a:avLst/>
                </a:prstGeom>
                <a:noFill/>
              </p:spPr>
              <p:txBody>
                <a:bodyPr wrap="square" rtlCol="0">
                  <a:spAutoFit/>
                </a:bodyPr>
                <a:lstStyle/>
                <a:p>
                  <a:pPr algn="ctr" defTabSz="457178">
                    <a:spcAft>
                      <a:spcPts val="600"/>
                    </a:spcAft>
                  </a:pPr>
                  <a:r>
                    <a:rPr lang="en-US" sz="800" b="1" dirty="0">
                      <a:solidFill>
                        <a:schemeClr val="bg2"/>
                      </a:solidFill>
                    </a:rPr>
                    <a:t>“Grey”</a:t>
                  </a:r>
                </a:p>
              </p:txBody>
            </p:sp>
          </p:grpSp>
          <p:pic>
            <p:nvPicPr>
              <p:cNvPr id="54" name="Picture 11" descr="C:\Users\ecoffey\AppData\Local\Temp\Rar$DRa0.386\30067_Device_router_default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395" y="1164398"/>
                <a:ext cx="402336" cy="402336"/>
              </a:xfrm>
              <a:prstGeom prst="rect">
                <a:avLst/>
              </a:prstGeom>
              <a:noFill/>
              <a:extLst>
                <a:ext uri="{909E8E84-426E-40DD-AFC4-6F175D3DCCD1}">
                  <a14:hiddenFill xmlns:a14="http://schemas.microsoft.com/office/drawing/2010/main">
                    <a:solidFill>
                      <a:srgbClr val="FFFFFF"/>
                    </a:solidFill>
                  </a14:hiddenFill>
                </a:ext>
              </a:extLst>
            </p:spPr>
          </p:pic>
        </p:grpSp>
        <p:pic>
          <p:nvPicPr>
            <p:cNvPr id="51" name="Picture 11" descr="C:\Users\ecoffey\AppData\Local\Temp\Rar$DRa0.386\30067_Device_router_default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6037" y="1015923"/>
              <a:ext cx="712762" cy="712762"/>
            </a:xfrm>
            <a:prstGeom prst="rect">
              <a:avLst/>
            </a:prstGeom>
            <a:noFill/>
            <a:extLst>
              <a:ext uri="{909E8E84-426E-40DD-AFC4-6F175D3DCCD1}">
                <a14:hiddenFill xmlns:a14="http://schemas.microsoft.com/office/drawing/2010/main">
                  <a:solidFill>
                    <a:srgbClr val="FFFFFF"/>
                  </a:solidFill>
                </a14:hiddenFill>
              </a:ext>
            </a:extLst>
          </p:spPr>
        </p:pic>
      </p:grpSp>
      <p:sp>
        <p:nvSpPr>
          <p:cNvPr id="194" name="Rounded Rectangle 193"/>
          <p:cNvSpPr/>
          <p:nvPr/>
        </p:nvSpPr>
        <p:spPr>
          <a:xfrm rot="10800000">
            <a:off x="2919112" y="1657880"/>
            <a:ext cx="50402" cy="235229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algn="ctr" eaLnBrk="0" hangingPunct="0">
              <a:lnSpc>
                <a:spcPct val="85000"/>
              </a:lnSpc>
              <a:spcBef>
                <a:spcPct val="50000"/>
              </a:spcBef>
            </a:pPr>
            <a:endParaRPr lang="en-US" sz="1700" dirty="0">
              <a:solidFill>
                <a:schemeClr val="bg1"/>
              </a:solidFill>
            </a:endParaRPr>
          </a:p>
        </p:txBody>
      </p:sp>
      <p:sp>
        <p:nvSpPr>
          <p:cNvPr id="195" name="Rounded Rectangle 194"/>
          <p:cNvSpPr/>
          <p:nvPr/>
        </p:nvSpPr>
        <p:spPr>
          <a:xfrm rot="10800000">
            <a:off x="5954599" y="1657880"/>
            <a:ext cx="50402" cy="235229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algn="ctr" eaLnBrk="0" hangingPunct="0">
              <a:lnSpc>
                <a:spcPct val="85000"/>
              </a:lnSpc>
              <a:spcBef>
                <a:spcPct val="50000"/>
              </a:spcBef>
            </a:pPr>
            <a:endParaRPr lang="en-US" sz="1700" dirty="0">
              <a:solidFill>
                <a:schemeClr val="bg1"/>
              </a:solidFill>
            </a:endParaRPr>
          </a:p>
        </p:txBody>
      </p:sp>
      <p:sp>
        <p:nvSpPr>
          <p:cNvPr id="196" name="TextBox 195">
            <a:extLst>
              <a:ext uri="{FF2B5EF4-FFF2-40B4-BE49-F238E27FC236}">
                <a16:creationId xmlns:a16="http://schemas.microsoft.com/office/drawing/2014/main" id="{880289CE-2749-4B1D-AD82-16EDC851D266}"/>
              </a:ext>
            </a:extLst>
          </p:cNvPr>
          <p:cNvSpPr txBox="1"/>
          <p:nvPr/>
        </p:nvSpPr>
        <p:spPr>
          <a:xfrm>
            <a:off x="403528" y="2300662"/>
            <a:ext cx="2204357" cy="646331"/>
          </a:xfrm>
          <a:prstGeom prst="rect">
            <a:avLst/>
          </a:prstGeom>
          <a:noFill/>
        </p:spPr>
        <p:txBody>
          <a:bodyPr wrap="square" rtlCol="0">
            <a:spAutoFit/>
          </a:bodyPr>
          <a:lstStyle/>
          <a:p>
            <a:pPr marL="128585" indent="-128585">
              <a:buFont typeface="Arial" panose="020B0604020202020204" pitchFamily="34" charset="0"/>
              <a:buChar char="•"/>
            </a:pPr>
            <a:r>
              <a:rPr lang="en-US" sz="900" dirty="0">
                <a:solidFill>
                  <a:schemeClr val="bg1"/>
                </a:solidFill>
              </a:rPr>
              <a:t>Regular Optics</a:t>
            </a:r>
          </a:p>
          <a:p>
            <a:pPr marL="128585" indent="-128585">
              <a:buFont typeface="Arial" panose="020B0604020202020204" pitchFamily="34" charset="0"/>
              <a:buChar char="•"/>
            </a:pPr>
            <a:r>
              <a:rPr lang="en-US" sz="900" dirty="0">
                <a:solidFill>
                  <a:schemeClr val="bg1"/>
                </a:solidFill>
              </a:rPr>
              <a:t>Simpler management </a:t>
            </a:r>
          </a:p>
          <a:p>
            <a:r>
              <a:rPr lang="en-US" sz="900" dirty="0">
                <a:solidFill>
                  <a:schemeClr val="bg1"/>
                </a:solidFill>
              </a:rPr>
              <a:t>   (No Two Networks)</a:t>
            </a:r>
          </a:p>
          <a:p>
            <a:pPr marL="257168" indent="-257168">
              <a:buFont typeface="Arial" panose="020B0604020202020204" pitchFamily="34" charset="0"/>
              <a:buChar char="•"/>
            </a:pPr>
            <a:endParaRPr lang="en-US" sz="900" dirty="0">
              <a:solidFill>
                <a:schemeClr val="bg2"/>
              </a:solidFill>
            </a:endParaRPr>
          </a:p>
        </p:txBody>
      </p:sp>
      <p:sp>
        <p:nvSpPr>
          <p:cNvPr id="14" name="Rectangle 13"/>
          <p:cNvSpPr/>
          <p:nvPr/>
        </p:nvSpPr>
        <p:spPr>
          <a:xfrm>
            <a:off x="404503" y="2948875"/>
            <a:ext cx="1893147" cy="230832"/>
          </a:xfrm>
          <a:prstGeom prst="rect">
            <a:avLst/>
          </a:prstGeom>
        </p:spPr>
        <p:txBody>
          <a:bodyPr wrap="none">
            <a:spAutoFit/>
          </a:bodyPr>
          <a:lstStyle/>
          <a:p>
            <a:pPr marL="128585" indent="-128585">
              <a:buFont typeface="Arial" panose="020B0604020202020204" pitchFamily="34" charset="0"/>
              <a:buChar char="•"/>
            </a:pPr>
            <a:r>
              <a:rPr lang="en-US" sz="900" dirty="0">
                <a:solidFill>
                  <a:schemeClr val="accent6"/>
                </a:solidFill>
              </a:rPr>
              <a:t>Distance Limitations (&lt;10Kms)</a:t>
            </a:r>
          </a:p>
        </p:txBody>
      </p:sp>
      <p:sp>
        <p:nvSpPr>
          <p:cNvPr id="197" name="TextBox 196">
            <a:extLst>
              <a:ext uri="{FF2B5EF4-FFF2-40B4-BE49-F238E27FC236}">
                <a16:creationId xmlns:a16="http://schemas.microsoft.com/office/drawing/2014/main" id="{880289CE-2749-4B1D-AD82-16EDC851D266}"/>
              </a:ext>
            </a:extLst>
          </p:cNvPr>
          <p:cNvSpPr txBox="1"/>
          <p:nvPr/>
        </p:nvSpPr>
        <p:spPr>
          <a:xfrm>
            <a:off x="3253466" y="2312133"/>
            <a:ext cx="2204357" cy="507831"/>
          </a:xfrm>
          <a:prstGeom prst="rect">
            <a:avLst/>
          </a:prstGeom>
          <a:noFill/>
        </p:spPr>
        <p:txBody>
          <a:bodyPr wrap="square" rtlCol="0">
            <a:spAutoFit/>
          </a:bodyPr>
          <a:lstStyle/>
          <a:p>
            <a:pPr marL="128585" indent="-128585">
              <a:buFont typeface="Arial" panose="020B0604020202020204" pitchFamily="34" charset="0"/>
              <a:buChar char="•"/>
            </a:pPr>
            <a:r>
              <a:rPr lang="en-US" sz="900" dirty="0">
                <a:solidFill>
                  <a:schemeClr val="bg1"/>
                </a:solidFill>
              </a:rPr>
              <a:t>No distance limitations (Amplifiers required in case of large distances)</a:t>
            </a:r>
          </a:p>
          <a:p>
            <a:pPr marL="257168" indent="-257168">
              <a:buFont typeface="Arial" panose="020B0604020202020204" pitchFamily="34" charset="0"/>
              <a:buChar char="•"/>
            </a:pPr>
            <a:endParaRPr lang="en-US" sz="900" dirty="0">
              <a:solidFill>
                <a:schemeClr val="bg2"/>
              </a:solidFill>
            </a:endParaRPr>
          </a:p>
        </p:txBody>
      </p:sp>
      <p:sp>
        <p:nvSpPr>
          <p:cNvPr id="198" name="Rectangle 197"/>
          <p:cNvSpPr/>
          <p:nvPr/>
        </p:nvSpPr>
        <p:spPr>
          <a:xfrm>
            <a:off x="3280743" y="2960347"/>
            <a:ext cx="2060951" cy="507831"/>
          </a:xfrm>
          <a:prstGeom prst="rect">
            <a:avLst/>
          </a:prstGeom>
        </p:spPr>
        <p:txBody>
          <a:bodyPr wrap="square">
            <a:spAutoFit/>
          </a:bodyPr>
          <a:lstStyle/>
          <a:p>
            <a:pPr marL="128585" indent="-128585">
              <a:buFont typeface="Arial" panose="020B0604020202020204" pitchFamily="34" charset="0"/>
              <a:buChar char="•"/>
            </a:pPr>
            <a:r>
              <a:rPr lang="en-US" sz="900" dirty="0">
                <a:solidFill>
                  <a:schemeClr val="accent6"/>
                </a:solidFill>
              </a:rPr>
              <a:t>Two disparate networks: Additional Capex + </a:t>
            </a:r>
            <a:r>
              <a:rPr lang="en-US" sz="900" dirty="0" err="1">
                <a:solidFill>
                  <a:schemeClr val="accent6"/>
                </a:solidFill>
              </a:rPr>
              <a:t>Opex</a:t>
            </a:r>
            <a:endParaRPr lang="en-US" sz="900" dirty="0">
              <a:solidFill>
                <a:schemeClr val="accent6"/>
              </a:solidFill>
            </a:endParaRPr>
          </a:p>
          <a:p>
            <a:pPr marL="128585" indent="-128585">
              <a:buFont typeface="Arial" panose="020B0604020202020204" pitchFamily="34" charset="0"/>
              <a:buChar char="•"/>
            </a:pPr>
            <a:r>
              <a:rPr lang="en-US" sz="900" dirty="0">
                <a:solidFill>
                  <a:schemeClr val="accent6"/>
                </a:solidFill>
              </a:rPr>
              <a:t>Inter-operability (IP + Optical)</a:t>
            </a:r>
          </a:p>
        </p:txBody>
      </p:sp>
      <p:sp>
        <p:nvSpPr>
          <p:cNvPr id="21" name="Rectangle 20"/>
          <p:cNvSpPr/>
          <p:nvPr/>
        </p:nvSpPr>
        <p:spPr>
          <a:xfrm>
            <a:off x="6062191" y="2326293"/>
            <a:ext cx="2694092" cy="1892826"/>
          </a:xfrm>
          <a:prstGeom prst="rect">
            <a:avLst/>
          </a:prstGeom>
        </p:spPr>
        <p:txBody>
          <a:bodyPr wrap="square">
            <a:spAutoFit/>
          </a:bodyPr>
          <a:lstStyle/>
          <a:p>
            <a:pPr marL="128585" indent="-128585">
              <a:buFont typeface="Arial" panose="020B0604020202020204" pitchFamily="34" charset="0"/>
              <a:buChar char="•"/>
            </a:pPr>
            <a:r>
              <a:rPr lang="en-US" sz="900" dirty="0">
                <a:solidFill>
                  <a:schemeClr val="bg1"/>
                </a:solidFill>
              </a:rPr>
              <a:t>IP over DWDM on the DCO optics to carry IP traffic up to 80Kms, no specialized line cards.</a:t>
            </a:r>
          </a:p>
          <a:p>
            <a:pPr marL="128585" indent="-128585">
              <a:buFont typeface="Arial" panose="020B0604020202020204" pitchFamily="34" charset="0"/>
              <a:buChar char="•"/>
            </a:pPr>
            <a:endParaRPr lang="en-US" sz="900" dirty="0">
              <a:solidFill>
                <a:schemeClr val="bg1"/>
              </a:solidFill>
            </a:endParaRPr>
          </a:p>
          <a:p>
            <a:pPr marL="128585" indent="-128585" defTabSz="685743">
              <a:buFont typeface="Arial" panose="020B0604020202020204" pitchFamily="34" charset="0"/>
              <a:buChar char="•"/>
              <a:defRPr/>
            </a:pPr>
            <a:r>
              <a:rPr lang="en-US" sz="900" dirty="0">
                <a:solidFill>
                  <a:schemeClr val="bg1"/>
                </a:solidFill>
              </a:rPr>
              <a:t>Simpler management, IOS-XR (No Two Networks), Fewer devices</a:t>
            </a:r>
          </a:p>
          <a:p>
            <a:pPr marL="128585" indent="-128585" defTabSz="685743">
              <a:buFont typeface="Arial" panose="020B0604020202020204" pitchFamily="34" charset="0"/>
              <a:buChar char="•"/>
              <a:defRPr/>
            </a:pPr>
            <a:endParaRPr lang="en-US" sz="900" dirty="0">
              <a:solidFill>
                <a:schemeClr val="bg1"/>
              </a:solidFill>
            </a:endParaRPr>
          </a:p>
          <a:p>
            <a:pPr marL="128585" indent="-128585">
              <a:buFont typeface="Arial" panose="020B0604020202020204" pitchFamily="34" charset="0"/>
              <a:buChar char="•"/>
            </a:pPr>
            <a:r>
              <a:rPr lang="en-US" sz="900" dirty="0">
                <a:solidFill>
                  <a:schemeClr val="bg1"/>
                </a:solidFill>
              </a:rPr>
              <a:t>Deployment flexibility PAY as you Grow (upgrade from 100GE to 200GE via licenses)</a:t>
            </a:r>
          </a:p>
          <a:p>
            <a:pPr marL="128585" indent="-128585">
              <a:buFont typeface="Arial" panose="020B0604020202020204" pitchFamily="34" charset="0"/>
              <a:buChar char="•"/>
            </a:pPr>
            <a:endParaRPr lang="en-US" sz="900" dirty="0">
              <a:solidFill>
                <a:schemeClr val="bg1"/>
              </a:solidFill>
            </a:endParaRPr>
          </a:p>
          <a:p>
            <a:pPr marL="128585" indent="-128585">
              <a:buFont typeface="Arial" panose="020B0604020202020204" pitchFamily="34" charset="0"/>
              <a:buChar char="•"/>
            </a:pPr>
            <a:r>
              <a:rPr lang="en-US" sz="900" dirty="0">
                <a:solidFill>
                  <a:schemeClr val="bg1"/>
                </a:solidFill>
              </a:rPr>
              <a:t>For distances longer than 80KMs, interop with DWDM networks saving 45% TCO from transponder costs, grey optics and </a:t>
            </a:r>
            <a:r>
              <a:rPr lang="en-US" sz="900" dirty="0" err="1">
                <a:solidFill>
                  <a:schemeClr val="bg1"/>
                </a:solidFill>
              </a:rPr>
              <a:t>OpEx</a:t>
            </a:r>
            <a:r>
              <a:rPr lang="en-US" sz="900" dirty="0">
                <a:solidFill>
                  <a:schemeClr val="bg1"/>
                </a:solidFill>
              </a:rPr>
              <a:t> savings. </a:t>
            </a:r>
          </a:p>
        </p:txBody>
      </p:sp>
      <p:pic>
        <p:nvPicPr>
          <p:cNvPr id="199"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33824" y="1700689"/>
            <a:ext cx="193256" cy="27464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0"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945369" y="1704558"/>
            <a:ext cx="193256" cy="27464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1"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00877" y="1599997"/>
            <a:ext cx="193256" cy="27464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2"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69572" y="1603864"/>
            <a:ext cx="193256" cy="27464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3"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221972" y="1707280"/>
            <a:ext cx="193256" cy="27464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4"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32619" y="1583866"/>
            <a:ext cx="193256" cy="27464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78817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Rounded Corners 90">
            <a:extLst>
              <a:ext uri="{FF2B5EF4-FFF2-40B4-BE49-F238E27FC236}">
                <a16:creationId xmlns:a16="http://schemas.microsoft.com/office/drawing/2014/main" id="{C92EE6C5-6A94-4E85-AF4C-22448E76EFF9}"/>
              </a:ext>
            </a:extLst>
          </p:cNvPr>
          <p:cNvSpPr/>
          <p:nvPr/>
        </p:nvSpPr>
        <p:spPr>
          <a:xfrm>
            <a:off x="152104" y="702929"/>
            <a:ext cx="4313415" cy="2604233"/>
          </a:xfrm>
          <a:prstGeom prst="roundRect">
            <a:avLst>
              <a:gd name="adj" fmla="val 8978"/>
            </a:avLst>
          </a:prstGeom>
          <a:solidFill>
            <a:schemeClr val="bg2">
              <a:lumMod val="9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lIns="27432" tIns="9144" rIns="27432" bIns="27432" rtlCol="0" anchor="t"/>
          <a:lstStyle/>
          <a:p>
            <a:pPr algn="ctr"/>
            <a:r>
              <a:rPr lang="en-US" sz="1400" dirty="0"/>
              <a:t>Traditional</a:t>
            </a:r>
          </a:p>
        </p:txBody>
      </p:sp>
      <p:sp>
        <p:nvSpPr>
          <p:cNvPr id="187" name="Rectangle: Rounded Corners 151">
            <a:extLst>
              <a:ext uri="{FF2B5EF4-FFF2-40B4-BE49-F238E27FC236}">
                <a16:creationId xmlns:a16="http://schemas.microsoft.com/office/drawing/2014/main" id="{A30E78AC-1500-4F7C-8681-942592E2E8A9}"/>
              </a:ext>
            </a:extLst>
          </p:cNvPr>
          <p:cNvSpPr/>
          <p:nvPr/>
        </p:nvSpPr>
        <p:spPr>
          <a:xfrm>
            <a:off x="4678482" y="702929"/>
            <a:ext cx="4313415" cy="2604233"/>
          </a:xfrm>
          <a:prstGeom prst="roundRect">
            <a:avLst>
              <a:gd name="adj" fmla="val 10650"/>
            </a:avLst>
          </a:prstGeom>
          <a:solidFill>
            <a:schemeClr val="bg2">
              <a:lumMod val="9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9144" rIns="27432" bIns="27432" numCol="1" spcCol="0" rtlCol="0" fromWordArt="0" anchor="t" anchorCtr="0" forceAA="0" compatLnSpc="1">
            <a:prstTxWarp prst="textNoShape">
              <a:avLst/>
            </a:prstTxWarp>
            <a:noAutofit/>
          </a:bodyPr>
          <a:lstStyle/>
          <a:p>
            <a:pPr algn="ctr"/>
            <a:r>
              <a:rPr lang="en-US" sz="1400" dirty="0" err="1"/>
              <a:t>IPoEoF</a:t>
            </a:r>
            <a:r>
              <a:rPr lang="en-US" sz="1400" dirty="0"/>
              <a:t> with Operational Simplification</a:t>
            </a:r>
          </a:p>
        </p:txBody>
      </p:sp>
      <p:graphicFrame>
        <p:nvGraphicFramePr>
          <p:cNvPr id="27" name="Object 26" hidden="1">
            <a:extLst>
              <a:ext uri="{FF2B5EF4-FFF2-40B4-BE49-F238E27FC236}">
                <a16:creationId xmlns:a16="http://schemas.microsoft.com/office/drawing/2014/main" id="{5D6EEB79-CA5B-4EB6-AA2E-9B5B2A4227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6" imgW="604" imgH="606" progId="TCLayout.ActiveDocument.1">
                  <p:embed/>
                </p:oleObj>
              </mc:Choice>
              <mc:Fallback>
                <p:oleObj name="think-cell Slide" r:id="rId6" imgW="604" imgH="606" progId="TCLayout.ActiveDocument.1">
                  <p:embed/>
                  <p:pic>
                    <p:nvPicPr>
                      <p:cNvPr id="27" name="Object 26" hidden="1">
                        <a:extLst>
                          <a:ext uri="{FF2B5EF4-FFF2-40B4-BE49-F238E27FC236}">
                            <a16:creationId xmlns:a16="http://schemas.microsoft.com/office/drawing/2014/main" id="{5D6EEB79-CA5B-4EB6-AA2E-9B5B2A4227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E828A6F6-A236-4E98-A1D7-5896A7E2F36D}"/>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sp>
        <p:nvSpPr>
          <p:cNvPr id="2" name="Title 1"/>
          <p:cNvSpPr>
            <a:spLocks noGrp="1"/>
          </p:cNvSpPr>
          <p:nvPr>
            <p:ph type="title"/>
          </p:nvPr>
        </p:nvSpPr>
        <p:spPr>
          <a:xfrm>
            <a:off x="437766" y="254603"/>
            <a:ext cx="8345488" cy="731837"/>
          </a:xfrm>
        </p:spPr>
        <p:txBody>
          <a:bodyPr anchor="t"/>
          <a:lstStyle/>
          <a:p>
            <a:r>
              <a:rPr lang="en-US" dirty="0"/>
              <a:t>Converging IP and Optical Networks</a:t>
            </a:r>
          </a:p>
        </p:txBody>
      </p:sp>
      <p:pic>
        <p:nvPicPr>
          <p:cNvPr id="67" name="Picture 66">
            <a:extLst>
              <a:ext uri="{FF2B5EF4-FFF2-40B4-BE49-F238E27FC236}">
                <a16:creationId xmlns:a16="http://schemas.microsoft.com/office/drawing/2014/main" id="{EE96617D-9260-364D-9A4D-F48AA3D502E0}"/>
              </a:ext>
            </a:extLst>
          </p:cNvPr>
          <p:cNvPicPr>
            <a:picLocks noChangeAspect="1"/>
          </p:cNvPicPr>
          <p:nvPr/>
        </p:nvPicPr>
        <p:blipFill>
          <a:blip r:embed="rId8">
            <a:alphaModFix amt="50000"/>
            <a:lum bright="70000" contrast="-70000"/>
          </a:blip>
          <a:stretch>
            <a:fillRect/>
          </a:stretch>
        </p:blipFill>
        <p:spPr>
          <a:xfrm>
            <a:off x="6624260" y="4551914"/>
            <a:ext cx="2077780" cy="331986"/>
          </a:xfrm>
          <a:prstGeom prst="rect">
            <a:avLst/>
          </a:prstGeom>
        </p:spPr>
      </p:pic>
      <p:cxnSp>
        <p:nvCxnSpPr>
          <p:cNvPr id="178" name="Straight Arrow Connector 177">
            <a:extLst>
              <a:ext uri="{FF2B5EF4-FFF2-40B4-BE49-F238E27FC236}">
                <a16:creationId xmlns:a16="http://schemas.microsoft.com/office/drawing/2014/main" id="{7540D542-9571-3247-8D03-8B2CC847143B}"/>
              </a:ext>
            </a:extLst>
          </p:cNvPr>
          <p:cNvCxnSpPr>
            <a:cxnSpLocks/>
          </p:cNvCxnSpPr>
          <p:nvPr/>
        </p:nvCxnSpPr>
        <p:spPr>
          <a:xfrm flipV="1">
            <a:off x="6828060" y="1920965"/>
            <a:ext cx="8118" cy="575321"/>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276B10F4-92CA-4644-95CE-B004C5F4AA37}"/>
              </a:ext>
            </a:extLst>
          </p:cNvPr>
          <p:cNvGrpSpPr/>
          <p:nvPr/>
        </p:nvGrpSpPr>
        <p:grpSpPr>
          <a:xfrm>
            <a:off x="4962364" y="1073787"/>
            <a:ext cx="3747628" cy="1923095"/>
            <a:chOff x="4831455" y="1239725"/>
            <a:chExt cx="2086718" cy="1796477"/>
          </a:xfrm>
        </p:grpSpPr>
        <p:grpSp>
          <p:nvGrpSpPr>
            <p:cNvPr id="4" name="Group 3"/>
            <p:cNvGrpSpPr/>
            <p:nvPr/>
          </p:nvGrpSpPr>
          <p:grpSpPr>
            <a:xfrm>
              <a:off x="5079125" y="2573633"/>
              <a:ext cx="1630730" cy="462569"/>
              <a:chOff x="962391" y="3350054"/>
              <a:chExt cx="2516990" cy="549243"/>
            </a:xfrm>
            <a:solidFill>
              <a:schemeClr val="bg2">
                <a:lumMod val="95000"/>
              </a:schemeClr>
            </a:solidFill>
          </p:grpSpPr>
          <p:sp>
            <p:nvSpPr>
              <p:cNvPr id="86" name="Can 85">
                <a:extLst>
                  <a:ext uri="{FF2B5EF4-FFF2-40B4-BE49-F238E27FC236}">
                    <a16:creationId xmlns:a16="http://schemas.microsoft.com/office/drawing/2014/main" id="{9772BD91-235C-3440-A4C4-818B3BCF3D53}"/>
                  </a:ext>
                </a:extLst>
              </p:cNvPr>
              <p:cNvSpPr/>
              <p:nvPr/>
            </p:nvSpPr>
            <p:spPr>
              <a:xfrm rot="16200000">
                <a:off x="2136495" y="2628024"/>
                <a:ext cx="169085" cy="2244242"/>
              </a:xfrm>
              <a:prstGeom prst="can">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tangle 86">
                <a:extLst>
                  <a:ext uri="{FF2B5EF4-FFF2-40B4-BE49-F238E27FC236}">
                    <a16:creationId xmlns:a16="http://schemas.microsoft.com/office/drawing/2014/main" id="{09D68B7E-C282-FD4D-9C34-F35EF47A8CD4}"/>
                  </a:ext>
                </a:extLst>
              </p:cNvPr>
              <p:cNvSpPr/>
              <p:nvPr/>
            </p:nvSpPr>
            <p:spPr>
              <a:xfrm>
                <a:off x="1056085" y="3591812"/>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87">
                <a:extLst>
                  <a:ext uri="{FF2B5EF4-FFF2-40B4-BE49-F238E27FC236}">
                    <a16:creationId xmlns:a16="http://schemas.microsoft.com/office/drawing/2014/main" id="{CA63971D-36A3-D04E-B5FA-C7DD97FB852C}"/>
                  </a:ext>
                </a:extLst>
              </p:cNvPr>
              <p:cNvSpPr/>
              <p:nvPr/>
            </p:nvSpPr>
            <p:spPr>
              <a:xfrm>
                <a:off x="3315751" y="3584896"/>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88">
                <a:extLst>
                  <a:ext uri="{FF2B5EF4-FFF2-40B4-BE49-F238E27FC236}">
                    <a16:creationId xmlns:a16="http://schemas.microsoft.com/office/drawing/2014/main" id="{510CBEB3-7B86-7E4D-9C18-5CDB1FCAB027}"/>
                  </a:ext>
                </a:extLst>
              </p:cNvPr>
              <p:cNvSpPr/>
              <p:nvPr/>
            </p:nvSpPr>
            <p:spPr>
              <a:xfrm>
                <a:off x="3409387" y="3584897"/>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a:extLst>
                  <a:ext uri="{FF2B5EF4-FFF2-40B4-BE49-F238E27FC236}">
                    <a16:creationId xmlns:a16="http://schemas.microsoft.com/office/drawing/2014/main" id="{93AB7F01-CC50-4848-951A-20773F787AD0}"/>
                  </a:ext>
                </a:extLst>
              </p:cNvPr>
              <p:cNvSpPr/>
              <p:nvPr/>
            </p:nvSpPr>
            <p:spPr>
              <a:xfrm>
                <a:off x="2105342" y="3586998"/>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93">
                <a:extLst>
                  <a:ext uri="{FF2B5EF4-FFF2-40B4-BE49-F238E27FC236}">
                    <a16:creationId xmlns:a16="http://schemas.microsoft.com/office/drawing/2014/main" id="{796B2536-0710-774F-BD0D-F02B9D365E73}"/>
                  </a:ext>
                </a:extLst>
              </p:cNvPr>
              <p:cNvSpPr/>
              <p:nvPr/>
            </p:nvSpPr>
            <p:spPr>
              <a:xfrm>
                <a:off x="2190374" y="3584897"/>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a:extLst>
                  <a:ext uri="{FF2B5EF4-FFF2-40B4-BE49-F238E27FC236}">
                    <a16:creationId xmlns:a16="http://schemas.microsoft.com/office/drawing/2014/main" id="{C850D137-A914-0740-9DCF-00BB503E7786}"/>
                  </a:ext>
                </a:extLst>
              </p:cNvPr>
              <p:cNvCxnSpPr>
                <a:cxnSpLocks/>
              </p:cNvCxnSpPr>
              <p:nvPr/>
            </p:nvCxnSpPr>
            <p:spPr>
              <a:xfrm>
                <a:off x="1069796" y="3481154"/>
                <a:ext cx="1" cy="206407"/>
              </a:xfrm>
              <a:prstGeom prst="line">
                <a:avLst/>
              </a:prstGeom>
              <a:grpFill/>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785F73E-762E-0E4C-8881-433EDFCE55F4}"/>
                  </a:ext>
                </a:extLst>
              </p:cNvPr>
              <p:cNvCxnSpPr>
                <a:cxnSpLocks/>
              </p:cNvCxnSpPr>
              <p:nvPr/>
            </p:nvCxnSpPr>
            <p:spPr>
              <a:xfrm>
                <a:off x="1087320" y="3479505"/>
                <a:ext cx="1" cy="206407"/>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53D7F64-2D9B-4E4A-8EDD-88457ACF26D2}"/>
                  </a:ext>
                </a:extLst>
              </p:cNvPr>
              <p:cNvCxnSpPr>
                <a:cxnSpLocks/>
              </p:cNvCxnSpPr>
              <p:nvPr/>
            </p:nvCxnSpPr>
            <p:spPr>
              <a:xfrm>
                <a:off x="1110324" y="3455814"/>
                <a:ext cx="1" cy="206407"/>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07" name="Can 106">
                <a:extLst>
                  <a:ext uri="{FF2B5EF4-FFF2-40B4-BE49-F238E27FC236}">
                    <a16:creationId xmlns:a16="http://schemas.microsoft.com/office/drawing/2014/main" id="{1A17457D-C71F-044C-A440-0A9ED7BC8529}"/>
                  </a:ext>
                </a:extLst>
              </p:cNvPr>
              <p:cNvSpPr/>
              <p:nvPr/>
            </p:nvSpPr>
            <p:spPr>
              <a:xfrm>
                <a:off x="995911" y="3350054"/>
                <a:ext cx="185854" cy="143021"/>
              </a:xfrm>
              <a:prstGeom prst="can">
                <a:avLst/>
              </a:prstGeom>
              <a:solidFill>
                <a:srgbClr val="00D2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2" name="Picture 141">
                <a:extLst>
                  <a:ext uri="{FF2B5EF4-FFF2-40B4-BE49-F238E27FC236}">
                    <a16:creationId xmlns:a16="http://schemas.microsoft.com/office/drawing/2014/main" id="{FCB49099-13E3-504B-91F8-250847AC92C2}"/>
                  </a:ext>
                </a:extLst>
              </p:cNvPr>
              <p:cNvPicPr>
                <a:picLocks noChangeAspect="1"/>
              </p:cNvPicPr>
              <p:nvPr/>
            </p:nvPicPr>
            <p:blipFill>
              <a:blip r:embed="rId9">
                <a:alphaModFix amt="50000"/>
              </a:blip>
              <a:stretch>
                <a:fillRect/>
              </a:stretch>
            </p:blipFill>
            <p:spPr>
              <a:xfrm>
                <a:off x="1336100" y="3629748"/>
                <a:ext cx="169093" cy="268559"/>
              </a:xfrm>
              <a:prstGeom prst="rect">
                <a:avLst/>
              </a:prstGeom>
              <a:grpFill/>
            </p:spPr>
          </p:pic>
          <p:pic>
            <p:nvPicPr>
              <p:cNvPr id="143" name="Picture 142">
                <a:extLst>
                  <a:ext uri="{FF2B5EF4-FFF2-40B4-BE49-F238E27FC236}">
                    <a16:creationId xmlns:a16="http://schemas.microsoft.com/office/drawing/2014/main" id="{298E5737-E460-AB41-B452-CE781FE9D072}"/>
                  </a:ext>
                </a:extLst>
              </p:cNvPr>
              <p:cNvPicPr>
                <a:picLocks noChangeAspect="1"/>
              </p:cNvPicPr>
              <p:nvPr/>
            </p:nvPicPr>
            <p:blipFill>
              <a:blip r:embed="rId9">
                <a:alphaModFix amt="50000"/>
              </a:blip>
              <a:stretch>
                <a:fillRect/>
              </a:stretch>
            </p:blipFill>
            <p:spPr>
              <a:xfrm>
                <a:off x="1715395" y="3630738"/>
                <a:ext cx="169093" cy="268559"/>
              </a:xfrm>
              <a:prstGeom prst="rect">
                <a:avLst/>
              </a:prstGeom>
              <a:grpFill/>
            </p:spPr>
          </p:pic>
          <p:pic>
            <p:nvPicPr>
              <p:cNvPr id="144" name="Picture 143">
                <a:extLst>
                  <a:ext uri="{FF2B5EF4-FFF2-40B4-BE49-F238E27FC236}">
                    <a16:creationId xmlns:a16="http://schemas.microsoft.com/office/drawing/2014/main" id="{90FCD977-2EE1-1941-90F7-8F77FA2AC2C7}"/>
                  </a:ext>
                </a:extLst>
              </p:cNvPr>
              <p:cNvPicPr>
                <a:picLocks noChangeAspect="1"/>
              </p:cNvPicPr>
              <p:nvPr/>
            </p:nvPicPr>
            <p:blipFill>
              <a:blip r:embed="rId9">
                <a:alphaModFix amt="50000"/>
              </a:blip>
              <a:stretch>
                <a:fillRect/>
              </a:stretch>
            </p:blipFill>
            <p:spPr>
              <a:xfrm>
                <a:off x="2533728" y="3629748"/>
                <a:ext cx="169093" cy="268559"/>
              </a:xfrm>
              <a:prstGeom prst="rect">
                <a:avLst/>
              </a:prstGeom>
              <a:grpFill/>
            </p:spPr>
          </p:pic>
          <p:pic>
            <p:nvPicPr>
              <p:cNvPr id="145" name="Picture 144">
                <a:extLst>
                  <a:ext uri="{FF2B5EF4-FFF2-40B4-BE49-F238E27FC236}">
                    <a16:creationId xmlns:a16="http://schemas.microsoft.com/office/drawing/2014/main" id="{4BC89936-485F-824C-957C-C1E8FE9D51D0}"/>
                  </a:ext>
                </a:extLst>
              </p:cNvPr>
              <p:cNvPicPr>
                <a:picLocks noChangeAspect="1"/>
              </p:cNvPicPr>
              <p:nvPr/>
            </p:nvPicPr>
            <p:blipFill>
              <a:blip r:embed="rId9">
                <a:alphaModFix amt="50000"/>
              </a:blip>
              <a:stretch>
                <a:fillRect/>
              </a:stretch>
            </p:blipFill>
            <p:spPr>
              <a:xfrm>
                <a:off x="2913023" y="3630738"/>
                <a:ext cx="169093" cy="268559"/>
              </a:xfrm>
              <a:prstGeom prst="rect">
                <a:avLst/>
              </a:prstGeom>
              <a:grpFill/>
            </p:spPr>
          </p:pic>
          <p:cxnSp>
            <p:nvCxnSpPr>
              <p:cNvPr id="146" name="Straight Connector 145">
                <a:extLst>
                  <a:ext uri="{FF2B5EF4-FFF2-40B4-BE49-F238E27FC236}">
                    <a16:creationId xmlns:a16="http://schemas.microsoft.com/office/drawing/2014/main" id="{837E7C84-7A2B-5341-8FB0-8391DFB8FC25}"/>
                  </a:ext>
                </a:extLst>
              </p:cNvPr>
              <p:cNvCxnSpPr>
                <a:cxnSpLocks/>
              </p:cNvCxnSpPr>
              <p:nvPr/>
            </p:nvCxnSpPr>
            <p:spPr>
              <a:xfrm>
                <a:off x="1243328" y="3685994"/>
                <a:ext cx="878539" cy="0"/>
              </a:xfrm>
              <a:prstGeom prst="line">
                <a:avLst/>
              </a:prstGeom>
              <a:grpFill/>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B18E695-8E7E-AF4E-AEA0-0729D6E0C840}"/>
                  </a:ext>
                </a:extLst>
              </p:cNvPr>
              <p:cNvCxnSpPr>
                <a:cxnSpLocks/>
              </p:cNvCxnSpPr>
              <p:nvPr/>
            </p:nvCxnSpPr>
            <p:spPr>
              <a:xfrm>
                <a:off x="2121867" y="3474872"/>
                <a:ext cx="1" cy="206407"/>
              </a:xfrm>
              <a:prstGeom prst="line">
                <a:avLst/>
              </a:prstGeom>
              <a:grpFill/>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4DB68C7-A90A-E940-85BD-C10A1E64736F}"/>
                  </a:ext>
                </a:extLst>
              </p:cNvPr>
              <p:cNvCxnSpPr>
                <a:cxnSpLocks/>
              </p:cNvCxnSpPr>
              <p:nvPr/>
            </p:nvCxnSpPr>
            <p:spPr>
              <a:xfrm>
                <a:off x="2237873" y="3685994"/>
                <a:ext cx="1074130" cy="0"/>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291B8FBF-5D5B-2643-8120-C82B0BF9B014}"/>
                  </a:ext>
                </a:extLst>
              </p:cNvPr>
              <p:cNvCxnSpPr>
                <a:cxnSpLocks/>
              </p:cNvCxnSpPr>
              <p:nvPr/>
            </p:nvCxnSpPr>
            <p:spPr>
              <a:xfrm>
                <a:off x="2242422" y="3481694"/>
                <a:ext cx="1" cy="206407"/>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7866FD4-2B3B-A146-8177-D11C0DA29ED6}"/>
                  </a:ext>
                </a:extLst>
              </p:cNvPr>
              <p:cNvCxnSpPr>
                <a:cxnSpLocks/>
              </p:cNvCxnSpPr>
              <p:nvPr/>
            </p:nvCxnSpPr>
            <p:spPr>
              <a:xfrm>
                <a:off x="3353134" y="3469135"/>
                <a:ext cx="0" cy="255111"/>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27757B02-459E-1546-B9D4-0203F7F8A582}"/>
                  </a:ext>
                </a:extLst>
              </p:cNvPr>
              <p:cNvCxnSpPr>
                <a:cxnSpLocks/>
              </p:cNvCxnSpPr>
              <p:nvPr/>
            </p:nvCxnSpPr>
            <p:spPr>
              <a:xfrm flipH="1">
                <a:off x="3330913" y="3481694"/>
                <a:ext cx="2" cy="202280"/>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87345B79-7F79-D949-B305-BE98B05E10FD}"/>
                  </a:ext>
                </a:extLst>
              </p:cNvPr>
              <p:cNvCxnSpPr>
                <a:cxnSpLocks/>
              </p:cNvCxnSpPr>
              <p:nvPr/>
            </p:nvCxnSpPr>
            <p:spPr>
              <a:xfrm>
                <a:off x="2219495" y="3383613"/>
                <a:ext cx="2076" cy="381819"/>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AD33B312-033B-8840-AD60-4142BEA40830}"/>
                  </a:ext>
                </a:extLst>
              </p:cNvPr>
              <p:cNvCxnSpPr>
                <a:cxnSpLocks/>
              </p:cNvCxnSpPr>
              <p:nvPr/>
            </p:nvCxnSpPr>
            <p:spPr>
              <a:xfrm>
                <a:off x="2216710" y="3772256"/>
                <a:ext cx="1168554" cy="0"/>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B32831C3-7274-4041-AE82-F43D36DE3298}"/>
                  </a:ext>
                </a:extLst>
              </p:cNvPr>
              <p:cNvCxnSpPr>
                <a:cxnSpLocks/>
              </p:cNvCxnSpPr>
              <p:nvPr/>
            </p:nvCxnSpPr>
            <p:spPr>
              <a:xfrm>
                <a:off x="3375853" y="3463497"/>
                <a:ext cx="0" cy="310420"/>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DA406A1A-8514-9B42-81DB-CCCC680EDC95}"/>
                  </a:ext>
                </a:extLst>
              </p:cNvPr>
              <p:cNvCxnSpPr>
                <a:cxnSpLocks/>
              </p:cNvCxnSpPr>
              <p:nvPr/>
            </p:nvCxnSpPr>
            <p:spPr>
              <a:xfrm flipH="1">
                <a:off x="1062300" y="3686474"/>
                <a:ext cx="220635" cy="0"/>
              </a:xfrm>
              <a:prstGeom prst="line">
                <a:avLst/>
              </a:prstGeom>
              <a:grpFill/>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F8534BE7-2112-2245-934D-0DD9361EF650}"/>
                  </a:ext>
                </a:extLst>
              </p:cNvPr>
              <p:cNvCxnSpPr>
                <a:cxnSpLocks/>
              </p:cNvCxnSpPr>
              <p:nvPr/>
            </p:nvCxnSpPr>
            <p:spPr>
              <a:xfrm>
                <a:off x="1087655" y="3725533"/>
                <a:ext cx="246814" cy="0"/>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5CB3CE90-8A68-E440-BEDF-D3F3DA308A61}"/>
                  </a:ext>
                </a:extLst>
              </p:cNvPr>
              <p:cNvCxnSpPr>
                <a:cxnSpLocks/>
              </p:cNvCxnSpPr>
              <p:nvPr/>
            </p:nvCxnSpPr>
            <p:spPr>
              <a:xfrm>
                <a:off x="1088476" y="3519794"/>
                <a:ext cx="1" cy="206407"/>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933C72A0-DC4B-2F41-9D31-97213909739D}"/>
                  </a:ext>
                </a:extLst>
              </p:cNvPr>
              <p:cNvCxnSpPr>
                <a:cxnSpLocks/>
              </p:cNvCxnSpPr>
              <p:nvPr/>
            </p:nvCxnSpPr>
            <p:spPr>
              <a:xfrm>
                <a:off x="1104878" y="3655871"/>
                <a:ext cx="1050481" cy="1511"/>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64A83F6-1310-4B49-9403-ED123E0A9225}"/>
                  </a:ext>
                </a:extLst>
              </p:cNvPr>
              <p:cNvCxnSpPr>
                <a:cxnSpLocks/>
              </p:cNvCxnSpPr>
              <p:nvPr/>
            </p:nvCxnSpPr>
            <p:spPr>
              <a:xfrm>
                <a:off x="2161249" y="3452639"/>
                <a:ext cx="1" cy="206407"/>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0" name="Can 159">
                <a:extLst>
                  <a:ext uri="{FF2B5EF4-FFF2-40B4-BE49-F238E27FC236}">
                    <a16:creationId xmlns:a16="http://schemas.microsoft.com/office/drawing/2014/main" id="{582206BC-8EEF-344F-ADDB-FD887D2B7DDB}"/>
                  </a:ext>
                </a:extLst>
              </p:cNvPr>
              <p:cNvSpPr/>
              <p:nvPr/>
            </p:nvSpPr>
            <p:spPr>
              <a:xfrm>
                <a:off x="3230523" y="3353525"/>
                <a:ext cx="185854" cy="146048"/>
              </a:xfrm>
              <a:prstGeom prst="can">
                <a:avLst/>
              </a:prstGeom>
              <a:solidFill>
                <a:srgbClr val="00D2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Rectangle 160">
                <a:extLst>
                  <a:ext uri="{FF2B5EF4-FFF2-40B4-BE49-F238E27FC236}">
                    <a16:creationId xmlns:a16="http://schemas.microsoft.com/office/drawing/2014/main" id="{D80E5DB9-39E6-464B-B246-0102028C0B05}"/>
                  </a:ext>
                </a:extLst>
              </p:cNvPr>
              <p:cNvSpPr/>
              <p:nvPr/>
            </p:nvSpPr>
            <p:spPr>
              <a:xfrm>
                <a:off x="1032296" y="3432816"/>
                <a:ext cx="45719" cy="45719"/>
              </a:xfrm>
              <a:prstGeom prst="rect">
                <a:avLst/>
              </a:prstGeom>
              <a:grp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3" name="Straight Connector 162">
                <a:extLst>
                  <a:ext uri="{FF2B5EF4-FFF2-40B4-BE49-F238E27FC236}">
                    <a16:creationId xmlns:a16="http://schemas.microsoft.com/office/drawing/2014/main" id="{8AE8C1B1-4967-0346-B1DB-13A4A90928DB}"/>
                  </a:ext>
                </a:extLst>
              </p:cNvPr>
              <p:cNvCxnSpPr>
                <a:cxnSpLocks/>
              </p:cNvCxnSpPr>
              <p:nvPr/>
            </p:nvCxnSpPr>
            <p:spPr>
              <a:xfrm>
                <a:off x="2141500" y="3470450"/>
                <a:ext cx="0" cy="255111"/>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DC544475-3595-124C-A33F-2688BD8F450F}"/>
                  </a:ext>
                </a:extLst>
              </p:cNvPr>
              <p:cNvCxnSpPr>
                <a:cxnSpLocks/>
              </p:cNvCxnSpPr>
              <p:nvPr/>
            </p:nvCxnSpPr>
            <p:spPr>
              <a:xfrm>
                <a:off x="1083643" y="3724247"/>
                <a:ext cx="1059749" cy="0"/>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C6EB8D86-EEB7-F040-8EC2-374B707D969F}"/>
                  </a:ext>
                </a:extLst>
              </p:cNvPr>
              <p:cNvCxnSpPr>
                <a:cxnSpLocks/>
              </p:cNvCxnSpPr>
              <p:nvPr/>
            </p:nvCxnSpPr>
            <p:spPr>
              <a:xfrm>
                <a:off x="2196374" y="3519019"/>
                <a:ext cx="1" cy="206407"/>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9DE23C0-2B52-9849-A40F-F7ACBBA9D8CC}"/>
                  </a:ext>
                </a:extLst>
              </p:cNvPr>
              <p:cNvCxnSpPr>
                <a:cxnSpLocks/>
              </p:cNvCxnSpPr>
              <p:nvPr/>
            </p:nvCxnSpPr>
            <p:spPr>
              <a:xfrm>
                <a:off x="2195471" y="3723474"/>
                <a:ext cx="1089551" cy="0"/>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9DD1AAC4-48E7-CE48-B55A-A54664672D6C}"/>
                  </a:ext>
                </a:extLst>
              </p:cNvPr>
              <p:cNvCxnSpPr>
                <a:cxnSpLocks/>
              </p:cNvCxnSpPr>
              <p:nvPr/>
            </p:nvCxnSpPr>
            <p:spPr>
              <a:xfrm flipH="1">
                <a:off x="3084932" y="3724246"/>
                <a:ext cx="274930" cy="0"/>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B65DA04-196E-B44D-AC87-634E09399042}"/>
                  </a:ext>
                </a:extLst>
              </p:cNvPr>
              <p:cNvCxnSpPr>
                <a:cxnSpLocks/>
              </p:cNvCxnSpPr>
              <p:nvPr/>
            </p:nvCxnSpPr>
            <p:spPr>
              <a:xfrm>
                <a:off x="2195122" y="3446566"/>
                <a:ext cx="1" cy="206407"/>
              </a:xfrm>
              <a:prstGeom prst="line">
                <a:avLst/>
              </a:prstGeom>
              <a:grpFill/>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A85968F1-4AC7-7F46-AC94-1936340B0226}"/>
                  </a:ext>
                </a:extLst>
              </p:cNvPr>
              <p:cNvCxnSpPr>
                <a:cxnSpLocks/>
              </p:cNvCxnSpPr>
              <p:nvPr/>
            </p:nvCxnSpPr>
            <p:spPr>
              <a:xfrm flipH="1">
                <a:off x="3057442" y="3685519"/>
                <a:ext cx="274930" cy="0"/>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3E5211AE-BC2A-9040-9B93-DE359CFD52F4}"/>
                  </a:ext>
                </a:extLst>
              </p:cNvPr>
              <p:cNvSpPr/>
              <p:nvPr/>
            </p:nvSpPr>
            <p:spPr>
              <a:xfrm>
                <a:off x="962391" y="3594000"/>
                <a:ext cx="69994" cy="299007"/>
              </a:xfrm>
              <a:prstGeom prst="rect">
                <a:avLst/>
              </a:prstGeom>
              <a:solidFill>
                <a:schemeClr val="tx1">
                  <a:lumMod val="50000"/>
                  <a:lumOff val="50000"/>
                </a:schemeClr>
              </a:solidFill>
              <a:ln w="6350">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Can 170">
                <a:extLst>
                  <a:ext uri="{FF2B5EF4-FFF2-40B4-BE49-F238E27FC236}">
                    <a16:creationId xmlns:a16="http://schemas.microsoft.com/office/drawing/2014/main" id="{551696A9-6D53-0549-8EBD-0BE249F5CC95}"/>
                  </a:ext>
                </a:extLst>
              </p:cNvPr>
              <p:cNvSpPr/>
              <p:nvPr/>
            </p:nvSpPr>
            <p:spPr>
              <a:xfrm>
                <a:off x="2096477" y="3350154"/>
                <a:ext cx="185854" cy="142922"/>
              </a:xfrm>
              <a:prstGeom prst="can">
                <a:avLst/>
              </a:prstGeom>
              <a:solidFill>
                <a:srgbClr val="00D2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76" name="Straight Arrow Connector 175">
              <a:extLst>
                <a:ext uri="{FF2B5EF4-FFF2-40B4-BE49-F238E27FC236}">
                  <a16:creationId xmlns:a16="http://schemas.microsoft.com/office/drawing/2014/main" id="{79210C0B-AD3C-8A41-BBB6-5B6030720960}"/>
                </a:ext>
              </a:extLst>
            </p:cNvPr>
            <p:cNvCxnSpPr>
              <a:cxnSpLocks/>
            </p:cNvCxnSpPr>
            <p:nvPr/>
          </p:nvCxnSpPr>
          <p:spPr>
            <a:xfrm flipV="1">
              <a:off x="5196123" y="1962904"/>
              <a:ext cx="337395" cy="614219"/>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77FE4B50-A209-3F41-BFCA-26FE5CB0978B}"/>
                </a:ext>
              </a:extLst>
            </p:cNvPr>
            <p:cNvCxnSpPr>
              <a:cxnSpLocks/>
            </p:cNvCxnSpPr>
            <p:nvPr/>
          </p:nvCxnSpPr>
          <p:spPr>
            <a:xfrm flipV="1">
              <a:off x="5513831" y="2022894"/>
              <a:ext cx="279131" cy="620929"/>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D8F82C18-08C8-3041-96DB-AD91D22FCE6D}"/>
                </a:ext>
              </a:extLst>
            </p:cNvPr>
            <p:cNvCxnSpPr>
              <a:cxnSpLocks/>
            </p:cNvCxnSpPr>
            <p:nvPr/>
          </p:nvCxnSpPr>
          <p:spPr>
            <a:xfrm flipH="1" flipV="1">
              <a:off x="6139042" y="1967367"/>
              <a:ext cx="203877" cy="659854"/>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494378FE-37EC-2A43-A8CC-0A26308EC6C1}"/>
                </a:ext>
              </a:extLst>
            </p:cNvPr>
            <p:cNvCxnSpPr>
              <a:cxnSpLocks/>
            </p:cNvCxnSpPr>
            <p:nvPr/>
          </p:nvCxnSpPr>
          <p:spPr>
            <a:xfrm flipH="1" flipV="1">
              <a:off x="6412071" y="2005446"/>
              <a:ext cx="171861" cy="48354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6EF80138-E383-2C4C-8748-0735A0F668B9}"/>
                </a:ext>
              </a:extLst>
            </p:cNvPr>
            <p:cNvSpPr txBox="1"/>
            <p:nvPr/>
          </p:nvSpPr>
          <p:spPr>
            <a:xfrm>
              <a:off x="4831455" y="2012781"/>
              <a:ext cx="508050" cy="201259"/>
            </a:xfrm>
            <a:prstGeom prst="rect">
              <a:avLst/>
            </a:prstGeom>
            <a:noFill/>
          </p:spPr>
          <p:txBody>
            <a:bodyPr wrap="none" rtlCol="0">
              <a:spAutoFit/>
            </a:bodyPr>
            <a:lstStyle/>
            <a:p>
              <a:r>
                <a:rPr lang="en-US" sz="800" b="1" dirty="0">
                  <a:latin typeface="+mn-lt"/>
                </a:rPr>
                <a:t>Netconf / Yang </a:t>
              </a:r>
            </a:p>
          </p:txBody>
        </p:sp>
        <p:grpSp>
          <p:nvGrpSpPr>
            <p:cNvPr id="13" name="Group 12"/>
            <p:cNvGrpSpPr/>
            <p:nvPr/>
          </p:nvGrpSpPr>
          <p:grpSpPr>
            <a:xfrm>
              <a:off x="4836804" y="1239725"/>
              <a:ext cx="2081369" cy="719216"/>
              <a:chOff x="358445" y="1675182"/>
              <a:chExt cx="3313784" cy="880896"/>
            </a:xfrm>
          </p:grpSpPr>
          <p:sp>
            <p:nvSpPr>
              <p:cNvPr id="9" name="Rectangle 8"/>
              <p:cNvSpPr/>
              <p:nvPr/>
            </p:nvSpPr>
            <p:spPr>
              <a:xfrm>
                <a:off x="358445" y="1675182"/>
                <a:ext cx="3313784" cy="880896"/>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p:cNvGrpSpPr/>
              <p:nvPr/>
            </p:nvGrpSpPr>
            <p:grpSpPr>
              <a:xfrm>
                <a:off x="2444338" y="1743170"/>
                <a:ext cx="1141824" cy="736685"/>
                <a:chOff x="1707085" y="1743169"/>
                <a:chExt cx="1141825" cy="736684"/>
              </a:xfrm>
            </p:grpSpPr>
            <p:sp>
              <p:nvSpPr>
                <p:cNvPr id="8" name="Rectangle 7"/>
                <p:cNvSpPr/>
                <p:nvPr/>
              </p:nvSpPr>
              <p:spPr>
                <a:xfrm>
                  <a:off x="1707085" y="1743169"/>
                  <a:ext cx="1141825" cy="73668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b="1" dirty="0"/>
                    <a:t>EPN-M</a:t>
                  </a:r>
                </a:p>
              </p:txBody>
            </p:sp>
            <p:sp>
              <p:nvSpPr>
                <p:cNvPr id="10" name="Rounded Rectangle 9"/>
                <p:cNvSpPr/>
                <p:nvPr/>
              </p:nvSpPr>
              <p:spPr>
                <a:xfrm>
                  <a:off x="1798312" y="1982419"/>
                  <a:ext cx="959371" cy="409651"/>
                </a:xfrm>
                <a:prstGeom prst="round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1911339" y="2018996"/>
                  <a:ext cx="733316" cy="8778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Rectangle 173"/>
                <p:cNvSpPr/>
                <p:nvPr/>
              </p:nvSpPr>
              <p:spPr>
                <a:xfrm>
                  <a:off x="1911339" y="2145794"/>
                  <a:ext cx="733316" cy="8778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5" name="Rectangle 174"/>
                <p:cNvSpPr/>
                <p:nvPr/>
              </p:nvSpPr>
              <p:spPr>
                <a:xfrm>
                  <a:off x="1911339" y="2272591"/>
                  <a:ext cx="733316" cy="8778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Rectangle 60"/>
              <p:cNvSpPr/>
              <p:nvPr/>
            </p:nvSpPr>
            <p:spPr>
              <a:xfrm>
                <a:off x="437765" y="1743170"/>
                <a:ext cx="1863248" cy="7366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b="1" dirty="0"/>
                  <a:t>Crosswork</a:t>
                </a:r>
              </a:p>
            </p:txBody>
          </p:sp>
          <p:sp>
            <p:nvSpPr>
              <p:cNvPr id="62" name="Rounded Rectangle 61"/>
              <p:cNvSpPr/>
              <p:nvPr/>
            </p:nvSpPr>
            <p:spPr>
              <a:xfrm>
                <a:off x="541325" y="1982417"/>
                <a:ext cx="1668464" cy="409652"/>
              </a:xfrm>
              <a:prstGeom prst="round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p:cNvGrpSpPr/>
              <p:nvPr/>
            </p:nvGrpSpPr>
            <p:grpSpPr>
              <a:xfrm>
                <a:off x="611043" y="2018639"/>
                <a:ext cx="1516694" cy="341734"/>
                <a:chOff x="623955" y="2018639"/>
                <a:chExt cx="1516695" cy="341734"/>
              </a:xfrm>
            </p:grpSpPr>
            <p:sp>
              <p:nvSpPr>
                <p:cNvPr id="63" name="Rectangle 62"/>
                <p:cNvSpPr/>
                <p:nvPr/>
              </p:nvSpPr>
              <p:spPr>
                <a:xfrm>
                  <a:off x="1407334" y="2018995"/>
                  <a:ext cx="733316" cy="877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64"/>
                <p:cNvSpPr/>
                <p:nvPr/>
              </p:nvSpPr>
              <p:spPr>
                <a:xfrm>
                  <a:off x="1407334" y="2272590"/>
                  <a:ext cx="733316" cy="877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p:cNvSpPr/>
                <p:nvPr/>
              </p:nvSpPr>
              <p:spPr>
                <a:xfrm>
                  <a:off x="623956" y="2018639"/>
                  <a:ext cx="733316" cy="877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ectangle 67"/>
                <p:cNvSpPr/>
                <p:nvPr/>
              </p:nvSpPr>
              <p:spPr>
                <a:xfrm>
                  <a:off x="623955" y="2145438"/>
                  <a:ext cx="1512051" cy="89634"/>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ectangle 68"/>
                <p:cNvSpPr/>
                <p:nvPr/>
              </p:nvSpPr>
              <p:spPr>
                <a:xfrm>
                  <a:off x="623956" y="2272234"/>
                  <a:ext cx="733316" cy="877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sp>
        <p:nvSpPr>
          <p:cNvPr id="85" name="Rectangle: Rounded Corners 349">
            <a:extLst>
              <a:ext uri="{FF2B5EF4-FFF2-40B4-BE49-F238E27FC236}">
                <a16:creationId xmlns:a16="http://schemas.microsoft.com/office/drawing/2014/main" id="{E10BEF28-6ED9-4D89-A698-9B4E4D84E933}"/>
              </a:ext>
            </a:extLst>
          </p:cNvPr>
          <p:cNvSpPr/>
          <p:nvPr/>
        </p:nvSpPr>
        <p:spPr>
          <a:xfrm>
            <a:off x="0" y="3642034"/>
            <a:ext cx="9147176" cy="1501466"/>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113" name="TextBox 112">
            <a:extLst>
              <a:ext uri="{FF2B5EF4-FFF2-40B4-BE49-F238E27FC236}">
                <a16:creationId xmlns:a16="http://schemas.microsoft.com/office/drawing/2014/main" id="{25D099EE-95EA-46F1-A28B-EBDBB35880A7}"/>
              </a:ext>
            </a:extLst>
          </p:cNvPr>
          <p:cNvSpPr txBox="1"/>
          <p:nvPr/>
        </p:nvSpPr>
        <p:spPr>
          <a:xfrm>
            <a:off x="7329002" y="4314861"/>
            <a:ext cx="1380718" cy="738664"/>
          </a:xfrm>
          <a:prstGeom prst="rect">
            <a:avLst/>
          </a:prstGeom>
          <a:noFill/>
        </p:spPr>
        <p:txBody>
          <a:bodyPr wrap="square" rtlCol="0">
            <a:spAutoFit/>
          </a:bodyPr>
          <a:lstStyle/>
          <a:p>
            <a:r>
              <a:rPr lang="en-US" sz="1050" dirty="0">
                <a:solidFill>
                  <a:schemeClr val="bg2"/>
                </a:solidFill>
                <a:latin typeface="+mn-lt"/>
              </a:rPr>
              <a:t>Leverages industry standards</a:t>
            </a:r>
          </a:p>
          <a:p>
            <a:endParaRPr lang="en-US" sz="1050" dirty="0">
              <a:solidFill>
                <a:schemeClr val="bg2"/>
              </a:solidFill>
              <a:latin typeface="+mn-lt"/>
            </a:endParaRPr>
          </a:p>
          <a:p>
            <a:endParaRPr lang="en-US" sz="1050" dirty="0">
              <a:solidFill>
                <a:schemeClr val="bg2"/>
              </a:solidFill>
              <a:latin typeface="+mn-lt"/>
            </a:endParaRPr>
          </a:p>
        </p:txBody>
      </p:sp>
      <p:sp>
        <p:nvSpPr>
          <p:cNvPr id="114" name="TextBox 113">
            <a:extLst>
              <a:ext uri="{FF2B5EF4-FFF2-40B4-BE49-F238E27FC236}">
                <a16:creationId xmlns:a16="http://schemas.microsoft.com/office/drawing/2014/main" id="{72616906-71E2-4790-9B8B-B596B9AF9268}"/>
              </a:ext>
            </a:extLst>
          </p:cNvPr>
          <p:cNvSpPr txBox="1"/>
          <p:nvPr/>
        </p:nvSpPr>
        <p:spPr>
          <a:xfrm>
            <a:off x="1750928" y="4314861"/>
            <a:ext cx="1380718" cy="738664"/>
          </a:xfrm>
          <a:prstGeom prst="rect">
            <a:avLst/>
          </a:prstGeom>
          <a:noFill/>
        </p:spPr>
        <p:txBody>
          <a:bodyPr wrap="square" rtlCol="0">
            <a:spAutoFit/>
          </a:bodyPr>
          <a:lstStyle/>
          <a:p>
            <a:r>
              <a:rPr lang="en-US" sz="1050" dirty="0">
                <a:solidFill>
                  <a:schemeClr val="bg2"/>
                </a:solidFill>
                <a:latin typeface="+mn-lt"/>
              </a:rPr>
              <a:t>Simplifies planning and feasibility</a:t>
            </a:r>
          </a:p>
          <a:p>
            <a:endParaRPr lang="en-US" sz="1050" dirty="0">
              <a:solidFill>
                <a:schemeClr val="bg2"/>
              </a:solidFill>
              <a:latin typeface="+mn-lt"/>
            </a:endParaRPr>
          </a:p>
          <a:p>
            <a:endParaRPr lang="en-US" sz="1050" dirty="0">
              <a:solidFill>
                <a:schemeClr val="bg2"/>
              </a:solidFill>
              <a:latin typeface="+mn-lt"/>
            </a:endParaRPr>
          </a:p>
        </p:txBody>
      </p:sp>
      <p:sp>
        <p:nvSpPr>
          <p:cNvPr id="115" name="TextBox 114">
            <a:extLst>
              <a:ext uri="{FF2B5EF4-FFF2-40B4-BE49-F238E27FC236}">
                <a16:creationId xmlns:a16="http://schemas.microsoft.com/office/drawing/2014/main" id="{8E8A4883-858C-47D2-801A-7C912B9BFFA0}"/>
              </a:ext>
            </a:extLst>
          </p:cNvPr>
          <p:cNvSpPr txBox="1"/>
          <p:nvPr/>
        </p:nvSpPr>
        <p:spPr>
          <a:xfrm>
            <a:off x="3162004" y="4314861"/>
            <a:ext cx="1380718" cy="738664"/>
          </a:xfrm>
          <a:prstGeom prst="rect">
            <a:avLst/>
          </a:prstGeom>
          <a:noFill/>
        </p:spPr>
        <p:txBody>
          <a:bodyPr wrap="square" rtlCol="0">
            <a:spAutoFit/>
          </a:bodyPr>
          <a:lstStyle/>
          <a:p>
            <a:r>
              <a:rPr lang="en-US" sz="1050" dirty="0">
                <a:solidFill>
                  <a:schemeClr val="bg2"/>
                </a:solidFill>
                <a:latin typeface="+mn-lt"/>
              </a:rPr>
              <a:t>Moves management and control closer to the service</a:t>
            </a:r>
          </a:p>
        </p:txBody>
      </p:sp>
      <p:sp>
        <p:nvSpPr>
          <p:cNvPr id="116" name="TextBox 115">
            <a:extLst>
              <a:ext uri="{FF2B5EF4-FFF2-40B4-BE49-F238E27FC236}">
                <a16:creationId xmlns:a16="http://schemas.microsoft.com/office/drawing/2014/main" id="{F475F807-FF00-4B39-8EB7-2BA3B1F77832}"/>
              </a:ext>
            </a:extLst>
          </p:cNvPr>
          <p:cNvSpPr txBox="1"/>
          <p:nvPr/>
        </p:nvSpPr>
        <p:spPr>
          <a:xfrm>
            <a:off x="4578598" y="4314861"/>
            <a:ext cx="1380718" cy="738664"/>
          </a:xfrm>
          <a:prstGeom prst="rect">
            <a:avLst/>
          </a:prstGeom>
          <a:noFill/>
        </p:spPr>
        <p:txBody>
          <a:bodyPr wrap="square" rtlCol="0">
            <a:spAutoFit/>
          </a:bodyPr>
          <a:lstStyle/>
          <a:p>
            <a:r>
              <a:rPr lang="en-US" sz="1050" dirty="0">
                <a:solidFill>
                  <a:schemeClr val="bg2"/>
                </a:solidFill>
                <a:latin typeface="+mn-lt"/>
              </a:rPr>
              <a:t>Reduces power and footprint</a:t>
            </a:r>
          </a:p>
          <a:p>
            <a:endParaRPr lang="en-US" sz="1050" dirty="0">
              <a:solidFill>
                <a:schemeClr val="bg2"/>
              </a:solidFill>
              <a:latin typeface="+mn-lt"/>
            </a:endParaRPr>
          </a:p>
          <a:p>
            <a:endParaRPr lang="en-US" sz="1050" dirty="0">
              <a:solidFill>
                <a:schemeClr val="bg2"/>
              </a:solidFill>
              <a:latin typeface="+mn-lt"/>
            </a:endParaRPr>
          </a:p>
        </p:txBody>
      </p:sp>
      <p:sp>
        <p:nvSpPr>
          <p:cNvPr id="117" name="TextBox 116">
            <a:extLst>
              <a:ext uri="{FF2B5EF4-FFF2-40B4-BE49-F238E27FC236}">
                <a16:creationId xmlns:a16="http://schemas.microsoft.com/office/drawing/2014/main" id="{EF3F4F94-D896-4819-A5F5-C86BD4FBAC24}"/>
              </a:ext>
            </a:extLst>
          </p:cNvPr>
          <p:cNvSpPr txBox="1"/>
          <p:nvPr/>
        </p:nvSpPr>
        <p:spPr>
          <a:xfrm>
            <a:off x="5953799" y="4314861"/>
            <a:ext cx="1380718" cy="1061829"/>
          </a:xfrm>
          <a:prstGeom prst="rect">
            <a:avLst/>
          </a:prstGeom>
          <a:noFill/>
        </p:spPr>
        <p:txBody>
          <a:bodyPr wrap="square" rtlCol="0">
            <a:spAutoFit/>
          </a:bodyPr>
          <a:lstStyle/>
          <a:p>
            <a:r>
              <a:rPr lang="en-US" sz="1050" dirty="0">
                <a:solidFill>
                  <a:schemeClr val="bg2"/>
                </a:solidFill>
                <a:latin typeface="+mn-lt"/>
              </a:rPr>
              <a:t>Enables the sharing of network information for services</a:t>
            </a:r>
          </a:p>
          <a:p>
            <a:endParaRPr lang="en-US" sz="1050" dirty="0">
              <a:solidFill>
                <a:schemeClr val="bg2"/>
              </a:solidFill>
              <a:latin typeface="+mn-lt"/>
            </a:endParaRPr>
          </a:p>
          <a:p>
            <a:endParaRPr lang="en-US" sz="1050" dirty="0">
              <a:solidFill>
                <a:schemeClr val="bg2"/>
              </a:solidFill>
              <a:latin typeface="+mn-lt"/>
            </a:endParaRPr>
          </a:p>
        </p:txBody>
      </p:sp>
      <p:sp>
        <p:nvSpPr>
          <p:cNvPr id="118" name="TextBox 117">
            <a:extLst>
              <a:ext uri="{FF2B5EF4-FFF2-40B4-BE49-F238E27FC236}">
                <a16:creationId xmlns:a16="http://schemas.microsoft.com/office/drawing/2014/main" id="{807023EA-44C5-406D-A03D-F3FA2072449F}"/>
              </a:ext>
            </a:extLst>
          </p:cNvPr>
          <p:cNvSpPr txBox="1"/>
          <p:nvPr/>
        </p:nvSpPr>
        <p:spPr>
          <a:xfrm>
            <a:off x="452995" y="4314861"/>
            <a:ext cx="1380718" cy="738664"/>
          </a:xfrm>
          <a:prstGeom prst="rect">
            <a:avLst/>
          </a:prstGeom>
          <a:noFill/>
        </p:spPr>
        <p:txBody>
          <a:bodyPr wrap="square" rtlCol="0">
            <a:spAutoFit/>
          </a:bodyPr>
          <a:lstStyle/>
          <a:p>
            <a:r>
              <a:rPr lang="en-US" sz="1050" dirty="0">
                <a:solidFill>
                  <a:schemeClr val="bg2"/>
                </a:solidFill>
                <a:latin typeface="+mn-lt"/>
              </a:rPr>
              <a:t>Provides a single Interface</a:t>
            </a:r>
          </a:p>
          <a:p>
            <a:endParaRPr lang="en-US" sz="1050" dirty="0">
              <a:solidFill>
                <a:schemeClr val="bg2"/>
              </a:solidFill>
              <a:latin typeface="+mn-lt"/>
            </a:endParaRPr>
          </a:p>
          <a:p>
            <a:endParaRPr lang="en-US" sz="1050" dirty="0">
              <a:solidFill>
                <a:schemeClr val="bg2"/>
              </a:solidFill>
              <a:latin typeface="+mn-lt"/>
            </a:endParaRPr>
          </a:p>
        </p:txBody>
      </p:sp>
      <p:sp>
        <p:nvSpPr>
          <p:cNvPr id="19" name="Rectangle: Rounded Corners 18">
            <a:extLst>
              <a:ext uri="{FF2B5EF4-FFF2-40B4-BE49-F238E27FC236}">
                <a16:creationId xmlns:a16="http://schemas.microsoft.com/office/drawing/2014/main" id="{1515E483-88A5-4C13-9EA6-94DBC7AA65B5}"/>
              </a:ext>
            </a:extLst>
          </p:cNvPr>
          <p:cNvSpPr/>
          <p:nvPr/>
        </p:nvSpPr>
        <p:spPr>
          <a:xfrm>
            <a:off x="897510" y="1300983"/>
            <a:ext cx="3375198" cy="1458768"/>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5" name="Group 224">
            <a:extLst>
              <a:ext uri="{FF2B5EF4-FFF2-40B4-BE49-F238E27FC236}">
                <a16:creationId xmlns:a16="http://schemas.microsoft.com/office/drawing/2014/main" id="{22F3FE38-D7D1-48FB-82EC-FE0BB43D6210}"/>
              </a:ext>
            </a:extLst>
          </p:cNvPr>
          <p:cNvGrpSpPr/>
          <p:nvPr/>
        </p:nvGrpSpPr>
        <p:grpSpPr>
          <a:xfrm>
            <a:off x="973753" y="1366964"/>
            <a:ext cx="3316871" cy="1356620"/>
            <a:chOff x="860757" y="1494377"/>
            <a:chExt cx="2735083" cy="972844"/>
          </a:xfrm>
        </p:grpSpPr>
        <p:sp>
          <p:nvSpPr>
            <p:cNvPr id="226" name="Can 15">
              <a:extLst>
                <a:ext uri="{FF2B5EF4-FFF2-40B4-BE49-F238E27FC236}">
                  <a16:creationId xmlns:a16="http://schemas.microsoft.com/office/drawing/2014/main" id="{7A5E763F-B76D-476F-8832-43F85D284DEC}"/>
                </a:ext>
              </a:extLst>
            </p:cNvPr>
            <p:cNvSpPr/>
            <p:nvPr/>
          </p:nvSpPr>
          <p:spPr>
            <a:xfrm rot="16200000">
              <a:off x="2109485" y="1098229"/>
              <a:ext cx="169085" cy="2203263"/>
            </a:xfrm>
            <a:prstGeom prst="can">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7" name="Preparation 60">
              <a:extLst>
                <a:ext uri="{FF2B5EF4-FFF2-40B4-BE49-F238E27FC236}">
                  <a16:creationId xmlns:a16="http://schemas.microsoft.com/office/drawing/2014/main" id="{9083DFD8-5D47-4461-BB57-92BB028A09C8}"/>
                </a:ext>
              </a:extLst>
            </p:cNvPr>
            <p:cNvSpPr/>
            <p:nvPr/>
          </p:nvSpPr>
          <p:spPr>
            <a:xfrm>
              <a:off x="3185434" y="2084191"/>
              <a:ext cx="282298" cy="215724"/>
            </a:xfrm>
            <a:prstGeom prst="flowChartPreparati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8" name="Preparation 61">
              <a:extLst>
                <a:ext uri="{FF2B5EF4-FFF2-40B4-BE49-F238E27FC236}">
                  <a16:creationId xmlns:a16="http://schemas.microsoft.com/office/drawing/2014/main" id="{D3F63D78-1027-4AC1-876C-D13EE56ED046}"/>
                </a:ext>
              </a:extLst>
            </p:cNvPr>
            <p:cNvSpPr/>
            <p:nvPr/>
          </p:nvSpPr>
          <p:spPr>
            <a:xfrm>
              <a:off x="1991695" y="2083099"/>
              <a:ext cx="282298" cy="211997"/>
            </a:xfrm>
            <a:prstGeom prst="flowChartPreparati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Preparation 62">
              <a:extLst>
                <a:ext uri="{FF2B5EF4-FFF2-40B4-BE49-F238E27FC236}">
                  <a16:creationId xmlns:a16="http://schemas.microsoft.com/office/drawing/2014/main" id="{A95B4827-E9BD-4679-9A0C-FF10C7BB9AB6}"/>
                </a:ext>
              </a:extLst>
            </p:cNvPr>
            <p:cNvSpPr/>
            <p:nvPr/>
          </p:nvSpPr>
          <p:spPr>
            <a:xfrm>
              <a:off x="909126" y="2070694"/>
              <a:ext cx="290739" cy="217635"/>
            </a:xfrm>
            <a:prstGeom prst="flowChartPreparati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0" name="Straight Connector 229">
              <a:extLst>
                <a:ext uri="{FF2B5EF4-FFF2-40B4-BE49-F238E27FC236}">
                  <a16:creationId xmlns:a16="http://schemas.microsoft.com/office/drawing/2014/main" id="{99664659-0341-409B-B064-7AE29ECB2789}"/>
                </a:ext>
              </a:extLst>
            </p:cNvPr>
            <p:cNvCxnSpPr>
              <a:cxnSpLocks/>
            </p:cNvCxnSpPr>
            <p:nvPr/>
          </p:nvCxnSpPr>
          <p:spPr>
            <a:xfrm>
              <a:off x="2192648" y="1629830"/>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2516F770-FAFA-4754-B4EA-4D4D32B0228F}"/>
                </a:ext>
              </a:extLst>
            </p:cNvPr>
            <p:cNvCxnSpPr>
              <a:cxnSpLocks/>
            </p:cNvCxnSpPr>
            <p:nvPr/>
          </p:nvCxnSpPr>
          <p:spPr>
            <a:xfrm>
              <a:off x="2076642" y="1635708"/>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E4934FCE-E5BC-4FEE-97F2-F8608767BA65}"/>
                </a:ext>
              </a:extLst>
            </p:cNvPr>
            <p:cNvCxnSpPr>
              <a:cxnSpLocks/>
            </p:cNvCxnSpPr>
            <p:nvPr/>
          </p:nvCxnSpPr>
          <p:spPr>
            <a:xfrm>
              <a:off x="984817" y="1930869"/>
              <a:ext cx="1" cy="20640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0686A62-0563-455F-959E-836002C565C1}"/>
                </a:ext>
              </a:extLst>
            </p:cNvPr>
            <p:cNvCxnSpPr>
              <a:cxnSpLocks/>
            </p:cNvCxnSpPr>
            <p:nvPr/>
          </p:nvCxnSpPr>
          <p:spPr>
            <a:xfrm>
              <a:off x="1009837" y="1944212"/>
              <a:ext cx="1" cy="206407"/>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A2DB9184-D1AB-45F9-8607-35EEA5479053}"/>
                </a:ext>
              </a:extLst>
            </p:cNvPr>
            <p:cNvCxnSpPr>
              <a:cxnSpLocks/>
            </p:cNvCxnSpPr>
            <p:nvPr/>
          </p:nvCxnSpPr>
          <p:spPr>
            <a:xfrm>
              <a:off x="1034858" y="1913212"/>
              <a:ext cx="1" cy="20640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11EEF6A7-D1DB-489B-B665-0C325EBD87B4}"/>
                </a:ext>
              </a:extLst>
            </p:cNvPr>
            <p:cNvCxnSpPr>
              <a:cxnSpLocks/>
            </p:cNvCxnSpPr>
            <p:nvPr/>
          </p:nvCxnSpPr>
          <p:spPr>
            <a:xfrm>
              <a:off x="1062825" y="1905529"/>
              <a:ext cx="1" cy="20640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C7D9DB50-3704-476B-9FC8-62736E354B66}"/>
                </a:ext>
              </a:extLst>
            </p:cNvPr>
            <p:cNvCxnSpPr>
              <a:cxnSpLocks/>
            </p:cNvCxnSpPr>
            <p:nvPr/>
          </p:nvCxnSpPr>
          <p:spPr>
            <a:xfrm>
              <a:off x="1085689" y="1907803"/>
              <a:ext cx="1" cy="206407"/>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1D5B8351-64AF-44BD-9048-223A7DEFE140}"/>
                </a:ext>
              </a:extLst>
            </p:cNvPr>
            <p:cNvCxnSpPr>
              <a:cxnSpLocks/>
            </p:cNvCxnSpPr>
            <p:nvPr/>
          </p:nvCxnSpPr>
          <p:spPr>
            <a:xfrm>
              <a:off x="987091" y="1633433"/>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FF34AFB8-AF95-43FF-BB12-166BCDDCF7DA}"/>
                </a:ext>
              </a:extLst>
            </p:cNvPr>
            <p:cNvCxnSpPr>
              <a:cxnSpLocks/>
            </p:cNvCxnSpPr>
            <p:nvPr/>
          </p:nvCxnSpPr>
          <p:spPr>
            <a:xfrm>
              <a:off x="1012111" y="1622059"/>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1344981B-FD67-45AB-8D82-CC2789735DCF}"/>
                </a:ext>
              </a:extLst>
            </p:cNvPr>
            <p:cNvCxnSpPr>
              <a:cxnSpLocks/>
            </p:cNvCxnSpPr>
            <p:nvPr/>
          </p:nvCxnSpPr>
          <p:spPr>
            <a:xfrm>
              <a:off x="1037132" y="1633431"/>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99200E8C-78CB-4E5F-9E75-2569E0D51C53}"/>
                </a:ext>
              </a:extLst>
            </p:cNvPr>
            <p:cNvCxnSpPr>
              <a:cxnSpLocks/>
            </p:cNvCxnSpPr>
            <p:nvPr/>
          </p:nvCxnSpPr>
          <p:spPr>
            <a:xfrm>
              <a:off x="1065099" y="1625748"/>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B0383F56-0F16-462E-B0DE-90D34CA4E1C7}"/>
                </a:ext>
              </a:extLst>
            </p:cNvPr>
            <p:cNvCxnSpPr>
              <a:cxnSpLocks/>
            </p:cNvCxnSpPr>
            <p:nvPr/>
          </p:nvCxnSpPr>
          <p:spPr>
            <a:xfrm>
              <a:off x="1094669" y="1628022"/>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47BAAEE1-C0C3-4093-BCFD-C01D4A04FFB5}"/>
                </a:ext>
              </a:extLst>
            </p:cNvPr>
            <p:cNvCxnSpPr>
              <a:cxnSpLocks/>
            </p:cNvCxnSpPr>
            <p:nvPr/>
          </p:nvCxnSpPr>
          <p:spPr>
            <a:xfrm>
              <a:off x="1119690" y="1630296"/>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43" name="Can 3">
              <a:extLst>
                <a:ext uri="{FF2B5EF4-FFF2-40B4-BE49-F238E27FC236}">
                  <a16:creationId xmlns:a16="http://schemas.microsoft.com/office/drawing/2014/main" id="{9C3E9EB8-1CE9-46D1-B16D-13A2E91F5FBF}"/>
                </a:ext>
              </a:extLst>
            </p:cNvPr>
            <p:cNvSpPr/>
            <p:nvPr/>
          </p:nvSpPr>
          <p:spPr>
            <a:xfrm>
              <a:off x="957937" y="1500439"/>
              <a:ext cx="185854" cy="143021"/>
            </a:xfrm>
            <a:prstGeom prst="ca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4" name="Picture 243">
              <a:extLst>
                <a:ext uri="{FF2B5EF4-FFF2-40B4-BE49-F238E27FC236}">
                  <a16:creationId xmlns:a16="http://schemas.microsoft.com/office/drawing/2014/main" id="{96B16863-4B94-4AE6-AA5F-BEE3FE752B0D}"/>
                </a:ext>
              </a:extLst>
            </p:cNvPr>
            <p:cNvPicPr>
              <a:picLocks noChangeAspect="1"/>
            </p:cNvPicPr>
            <p:nvPr/>
          </p:nvPicPr>
          <p:blipFill>
            <a:blip r:embed="rId9">
              <a:alphaModFix amt="50000"/>
            </a:blip>
            <a:stretch>
              <a:fillRect/>
            </a:stretch>
          </p:blipFill>
          <p:spPr>
            <a:xfrm>
              <a:off x="1288601" y="2079463"/>
              <a:ext cx="169093" cy="268559"/>
            </a:xfrm>
            <a:prstGeom prst="rect">
              <a:avLst/>
            </a:prstGeom>
          </p:spPr>
        </p:pic>
        <p:pic>
          <p:nvPicPr>
            <p:cNvPr id="245" name="Picture 244">
              <a:extLst>
                <a:ext uri="{FF2B5EF4-FFF2-40B4-BE49-F238E27FC236}">
                  <a16:creationId xmlns:a16="http://schemas.microsoft.com/office/drawing/2014/main" id="{04CDF392-B1AC-41C6-B8B9-3D3729590460}"/>
                </a:ext>
              </a:extLst>
            </p:cNvPr>
            <p:cNvPicPr>
              <a:picLocks noChangeAspect="1"/>
            </p:cNvPicPr>
            <p:nvPr/>
          </p:nvPicPr>
          <p:blipFill>
            <a:blip r:embed="rId9">
              <a:alphaModFix amt="50000"/>
            </a:blip>
            <a:stretch>
              <a:fillRect/>
            </a:stretch>
          </p:blipFill>
          <p:spPr>
            <a:xfrm>
              <a:off x="1667896" y="2080453"/>
              <a:ext cx="169093" cy="268559"/>
            </a:xfrm>
            <a:prstGeom prst="rect">
              <a:avLst/>
            </a:prstGeom>
          </p:spPr>
        </p:pic>
        <p:pic>
          <p:nvPicPr>
            <p:cNvPr id="246" name="Picture 245">
              <a:extLst>
                <a:ext uri="{FF2B5EF4-FFF2-40B4-BE49-F238E27FC236}">
                  <a16:creationId xmlns:a16="http://schemas.microsoft.com/office/drawing/2014/main" id="{E0CB69A1-DDFB-416F-BC86-27B0423F4292}"/>
                </a:ext>
              </a:extLst>
            </p:cNvPr>
            <p:cNvPicPr>
              <a:picLocks noChangeAspect="1"/>
            </p:cNvPicPr>
            <p:nvPr/>
          </p:nvPicPr>
          <p:blipFill>
            <a:blip r:embed="rId9">
              <a:alphaModFix amt="50000"/>
            </a:blip>
            <a:stretch>
              <a:fillRect/>
            </a:stretch>
          </p:blipFill>
          <p:spPr>
            <a:xfrm>
              <a:off x="2486229" y="2079463"/>
              <a:ext cx="169093" cy="268559"/>
            </a:xfrm>
            <a:prstGeom prst="rect">
              <a:avLst/>
            </a:prstGeom>
          </p:spPr>
        </p:pic>
        <p:pic>
          <p:nvPicPr>
            <p:cNvPr id="247" name="Picture 246">
              <a:extLst>
                <a:ext uri="{FF2B5EF4-FFF2-40B4-BE49-F238E27FC236}">
                  <a16:creationId xmlns:a16="http://schemas.microsoft.com/office/drawing/2014/main" id="{3CA02D7A-323B-40A6-A6CC-48E1FB2270FE}"/>
                </a:ext>
              </a:extLst>
            </p:cNvPr>
            <p:cNvPicPr>
              <a:picLocks noChangeAspect="1"/>
            </p:cNvPicPr>
            <p:nvPr/>
          </p:nvPicPr>
          <p:blipFill>
            <a:blip r:embed="rId9">
              <a:alphaModFix amt="50000"/>
            </a:blip>
            <a:stretch>
              <a:fillRect/>
            </a:stretch>
          </p:blipFill>
          <p:spPr>
            <a:xfrm>
              <a:off x="2865524" y="2080453"/>
              <a:ext cx="169093" cy="268559"/>
            </a:xfrm>
            <a:prstGeom prst="rect">
              <a:avLst/>
            </a:prstGeom>
          </p:spPr>
        </p:pic>
        <p:cxnSp>
          <p:nvCxnSpPr>
            <p:cNvPr id="248" name="Straight Connector 247">
              <a:extLst>
                <a:ext uri="{FF2B5EF4-FFF2-40B4-BE49-F238E27FC236}">
                  <a16:creationId xmlns:a16="http://schemas.microsoft.com/office/drawing/2014/main" id="{60A0B284-45CB-4D43-A170-CF8AA719CBBA}"/>
                </a:ext>
              </a:extLst>
            </p:cNvPr>
            <p:cNvCxnSpPr>
              <a:cxnSpLocks/>
            </p:cNvCxnSpPr>
            <p:nvPr/>
          </p:nvCxnSpPr>
          <p:spPr>
            <a:xfrm>
              <a:off x="1195829" y="2135709"/>
              <a:ext cx="8785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EB29F669-A430-4F13-A2D9-A422472F0248}"/>
                </a:ext>
              </a:extLst>
            </p:cNvPr>
            <p:cNvCxnSpPr>
              <a:cxnSpLocks/>
            </p:cNvCxnSpPr>
            <p:nvPr/>
          </p:nvCxnSpPr>
          <p:spPr>
            <a:xfrm>
              <a:off x="2072855" y="1929119"/>
              <a:ext cx="1" cy="20640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867F4AFF-B6CA-40B3-9DCB-72023AA36C7E}"/>
                </a:ext>
              </a:extLst>
            </p:cNvPr>
            <p:cNvCxnSpPr>
              <a:cxnSpLocks/>
            </p:cNvCxnSpPr>
            <p:nvPr/>
          </p:nvCxnSpPr>
          <p:spPr>
            <a:xfrm>
              <a:off x="2190374" y="2135709"/>
              <a:ext cx="107413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A71C9B4-019E-42D2-B45C-8C4CA7BD75FA}"/>
                </a:ext>
              </a:extLst>
            </p:cNvPr>
            <p:cNvCxnSpPr>
              <a:cxnSpLocks/>
            </p:cNvCxnSpPr>
            <p:nvPr/>
          </p:nvCxnSpPr>
          <p:spPr>
            <a:xfrm>
              <a:off x="2194923" y="1931409"/>
              <a:ext cx="1" cy="20640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9FFB592-CF94-4025-AF24-63ECD1525E52}"/>
                </a:ext>
              </a:extLst>
            </p:cNvPr>
            <p:cNvCxnSpPr>
              <a:cxnSpLocks/>
            </p:cNvCxnSpPr>
            <p:nvPr/>
          </p:nvCxnSpPr>
          <p:spPr>
            <a:xfrm>
              <a:off x="3305635" y="1918850"/>
              <a:ext cx="0" cy="255111"/>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5BD6CB9B-108D-4DE2-B924-F0CC84EFDC38}"/>
                </a:ext>
              </a:extLst>
            </p:cNvPr>
            <p:cNvCxnSpPr>
              <a:cxnSpLocks/>
            </p:cNvCxnSpPr>
            <p:nvPr/>
          </p:nvCxnSpPr>
          <p:spPr>
            <a:xfrm>
              <a:off x="3295656" y="1610780"/>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49EFBF23-FE20-4B34-AE97-DB0774858CB4}"/>
                </a:ext>
              </a:extLst>
            </p:cNvPr>
            <p:cNvCxnSpPr>
              <a:cxnSpLocks/>
            </p:cNvCxnSpPr>
            <p:nvPr/>
          </p:nvCxnSpPr>
          <p:spPr>
            <a:xfrm flipH="1">
              <a:off x="1174953" y="2175089"/>
              <a:ext cx="2130682"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3327CC2C-475F-4823-B375-F35F7150D52B}"/>
                </a:ext>
              </a:extLst>
            </p:cNvPr>
            <p:cNvCxnSpPr>
              <a:cxnSpLocks/>
            </p:cNvCxnSpPr>
            <p:nvPr/>
          </p:nvCxnSpPr>
          <p:spPr>
            <a:xfrm flipH="1">
              <a:off x="3257177" y="2129299"/>
              <a:ext cx="1" cy="337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C63D1882-0F7A-4BBC-9DB7-409A23552200}"/>
                </a:ext>
              </a:extLst>
            </p:cNvPr>
            <p:cNvCxnSpPr>
              <a:cxnSpLocks/>
            </p:cNvCxnSpPr>
            <p:nvPr/>
          </p:nvCxnSpPr>
          <p:spPr>
            <a:xfrm>
              <a:off x="1193554" y="2260814"/>
              <a:ext cx="87853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607E322E-67BA-449C-9230-8918525BE34D}"/>
                </a:ext>
              </a:extLst>
            </p:cNvPr>
            <p:cNvCxnSpPr>
              <a:cxnSpLocks/>
            </p:cNvCxnSpPr>
            <p:nvPr/>
          </p:nvCxnSpPr>
          <p:spPr>
            <a:xfrm>
              <a:off x="2067544" y="2260814"/>
              <a:ext cx="1" cy="20640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6ED1CDE-ED35-4298-ADC3-C8044D9CAD67}"/>
                </a:ext>
              </a:extLst>
            </p:cNvPr>
            <p:cNvCxnSpPr>
              <a:cxnSpLocks/>
            </p:cNvCxnSpPr>
            <p:nvPr/>
          </p:nvCxnSpPr>
          <p:spPr>
            <a:xfrm>
              <a:off x="2130768" y="1833328"/>
              <a:ext cx="2076" cy="3818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03B97A20-CB97-46C3-8484-7277098910C2}"/>
                </a:ext>
              </a:extLst>
            </p:cNvPr>
            <p:cNvCxnSpPr>
              <a:cxnSpLocks/>
            </p:cNvCxnSpPr>
            <p:nvPr/>
          </p:nvCxnSpPr>
          <p:spPr>
            <a:xfrm>
              <a:off x="2133042" y="1617945"/>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B81583CB-9A9A-43FE-921E-524D98D149A9}"/>
                </a:ext>
              </a:extLst>
            </p:cNvPr>
            <p:cNvCxnSpPr>
              <a:cxnSpLocks/>
            </p:cNvCxnSpPr>
            <p:nvPr/>
          </p:nvCxnSpPr>
          <p:spPr>
            <a:xfrm>
              <a:off x="2127983" y="2221971"/>
              <a:ext cx="116855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013656F8-4066-4858-9486-EB566818F5C5}"/>
                </a:ext>
              </a:extLst>
            </p:cNvPr>
            <p:cNvCxnSpPr>
              <a:cxnSpLocks/>
            </p:cNvCxnSpPr>
            <p:nvPr/>
          </p:nvCxnSpPr>
          <p:spPr>
            <a:xfrm flipH="1">
              <a:off x="3294622" y="2227472"/>
              <a:ext cx="800" cy="23974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3B3897BF-AC41-4DF8-A542-994A1AE835B5}"/>
                </a:ext>
              </a:extLst>
            </p:cNvPr>
            <p:cNvCxnSpPr>
              <a:cxnSpLocks/>
            </p:cNvCxnSpPr>
            <p:nvPr/>
          </p:nvCxnSpPr>
          <p:spPr>
            <a:xfrm>
              <a:off x="2139286" y="2246010"/>
              <a:ext cx="1" cy="20640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FF9F7071-EAF8-40F3-9097-C995FBCE82FB}"/>
                </a:ext>
              </a:extLst>
            </p:cNvPr>
            <p:cNvCxnSpPr>
              <a:cxnSpLocks/>
            </p:cNvCxnSpPr>
            <p:nvPr/>
          </p:nvCxnSpPr>
          <p:spPr>
            <a:xfrm>
              <a:off x="2139286" y="2247866"/>
              <a:ext cx="1216614"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69D65AA3-5148-4139-B6A7-8F0F70A08C5A}"/>
                </a:ext>
              </a:extLst>
            </p:cNvPr>
            <p:cNvCxnSpPr>
              <a:cxnSpLocks/>
            </p:cNvCxnSpPr>
            <p:nvPr/>
          </p:nvCxnSpPr>
          <p:spPr>
            <a:xfrm>
              <a:off x="3359475" y="1914301"/>
              <a:ext cx="0" cy="33371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D6779D93-AB36-4755-B2BA-F8D049FE7F55}"/>
                </a:ext>
              </a:extLst>
            </p:cNvPr>
            <p:cNvCxnSpPr>
              <a:cxnSpLocks/>
            </p:cNvCxnSpPr>
            <p:nvPr/>
          </p:nvCxnSpPr>
          <p:spPr>
            <a:xfrm>
              <a:off x="3356884" y="1609852"/>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0AC472AC-40D5-4043-AA50-80A280D02618}"/>
                </a:ext>
              </a:extLst>
            </p:cNvPr>
            <p:cNvCxnSpPr>
              <a:cxnSpLocks/>
            </p:cNvCxnSpPr>
            <p:nvPr/>
          </p:nvCxnSpPr>
          <p:spPr>
            <a:xfrm>
              <a:off x="1083906" y="2220399"/>
              <a:ext cx="1023954"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912BE52C-10A8-4F5D-BCBA-DC4D93968256}"/>
                </a:ext>
              </a:extLst>
            </p:cNvPr>
            <p:cNvCxnSpPr>
              <a:cxnSpLocks/>
            </p:cNvCxnSpPr>
            <p:nvPr/>
          </p:nvCxnSpPr>
          <p:spPr>
            <a:xfrm flipH="1">
              <a:off x="2107456" y="2222413"/>
              <a:ext cx="937" cy="229174"/>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40AD6A51-BBA6-453C-97DB-7B853A8E4A7E}"/>
                </a:ext>
              </a:extLst>
            </p:cNvPr>
            <p:cNvCxnSpPr>
              <a:cxnSpLocks/>
            </p:cNvCxnSpPr>
            <p:nvPr/>
          </p:nvCxnSpPr>
          <p:spPr>
            <a:xfrm>
              <a:off x="1085918" y="2014300"/>
              <a:ext cx="1" cy="206407"/>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89D56D54-4CFE-414B-AD9B-1942592C10C7}"/>
                </a:ext>
              </a:extLst>
            </p:cNvPr>
            <p:cNvCxnSpPr>
              <a:cxnSpLocks/>
            </p:cNvCxnSpPr>
            <p:nvPr/>
          </p:nvCxnSpPr>
          <p:spPr>
            <a:xfrm flipH="1">
              <a:off x="984817" y="2136189"/>
              <a:ext cx="22063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D254C153-27AA-48B4-900A-FB0E7A58D03A}"/>
                </a:ext>
              </a:extLst>
            </p:cNvPr>
            <p:cNvCxnSpPr>
              <a:cxnSpLocks/>
            </p:cNvCxnSpPr>
            <p:nvPr/>
          </p:nvCxnSpPr>
          <p:spPr>
            <a:xfrm>
              <a:off x="1006424" y="2175248"/>
              <a:ext cx="246814"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BA92E3D2-9B11-4716-99B1-585F284DF148}"/>
                </a:ext>
              </a:extLst>
            </p:cNvPr>
            <p:cNvCxnSpPr>
              <a:cxnSpLocks/>
            </p:cNvCxnSpPr>
            <p:nvPr/>
          </p:nvCxnSpPr>
          <p:spPr>
            <a:xfrm>
              <a:off x="1010420" y="1969506"/>
              <a:ext cx="1" cy="206407"/>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29355F5E-B497-4D29-844D-7CDCE7C678EF}"/>
                </a:ext>
              </a:extLst>
            </p:cNvPr>
            <p:cNvCxnSpPr>
              <a:cxnSpLocks/>
            </p:cNvCxnSpPr>
            <p:nvPr/>
          </p:nvCxnSpPr>
          <p:spPr>
            <a:xfrm>
              <a:off x="1034476" y="2053610"/>
              <a:ext cx="1" cy="20640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24C143A9-227A-4C94-84F3-62FE08FED958}"/>
                </a:ext>
              </a:extLst>
            </p:cNvPr>
            <p:cNvCxnSpPr>
              <a:cxnSpLocks/>
            </p:cNvCxnSpPr>
            <p:nvPr/>
          </p:nvCxnSpPr>
          <p:spPr>
            <a:xfrm flipH="1">
              <a:off x="1039823" y="2258710"/>
              <a:ext cx="29566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26AF95EA-9530-40EE-958F-E1DC707AD73D}"/>
                </a:ext>
              </a:extLst>
            </p:cNvPr>
            <p:cNvCxnSpPr>
              <a:cxnSpLocks/>
            </p:cNvCxnSpPr>
            <p:nvPr/>
          </p:nvCxnSpPr>
          <p:spPr>
            <a:xfrm>
              <a:off x="1057379" y="2105586"/>
              <a:ext cx="1050481" cy="151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08258ACF-4C29-4033-8A39-8CED0FC98A71}"/>
                </a:ext>
              </a:extLst>
            </p:cNvPr>
            <p:cNvCxnSpPr>
              <a:cxnSpLocks/>
            </p:cNvCxnSpPr>
            <p:nvPr/>
          </p:nvCxnSpPr>
          <p:spPr>
            <a:xfrm>
              <a:off x="2113750" y="1902354"/>
              <a:ext cx="1" cy="20640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3174D6EE-94E3-4002-A6BE-8A2D065E8709}"/>
                </a:ext>
              </a:extLst>
            </p:cNvPr>
            <p:cNvCxnSpPr>
              <a:cxnSpLocks/>
            </p:cNvCxnSpPr>
            <p:nvPr/>
          </p:nvCxnSpPr>
          <p:spPr>
            <a:xfrm>
              <a:off x="2108475" y="1621902"/>
              <a:ext cx="1" cy="2064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77" name="Rectangle 276">
              <a:extLst>
                <a:ext uri="{FF2B5EF4-FFF2-40B4-BE49-F238E27FC236}">
                  <a16:creationId xmlns:a16="http://schemas.microsoft.com/office/drawing/2014/main" id="{EB7586A1-DFF2-4FC0-8B82-F5C068E1F4AD}"/>
                </a:ext>
              </a:extLst>
            </p:cNvPr>
            <p:cNvSpPr/>
            <p:nvPr/>
          </p:nvSpPr>
          <p:spPr>
            <a:xfrm rot="5400000">
              <a:off x="3278534" y="1717209"/>
              <a:ext cx="154733" cy="312234"/>
            </a:xfrm>
            <a:prstGeom prst="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8" name="Can 16">
              <a:extLst>
                <a:ext uri="{FF2B5EF4-FFF2-40B4-BE49-F238E27FC236}">
                  <a16:creationId xmlns:a16="http://schemas.microsoft.com/office/drawing/2014/main" id="{242838F4-4648-4E2A-8510-BADFA5F9B0B4}"/>
                </a:ext>
              </a:extLst>
            </p:cNvPr>
            <p:cNvSpPr/>
            <p:nvPr/>
          </p:nvSpPr>
          <p:spPr>
            <a:xfrm>
              <a:off x="2048978" y="1500539"/>
              <a:ext cx="185854" cy="142922"/>
            </a:xfrm>
            <a:prstGeom prst="ca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9" name="Can 18">
              <a:extLst>
                <a:ext uri="{FF2B5EF4-FFF2-40B4-BE49-F238E27FC236}">
                  <a16:creationId xmlns:a16="http://schemas.microsoft.com/office/drawing/2014/main" id="{62D162BE-0E81-4D5B-B28C-584BB89D7771}"/>
                </a:ext>
              </a:extLst>
            </p:cNvPr>
            <p:cNvSpPr/>
            <p:nvPr/>
          </p:nvSpPr>
          <p:spPr>
            <a:xfrm>
              <a:off x="3264504" y="1494377"/>
              <a:ext cx="185854" cy="146048"/>
            </a:xfrm>
            <a:prstGeom prst="ca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TextBox 279">
              <a:extLst>
                <a:ext uri="{FF2B5EF4-FFF2-40B4-BE49-F238E27FC236}">
                  <a16:creationId xmlns:a16="http://schemas.microsoft.com/office/drawing/2014/main" id="{62F2F310-761A-4B5F-8C16-8261BBC575CA}"/>
                </a:ext>
              </a:extLst>
            </p:cNvPr>
            <p:cNvSpPr txBox="1"/>
            <p:nvPr/>
          </p:nvSpPr>
          <p:spPr>
            <a:xfrm>
              <a:off x="3382320" y="1758072"/>
              <a:ext cx="213520" cy="230832"/>
            </a:xfrm>
            <a:prstGeom prst="rect">
              <a:avLst/>
            </a:prstGeom>
            <a:noFill/>
          </p:spPr>
          <p:txBody>
            <a:bodyPr wrap="none" rtlCol="0">
              <a:spAutoFit/>
            </a:bodyPr>
            <a:lstStyle/>
            <a:p>
              <a:r>
                <a:rPr lang="en-US" sz="300" dirty="0">
                  <a:latin typeface="+mn-lt"/>
                </a:rPr>
                <a:t>O</a:t>
              </a:r>
            </a:p>
            <a:p>
              <a:r>
                <a:rPr lang="en-US" sz="300" dirty="0">
                  <a:latin typeface="+mn-lt"/>
                </a:rPr>
                <a:t>E</a:t>
              </a:r>
            </a:p>
            <a:p>
              <a:r>
                <a:rPr lang="en-US" sz="300" dirty="0">
                  <a:latin typeface="+mn-lt"/>
                </a:rPr>
                <a:t>O</a:t>
              </a:r>
            </a:p>
          </p:txBody>
        </p:sp>
        <p:sp>
          <p:nvSpPr>
            <p:cNvPr id="281" name="TextBox 280">
              <a:extLst>
                <a:ext uri="{FF2B5EF4-FFF2-40B4-BE49-F238E27FC236}">
                  <a16:creationId xmlns:a16="http://schemas.microsoft.com/office/drawing/2014/main" id="{E464262F-FF0E-4897-95B4-45227FF36E91}"/>
                </a:ext>
              </a:extLst>
            </p:cNvPr>
            <p:cNvSpPr txBox="1"/>
            <p:nvPr/>
          </p:nvSpPr>
          <p:spPr>
            <a:xfrm>
              <a:off x="3165409" y="1765134"/>
              <a:ext cx="394660" cy="215444"/>
            </a:xfrm>
            <a:prstGeom prst="rect">
              <a:avLst/>
            </a:prstGeom>
            <a:noFill/>
          </p:spPr>
          <p:txBody>
            <a:bodyPr wrap="none" rtlCol="0">
              <a:spAutoFit/>
            </a:bodyPr>
            <a:lstStyle/>
            <a:p>
              <a:r>
                <a:rPr lang="en-US" sz="800" dirty="0">
                  <a:latin typeface="+mn-lt"/>
                </a:rPr>
                <a:t>OTN</a:t>
              </a:r>
            </a:p>
          </p:txBody>
        </p:sp>
        <p:sp>
          <p:nvSpPr>
            <p:cNvPr id="282" name="Rectangle 281">
              <a:extLst>
                <a:ext uri="{FF2B5EF4-FFF2-40B4-BE49-F238E27FC236}">
                  <a16:creationId xmlns:a16="http://schemas.microsoft.com/office/drawing/2014/main" id="{8E2DFC4A-BDE6-40AD-9C28-23C4DB4C5761}"/>
                </a:ext>
              </a:extLst>
            </p:cNvPr>
            <p:cNvSpPr/>
            <p:nvPr/>
          </p:nvSpPr>
          <p:spPr>
            <a:xfrm rot="5400000">
              <a:off x="2065684" y="1720505"/>
              <a:ext cx="154733" cy="312234"/>
            </a:xfrm>
            <a:prstGeom prst="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3" name="TextBox 282">
              <a:extLst>
                <a:ext uri="{FF2B5EF4-FFF2-40B4-BE49-F238E27FC236}">
                  <a16:creationId xmlns:a16="http://schemas.microsoft.com/office/drawing/2014/main" id="{534DF602-5B2A-45B4-A7CB-706A8F950A03}"/>
                </a:ext>
              </a:extLst>
            </p:cNvPr>
            <p:cNvSpPr txBox="1"/>
            <p:nvPr/>
          </p:nvSpPr>
          <p:spPr>
            <a:xfrm>
              <a:off x="2169470" y="1770893"/>
              <a:ext cx="213520" cy="230832"/>
            </a:xfrm>
            <a:prstGeom prst="rect">
              <a:avLst/>
            </a:prstGeom>
            <a:noFill/>
          </p:spPr>
          <p:txBody>
            <a:bodyPr wrap="none" rtlCol="0">
              <a:spAutoFit/>
            </a:bodyPr>
            <a:lstStyle/>
            <a:p>
              <a:r>
                <a:rPr lang="en-US" sz="300" dirty="0">
                  <a:latin typeface="+mn-lt"/>
                </a:rPr>
                <a:t>O</a:t>
              </a:r>
            </a:p>
            <a:p>
              <a:r>
                <a:rPr lang="en-US" sz="300" dirty="0">
                  <a:latin typeface="+mn-lt"/>
                </a:rPr>
                <a:t>E</a:t>
              </a:r>
            </a:p>
            <a:p>
              <a:r>
                <a:rPr lang="en-US" sz="300" dirty="0">
                  <a:latin typeface="+mn-lt"/>
                </a:rPr>
                <a:t>O</a:t>
              </a:r>
            </a:p>
          </p:txBody>
        </p:sp>
        <p:sp>
          <p:nvSpPr>
            <p:cNvPr id="284" name="TextBox 283">
              <a:extLst>
                <a:ext uri="{FF2B5EF4-FFF2-40B4-BE49-F238E27FC236}">
                  <a16:creationId xmlns:a16="http://schemas.microsoft.com/office/drawing/2014/main" id="{C9AD1038-EE20-4112-9A55-68C661840198}"/>
                </a:ext>
              </a:extLst>
            </p:cNvPr>
            <p:cNvSpPr txBox="1"/>
            <p:nvPr/>
          </p:nvSpPr>
          <p:spPr>
            <a:xfrm>
              <a:off x="1952559" y="1777955"/>
              <a:ext cx="394660" cy="215444"/>
            </a:xfrm>
            <a:prstGeom prst="rect">
              <a:avLst/>
            </a:prstGeom>
            <a:noFill/>
          </p:spPr>
          <p:txBody>
            <a:bodyPr wrap="none" rtlCol="0">
              <a:spAutoFit/>
            </a:bodyPr>
            <a:lstStyle/>
            <a:p>
              <a:r>
                <a:rPr lang="en-US" sz="800" dirty="0">
                  <a:latin typeface="+mn-lt"/>
                </a:rPr>
                <a:t>OTN</a:t>
              </a:r>
            </a:p>
          </p:txBody>
        </p:sp>
        <p:sp>
          <p:nvSpPr>
            <p:cNvPr id="285" name="Rectangle 284">
              <a:extLst>
                <a:ext uri="{FF2B5EF4-FFF2-40B4-BE49-F238E27FC236}">
                  <a16:creationId xmlns:a16="http://schemas.microsoft.com/office/drawing/2014/main" id="{15244172-38BA-45EB-8A9D-351168DD3D35}"/>
                </a:ext>
              </a:extLst>
            </p:cNvPr>
            <p:cNvSpPr/>
            <p:nvPr/>
          </p:nvSpPr>
          <p:spPr>
            <a:xfrm rot="5400000">
              <a:off x="973882" y="1730363"/>
              <a:ext cx="154733" cy="312234"/>
            </a:xfrm>
            <a:prstGeom prst="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6" name="TextBox 285">
              <a:extLst>
                <a:ext uri="{FF2B5EF4-FFF2-40B4-BE49-F238E27FC236}">
                  <a16:creationId xmlns:a16="http://schemas.microsoft.com/office/drawing/2014/main" id="{92041A52-969D-4B75-BB82-9878FABA9057}"/>
                </a:ext>
              </a:extLst>
            </p:cNvPr>
            <p:cNvSpPr txBox="1"/>
            <p:nvPr/>
          </p:nvSpPr>
          <p:spPr>
            <a:xfrm>
              <a:off x="1077668" y="1768051"/>
              <a:ext cx="213520" cy="230832"/>
            </a:xfrm>
            <a:prstGeom prst="rect">
              <a:avLst/>
            </a:prstGeom>
            <a:noFill/>
          </p:spPr>
          <p:txBody>
            <a:bodyPr wrap="none" rtlCol="0">
              <a:spAutoFit/>
            </a:bodyPr>
            <a:lstStyle/>
            <a:p>
              <a:r>
                <a:rPr lang="en-US" sz="300" dirty="0">
                  <a:latin typeface="+mn-lt"/>
                </a:rPr>
                <a:t>O</a:t>
              </a:r>
            </a:p>
            <a:p>
              <a:r>
                <a:rPr lang="en-US" sz="300" dirty="0">
                  <a:latin typeface="+mn-lt"/>
                </a:rPr>
                <a:t>E</a:t>
              </a:r>
            </a:p>
            <a:p>
              <a:r>
                <a:rPr lang="en-US" sz="300" dirty="0">
                  <a:latin typeface="+mn-lt"/>
                </a:rPr>
                <a:t>O</a:t>
              </a:r>
            </a:p>
          </p:txBody>
        </p:sp>
        <p:sp>
          <p:nvSpPr>
            <p:cNvPr id="287" name="TextBox 286">
              <a:extLst>
                <a:ext uri="{FF2B5EF4-FFF2-40B4-BE49-F238E27FC236}">
                  <a16:creationId xmlns:a16="http://schemas.microsoft.com/office/drawing/2014/main" id="{430C5B19-749A-4176-A3AA-DF4BE9A7023E}"/>
                </a:ext>
              </a:extLst>
            </p:cNvPr>
            <p:cNvSpPr txBox="1"/>
            <p:nvPr/>
          </p:nvSpPr>
          <p:spPr>
            <a:xfrm>
              <a:off x="860757" y="1775113"/>
              <a:ext cx="394660" cy="189577"/>
            </a:xfrm>
            <a:prstGeom prst="rect">
              <a:avLst/>
            </a:prstGeom>
            <a:noFill/>
          </p:spPr>
          <p:txBody>
            <a:bodyPr wrap="square" rtlCol="0">
              <a:spAutoFit/>
            </a:bodyPr>
            <a:lstStyle/>
            <a:p>
              <a:r>
                <a:rPr lang="en-US" sz="800" dirty="0">
                  <a:latin typeface="+mn-lt"/>
                </a:rPr>
                <a:t>OTN</a:t>
              </a:r>
            </a:p>
          </p:txBody>
        </p:sp>
      </p:grpSp>
      <p:sp>
        <p:nvSpPr>
          <p:cNvPr id="6" name="TextBox 5">
            <a:extLst>
              <a:ext uri="{FF2B5EF4-FFF2-40B4-BE49-F238E27FC236}">
                <a16:creationId xmlns:a16="http://schemas.microsoft.com/office/drawing/2014/main" id="{DCA15BF8-41CA-4EC5-ACE2-D575FBCD6B7F}"/>
              </a:ext>
            </a:extLst>
          </p:cNvPr>
          <p:cNvSpPr txBox="1"/>
          <p:nvPr/>
        </p:nvSpPr>
        <p:spPr>
          <a:xfrm>
            <a:off x="263372" y="1788954"/>
            <a:ext cx="479510" cy="200055"/>
          </a:xfrm>
          <a:prstGeom prst="rect">
            <a:avLst/>
          </a:prstGeom>
          <a:solidFill>
            <a:schemeClr val="tx1">
              <a:lumMod val="50000"/>
              <a:lumOff val="50000"/>
            </a:schemeClr>
          </a:solidFill>
        </p:spPr>
        <p:txBody>
          <a:bodyPr wrap="square" rtlCol="0">
            <a:spAutoFit/>
          </a:bodyPr>
          <a:lstStyle/>
          <a:p>
            <a:pPr algn="ctr"/>
            <a:r>
              <a:rPr lang="en-US" sz="700" dirty="0">
                <a:latin typeface="+mn-lt"/>
              </a:rPr>
              <a:t>OTN</a:t>
            </a:r>
          </a:p>
        </p:txBody>
      </p:sp>
      <p:sp>
        <p:nvSpPr>
          <p:cNvPr id="162" name="TextBox 161">
            <a:extLst>
              <a:ext uri="{FF2B5EF4-FFF2-40B4-BE49-F238E27FC236}">
                <a16:creationId xmlns:a16="http://schemas.microsoft.com/office/drawing/2014/main" id="{4D2780D5-6FD5-4932-AC5D-A3D89F198348}"/>
              </a:ext>
            </a:extLst>
          </p:cNvPr>
          <p:cNvSpPr txBox="1"/>
          <p:nvPr/>
        </p:nvSpPr>
        <p:spPr>
          <a:xfrm>
            <a:off x="267457" y="1345764"/>
            <a:ext cx="479510" cy="215444"/>
          </a:xfrm>
          <a:prstGeom prst="rect">
            <a:avLst/>
          </a:prstGeom>
          <a:solidFill>
            <a:srgbClr val="00D2EE"/>
          </a:solidFill>
        </p:spPr>
        <p:txBody>
          <a:bodyPr wrap="square" rtlCol="0">
            <a:spAutoFit/>
          </a:bodyPr>
          <a:lstStyle/>
          <a:p>
            <a:pPr algn="ctr"/>
            <a:r>
              <a:rPr lang="en-US" sz="700" dirty="0">
                <a:latin typeface="+mn-lt"/>
              </a:rPr>
              <a:t>IP</a:t>
            </a:r>
            <a:r>
              <a:rPr lang="en-US" sz="800" dirty="0">
                <a:latin typeface="+mn-lt"/>
              </a:rPr>
              <a:t> </a:t>
            </a:r>
          </a:p>
        </p:txBody>
      </p:sp>
      <p:sp>
        <p:nvSpPr>
          <p:cNvPr id="172" name="TextBox 171">
            <a:extLst>
              <a:ext uri="{FF2B5EF4-FFF2-40B4-BE49-F238E27FC236}">
                <a16:creationId xmlns:a16="http://schemas.microsoft.com/office/drawing/2014/main" id="{C32EABDE-0931-4843-95FB-3A81D9DA770D}"/>
              </a:ext>
            </a:extLst>
          </p:cNvPr>
          <p:cNvSpPr txBox="1"/>
          <p:nvPr/>
        </p:nvSpPr>
        <p:spPr>
          <a:xfrm>
            <a:off x="252237" y="2225470"/>
            <a:ext cx="488772" cy="200055"/>
          </a:xfrm>
          <a:prstGeom prst="rect">
            <a:avLst/>
          </a:prstGeom>
          <a:solidFill>
            <a:schemeClr val="bg1"/>
          </a:solidFill>
        </p:spPr>
        <p:txBody>
          <a:bodyPr wrap="square" rtlCol="0">
            <a:spAutoFit/>
          </a:bodyPr>
          <a:lstStyle/>
          <a:p>
            <a:r>
              <a:rPr lang="en-US" sz="700" dirty="0">
                <a:solidFill>
                  <a:schemeClr val="bg2"/>
                </a:solidFill>
                <a:latin typeface="+mn-lt"/>
              </a:rPr>
              <a:t>Optical</a:t>
            </a:r>
          </a:p>
        </p:txBody>
      </p:sp>
      <p:sp>
        <p:nvSpPr>
          <p:cNvPr id="15" name="TextBox 14">
            <a:extLst>
              <a:ext uri="{FF2B5EF4-FFF2-40B4-BE49-F238E27FC236}">
                <a16:creationId xmlns:a16="http://schemas.microsoft.com/office/drawing/2014/main" id="{01F66A27-E8B4-4B8E-887D-68342BB6AFBA}"/>
              </a:ext>
            </a:extLst>
          </p:cNvPr>
          <p:cNvSpPr txBox="1"/>
          <p:nvPr/>
        </p:nvSpPr>
        <p:spPr>
          <a:xfrm>
            <a:off x="132479" y="1004747"/>
            <a:ext cx="819455" cy="338554"/>
          </a:xfrm>
          <a:prstGeom prst="rect">
            <a:avLst/>
          </a:prstGeom>
          <a:noFill/>
        </p:spPr>
        <p:txBody>
          <a:bodyPr wrap="none" rtlCol="0">
            <a:spAutoFit/>
          </a:bodyPr>
          <a:lstStyle/>
          <a:p>
            <a:pPr algn="ctr"/>
            <a:r>
              <a:rPr lang="en-US" sz="800" b="1" dirty="0">
                <a:latin typeface="+mn-lt"/>
              </a:rPr>
              <a:t>Management </a:t>
            </a:r>
            <a:br>
              <a:rPr lang="en-US" sz="800" b="1" dirty="0">
                <a:latin typeface="+mn-lt"/>
              </a:rPr>
            </a:br>
            <a:r>
              <a:rPr lang="en-US" sz="800" b="1" dirty="0">
                <a:latin typeface="+mn-lt"/>
              </a:rPr>
              <a:t>Domains</a:t>
            </a:r>
          </a:p>
        </p:txBody>
      </p:sp>
      <p:cxnSp>
        <p:nvCxnSpPr>
          <p:cNvPr id="183" name="Straight Arrow Connector 182">
            <a:extLst>
              <a:ext uri="{FF2B5EF4-FFF2-40B4-BE49-F238E27FC236}">
                <a16:creationId xmlns:a16="http://schemas.microsoft.com/office/drawing/2014/main" id="{73BD9E5B-1F70-41B9-BCBB-31C7D236F65C}"/>
              </a:ext>
            </a:extLst>
          </p:cNvPr>
          <p:cNvCxnSpPr>
            <a:cxnSpLocks/>
          </p:cNvCxnSpPr>
          <p:nvPr/>
        </p:nvCxnSpPr>
        <p:spPr>
          <a:xfrm>
            <a:off x="729309" y="2322432"/>
            <a:ext cx="301965" cy="1887"/>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3471EFF-8D4B-464E-835D-CEE93AD3513C}"/>
              </a:ext>
            </a:extLst>
          </p:cNvPr>
          <p:cNvSpPr txBox="1"/>
          <p:nvPr/>
        </p:nvSpPr>
        <p:spPr>
          <a:xfrm>
            <a:off x="5775612" y="2990308"/>
            <a:ext cx="2429207" cy="307777"/>
          </a:xfrm>
          <a:prstGeom prst="rect">
            <a:avLst/>
          </a:prstGeom>
          <a:noFill/>
        </p:spPr>
        <p:txBody>
          <a:bodyPr wrap="square" rtlCol="0">
            <a:spAutoFit/>
          </a:bodyPr>
          <a:lstStyle/>
          <a:p>
            <a:r>
              <a:rPr lang="en-US" sz="700" dirty="0">
                <a:solidFill>
                  <a:schemeClr val="bg1"/>
                </a:solidFill>
                <a:latin typeface="+mj-lt"/>
              </a:rPr>
              <a:t>EPN-M providing E2E Management and FCAPS</a:t>
            </a:r>
          </a:p>
          <a:p>
            <a:r>
              <a:rPr lang="en-US" sz="700" dirty="0">
                <a:solidFill>
                  <a:schemeClr val="bg1"/>
                </a:solidFill>
                <a:latin typeface="+mj-lt"/>
              </a:rPr>
              <a:t>E2E Automation with Crosswork Platform</a:t>
            </a:r>
          </a:p>
        </p:txBody>
      </p:sp>
      <p:cxnSp>
        <p:nvCxnSpPr>
          <p:cNvPr id="182" name="Straight Arrow Connector 181">
            <a:extLst>
              <a:ext uri="{FF2B5EF4-FFF2-40B4-BE49-F238E27FC236}">
                <a16:creationId xmlns:a16="http://schemas.microsoft.com/office/drawing/2014/main" id="{3F2D72D7-8606-4C35-8621-50771C565FEA}"/>
              </a:ext>
            </a:extLst>
          </p:cNvPr>
          <p:cNvCxnSpPr>
            <a:cxnSpLocks/>
          </p:cNvCxnSpPr>
          <p:nvPr/>
        </p:nvCxnSpPr>
        <p:spPr>
          <a:xfrm>
            <a:off x="730446" y="1901306"/>
            <a:ext cx="301965" cy="1887"/>
          </a:xfrm>
          <a:prstGeom prst="straightConnector1">
            <a:avLst/>
          </a:prstGeom>
          <a:ln>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50DE2208-E594-4257-97FA-360A3B571C96}"/>
              </a:ext>
            </a:extLst>
          </p:cNvPr>
          <p:cNvCxnSpPr>
            <a:cxnSpLocks/>
          </p:cNvCxnSpPr>
          <p:nvPr/>
        </p:nvCxnSpPr>
        <p:spPr>
          <a:xfrm>
            <a:off x="738186" y="1484161"/>
            <a:ext cx="301965" cy="1887"/>
          </a:xfrm>
          <a:prstGeom prst="straightConnector1">
            <a:avLst/>
          </a:prstGeom>
          <a:ln>
            <a:solidFill>
              <a:srgbClr val="00D2EE"/>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5CFD15E2-50F9-481D-BE9C-111C6284B84B}"/>
              </a:ext>
            </a:extLst>
          </p:cNvPr>
          <p:cNvSpPr txBox="1"/>
          <p:nvPr/>
        </p:nvSpPr>
        <p:spPr>
          <a:xfrm>
            <a:off x="4979407" y="2206708"/>
            <a:ext cx="793807" cy="200055"/>
          </a:xfrm>
          <a:prstGeom prst="rect">
            <a:avLst/>
          </a:prstGeom>
          <a:noFill/>
        </p:spPr>
        <p:txBody>
          <a:bodyPr wrap="none" rtlCol="0">
            <a:spAutoFit/>
          </a:bodyPr>
          <a:lstStyle/>
          <a:p>
            <a:r>
              <a:rPr lang="en-US" sz="700" b="1" dirty="0">
                <a:latin typeface="+mn-lt"/>
              </a:rPr>
              <a:t>DCO - ZR/ZR+</a:t>
            </a:r>
          </a:p>
        </p:txBody>
      </p:sp>
      <p:cxnSp>
        <p:nvCxnSpPr>
          <p:cNvPr id="21" name="Straight Arrow Connector 20">
            <a:extLst>
              <a:ext uri="{FF2B5EF4-FFF2-40B4-BE49-F238E27FC236}">
                <a16:creationId xmlns:a16="http://schemas.microsoft.com/office/drawing/2014/main" id="{5715C5C3-FA15-44E2-96E0-EA9E19775E39}"/>
              </a:ext>
            </a:extLst>
          </p:cNvPr>
          <p:cNvCxnSpPr>
            <a:endCxn id="107" idx="2"/>
          </p:cNvCxnSpPr>
          <p:nvPr/>
        </p:nvCxnSpPr>
        <p:spPr>
          <a:xfrm>
            <a:off x="5256907" y="2373617"/>
            <a:ext cx="189261" cy="1925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8" name="Isosceles Triangle 187"/>
          <p:cNvSpPr/>
          <p:nvPr/>
        </p:nvSpPr>
        <p:spPr>
          <a:xfrm rot="5400000">
            <a:off x="4489494" y="1849779"/>
            <a:ext cx="165691" cy="117019"/>
          </a:xfrm>
          <a:prstGeom prst="triangl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9" name="TextBox 188">
            <a:extLst>
              <a:ext uri="{FF2B5EF4-FFF2-40B4-BE49-F238E27FC236}">
                <a16:creationId xmlns:a16="http://schemas.microsoft.com/office/drawing/2014/main" id="{1AA9D26F-8D25-44CB-8E7A-934A72A9A1DD}"/>
              </a:ext>
            </a:extLst>
          </p:cNvPr>
          <p:cNvSpPr txBox="1"/>
          <p:nvPr/>
        </p:nvSpPr>
        <p:spPr>
          <a:xfrm>
            <a:off x="0" y="3351122"/>
            <a:ext cx="9147176" cy="292608"/>
          </a:xfrm>
          <a:prstGeom prst="rect">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b="1">
                <a:solidFill>
                  <a:schemeClr val="bg1">
                    <a:lumMod val="20000"/>
                    <a:lumOff val="80000"/>
                  </a:schemeClr>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b="0" dirty="0">
                <a:solidFill>
                  <a:schemeClr val="accent5"/>
                </a:solidFill>
              </a:rPr>
              <a:t>Benefits</a:t>
            </a:r>
          </a:p>
        </p:txBody>
      </p:sp>
      <p:grpSp>
        <p:nvGrpSpPr>
          <p:cNvPr id="17" name="Group 16"/>
          <p:cNvGrpSpPr/>
          <p:nvPr/>
        </p:nvGrpSpPr>
        <p:grpSpPr>
          <a:xfrm>
            <a:off x="855436" y="3701798"/>
            <a:ext cx="7433128" cy="576072"/>
            <a:chOff x="859387" y="3701798"/>
            <a:chExt cx="7433128" cy="576072"/>
          </a:xfrm>
        </p:grpSpPr>
        <p:pic>
          <p:nvPicPr>
            <p:cNvPr id="190" name="Picture 189"/>
            <p:cNvPicPr preferRelativeResize="0">
              <a:picLocks noChangeAspect="1"/>
            </p:cNvPicPr>
            <p:nvPr/>
          </p:nvPicPr>
          <p:blipFill>
            <a:blip r:embed="rId10">
              <a:extLst>
                <a:ext uri="{28A0092B-C50C-407E-A947-70E740481C1C}">
                  <a14:useLocalDpi xmlns:a14="http://schemas.microsoft.com/office/drawing/2010/main" val="0"/>
                </a:ext>
              </a:extLst>
            </a:blip>
            <a:stretch>
              <a:fillRect/>
            </a:stretch>
          </p:blipFill>
          <p:spPr>
            <a:xfrm>
              <a:off x="859387" y="3701798"/>
              <a:ext cx="576072" cy="576072"/>
            </a:xfrm>
            <a:prstGeom prst="rect">
              <a:avLst/>
            </a:prstGeom>
          </p:spPr>
        </p:pic>
        <p:pic>
          <p:nvPicPr>
            <p:cNvPr id="191" name="Picture 19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30798" y="3701798"/>
              <a:ext cx="576072" cy="576072"/>
            </a:xfrm>
            <a:prstGeom prst="rect">
              <a:avLst/>
            </a:prstGeom>
          </p:spPr>
        </p:pic>
        <p:pic>
          <p:nvPicPr>
            <p:cNvPr id="192" name="Picture 19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602209" y="3701798"/>
              <a:ext cx="576072" cy="576072"/>
            </a:xfrm>
            <a:prstGeom prst="rect">
              <a:avLst/>
            </a:prstGeom>
          </p:spPr>
        </p:pic>
        <p:pic>
          <p:nvPicPr>
            <p:cNvPr id="193" name="Picture 19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973620" y="3701798"/>
              <a:ext cx="576072" cy="576072"/>
            </a:xfrm>
            <a:prstGeom prst="rect">
              <a:avLst/>
            </a:prstGeom>
          </p:spPr>
        </p:pic>
        <p:grpSp>
          <p:nvGrpSpPr>
            <p:cNvPr id="16" name="Group 15"/>
            <p:cNvGrpSpPr/>
            <p:nvPr/>
          </p:nvGrpSpPr>
          <p:grpSpPr>
            <a:xfrm>
              <a:off x="6345031" y="3701798"/>
              <a:ext cx="576072" cy="576072"/>
              <a:chOff x="6381715" y="3679632"/>
              <a:chExt cx="576072" cy="576072"/>
            </a:xfrm>
          </p:grpSpPr>
          <p:sp>
            <p:nvSpPr>
              <p:cNvPr id="14" name="Oval 13"/>
              <p:cNvSpPr/>
              <p:nvPr/>
            </p:nvSpPr>
            <p:spPr>
              <a:xfrm>
                <a:off x="6381715" y="3679632"/>
                <a:ext cx="576072" cy="57607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1" name="Group 100">
                <a:extLst>
                  <a:ext uri="{FF2B5EF4-FFF2-40B4-BE49-F238E27FC236}">
                    <a16:creationId xmlns:a16="http://schemas.microsoft.com/office/drawing/2014/main" id="{74C34F12-A02A-41A2-BF72-44B60134BF26}"/>
                  </a:ext>
                </a:extLst>
              </p:cNvPr>
              <p:cNvGrpSpPr/>
              <p:nvPr/>
            </p:nvGrpSpPr>
            <p:grpSpPr>
              <a:xfrm>
                <a:off x="6483245" y="3777180"/>
                <a:ext cx="373013" cy="380977"/>
                <a:chOff x="2249561" y="-736"/>
                <a:chExt cx="4653288" cy="4752627"/>
              </a:xfrm>
              <a:solidFill>
                <a:schemeClr val="tx2"/>
              </a:solidFill>
            </p:grpSpPr>
            <p:sp>
              <p:nvSpPr>
                <p:cNvPr id="102" name="Oval 101">
                  <a:extLst>
                    <a:ext uri="{FF2B5EF4-FFF2-40B4-BE49-F238E27FC236}">
                      <a16:creationId xmlns:a16="http://schemas.microsoft.com/office/drawing/2014/main" id="{0D9C78C2-3302-4221-9672-67E11F53A477}"/>
                    </a:ext>
                  </a:extLst>
                </p:cNvPr>
                <p:cNvSpPr/>
                <p:nvPr/>
              </p:nvSpPr>
              <p:spPr>
                <a:xfrm>
                  <a:off x="2249561" y="1280178"/>
                  <a:ext cx="1768210" cy="176821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a:extLst>
                    <a:ext uri="{FF2B5EF4-FFF2-40B4-BE49-F238E27FC236}">
                      <a16:creationId xmlns:a16="http://schemas.microsoft.com/office/drawing/2014/main" id="{7B7AD4D7-07AD-4754-8356-F3AC2AD9079A}"/>
                    </a:ext>
                  </a:extLst>
                </p:cNvPr>
                <p:cNvSpPr/>
                <p:nvPr/>
              </p:nvSpPr>
              <p:spPr>
                <a:xfrm>
                  <a:off x="5134639" y="2983681"/>
                  <a:ext cx="1768210" cy="176821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Oval 107">
                  <a:extLst>
                    <a:ext uri="{FF2B5EF4-FFF2-40B4-BE49-F238E27FC236}">
                      <a16:creationId xmlns:a16="http://schemas.microsoft.com/office/drawing/2014/main" id="{0D329230-A41B-41BA-B1CE-B6BB6F365DB1}"/>
                    </a:ext>
                  </a:extLst>
                </p:cNvPr>
                <p:cNvSpPr/>
                <p:nvPr/>
              </p:nvSpPr>
              <p:spPr>
                <a:xfrm>
                  <a:off x="5007503" y="-736"/>
                  <a:ext cx="1345512" cy="134551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108">
                  <a:extLst>
                    <a:ext uri="{FF2B5EF4-FFF2-40B4-BE49-F238E27FC236}">
                      <a16:creationId xmlns:a16="http://schemas.microsoft.com/office/drawing/2014/main" id="{FBEF83AA-9071-42F5-98F7-F7D4813B01E3}"/>
                    </a:ext>
                  </a:extLst>
                </p:cNvPr>
                <p:cNvSpPr/>
                <p:nvPr/>
              </p:nvSpPr>
              <p:spPr>
                <a:xfrm rot="19632973">
                  <a:off x="3647638" y="1160429"/>
                  <a:ext cx="1749416" cy="50103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109">
                  <a:extLst>
                    <a:ext uri="{FF2B5EF4-FFF2-40B4-BE49-F238E27FC236}">
                      <a16:creationId xmlns:a16="http://schemas.microsoft.com/office/drawing/2014/main" id="{EF21CD6C-4EE7-49E4-BF30-C3AC224671CC}"/>
                    </a:ext>
                  </a:extLst>
                </p:cNvPr>
                <p:cNvSpPr/>
                <p:nvPr/>
              </p:nvSpPr>
              <p:spPr>
                <a:xfrm rot="12485598">
                  <a:off x="3690909" y="2780121"/>
                  <a:ext cx="1749416" cy="50103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194" name="Picture 19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716443" y="3701798"/>
              <a:ext cx="576072" cy="576072"/>
            </a:xfrm>
            <a:prstGeom prst="rect">
              <a:avLst/>
            </a:prstGeom>
          </p:spPr>
        </p:pic>
      </p:grpSp>
    </p:spTree>
    <p:extLst>
      <p:ext uri="{BB962C8B-B14F-4D97-AF65-F5344CB8AC3E}">
        <p14:creationId xmlns:p14="http://schemas.microsoft.com/office/powerpoint/2010/main" val="2943218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171449" y="1312685"/>
            <a:ext cx="8490999" cy="3720407"/>
            <a:chOff x="33903" y="823579"/>
            <a:chExt cx="8717926" cy="4209513"/>
          </a:xfrm>
        </p:grpSpPr>
        <p:sp>
          <p:nvSpPr>
            <p:cNvPr id="4" name="Rectangle 3">
              <a:extLst>
                <a:ext uri="{FF2B5EF4-FFF2-40B4-BE49-F238E27FC236}">
                  <a16:creationId xmlns:a16="http://schemas.microsoft.com/office/drawing/2014/main" id="{ED58BDB0-C690-3949-B3FA-7D8E99B1F100}"/>
                </a:ext>
              </a:extLst>
            </p:cNvPr>
            <p:cNvSpPr/>
            <p:nvPr/>
          </p:nvSpPr>
          <p:spPr>
            <a:xfrm>
              <a:off x="33903" y="4529970"/>
              <a:ext cx="4475756" cy="5031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D7E598FF-B458-4E9E-ACC1-C47B119D4900}"/>
                </a:ext>
              </a:extLst>
            </p:cNvPr>
            <p:cNvGrpSpPr/>
            <p:nvPr/>
          </p:nvGrpSpPr>
          <p:grpSpPr>
            <a:xfrm>
              <a:off x="7200669" y="823579"/>
              <a:ext cx="1551160" cy="4091490"/>
              <a:chOff x="356035" y="1052010"/>
              <a:chExt cx="1551160" cy="4091490"/>
            </a:xfrm>
          </p:grpSpPr>
          <p:sp>
            <p:nvSpPr>
              <p:cNvPr id="42" name="Round Same Side Corner Rectangle 41">
                <a:extLst>
                  <a:ext uri="{FF2B5EF4-FFF2-40B4-BE49-F238E27FC236}">
                    <a16:creationId xmlns:a16="http://schemas.microsoft.com/office/drawing/2014/main" id="{9F177CC2-8B66-E445-A9A3-0F1B09FA5453}"/>
                  </a:ext>
                </a:extLst>
              </p:cNvPr>
              <p:cNvSpPr/>
              <p:nvPr/>
            </p:nvSpPr>
            <p:spPr>
              <a:xfrm>
                <a:off x="356035" y="1052010"/>
                <a:ext cx="1551160" cy="4091490"/>
              </a:xfrm>
              <a:prstGeom prst="round2SameRect">
                <a:avLst>
                  <a:gd name="adj1" fmla="val 50000"/>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F44F4650-B0DF-A043-8A57-AB242F42BCD7}"/>
                  </a:ext>
                </a:extLst>
              </p:cNvPr>
              <p:cNvSpPr/>
              <p:nvPr/>
            </p:nvSpPr>
            <p:spPr>
              <a:xfrm>
                <a:off x="356035" y="2565324"/>
                <a:ext cx="1551160" cy="783508"/>
              </a:xfrm>
              <a:prstGeom prst="rect">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D2EE415A-E1DE-7444-8A17-215CA2DA1843}"/>
                  </a:ext>
                </a:extLst>
              </p:cNvPr>
              <p:cNvSpPr txBox="1"/>
              <p:nvPr/>
            </p:nvSpPr>
            <p:spPr>
              <a:xfrm>
                <a:off x="412393" y="2847471"/>
                <a:ext cx="1438444" cy="215444"/>
              </a:xfrm>
              <a:prstGeom prst="rect">
                <a:avLst/>
              </a:prstGeom>
              <a:noFill/>
            </p:spPr>
            <p:txBody>
              <a:bodyPr wrap="square" tIns="0" bIns="0" rtlCol="0" anchor="ctr" anchorCtr="0">
                <a:spAutoFit/>
              </a:bodyPr>
              <a:lstStyle/>
              <a:p>
                <a:pPr algn="ctr"/>
                <a:r>
                  <a:rPr lang="en-US" sz="1400" dirty="0">
                    <a:solidFill>
                      <a:schemeClr val="bg2"/>
                    </a:solidFill>
                  </a:rPr>
                  <a:t>Innovation</a:t>
                </a:r>
              </a:p>
            </p:txBody>
          </p:sp>
          <p:sp>
            <p:nvSpPr>
              <p:cNvPr id="45" name="Rectangle 44">
                <a:extLst>
                  <a:ext uri="{FF2B5EF4-FFF2-40B4-BE49-F238E27FC236}">
                    <a16:creationId xmlns:a16="http://schemas.microsoft.com/office/drawing/2014/main" id="{EC101AFC-E75D-6D4C-927C-3020A3BC1ACA}"/>
                  </a:ext>
                </a:extLst>
              </p:cNvPr>
              <p:cNvSpPr/>
              <p:nvPr/>
            </p:nvSpPr>
            <p:spPr>
              <a:xfrm>
                <a:off x="446849" y="3457535"/>
                <a:ext cx="1369533" cy="1218835"/>
              </a:xfrm>
              <a:prstGeom prst="rect">
                <a:avLst/>
              </a:prstGeom>
            </p:spPr>
            <p:txBody>
              <a:bodyPr wrap="square">
                <a:spAutoFit/>
              </a:bodyPr>
              <a:lstStyle/>
              <a:p>
                <a:pPr algn="ctr">
                  <a:spcAft>
                    <a:spcPts val="600"/>
                  </a:spcAft>
                </a:pPr>
                <a:r>
                  <a:rPr lang="en-US" sz="900" dirty="0">
                    <a:solidFill>
                      <a:schemeClr val="bg2"/>
                    </a:solidFill>
                    <a:latin typeface="+mn-lt"/>
                  </a:rPr>
                  <a:t>#1 in IP-based mobile backhaul</a:t>
                </a:r>
              </a:p>
              <a:p>
                <a:pPr algn="ctr">
                  <a:spcAft>
                    <a:spcPts val="600"/>
                  </a:spcAft>
                </a:pPr>
                <a:r>
                  <a:rPr lang="en-US" sz="900" dirty="0">
                    <a:solidFill>
                      <a:schemeClr val="bg2"/>
                    </a:solidFill>
                    <a:latin typeface="+mn-lt"/>
                  </a:rPr>
                  <a:t>#1 IP company </a:t>
                </a:r>
                <a:br>
                  <a:rPr lang="en-US" sz="900" dirty="0">
                    <a:solidFill>
                      <a:schemeClr val="bg2"/>
                    </a:solidFill>
                    <a:latin typeface="+mn-lt"/>
                  </a:rPr>
                </a:br>
                <a:r>
                  <a:rPr lang="en-US" sz="900" dirty="0">
                    <a:solidFill>
                      <a:schemeClr val="bg2"/>
                    </a:solidFill>
                    <a:latin typeface="+mn-lt"/>
                  </a:rPr>
                  <a:t>in the world</a:t>
                </a:r>
              </a:p>
              <a:p>
                <a:pPr algn="ctr">
                  <a:spcAft>
                    <a:spcPts val="600"/>
                  </a:spcAft>
                </a:pPr>
                <a:r>
                  <a:rPr lang="en-US" sz="900" dirty="0">
                    <a:solidFill>
                      <a:schemeClr val="bg2"/>
                    </a:solidFill>
                    <a:latin typeface="+mn-lt"/>
                  </a:rPr>
                  <a:t>First to Market DCO solution</a:t>
                </a:r>
              </a:p>
            </p:txBody>
          </p:sp>
          <p:sp>
            <p:nvSpPr>
              <p:cNvPr id="46" name="Oval 45">
                <a:extLst>
                  <a:ext uri="{FF2B5EF4-FFF2-40B4-BE49-F238E27FC236}">
                    <a16:creationId xmlns:a16="http://schemas.microsoft.com/office/drawing/2014/main" id="{CCF9525D-92CA-5F4C-A274-0F073C28BDF8}"/>
                  </a:ext>
                </a:extLst>
              </p:cNvPr>
              <p:cNvSpPr/>
              <p:nvPr/>
            </p:nvSpPr>
            <p:spPr>
              <a:xfrm>
                <a:off x="613980" y="1279287"/>
                <a:ext cx="1037540" cy="105876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dirty="0">
                    <a:solidFill>
                      <a:schemeClr val="bg2"/>
                    </a:solidFill>
                  </a:rPr>
                  <a:t>#1</a:t>
                </a:r>
              </a:p>
            </p:txBody>
          </p:sp>
        </p:grpSp>
        <p:grpSp>
          <p:nvGrpSpPr>
            <p:cNvPr id="6" name="Group 5">
              <a:extLst>
                <a:ext uri="{FF2B5EF4-FFF2-40B4-BE49-F238E27FC236}">
                  <a16:creationId xmlns:a16="http://schemas.microsoft.com/office/drawing/2014/main" id="{F0D782A0-08E4-4182-B88A-3A55A4B4D2B0}"/>
                </a:ext>
              </a:extLst>
            </p:cNvPr>
            <p:cNvGrpSpPr/>
            <p:nvPr/>
          </p:nvGrpSpPr>
          <p:grpSpPr>
            <a:xfrm>
              <a:off x="3787937" y="850547"/>
              <a:ext cx="1551160" cy="4091490"/>
              <a:chOff x="5618344" y="1052010"/>
              <a:chExt cx="1551160" cy="4091490"/>
            </a:xfrm>
          </p:grpSpPr>
          <p:sp>
            <p:nvSpPr>
              <p:cNvPr id="38" name="Round Same Side Corner Rectangle 37">
                <a:extLst>
                  <a:ext uri="{FF2B5EF4-FFF2-40B4-BE49-F238E27FC236}">
                    <a16:creationId xmlns:a16="http://schemas.microsoft.com/office/drawing/2014/main" id="{714BB9CA-41FB-6047-ACC8-2B854160705B}"/>
                  </a:ext>
                </a:extLst>
              </p:cNvPr>
              <p:cNvSpPr/>
              <p:nvPr/>
            </p:nvSpPr>
            <p:spPr>
              <a:xfrm>
                <a:off x="5618344" y="1052010"/>
                <a:ext cx="1551160" cy="4091490"/>
              </a:xfrm>
              <a:prstGeom prst="round2SameRect">
                <a:avLst>
                  <a:gd name="adj1" fmla="val 50000"/>
                  <a:gd name="adj2" fmla="val 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82EF1318-6171-5B41-AF45-2AFDCCA9780E}"/>
                  </a:ext>
                </a:extLst>
              </p:cNvPr>
              <p:cNvSpPr/>
              <p:nvPr/>
            </p:nvSpPr>
            <p:spPr>
              <a:xfrm>
                <a:off x="5618344" y="2565324"/>
                <a:ext cx="1551160" cy="783508"/>
              </a:xfrm>
              <a:prstGeom prst="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9B9F47CD-2FBE-084E-AB07-41B1E5C4FD25}"/>
                  </a:ext>
                </a:extLst>
              </p:cNvPr>
              <p:cNvSpPr txBox="1"/>
              <p:nvPr/>
            </p:nvSpPr>
            <p:spPr>
              <a:xfrm>
                <a:off x="5653080" y="2747599"/>
                <a:ext cx="1481688" cy="430887"/>
              </a:xfrm>
              <a:prstGeom prst="rect">
                <a:avLst/>
              </a:prstGeom>
              <a:noFill/>
            </p:spPr>
            <p:txBody>
              <a:bodyPr wrap="square" tIns="0" bIns="0" rtlCol="0" anchor="ctr" anchorCtr="0">
                <a:spAutoFit/>
              </a:bodyPr>
              <a:lstStyle/>
              <a:p>
                <a:pPr algn="ctr"/>
                <a:r>
                  <a:rPr lang="en-US" sz="1400" dirty="0">
                    <a:solidFill>
                      <a:schemeClr val="bg2"/>
                    </a:solidFill>
                  </a:rPr>
                  <a:t>50% Fewer Devices</a:t>
                </a:r>
              </a:p>
            </p:txBody>
          </p:sp>
          <p:sp>
            <p:nvSpPr>
              <p:cNvPr id="41" name="Rectangle 40">
                <a:extLst>
                  <a:ext uri="{FF2B5EF4-FFF2-40B4-BE49-F238E27FC236}">
                    <a16:creationId xmlns:a16="http://schemas.microsoft.com/office/drawing/2014/main" id="{185A4ECA-B5FB-AC4B-9D73-57BF78C43693}"/>
                  </a:ext>
                </a:extLst>
              </p:cNvPr>
              <p:cNvSpPr/>
              <p:nvPr/>
            </p:nvSpPr>
            <p:spPr>
              <a:xfrm>
                <a:off x="5656933" y="3457535"/>
                <a:ext cx="1473981" cy="1201423"/>
              </a:xfrm>
              <a:prstGeom prst="rect">
                <a:avLst/>
              </a:prstGeom>
            </p:spPr>
            <p:txBody>
              <a:bodyPr wrap="square">
                <a:spAutoFit/>
              </a:bodyPr>
              <a:lstStyle/>
              <a:p>
                <a:pPr marL="57148" algn="ctr"/>
                <a:r>
                  <a:rPr lang="en-GB" sz="900" dirty="0">
                    <a:solidFill>
                      <a:schemeClr val="bg2"/>
                    </a:solidFill>
                    <a:latin typeface="+mn-lt"/>
                  </a:rPr>
                  <a:t> </a:t>
                </a:r>
              </a:p>
              <a:p>
                <a:pPr marL="57148" algn="ctr"/>
                <a:r>
                  <a:rPr lang="en-GB" sz="900" dirty="0">
                    <a:solidFill>
                      <a:schemeClr val="bg2"/>
                    </a:solidFill>
                    <a:latin typeface="+mn-lt"/>
                  </a:rPr>
                  <a:t>Reduced installation and integration costs</a:t>
                </a:r>
              </a:p>
              <a:p>
                <a:pPr marL="57148" algn="ctr"/>
                <a:endParaRPr lang="en-GB" sz="900" dirty="0">
                  <a:solidFill>
                    <a:schemeClr val="bg2"/>
                  </a:solidFill>
                  <a:latin typeface="+mn-lt"/>
                </a:endParaRPr>
              </a:p>
              <a:p>
                <a:pPr marL="57148" algn="ctr"/>
                <a:r>
                  <a:rPr lang="en-GB" sz="900" dirty="0">
                    <a:solidFill>
                      <a:schemeClr val="bg2"/>
                    </a:solidFill>
                    <a:latin typeface="+mn-lt"/>
                  </a:rPr>
                  <a:t>Reduced Failure Domain, easier Troubleshooting</a:t>
                </a:r>
              </a:p>
            </p:txBody>
          </p:sp>
        </p:grpSp>
        <p:grpSp>
          <p:nvGrpSpPr>
            <p:cNvPr id="7" name="Group 6">
              <a:extLst>
                <a:ext uri="{FF2B5EF4-FFF2-40B4-BE49-F238E27FC236}">
                  <a16:creationId xmlns:a16="http://schemas.microsoft.com/office/drawing/2014/main" id="{792247ED-66F9-4445-B7A4-F93B681D848D}"/>
                </a:ext>
              </a:extLst>
            </p:cNvPr>
            <p:cNvGrpSpPr/>
            <p:nvPr/>
          </p:nvGrpSpPr>
          <p:grpSpPr>
            <a:xfrm>
              <a:off x="5507888" y="850547"/>
              <a:ext cx="1551160" cy="4091490"/>
              <a:chOff x="7235833" y="1052010"/>
              <a:chExt cx="1551160" cy="4091490"/>
            </a:xfrm>
          </p:grpSpPr>
          <p:sp>
            <p:nvSpPr>
              <p:cNvPr id="34" name="Round Same Side Corner Rectangle 33">
                <a:extLst>
                  <a:ext uri="{FF2B5EF4-FFF2-40B4-BE49-F238E27FC236}">
                    <a16:creationId xmlns:a16="http://schemas.microsoft.com/office/drawing/2014/main" id="{060AD7D9-5BE3-B644-9A42-A4D065F91E66}"/>
                  </a:ext>
                </a:extLst>
              </p:cNvPr>
              <p:cNvSpPr/>
              <p:nvPr/>
            </p:nvSpPr>
            <p:spPr>
              <a:xfrm>
                <a:off x="7235833" y="1052010"/>
                <a:ext cx="1551160" cy="4091490"/>
              </a:xfrm>
              <a:prstGeom prst="round2SameRect">
                <a:avLst>
                  <a:gd name="adj1" fmla="val 50000"/>
                  <a:gd name="adj2" fmla="val 0"/>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B33C9EC8-1926-C34D-9EF5-21BE310D8BD2}"/>
                  </a:ext>
                </a:extLst>
              </p:cNvPr>
              <p:cNvSpPr/>
              <p:nvPr/>
            </p:nvSpPr>
            <p:spPr>
              <a:xfrm>
                <a:off x="7235833" y="2565324"/>
                <a:ext cx="1551160" cy="783508"/>
              </a:xfrm>
              <a:prstGeom prst="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34709E91-6B03-A14E-A2A4-05DCFBCA7F59}"/>
                  </a:ext>
                </a:extLst>
              </p:cNvPr>
              <p:cNvSpPr txBox="1"/>
              <p:nvPr/>
            </p:nvSpPr>
            <p:spPr>
              <a:xfrm>
                <a:off x="7324977" y="2855319"/>
                <a:ext cx="1372872" cy="215444"/>
              </a:xfrm>
              <a:prstGeom prst="rect">
                <a:avLst/>
              </a:prstGeom>
              <a:noFill/>
            </p:spPr>
            <p:txBody>
              <a:bodyPr wrap="square" tIns="0" bIns="0" rtlCol="0" anchor="ctr" anchorCtr="0">
                <a:spAutoFit/>
              </a:bodyPr>
              <a:lstStyle/>
              <a:p>
                <a:pPr algn="ctr"/>
                <a:r>
                  <a:rPr lang="en-US" sz="1400" dirty="0">
                    <a:solidFill>
                      <a:schemeClr val="bg2"/>
                    </a:solidFill>
                  </a:rPr>
                  <a:t>Flexibility</a:t>
                </a:r>
              </a:p>
            </p:txBody>
          </p:sp>
          <p:sp>
            <p:nvSpPr>
              <p:cNvPr id="37" name="Rectangle 36">
                <a:extLst>
                  <a:ext uri="{FF2B5EF4-FFF2-40B4-BE49-F238E27FC236}">
                    <a16:creationId xmlns:a16="http://schemas.microsoft.com/office/drawing/2014/main" id="{1F8DA1BB-596F-2143-945D-2FB14BB956C3}"/>
                  </a:ext>
                </a:extLst>
              </p:cNvPr>
              <p:cNvSpPr/>
              <p:nvPr/>
            </p:nvSpPr>
            <p:spPr>
              <a:xfrm>
                <a:off x="7324978" y="3457535"/>
                <a:ext cx="1372871" cy="1358131"/>
              </a:xfrm>
              <a:prstGeom prst="rect">
                <a:avLst/>
              </a:prstGeom>
            </p:spPr>
            <p:txBody>
              <a:bodyPr wrap="square" lIns="0" rIns="0">
                <a:spAutoFit/>
              </a:bodyPr>
              <a:lstStyle/>
              <a:p>
                <a:pPr marL="57148" algn="ctr"/>
                <a:r>
                  <a:rPr lang="en-US" sz="900" dirty="0">
                    <a:solidFill>
                      <a:schemeClr val="bg2"/>
                    </a:solidFill>
                    <a:latin typeface="+mn-lt"/>
                  </a:rPr>
                  <a:t>Pluggable</a:t>
                </a:r>
              </a:p>
              <a:p>
                <a:pPr marL="57148" algn="ctr"/>
                <a:r>
                  <a:rPr lang="en-US" sz="900" dirty="0">
                    <a:solidFill>
                      <a:schemeClr val="bg2"/>
                    </a:solidFill>
                    <a:latin typeface="+mn-lt"/>
                  </a:rPr>
                  <a:t>into regular CFP2 ports (not specific Line-card)</a:t>
                </a:r>
              </a:p>
              <a:p>
                <a:pPr marL="57148" algn="ctr"/>
                <a:endParaRPr lang="en-US" sz="900" dirty="0">
                  <a:solidFill>
                    <a:schemeClr val="bg2"/>
                  </a:solidFill>
                  <a:latin typeface="+mn-lt"/>
                </a:endParaRPr>
              </a:p>
              <a:p>
                <a:pPr marL="57148" algn="ctr"/>
                <a:r>
                  <a:rPr lang="en-GB" sz="900" dirty="0">
                    <a:solidFill>
                      <a:schemeClr val="bg2"/>
                    </a:solidFill>
                    <a:latin typeface="+mn-lt"/>
                  </a:rPr>
                  <a:t>Simplified network design</a:t>
                </a:r>
              </a:p>
              <a:p>
                <a:pPr marL="57148" algn="ctr"/>
                <a:endParaRPr lang="en-US" sz="900" dirty="0">
                  <a:solidFill>
                    <a:schemeClr val="bg2"/>
                  </a:solidFill>
                  <a:latin typeface="+mn-lt"/>
                </a:endParaRPr>
              </a:p>
              <a:p>
                <a:pPr marL="57148" algn="ctr"/>
                <a:r>
                  <a:rPr lang="en-US" sz="900" dirty="0">
                    <a:solidFill>
                      <a:schemeClr val="bg2"/>
                    </a:solidFill>
                    <a:latin typeface="+mn-lt"/>
                  </a:rPr>
                  <a:t>True Pay as you Need</a:t>
                </a:r>
              </a:p>
            </p:txBody>
          </p:sp>
        </p:grpSp>
        <p:grpSp>
          <p:nvGrpSpPr>
            <p:cNvPr id="8" name="Group 7">
              <a:extLst>
                <a:ext uri="{FF2B5EF4-FFF2-40B4-BE49-F238E27FC236}">
                  <a16:creationId xmlns:a16="http://schemas.microsoft.com/office/drawing/2014/main" id="{0402D4B8-62EC-4211-96C2-6D02B33A2EFB}"/>
                </a:ext>
              </a:extLst>
            </p:cNvPr>
            <p:cNvGrpSpPr/>
            <p:nvPr/>
          </p:nvGrpSpPr>
          <p:grpSpPr>
            <a:xfrm>
              <a:off x="2067987" y="850547"/>
              <a:ext cx="1551160" cy="4091490"/>
              <a:chOff x="3864241" y="1052010"/>
              <a:chExt cx="1551160" cy="4091490"/>
            </a:xfrm>
          </p:grpSpPr>
          <p:sp>
            <p:nvSpPr>
              <p:cNvPr id="29" name="Round Same Side Corner Rectangle 28">
                <a:extLst>
                  <a:ext uri="{FF2B5EF4-FFF2-40B4-BE49-F238E27FC236}">
                    <a16:creationId xmlns:a16="http://schemas.microsoft.com/office/drawing/2014/main" id="{164A6F87-588F-1E46-93A2-11AAE60A57F4}"/>
                  </a:ext>
                </a:extLst>
              </p:cNvPr>
              <p:cNvSpPr/>
              <p:nvPr/>
            </p:nvSpPr>
            <p:spPr>
              <a:xfrm>
                <a:off x="3864241" y="1052010"/>
                <a:ext cx="1551160" cy="4091490"/>
              </a:xfrm>
              <a:prstGeom prst="round2SameRect">
                <a:avLst>
                  <a:gd name="adj1" fmla="val 5000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27FB9B41-13DE-9E4A-95BB-5F5AC5207A36}"/>
                  </a:ext>
                </a:extLst>
              </p:cNvPr>
              <p:cNvSpPr/>
              <p:nvPr/>
            </p:nvSpPr>
            <p:spPr>
              <a:xfrm>
                <a:off x="3864241" y="2565324"/>
                <a:ext cx="1551160" cy="783508"/>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a:extLst>
                  <a:ext uri="{FF2B5EF4-FFF2-40B4-BE49-F238E27FC236}">
                    <a16:creationId xmlns:a16="http://schemas.microsoft.com/office/drawing/2014/main" id="{D410ECED-06F6-2840-BE0A-D04A5478122B}"/>
                  </a:ext>
                </a:extLst>
              </p:cNvPr>
              <p:cNvSpPr txBox="1"/>
              <p:nvPr/>
            </p:nvSpPr>
            <p:spPr>
              <a:xfrm>
                <a:off x="3898295" y="2847469"/>
                <a:ext cx="1483053" cy="215444"/>
              </a:xfrm>
              <a:prstGeom prst="rect">
                <a:avLst/>
              </a:prstGeom>
              <a:noFill/>
            </p:spPr>
            <p:txBody>
              <a:bodyPr wrap="square" tIns="0" bIns="0" rtlCol="0" anchor="ctr" anchorCtr="0">
                <a:spAutoFit/>
              </a:bodyPr>
              <a:lstStyle/>
              <a:p>
                <a:pPr algn="ctr" defTabSz="685726">
                  <a:defRPr/>
                </a:pPr>
                <a:r>
                  <a:rPr lang="en-US" sz="1400" dirty="0">
                    <a:solidFill>
                      <a:schemeClr val="bg2"/>
                    </a:solidFill>
                  </a:rPr>
                  <a:t>End-to-End IP</a:t>
                </a:r>
              </a:p>
            </p:txBody>
          </p:sp>
          <p:sp>
            <p:nvSpPr>
              <p:cNvPr id="32" name="Rectangle 31">
                <a:extLst>
                  <a:ext uri="{FF2B5EF4-FFF2-40B4-BE49-F238E27FC236}">
                    <a16:creationId xmlns:a16="http://schemas.microsoft.com/office/drawing/2014/main" id="{A07180C9-5D52-E84C-96F1-9503BA6F5E83}"/>
                  </a:ext>
                </a:extLst>
              </p:cNvPr>
              <p:cNvSpPr/>
              <p:nvPr/>
            </p:nvSpPr>
            <p:spPr>
              <a:xfrm>
                <a:off x="3884659" y="3457535"/>
                <a:ext cx="1510325" cy="1131776"/>
              </a:xfrm>
              <a:prstGeom prst="rect">
                <a:avLst/>
              </a:prstGeom>
            </p:spPr>
            <p:txBody>
              <a:bodyPr wrap="square" lIns="0" rIns="0">
                <a:spAutoFit/>
              </a:bodyPr>
              <a:lstStyle/>
              <a:p>
                <a:pPr marL="57148" algn="ctr"/>
                <a:r>
                  <a:rPr lang="en-US" sz="900" dirty="0">
                    <a:solidFill>
                      <a:schemeClr val="bg2"/>
                    </a:solidFill>
                    <a:latin typeface="+mn-lt"/>
                  </a:rPr>
                  <a:t>Better ROI and </a:t>
                </a:r>
                <a:br>
                  <a:rPr lang="en-US" sz="900" dirty="0">
                    <a:solidFill>
                      <a:schemeClr val="bg2"/>
                    </a:solidFill>
                    <a:latin typeface="+mn-lt"/>
                  </a:rPr>
                </a:br>
                <a:r>
                  <a:rPr lang="en-US" sz="900" dirty="0">
                    <a:solidFill>
                      <a:schemeClr val="bg2"/>
                    </a:solidFill>
                    <a:latin typeface="+mn-lt"/>
                  </a:rPr>
                  <a:t>TCO (Savings of 40% in  Capex  &amp; </a:t>
                </a:r>
                <a:r>
                  <a:rPr lang="en-GB" sz="900" dirty="0">
                    <a:solidFill>
                      <a:schemeClr val="bg2"/>
                    </a:solidFill>
                    <a:latin typeface="+mn-lt"/>
                  </a:rPr>
                  <a:t>35% in </a:t>
                </a:r>
                <a:r>
                  <a:rPr lang="en-GB" sz="900" dirty="0" err="1">
                    <a:solidFill>
                      <a:schemeClr val="bg2"/>
                    </a:solidFill>
                    <a:latin typeface="+mn-lt"/>
                  </a:rPr>
                  <a:t>Opex</a:t>
                </a:r>
                <a:r>
                  <a:rPr lang="en-GB" sz="900" dirty="0">
                    <a:solidFill>
                      <a:schemeClr val="bg2"/>
                    </a:solidFill>
                    <a:latin typeface="+mn-lt"/>
                  </a:rPr>
                  <a:t>)</a:t>
                </a:r>
              </a:p>
              <a:p>
                <a:pPr marL="57148" algn="ctr"/>
                <a:endParaRPr lang="en-US" sz="900" dirty="0">
                  <a:solidFill>
                    <a:schemeClr val="bg2"/>
                  </a:solidFill>
                  <a:latin typeface="+mn-lt"/>
                </a:endParaRPr>
              </a:p>
              <a:p>
                <a:pPr algn="ctr" defTabSz="685743">
                  <a:spcAft>
                    <a:spcPts val="600"/>
                  </a:spcAft>
                  <a:defRPr/>
                </a:pPr>
                <a:r>
                  <a:rPr lang="en-GB" sz="900" dirty="0">
                    <a:solidFill>
                      <a:schemeClr val="bg2"/>
                    </a:solidFill>
                    <a:latin typeface="+mn-lt"/>
                  </a:rPr>
                  <a:t>One OS (IOS-XR), </a:t>
                </a:r>
              </a:p>
              <a:p>
                <a:pPr algn="ctr" defTabSz="685743">
                  <a:spcAft>
                    <a:spcPts val="600"/>
                  </a:spcAft>
                  <a:defRPr/>
                </a:pPr>
                <a:r>
                  <a:rPr lang="en-GB" sz="900" dirty="0">
                    <a:solidFill>
                      <a:schemeClr val="bg2"/>
                    </a:solidFill>
                    <a:latin typeface="+mn-lt"/>
                  </a:rPr>
                  <a:t>SR EVPN End to End </a:t>
                </a:r>
              </a:p>
            </p:txBody>
          </p:sp>
          <p:pic>
            <p:nvPicPr>
              <p:cNvPr id="33" name="Picture 32">
                <a:extLst>
                  <a:ext uri="{FF2B5EF4-FFF2-40B4-BE49-F238E27FC236}">
                    <a16:creationId xmlns:a16="http://schemas.microsoft.com/office/drawing/2014/main" id="{327EFFFB-2ADF-A040-B18B-6F540C220BE3}"/>
                  </a:ext>
                </a:extLst>
              </p:cNvPr>
              <p:cNvPicPr>
                <a:picLocks noChangeAspect="1"/>
              </p:cNvPicPr>
              <p:nvPr/>
            </p:nvPicPr>
            <p:blipFill>
              <a:blip r:embed="rId2"/>
              <a:stretch>
                <a:fillRect/>
              </a:stretch>
            </p:blipFill>
            <p:spPr>
              <a:xfrm>
                <a:off x="4109469" y="1299870"/>
                <a:ext cx="1060704" cy="1060704"/>
              </a:xfrm>
              <a:prstGeom prst="rect">
                <a:avLst/>
              </a:prstGeom>
            </p:spPr>
          </p:pic>
        </p:grpSp>
        <p:grpSp>
          <p:nvGrpSpPr>
            <p:cNvPr id="9" name="Group 8">
              <a:extLst>
                <a:ext uri="{FF2B5EF4-FFF2-40B4-BE49-F238E27FC236}">
                  <a16:creationId xmlns:a16="http://schemas.microsoft.com/office/drawing/2014/main" id="{DD121912-4358-4774-B33F-BF4C8056381E}"/>
                </a:ext>
              </a:extLst>
            </p:cNvPr>
            <p:cNvGrpSpPr/>
            <p:nvPr/>
          </p:nvGrpSpPr>
          <p:grpSpPr>
            <a:xfrm>
              <a:off x="348039" y="850547"/>
              <a:ext cx="1551160" cy="4091490"/>
              <a:chOff x="2110138" y="1052010"/>
              <a:chExt cx="1551160" cy="4091490"/>
            </a:xfrm>
          </p:grpSpPr>
          <p:sp>
            <p:nvSpPr>
              <p:cNvPr id="24" name="Round Same Side Corner Rectangle 23">
                <a:extLst>
                  <a:ext uri="{FF2B5EF4-FFF2-40B4-BE49-F238E27FC236}">
                    <a16:creationId xmlns:a16="http://schemas.microsoft.com/office/drawing/2014/main" id="{89C1D154-617A-DE4C-902B-72D004888D59}"/>
                  </a:ext>
                </a:extLst>
              </p:cNvPr>
              <p:cNvSpPr/>
              <p:nvPr/>
            </p:nvSpPr>
            <p:spPr>
              <a:xfrm>
                <a:off x="2110138" y="1052010"/>
                <a:ext cx="1551160" cy="4091490"/>
              </a:xfrm>
              <a:prstGeom prst="round2SameRect">
                <a:avLst>
                  <a:gd name="adj1" fmla="val 50000"/>
                  <a:gd name="adj2" fmla="val 0"/>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C0E1B826-6517-0640-9194-73F89DF0811A}"/>
                  </a:ext>
                </a:extLst>
              </p:cNvPr>
              <p:cNvSpPr/>
              <p:nvPr/>
            </p:nvSpPr>
            <p:spPr>
              <a:xfrm>
                <a:off x="2110138" y="2565324"/>
                <a:ext cx="1551160" cy="783508"/>
              </a:xfrm>
              <a:prstGeom prst="rect">
                <a:avLst/>
              </a:prstGeom>
              <a:solidFill>
                <a:schemeClr val="tx2">
                  <a:lumMod val="50000"/>
                  <a:alpha val="4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8EBAEBA9-45F1-B743-8EC6-C360BBB7847F}"/>
                  </a:ext>
                </a:extLst>
              </p:cNvPr>
              <p:cNvSpPr txBox="1"/>
              <p:nvPr/>
            </p:nvSpPr>
            <p:spPr>
              <a:xfrm>
                <a:off x="2264937" y="2739748"/>
                <a:ext cx="1241563" cy="430887"/>
              </a:xfrm>
              <a:prstGeom prst="rect">
                <a:avLst/>
              </a:prstGeom>
              <a:noFill/>
            </p:spPr>
            <p:txBody>
              <a:bodyPr wrap="square" tIns="0" bIns="0" rtlCol="0" anchor="ctr" anchorCtr="0">
                <a:spAutoFit/>
              </a:bodyPr>
              <a:lstStyle/>
              <a:p>
                <a:pPr algn="ctr"/>
                <a:r>
                  <a:rPr lang="en-US" sz="1400" dirty="0">
                    <a:solidFill>
                      <a:schemeClr val="bg2"/>
                    </a:solidFill>
                  </a:rPr>
                  <a:t>Extended Reach</a:t>
                </a:r>
              </a:p>
            </p:txBody>
          </p:sp>
          <p:sp>
            <p:nvSpPr>
              <p:cNvPr id="27" name="Rectangle 26">
                <a:extLst>
                  <a:ext uri="{FF2B5EF4-FFF2-40B4-BE49-F238E27FC236}">
                    <a16:creationId xmlns:a16="http://schemas.microsoft.com/office/drawing/2014/main" id="{00999122-8D58-9A40-A848-E4A86BA4A855}"/>
                  </a:ext>
                </a:extLst>
              </p:cNvPr>
              <p:cNvSpPr/>
              <p:nvPr/>
            </p:nvSpPr>
            <p:spPr>
              <a:xfrm>
                <a:off x="2151226" y="3457535"/>
                <a:ext cx="1468985" cy="1532250"/>
              </a:xfrm>
              <a:prstGeom prst="rect">
                <a:avLst/>
              </a:prstGeom>
            </p:spPr>
            <p:txBody>
              <a:bodyPr wrap="square">
                <a:spAutoFit/>
              </a:bodyPr>
              <a:lstStyle/>
              <a:p>
                <a:pPr marL="57148" algn="ctr">
                  <a:spcAft>
                    <a:spcPts val="600"/>
                  </a:spcAft>
                </a:pPr>
                <a:r>
                  <a:rPr lang="en-GB" sz="900" dirty="0">
                    <a:solidFill>
                      <a:schemeClr val="bg2"/>
                    </a:solidFill>
                    <a:latin typeface="+mn-lt"/>
                  </a:rPr>
                  <a:t>Up-to 80KM in 100G mode without need for Optical  Transponders &amp; Amplifiers,</a:t>
                </a:r>
              </a:p>
              <a:p>
                <a:pPr marL="57148" algn="ctr">
                  <a:spcAft>
                    <a:spcPts val="600"/>
                  </a:spcAft>
                </a:pPr>
                <a:endParaRPr lang="en-US" sz="900" dirty="0">
                  <a:solidFill>
                    <a:schemeClr val="bg2"/>
                  </a:solidFill>
                  <a:latin typeface="+mn-lt"/>
                </a:endParaRPr>
              </a:p>
              <a:p>
                <a:pPr marL="57148" algn="ctr">
                  <a:spcAft>
                    <a:spcPts val="600"/>
                  </a:spcAft>
                </a:pPr>
                <a:r>
                  <a:rPr lang="en-US" sz="900" dirty="0">
                    <a:solidFill>
                      <a:schemeClr val="bg2"/>
                    </a:solidFill>
                    <a:latin typeface="+mn-lt"/>
                  </a:rPr>
                  <a:t>~1500 km reach in 100G mode using amplifiers</a:t>
                </a:r>
              </a:p>
            </p:txBody>
          </p:sp>
          <p:pic>
            <p:nvPicPr>
              <p:cNvPr id="28" name="Picture 27">
                <a:extLst>
                  <a:ext uri="{FF2B5EF4-FFF2-40B4-BE49-F238E27FC236}">
                    <a16:creationId xmlns:a16="http://schemas.microsoft.com/office/drawing/2014/main" id="{134E469E-39FF-0648-9BFF-020077B8763A}"/>
                  </a:ext>
                </a:extLst>
              </p:cNvPr>
              <p:cNvPicPr>
                <a:picLocks noChangeAspect="1"/>
              </p:cNvPicPr>
              <p:nvPr/>
            </p:nvPicPr>
            <p:blipFill>
              <a:blip r:embed="rId3"/>
              <a:stretch>
                <a:fillRect/>
              </a:stretch>
            </p:blipFill>
            <p:spPr>
              <a:xfrm>
                <a:off x="2355366" y="1299870"/>
                <a:ext cx="1060704" cy="1060704"/>
              </a:xfrm>
              <a:prstGeom prst="rect">
                <a:avLst/>
              </a:prstGeom>
            </p:spPr>
          </p:pic>
        </p:grpSp>
        <p:pic>
          <p:nvPicPr>
            <p:cNvPr id="10" name="Picture 9">
              <a:extLst>
                <a:ext uri="{FF2B5EF4-FFF2-40B4-BE49-F238E27FC236}">
                  <a16:creationId xmlns:a16="http://schemas.microsoft.com/office/drawing/2014/main" id="{2178862B-4102-5B48-B978-576BEED2AF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4506" y="1078293"/>
              <a:ext cx="1030856" cy="1030856"/>
            </a:xfrm>
            <a:prstGeom prst="rect">
              <a:avLst/>
            </a:prstGeom>
          </p:spPr>
        </p:pic>
        <p:grpSp>
          <p:nvGrpSpPr>
            <p:cNvPr id="11" name="Group 10"/>
            <p:cNvGrpSpPr/>
            <p:nvPr/>
          </p:nvGrpSpPr>
          <p:grpSpPr>
            <a:xfrm>
              <a:off x="5764696" y="1100351"/>
              <a:ext cx="1037540" cy="1058760"/>
              <a:chOff x="7084275" y="157332"/>
              <a:chExt cx="1037540" cy="1058760"/>
            </a:xfrm>
          </p:grpSpPr>
          <p:sp>
            <p:nvSpPr>
              <p:cNvPr id="12" name="Oval 11">
                <a:extLst>
                  <a:ext uri="{FF2B5EF4-FFF2-40B4-BE49-F238E27FC236}">
                    <a16:creationId xmlns:a16="http://schemas.microsoft.com/office/drawing/2014/main" id="{CCF9525D-92CA-5F4C-A274-0F073C28BDF8}"/>
                  </a:ext>
                </a:extLst>
              </p:cNvPr>
              <p:cNvSpPr/>
              <p:nvPr/>
            </p:nvSpPr>
            <p:spPr>
              <a:xfrm>
                <a:off x="7084275" y="157332"/>
                <a:ext cx="1037540" cy="105876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3200" b="1" dirty="0">
                  <a:solidFill>
                    <a:schemeClr val="bg2"/>
                  </a:solidFill>
                </a:endParaRPr>
              </a:p>
            </p:txBody>
          </p:sp>
          <p:grpSp>
            <p:nvGrpSpPr>
              <p:cNvPr id="13" name="Group 69"/>
              <p:cNvGrpSpPr>
                <a:grpSpLocks noChangeAspect="1"/>
              </p:cNvGrpSpPr>
              <p:nvPr/>
            </p:nvGrpSpPr>
            <p:grpSpPr bwMode="auto">
              <a:xfrm>
                <a:off x="7138379" y="236458"/>
                <a:ext cx="918083" cy="920407"/>
                <a:chOff x="2683" y="1422"/>
                <a:chExt cx="395" cy="396"/>
              </a:xfrm>
            </p:grpSpPr>
            <p:sp>
              <p:nvSpPr>
                <p:cNvPr id="14" name="Line 70"/>
                <p:cNvSpPr>
                  <a:spLocks noChangeShapeType="1"/>
                </p:cNvSpPr>
                <p:nvPr/>
              </p:nvSpPr>
              <p:spPr bwMode="auto">
                <a:xfrm flipV="1">
                  <a:off x="2749" y="1495"/>
                  <a:ext cx="164" cy="160"/>
                </a:xfrm>
                <a:prstGeom prst="line">
                  <a:avLst/>
                </a:prstGeom>
                <a:noFill/>
                <a:ln w="39688"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5" name="Line 71"/>
                <p:cNvSpPr>
                  <a:spLocks noChangeShapeType="1"/>
                </p:cNvSpPr>
                <p:nvPr/>
              </p:nvSpPr>
              <p:spPr bwMode="auto">
                <a:xfrm flipV="1">
                  <a:off x="2787" y="1530"/>
                  <a:ext cx="187" cy="183"/>
                </a:xfrm>
                <a:prstGeom prst="line">
                  <a:avLst/>
                </a:prstGeom>
                <a:noFill/>
                <a:ln w="39688"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6" name="Line 72"/>
                <p:cNvSpPr>
                  <a:spLocks noChangeShapeType="1"/>
                </p:cNvSpPr>
                <p:nvPr/>
              </p:nvSpPr>
              <p:spPr bwMode="auto">
                <a:xfrm flipV="1">
                  <a:off x="2847" y="1591"/>
                  <a:ext cx="162" cy="158"/>
                </a:xfrm>
                <a:prstGeom prst="line">
                  <a:avLst/>
                </a:prstGeom>
                <a:noFill/>
                <a:ln w="39688"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7" name="Line 73"/>
                <p:cNvSpPr>
                  <a:spLocks noChangeShapeType="1"/>
                </p:cNvSpPr>
                <p:nvPr/>
              </p:nvSpPr>
              <p:spPr bwMode="auto">
                <a:xfrm>
                  <a:off x="2850" y="1497"/>
                  <a:ext cx="159" cy="156"/>
                </a:xfrm>
                <a:prstGeom prst="line">
                  <a:avLst/>
                </a:prstGeom>
                <a:noFill/>
                <a:ln w="39688"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8" name="Line 74"/>
                <p:cNvSpPr>
                  <a:spLocks noChangeShapeType="1"/>
                </p:cNvSpPr>
                <p:nvPr/>
              </p:nvSpPr>
              <p:spPr bwMode="auto">
                <a:xfrm>
                  <a:off x="2786" y="1528"/>
                  <a:ext cx="187" cy="184"/>
                </a:xfrm>
                <a:prstGeom prst="line">
                  <a:avLst/>
                </a:prstGeom>
                <a:noFill/>
                <a:ln w="39688"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9" name="Line 75"/>
                <p:cNvSpPr>
                  <a:spLocks noChangeShapeType="1"/>
                </p:cNvSpPr>
                <p:nvPr/>
              </p:nvSpPr>
              <p:spPr bwMode="auto">
                <a:xfrm>
                  <a:off x="2752" y="1592"/>
                  <a:ext cx="157" cy="153"/>
                </a:xfrm>
                <a:prstGeom prst="line">
                  <a:avLst/>
                </a:prstGeom>
                <a:noFill/>
                <a:ln w="39688"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0" name="Freeform 76"/>
                <p:cNvSpPr>
                  <a:spLocks/>
                </p:cNvSpPr>
                <p:nvPr/>
              </p:nvSpPr>
              <p:spPr bwMode="auto">
                <a:xfrm>
                  <a:off x="2696" y="1422"/>
                  <a:ext cx="370" cy="155"/>
                </a:xfrm>
                <a:custGeom>
                  <a:avLst/>
                  <a:gdLst>
                    <a:gd name="T0" fmla="*/ 300 w 300"/>
                    <a:gd name="T1" fmla="*/ 128 h 128"/>
                    <a:gd name="T2" fmla="*/ 128 w 300"/>
                    <a:gd name="T3" fmla="*/ 11 h 128"/>
                    <a:gd name="T4" fmla="*/ 0 w 300"/>
                    <a:gd name="T5" fmla="*/ 128 h 128"/>
                  </a:gdLst>
                  <a:ahLst/>
                  <a:cxnLst>
                    <a:cxn ang="0">
                      <a:pos x="T0" y="T1"/>
                    </a:cxn>
                    <a:cxn ang="0">
                      <a:pos x="T2" y="T3"/>
                    </a:cxn>
                    <a:cxn ang="0">
                      <a:pos x="T4" y="T5"/>
                    </a:cxn>
                  </a:cxnLst>
                  <a:rect l="0" t="0" r="r" b="b"/>
                  <a:pathLst>
                    <a:path w="300" h="128">
                      <a:moveTo>
                        <a:pt x="300" y="128"/>
                      </a:moveTo>
                      <a:cubicBezTo>
                        <a:pt x="282" y="52"/>
                        <a:pt x="208" y="0"/>
                        <a:pt x="128" y="11"/>
                      </a:cubicBezTo>
                      <a:cubicBezTo>
                        <a:pt x="64" y="20"/>
                        <a:pt x="14" y="68"/>
                        <a:pt x="0" y="128"/>
                      </a:cubicBezTo>
                    </a:path>
                  </a:pathLst>
                </a:custGeom>
                <a:noFill/>
                <a:ln w="39688"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1" name="Freeform 77"/>
                <p:cNvSpPr>
                  <a:spLocks/>
                </p:cNvSpPr>
                <p:nvPr/>
              </p:nvSpPr>
              <p:spPr bwMode="auto">
                <a:xfrm>
                  <a:off x="2696" y="1663"/>
                  <a:ext cx="370" cy="155"/>
                </a:xfrm>
                <a:custGeom>
                  <a:avLst/>
                  <a:gdLst>
                    <a:gd name="T0" fmla="*/ 0 w 300"/>
                    <a:gd name="T1" fmla="*/ 0 h 128"/>
                    <a:gd name="T2" fmla="*/ 171 w 300"/>
                    <a:gd name="T3" fmla="*/ 117 h 128"/>
                    <a:gd name="T4" fmla="*/ 300 w 300"/>
                    <a:gd name="T5" fmla="*/ 0 h 128"/>
                  </a:gdLst>
                  <a:ahLst/>
                  <a:cxnLst>
                    <a:cxn ang="0">
                      <a:pos x="T0" y="T1"/>
                    </a:cxn>
                    <a:cxn ang="0">
                      <a:pos x="T2" y="T3"/>
                    </a:cxn>
                    <a:cxn ang="0">
                      <a:pos x="T4" y="T5"/>
                    </a:cxn>
                  </a:cxnLst>
                  <a:rect l="0" t="0" r="r" b="b"/>
                  <a:pathLst>
                    <a:path w="300" h="128">
                      <a:moveTo>
                        <a:pt x="0" y="0"/>
                      </a:moveTo>
                      <a:cubicBezTo>
                        <a:pt x="18" y="76"/>
                        <a:pt x="92" y="128"/>
                        <a:pt x="171" y="117"/>
                      </a:cubicBezTo>
                      <a:cubicBezTo>
                        <a:pt x="236" y="107"/>
                        <a:pt x="285" y="60"/>
                        <a:pt x="300" y="0"/>
                      </a:cubicBezTo>
                    </a:path>
                  </a:pathLst>
                </a:custGeom>
                <a:noFill/>
                <a:ln w="39688"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2" name="Freeform 78"/>
                <p:cNvSpPr>
                  <a:spLocks/>
                </p:cNvSpPr>
                <p:nvPr/>
              </p:nvSpPr>
              <p:spPr bwMode="auto">
                <a:xfrm>
                  <a:off x="3041" y="1663"/>
                  <a:ext cx="37" cy="25"/>
                </a:xfrm>
                <a:custGeom>
                  <a:avLst/>
                  <a:gdLst>
                    <a:gd name="T0" fmla="*/ 37 w 37"/>
                    <a:gd name="T1" fmla="*/ 25 h 25"/>
                    <a:gd name="T2" fmla="*/ 25 w 37"/>
                    <a:gd name="T3" fmla="*/ 0 h 25"/>
                    <a:gd name="T4" fmla="*/ 0 w 37"/>
                    <a:gd name="T5" fmla="*/ 12 h 25"/>
                  </a:gdLst>
                  <a:ahLst/>
                  <a:cxnLst>
                    <a:cxn ang="0">
                      <a:pos x="T0" y="T1"/>
                    </a:cxn>
                    <a:cxn ang="0">
                      <a:pos x="T2" y="T3"/>
                    </a:cxn>
                    <a:cxn ang="0">
                      <a:pos x="T4" y="T5"/>
                    </a:cxn>
                  </a:cxnLst>
                  <a:rect l="0" t="0" r="r" b="b"/>
                  <a:pathLst>
                    <a:path w="37" h="25">
                      <a:moveTo>
                        <a:pt x="37" y="25"/>
                      </a:moveTo>
                      <a:lnTo>
                        <a:pt x="25" y="0"/>
                      </a:lnTo>
                      <a:lnTo>
                        <a:pt x="0" y="12"/>
                      </a:lnTo>
                    </a:path>
                  </a:pathLst>
                </a:custGeom>
                <a:noFill/>
                <a:ln w="39688"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3" name="Freeform 79"/>
                <p:cNvSpPr>
                  <a:spLocks/>
                </p:cNvSpPr>
                <p:nvPr/>
              </p:nvSpPr>
              <p:spPr bwMode="auto">
                <a:xfrm>
                  <a:off x="2683" y="1552"/>
                  <a:ext cx="37" cy="25"/>
                </a:xfrm>
                <a:custGeom>
                  <a:avLst/>
                  <a:gdLst>
                    <a:gd name="T0" fmla="*/ 0 w 37"/>
                    <a:gd name="T1" fmla="*/ 0 h 25"/>
                    <a:gd name="T2" fmla="*/ 13 w 37"/>
                    <a:gd name="T3" fmla="*/ 25 h 25"/>
                    <a:gd name="T4" fmla="*/ 37 w 37"/>
                    <a:gd name="T5" fmla="*/ 13 h 25"/>
                  </a:gdLst>
                  <a:ahLst/>
                  <a:cxnLst>
                    <a:cxn ang="0">
                      <a:pos x="T0" y="T1"/>
                    </a:cxn>
                    <a:cxn ang="0">
                      <a:pos x="T2" y="T3"/>
                    </a:cxn>
                    <a:cxn ang="0">
                      <a:pos x="T4" y="T5"/>
                    </a:cxn>
                  </a:cxnLst>
                  <a:rect l="0" t="0" r="r" b="b"/>
                  <a:pathLst>
                    <a:path w="37" h="25">
                      <a:moveTo>
                        <a:pt x="0" y="0"/>
                      </a:moveTo>
                      <a:lnTo>
                        <a:pt x="13" y="25"/>
                      </a:lnTo>
                      <a:lnTo>
                        <a:pt x="37" y="13"/>
                      </a:lnTo>
                    </a:path>
                  </a:pathLst>
                </a:custGeom>
                <a:noFill/>
                <a:ln w="39688"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grpSp>
        </p:grpSp>
      </p:grpSp>
      <p:sp>
        <p:nvSpPr>
          <p:cNvPr id="47" name="Title 2">
            <a:extLst>
              <a:ext uri="{FF2B5EF4-FFF2-40B4-BE49-F238E27FC236}">
                <a16:creationId xmlns:a16="http://schemas.microsoft.com/office/drawing/2014/main" id="{E4BF5F87-045F-6844-81BC-1074F8628425}"/>
              </a:ext>
            </a:extLst>
          </p:cNvPr>
          <p:cNvSpPr>
            <a:spLocks noGrp="1"/>
          </p:cNvSpPr>
          <p:nvPr>
            <p:ph type="title"/>
          </p:nvPr>
        </p:nvSpPr>
        <p:spPr>
          <a:xfrm>
            <a:off x="108314" y="102371"/>
            <a:ext cx="8345488" cy="731837"/>
          </a:xfrm>
        </p:spPr>
        <p:txBody>
          <a:bodyPr/>
          <a:lstStyle/>
          <a:p>
            <a:r>
              <a:rPr lang="en-IN" sz="2400" dirty="0"/>
              <a:t>Reduced Capex, </a:t>
            </a:r>
            <a:r>
              <a:rPr lang="en-IN" sz="2400" dirty="0" err="1"/>
              <a:t>Opex</a:t>
            </a:r>
            <a:r>
              <a:rPr lang="en-IN" sz="2400" dirty="0"/>
              <a:t> and Complexity with DCO</a:t>
            </a:r>
            <a:endParaRPr lang="en-US" sz="2400" dirty="0"/>
          </a:p>
        </p:txBody>
      </p:sp>
    </p:spTree>
    <p:extLst>
      <p:ext uri="{BB962C8B-B14F-4D97-AF65-F5344CB8AC3E}">
        <p14:creationId xmlns:p14="http://schemas.microsoft.com/office/powerpoint/2010/main" val="290356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F38A3-6EBD-4731-8291-1D04E01D33D0}"/>
              </a:ext>
            </a:extLst>
          </p:cNvPr>
          <p:cNvSpPr>
            <a:spLocks noGrp="1"/>
          </p:cNvSpPr>
          <p:nvPr>
            <p:ph type="title"/>
          </p:nvPr>
        </p:nvSpPr>
        <p:spPr/>
        <p:txBody>
          <a:bodyPr/>
          <a:lstStyle/>
          <a:p>
            <a:r>
              <a:rPr lang="en-US" dirty="0"/>
              <a:t>Exclusions</a:t>
            </a:r>
          </a:p>
        </p:txBody>
      </p:sp>
      <p:sp>
        <p:nvSpPr>
          <p:cNvPr id="11" name="Content Placeholder 2"/>
          <p:cNvSpPr>
            <a:spLocks noGrp="1"/>
          </p:cNvSpPr>
          <p:nvPr>
            <p:ph type="body" sz="quarter" idx="10"/>
          </p:nvPr>
        </p:nvSpPr>
        <p:spPr/>
        <p:txBody>
          <a:bodyPr/>
          <a:lstStyle/>
          <a:p>
            <a:r>
              <a:rPr lang="en-US" dirty="0"/>
              <a:t>Site surveys, geographical inspections.</a:t>
            </a:r>
          </a:p>
          <a:p>
            <a:r>
              <a:rPr lang="en-US" dirty="0"/>
              <a:t>Any user equipment or device.</a:t>
            </a:r>
          </a:p>
          <a:p>
            <a:r>
              <a:rPr lang="en-US" dirty="0"/>
              <a:t>Commercial offer on hold until final architecture has been agreed to.</a:t>
            </a:r>
          </a:p>
        </p:txBody>
      </p:sp>
      <p:sp>
        <p:nvSpPr>
          <p:cNvPr id="4" name="Rounded Rectangle 7">
            <a:extLst>
              <a:ext uri="{FF2B5EF4-FFF2-40B4-BE49-F238E27FC236}">
                <a16:creationId xmlns:a16="http://schemas.microsoft.com/office/drawing/2014/main" id="{78D45BF9-AAC7-499F-B7C7-B9D0CE13B792}"/>
              </a:ext>
            </a:extLst>
          </p:cNvPr>
          <p:cNvSpPr/>
          <p:nvPr/>
        </p:nvSpPr>
        <p:spPr>
          <a:xfrm>
            <a:off x="517675" y="1131204"/>
            <a:ext cx="8398328" cy="1708151"/>
          </a:xfrm>
          <a:prstGeom prst="roundRect">
            <a:avLst>
              <a:gd name="adj" fmla="val 9528"/>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81378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ECE97A9-DE45-40A8-AB5B-8B0FCEC982A9}"/>
              </a:ext>
            </a:extLst>
          </p:cNvPr>
          <p:cNvSpPr>
            <a:spLocks noGrp="1"/>
          </p:cNvSpPr>
          <p:nvPr>
            <p:ph type="title"/>
          </p:nvPr>
        </p:nvSpPr>
        <p:spPr>
          <a:xfrm>
            <a:off x="96282" y="132450"/>
            <a:ext cx="8345488" cy="731837"/>
          </a:xfrm>
        </p:spPr>
        <p:txBody>
          <a:bodyPr/>
          <a:lstStyle/>
          <a:p>
            <a:r>
              <a:rPr lang="en-US" dirty="0" err="1"/>
              <a:t>IPoEoF</a:t>
            </a:r>
            <a:r>
              <a:rPr lang="en-US" dirty="0"/>
              <a:t> Solution Components</a:t>
            </a:r>
            <a:br>
              <a:rPr lang="en-US" dirty="0"/>
            </a:br>
            <a:r>
              <a:rPr lang="en-US" sz="2000" dirty="0"/>
              <a:t>Optimized delivery of 100/200G to the Access</a:t>
            </a:r>
            <a:endParaRPr lang="en-US" dirty="0"/>
          </a:p>
        </p:txBody>
      </p:sp>
      <p:sp>
        <p:nvSpPr>
          <p:cNvPr id="72" name="Rectangle 71">
            <a:extLst>
              <a:ext uri="{FF2B5EF4-FFF2-40B4-BE49-F238E27FC236}">
                <a16:creationId xmlns:a16="http://schemas.microsoft.com/office/drawing/2014/main" id="{64893EF2-AE10-4F49-8B0E-7CD409DE685C}"/>
              </a:ext>
            </a:extLst>
          </p:cNvPr>
          <p:cNvSpPr/>
          <p:nvPr/>
        </p:nvSpPr>
        <p:spPr>
          <a:xfrm>
            <a:off x="447026" y="3085747"/>
            <a:ext cx="2575560" cy="8244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32174" indent="-132174" defTabSz="685800" fontAlgn="auto">
              <a:spcBef>
                <a:spcPts val="225"/>
              </a:spcBef>
              <a:spcAft>
                <a:spcPts val="225"/>
              </a:spcAft>
              <a:buSzPct val="80000"/>
              <a:buFont typeface="Arial" pitchFamily="34" charset="0"/>
              <a:buChar char="•"/>
              <a:defRPr/>
            </a:pPr>
            <a:r>
              <a:rPr lang="en-US" sz="1050" dirty="0">
                <a:solidFill>
                  <a:srgbClr val="049CD4">
                    <a:lumMod val="50000"/>
                  </a:srgbClr>
                </a:solidFill>
                <a:latin typeface="CiscoSansTT ExtraLight"/>
                <a:cs typeface="Arial" charset="0"/>
              </a:rPr>
              <a:t>NCS5500 &amp; ASR9900 Aggregation/ Edge with CFP2-DCO interfaces.</a:t>
            </a:r>
          </a:p>
          <a:p>
            <a:pPr marL="132174" indent="-132174" defTabSz="685800" fontAlgn="auto">
              <a:spcBef>
                <a:spcPts val="225"/>
              </a:spcBef>
              <a:spcAft>
                <a:spcPts val="225"/>
              </a:spcAft>
              <a:buSzPct val="80000"/>
              <a:buFont typeface="Arial" pitchFamily="34" charset="0"/>
              <a:buChar char="•"/>
              <a:defRPr/>
            </a:pPr>
            <a:endParaRPr lang="en-US" sz="1050" dirty="0">
              <a:solidFill>
                <a:srgbClr val="049CD4">
                  <a:lumMod val="50000"/>
                </a:srgbClr>
              </a:solidFill>
              <a:latin typeface="CiscoSansTT ExtraLight"/>
              <a:cs typeface="Arial" charset="0"/>
            </a:endParaRPr>
          </a:p>
          <a:p>
            <a:pPr marL="132174" indent="-132174" defTabSz="685800" fontAlgn="auto">
              <a:spcBef>
                <a:spcPts val="225"/>
              </a:spcBef>
              <a:spcAft>
                <a:spcPts val="225"/>
              </a:spcAft>
              <a:buSzPct val="80000"/>
              <a:buFont typeface="Arial" pitchFamily="34" charset="0"/>
              <a:buChar char="•"/>
              <a:defRPr/>
            </a:pPr>
            <a:r>
              <a:rPr lang="en-US" sz="1050" dirty="0">
                <a:solidFill>
                  <a:srgbClr val="049CD4">
                    <a:lumMod val="50000"/>
                  </a:srgbClr>
                </a:solidFill>
                <a:latin typeface="CiscoSansTT ExtraLight"/>
                <a:cs typeface="Arial" charset="0"/>
              </a:rPr>
              <a:t>NCS55A2 (Peyto) 2RU Pre-</a:t>
            </a:r>
            <a:r>
              <a:rPr lang="en-US" sz="1050" dirty="0" err="1">
                <a:solidFill>
                  <a:srgbClr val="049CD4">
                    <a:lumMod val="50000"/>
                  </a:srgbClr>
                </a:solidFill>
                <a:latin typeface="CiscoSansTT ExtraLight"/>
                <a:cs typeface="Arial" charset="0"/>
              </a:rPr>
              <a:t>Agg</a:t>
            </a:r>
            <a:r>
              <a:rPr lang="en-US" sz="1050" dirty="0">
                <a:solidFill>
                  <a:srgbClr val="049CD4">
                    <a:lumMod val="50000"/>
                  </a:srgbClr>
                </a:solidFill>
                <a:latin typeface="CiscoSansTT ExtraLight"/>
                <a:cs typeface="Arial" charset="0"/>
              </a:rPr>
              <a:t> Router with CFP2 MPAs.</a:t>
            </a:r>
          </a:p>
          <a:p>
            <a:pPr marL="132174" indent="-132174" defTabSz="685800" fontAlgn="auto">
              <a:spcBef>
                <a:spcPts val="225"/>
              </a:spcBef>
              <a:spcAft>
                <a:spcPts val="225"/>
              </a:spcAft>
              <a:buSzPct val="80000"/>
              <a:buFont typeface="Arial" pitchFamily="34" charset="0"/>
              <a:buChar char="•"/>
              <a:defRPr/>
            </a:pPr>
            <a:endParaRPr lang="en-US" sz="1050" dirty="0">
              <a:solidFill>
                <a:srgbClr val="049CD4">
                  <a:lumMod val="50000"/>
                </a:srgbClr>
              </a:solidFill>
              <a:latin typeface="CiscoSansTT ExtraLight"/>
              <a:cs typeface="Arial" charset="0"/>
            </a:endParaRPr>
          </a:p>
          <a:p>
            <a:pPr marL="132174" indent="-132174" defTabSz="685800" fontAlgn="auto">
              <a:spcBef>
                <a:spcPts val="225"/>
              </a:spcBef>
              <a:spcAft>
                <a:spcPts val="225"/>
              </a:spcAft>
              <a:buSzPct val="80000"/>
              <a:buFont typeface="Arial" pitchFamily="34" charset="0"/>
              <a:buChar char="•"/>
              <a:defRPr/>
            </a:pPr>
            <a:r>
              <a:rPr lang="en-US" sz="1050" dirty="0">
                <a:solidFill>
                  <a:srgbClr val="049CD4">
                    <a:lumMod val="50000"/>
                  </a:srgbClr>
                </a:solidFill>
                <a:latin typeface="CiscoSansTT ExtraLight"/>
                <a:cs typeface="Arial" charset="0"/>
              </a:rPr>
              <a:t>PAYG options for upgrade from 100 to 200G.</a:t>
            </a:r>
          </a:p>
        </p:txBody>
      </p:sp>
      <p:sp>
        <p:nvSpPr>
          <p:cNvPr id="75" name="Rectangle 74">
            <a:extLst>
              <a:ext uri="{FF2B5EF4-FFF2-40B4-BE49-F238E27FC236}">
                <a16:creationId xmlns:a16="http://schemas.microsoft.com/office/drawing/2014/main" id="{D43C3D2F-2BDA-41DC-A47F-8FD4B89E1625}"/>
              </a:ext>
            </a:extLst>
          </p:cNvPr>
          <p:cNvSpPr/>
          <p:nvPr/>
        </p:nvSpPr>
        <p:spPr>
          <a:xfrm>
            <a:off x="3201302" y="3089128"/>
            <a:ext cx="2575560" cy="11074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32174" indent="-132174" defTabSz="685800" fontAlgn="auto">
              <a:spcBef>
                <a:spcPts val="225"/>
              </a:spcBef>
              <a:spcAft>
                <a:spcPts val="225"/>
              </a:spcAft>
              <a:buClr>
                <a:srgbClr val="005073">
                  <a:lumMod val="75000"/>
                </a:srgbClr>
              </a:buClr>
              <a:buSzPct val="80000"/>
              <a:buFont typeface="Arial" pitchFamily="34" charset="0"/>
              <a:buChar char="•"/>
              <a:defRPr/>
            </a:pPr>
            <a:r>
              <a:rPr lang="en-US" sz="1050" dirty="0">
                <a:solidFill>
                  <a:srgbClr val="049CD4">
                    <a:lumMod val="50000"/>
                  </a:srgbClr>
                </a:solidFill>
                <a:latin typeface="CiscoSansTT ExtraLight"/>
                <a:cs typeface="Arial" charset="0"/>
              </a:rPr>
              <a:t>Fabric design offers scale and extensibility </a:t>
            </a:r>
          </a:p>
          <a:p>
            <a:pPr marL="132174" indent="-132174" defTabSz="685800" fontAlgn="auto">
              <a:spcBef>
                <a:spcPts val="225"/>
              </a:spcBef>
              <a:spcAft>
                <a:spcPts val="225"/>
              </a:spcAft>
              <a:buClr>
                <a:srgbClr val="005073">
                  <a:lumMod val="75000"/>
                </a:srgbClr>
              </a:buClr>
              <a:buSzPct val="80000"/>
              <a:buFont typeface="Arial" pitchFamily="34" charset="0"/>
              <a:buChar char="•"/>
              <a:defRPr/>
            </a:pPr>
            <a:endParaRPr lang="en-US" sz="1050" dirty="0">
              <a:solidFill>
                <a:srgbClr val="049CD4">
                  <a:lumMod val="50000"/>
                </a:srgbClr>
              </a:solidFill>
              <a:latin typeface="CiscoSansTT ExtraLight"/>
              <a:cs typeface="Arial" charset="0"/>
            </a:endParaRPr>
          </a:p>
          <a:p>
            <a:pPr marL="132174" indent="-132174" defTabSz="685800" fontAlgn="auto">
              <a:spcBef>
                <a:spcPts val="225"/>
              </a:spcBef>
              <a:spcAft>
                <a:spcPts val="225"/>
              </a:spcAft>
              <a:buClr>
                <a:srgbClr val="005073">
                  <a:lumMod val="75000"/>
                </a:srgbClr>
              </a:buClr>
              <a:buSzPct val="80000"/>
              <a:buFont typeface="Arial" pitchFamily="34" charset="0"/>
              <a:buChar char="•"/>
              <a:defRPr/>
            </a:pPr>
            <a:r>
              <a:rPr lang="en-US" sz="1050" dirty="0">
                <a:solidFill>
                  <a:srgbClr val="049CD4">
                    <a:lumMod val="50000"/>
                  </a:srgbClr>
                </a:solidFill>
                <a:latin typeface="CiscoSansTT ExtraLight"/>
                <a:cs typeface="Arial" charset="0"/>
              </a:rPr>
              <a:t>Segment Routing with TI-LFA provides simplicity and resiliency.</a:t>
            </a:r>
          </a:p>
          <a:p>
            <a:pPr marL="132174" indent="-132174" defTabSz="685800" fontAlgn="auto">
              <a:spcBef>
                <a:spcPts val="225"/>
              </a:spcBef>
              <a:spcAft>
                <a:spcPts val="225"/>
              </a:spcAft>
              <a:buClr>
                <a:srgbClr val="005073">
                  <a:lumMod val="75000"/>
                </a:srgbClr>
              </a:buClr>
              <a:buSzPct val="80000"/>
              <a:buFont typeface="Arial" pitchFamily="34" charset="0"/>
              <a:buChar char="•"/>
              <a:defRPr/>
            </a:pPr>
            <a:endParaRPr lang="en-US" sz="1050" dirty="0">
              <a:solidFill>
                <a:srgbClr val="049CD4">
                  <a:lumMod val="50000"/>
                </a:srgbClr>
              </a:solidFill>
              <a:latin typeface="CiscoSansTT ExtraLight"/>
              <a:cs typeface="Arial" charset="0"/>
            </a:endParaRPr>
          </a:p>
          <a:p>
            <a:pPr marL="132174" indent="-132174" defTabSz="685800" fontAlgn="auto">
              <a:spcBef>
                <a:spcPts val="225"/>
              </a:spcBef>
              <a:spcAft>
                <a:spcPts val="225"/>
              </a:spcAft>
              <a:buClr>
                <a:srgbClr val="005073">
                  <a:lumMod val="75000"/>
                </a:srgbClr>
              </a:buClr>
              <a:buSzPct val="80000"/>
              <a:buFont typeface="Arial" pitchFamily="34" charset="0"/>
              <a:buChar char="•"/>
              <a:defRPr/>
            </a:pPr>
            <a:r>
              <a:rPr lang="en-US" sz="1050" dirty="0">
                <a:solidFill>
                  <a:srgbClr val="049CD4">
                    <a:lumMod val="50000"/>
                  </a:srgbClr>
                </a:solidFill>
                <a:latin typeface="CiscoSansTT ExtraLight"/>
                <a:cs typeface="Arial" charset="0"/>
              </a:rPr>
              <a:t>EVPN for Multi-Service use-cases.</a:t>
            </a:r>
          </a:p>
        </p:txBody>
      </p:sp>
      <p:grpSp>
        <p:nvGrpSpPr>
          <p:cNvPr id="4" name="Group 3"/>
          <p:cNvGrpSpPr/>
          <p:nvPr/>
        </p:nvGrpSpPr>
        <p:grpSpPr>
          <a:xfrm>
            <a:off x="824438" y="967392"/>
            <a:ext cx="2008803" cy="1963160"/>
            <a:chOff x="1110552" y="1478006"/>
            <a:chExt cx="2678404" cy="2604766"/>
          </a:xfrm>
        </p:grpSpPr>
        <p:sp>
          <p:nvSpPr>
            <p:cNvPr id="70" name="Oval 69"/>
            <p:cNvSpPr/>
            <p:nvPr/>
          </p:nvSpPr>
          <p:spPr>
            <a:xfrm rot="18888485">
              <a:off x="2175110" y="2337336"/>
              <a:ext cx="1458468" cy="1769224"/>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Broad Portfolio</a:t>
              </a:r>
            </a:p>
          </p:txBody>
        </p:sp>
        <p:sp>
          <p:nvSpPr>
            <p:cNvPr id="69" name="Oval 68"/>
            <p:cNvSpPr/>
            <p:nvPr/>
          </p:nvSpPr>
          <p:spPr>
            <a:xfrm rot="2371366">
              <a:off x="1110552" y="2313548"/>
              <a:ext cx="1458468" cy="1769224"/>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Deployment Flexibility</a:t>
              </a:r>
            </a:p>
          </p:txBody>
        </p:sp>
        <p:sp>
          <p:nvSpPr>
            <p:cNvPr id="3" name="Oval 2"/>
            <p:cNvSpPr/>
            <p:nvPr/>
          </p:nvSpPr>
          <p:spPr>
            <a:xfrm>
              <a:off x="1700335" y="1478006"/>
              <a:ext cx="1458468" cy="1769224"/>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Capex Optimized</a:t>
              </a:r>
            </a:p>
          </p:txBody>
        </p:sp>
      </p:grpSp>
      <p:grpSp>
        <p:nvGrpSpPr>
          <p:cNvPr id="82" name="Group 81"/>
          <p:cNvGrpSpPr/>
          <p:nvPr/>
        </p:nvGrpSpPr>
        <p:grpSpPr>
          <a:xfrm>
            <a:off x="6055395" y="1021069"/>
            <a:ext cx="2125337" cy="1863983"/>
            <a:chOff x="955174" y="1478006"/>
            <a:chExt cx="2833782" cy="2473176"/>
          </a:xfrm>
        </p:grpSpPr>
        <p:sp>
          <p:nvSpPr>
            <p:cNvPr id="83" name="Oval 82"/>
            <p:cNvSpPr/>
            <p:nvPr/>
          </p:nvSpPr>
          <p:spPr>
            <a:xfrm rot="18890887">
              <a:off x="2175110" y="2337336"/>
              <a:ext cx="1458468" cy="1769224"/>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Single OS</a:t>
              </a:r>
            </a:p>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IOS-XR</a:t>
              </a:r>
            </a:p>
          </p:txBody>
        </p:sp>
        <p:sp>
          <p:nvSpPr>
            <p:cNvPr id="84" name="Oval 83"/>
            <p:cNvSpPr/>
            <p:nvPr/>
          </p:nvSpPr>
          <p:spPr>
            <a:xfrm rot="2714027">
              <a:off x="1110552" y="2313548"/>
              <a:ext cx="1458468" cy="1769224"/>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fontAlgn="auto">
                <a:spcBef>
                  <a:spcPts val="0"/>
                </a:spcBef>
                <a:spcAft>
                  <a:spcPts val="0"/>
                </a:spcAft>
              </a:pPr>
              <a:r>
                <a:rPr lang="en-US" sz="825" b="1" dirty="0" err="1">
                  <a:solidFill>
                    <a:srgbClr val="049CD4">
                      <a:lumMod val="50000"/>
                    </a:srgbClr>
                  </a:solidFill>
                  <a:latin typeface="CiscoSansTT" panose="020B0503020201020303" pitchFamily="34" charset="0"/>
                  <a:cs typeface="CiscoSansTT" panose="020B0503020201020303" pitchFamily="34" charset="0"/>
                </a:rPr>
                <a:t>Programm</a:t>
              </a:r>
              <a:r>
                <a:rPr lang="en-US" sz="825" b="1" dirty="0">
                  <a:solidFill>
                    <a:srgbClr val="049CD4">
                      <a:lumMod val="50000"/>
                    </a:srgbClr>
                  </a:solidFill>
                  <a:latin typeface="CiscoSansTT" panose="020B0503020201020303" pitchFamily="34" charset="0"/>
                  <a:cs typeface="CiscoSansTT" panose="020B0503020201020303" pitchFamily="34" charset="0"/>
                </a:rPr>
                <a:t>-able </a:t>
              </a:r>
            </a:p>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Network</a:t>
              </a:r>
            </a:p>
          </p:txBody>
        </p:sp>
        <p:sp>
          <p:nvSpPr>
            <p:cNvPr id="85" name="Oval 84"/>
            <p:cNvSpPr/>
            <p:nvPr/>
          </p:nvSpPr>
          <p:spPr>
            <a:xfrm>
              <a:off x="1700335" y="1478006"/>
              <a:ext cx="1458468" cy="1769224"/>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Automation</a:t>
              </a:r>
            </a:p>
          </p:txBody>
        </p:sp>
      </p:grpSp>
      <p:grpSp>
        <p:nvGrpSpPr>
          <p:cNvPr id="6" name="Group 5"/>
          <p:cNvGrpSpPr/>
          <p:nvPr/>
        </p:nvGrpSpPr>
        <p:grpSpPr>
          <a:xfrm>
            <a:off x="1351768" y="1601046"/>
            <a:ext cx="873038" cy="873038"/>
            <a:chOff x="3720664" y="1235638"/>
            <a:chExt cx="1164051" cy="1164051"/>
          </a:xfrm>
        </p:grpSpPr>
        <p:sp>
          <p:nvSpPr>
            <p:cNvPr id="112" name="Oval 111">
              <a:extLst>
                <a:ext uri="{FF2B5EF4-FFF2-40B4-BE49-F238E27FC236}">
                  <a16:creationId xmlns:a16="http://schemas.microsoft.com/office/drawing/2014/main" id="{E794920D-EF13-43B6-932D-03889FA75F33}"/>
                </a:ext>
              </a:extLst>
            </p:cNvPr>
            <p:cNvSpPr/>
            <p:nvPr/>
          </p:nvSpPr>
          <p:spPr>
            <a:xfrm>
              <a:off x="3720664" y="1235638"/>
              <a:ext cx="1164051" cy="1164051"/>
            </a:xfrm>
            <a:prstGeom prst="ellipse">
              <a:avLst/>
            </a:prstGeom>
            <a:solidFill>
              <a:schemeClr val="accent5">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grpSp>
          <p:nvGrpSpPr>
            <p:cNvPr id="87" name="Group 194"/>
            <p:cNvGrpSpPr>
              <a:grpSpLocks noChangeAspect="1"/>
            </p:cNvGrpSpPr>
            <p:nvPr/>
          </p:nvGrpSpPr>
          <p:grpSpPr bwMode="auto">
            <a:xfrm>
              <a:off x="3783706" y="1513085"/>
              <a:ext cx="1044576" cy="576263"/>
              <a:chOff x="336" y="1362"/>
              <a:chExt cx="658" cy="363"/>
            </a:xfrm>
          </p:grpSpPr>
          <p:sp>
            <p:nvSpPr>
              <p:cNvPr id="88" name="Freeform 195"/>
              <p:cNvSpPr>
                <a:spLocks/>
              </p:cNvSpPr>
              <p:nvPr/>
            </p:nvSpPr>
            <p:spPr bwMode="auto">
              <a:xfrm>
                <a:off x="505" y="1416"/>
                <a:ext cx="151" cy="27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89" name="Line 196"/>
              <p:cNvSpPr>
                <a:spLocks noChangeShapeType="1"/>
              </p:cNvSpPr>
              <p:nvPr/>
            </p:nvSpPr>
            <p:spPr bwMode="auto">
              <a:xfrm>
                <a:off x="543" y="1460"/>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0" name="Line 197"/>
              <p:cNvSpPr>
                <a:spLocks noChangeShapeType="1"/>
              </p:cNvSpPr>
              <p:nvPr/>
            </p:nvSpPr>
            <p:spPr bwMode="auto">
              <a:xfrm>
                <a:off x="543" y="1503"/>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1" name="Line 198"/>
              <p:cNvSpPr>
                <a:spLocks noChangeShapeType="1"/>
              </p:cNvSpPr>
              <p:nvPr/>
            </p:nvSpPr>
            <p:spPr bwMode="auto">
              <a:xfrm>
                <a:off x="543" y="1548"/>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2" name="Line 199"/>
              <p:cNvSpPr>
                <a:spLocks noChangeShapeType="1"/>
              </p:cNvSpPr>
              <p:nvPr/>
            </p:nvSpPr>
            <p:spPr bwMode="auto">
              <a:xfrm>
                <a:off x="543" y="1592"/>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3" name="Line 200"/>
              <p:cNvSpPr>
                <a:spLocks noChangeShapeType="1"/>
              </p:cNvSpPr>
              <p:nvPr/>
            </p:nvSpPr>
            <p:spPr bwMode="auto">
              <a:xfrm>
                <a:off x="543" y="1636"/>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4" name="Freeform 201"/>
              <p:cNvSpPr>
                <a:spLocks/>
              </p:cNvSpPr>
              <p:nvPr/>
            </p:nvSpPr>
            <p:spPr bwMode="auto">
              <a:xfrm>
                <a:off x="675" y="1362"/>
                <a:ext cx="150" cy="363"/>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5" name="Line 202"/>
              <p:cNvSpPr>
                <a:spLocks noChangeShapeType="1"/>
              </p:cNvSpPr>
              <p:nvPr/>
            </p:nvSpPr>
            <p:spPr bwMode="auto">
              <a:xfrm>
                <a:off x="712" y="1406"/>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6" name="Line 203"/>
              <p:cNvSpPr>
                <a:spLocks noChangeShapeType="1"/>
              </p:cNvSpPr>
              <p:nvPr/>
            </p:nvSpPr>
            <p:spPr bwMode="auto">
              <a:xfrm>
                <a:off x="712" y="1451"/>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7" name="Line 204"/>
              <p:cNvSpPr>
                <a:spLocks noChangeShapeType="1"/>
              </p:cNvSpPr>
              <p:nvPr/>
            </p:nvSpPr>
            <p:spPr bwMode="auto">
              <a:xfrm>
                <a:off x="712" y="1495"/>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8" name="Line 205"/>
              <p:cNvSpPr>
                <a:spLocks noChangeShapeType="1"/>
              </p:cNvSpPr>
              <p:nvPr/>
            </p:nvSpPr>
            <p:spPr bwMode="auto">
              <a:xfrm>
                <a:off x="712" y="1539"/>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99" name="Line 206"/>
              <p:cNvSpPr>
                <a:spLocks noChangeShapeType="1"/>
              </p:cNvSpPr>
              <p:nvPr/>
            </p:nvSpPr>
            <p:spPr bwMode="auto">
              <a:xfrm>
                <a:off x="712" y="1584"/>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0" name="Freeform 207"/>
              <p:cNvSpPr>
                <a:spLocks/>
              </p:cNvSpPr>
              <p:nvPr/>
            </p:nvSpPr>
            <p:spPr bwMode="auto">
              <a:xfrm>
                <a:off x="846" y="1416"/>
                <a:ext cx="148"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1" name="Line 208"/>
              <p:cNvSpPr>
                <a:spLocks noChangeShapeType="1"/>
              </p:cNvSpPr>
              <p:nvPr/>
            </p:nvSpPr>
            <p:spPr bwMode="auto">
              <a:xfrm>
                <a:off x="88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2" name="Line 209"/>
              <p:cNvSpPr>
                <a:spLocks noChangeShapeType="1"/>
              </p:cNvSpPr>
              <p:nvPr/>
            </p:nvSpPr>
            <p:spPr bwMode="auto">
              <a:xfrm>
                <a:off x="88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3" name="Line 210"/>
              <p:cNvSpPr>
                <a:spLocks noChangeShapeType="1"/>
              </p:cNvSpPr>
              <p:nvPr/>
            </p:nvSpPr>
            <p:spPr bwMode="auto">
              <a:xfrm>
                <a:off x="88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4" name="Line 211"/>
              <p:cNvSpPr>
                <a:spLocks noChangeShapeType="1"/>
              </p:cNvSpPr>
              <p:nvPr/>
            </p:nvSpPr>
            <p:spPr bwMode="auto">
              <a:xfrm>
                <a:off x="88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5" name="Line 212"/>
              <p:cNvSpPr>
                <a:spLocks noChangeShapeType="1"/>
              </p:cNvSpPr>
              <p:nvPr/>
            </p:nvSpPr>
            <p:spPr bwMode="auto">
              <a:xfrm>
                <a:off x="88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6" name="Freeform 213"/>
              <p:cNvSpPr>
                <a:spLocks/>
              </p:cNvSpPr>
              <p:nvPr/>
            </p:nvSpPr>
            <p:spPr bwMode="auto">
              <a:xfrm>
                <a:off x="336" y="1416"/>
                <a:ext cx="149"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7" name="Line 214"/>
              <p:cNvSpPr>
                <a:spLocks noChangeShapeType="1"/>
              </p:cNvSpPr>
              <p:nvPr/>
            </p:nvSpPr>
            <p:spPr bwMode="auto">
              <a:xfrm>
                <a:off x="37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8" name="Line 215"/>
              <p:cNvSpPr>
                <a:spLocks noChangeShapeType="1"/>
              </p:cNvSpPr>
              <p:nvPr/>
            </p:nvSpPr>
            <p:spPr bwMode="auto">
              <a:xfrm>
                <a:off x="37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09" name="Line 216"/>
              <p:cNvSpPr>
                <a:spLocks noChangeShapeType="1"/>
              </p:cNvSpPr>
              <p:nvPr/>
            </p:nvSpPr>
            <p:spPr bwMode="auto">
              <a:xfrm>
                <a:off x="37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10" name="Line 217"/>
              <p:cNvSpPr>
                <a:spLocks noChangeShapeType="1"/>
              </p:cNvSpPr>
              <p:nvPr/>
            </p:nvSpPr>
            <p:spPr bwMode="auto">
              <a:xfrm>
                <a:off x="37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11" name="Line 218"/>
              <p:cNvSpPr>
                <a:spLocks noChangeShapeType="1"/>
              </p:cNvSpPr>
              <p:nvPr/>
            </p:nvSpPr>
            <p:spPr bwMode="auto">
              <a:xfrm>
                <a:off x="37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grpSp>
      </p:grpSp>
      <p:grpSp>
        <p:nvGrpSpPr>
          <p:cNvPr id="5" name="Group 4"/>
          <p:cNvGrpSpPr/>
          <p:nvPr/>
        </p:nvGrpSpPr>
        <p:grpSpPr>
          <a:xfrm>
            <a:off x="3352909" y="928458"/>
            <a:ext cx="2125337" cy="1958680"/>
            <a:chOff x="4554687" y="2030097"/>
            <a:chExt cx="2833782" cy="2473176"/>
          </a:xfrm>
        </p:grpSpPr>
        <p:sp>
          <p:nvSpPr>
            <p:cNvPr id="73" name="Oval 72"/>
            <p:cNvSpPr/>
            <p:nvPr/>
          </p:nvSpPr>
          <p:spPr>
            <a:xfrm rot="18804480">
              <a:off x="5774623" y="2889427"/>
              <a:ext cx="1458468" cy="1769224"/>
            </a:xfrm>
            <a:prstGeom prst="ellipse">
              <a:avLst/>
            </a:prstGeom>
            <a:solidFill>
              <a:srgbClr val="5ABC5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Cross-Architecture</a:t>
              </a:r>
            </a:p>
          </p:txBody>
        </p:sp>
        <p:sp>
          <p:nvSpPr>
            <p:cNvPr id="74" name="Oval 73"/>
            <p:cNvSpPr/>
            <p:nvPr/>
          </p:nvSpPr>
          <p:spPr>
            <a:xfrm rot="3059020">
              <a:off x="4710065" y="2865639"/>
              <a:ext cx="1458468" cy="1769224"/>
            </a:xfrm>
            <a:prstGeom prst="ellipse">
              <a:avLst/>
            </a:prstGeom>
            <a:solidFill>
              <a:srgbClr val="5ABC5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Multi-Service</a:t>
              </a:r>
            </a:p>
          </p:txBody>
        </p:sp>
        <p:sp>
          <p:nvSpPr>
            <p:cNvPr id="80" name="Oval 79"/>
            <p:cNvSpPr/>
            <p:nvPr/>
          </p:nvSpPr>
          <p:spPr>
            <a:xfrm>
              <a:off x="5299848" y="2030097"/>
              <a:ext cx="1458468" cy="1769224"/>
            </a:xfrm>
            <a:prstGeom prst="ellipse">
              <a:avLst/>
            </a:prstGeom>
            <a:solidFill>
              <a:srgbClr val="5ABC5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Multiple</a:t>
              </a:r>
            </a:p>
            <a:p>
              <a:pPr algn="ctr" defTabSz="685800" fontAlgn="auto">
                <a:spcBef>
                  <a:spcPts val="0"/>
                </a:spcBef>
                <a:spcAft>
                  <a:spcPts val="0"/>
                </a:spcAft>
              </a:pPr>
              <a:r>
                <a:rPr lang="en-US" sz="825" b="1" dirty="0">
                  <a:solidFill>
                    <a:srgbClr val="049CD4">
                      <a:lumMod val="50000"/>
                    </a:srgbClr>
                  </a:solidFill>
                  <a:latin typeface="CiscoSansTT" panose="020B0503020201020303" pitchFamily="34" charset="0"/>
                  <a:cs typeface="CiscoSansTT" panose="020B0503020201020303" pitchFamily="34" charset="0"/>
                </a:rPr>
                <a:t>Use-case</a:t>
              </a:r>
            </a:p>
          </p:txBody>
        </p:sp>
        <p:grpSp>
          <p:nvGrpSpPr>
            <p:cNvPr id="7" name="Group 6"/>
            <p:cNvGrpSpPr/>
            <p:nvPr/>
          </p:nvGrpSpPr>
          <p:grpSpPr>
            <a:xfrm>
              <a:off x="5378090" y="2916487"/>
              <a:ext cx="1264679" cy="1164051"/>
              <a:chOff x="3366361" y="1326863"/>
              <a:chExt cx="1264679" cy="1164051"/>
            </a:xfrm>
          </p:grpSpPr>
          <p:sp>
            <p:nvSpPr>
              <p:cNvPr id="134" name="Oval 133">
                <a:extLst>
                  <a:ext uri="{FF2B5EF4-FFF2-40B4-BE49-F238E27FC236}">
                    <a16:creationId xmlns:a16="http://schemas.microsoft.com/office/drawing/2014/main" id="{E794920D-EF13-43B6-932D-03889FA75F33}"/>
                  </a:ext>
                </a:extLst>
              </p:cNvPr>
              <p:cNvSpPr/>
              <p:nvPr/>
            </p:nvSpPr>
            <p:spPr>
              <a:xfrm>
                <a:off x="3366361" y="1326863"/>
                <a:ext cx="1264679" cy="1164051"/>
              </a:xfrm>
              <a:prstGeom prst="ellipse">
                <a:avLst/>
              </a:prstGeom>
              <a:solidFill>
                <a:schemeClr val="accent5">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1" dirty="0">
                  <a:solidFill>
                    <a:srgbClr val="FFFFFF"/>
                  </a:solidFill>
                  <a:latin typeface="CiscoSansTT" panose="020B0503020201020303" pitchFamily="34" charset="0"/>
                  <a:cs typeface="CiscoSansTT" panose="020B0503020201020303" pitchFamily="34" charset="0"/>
                </a:endParaRPr>
              </a:p>
            </p:txBody>
          </p:sp>
          <p:grpSp>
            <p:nvGrpSpPr>
              <p:cNvPr id="113" name="Group 112"/>
              <p:cNvGrpSpPr/>
              <p:nvPr/>
            </p:nvGrpSpPr>
            <p:grpSpPr>
              <a:xfrm>
                <a:off x="3589147" y="1524713"/>
                <a:ext cx="828675" cy="727076"/>
                <a:chOff x="533400" y="1249870"/>
                <a:chExt cx="828675" cy="727076"/>
              </a:xfrm>
            </p:grpSpPr>
            <p:sp>
              <p:nvSpPr>
                <p:cNvPr id="114" name="Freeform 5"/>
                <p:cNvSpPr>
                  <a:spLocks/>
                </p:cNvSpPr>
                <p:nvPr/>
              </p:nvSpPr>
              <p:spPr bwMode="auto">
                <a:xfrm>
                  <a:off x="871538" y="1551495"/>
                  <a:ext cx="152400" cy="201613"/>
                </a:xfrm>
                <a:custGeom>
                  <a:avLst/>
                  <a:gdLst>
                    <a:gd name="T0" fmla="*/ 58 w 78"/>
                    <a:gd name="T1" fmla="*/ 105 h 105"/>
                    <a:gd name="T2" fmla="*/ 20 w 78"/>
                    <a:gd name="T3" fmla="*/ 105 h 105"/>
                    <a:gd name="T4" fmla="*/ 0 w 78"/>
                    <a:gd name="T5" fmla="*/ 85 h 105"/>
                    <a:gd name="T6" fmla="*/ 0 w 78"/>
                    <a:gd name="T7" fmla="*/ 20 h 105"/>
                    <a:gd name="T8" fmla="*/ 20 w 78"/>
                    <a:gd name="T9" fmla="*/ 0 h 105"/>
                    <a:gd name="T10" fmla="*/ 58 w 78"/>
                    <a:gd name="T11" fmla="*/ 0 h 105"/>
                    <a:gd name="T12" fmla="*/ 78 w 78"/>
                    <a:gd name="T13" fmla="*/ 20 h 105"/>
                    <a:gd name="T14" fmla="*/ 78 w 78"/>
                    <a:gd name="T15" fmla="*/ 85 h 105"/>
                    <a:gd name="T16" fmla="*/ 58 w 78"/>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05">
                      <a:moveTo>
                        <a:pt x="58" y="105"/>
                      </a:moveTo>
                      <a:cubicBezTo>
                        <a:pt x="20" y="105"/>
                        <a:pt x="20" y="105"/>
                        <a:pt x="20" y="105"/>
                      </a:cubicBezTo>
                      <a:cubicBezTo>
                        <a:pt x="9" y="105"/>
                        <a:pt x="0" y="96"/>
                        <a:pt x="0" y="85"/>
                      </a:cubicBezTo>
                      <a:cubicBezTo>
                        <a:pt x="0" y="20"/>
                        <a:pt x="0" y="20"/>
                        <a:pt x="0" y="20"/>
                      </a:cubicBezTo>
                      <a:cubicBezTo>
                        <a:pt x="0" y="9"/>
                        <a:pt x="9" y="0"/>
                        <a:pt x="20" y="0"/>
                      </a:cubicBezTo>
                      <a:cubicBezTo>
                        <a:pt x="58" y="0"/>
                        <a:pt x="58" y="0"/>
                        <a:pt x="58" y="0"/>
                      </a:cubicBezTo>
                      <a:cubicBezTo>
                        <a:pt x="69" y="0"/>
                        <a:pt x="78" y="9"/>
                        <a:pt x="78" y="20"/>
                      </a:cubicBezTo>
                      <a:cubicBezTo>
                        <a:pt x="78" y="85"/>
                        <a:pt x="78" y="85"/>
                        <a:pt x="78" y="85"/>
                      </a:cubicBezTo>
                      <a:cubicBezTo>
                        <a:pt x="78" y="96"/>
                        <a:pt x="69" y="105"/>
                        <a:pt x="58" y="105"/>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15" name="Oval 6"/>
                <p:cNvSpPr>
                  <a:spLocks noChangeArrowheads="1"/>
                </p:cNvSpPr>
                <p:nvPr/>
              </p:nvSpPr>
              <p:spPr bwMode="auto">
                <a:xfrm>
                  <a:off x="903288" y="1422908"/>
                  <a:ext cx="92075" cy="90488"/>
                </a:xfrm>
                <a:prstGeom prst="ellipse">
                  <a:avLst/>
                </a:prstGeom>
                <a:solidFill>
                  <a:schemeClr val="accent5"/>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16" name="Freeform 7"/>
                <p:cNvSpPr>
                  <a:spLocks/>
                </p:cNvSpPr>
                <p:nvPr/>
              </p:nvSpPr>
              <p:spPr bwMode="auto">
                <a:xfrm>
                  <a:off x="712788" y="1249870"/>
                  <a:ext cx="106363" cy="100013"/>
                </a:xfrm>
                <a:custGeom>
                  <a:avLst/>
                  <a:gdLst>
                    <a:gd name="T0" fmla="*/ 47 w 54"/>
                    <a:gd name="T1" fmla="*/ 15 h 53"/>
                    <a:gd name="T2" fmla="*/ 39 w 54"/>
                    <a:gd name="T3" fmla="*/ 47 h 53"/>
                    <a:gd name="T4" fmla="*/ 7 w 54"/>
                    <a:gd name="T5" fmla="*/ 38 h 53"/>
                    <a:gd name="T6" fmla="*/ 15 w 54"/>
                    <a:gd name="T7" fmla="*/ 6 h 53"/>
                    <a:gd name="T8" fmla="*/ 47 w 54"/>
                    <a:gd name="T9" fmla="*/ 15 h 53"/>
                  </a:gdLst>
                  <a:ahLst/>
                  <a:cxnLst>
                    <a:cxn ang="0">
                      <a:pos x="T0" y="T1"/>
                    </a:cxn>
                    <a:cxn ang="0">
                      <a:pos x="T2" y="T3"/>
                    </a:cxn>
                    <a:cxn ang="0">
                      <a:pos x="T4" y="T5"/>
                    </a:cxn>
                    <a:cxn ang="0">
                      <a:pos x="T6" y="T7"/>
                    </a:cxn>
                    <a:cxn ang="0">
                      <a:pos x="T8" y="T9"/>
                    </a:cxn>
                  </a:cxnLst>
                  <a:rect l="0" t="0" r="r" b="b"/>
                  <a:pathLst>
                    <a:path w="54" h="53">
                      <a:moveTo>
                        <a:pt x="47" y="15"/>
                      </a:moveTo>
                      <a:cubicBezTo>
                        <a:pt x="54" y="26"/>
                        <a:pt x="50" y="40"/>
                        <a:pt x="39" y="47"/>
                      </a:cubicBezTo>
                      <a:cubicBezTo>
                        <a:pt x="27" y="53"/>
                        <a:pt x="13" y="50"/>
                        <a:pt x="7" y="38"/>
                      </a:cubicBezTo>
                      <a:cubicBezTo>
                        <a:pt x="0" y="27"/>
                        <a:pt x="4" y="13"/>
                        <a:pt x="15" y="6"/>
                      </a:cubicBezTo>
                      <a:cubicBezTo>
                        <a:pt x="26" y="0"/>
                        <a:pt x="41" y="3"/>
                        <a:pt x="47" y="15"/>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17" name="Freeform 8"/>
                <p:cNvSpPr>
                  <a:spLocks/>
                </p:cNvSpPr>
                <p:nvPr/>
              </p:nvSpPr>
              <p:spPr bwMode="auto">
                <a:xfrm>
                  <a:off x="793750" y="1359408"/>
                  <a:ext cx="42863" cy="44450"/>
                </a:xfrm>
                <a:custGeom>
                  <a:avLst/>
                  <a:gdLst>
                    <a:gd name="T0" fmla="*/ 16 w 22"/>
                    <a:gd name="T1" fmla="*/ 20 h 23"/>
                    <a:gd name="T2" fmla="*/ 2 w 22"/>
                    <a:gd name="T3" fmla="*/ 17 h 23"/>
                    <a:gd name="T4" fmla="*/ 6 w 22"/>
                    <a:gd name="T5" fmla="*/ 3 h 23"/>
                    <a:gd name="T6" fmla="*/ 19 w 22"/>
                    <a:gd name="T7" fmla="*/ 7 h 23"/>
                    <a:gd name="T8" fmla="*/ 19 w 22"/>
                    <a:gd name="T9" fmla="*/ 7 h 23"/>
                    <a:gd name="T10" fmla="*/ 1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16" y="20"/>
                      </a:moveTo>
                      <a:cubicBezTo>
                        <a:pt x="11" y="23"/>
                        <a:pt x="5" y="22"/>
                        <a:pt x="2" y="17"/>
                      </a:cubicBezTo>
                      <a:cubicBezTo>
                        <a:pt x="0" y="12"/>
                        <a:pt x="1" y="6"/>
                        <a:pt x="6" y="3"/>
                      </a:cubicBezTo>
                      <a:cubicBezTo>
                        <a:pt x="11" y="0"/>
                        <a:pt x="17" y="2"/>
                        <a:pt x="19" y="7"/>
                      </a:cubicBezTo>
                      <a:cubicBezTo>
                        <a:pt x="19" y="7"/>
                        <a:pt x="19" y="7"/>
                        <a:pt x="19" y="7"/>
                      </a:cubicBezTo>
                      <a:cubicBezTo>
                        <a:pt x="22" y="12"/>
                        <a:pt x="21" y="18"/>
                        <a:pt x="16" y="2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18" name="Freeform 9"/>
                <p:cNvSpPr>
                  <a:spLocks/>
                </p:cNvSpPr>
                <p:nvPr/>
              </p:nvSpPr>
              <p:spPr bwMode="auto">
                <a:xfrm>
                  <a:off x="822325" y="1411795"/>
                  <a:ext cx="46038" cy="44450"/>
                </a:xfrm>
                <a:custGeom>
                  <a:avLst/>
                  <a:gdLst>
                    <a:gd name="T0" fmla="*/ 16 w 23"/>
                    <a:gd name="T1" fmla="*/ 20 h 23"/>
                    <a:gd name="T2" fmla="*/ 3 w 23"/>
                    <a:gd name="T3" fmla="*/ 16 h 23"/>
                    <a:gd name="T4" fmla="*/ 2 w 23"/>
                    <a:gd name="T5" fmla="*/ 16 h 23"/>
                    <a:gd name="T6" fmla="*/ 6 w 23"/>
                    <a:gd name="T7" fmla="*/ 2 h 23"/>
                    <a:gd name="T8" fmla="*/ 20 w 23"/>
                    <a:gd name="T9" fmla="*/ 6 h 23"/>
                    <a:gd name="T10" fmla="*/ 20 w 23"/>
                    <a:gd name="T11" fmla="*/ 6 h 23"/>
                    <a:gd name="T12" fmla="*/ 16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20"/>
                      </a:moveTo>
                      <a:cubicBezTo>
                        <a:pt x="11" y="23"/>
                        <a:pt x="5" y="21"/>
                        <a:pt x="3" y="16"/>
                      </a:cubicBezTo>
                      <a:cubicBezTo>
                        <a:pt x="2" y="16"/>
                        <a:pt x="2" y="16"/>
                        <a:pt x="2" y="16"/>
                      </a:cubicBezTo>
                      <a:cubicBezTo>
                        <a:pt x="0" y="11"/>
                        <a:pt x="1" y="5"/>
                        <a:pt x="6" y="2"/>
                      </a:cubicBezTo>
                      <a:cubicBezTo>
                        <a:pt x="11" y="0"/>
                        <a:pt x="17" y="1"/>
                        <a:pt x="20" y="6"/>
                      </a:cubicBezTo>
                      <a:cubicBezTo>
                        <a:pt x="20" y="6"/>
                        <a:pt x="20" y="6"/>
                        <a:pt x="20" y="6"/>
                      </a:cubicBezTo>
                      <a:cubicBezTo>
                        <a:pt x="23" y="11"/>
                        <a:pt x="21" y="17"/>
                        <a:pt x="16" y="2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19" name="Freeform 10"/>
                <p:cNvSpPr>
                  <a:spLocks/>
                </p:cNvSpPr>
                <p:nvPr/>
              </p:nvSpPr>
              <p:spPr bwMode="auto">
                <a:xfrm>
                  <a:off x="1076325" y="1873758"/>
                  <a:ext cx="106363" cy="103188"/>
                </a:xfrm>
                <a:custGeom>
                  <a:avLst/>
                  <a:gdLst>
                    <a:gd name="T0" fmla="*/ 7 w 54"/>
                    <a:gd name="T1" fmla="*/ 39 h 54"/>
                    <a:gd name="T2" fmla="*/ 15 w 54"/>
                    <a:gd name="T3" fmla="*/ 7 h 54"/>
                    <a:gd name="T4" fmla="*/ 48 w 54"/>
                    <a:gd name="T5" fmla="*/ 15 h 54"/>
                    <a:gd name="T6" fmla="*/ 39 w 54"/>
                    <a:gd name="T7" fmla="*/ 48 h 54"/>
                    <a:gd name="T8" fmla="*/ 7 w 54"/>
                    <a:gd name="T9" fmla="*/ 39 h 54"/>
                  </a:gdLst>
                  <a:ahLst/>
                  <a:cxnLst>
                    <a:cxn ang="0">
                      <a:pos x="T0" y="T1"/>
                    </a:cxn>
                    <a:cxn ang="0">
                      <a:pos x="T2" y="T3"/>
                    </a:cxn>
                    <a:cxn ang="0">
                      <a:pos x="T4" y="T5"/>
                    </a:cxn>
                    <a:cxn ang="0">
                      <a:pos x="T6" y="T7"/>
                    </a:cxn>
                    <a:cxn ang="0">
                      <a:pos x="T8" y="T9"/>
                    </a:cxn>
                  </a:cxnLst>
                  <a:rect l="0" t="0" r="r" b="b"/>
                  <a:pathLst>
                    <a:path w="54" h="54">
                      <a:moveTo>
                        <a:pt x="7" y="39"/>
                      </a:moveTo>
                      <a:cubicBezTo>
                        <a:pt x="0" y="28"/>
                        <a:pt x="4" y="13"/>
                        <a:pt x="15" y="7"/>
                      </a:cubicBezTo>
                      <a:cubicBezTo>
                        <a:pt x="27" y="0"/>
                        <a:pt x="41" y="4"/>
                        <a:pt x="48" y="15"/>
                      </a:cubicBezTo>
                      <a:cubicBezTo>
                        <a:pt x="54" y="27"/>
                        <a:pt x="50" y="41"/>
                        <a:pt x="39" y="48"/>
                      </a:cubicBezTo>
                      <a:cubicBezTo>
                        <a:pt x="28" y="54"/>
                        <a:pt x="13" y="50"/>
                        <a:pt x="7" y="39"/>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0" name="Freeform 11"/>
                <p:cNvSpPr>
                  <a:spLocks/>
                </p:cNvSpPr>
                <p:nvPr/>
              </p:nvSpPr>
              <p:spPr bwMode="auto">
                <a:xfrm>
                  <a:off x="1058863" y="1821370"/>
                  <a:ext cx="44450" cy="42863"/>
                </a:xfrm>
                <a:custGeom>
                  <a:avLst/>
                  <a:gdLst>
                    <a:gd name="T0" fmla="*/ 6 w 23"/>
                    <a:gd name="T1" fmla="*/ 2 h 22"/>
                    <a:gd name="T2" fmla="*/ 20 w 23"/>
                    <a:gd name="T3" fmla="*/ 6 h 22"/>
                    <a:gd name="T4" fmla="*/ 16 w 23"/>
                    <a:gd name="T5" fmla="*/ 20 h 22"/>
                    <a:gd name="T6" fmla="*/ 3 w 23"/>
                    <a:gd name="T7" fmla="*/ 16 h 22"/>
                    <a:gd name="T8" fmla="*/ 3 w 23"/>
                    <a:gd name="T9" fmla="*/ 16 h 22"/>
                    <a:gd name="T10" fmla="*/ 6 w 23"/>
                    <a:gd name="T11" fmla="*/ 2 h 22"/>
                  </a:gdLst>
                  <a:ahLst/>
                  <a:cxnLst>
                    <a:cxn ang="0">
                      <a:pos x="T0" y="T1"/>
                    </a:cxn>
                    <a:cxn ang="0">
                      <a:pos x="T2" y="T3"/>
                    </a:cxn>
                    <a:cxn ang="0">
                      <a:pos x="T4" y="T5"/>
                    </a:cxn>
                    <a:cxn ang="0">
                      <a:pos x="T6" y="T7"/>
                    </a:cxn>
                    <a:cxn ang="0">
                      <a:pos x="T8" y="T9"/>
                    </a:cxn>
                    <a:cxn ang="0">
                      <a:pos x="T10" y="T11"/>
                    </a:cxn>
                  </a:cxnLst>
                  <a:rect l="0" t="0" r="r" b="b"/>
                  <a:pathLst>
                    <a:path w="23" h="22">
                      <a:moveTo>
                        <a:pt x="6" y="2"/>
                      </a:moveTo>
                      <a:cubicBezTo>
                        <a:pt x="11" y="0"/>
                        <a:pt x="17" y="1"/>
                        <a:pt x="20" y="6"/>
                      </a:cubicBezTo>
                      <a:cubicBezTo>
                        <a:pt x="23" y="11"/>
                        <a:pt x="21" y="17"/>
                        <a:pt x="16" y="20"/>
                      </a:cubicBezTo>
                      <a:cubicBezTo>
                        <a:pt x="12" y="22"/>
                        <a:pt x="6" y="21"/>
                        <a:pt x="3" y="16"/>
                      </a:cubicBezTo>
                      <a:cubicBezTo>
                        <a:pt x="3" y="16"/>
                        <a:pt x="3" y="16"/>
                        <a:pt x="3" y="16"/>
                      </a:cubicBezTo>
                      <a:cubicBezTo>
                        <a:pt x="0" y="11"/>
                        <a:pt x="2" y="5"/>
                        <a:pt x="6" y="2"/>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1" name="Freeform 12"/>
                <p:cNvSpPr>
                  <a:spLocks/>
                </p:cNvSpPr>
                <p:nvPr/>
              </p:nvSpPr>
              <p:spPr bwMode="auto">
                <a:xfrm>
                  <a:off x="1030288" y="1768983"/>
                  <a:ext cx="42863" cy="44450"/>
                </a:xfrm>
                <a:custGeom>
                  <a:avLst/>
                  <a:gdLst>
                    <a:gd name="T0" fmla="*/ 6 w 22"/>
                    <a:gd name="T1" fmla="*/ 3 h 23"/>
                    <a:gd name="T2" fmla="*/ 20 w 22"/>
                    <a:gd name="T3" fmla="*/ 7 h 23"/>
                    <a:gd name="T4" fmla="*/ 20 w 22"/>
                    <a:gd name="T5" fmla="*/ 7 h 23"/>
                    <a:gd name="T6" fmla="*/ 16 w 22"/>
                    <a:gd name="T7" fmla="*/ 20 h 23"/>
                    <a:gd name="T8" fmla="*/ 3 w 22"/>
                    <a:gd name="T9" fmla="*/ 17 h 23"/>
                    <a:gd name="T10" fmla="*/ 2 w 22"/>
                    <a:gd name="T11" fmla="*/ 16 h 23"/>
                    <a:gd name="T12" fmla="*/ 6 w 22"/>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6" y="3"/>
                      </a:moveTo>
                      <a:cubicBezTo>
                        <a:pt x="11" y="0"/>
                        <a:pt x="17" y="2"/>
                        <a:pt x="20" y="7"/>
                      </a:cubicBezTo>
                      <a:cubicBezTo>
                        <a:pt x="20" y="7"/>
                        <a:pt x="20" y="7"/>
                        <a:pt x="20" y="7"/>
                      </a:cubicBezTo>
                      <a:cubicBezTo>
                        <a:pt x="22" y="12"/>
                        <a:pt x="21" y="18"/>
                        <a:pt x="16" y="20"/>
                      </a:cubicBezTo>
                      <a:cubicBezTo>
                        <a:pt x="11" y="23"/>
                        <a:pt x="5" y="21"/>
                        <a:pt x="3" y="17"/>
                      </a:cubicBezTo>
                      <a:cubicBezTo>
                        <a:pt x="2" y="16"/>
                        <a:pt x="2" y="16"/>
                        <a:pt x="2" y="16"/>
                      </a:cubicBezTo>
                      <a:cubicBezTo>
                        <a:pt x="0" y="12"/>
                        <a:pt x="1" y="6"/>
                        <a:pt x="6" y="3"/>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2" name="Oval 13"/>
                <p:cNvSpPr>
                  <a:spLocks noChangeArrowheads="1"/>
                </p:cNvSpPr>
                <p:nvPr/>
              </p:nvSpPr>
              <p:spPr bwMode="auto">
                <a:xfrm>
                  <a:off x="533400" y="1564195"/>
                  <a:ext cx="93663" cy="90488"/>
                </a:xfrm>
                <a:prstGeom prst="ellipse">
                  <a:avLst/>
                </a:prstGeom>
                <a:solidFill>
                  <a:schemeClr val="accent5"/>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3" name="Freeform 14"/>
                <p:cNvSpPr>
                  <a:spLocks/>
                </p:cNvSpPr>
                <p:nvPr/>
              </p:nvSpPr>
              <p:spPr bwMode="auto">
                <a:xfrm>
                  <a:off x="658813" y="1591183"/>
                  <a:ext cx="39688" cy="38100"/>
                </a:xfrm>
                <a:custGeom>
                  <a:avLst/>
                  <a:gdLst>
                    <a:gd name="T0" fmla="*/ 20 w 20"/>
                    <a:gd name="T1" fmla="*/ 10 h 20"/>
                    <a:gd name="T2" fmla="*/ 10 w 20"/>
                    <a:gd name="T3" fmla="*/ 20 h 20"/>
                    <a:gd name="T4" fmla="*/ 0 w 20"/>
                    <a:gd name="T5" fmla="*/ 10 h 20"/>
                    <a:gd name="T6" fmla="*/ 10 w 20"/>
                    <a:gd name="T7" fmla="*/ 0 h 20"/>
                    <a:gd name="T8" fmla="*/ 10 w 20"/>
                    <a:gd name="T9" fmla="*/ 0 h 20"/>
                    <a:gd name="T10" fmla="*/ 2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20" y="10"/>
                      </a:moveTo>
                      <a:cubicBezTo>
                        <a:pt x="20" y="15"/>
                        <a:pt x="15" y="20"/>
                        <a:pt x="10" y="20"/>
                      </a:cubicBezTo>
                      <a:cubicBezTo>
                        <a:pt x="5" y="20"/>
                        <a:pt x="0" y="15"/>
                        <a:pt x="0" y="10"/>
                      </a:cubicBezTo>
                      <a:cubicBezTo>
                        <a:pt x="0" y="4"/>
                        <a:pt x="4" y="0"/>
                        <a:pt x="10" y="0"/>
                      </a:cubicBezTo>
                      <a:cubicBezTo>
                        <a:pt x="10" y="0"/>
                        <a:pt x="10" y="0"/>
                        <a:pt x="10" y="0"/>
                      </a:cubicBezTo>
                      <a:cubicBezTo>
                        <a:pt x="15" y="0"/>
                        <a:pt x="20" y="4"/>
                        <a:pt x="20" y="1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4" name="Freeform 15"/>
                <p:cNvSpPr>
                  <a:spLocks/>
                </p:cNvSpPr>
                <p:nvPr/>
              </p:nvSpPr>
              <p:spPr bwMode="auto">
                <a:xfrm>
                  <a:off x="717550" y="1591183"/>
                  <a:ext cx="38100" cy="38100"/>
                </a:xfrm>
                <a:custGeom>
                  <a:avLst/>
                  <a:gdLst>
                    <a:gd name="T0" fmla="*/ 20 w 20"/>
                    <a:gd name="T1" fmla="*/ 10 h 20"/>
                    <a:gd name="T2" fmla="*/ 11 w 20"/>
                    <a:gd name="T3" fmla="*/ 20 h 20"/>
                    <a:gd name="T4" fmla="*/ 10 w 20"/>
                    <a:gd name="T5" fmla="*/ 20 h 20"/>
                    <a:gd name="T6" fmla="*/ 0 w 20"/>
                    <a:gd name="T7" fmla="*/ 10 h 20"/>
                    <a:gd name="T8" fmla="*/ 10 w 20"/>
                    <a:gd name="T9" fmla="*/ 0 h 20"/>
                    <a:gd name="T10" fmla="*/ 11 w 20"/>
                    <a:gd name="T11" fmla="*/ 0 h 20"/>
                    <a:gd name="T12" fmla="*/ 2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10"/>
                      </a:moveTo>
                      <a:cubicBezTo>
                        <a:pt x="20" y="15"/>
                        <a:pt x="16" y="20"/>
                        <a:pt x="11" y="20"/>
                      </a:cubicBezTo>
                      <a:cubicBezTo>
                        <a:pt x="10" y="20"/>
                        <a:pt x="10" y="20"/>
                        <a:pt x="10" y="20"/>
                      </a:cubicBezTo>
                      <a:cubicBezTo>
                        <a:pt x="5" y="20"/>
                        <a:pt x="0" y="15"/>
                        <a:pt x="0" y="10"/>
                      </a:cubicBezTo>
                      <a:cubicBezTo>
                        <a:pt x="0" y="4"/>
                        <a:pt x="5" y="0"/>
                        <a:pt x="10" y="0"/>
                      </a:cubicBezTo>
                      <a:cubicBezTo>
                        <a:pt x="11" y="0"/>
                        <a:pt x="11" y="0"/>
                        <a:pt x="11" y="0"/>
                      </a:cubicBezTo>
                      <a:cubicBezTo>
                        <a:pt x="16" y="0"/>
                        <a:pt x="20" y="4"/>
                        <a:pt x="20" y="1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5" name="Oval 16"/>
                <p:cNvSpPr>
                  <a:spLocks noChangeArrowheads="1"/>
                </p:cNvSpPr>
                <p:nvPr/>
              </p:nvSpPr>
              <p:spPr bwMode="auto">
                <a:xfrm>
                  <a:off x="1270000" y="1568958"/>
                  <a:ext cx="92075" cy="90488"/>
                </a:xfrm>
                <a:prstGeom prst="ellipse">
                  <a:avLst/>
                </a:prstGeom>
                <a:solidFill>
                  <a:schemeClr val="accent5"/>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6" name="Freeform 17"/>
                <p:cNvSpPr>
                  <a:spLocks/>
                </p:cNvSpPr>
                <p:nvPr/>
              </p:nvSpPr>
              <p:spPr bwMode="auto">
                <a:xfrm>
                  <a:off x="1198563" y="1595945"/>
                  <a:ext cx="38100" cy="38100"/>
                </a:xfrm>
                <a:custGeom>
                  <a:avLst/>
                  <a:gdLst>
                    <a:gd name="T0" fmla="*/ 0 w 20"/>
                    <a:gd name="T1" fmla="*/ 10 h 20"/>
                    <a:gd name="T2" fmla="*/ 10 w 20"/>
                    <a:gd name="T3" fmla="*/ 0 h 20"/>
                    <a:gd name="T4" fmla="*/ 20 w 20"/>
                    <a:gd name="T5" fmla="*/ 10 h 20"/>
                    <a:gd name="T6" fmla="*/ 10 w 20"/>
                    <a:gd name="T7" fmla="*/ 20 h 20"/>
                    <a:gd name="T8" fmla="*/ 10 w 20"/>
                    <a:gd name="T9" fmla="*/ 20 h 20"/>
                    <a:gd name="T10" fmla="*/ 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0" y="10"/>
                      </a:moveTo>
                      <a:cubicBezTo>
                        <a:pt x="0" y="4"/>
                        <a:pt x="5" y="0"/>
                        <a:pt x="10" y="0"/>
                      </a:cubicBezTo>
                      <a:cubicBezTo>
                        <a:pt x="16" y="0"/>
                        <a:pt x="20" y="4"/>
                        <a:pt x="20" y="10"/>
                      </a:cubicBezTo>
                      <a:cubicBezTo>
                        <a:pt x="20" y="15"/>
                        <a:pt x="16" y="20"/>
                        <a:pt x="10" y="20"/>
                      </a:cubicBezTo>
                      <a:cubicBezTo>
                        <a:pt x="10" y="20"/>
                        <a:pt x="10" y="20"/>
                        <a:pt x="10" y="20"/>
                      </a:cubicBezTo>
                      <a:cubicBezTo>
                        <a:pt x="5" y="20"/>
                        <a:pt x="0" y="15"/>
                        <a:pt x="0" y="1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7" name="Freeform 18"/>
                <p:cNvSpPr>
                  <a:spLocks/>
                </p:cNvSpPr>
                <p:nvPr/>
              </p:nvSpPr>
              <p:spPr bwMode="auto">
                <a:xfrm>
                  <a:off x="1139825" y="1595945"/>
                  <a:ext cx="38100" cy="38100"/>
                </a:xfrm>
                <a:custGeom>
                  <a:avLst/>
                  <a:gdLst>
                    <a:gd name="T0" fmla="*/ 0 w 20"/>
                    <a:gd name="T1" fmla="*/ 10 h 20"/>
                    <a:gd name="T2" fmla="*/ 10 w 20"/>
                    <a:gd name="T3" fmla="*/ 0 h 20"/>
                    <a:gd name="T4" fmla="*/ 10 w 20"/>
                    <a:gd name="T5" fmla="*/ 0 h 20"/>
                    <a:gd name="T6" fmla="*/ 20 w 20"/>
                    <a:gd name="T7" fmla="*/ 10 h 20"/>
                    <a:gd name="T8" fmla="*/ 10 w 20"/>
                    <a:gd name="T9" fmla="*/ 20 h 20"/>
                    <a:gd name="T10" fmla="*/ 10 w 20"/>
                    <a:gd name="T11" fmla="*/ 20 h 20"/>
                    <a:gd name="T12" fmla="*/ 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0" y="10"/>
                      </a:moveTo>
                      <a:cubicBezTo>
                        <a:pt x="0" y="4"/>
                        <a:pt x="4" y="0"/>
                        <a:pt x="10" y="0"/>
                      </a:cubicBezTo>
                      <a:cubicBezTo>
                        <a:pt x="10" y="0"/>
                        <a:pt x="10" y="0"/>
                        <a:pt x="10" y="0"/>
                      </a:cubicBezTo>
                      <a:cubicBezTo>
                        <a:pt x="15" y="0"/>
                        <a:pt x="20" y="4"/>
                        <a:pt x="20" y="10"/>
                      </a:cubicBezTo>
                      <a:cubicBezTo>
                        <a:pt x="20" y="15"/>
                        <a:pt x="15" y="20"/>
                        <a:pt x="10" y="20"/>
                      </a:cubicBezTo>
                      <a:cubicBezTo>
                        <a:pt x="10" y="20"/>
                        <a:pt x="10" y="20"/>
                        <a:pt x="10" y="20"/>
                      </a:cubicBezTo>
                      <a:cubicBezTo>
                        <a:pt x="4" y="20"/>
                        <a:pt x="0" y="15"/>
                        <a:pt x="0" y="1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8" name="Freeform 19"/>
                <p:cNvSpPr>
                  <a:spLocks/>
                </p:cNvSpPr>
                <p:nvPr/>
              </p:nvSpPr>
              <p:spPr bwMode="auto">
                <a:xfrm>
                  <a:off x="709613" y="1870583"/>
                  <a:ext cx="104775" cy="103188"/>
                </a:xfrm>
                <a:custGeom>
                  <a:avLst/>
                  <a:gdLst>
                    <a:gd name="T0" fmla="*/ 7 w 54"/>
                    <a:gd name="T1" fmla="*/ 15 h 54"/>
                    <a:gd name="T2" fmla="*/ 39 w 54"/>
                    <a:gd name="T3" fmla="*/ 7 h 54"/>
                    <a:gd name="T4" fmla="*/ 48 w 54"/>
                    <a:gd name="T5" fmla="*/ 39 h 54"/>
                    <a:gd name="T6" fmla="*/ 15 w 54"/>
                    <a:gd name="T7" fmla="*/ 48 h 54"/>
                    <a:gd name="T8" fmla="*/ 7 w 54"/>
                    <a:gd name="T9" fmla="*/ 15 h 54"/>
                  </a:gdLst>
                  <a:ahLst/>
                  <a:cxnLst>
                    <a:cxn ang="0">
                      <a:pos x="T0" y="T1"/>
                    </a:cxn>
                    <a:cxn ang="0">
                      <a:pos x="T2" y="T3"/>
                    </a:cxn>
                    <a:cxn ang="0">
                      <a:pos x="T4" y="T5"/>
                    </a:cxn>
                    <a:cxn ang="0">
                      <a:pos x="T6" y="T7"/>
                    </a:cxn>
                    <a:cxn ang="0">
                      <a:pos x="T8" y="T9"/>
                    </a:cxn>
                  </a:cxnLst>
                  <a:rect l="0" t="0" r="r" b="b"/>
                  <a:pathLst>
                    <a:path w="54" h="54">
                      <a:moveTo>
                        <a:pt x="7" y="15"/>
                      </a:moveTo>
                      <a:cubicBezTo>
                        <a:pt x="13" y="4"/>
                        <a:pt x="28" y="0"/>
                        <a:pt x="39" y="7"/>
                      </a:cubicBezTo>
                      <a:cubicBezTo>
                        <a:pt x="50" y="13"/>
                        <a:pt x="54" y="28"/>
                        <a:pt x="48" y="39"/>
                      </a:cubicBezTo>
                      <a:cubicBezTo>
                        <a:pt x="41" y="50"/>
                        <a:pt x="27" y="54"/>
                        <a:pt x="15" y="48"/>
                      </a:cubicBezTo>
                      <a:cubicBezTo>
                        <a:pt x="4" y="41"/>
                        <a:pt x="0" y="27"/>
                        <a:pt x="7" y="1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29" name="Freeform 20"/>
                <p:cNvSpPr>
                  <a:spLocks/>
                </p:cNvSpPr>
                <p:nvPr/>
              </p:nvSpPr>
              <p:spPr bwMode="auto">
                <a:xfrm>
                  <a:off x="788988" y="1819783"/>
                  <a:ext cx="42863" cy="41275"/>
                </a:xfrm>
                <a:custGeom>
                  <a:avLst/>
                  <a:gdLst>
                    <a:gd name="T0" fmla="*/ 16 w 22"/>
                    <a:gd name="T1" fmla="*/ 2 h 22"/>
                    <a:gd name="T2" fmla="*/ 20 w 22"/>
                    <a:gd name="T3" fmla="*/ 16 h 22"/>
                    <a:gd name="T4" fmla="*/ 6 w 22"/>
                    <a:gd name="T5" fmla="*/ 20 h 22"/>
                    <a:gd name="T6" fmla="*/ 3 w 22"/>
                    <a:gd name="T7" fmla="*/ 6 h 22"/>
                    <a:gd name="T8" fmla="*/ 3 w 22"/>
                    <a:gd name="T9" fmla="*/ 6 h 22"/>
                    <a:gd name="T10" fmla="*/ 16 w 22"/>
                    <a:gd name="T11" fmla="*/ 2 h 22"/>
                  </a:gdLst>
                  <a:ahLst/>
                  <a:cxnLst>
                    <a:cxn ang="0">
                      <a:pos x="T0" y="T1"/>
                    </a:cxn>
                    <a:cxn ang="0">
                      <a:pos x="T2" y="T3"/>
                    </a:cxn>
                    <a:cxn ang="0">
                      <a:pos x="T4" y="T5"/>
                    </a:cxn>
                    <a:cxn ang="0">
                      <a:pos x="T6" y="T7"/>
                    </a:cxn>
                    <a:cxn ang="0">
                      <a:pos x="T8" y="T9"/>
                    </a:cxn>
                    <a:cxn ang="0">
                      <a:pos x="T10" y="T11"/>
                    </a:cxn>
                  </a:cxnLst>
                  <a:rect l="0" t="0" r="r" b="b"/>
                  <a:pathLst>
                    <a:path w="22" h="22">
                      <a:moveTo>
                        <a:pt x="16" y="2"/>
                      </a:moveTo>
                      <a:cubicBezTo>
                        <a:pt x="21" y="5"/>
                        <a:pt x="22" y="11"/>
                        <a:pt x="20" y="16"/>
                      </a:cubicBezTo>
                      <a:cubicBezTo>
                        <a:pt x="17" y="21"/>
                        <a:pt x="11" y="22"/>
                        <a:pt x="6" y="20"/>
                      </a:cubicBezTo>
                      <a:cubicBezTo>
                        <a:pt x="1" y="17"/>
                        <a:pt x="0" y="11"/>
                        <a:pt x="3" y="6"/>
                      </a:cubicBezTo>
                      <a:cubicBezTo>
                        <a:pt x="3" y="6"/>
                        <a:pt x="3" y="6"/>
                        <a:pt x="3" y="6"/>
                      </a:cubicBezTo>
                      <a:cubicBezTo>
                        <a:pt x="5" y="1"/>
                        <a:pt x="11" y="0"/>
                        <a:pt x="16" y="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30" name="Freeform 21"/>
                <p:cNvSpPr>
                  <a:spLocks/>
                </p:cNvSpPr>
                <p:nvPr/>
              </p:nvSpPr>
              <p:spPr bwMode="auto">
                <a:xfrm>
                  <a:off x="819150" y="1767395"/>
                  <a:ext cx="44450" cy="44450"/>
                </a:xfrm>
                <a:custGeom>
                  <a:avLst/>
                  <a:gdLst>
                    <a:gd name="T0" fmla="*/ 16 w 23"/>
                    <a:gd name="T1" fmla="*/ 3 h 23"/>
                    <a:gd name="T2" fmla="*/ 20 w 23"/>
                    <a:gd name="T3" fmla="*/ 16 h 23"/>
                    <a:gd name="T4" fmla="*/ 20 w 23"/>
                    <a:gd name="T5" fmla="*/ 17 h 23"/>
                    <a:gd name="T6" fmla="*/ 6 w 23"/>
                    <a:gd name="T7" fmla="*/ 20 h 23"/>
                    <a:gd name="T8" fmla="*/ 3 w 23"/>
                    <a:gd name="T9" fmla="*/ 7 h 23"/>
                    <a:gd name="T10" fmla="*/ 3 w 23"/>
                    <a:gd name="T11" fmla="*/ 7 h 23"/>
                    <a:gd name="T12" fmla="*/ 16 w 23"/>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3"/>
                      </a:moveTo>
                      <a:cubicBezTo>
                        <a:pt x="21" y="6"/>
                        <a:pt x="23" y="12"/>
                        <a:pt x="20" y="16"/>
                      </a:cubicBezTo>
                      <a:cubicBezTo>
                        <a:pt x="20" y="17"/>
                        <a:pt x="20" y="17"/>
                        <a:pt x="20" y="17"/>
                      </a:cubicBezTo>
                      <a:cubicBezTo>
                        <a:pt x="17" y="21"/>
                        <a:pt x="11" y="23"/>
                        <a:pt x="6" y="20"/>
                      </a:cubicBezTo>
                      <a:cubicBezTo>
                        <a:pt x="2" y="18"/>
                        <a:pt x="0" y="12"/>
                        <a:pt x="3" y="7"/>
                      </a:cubicBezTo>
                      <a:cubicBezTo>
                        <a:pt x="3" y="7"/>
                        <a:pt x="3" y="7"/>
                        <a:pt x="3" y="7"/>
                      </a:cubicBezTo>
                      <a:cubicBezTo>
                        <a:pt x="6" y="2"/>
                        <a:pt x="12" y="0"/>
                        <a:pt x="16" y="3"/>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31" name="Freeform 22"/>
                <p:cNvSpPr>
                  <a:spLocks/>
                </p:cNvSpPr>
                <p:nvPr/>
              </p:nvSpPr>
              <p:spPr bwMode="auto">
                <a:xfrm>
                  <a:off x="1081088" y="1251458"/>
                  <a:ext cx="104775" cy="101600"/>
                </a:xfrm>
                <a:custGeom>
                  <a:avLst/>
                  <a:gdLst>
                    <a:gd name="T0" fmla="*/ 47 w 54"/>
                    <a:gd name="T1" fmla="*/ 38 h 53"/>
                    <a:gd name="T2" fmla="*/ 15 w 54"/>
                    <a:gd name="T3" fmla="*/ 47 h 53"/>
                    <a:gd name="T4" fmla="*/ 7 w 54"/>
                    <a:gd name="T5" fmla="*/ 15 h 53"/>
                    <a:gd name="T6" fmla="*/ 39 w 54"/>
                    <a:gd name="T7" fmla="*/ 6 h 53"/>
                    <a:gd name="T8" fmla="*/ 47 w 54"/>
                    <a:gd name="T9" fmla="*/ 38 h 53"/>
                  </a:gdLst>
                  <a:ahLst/>
                  <a:cxnLst>
                    <a:cxn ang="0">
                      <a:pos x="T0" y="T1"/>
                    </a:cxn>
                    <a:cxn ang="0">
                      <a:pos x="T2" y="T3"/>
                    </a:cxn>
                    <a:cxn ang="0">
                      <a:pos x="T4" y="T5"/>
                    </a:cxn>
                    <a:cxn ang="0">
                      <a:pos x="T6" y="T7"/>
                    </a:cxn>
                    <a:cxn ang="0">
                      <a:pos x="T8" y="T9"/>
                    </a:cxn>
                  </a:cxnLst>
                  <a:rect l="0" t="0" r="r" b="b"/>
                  <a:pathLst>
                    <a:path w="54" h="53">
                      <a:moveTo>
                        <a:pt x="47" y="38"/>
                      </a:moveTo>
                      <a:cubicBezTo>
                        <a:pt x="41" y="50"/>
                        <a:pt x="26" y="53"/>
                        <a:pt x="15" y="47"/>
                      </a:cubicBezTo>
                      <a:cubicBezTo>
                        <a:pt x="4" y="40"/>
                        <a:pt x="0" y="26"/>
                        <a:pt x="7" y="15"/>
                      </a:cubicBezTo>
                      <a:cubicBezTo>
                        <a:pt x="13" y="3"/>
                        <a:pt x="27" y="0"/>
                        <a:pt x="39" y="6"/>
                      </a:cubicBezTo>
                      <a:cubicBezTo>
                        <a:pt x="50" y="13"/>
                        <a:pt x="54" y="27"/>
                        <a:pt x="47" y="3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32" name="Freeform 23"/>
                <p:cNvSpPr>
                  <a:spLocks/>
                </p:cNvSpPr>
                <p:nvPr/>
              </p:nvSpPr>
              <p:spPr bwMode="auto">
                <a:xfrm>
                  <a:off x="1063625" y="1362583"/>
                  <a:ext cx="42863" cy="42863"/>
                </a:xfrm>
                <a:custGeom>
                  <a:avLst/>
                  <a:gdLst>
                    <a:gd name="T0" fmla="*/ 6 w 22"/>
                    <a:gd name="T1" fmla="*/ 20 h 23"/>
                    <a:gd name="T2" fmla="*/ 2 w 22"/>
                    <a:gd name="T3" fmla="*/ 7 h 23"/>
                    <a:gd name="T4" fmla="*/ 16 w 22"/>
                    <a:gd name="T5" fmla="*/ 3 h 23"/>
                    <a:gd name="T6" fmla="*/ 20 w 22"/>
                    <a:gd name="T7" fmla="*/ 17 h 23"/>
                    <a:gd name="T8" fmla="*/ 20 w 22"/>
                    <a:gd name="T9" fmla="*/ 17 h 23"/>
                    <a:gd name="T10" fmla="*/ 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6" y="20"/>
                      </a:moveTo>
                      <a:cubicBezTo>
                        <a:pt x="1" y="18"/>
                        <a:pt x="0" y="12"/>
                        <a:pt x="2" y="7"/>
                      </a:cubicBezTo>
                      <a:cubicBezTo>
                        <a:pt x="5" y="2"/>
                        <a:pt x="11" y="0"/>
                        <a:pt x="16" y="3"/>
                      </a:cubicBezTo>
                      <a:cubicBezTo>
                        <a:pt x="21" y="6"/>
                        <a:pt x="22" y="12"/>
                        <a:pt x="20" y="17"/>
                      </a:cubicBezTo>
                      <a:cubicBezTo>
                        <a:pt x="20" y="17"/>
                        <a:pt x="20" y="17"/>
                        <a:pt x="20" y="17"/>
                      </a:cubicBezTo>
                      <a:cubicBezTo>
                        <a:pt x="17" y="22"/>
                        <a:pt x="11" y="23"/>
                        <a:pt x="6" y="2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sp>
              <p:nvSpPr>
                <p:cNvPr id="133" name="Freeform 24"/>
                <p:cNvSpPr>
                  <a:spLocks/>
                </p:cNvSpPr>
                <p:nvPr/>
              </p:nvSpPr>
              <p:spPr bwMode="auto">
                <a:xfrm>
                  <a:off x="1031875" y="1413383"/>
                  <a:ext cx="44450" cy="44450"/>
                </a:xfrm>
                <a:custGeom>
                  <a:avLst/>
                  <a:gdLst>
                    <a:gd name="T0" fmla="*/ 7 w 23"/>
                    <a:gd name="T1" fmla="*/ 20 h 23"/>
                    <a:gd name="T2" fmla="*/ 3 w 23"/>
                    <a:gd name="T3" fmla="*/ 6 h 23"/>
                    <a:gd name="T4" fmla="*/ 3 w 23"/>
                    <a:gd name="T5" fmla="*/ 6 h 23"/>
                    <a:gd name="T6" fmla="*/ 17 w 23"/>
                    <a:gd name="T7" fmla="*/ 2 h 23"/>
                    <a:gd name="T8" fmla="*/ 20 w 23"/>
                    <a:gd name="T9" fmla="*/ 16 h 23"/>
                    <a:gd name="T10" fmla="*/ 20 w 23"/>
                    <a:gd name="T11" fmla="*/ 16 h 23"/>
                    <a:gd name="T12" fmla="*/ 7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7" y="20"/>
                      </a:moveTo>
                      <a:cubicBezTo>
                        <a:pt x="2" y="17"/>
                        <a:pt x="0" y="11"/>
                        <a:pt x="3" y="6"/>
                      </a:cubicBezTo>
                      <a:cubicBezTo>
                        <a:pt x="3" y="6"/>
                        <a:pt x="3" y="6"/>
                        <a:pt x="3" y="6"/>
                      </a:cubicBezTo>
                      <a:cubicBezTo>
                        <a:pt x="6" y="1"/>
                        <a:pt x="12" y="0"/>
                        <a:pt x="17" y="2"/>
                      </a:cubicBezTo>
                      <a:cubicBezTo>
                        <a:pt x="22" y="5"/>
                        <a:pt x="23" y="11"/>
                        <a:pt x="20" y="16"/>
                      </a:cubicBezTo>
                      <a:cubicBezTo>
                        <a:pt x="20" y="16"/>
                        <a:pt x="20" y="16"/>
                        <a:pt x="20" y="16"/>
                      </a:cubicBezTo>
                      <a:cubicBezTo>
                        <a:pt x="18" y="21"/>
                        <a:pt x="11" y="23"/>
                        <a:pt x="7" y="20"/>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b="1">
                    <a:solidFill>
                      <a:srgbClr val="39393B"/>
                    </a:solidFill>
                    <a:latin typeface="CiscoSansTT" panose="020B0503020201020303" pitchFamily="34" charset="0"/>
                    <a:ea typeface="+mn-ea"/>
                    <a:cs typeface="CiscoSansTT" panose="020B0503020201020303" pitchFamily="34" charset="0"/>
                  </a:endParaRPr>
                </a:p>
              </p:txBody>
            </p:sp>
          </p:grpSp>
        </p:grpSp>
      </p:grpSp>
      <p:grpSp>
        <p:nvGrpSpPr>
          <p:cNvPr id="8" name="Group 7"/>
          <p:cNvGrpSpPr/>
          <p:nvPr/>
        </p:nvGrpSpPr>
        <p:grpSpPr>
          <a:xfrm>
            <a:off x="6741424" y="1628434"/>
            <a:ext cx="873038" cy="873038"/>
            <a:chOff x="7273684" y="2215179"/>
            <a:chExt cx="1164051" cy="1164051"/>
          </a:xfrm>
        </p:grpSpPr>
        <p:sp>
          <p:nvSpPr>
            <p:cNvPr id="169" name="Oval 168">
              <a:extLst>
                <a:ext uri="{FF2B5EF4-FFF2-40B4-BE49-F238E27FC236}">
                  <a16:creationId xmlns:a16="http://schemas.microsoft.com/office/drawing/2014/main" id="{E794920D-EF13-43B6-932D-03889FA75F33}"/>
                </a:ext>
              </a:extLst>
            </p:cNvPr>
            <p:cNvSpPr/>
            <p:nvPr/>
          </p:nvSpPr>
          <p:spPr>
            <a:xfrm>
              <a:off x="7273684" y="2215179"/>
              <a:ext cx="1164051" cy="1164051"/>
            </a:xfrm>
            <a:prstGeom prst="ellipse">
              <a:avLst/>
            </a:prstGeom>
            <a:solidFill>
              <a:schemeClr val="accent5">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grpSp>
          <p:nvGrpSpPr>
            <p:cNvPr id="135" name="Group 134"/>
            <p:cNvGrpSpPr>
              <a:grpSpLocks noChangeAspect="1"/>
            </p:cNvGrpSpPr>
            <p:nvPr/>
          </p:nvGrpSpPr>
          <p:grpSpPr>
            <a:xfrm>
              <a:off x="7454210" y="2473904"/>
              <a:ext cx="749834" cy="589628"/>
              <a:chOff x="6333580" y="520612"/>
              <a:chExt cx="453986" cy="356989"/>
            </a:xfrm>
          </p:grpSpPr>
          <p:sp>
            <p:nvSpPr>
              <p:cNvPr id="136" name="Freeform 695"/>
              <p:cNvSpPr>
                <a:spLocks/>
              </p:cNvSpPr>
              <p:nvPr/>
            </p:nvSpPr>
            <p:spPr bwMode="auto">
              <a:xfrm>
                <a:off x="6449576" y="520612"/>
                <a:ext cx="221993" cy="77998"/>
              </a:xfrm>
              <a:custGeom>
                <a:avLst/>
                <a:gdLst>
                  <a:gd name="T0" fmla="*/ 89 w 94"/>
                  <a:gd name="T1" fmla="*/ 33 h 33"/>
                  <a:gd name="T2" fmla="*/ 84 w 94"/>
                  <a:gd name="T3" fmla="*/ 33 h 33"/>
                  <a:gd name="T4" fmla="*/ 71 w 94"/>
                  <a:gd name="T5" fmla="*/ 19 h 33"/>
                  <a:gd name="T6" fmla="*/ 71 w 94"/>
                  <a:gd name="T7" fmla="*/ 13 h 33"/>
                  <a:gd name="T8" fmla="*/ 67 w 94"/>
                  <a:gd name="T9" fmla="*/ 10 h 33"/>
                  <a:gd name="T10" fmla="*/ 28 w 94"/>
                  <a:gd name="T11" fmla="*/ 10 h 33"/>
                  <a:gd name="T12" fmla="*/ 24 w 94"/>
                  <a:gd name="T13" fmla="*/ 13 h 33"/>
                  <a:gd name="T14" fmla="*/ 24 w 94"/>
                  <a:gd name="T15" fmla="*/ 19 h 33"/>
                  <a:gd name="T16" fmla="*/ 10 w 94"/>
                  <a:gd name="T17" fmla="*/ 33 h 33"/>
                  <a:gd name="T18" fmla="*/ 5 w 94"/>
                  <a:gd name="T19" fmla="*/ 33 h 33"/>
                  <a:gd name="T20" fmla="*/ 0 w 94"/>
                  <a:gd name="T21" fmla="*/ 28 h 33"/>
                  <a:gd name="T22" fmla="*/ 5 w 94"/>
                  <a:gd name="T23" fmla="*/ 23 h 33"/>
                  <a:gd name="T24" fmla="*/ 10 w 94"/>
                  <a:gd name="T25" fmla="*/ 23 h 33"/>
                  <a:gd name="T26" fmla="*/ 14 w 94"/>
                  <a:gd name="T27" fmla="*/ 19 h 33"/>
                  <a:gd name="T28" fmla="*/ 14 w 94"/>
                  <a:gd name="T29" fmla="*/ 13 h 33"/>
                  <a:gd name="T30" fmla="*/ 28 w 94"/>
                  <a:gd name="T31" fmla="*/ 0 h 33"/>
                  <a:gd name="T32" fmla="*/ 67 w 94"/>
                  <a:gd name="T33" fmla="*/ 0 h 33"/>
                  <a:gd name="T34" fmla="*/ 81 w 94"/>
                  <a:gd name="T35" fmla="*/ 13 h 33"/>
                  <a:gd name="T36" fmla="*/ 81 w 94"/>
                  <a:gd name="T37" fmla="*/ 19 h 33"/>
                  <a:gd name="T38" fmla="*/ 84 w 94"/>
                  <a:gd name="T39" fmla="*/ 23 h 33"/>
                  <a:gd name="T40" fmla="*/ 89 w 94"/>
                  <a:gd name="T41" fmla="*/ 23 h 33"/>
                  <a:gd name="T42" fmla="*/ 94 w 94"/>
                  <a:gd name="T43" fmla="*/ 28 h 33"/>
                  <a:gd name="T44" fmla="*/ 89 w 94"/>
                  <a:gd name="T4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33">
                    <a:moveTo>
                      <a:pt x="89" y="33"/>
                    </a:moveTo>
                    <a:cubicBezTo>
                      <a:pt x="84" y="33"/>
                      <a:pt x="84" y="33"/>
                      <a:pt x="84" y="33"/>
                    </a:cubicBezTo>
                    <a:cubicBezTo>
                      <a:pt x="77" y="33"/>
                      <a:pt x="71" y="27"/>
                      <a:pt x="71" y="19"/>
                    </a:cubicBezTo>
                    <a:cubicBezTo>
                      <a:pt x="71" y="13"/>
                      <a:pt x="71" y="13"/>
                      <a:pt x="71" y="13"/>
                    </a:cubicBezTo>
                    <a:cubicBezTo>
                      <a:pt x="71" y="11"/>
                      <a:pt x="69" y="10"/>
                      <a:pt x="67" y="10"/>
                    </a:cubicBezTo>
                    <a:cubicBezTo>
                      <a:pt x="28" y="10"/>
                      <a:pt x="28" y="10"/>
                      <a:pt x="28" y="10"/>
                    </a:cubicBezTo>
                    <a:cubicBezTo>
                      <a:pt x="26" y="10"/>
                      <a:pt x="24" y="11"/>
                      <a:pt x="24" y="13"/>
                    </a:cubicBezTo>
                    <a:cubicBezTo>
                      <a:pt x="24" y="19"/>
                      <a:pt x="24" y="19"/>
                      <a:pt x="24" y="19"/>
                    </a:cubicBezTo>
                    <a:cubicBezTo>
                      <a:pt x="24" y="27"/>
                      <a:pt x="18" y="33"/>
                      <a:pt x="10" y="33"/>
                    </a:cubicBezTo>
                    <a:cubicBezTo>
                      <a:pt x="5" y="33"/>
                      <a:pt x="5" y="33"/>
                      <a:pt x="5" y="33"/>
                    </a:cubicBezTo>
                    <a:cubicBezTo>
                      <a:pt x="3" y="33"/>
                      <a:pt x="0" y="30"/>
                      <a:pt x="0" y="28"/>
                    </a:cubicBezTo>
                    <a:cubicBezTo>
                      <a:pt x="0" y="25"/>
                      <a:pt x="3" y="23"/>
                      <a:pt x="5" y="23"/>
                    </a:cubicBezTo>
                    <a:cubicBezTo>
                      <a:pt x="10" y="23"/>
                      <a:pt x="10" y="23"/>
                      <a:pt x="10" y="23"/>
                    </a:cubicBezTo>
                    <a:cubicBezTo>
                      <a:pt x="12" y="23"/>
                      <a:pt x="14" y="21"/>
                      <a:pt x="14" y="19"/>
                    </a:cubicBezTo>
                    <a:cubicBezTo>
                      <a:pt x="14" y="13"/>
                      <a:pt x="14" y="13"/>
                      <a:pt x="14" y="13"/>
                    </a:cubicBezTo>
                    <a:cubicBezTo>
                      <a:pt x="14" y="6"/>
                      <a:pt x="20" y="0"/>
                      <a:pt x="28" y="0"/>
                    </a:cubicBezTo>
                    <a:cubicBezTo>
                      <a:pt x="67" y="0"/>
                      <a:pt x="67" y="0"/>
                      <a:pt x="67" y="0"/>
                    </a:cubicBezTo>
                    <a:cubicBezTo>
                      <a:pt x="75" y="0"/>
                      <a:pt x="81" y="6"/>
                      <a:pt x="81" y="13"/>
                    </a:cubicBezTo>
                    <a:cubicBezTo>
                      <a:pt x="81" y="19"/>
                      <a:pt x="81" y="19"/>
                      <a:pt x="81" y="19"/>
                    </a:cubicBezTo>
                    <a:cubicBezTo>
                      <a:pt x="81" y="21"/>
                      <a:pt x="82" y="23"/>
                      <a:pt x="84" y="23"/>
                    </a:cubicBezTo>
                    <a:cubicBezTo>
                      <a:pt x="89" y="23"/>
                      <a:pt x="89" y="23"/>
                      <a:pt x="89" y="23"/>
                    </a:cubicBezTo>
                    <a:cubicBezTo>
                      <a:pt x="92" y="23"/>
                      <a:pt x="94" y="25"/>
                      <a:pt x="94" y="28"/>
                    </a:cubicBezTo>
                    <a:cubicBezTo>
                      <a:pt x="94" y="30"/>
                      <a:pt x="92" y="33"/>
                      <a:pt x="89" y="33"/>
                    </a:cubicBezTo>
                    <a:close/>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37" name="Freeform 696"/>
              <p:cNvSpPr>
                <a:spLocks/>
              </p:cNvSpPr>
              <p:nvPr/>
            </p:nvSpPr>
            <p:spPr bwMode="auto">
              <a:xfrm>
                <a:off x="6333580" y="605610"/>
                <a:ext cx="453986" cy="35999"/>
              </a:xfrm>
              <a:custGeom>
                <a:avLst/>
                <a:gdLst>
                  <a:gd name="T0" fmla="*/ 192 w 192"/>
                  <a:gd name="T1" fmla="*/ 15 h 15"/>
                  <a:gd name="T2" fmla="*/ 192 w 192"/>
                  <a:gd name="T3" fmla="*/ 12 h 15"/>
                  <a:gd name="T4" fmla="*/ 180 w 192"/>
                  <a:gd name="T5" fmla="*/ 0 h 15"/>
                  <a:gd name="T6" fmla="*/ 12 w 192"/>
                  <a:gd name="T7" fmla="*/ 0 h 15"/>
                  <a:gd name="T8" fmla="*/ 0 w 192"/>
                  <a:gd name="T9" fmla="*/ 12 h 15"/>
                  <a:gd name="T10" fmla="*/ 0 w 192"/>
                  <a:gd name="T11" fmla="*/ 15 h 15"/>
                  <a:gd name="T12" fmla="*/ 192 w 192"/>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92" h="15">
                    <a:moveTo>
                      <a:pt x="192" y="15"/>
                    </a:moveTo>
                    <a:cubicBezTo>
                      <a:pt x="192" y="12"/>
                      <a:pt x="192" y="12"/>
                      <a:pt x="192" y="12"/>
                    </a:cubicBezTo>
                    <a:cubicBezTo>
                      <a:pt x="192" y="6"/>
                      <a:pt x="187" y="0"/>
                      <a:pt x="180" y="0"/>
                    </a:cubicBezTo>
                    <a:cubicBezTo>
                      <a:pt x="12" y="0"/>
                      <a:pt x="12" y="0"/>
                      <a:pt x="12" y="0"/>
                    </a:cubicBezTo>
                    <a:cubicBezTo>
                      <a:pt x="6" y="0"/>
                      <a:pt x="0" y="6"/>
                      <a:pt x="0" y="12"/>
                    </a:cubicBezTo>
                    <a:cubicBezTo>
                      <a:pt x="0" y="15"/>
                      <a:pt x="0" y="15"/>
                      <a:pt x="0" y="15"/>
                    </a:cubicBezTo>
                    <a:lnTo>
                      <a:pt x="192" y="15"/>
                    </a:lnTo>
                    <a:close/>
                  </a:path>
                </a:pathLst>
              </a:custGeom>
              <a:solidFill>
                <a:schemeClr val="tx2">
                  <a:lumMod val="40000"/>
                  <a:lumOff val="6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38" name="Freeform 697"/>
              <p:cNvSpPr>
                <a:spLocks/>
              </p:cNvSpPr>
              <p:nvPr/>
            </p:nvSpPr>
            <p:spPr bwMode="auto">
              <a:xfrm>
                <a:off x="6333580" y="662608"/>
                <a:ext cx="453986" cy="214993"/>
              </a:xfrm>
              <a:custGeom>
                <a:avLst/>
                <a:gdLst>
                  <a:gd name="T0" fmla="*/ 0 w 192"/>
                  <a:gd name="T1" fmla="*/ 0 h 91"/>
                  <a:gd name="T2" fmla="*/ 0 w 192"/>
                  <a:gd name="T3" fmla="*/ 79 h 91"/>
                  <a:gd name="T4" fmla="*/ 12 w 192"/>
                  <a:gd name="T5" fmla="*/ 91 h 91"/>
                  <a:gd name="T6" fmla="*/ 180 w 192"/>
                  <a:gd name="T7" fmla="*/ 91 h 91"/>
                  <a:gd name="T8" fmla="*/ 192 w 192"/>
                  <a:gd name="T9" fmla="*/ 79 h 91"/>
                  <a:gd name="T10" fmla="*/ 192 w 192"/>
                  <a:gd name="T11" fmla="*/ 0 h 91"/>
                  <a:gd name="T12" fmla="*/ 0 w 192"/>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92" h="91">
                    <a:moveTo>
                      <a:pt x="0" y="0"/>
                    </a:moveTo>
                    <a:cubicBezTo>
                      <a:pt x="0" y="79"/>
                      <a:pt x="0" y="79"/>
                      <a:pt x="0" y="79"/>
                    </a:cubicBezTo>
                    <a:cubicBezTo>
                      <a:pt x="0" y="85"/>
                      <a:pt x="6" y="91"/>
                      <a:pt x="12" y="91"/>
                    </a:cubicBezTo>
                    <a:cubicBezTo>
                      <a:pt x="180" y="91"/>
                      <a:pt x="180" y="91"/>
                      <a:pt x="180" y="91"/>
                    </a:cubicBezTo>
                    <a:cubicBezTo>
                      <a:pt x="187" y="91"/>
                      <a:pt x="192" y="85"/>
                      <a:pt x="192" y="79"/>
                    </a:cubicBezTo>
                    <a:cubicBezTo>
                      <a:pt x="192" y="0"/>
                      <a:pt x="192" y="0"/>
                      <a:pt x="192" y="0"/>
                    </a:cubicBezTo>
                    <a:lnTo>
                      <a:pt x="0" y="0"/>
                    </a:lnTo>
                    <a:close/>
                  </a:path>
                </a:pathLst>
              </a:custGeom>
              <a:solidFill>
                <a:schemeClr val="tx2">
                  <a:lumMod val="40000"/>
                  <a:lumOff val="6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FFFFFF"/>
                  </a:solidFill>
                  <a:latin typeface="Arial"/>
                  <a:ea typeface="+mn-ea"/>
                  <a:cs typeface="+mn-cs"/>
                </a:endParaRPr>
              </a:p>
            </p:txBody>
          </p:sp>
          <p:sp>
            <p:nvSpPr>
              <p:cNvPr id="139" name="Freeform 698"/>
              <p:cNvSpPr>
                <a:spLocks/>
              </p:cNvSpPr>
              <p:nvPr/>
            </p:nvSpPr>
            <p:spPr bwMode="auto">
              <a:xfrm>
                <a:off x="6366579" y="702607"/>
                <a:ext cx="70998" cy="23999"/>
              </a:xfrm>
              <a:custGeom>
                <a:avLst/>
                <a:gdLst>
                  <a:gd name="T0" fmla="*/ 5 w 30"/>
                  <a:gd name="T1" fmla="*/ 0 h 10"/>
                  <a:gd name="T2" fmla="*/ 24 w 30"/>
                  <a:gd name="T3" fmla="*/ 0 h 10"/>
                  <a:gd name="T4" fmla="*/ 30 w 30"/>
                  <a:gd name="T5" fmla="*/ 5 h 10"/>
                  <a:gd name="T6" fmla="*/ 24 w 30"/>
                  <a:gd name="T7" fmla="*/ 10 h 10"/>
                  <a:gd name="T8" fmla="*/ 5 w 30"/>
                  <a:gd name="T9" fmla="*/ 10 h 10"/>
                  <a:gd name="T10" fmla="*/ 0 w 30"/>
                  <a:gd name="T11" fmla="*/ 5 h 10"/>
                  <a:gd name="T12" fmla="*/ 5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5" y="0"/>
                    </a:moveTo>
                    <a:cubicBezTo>
                      <a:pt x="24" y="0"/>
                      <a:pt x="24" y="0"/>
                      <a:pt x="24" y="0"/>
                    </a:cubicBezTo>
                    <a:cubicBezTo>
                      <a:pt x="27" y="0"/>
                      <a:pt x="30" y="2"/>
                      <a:pt x="30" y="5"/>
                    </a:cubicBezTo>
                    <a:cubicBezTo>
                      <a:pt x="30" y="8"/>
                      <a:pt x="27" y="10"/>
                      <a:pt x="24" y="10"/>
                    </a:cubicBezTo>
                    <a:cubicBezTo>
                      <a:pt x="5" y="10"/>
                      <a:pt x="5" y="10"/>
                      <a:pt x="5" y="10"/>
                    </a:cubicBezTo>
                    <a:cubicBezTo>
                      <a:pt x="2" y="10"/>
                      <a:pt x="0" y="8"/>
                      <a:pt x="0" y="5"/>
                    </a:cubicBezTo>
                    <a:cubicBezTo>
                      <a:pt x="0" y="2"/>
                      <a:pt x="2" y="0"/>
                      <a:pt x="5" y="0"/>
                    </a:cubicBezTo>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40" name="Freeform 699"/>
              <p:cNvSpPr>
                <a:spLocks/>
              </p:cNvSpPr>
              <p:nvPr/>
            </p:nvSpPr>
            <p:spPr bwMode="auto">
              <a:xfrm>
                <a:off x="6388578" y="702607"/>
                <a:ext cx="25999" cy="127996"/>
              </a:xfrm>
              <a:custGeom>
                <a:avLst/>
                <a:gdLst>
                  <a:gd name="T0" fmla="*/ 0 w 11"/>
                  <a:gd name="T1" fmla="*/ 49 h 54"/>
                  <a:gd name="T2" fmla="*/ 0 w 11"/>
                  <a:gd name="T3" fmla="*/ 5 h 54"/>
                  <a:gd name="T4" fmla="*/ 6 w 11"/>
                  <a:gd name="T5" fmla="*/ 0 h 54"/>
                  <a:gd name="T6" fmla="*/ 11 w 11"/>
                  <a:gd name="T7" fmla="*/ 5 h 54"/>
                  <a:gd name="T8" fmla="*/ 11 w 11"/>
                  <a:gd name="T9" fmla="*/ 49 h 54"/>
                  <a:gd name="T10" fmla="*/ 6 w 11"/>
                  <a:gd name="T11" fmla="*/ 54 h 54"/>
                  <a:gd name="T12" fmla="*/ 0 w 11"/>
                  <a:gd name="T13" fmla="*/ 49 h 54"/>
                </a:gdLst>
                <a:ahLst/>
                <a:cxnLst>
                  <a:cxn ang="0">
                    <a:pos x="T0" y="T1"/>
                  </a:cxn>
                  <a:cxn ang="0">
                    <a:pos x="T2" y="T3"/>
                  </a:cxn>
                  <a:cxn ang="0">
                    <a:pos x="T4" y="T5"/>
                  </a:cxn>
                  <a:cxn ang="0">
                    <a:pos x="T6" y="T7"/>
                  </a:cxn>
                  <a:cxn ang="0">
                    <a:pos x="T8" y="T9"/>
                  </a:cxn>
                  <a:cxn ang="0">
                    <a:pos x="T10" y="T11"/>
                  </a:cxn>
                  <a:cxn ang="0">
                    <a:pos x="T12" y="T13"/>
                  </a:cxn>
                </a:cxnLst>
                <a:rect l="0" t="0" r="r" b="b"/>
                <a:pathLst>
                  <a:path w="11" h="54">
                    <a:moveTo>
                      <a:pt x="0" y="49"/>
                    </a:moveTo>
                    <a:cubicBezTo>
                      <a:pt x="0" y="5"/>
                      <a:pt x="0" y="5"/>
                      <a:pt x="0" y="5"/>
                    </a:cubicBezTo>
                    <a:cubicBezTo>
                      <a:pt x="0" y="2"/>
                      <a:pt x="3" y="0"/>
                      <a:pt x="6" y="0"/>
                    </a:cubicBezTo>
                    <a:cubicBezTo>
                      <a:pt x="9" y="0"/>
                      <a:pt x="11" y="2"/>
                      <a:pt x="11" y="5"/>
                    </a:cubicBezTo>
                    <a:cubicBezTo>
                      <a:pt x="11" y="49"/>
                      <a:pt x="11" y="49"/>
                      <a:pt x="11" y="49"/>
                    </a:cubicBezTo>
                    <a:cubicBezTo>
                      <a:pt x="11" y="52"/>
                      <a:pt x="9" y="54"/>
                      <a:pt x="6" y="54"/>
                    </a:cubicBezTo>
                    <a:cubicBezTo>
                      <a:pt x="3" y="54"/>
                      <a:pt x="0" y="52"/>
                      <a:pt x="0" y="49"/>
                    </a:cubicBezTo>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41" name="Freeform 700"/>
              <p:cNvSpPr>
                <a:spLocks/>
              </p:cNvSpPr>
              <p:nvPr/>
            </p:nvSpPr>
            <p:spPr bwMode="auto">
              <a:xfrm>
                <a:off x="6615571" y="806604"/>
                <a:ext cx="58998" cy="23999"/>
              </a:xfrm>
              <a:custGeom>
                <a:avLst/>
                <a:gdLst>
                  <a:gd name="T0" fmla="*/ 6 w 25"/>
                  <a:gd name="T1" fmla="*/ 10 h 10"/>
                  <a:gd name="T2" fmla="*/ 19 w 25"/>
                  <a:gd name="T3" fmla="*/ 10 h 10"/>
                  <a:gd name="T4" fmla="*/ 25 w 25"/>
                  <a:gd name="T5" fmla="*/ 5 h 10"/>
                  <a:gd name="T6" fmla="*/ 19 w 25"/>
                  <a:gd name="T7" fmla="*/ 0 h 10"/>
                  <a:gd name="T8" fmla="*/ 6 w 25"/>
                  <a:gd name="T9" fmla="*/ 0 h 10"/>
                  <a:gd name="T10" fmla="*/ 0 w 25"/>
                  <a:gd name="T11" fmla="*/ 5 h 10"/>
                  <a:gd name="T12" fmla="*/ 6 w 2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6" y="10"/>
                    </a:moveTo>
                    <a:cubicBezTo>
                      <a:pt x="19" y="10"/>
                      <a:pt x="19" y="10"/>
                      <a:pt x="19" y="10"/>
                    </a:cubicBezTo>
                    <a:cubicBezTo>
                      <a:pt x="22" y="10"/>
                      <a:pt x="25" y="8"/>
                      <a:pt x="25" y="5"/>
                    </a:cubicBezTo>
                    <a:cubicBezTo>
                      <a:pt x="25" y="2"/>
                      <a:pt x="22" y="0"/>
                      <a:pt x="19" y="0"/>
                    </a:cubicBezTo>
                    <a:cubicBezTo>
                      <a:pt x="6" y="0"/>
                      <a:pt x="6" y="0"/>
                      <a:pt x="6" y="0"/>
                    </a:cubicBezTo>
                    <a:cubicBezTo>
                      <a:pt x="3" y="0"/>
                      <a:pt x="0" y="2"/>
                      <a:pt x="0" y="5"/>
                    </a:cubicBezTo>
                    <a:cubicBezTo>
                      <a:pt x="0" y="8"/>
                      <a:pt x="3" y="10"/>
                      <a:pt x="6" y="10"/>
                    </a:cubicBezTo>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sp>
            <p:nvSpPr>
              <p:cNvPr id="142" name="Freeform 701"/>
              <p:cNvSpPr>
                <a:spLocks/>
              </p:cNvSpPr>
              <p:nvPr/>
            </p:nvSpPr>
            <p:spPr bwMode="auto">
              <a:xfrm>
                <a:off x="6615571" y="702607"/>
                <a:ext cx="25999" cy="127996"/>
              </a:xfrm>
              <a:custGeom>
                <a:avLst/>
                <a:gdLst>
                  <a:gd name="T0" fmla="*/ 0 w 11"/>
                  <a:gd name="T1" fmla="*/ 5 h 54"/>
                  <a:gd name="T2" fmla="*/ 0 w 11"/>
                  <a:gd name="T3" fmla="*/ 49 h 54"/>
                  <a:gd name="T4" fmla="*/ 6 w 11"/>
                  <a:gd name="T5" fmla="*/ 54 h 54"/>
                  <a:gd name="T6" fmla="*/ 11 w 11"/>
                  <a:gd name="T7" fmla="*/ 49 h 54"/>
                  <a:gd name="T8" fmla="*/ 11 w 11"/>
                  <a:gd name="T9" fmla="*/ 5 h 54"/>
                  <a:gd name="T10" fmla="*/ 6 w 11"/>
                  <a:gd name="T11" fmla="*/ 0 h 54"/>
                  <a:gd name="T12" fmla="*/ 0 w 11"/>
                  <a:gd name="T13" fmla="*/ 5 h 54"/>
                </a:gdLst>
                <a:ahLst/>
                <a:cxnLst>
                  <a:cxn ang="0">
                    <a:pos x="T0" y="T1"/>
                  </a:cxn>
                  <a:cxn ang="0">
                    <a:pos x="T2" y="T3"/>
                  </a:cxn>
                  <a:cxn ang="0">
                    <a:pos x="T4" y="T5"/>
                  </a:cxn>
                  <a:cxn ang="0">
                    <a:pos x="T6" y="T7"/>
                  </a:cxn>
                  <a:cxn ang="0">
                    <a:pos x="T8" y="T9"/>
                  </a:cxn>
                  <a:cxn ang="0">
                    <a:pos x="T10" y="T11"/>
                  </a:cxn>
                  <a:cxn ang="0">
                    <a:pos x="T12" y="T13"/>
                  </a:cxn>
                </a:cxnLst>
                <a:rect l="0" t="0" r="r" b="b"/>
                <a:pathLst>
                  <a:path w="11" h="54">
                    <a:moveTo>
                      <a:pt x="0" y="5"/>
                    </a:moveTo>
                    <a:cubicBezTo>
                      <a:pt x="0" y="49"/>
                      <a:pt x="0" y="49"/>
                      <a:pt x="0" y="49"/>
                    </a:cubicBezTo>
                    <a:cubicBezTo>
                      <a:pt x="0" y="52"/>
                      <a:pt x="3" y="54"/>
                      <a:pt x="6" y="54"/>
                    </a:cubicBezTo>
                    <a:cubicBezTo>
                      <a:pt x="8" y="54"/>
                      <a:pt x="11" y="52"/>
                      <a:pt x="11" y="49"/>
                    </a:cubicBezTo>
                    <a:cubicBezTo>
                      <a:pt x="11" y="5"/>
                      <a:pt x="11" y="5"/>
                      <a:pt x="11" y="5"/>
                    </a:cubicBezTo>
                    <a:cubicBezTo>
                      <a:pt x="11" y="2"/>
                      <a:pt x="8" y="0"/>
                      <a:pt x="6" y="0"/>
                    </a:cubicBezTo>
                    <a:cubicBezTo>
                      <a:pt x="3" y="0"/>
                      <a:pt x="0" y="2"/>
                      <a:pt x="0" y="5"/>
                    </a:cubicBezTo>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FFFFFF"/>
                  </a:solidFill>
                  <a:latin typeface="Arial"/>
                  <a:ea typeface="+mn-ea"/>
                  <a:cs typeface="+mn-cs"/>
                </a:endParaRPr>
              </a:p>
            </p:txBody>
          </p:sp>
          <p:sp>
            <p:nvSpPr>
              <p:cNvPr id="143" name="Freeform 702"/>
              <p:cNvSpPr>
                <a:spLocks/>
              </p:cNvSpPr>
              <p:nvPr/>
            </p:nvSpPr>
            <p:spPr bwMode="auto">
              <a:xfrm>
                <a:off x="6678569" y="702607"/>
                <a:ext cx="85997" cy="132996"/>
              </a:xfrm>
              <a:custGeom>
                <a:avLst/>
                <a:gdLst>
                  <a:gd name="T0" fmla="*/ 33 w 36"/>
                  <a:gd name="T1" fmla="*/ 8 h 56"/>
                  <a:gd name="T2" fmla="*/ 28 w 36"/>
                  <a:gd name="T3" fmla="*/ 13 h 56"/>
                  <a:gd name="T4" fmla="*/ 19 w 36"/>
                  <a:gd name="T5" fmla="*/ 11 h 56"/>
                  <a:gd name="T6" fmla="*/ 13 w 36"/>
                  <a:gd name="T7" fmla="*/ 15 h 56"/>
                  <a:gd name="T8" fmla="*/ 35 w 36"/>
                  <a:gd name="T9" fmla="*/ 39 h 56"/>
                  <a:gd name="T10" fmla="*/ 16 w 36"/>
                  <a:gd name="T11" fmla="*/ 55 h 56"/>
                  <a:gd name="T12" fmla="*/ 0 w 36"/>
                  <a:gd name="T13" fmla="*/ 46 h 56"/>
                  <a:gd name="T14" fmla="*/ 5 w 36"/>
                  <a:gd name="T15" fmla="*/ 41 h 56"/>
                  <a:gd name="T16" fmla="*/ 16 w 36"/>
                  <a:gd name="T17" fmla="*/ 44 h 56"/>
                  <a:gd name="T18" fmla="*/ 24 w 36"/>
                  <a:gd name="T19" fmla="*/ 38 h 56"/>
                  <a:gd name="T20" fmla="*/ 2 w 36"/>
                  <a:gd name="T21" fmla="*/ 16 h 56"/>
                  <a:gd name="T22" fmla="*/ 20 w 36"/>
                  <a:gd name="T23" fmla="*/ 0 h 56"/>
                  <a:gd name="T24" fmla="*/ 33 w 36"/>
                  <a:gd name="T2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56">
                    <a:moveTo>
                      <a:pt x="33" y="8"/>
                    </a:moveTo>
                    <a:cubicBezTo>
                      <a:pt x="33" y="11"/>
                      <a:pt x="31" y="14"/>
                      <a:pt x="28" y="13"/>
                    </a:cubicBezTo>
                    <a:cubicBezTo>
                      <a:pt x="25" y="13"/>
                      <a:pt x="23" y="11"/>
                      <a:pt x="19" y="11"/>
                    </a:cubicBezTo>
                    <a:cubicBezTo>
                      <a:pt x="16" y="11"/>
                      <a:pt x="13" y="12"/>
                      <a:pt x="13" y="15"/>
                    </a:cubicBezTo>
                    <a:cubicBezTo>
                      <a:pt x="13" y="23"/>
                      <a:pt x="36" y="19"/>
                      <a:pt x="35" y="39"/>
                    </a:cubicBezTo>
                    <a:cubicBezTo>
                      <a:pt x="34" y="49"/>
                      <a:pt x="26" y="56"/>
                      <a:pt x="16" y="55"/>
                    </a:cubicBezTo>
                    <a:cubicBezTo>
                      <a:pt x="11" y="55"/>
                      <a:pt x="0" y="53"/>
                      <a:pt x="0" y="46"/>
                    </a:cubicBezTo>
                    <a:cubicBezTo>
                      <a:pt x="1" y="43"/>
                      <a:pt x="2" y="41"/>
                      <a:pt x="5" y="41"/>
                    </a:cubicBezTo>
                    <a:cubicBezTo>
                      <a:pt x="8" y="41"/>
                      <a:pt x="12" y="44"/>
                      <a:pt x="16" y="44"/>
                    </a:cubicBezTo>
                    <a:cubicBezTo>
                      <a:pt x="21" y="45"/>
                      <a:pt x="23" y="42"/>
                      <a:pt x="24" y="38"/>
                    </a:cubicBezTo>
                    <a:cubicBezTo>
                      <a:pt x="24" y="29"/>
                      <a:pt x="1" y="34"/>
                      <a:pt x="2" y="16"/>
                    </a:cubicBezTo>
                    <a:cubicBezTo>
                      <a:pt x="3" y="6"/>
                      <a:pt x="11" y="0"/>
                      <a:pt x="20" y="0"/>
                    </a:cubicBezTo>
                    <a:cubicBezTo>
                      <a:pt x="24" y="0"/>
                      <a:pt x="33" y="2"/>
                      <a:pt x="33" y="8"/>
                    </a:cubicBezTo>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FFFFFF"/>
                  </a:solidFill>
                  <a:latin typeface="Arial"/>
                  <a:ea typeface="+mn-ea"/>
                  <a:cs typeface="+mn-cs"/>
                </a:endParaRPr>
              </a:p>
            </p:txBody>
          </p:sp>
          <p:sp>
            <p:nvSpPr>
              <p:cNvPr id="144" name="Freeform 703"/>
              <p:cNvSpPr>
                <a:spLocks noEditPoints="1"/>
              </p:cNvSpPr>
              <p:nvPr/>
            </p:nvSpPr>
            <p:spPr bwMode="auto">
              <a:xfrm>
                <a:off x="6433577" y="702607"/>
                <a:ext cx="98997" cy="132996"/>
              </a:xfrm>
              <a:custGeom>
                <a:avLst/>
                <a:gdLst>
                  <a:gd name="T0" fmla="*/ 21 w 42"/>
                  <a:gd name="T1" fmla="*/ 56 h 56"/>
                  <a:gd name="T2" fmla="*/ 0 w 42"/>
                  <a:gd name="T3" fmla="*/ 28 h 56"/>
                  <a:gd name="T4" fmla="*/ 21 w 42"/>
                  <a:gd name="T5" fmla="*/ 0 h 56"/>
                  <a:gd name="T6" fmla="*/ 42 w 42"/>
                  <a:gd name="T7" fmla="*/ 28 h 56"/>
                  <a:gd name="T8" fmla="*/ 21 w 42"/>
                  <a:gd name="T9" fmla="*/ 56 h 56"/>
                  <a:gd name="T10" fmla="*/ 21 w 42"/>
                  <a:gd name="T11" fmla="*/ 10 h 56"/>
                  <a:gd name="T12" fmla="*/ 10 w 42"/>
                  <a:gd name="T13" fmla="*/ 28 h 56"/>
                  <a:gd name="T14" fmla="*/ 21 w 42"/>
                  <a:gd name="T15" fmla="*/ 45 h 56"/>
                  <a:gd name="T16" fmla="*/ 32 w 42"/>
                  <a:gd name="T17" fmla="*/ 28 h 56"/>
                  <a:gd name="T18" fmla="*/ 21 w 42"/>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6">
                    <a:moveTo>
                      <a:pt x="21" y="56"/>
                    </a:moveTo>
                    <a:cubicBezTo>
                      <a:pt x="9" y="56"/>
                      <a:pt x="0" y="43"/>
                      <a:pt x="0" y="28"/>
                    </a:cubicBezTo>
                    <a:cubicBezTo>
                      <a:pt x="0" y="12"/>
                      <a:pt x="9" y="0"/>
                      <a:pt x="21" y="0"/>
                    </a:cubicBezTo>
                    <a:cubicBezTo>
                      <a:pt x="33" y="0"/>
                      <a:pt x="42" y="12"/>
                      <a:pt x="42" y="28"/>
                    </a:cubicBezTo>
                    <a:cubicBezTo>
                      <a:pt x="42" y="43"/>
                      <a:pt x="33" y="56"/>
                      <a:pt x="21" y="56"/>
                    </a:cubicBezTo>
                    <a:close/>
                    <a:moveTo>
                      <a:pt x="21" y="10"/>
                    </a:moveTo>
                    <a:cubicBezTo>
                      <a:pt x="15" y="10"/>
                      <a:pt x="10" y="18"/>
                      <a:pt x="10" y="28"/>
                    </a:cubicBezTo>
                    <a:cubicBezTo>
                      <a:pt x="10" y="37"/>
                      <a:pt x="15" y="45"/>
                      <a:pt x="21" y="45"/>
                    </a:cubicBezTo>
                    <a:cubicBezTo>
                      <a:pt x="27" y="45"/>
                      <a:pt x="32" y="37"/>
                      <a:pt x="32" y="28"/>
                    </a:cubicBezTo>
                    <a:cubicBezTo>
                      <a:pt x="32" y="18"/>
                      <a:pt x="27" y="10"/>
                      <a:pt x="21" y="1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FFFFFF"/>
                  </a:solidFill>
                  <a:latin typeface="Arial"/>
                  <a:ea typeface="+mn-ea"/>
                  <a:cs typeface="+mn-cs"/>
                </a:endParaRPr>
              </a:p>
            </p:txBody>
          </p:sp>
          <p:sp>
            <p:nvSpPr>
              <p:cNvPr id="145" name="Freeform 704"/>
              <p:cNvSpPr>
                <a:spLocks noEditPoints="1"/>
              </p:cNvSpPr>
              <p:nvPr/>
            </p:nvSpPr>
            <p:spPr bwMode="auto">
              <a:xfrm>
                <a:off x="6508575" y="702607"/>
                <a:ext cx="99997" cy="132996"/>
              </a:xfrm>
              <a:custGeom>
                <a:avLst/>
                <a:gdLst>
                  <a:gd name="T0" fmla="*/ 21 w 42"/>
                  <a:gd name="T1" fmla="*/ 56 h 56"/>
                  <a:gd name="T2" fmla="*/ 0 w 42"/>
                  <a:gd name="T3" fmla="*/ 28 h 56"/>
                  <a:gd name="T4" fmla="*/ 21 w 42"/>
                  <a:gd name="T5" fmla="*/ 0 h 56"/>
                  <a:gd name="T6" fmla="*/ 42 w 42"/>
                  <a:gd name="T7" fmla="*/ 28 h 56"/>
                  <a:gd name="T8" fmla="*/ 21 w 42"/>
                  <a:gd name="T9" fmla="*/ 56 h 56"/>
                  <a:gd name="T10" fmla="*/ 21 w 42"/>
                  <a:gd name="T11" fmla="*/ 10 h 56"/>
                  <a:gd name="T12" fmla="*/ 10 w 42"/>
                  <a:gd name="T13" fmla="*/ 28 h 56"/>
                  <a:gd name="T14" fmla="*/ 21 w 42"/>
                  <a:gd name="T15" fmla="*/ 45 h 56"/>
                  <a:gd name="T16" fmla="*/ 32 w 42"/>
                  <a:gd name="T17" fmla="*/ 28 h 56"/>
                  <a:gd name="T18" fmla="*/ 21 w 42"/>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6">
                    <a:moveTo>
                      <a:pt x="21" y="56"/>
                    </a:moveTo>
                    <a:cubicBezTo>
                      <a:pt x="9" y="56"/>
                      <a:pt x="0" y="43"/>
                      <a:pt x="0" y="28"/>
                    </a:cubicBezTo>
                    <a:cubicBezTo>
                      <a:pt x="0" y="12"/>
                      <a:pt x="9" y="0"/>
                      <a:pt x="21" y="0"/>
                    </a:cubicBezTo>
                    <a:cubicBezTo>
                      <a:pt x="33" y="0"/>
                      <a:pt x="42" y="12"/>
                      <a:pt x="42" y="28"/>
                    </a:cubicBezTo>
                    <a:cubicBezTo>
                      <a:pt x="42" y="43"/>
                      <a:pt x="33" y="56"/>
                      <a:pt x="21" y="56"/>
                    </a:cubicBezTo>
                    <a:close/>
                    <a:moveTo>
                      <a:pt x="21" y="10"/>
                    </a:moveTo>
                    <a:cubicBezTo>
                      <a:pt x="15" y="10"/>
                      <a:pt x="10" y="18"/>
                      <a:pt x="10" y="28"/>
                    </a:cubicBezTo>
                    <a:cubicBezTo>
                      <a:pt x="10" y="37"/>
                      <a:pt x="15" y="45"/>
                      <a:pt x="21" y="45"/>
                    </a:cubicBezTo>
                    <a:cubicBezTo>
                      <a:pt x="27" y="45"/>
                      <a:pt x="32" y="37"/>
                      <a:pt x="32" y="28"/>
                    </a:cubicBezTo>
                    <a:cubicBezTo>
                      <a:pt x="32" y="18"/>
                      <a:pt x="27" y="10"/>
                      <a:pt x="21" y="1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39393B"/>
                  </a:solidFill>
                  <a:latin typeface="Arial"/>
                  <a:ea typeface="+mn-ea"/>
                  <a:cs typeface="+mn-cs"/>
                </a:endParaRPr>
              </a:p>
            </p:txBody>
          </p:sp>
        </p:grpSp>
      </p:grpSp>
      <p:sp>
        <p:nvSpPr>
          <p:cNvPr id="170" name="Rectangle 169">
            <a:extLst>
              <a:ext uri="{FF2B5EF4-FFF2-40B4-BE49-F238E27FC236}">
                <a16:creationId xmlns:a16="http://schemas.microsoft.com/office/drawing/2014/main" id="{D43C3D2F-2BDA-41DC-A47F-8FD4B89E1625}"/>
              </a:ext>
            </a:extLst>
          </p:cNvPr>
          <p:cNvSpPr/>
          <p:nvPr/>
        </p:nvSpPr>
        <p:spPr>
          <a:xfrm>
            <a:off x="5955580" y="3085747"/>
            <a:ext cx="2541809" cy="11074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32174" indent="-132174" defTabSz="685800" fontAlgn="auto">
              <a:spcBef>
                <a:spcPts val="225"/>
              </a:spcBef>
              <a:spcAft>
                <a:spcPts val="225"/>
              </a:spcAft>
              <a:buClr>
                <a:srgbClr val="005073">
                  <a:lumMod val="75000"/>
                </a:srgbClr>
              </a:buClr>
              <a:buSzPct val="80000"/>
              <a:buFont typeface="Arial" pitchFamily="34" charset="0"/>
              <a:buChar char="•"/>
              <a:defRPr/>
            </a:pPr>
            <a:r>
              <a:rPr lang="en-US" sz="1050" dirty="0">
                <a:solidFill>
                  <a:srgbClr val="049CD4">
                    <a:lumMod val="50000"/>
                  </a:srgbClr>
                </a:solidFill>
                <a:latin typeface="CiscoSansTT ExtraLight"/>
                <a:cs typeface="Arial" charset="0"/>
              </a:rPr>
              <a:t>Complete Automation Suite</a:t>
            </a:r>
          </a:p>
          <a:p>
            <a:pPr marL="475074" lvl="1" indent="-132174" defTabSz="685800" fontAlgn="auto">
              <a:spcBef>
                <a:spcPts val="225"/>
              </a:spcBef>
              <a:spcAft>
                <a:spcPts val="225"/>
              </a:spcAft>
              <a:buClr>
                <a:srgbClr val="005073">
                  <a:lumMod val="75000"/>
                </a:srgbClr>
              </a:buClr>
              <a:buSzPct val="80000"/>
              <a:buFont typeface="Arial" pitchFamily="34" charset="0"/>
              <a:buChar char="•"/>
              <a:defRPr/>
            </a:pPr>
            <a:r>
              <a:rPr lang="en-US" sz="1000" dirty="0" err="1">
                <a:solidFill>
                  <a:srgbClr val="049CD4">
                    <a:lumMod val="50000"/>
                  </a:srgbClr>
                </a:solidFill>
                <a:latin typeface="CiscoSansTT ExtraLight"/>
                <a:cs typeface="Arial" charset="0"/>
              </a:rPr>
              <a:t>Crosswork</a:t>
            </a:r>
            <a:r>
              <a:rPr lang="en-US" sz="1000" dirty="0">
                <a:solidFill>
                  <a:srgbClr val="049CD4">
                    <a:lumMod val="50000"/>
                  </a:srgbClr>
                </a:solidFill>
                <a:latin typeface="CiscoSansTT ExtraLight"/>
                <a:cs typeface="Arial" charset="0"/>
              </a:rPr>
              <a:t> Network Insights</a:t>
            </a:r>
          </a:p>
          <a:p>
            <a:pPr marL="475074" lvl="1" indent="-132174" defTabSz="685800" fontAlgn="auto">
              <a:spcBef>
                <a:spcPts val="225"/>
              </a:spcBef>
              <a:spcAft>
                <a:spcPts val="225"/>
              </a:spcAft>
              <a:buClr>
                <a:srgbClr val="005073">
                  <a:lumMod val="75000"/>
                </a:srgbClr>
              </a:buClr>
              <a:buSzPct val="80000"/>
              <a:buFont typeface="Arial" pitchFamily="34" charset="0"/>
              <a:buChar char="•"/>
              <a:defRPr/>
            </a:pPr>
            <a:r>
              <a:rPr lang="en-US" sz="1000" dirty="0">
                <a:solidFill>
                  <a:srgbClr val="049CD4">
                    <a:lumMod val="50000"/>
                  </a:srgbClr>
                </a:solidFill>
                <a:latin typeface="CiscoSansTT ExtraLight"/>
                <a:cs typeface="Arial" charset="0"/>
              </a:rPr>
              <a:t>Network Services Orchestrator</a:t>
            </a:r>
          </a:p>
          <a:p>
            <a:pPr marL="475074" lvl="1" indent="-132174" defTabSz="685800" fontAlgn="auto">
              <a:spcBef>
                <a:spcPts val="225"/>
              </a:spcBef>
              <a:spcAft>
                <a:spcPts val="225"/>
              </a:spcAft>
              <a:buClr>
                <a:srgbClr val="005073">
                  <a:lumMod val="75000"/>
                </a:srgbClr>
              </a:buClr>
              <a:buSzPct val="80000"/>
              <a:buFont typeface="Arial" pitchFamily="34" charset="0"/>
              <a:buChar char="•"/>
              <a:defRPr/>
            </a:pPr>
            <a:r>
              <a:rPr lang="en-US" sz="1000" dirty="0">
                <a:solidFill>
                  <a:srgbClr val="049CD4">
                    <a:lumMod val="50000"/>
                  </a:srgbClr>
                </a:solidFill>
                <a:latin typeface="CiscoSansTT ExtraLight"/>
                <a:cs typeface="Arial" charset="0"/>
              </a:rPr>
              <a:t>SR-PCE for SR automation</a:t>
            </a:r>
          </a:p>
          <a:p>
            <a:pPr marL="475074" lvl="1" indent="-132174" defTabSz="685800" fontAlgn="auto">
              <a:spcBef>
                <a:spcPts val="225"/>
              </a:spcBef>
              <a:spcAft>
                <a:spcPts val="225"/>
              </a:spcAft>
              <a:buClr>
                <a:srgbClr val="005073">
                  <a:lumMod val="75000"/>
                </a:srgbClr>
              </a:buClr>
              <a:buSzPct val="80000"/>
              <a:buFont typeface="Arial" pitchFamily="34" charset="0"/>
              <a:buChar char="•"/>
              <a:defRPr/>
            </a:pPr>
            <a:r>
              <a:rPr lang="en-US" sz="1000" dirty="0">
                <a:solidFill>
                  <a:srgbClr val="049CD4">
                    <a:lumMod val="50000"/>
                  </a:srgbClr>
                </a:solidFill>
                <a:latin typeface="CiscoSansTT ExtraLight"/>
                <a:cs typeface="Arial" charset="0"/>
              </a:rPr>
              <a:t>WAN Automation Engine</a:t>
            </a:r>
          </a:p>
          <a:p>
            <a:pPr marL="475074" lvl="1" indent="-132174" defTabSz="685800" fontAlgn="auto">
              <a:spcBef>
                <a:spcPts val="225"/>
              </a:spcBef>
              <a:spcAft>
                <a:spcPts val="225"/>
              </a:spcAft>
              <a:buClr>
                <a:srgbClr val="005073">
                  <a:lumMod val="75000"/>
                </a:srgbClr>
              </a:buClr>
              <a:buSzPct val="80000"/>
              <a:buFont typeface="Arial" pitchFamily="34" charset="0"/>
              <a:buChar char="•"/>
              <a:defRPr/>
            </a:pPr>
            <a:r>
              <a:rPr lang="en-US" sz="1000" dirty="0">
                <a:solidFill>
                  <a:srgbClr val="049CD4">
                    <a:lumMod val="50000"/>
                  </a:srgbClr>
                </a:solidFill>
                <a:latin typeface="CiscoSansTT ExtraLight"/>
                <a:cs typeface="Arial" charset="0"/>
              </a:rPr>
              <a:t>Evolved Programmable Network Manager</a:t>
            </a:r>
          </a:p>
          <a:p>
            <a:pPr marL="132174" indent="-132174" defTabSz="685800" fontAlgn="auto">
              <a:spcBef>
                <a:spcPts val="225"/>
              </a:spcBef>
              <a:spcAft>
                <a:spcPts val="225"/>
              </a:spcAft>
              <a:buClr>
                <a:srgbClr val="005073">
                  <a:lumMod val="75000"/>
                </a:srgbClr>
              </a:buClr>
              <a:buSzPct val="80000"/>
              <a:buFont typeface="Arial" pitchFamily="34" charset="0"/>
              <a:buChar char="•"/>
              <a:defRPr/>
            </a:pPr>
            <a:r>
              <a:rPr lang="en-US" sz="1050" dirty="0">
                <a:solidFill>
                  <a:srgbClr val="049CD4">
                    <a:lumMod val="50000"/>
                  </a:srgbClr>
                </a:solidFill>
                <a:latin typeface="CiscoSansTT ExtraLight"/>
                <a:cs typeface="Arial" charset="0"/>
              </a:rPr>
              <a:t>State of the art Advanced IOS-XR across IP &amp; Optical.</a:t>
            </a:r>
          </a:p>
        </p:txBody>
      </p:sp>
    </p:spTree>
    <p:extLst>
      <p:ext uri="{BB962C8B-B14F-4D97-AF65-F5344CB8AC3E}">
        <p14:creationId xmlns:p14="http://schemas.microsoft.com/office/powerpoint/2010/main" val="102712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Optimized IP + Optical Transport</a:t>
            </a:r>
            <a:endParaRPr lang="en-US" dirty="0">
              <a:solidFill>
                <a:srgbClr val="FF0000"/>
              </a:solidFill>
            </a:endParaRPr>
          </a:p>
        </p:txBody>
      </p:sp>
      <p:grpSp>
        <p:nvGrpSpPr>
          <p:cNvPr id="3" name="Group 2">
            <a:extLst>
              <a:ext uri="{FF2B5EF4-FFF2-40B4-BE49-F238E27FC236}">
                <a16:creationId xmlns:a16="http://schemas.microsoft.com/office/drawing/2014/main" id="{14B171A3-DE7C-4969-A919-FA2A017E1134}"/>
              </a:ext>
            </a:extLst>
          </p:cNvPr>
          <p:cNvGrpSpPr/>
          <p:nvPr/>
        </p:nvGrpSpPr>
        <p:grpSpPr>
          <a:xfrm>
            <a:off x="2239219" y="3481266"/>
            <a:ext cx="1260000" cy="924333"/>
            <a:chOff x="2239219" y="3481266"/>
            <a:chExt cx="1260000" cy="924333"/>
          </a:xfrm>
        </p:grpSpPr>
        <p:sp>
          <p:nvSpPr>
            <p:cNvPr id="201" name="Rectangle 200">
              <a:extLst>
                <a:ext uri="{FF2B5EF4-FFF2-40B4-BE49-F238E27FC236}">
                  <a16:creationId xmlns:a16="http://schemas.microsoft.com/office/drawing/2014/main" id="{3EF047EF-11D1-41B6-821C-C8ECA589C835}"/>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ACCESS</a:t>
              </a:r>
            </a:p>
          </p:txBody>
        </p:sp>
        <p:sp>
          <p:nvSpPr>
            <p:cNvPr id="221" name="Rectangle 220">
              <a:extLst>
                <a:ext uri="{FF2B5EF4-FFF2-40B4-BE49-F238E27FC236}">
                  <a16:creationId xmlns:a16="http://schemas.microsoft.com/office/drawing/2014/main" id="{FFC6004D-6F68-45EC-9B4F-319DF8A980D0}"/>
                </a:ext>
              </a:extLst>
            </p:cNvPr>
            <p:cNvSpPr/>
            <p:nvPr/>
          </p:nvSpPr>
          <p:spPr>
            <a:xfrm>
              <a:off x="2239219"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p:txBody>
        </p:sp>
      </p:grpSp>
      <p:grpSp>
        <p:nvGrpSpPr>
          <p:cNvPr id="5" name="Group 4">
            <a:extLst>
              <a:ext uri="{FF2B5EF4-FFF2-40B4-BE49-F238E27FC236}">
                <a16:creationId xmlns:a16="http://schemas.microsoft.com/office/drawing/2014/main" id="{AD2CD189-A6AB-4309-9975-3451F0F33CBC}"/>
              </a:ext>
            </a:extLst>
          </p:cNvPr>
          <p:cNvGrpSpPr/>
          <p:nvPr/>
        </p:nvGrpSpPr>
        <p:grpSpPr>
          <a:xfrm>
            <a:off x="3745220" y="3481266"/>
            <a:ext cx="1260000" cy="924333"/>
            <a:chOff x="3745220" y="3481266"/>
            <a:chExt cx="1260000" cy="924333"/>
          </a:xfrm>
        </p:grpSpPr>
        <p:sp>
          <p:nvSpPr>
            <p:cNvPr id="225" name="Rectangle 224">
              <a:extLst>
                <a:ext uri="{FF2B5EF4-FFF2-40B4-BE49-F238E27FC236}">
                  <a16:creationId xmlns:a16="http://schemas.microsoft.com/office/drawing/2014/main" id="{9549725F-1DCD-4054-A384-BEAD5555E153}"/>
                </a:ext>
              </a:extLst>
            </p:cNvPr>
            <p:cNvSpPr/>
            <p:nvPr/>
          </p:nvSpPr>
          <p:spPr>
            <a:xfrm>
              <a:off x="3768442"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PRE-AGG</a:t>
              </a:r>
            </a:p>
          </p:txBody>
        </p:sp>
        <p:sp>
          <p:nvSpPr>
            <p:cNvPr id="226" name="Rectangle 225">
              <a:extLst>
                <a:ext uri="{FF2B5EF4-FFF2-40B4-BE49-F238E27FC236}">
                  <a16:creationId xmlns:a16="http://schemas.microsoft.com/office/drawing/2014/main" id="{90B8F912-2C94-466B-AA10-D7D51A80AA7D}"/>
                </a:ext>
              </a:extLst>
            </p:cNvPr>
            <p:cNvSpPr/>
            <p:nvPr/>
          </p:nvSpPr>
          <p:spPr>
            <a:xfrm>
              <a:off x="3745220"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5xx</a:t>
              </a:r>
            </a:p>
          </p:txBody>
        </p:sp>
      </p:grpSp>
      <p:grpSp>
        <p:nvGrpSpPr>
          <p:cNvPr id="6" name="Group 5">
            <a:extLst>
              <a:ext uri="{FF2B5EF4-FFF2-40B4-BE49-F238E27FC236}">
                <a16:creationId xmlns:a16="http://schemas.microsoft.com/office/drawing/2014/main" id="{3A9B98AA-0052-4BE2-8635-250E89A90826}"/>
              </a:ext>
            </a:extLst>
          </p:cNvPr>
          <p:cNvGrpSpPr/>
          <p:nvPr/>
        </p:nvGrpSpPr>
        <p:grpSpPr>
          <a:xfrm>
            <a:off x="5251221" y="3481266"/>
            <a:ext cx="1260000" cy="924333"/>
            <a:chOff x="5251221" y="3481266"/>
            <a:chExt cx="1260000" cy="924333"/>
          </a:xfrm>
        </p:grpSpPr>
        <p:sp>
          <p:nvSpPr>
            <p:cNvPr id="227" name="Rectangle 226">
              <a:extLst>
                <a:ext uri="{FF2B5EF4-FFF2-40B4-BE49-F238E27FC236}">
                  <a16:creationId xmlns:a16="http://schemas.microsoft.com/office/drawing/2014/main" id="{2EC7F1FD-2F4E-4C38-BC4B-99C3574F471B}"/>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IP Core</a:t>
              </a:r>
            </a:p>
          </p:txBody>
        </p:sp>
        <p:sp>
          <p:nvSpPr>
            <p:cNvPr id="228" name="Rectangle 227">
              <a:extLst>
                <a:ext uri="{FF2B5EF4-FFF2-40B4-BE49-F238E27FC236}">
                  <a16:creationId xmlns:a16="http://schemas.microsoft.com/office/drawing/2014/main" id="{EF3A3F2A-E60E-43F0-ABFB-48DBCA1F5F2E}"/>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5xx</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00" dirty="0">
                  <a:solidFill>
                    <a:srgbClr val="005073"/>
                  </a:solidFill>
                  <a:latin typeface="CiscoSansTT" panose="020B0503020201020303" pitchFamily="34" charset="0"/>
                  <a:cs typeface="CiscoSansTT" panose="020B0503020201020303" pitchFamily="34" charset="0"/>
                </a:rPr>
                <a:t>ASR9k</a:t>
              </a:r>
              <a:endPar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endParaRPr>
            </a:p>
          </p:txBody>
        </p:sp>
      </p:grpSp>
      <p:grpSp>
        <p:nvGrpSpPr>
          <p:cNvPr id="2" name="Group 1">
            <a:extLst>
              <a:ext uri="{FF2B5EF4-FFF2-40B4-BE49-F238E27FC236}">
                <a16:creationId xmlns:a16="http://schemas.microsoft.com/office/drawing/2014/main" id="{C1DC86CA-08CD-4826-94F1-5C8EB42EFC67}"/>
              </a:ext>
            </a:extLst>
          </p:cNvPr>
          <p:cNvGrpSpPr/>
          <p:nvPr/>
        </p:nvGrpSpPr>
        <p:grpSpPr>
          <a:xfrm>
            <a:off x="733218" y="3481266"/>
            <a:ext cx="1260000" cy="924333"/>
            <a:chOff x="733218" y="3481266"/>
            <a:chExt cx="1260000" cy="924333"/>
          </a:xfrm>
        </p:grpSpPr>
        <p:sp>
          <p:nvSpPr>
            <p:cNvPr id="229" name="Rectangle 228">
              <a:extLst>
                <a:ext uri="{FF2B5EF4-FFF2-40B4-BE49-F238E27FC236}">
                  <a16:creationId xmlns:a16="http://schemas.microsoft.com/office/drawing/2014/main" id="{A075285E-91AD-4310-8CDC-10DBD109C30B}"/>
                </a:ext>
              </a:extLst>
            </p:cNvPr>
            <p:cNvSpPr/>
            <p:nvPr/>
          </p:nvSpPr>
          <p:spPr>
            <a:xfrm>
              <a:off x="733218"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VRAN</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5xx</a:t>
              </a:r>
            </a:p>
          </p:txBody>
        </p:sp>
        <p:sp>
          <p:nvSpPr>
            <p:cNvPr id="230" name="Rectangle 229">
              <a:extLst>
                <a:ext uri="{FF2B5EF4-FFF2-40B4-BE49-F238E27FC236}">
                  <a16:creationId xmlns:a16="http://schemas.microsoft.com/office/drawing/2014/main" id="{7A1264B6-D59E-4D6B-989E-30EEC84CA26C}"/>
                </a:ext>
              </a:extLst>
            </p:cNvPr>
            <p:cNvSpPr/>
            <p:nvPr/>
          </p:nvSpPr>
          <p:spPr>
            <a:xfrm>
              <a:off x="752600"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RAN / Cell Rx</a:t>
              </a:r>
              <a:endParaRPr lang="en-US" sz="1000" b="1" dirty="0">
                <a:solidFill>
                  <a:schemeClr val="bg2"/>
                </a:solidFill>
                <a:latin typeface="CiscoSansTT" panose="020B0503020201020303" pitchFamily="34" charset="0"/>
                <a:cs typeface="CiscoSansTT" panose="020B0503020201020303" pitchFamily="34" charset="0"/>
              </a:endParaRPr>
            </a:p>
          </p:txBody>
        </p:sp>
      </p:grpSp>
      <p:grpSp>
        <p:nvGrpSpPr>
          <p:cNvPr id="414" name="Group 413">
            <a:extLst>
              <a:ext uri="{FF2B5EF4-FFF2-40B4-BE49-F238E27FC236}">
                <a16:creationId xmlns:a16="http://schemas.microsoft.com/office/drawing/2014/main" id="{071CB512-0945-485F-ADA9-5E97A8D50389}"/>
              </a:ext>
            </a:extLst>
          </p:cNvPr>
          <p:cNvGrpSpPr/>
          <p:nvPr/>
        </p:nvGrpSpPr>
        <p:grpSpPr>
          <a:xfrm>
            <a:off x="732673" y="1788912"/>
            <a:ext cx="7368255" cy="1567451"/>
            <a:chOff x="732673" y="1788912"/>
            <a:chExt cx="7368255" cy="1567451"/>
          </a:xfrm>
        </p:grpSpPr>
        <p:sp>
          <p:nvSpPr>
            <p:cNvPr id="415" name="Rectangle: Rounded Corners 152">
              <a:extLst>
                <a:ext uri="{FF2B5EF4-FFF2-40B4-BE49-F238E27FC236}">
                  <a16:creationId xmlns:a16="http://schemas.microsoft.com/office/drawing/2014/main" id="{66433419-550A-47AB-8785-816C2443B4E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6" name="Oval 415">
              <a:extLst>
                <a:ext uri="{FF2B5EF4-FFF2-40B4-BE49-F238E27FC236}">
                  <a16:creationId xmlns:a16="http://schemas.microsoft.com/office/drawing/2014/main" id="{A682726D-FB62-4139-A8B8-CE14DC4CFDE3}"/>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7" name="Group 416">
              <a:extLst>
                <a:ext uri="{FF2B5EF4-FFF2-40B4-BE49-F238E27FC236}">
                  <a16:creationId xmlns:a16="http://schemas.microsoft.com/office/drawing/2014/main" id="{2A30886C-70E2-4EE4-B625-E1429A1E714D}"/>
                </a:ext>
              </a:extLst>
            </p:cNvPr>
            <p:cNvGrpSpPr/>
            <p:nvPr/>
          </p:nvGrpSpPr>
          <p:grpSpPr>
            <a:xfrm rot="16200000">
              <a:off x="1787492" y="2428962"/>
              <a:ext cx="393048" cy="893063"/>
              <a:chOff x="1053576" y="845943"/>
              <a:chExt cx="429692" cy="976323"/>
            </a:xfrm>
          </p:grpSpPr>
          <p:sp>
            <p:nvSpPr>
              <p:cNvPr id="580" name="Arc 579">
                <a:extLst>
                  <a:ext uri="{FF2B5EF4-FFF2-40B4-BE49-F238E27FC236}">
                    <a16:creationId xmlns:a16="http://schemas.microsoft.com/office/drawing/2014/main" id="{A16FAA23-EE7E-48E5-AAED-0EB383EE5810}"/>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81" name="Straight Connector 580">
                <a:extLst>
                  <a:ext uri="{FF2B5EF4-FFF2-40B4-BE49-F238E27FC236}">
                    <a16:creationId xmlns:a16="http://schemas.microsoft.com/office/drawing/2014/main" id="{C5D63DF3-6922-4184-9AC5-A69A8D20FC96}"/>
                  </a:ext>
                </a:extLst>
              </p:cNvPr>
              <p:cNvCxnSpPr>
                <a:cxnSpLocks/>
                <a:endCxn id="580"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9D43D8EF-F1D0-4356-8F95-EEFDDD5F1CD0}"/>
                  </a:ext>
                </a:extLst>
              </p:cNvPr>
              <p:cNvCxnSpPr>
                <a:cxnSpLocks/>
                <a:stCxn id="580"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8" name="Group 417">
              <a:extLst>
                <a:ext uri="{FF2B5EF4-FFF2-40B4-BE49-F238E27FC236}">
                  <a16:creationId xmlns:a16="http://schemas.microsoft.com/office/drawing/2014/main" id="{432B770E-B2CA-47A6-B185-F021B746C2E4}"/>
                </a:ext>
              </a:extLst>
            </p:cNvPr>
            <p:cNvGrpSpPr/>
            <p:nvPr/>
          </p:nvGrpSpPr>
          <p:grpSpPr>
            <a:xfrm>
              <a:off x="1139370" y="2057674"/>
              <a:ext cx="874980" cy="214533"/>
              <a:chOff x="1053577" y="1587731"/>
              <a:chExt cx="956555" cy="234534"/>
            </a:xfrm>
          </p:grpSpPr>
          <p:sp>
            <p:nvSpPr>
              <p:cNvPr id="577" name="Arc 576">
                <a:extLst>
                  <a:ext uri="{FF2B5EF4-FFF2-40B4-BE49-F238E27FC236}">
                    <a16:creationId xmlns:a16="http://schemas.microsoft.com/office/drawing/2014/main" id="{57C513BC-7515-47A3-9E87-79DB1B11B8BA}"/>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78" name="Straight Connector 577">
                <a:extLst>
                  <a:ext uri="{FF2B5EF4-FFF2-40B4-BE49-F238E27FC236}">
                    <a16:creationId xmlns:a16="http://schemas.microsoft.com/office/drawing/2014/main" id="{CDC375ED-E430-4E96-8678-10DB5A94CFCC}"/>
                  </a:ext>
                </a:extLst>
              </p:cNvPr>
              <p:cNvCxnSpPr>
                <a:cxnSpLocks/>
                <a:endCxn id="577"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7CA68352-600C-49C4-A8BE-4AF25C2746F1}"/>
                  </a:ext>
                </a:extLst>
              </p:cNvPr>
              <p:cNvCxnSpPr>
                <a:cxnSpLocks/>
                <a:stCxn id="577"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77484D01-673D-4BCA-9347-47C4749CDD1D}"/>
                </a:ext>
              </a:extLst>
            </p:cNvPr>
            <p:cNvGrpSpPr/>
            <p:nvPr/>
          </p:nvGrpSpPr>
          <p:grpSpPr>
            <a:xfrm>
              <a:off x="1471454" y="2049161"/>
              <a:ext cx="874980" cy="168558"/>
              <a:chOff x="1416621" y="1599856"/>
              <a:chExt cx="956555" cy="184273"/>
            </a:xfrm>
          </p:grpSpPr>
          <p:sp>
            <p:nvSpPr>
              <p:cNvPr id="574" name="Arc 573">
                <a:extLst>
                  <a:ext uri="{FF2B5EF4-FFF2-40B4-BE49-F238E27FC236}">
                    <a16:creationId xmlns:a16="http://schemas.microsoft.com/office/drawing/2014/main" id="{84F879B2-C39C-4576-BADF-40F022935540}"/>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75" name="Straight Connector 574">
                <a:extLst>
                  <a:ext uri="{FF2B5EF4-FFF2-40B4-BE49-F238E27FC236}">
                    <a16:creationId xmlns:a16="http://schemas.microsoft.com/office/drawing/2014/main" id="{3C895289-37F1-4AB2-89A8-F3D013BD1C05}"/>
                  </a:ext>
                </a:extLst>
              </p:cNvPr>
              <p:cNvCxnSpPr>
                <a:cxnSpLocks/>
                <a:endCxn id="574"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27FF5772-7A24-4D80-883A-3CD3BCDD08A5}"/>
                  </a:ext>
                </a:extLst>
              </p:cNvPr>
              <p:cNvCxnSpPr>
                <a:cxnSpLocks/>
                <a:stCxn id="574"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0" name="Group 419">
              <a:extLst>
                <a:ext uri="{FF2B5EF4-FFF2-40B4-BE49-F238E27FC236}">
                  <a16:creationId xmlns:a16="http://schemas.microsoft.com/office/drawing/2014/main" id="{4D1338F0-ADE4-4547-AB21-D99037D0EB08}"/>
                </a:ext>
              </a:extLst>
            </p:cNvPr>
            <p:cNvGrpSpPr/>
            <p:nvPr/>
          </p:nvGrpSpPr>
          <p:grpSpPr>
            <a:xfrm>
              <a:off x="1802844" y="1995223"/>
              <a:ext cx="662063" cy="168558"/>
              <a:chOff x="1778907" y="1564701"/>
              <a:chExt cx="723787" cy="184273"/>
            </a:xfrm>
          </p:grpSpPr>
          <p:sp>
            <p:nvSpPr>
              <p:cNvPr id="571" name="Arc 570">
                <a:extLst>
                  <a:ext uri="{FF2B5EF4-FFF2-40B4-BE49-F238E27FC236}">
                    <a16:creationId xmlns:a16="http://schemas.microsoft.com/office/drawing/2014/main" id="{AA310D21-499B-4346-BAE9-91B856CC3103}"/>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72" name="Straight Connector 571">
                <a:extLst>
                  <a:ext uri="{FF2B5EF4-FFF2-40B4-BE49-F238E27FC236}">
                    <a16:creationId xmlns:a16="http://schemas.microsoft.com/office/drawing/2014/main" id="{9B9B4120-F430-432E-A23B-D11A96DEC292}"/>
                  </a:ext>
                </a:extLst>
              </p:cNvPr>
              <p:cNvCxnSpPr>
                <a:cxnSpLocks/>
                <a:endCxn id="57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83857221-5A81-4E04-8751-2A3018CEBC97}"/>
                  </a:ext>
                </a:extLst>
              </p:cNvPr>
              <p:cNvCxnSpPr>
                <a:cxnSpLocks/>
                <a:stCxn id="57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21" name="Oval 420">
              <a:extLst>
                <a:ext uri="{FF2B5EF4-FFF2-40B4-BE49-F238E27FC236}">
                  <a16:creationId xmlns:a16="http://schemas.microsoft.com/office/drawing/2014/main" id="{0BEF32C6-12FD-4C09-8875-5F0D7F7769F8}"/>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2" name="Oval 421">
              <a:extLst>
                <a:ext uri="{FF2B5EF4-FFF2-40B4-BE49-F238E27FC236}">
                  <a16:creationId xmlns:a16="http://schemas.microsoft.com/office/drawing/2014/main" id="{0AF9A0BF-9022-4B92-B184-D9FCF1D8C408}"/>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3" name="Oval 422">
              <a:extLst>
                <a:ext uri="{FF2B5EF4-FFF2-40B4-BE49-F238E27FC236}">
                  <a16:creationId xmlns:a16="http://schemas.microsoft.com/office/drawing/2014/main" id="{0CC49AC7-A33D-4FEF-ACF5-AD3D023C8AE7}"/>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4" name="Straight Connector 423">
              <a:extLst>
                <a:ext uri="{FF2B5EF4-FFF2-40B4-BE49-F238E27FC236}">
                  <a16:creationId xmlns:a16="http://schemas.microsoft.com/office/drawing/2014/main" id="{995F8BA5-9E35-4B52-879A-2548EB66172C}"/>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425" name="Oval 424">
              <a:extLst>
                <a:ext uri="{FF2B5EF4-FFF2-40B4-BE49-F238E27FC236}">
                  <a16:creationId xmlns:a16="http://schemas.microsoft.com/office/drawing/2014/main" id="{90632BCF-B697-4128-9C32-5C01C39BF526}"/>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6" name="Group 425">
              <a:extLst>
                <a:ext uri="{FF2B5EF4-FFF2-40B4-BE49-F238E27FC236}">
                  <a16:creationId xmlns:a16="http://schemas.microsoft.com/office/drawing/2014/main" id="{5C4445D5-41F3-463F-A207-EDE6BE4BE80C}"/>
                </a:ext>
              </a:extLst>
            </p:cNvPr>
            <p:cNvGrpSpPr/>
            <p:nvPr/>
          </p:nvGrpSpPr>
          <p:grpSpPr>
            <a:xfrm>
              <a:off x="4825353" y="1970648"/>
              <a:ext cx="2313166" cy="911499"/>
              <a:chOff x="6257463" y="1617978"/>
              <a:chExt cx="1576956" cy="996478"/>
            </a:xfrm>
          </p:grpSpPr>
          <p:grpSp>
            <p:nvGrpSpPr>
              <p:cNvPr id="561" name="Group 560">
                <a:extLst>
                  <a:ext uri="{FF2B5EF4-FFF2-40B4-BE49-F238E27FC236}">
                    <a16:creationId xmlns:a16="http://schemas.microsoft.com/office/drawing/2014/main" id="{956CA148-D73E-49CB-A1BF-0C90FB1DEEF1}"/>
                  </a:ext>
                </a:extLst>
              </p:cNvPr>
              <p:cNvGrpSpPr/>
              <p:nvPr/>
            </p:nvGrpSpPr>
            <p:grpSpPr>
              <a:xfrm>
                <a:off x="6296881" y="2015544"/>
                <a:ext cx="1537538" cy="598912"/>
                <a:chOff x="6652481" y="2039451"/>
                <a:chExt cx="1537538" cy="598912"/>
              </a:xfrm>
              <a:solidFill>
                <a:schemeClr val="bg2">
                  <a:lumMod val="85000"/>
                </a:schemeClr>
              </a:solidFill>
            </p:grpSpPr>
            <p:sp>
              <p:nvSpPr>
                <p:cNvPr id="567" name="Rectangle: Rounded Corners 6">
                  <a:extLst>
                    <a:ext uri="{FF2B5EF4-FFF2-40B4-BE49-F238E27FC236}">
                      <a16:creationId xmlns:a16="http://schemas.microsoft.com/office/drawing/2014/main" id="{01501ED8-E98F-4EE4-9F45-325F9DBC10DF}"/>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8" name="Rectangle: Rounded Corners 140">
                  <a:extLst>
                    <a:ext uri="{FF2B5EF4-FFF2-40B4-BE49-F238E27FC236}">
                      <a16:creationId xmlns:a16="http://schemas.microsoft.com/office/drawing/2014/main" id="{93E4A046-27AC-43C4-B0DF-F87ED4B5DA9F}"/>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9" name="Rectangle: Rounded Corners 141">
                  <a:extLst>
                    <a:ext uri="{FF2B5EF4-FFF2-40B4-BE49-F238E27FC236}">
                      <a16:creationId xmlns:a16="http://schemas.microsoft.com/office/drawing/2014/main" id="{9616CBC8-9838-4315-89D8-127ABE451E7D}"/>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0" name="Rectangle: Rounded Corners 142">
                  <a:extLst>
                    <a:ext uri="{FF2B5EF4-FFF2-40B4-BE49-F238E27FC236}">
                      <a16:creationId xmlns:a16="http://schemas.microsoft.com/office/drawing/2014/main" id="{30554F36-9E80-4563-9646-709761B1BDB3}"/>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62" name="Group 561">
                <a:extLst>
                  <a:ext uri="{FF2B5EF4-FFF2-40B4-BE49-F238E27FC236}">
                    <a16:creationId xmlns:a16="http://schemas.microsoft.com/office/drawing/2014/main" id="{811F7F10-406B-42FA-B163-018089FC37E8}"/>
                  </a:ext>
                </a:extLst>
              </p:cNvPr>
              <p:cNvGrpSpPr/>
              <p:nvPr/>
            </p:nvGrpSpPr>
            <p:grpSpPr>
              <a:xfrm>
                <a:off x="6257463" y="1617978"/>
                <a:ext cx="1553564" cy="594092"/>
                <a:chOff x="6606761" y="1479381"/>
                <a:chExt cx="1566167" cy="598912"/>
              </a:xfrm>
              <a:solidFill>
                <a:schemeClr val="bg2">
                  <a:lumMod val="85000"/>
                </a:schemeClr>
              </a:solidFill>
            </p:grpSpPr>
            <p:sp>
              <p:nvSpPr>
                <p:cNvPr id="563" name="Rectangle: Rounded Corners 148">
                  <a:extLst>
                    <a:ext uri="{FF2B5EF4-FFF2-40B4-BE49-F238E27FC236}">
                      <a16:creationId xmlns:a16="http://schemas.microsoft.com/office/drawing/2014/main" id="{0AB7D6CD-102A-4040-A63B-D37FFF75E6A6}"/>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4" name="Rectangle: Rounded Corners 149">
                  <a:extLst>
                    <a:ext uri="{FF2B5EF4-FFF2-40B4-BE49-F238E27FC236}">
                      <a16:creationId xmlns:a16="http://schemas.microsoft.com/office/drawing/2014/main" id="{0996C544-FC8C-4FE2-97AD-33EFC3A5162A}"/>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5" name="Rectangle: Rounded Corners 150">
                  <a:extLst>
                    <a:ext uri="{FF2B5EF4-FFF2-40B4-BE49-F238E27FC236}">
                      <a16:creationId xmlns:a16="http://schemas.microsoft.com/office/drawing/2014/main" id="{C7F8E6C2-C791-4A6A-A317-19977F4D3B57}"/>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6" name="Rectangle: Rounded Corners 151">
                  <a:extLst>
                    <a:ext uri="{FF2B5EF4-FFF2-40B4-BE49-F238E27FC236}">
                      <a16:creationId xmlns:a16="http://schemas.microsoft.com/office/drawing/2014/main" id="{616874A7-B343-466F-BD95-6C7CE7FCFC3C}"/>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7" name="Group 426">
              <a:extLst>
                <a:ext uri="{FF2B5EF4-FFF2-40B4-BE49-F238E27FC236}">
                  <a16:creationId xmlns:a16="http://schemas.microsoft.com/office/drawing/2014/main" id="{5D80F346-7841-4064-8F45-5080D7E9DC1B}"/>
                </a:ext>
              </a:extLst>
            </p:cNvPr>
            <p:cNvGrpSpPr/>
            <p:nvPr/>
          </p:nvGrpSpPr>
          <p:grpSpPr>
            <a:xfrm>
              <a:off x="4495170" y="1970649"/>
              <a:ext cx="1509591" cy="909293"/>
              <a:chOff x="4722239" y="1617979"/>
              <a:chExt cx="1650330" cy="994067"/>
            </a:xfrm>
          </p:grpSpPr>
          <p:grpSp>
            <p:nvGrpSpPr>
              <p:cNvPr id="551" name="Group 550">
                <a:extLst>
                  <a:ext uri="{FF2B5EF4-FFF2-40B4-BE49-F238E27FC236}">
                    <a16:creationId xmlns:a16="http://schemas.microsoft.com/office/drawing/2014/main" id="{70735880-CB88-4F6E-BE49-E2C976899E04}"/>
                  </a:ext>
                </a:extLst>
              </p:cNvPr>
              <p:cNvGrpSpPr/>
              <p:nvPr/>
            </p:nvGrpSpPr>
            <p:grpSpPr>
              <a:xfrm>
                <a:off x="4722239" y="1617979"/>
                <a:ext cx="1604404" cy="594092"/>
                <a:chOff x="5071331" y="1479382"/>
                <a:chExt cx="1617419" cy="598911"/>
              </a:xfrm>
              <a:solidFill>
                <a:schemeClr val="bg2">
                  <a:lumMod val="85000"/>
                </a:schemeClr>
              </a:solidFill>
            </p:grpSpPr>
            <p:sp>
              <p:nvSpPr>
                <p:cNvPr id="557" name="Rectangle: Rounded Corners 161">
                  <a:extLst>
                    <a:ext uri="{FF2B5EF4-FFF2-40B4-BE49-F238E27FC236}">
                      <a16:creationId xmlns:a16="http://schemas.microsoft.com/office/drawing/2014/main" id="{C9FB7876-AFB3-44DE-A594-5F9585F63CE2}"/>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8" name="Rectangle: Rounded Corners 162">
                  <a:extLst>
                    <a:ext uri="{FF2B5EF4-FFF2-40B4-BE49-F238E27FC236}">
                      <a16:creationId xmlns:a16="http://schemas.microsoft.com/office/drawing/2014/main" id="{9069F53D-7B23-4895-AB98-F502C3135F7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9" name="Rectangle: Rounded Corners 163">
                  <a:extLst>
                    <a:ext uri="{FF2B5EF4-FFF2-40B4-BE49-F238E27FC236}">
                      <a16:creationId xmlns:a16="http://schemas.microsoft.com/office/drawing/2014/main" id="{0FEC1854-4A88-4E22-85E7-6AFA65819298}"/>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0" name="Rectangle: Rounded Corners 164">
                  <a:extLst>
                    <a:ext uri="{FF2B5EF4-FFF2-40B4-BE49-F238E27FC236}">
                      <a16:creationId xmlns:a16="http://schemas.microsoft.com/office/drawing/2014/main" id="{59DDFF06-7989-4A31-ACE7-E67617574590}"/>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52" name="Group 551">
                <a:extLst>
                  <a:ext uri="{FF2B5EF4-FFF2-40B4-BE49-F238E27FC236}">
                    <a16:creationId xmlns:a16="http://schemas.microsoft.com/office/drawing/2014/main" id="{432A5446-55DA-4B1F-9D75-58015CAB0B7C}"/>
                  </a:ext>
                </a:extLst>
              </p:cNvPr>
              <p:cNvGrpSpPr/>
              <p:nvPr/>
            </p:nvGrpSpPr>
            <p:grpSpPr>
              <a:xfrm>
                <a:off x="4819003" y="2017956"/>
                <a:ext cx="1553566" cy="594090"/>
                <a:chOff x="5168302" y="2039452"/>
                <a:chExt cx="1566168" cy="598911"/>
              </a:xfrm>
              <a:solidFill>
                <a:schemeClr val="bg2">
                  <a:lumMod val="85000"/>
                </a:schemeClr>
              </a:solidFill>
            </p:grpSpPr>
            <p:sp>
              <p:nvSpPr>
                <p:cNvPr id="553" name="Rectangle: Rounded Corners 165">
                  <a:extLst>
                    <a:ext uri="{FF2B5EF4-FFF2-40B4-BE49-F238E27FC236}">
                      <a16:creationId xmlns:a16="http://schemas.microsoft.com/office/drawing/2014/main" id="{795B5F93-BF38-4327-877F-C2259E566CDF}"/>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4" name="Rectangle: Rounded Corners 166">
                  <a:extLst>
                    <a:ext uri="{FF2B5EF4-FFF2-40B4-BE49-F238E27FC236}">
                      <a16:creationId xmlns:a16="http://schemas.microsoft.com/office/drawing/2014/main" id="{C231098D-D5A5-42B1-8C77-6AEF5CD87E24}"/>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5" name="Rectangle: Rounded Corners 167">
                  <a:extLst>
                    <a:ext uri="{FF2B5EF4-FFF2-40B4-BE49-F238E27FC236}">
                      <a16:creationId xmlns:a16="http://schemas.microsoft.com/office/drawing/2014/main" id="{2F367DA3-71AA-4057-9384-191AD63633BC}"/>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6" name="Rectangle: Rounded Corners 168">
                  <a:extLst>
                    <a:ext uri="{FF2B5EF4-FFF2-40B4-BE49-F238E27FC236}">
                      <a16:creationId xmlns:a16="http://schemas.microsoft.com/office/drawing/2014/main" id="{E3577BD0-241E-4838-96E2-43B3BB637DB5}"/>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8" name="Group 427">
              <a:extLst>
                <a:ext uri="{FF2B5EF4-FFF2-40B4-BE49-F238E27FC236}">
                  <a16:creationId xmlns:a16="http://schemas.microsoft.com/office/drawing/2014/main" id="{D50D2B2A-A262-4F70-B228-744CCEC7EFBE}"/>
                </a:ext>
              </a:extLst>
            </p:cNvPr>
            <p:cNvGrpSpPr/>
            <p:nvPr/>
          </p:nvGrpSpPr>
          <p:grpSpPr>
            <a:xfrm>
              <a:off x="3086190" y="2006242"/>
              <a:ext cx="1509592" cy="909292"/>
              <a:chOff x="3181899" y="1656890"/>
              <a:chExt cx="1650332" cy="994066"/>
            </a:xfrm>
          </p:grpSpPr>
          <p:grpSp>
            <p:nvGrpSpPr>
              <p:cNvPr id="541" name="Group 540">
                <a:extLst>
                  <a:ext uri="{FF2B5EF4-FFF2-40B4-BE49-F238E27FC236}">
                    <a16:creationId xmlns:a16="http://schemas.microsoft.com/office/drawing/2014/main" id="{68CA2F72-0AB6-43B0-94D7-A2D2A5BE7D50}"/>
                  </a:ext>
                </a:extLst>
              </p:cNvPr>
              <p:cNvGrpSpPr/>
              <p:nvPr/>
            </p:nvGrpSpPr>
            <p:grpSpPr>
              <a:xfrm>
                <a:off x="3227827" y="2056864"/>
                <a:ext cx="1604404" cy="594092"/>
                <a:chOff x="3576919" y="2078361"/>
                <a:chExt cx="1617419" cy="598911"/>
              </a:xfrm>
              <a:solidFill>
                <a:schemeClr val="bg2">
                  <a:lumMod val="85000"/>
                </a:schemeClr>
              </a:solidFill>
            </p:grpSpPr>
            <p:sp>
              <p:nvSpPr>
                <p:cNvPr id="547" name="Rectangle: Rounded Corners 170">
                  <a:extLst>
                    <a:ext uri="{FF2B5EF4-FFF2-40B4-BE49-F238E27FC236}">
                      <a16:creationId xmlns:a16="http://schemas.microsoft.com/office/drawing/2014/main" id="{7EDED468-34A3-4D1E-8BE3-BCA9B4BD62C5}"/>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8" name="Rectangle: Rounded Corners 172">
                  <a:extLst>
                    <a:ext uri="{FF2B5EF4-FFF2-40B4-BE49-F238E27FC236}">
                      <a16:creationId xmlns:a16="http://schemas.microsoft.com/office/drawing/2014/main" id="{A6569433-62FA-47AC-99A0-0166244F2536}"/>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9" name="Rectangle: Rounded Corners 173">
                  <a:extLst>
                    <a:ext uri="{FF2B5EF4-FFF2-40B4-BE49-F238E27FC236}">
                      <a16:creationId xmlns:a16="http://schemas.microsoft.com/office/drawing/2014/main" id="{4247FAD5-D390-4BAA-8759-658E0BD2B186}"/>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0" name="Rectangle: Rounded Corners 174">
                  <a:extLst>
                    <a:ext uri="{FF2B5EF4-FFF2-40B4-BE49-F238E27FC236}">
                      <a16:creationId xmlns:a16="http://schemas.microsoft.com/office/drawing/2014/main" id="{2A335CB2-F045-45B1-9CD5-1AF09C775DED}"/>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42" name="Group 541">
                <a:extLst>
                  <a:ext uri="{FF2B5EF4-FFF2-40B4-BE49-F238E27FC236}">
                    <a16:creationId xmlns:a16="http://schemas.microsoft.com/office/drawing/2014/main" id="{3A809CAC-23C7-49B0-BFDB-739FA295FF08}"/>
                  </a:ext>
                </a:extLst>
              </p:cNvPr>
              <p:cNvGrpSpPr/>
              <p:nvPr/>
            </p:nvGrpSpPr>
            <p:grpSpPr>
              <a:xfrm>
                <a:off x="3181899" y="1656890"/>
                <a:ext cx="1443175" cy="594090"/>
                <a:chOff x="3531199" y="1518292"/>
                <a:chExt cx="1454882" cy="598911"/>
              </a:xfrm>
              <a:solidFill>
                <a:schemeClr val="bg2">
                  <a:lumMod val="85000"/>
                </a:schemeClr>
              </a:solidFill>
            </p:grpSpPr>
            <p:sp>
              <p:nvSpPr>
                <p:cNvPr id="543" name="Rectangle: Rounded Corners 175">
                  <a:extLst>
                    <a:ext uri="{FF2B5EF4-FFF2-40B4-BE49-F238E27FC236}">
                      <a16:creationId xmlns:a16="http://schemas.microsoft.com/office/drawing/2014/main" id="{6689CB55-9603-45FA-95EF-8EC89E5AD3C8}"/>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4" name="Rectangle: Rounded Corners 176">
                  <a:extLst>
                    <a:ext uri="{FF2B5EF4-FFF2-40B4-BE49-F238E27FC236}">
                      <a16:creationId xmlns:a16="http://schemas.microsoft.com/office/drawing/2014/main" id="{AA44B59E-9EC7-420C-95B2-504B3077B974}"/>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5" name="Rectangle: Rounded Corners 177">
                  <a:extLst>
                    <a:ext uri="{FF2B5EF4-FFF2-40B4-BE49-F238E27FC236}">
                      <a16:creationId xmlns:a16="http://schemas.microsoft.com/office/drawing/2014/main" id="{0F584308-9C74-4352-8591-A7AD5261180D}"/>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6" name="Rectangle: Rounded Corners 178">
                  <a:extLst>
                    <a:ext uri="{FF2B5EF4-FFF2-40B4-BE49-F238E27FC236}">
                      <a16:creationId xmlns:a16="http://schemas.microsoft.com/office/drawing/2014/main" id="{B913CE34-C127-47F2-9AC9-5CF9EABCAC94}"/>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29" name="Group 428">
              <a:extLst>
                <a:ext uri="{FF2B5EF4-FFF2-40B4-BE49-F238E27FC236}">
                  <a16:creationId xmlns:a16="http://schemas.microsoft.com/office/drawing/2014/main" id="{586E91CF-9E4A-45D6-A583-6EA74A7E2649}"/>
                </a:ext>
              </a:extLst>
            </p:cNvPr>
            <p:cNvGrpSpPr/>
            <p:nvPr/>
          </p:nvGrpSpPr>
          <p:grpSpPr>
            <a:xfrm>
              <a:off x="1799537" y="2094016"/>
              <a:ext cx="1491424" cy="749099"/>
              <a:chOff x="6621828" y="1373655"/>
              <a:chExt cx="1630470" cy="818938"/>
            </a:xfrm>
            <a:solidFill>
              <a:schemeClr val="bg2">
                <a:lumMod val="85000"/>
              </a:schemeClr>
            </a:solidFill>
          </p:grpSpPr>
          <p:sp>
            <p:nvSpPr>
              <p:cNvPr id="535" name="Rectangle: Rounded Corners 190">
                <a:extLst>
                  <a:ext uri="{FF2B5EF4-FFF2-40B4-BE49-F238E27FC236}">
                    <a16:creationId xmlns:a16="http://schemas.microsoft.com/office/drawing/2014/main" id="{948E9081-CD96-436A-AC4B-6F72F056F6F8}"/>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6" name="Rectangle: Rounded Corners 191">
                <a:extLst>
                  <a:ext uri="{FF2B5EF4-FFF2-40B4-BE49-F238E27FC236}">
                    <a16:creationId xmlns:a16="http://schemas.microsoft.com/office/drawing/2014/main" id="{A81A9705-D467-46F0-82B8-A01D92179FFE}"/>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7" name="Rectangle: Rounded Corners 192">
                <a:extLst>
                  <a:ext uri="{FF2B5EF4-FFF2-40B4-BE49-F238E27FC236}">
                    <a16:creationId xmlns:a16="http://schemas.microsoft.com/office/drawing/2014/main" id="{4B0F9048-BE28-43F0-96E5-4D865F5ECDC0}"/>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8" name="Rectangle: Rounded Corners 194">
                <a:extLst>
                  <a:ext uri="{FF2B5EF4-FFF2-40B4-BE49-F238E27FC236}">
                    <a16:creationId xmlns:a16="http://schemas.microsoft.com/office/drawing/2014/main" id="{B8646E8C-09E9-438A-9ADC-920A0A4C960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9" name="Rectangle: Rounded Corners 228">
                <a:extLst>
                  <a:ext uri="{FF2B5EF4-FFF2-40B4-BE49-F238E27FC236}">
                    <a16:creationId xmlns:a16="http://schemas.microsoft.com/office/drawing/2014/main" id="{ABFE1E99-17E1-4515-9676-CFBB2B12E140}"/>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0" name="Rectangle: Rounded Corners 229">
                <a:extLst>
                  <a:ext uri="{FF2B5EF4-FFF2-40B4-BE49-F238E27FC236}">
                    <a16:creationId xmlns:a16="http://schemas.microsoft.com/office/drawing/2014/main" id="{345A3AA8-488D-4048-847B-D088EF17E615}"/>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30" name="TextBox 429">
              <a:extLst>
                <a:ext uri="{FF2B5EF4-FFF2-40B4-BE49-F238E27FC236}">
                  <a16:creationId xmlns:a16="http://schemas.microsoft.com/office/drawing/2014/main" id="{DD827FBC-E349-4877-AEDA-0A05594455BB}"/>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431" name="TextBox 430">
              <a:extLst>
                <a:ext uri="{FF2B5EF4-FFF2-40B4-BE49-F238E27FC236}">
                  <a16:creationId xmlns:a16="http://schemas.microsoft.com/office/drawing/2014/main" id="{0D38132E-92B8-46F3-8471-C7B7E4004432}"/>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432" name="TextBox 431">
              <a:extLst>
                <a:ext uri="{FF2B5EF4-FFF2-40B4-BE49-F238E27FC236}">
                  <a16:creationId xmlns:a16="http://schemas.microsoft.com/office/drawing/2014/main" id="{DD953ADC-8E6E-40DA-94CD-7FEB9B7597A5}"/>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433" name="Group 432">
              <a:extLst>
                <a:ext uri="{FF2B5EF4-FFF2-40B4-BE49-F238E27FC236}">
                  <a16:creationId xmlns:a16="http://schemas.microsoft.com/office/drawing/2014/main" id="{87602542-FAC5-4BDF-A4A8-E22544CC64CA}"/>
                </a:ext>
              </a:extLst>
            </p:cNvPr>
            <p:cNvGrpSpPr/>
            <p:nvPr/>
          </p:nvGrpSpPr>
          <p:grpSpPr>
            <a:xfrm>
              <a:off x="1722376" y="1935055"/>
              <a:ext cx="160263" cy="98451"/>
              <a:chOff x="3221673" y="3946130"/>
              <a:chExt cx="521162" cy="320153"/>
            </a:xfrm>
            <a:solidFill>
              <a:schemeClr val="accent2"/>
            </a:solidFill>
          </p:grpSpPr>
          <p:sp>
            <p:nvSpPr>
              <p:cNvPr id="533" name="Freeform 7">
                <a:extLst>
                  <a:ext uri="{FF2B5EF4-FFF2-40B4-BE49-F238E27FC236}">
                    <a16:creationId xmlns:a16="http://schemas.microsoft.com/office/drawing/2014/main" id="{44606877-F029-42A7-A114-540FC6D2EB8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a:p>
            </p:txBody>
          </p:sp>
          <p:sp>
            <p:nvSpPr>
              <p:cNvPr id="534" name="Freeform 23">
                <a:extLst>
                  <a:ext uri="{FF2B5EF4-FFF2-40B4-BE49-F238E27FC236}">
                    <a16:creationId xmlns:a16="http://schemas.microsoft.com/office/drawing/2014/main" id="{1EFE0505-9F96-469E-9392-1786AC943DE9}"/>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434" name="Group 433">
              <a:extLst>
                <a:ext uri="{FF2B5EF4-FFF2-40B4-BE49-F238E27FC236}">
                  <a16:creationId xmlns:a16="http://schemas.microsoft.com/office/drawing/2014/main" id="{C28A7165-8CA8-44C4-8A59-A7D8E81FF47B}"/>
                </a:ext>
              </a:extLst>
            </p:cNvPr>
            <p:cNvGrpSpPr/>
            <p:nvPr/>
          </p:nvGrpSpPr>
          <p:grpSpPr>
            <a:xfrm>
              <a:off x="1388809" y="1934661"/>
              <a:ext cx="166060" cy="99240"/>
              <a:chOff x="3202819" y="3711222"/>
              <a:chExt cx="348044" cy="207998"/>
            </a:xfrm>
            <a:solidFill>
              <a:schemeClr val="accent1"/>
            </a:solidFill>
          </p:grpSpPr>
          <p:sp>
            <p:nvSpPr>
              <p:cNvPr id="531" name="Freeform 77">
                <a:extLst>
                  <a:ext uri="{FF2B5EF4-FFF2-40B4-BE49-F238E27FC236}">
                    <a16:creationId xmlns:a16="http://schemas.microsoft.com/office/drawing/2014/main" id="{0D888EA3-13EC-45DB-AAE2-A56AD4DD2DE8}"/>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a:p>
            </p:txBody>
          </p:sp>
          <p:sp>
            <p:nvSpPr>
              <p:cNvPr id="532" name="Freeform 23">
                <a:extLst>
                  <a:ext uri="{FF2B5EF4-FFF2-40B4-BE49-F238E27FC236}">
                    <a16:creationId xmlns:a16="http://schemas.microsoft.com/office/drawing/2014/main" id="{6624EDAD-8189-4B6B-8442-6C185C3DD7C9}"/>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435" name="Group 434">
              <a:extLst>
                <a:ext uri="{FF2B5EF4-FFF2-40B4-BE49-F238E27FC236}">
                  <a16:creationId xmlns:a16="http://schemas.microsoft.com/office/drawing/2014/main" id="{D2919D61-9C74-4C04-BFD5-01A8206B7D7B}"/>
                </a:ext>
              </a:extLst>
            </p:cNvPr>
            <p:cNvGrpSpPr/>
            <p:nvPr/>
          </p:nvGrpSpPr>
          <p:grpSpPr>
            <a:xfrm>
              <a:off x="1061637" y="1935056"/>
              <a:ext cx="159067" cy="98449"/>
              <a:chOff x="974446" y="1475289"/>
              <a:chExt cx="173897" cy="107627"/>
            </a:xfrm>
            <a:solidFill>
              <a:schemeClr val="accent5"/>
            </a:solidFill>
          </p:grpSpPr>
          <p:sp>
            <p:nvSpPr>
              <p:cNvPr id="529" name="Freeform 11">
                <a:extLst>
                  <a:ext uri="{FF2B5EF4-FFF2-40B4-BE49-F238E27FC236}">
                    <a16:creationId xmlns:a16="http://schemas.microsoft.com/office/drawing/2014/main" id="{4E9113F6-2F11-4E76-B340-4B987A625CA1}"/>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30" name="Freeform 23">
                <a:extLst>
                  <a:ext uri="{FF2B5EF4-FFF2-40B4-BE49-F238E27FC236}">
                    <a16:creationId xmlns:a16="http://schemas.microsoft.com/office/drawing/2014/main" id="{682E4B11-CF1B-4398-A5E4-8C26E5DBD780}"/>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a:p>
            </p:txBody>
          </p:sp>
        </p:grpSp>
        <p:grpSp>
          <p:nvGrpSpPr>
            <p:cNvPr id="436" name="Group 435">
              <a:extLst>
                <a:ext uri="{FF2B5EF4-FFF2-40B4-BE49-F238E27FC236}">
                  <a16:creationId xmlns:a16="http://schemas.microsoft.com/office/drawing/2014/main" id="{112D7826-9847-4F1D-93C1-BCC449056B80}"/>
                </a:ext>
              </a:extLst>
            </p:cNvPr>
            <p:cNvGrpSpPr/>
            <p:nvPr/>
          </p:nvGrpSpPr>
          <p:grpSpPr>
            <a:xfrm>
              <a:off x="3062826" y="1914581"/>
              <a:ext cx="396817" cy="396817"/>
              <a:chOff x="3119641" y="1416189"/>
              <a:chExt cx="507244" cy="507244"/>
            </a:xfrm>
          </p:grpSpPr>
          <p:sp>
            <p:nvSpPr>
              <p:cNvPr id="522" name="Oval 521">
                <a:extLst>
                  <a:ext uri="{FF2B5EF4-FFF2-40B4-BE49-F238E27FC236}">
                    <a16:creationId xmlns:a16="http://schemas.microsoft.com/office/drawing/2014/main" id="{FAF32BE9-140A-40B9-A600-1739866C6B11}"/>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23" name="Group 522">
                <a:extLst>
                  <a:ext uri="{FF2B5EF4-FFF2-40B4-BE49-F238E27FC236}">
                    <a16:creationId xmlns:a16="http://schemas.microsoft.com/office/drawing/2014/main" id="{0794BBE5-51EE-4FA6-A7BC-B40A0815E5B2}"/>
                  </a:ext>
                </a:extLst>
              </p:cNvPr>
              <p:cNvGrpSpPr/>
              <p:nvPr/>
            </p:nvGrpSpPr>
            <p:grpSpPr>
              <a:xfrm>
                <a:off x="3179583" y="1476131"/>
                <a:ext cx="387360" cy="387360"/>
                <a:chOff x="2652535" y="-3571486"/>
                <a:chExt cx="4882348" cy="4882348"/>
              </a:xfrm>
              <a:solidFill>
                <a:schemeClr val="bg2"/>
              </a:solidFill>
            </p:grpSpPr>
            <p:sp>
              <p:nvSpPr>
                <p:cNvPr id="524" name="Freeform: Shape 298">
                  <a:extLst>
                    <a:ext uri="{FF2B5EF4-FFF2-40B4-BE49-F238E27FC236}">
                      <a16:creationId xmlns:a16="http://schemas.microsoft.com/office/drawing/2014/main" id="{B6D34471-2586-44CC-A072-68C45F52015E}"/>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5" name="Freeform: Shape 299">
                  <a:extLst>
                    <a:ext uri="{FF2B5EF4-FFF2-40B4-BE49-F238E27FC236}">
                      <a16:creationId xmlns:a16="http://schemas.microsoft.com/office/drawing/2014/main" id="{87998161-2C76-4547-A932-04AF8E27D76C}"/>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26" name="Group 525">
                  <a:extLst>
                    <a:ext uri="{FF2B5EF4-FFF2-40B4-BE49-F238E27FC236}">
                      <a16:creationId xmlns:a16="http://schemas.microsoft.com/office/drawing/2014/main" id="{5E05D5C0-0427-4C95-ABA5-718A3BDFEFF0}"/>
                    </a:ext>
                  </a:extLst>
                </p:cNvPr>
                <p:cNvGrpSpPr/>
                <p:nvPr/>
              </p:nvGrpSpPr>
              <p:grpSpPr>
                <a:xfrm rot="5400000">
                  <a:off x="4197485" y="-3571486"/>
                  <a:ext cx="1792447" cy="4882348"/>
                  <a:chOff x="4197485" y="-3571486"/>
                  <a:chExt cx="1792447" cy="4882348"/>
                </a:xfrm>
                <a:grpFill/>
              </p:grpSpPr>
              <p:sp>
                <p:nvSpPr>
                  <p:cNvPr id="527" name="Freeform: Shape 301">
                    <a:extLst>
                      <a:ext uri="{FF2B5EF4-FFF2-40B4-BE49-F238E27FC236}">
                        <a16:creationId xmlns:a16="http://schemas.microsoft.com/office/drawing/2014/main" id="{61C0F6FB-D11D-4480-AF46-C2AC70CFD4DB}"/>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8" name="Freeform: Shape 302">
                    <a:extLst>
                      <a:ext uri="{FF2B5EF4-FFF2-40B4-BE49-F238E27FC236}">
                        <a16:creationId xmlns:a16="http://schemas.microsoft.com/office/drawing/2014/main" id="{8DAF4521-520B-4B6E-953E-E2D93606A29D}"/>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7" name="Group 436">
              <a:extLst>
                <a:ext uri="{FF2B5EF4-FFF2-40B4-BE49-F238E27FC236}">
                  <a16:creationId xmlns:a16="http://schemas.microsoft.com/office/drawing/2014/main" id="{6DC4E5BB-A596-442A-BFD2-D6A06384EB94}"/>
                </a:ext>
              </a:extLst>
            </p:cNvPr>
            <p:cNvGrpSpPr/>
            <p:nvPr/>
          </p:nvGrpSpPr>
          <p:grpSpPr>
            <a:xfrm>
              <a:off x="3062826" y="2564265"/>
              <a:ext cx="396817" cy="396817"/>
              <a:chOff x="3119641" y="2126443"/>
              <a:chExt cx="507244" cy="507244"/>
            </a:xfrm>
          </p:grpSpPr>
          <p:sp>
            <p:nvSpPr>
              <p:cNvPr id="515" name="Oval 514">
                <a:extLst>
                  <a:ext uri="{FF2B5EF4-FFF2-40B4-BE49-F238E27FC236}">
                    <a16:creationId xmlns:a16="http://schemas.microsoft.com/office/drawing/2014/main" id="{EE2A51AF-E4F4-49EF-9844-407D862CF80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16" name="Group 515">
                <a:extLst>
                  <a:ext uri="{FF2B5EF4-FFF2-40B4-BE49-F238E27FC236}">
                    <a16:creationId xmlns:a16="http://schemas.microsoft.com/office/drawing/2014/main" id="{C65B9FD2-2960-4082-98DD-139CA43AC038}"/>
                  </a:ext>
                </a:extLst>
              </p:cNvPr>
              <p:cNvGrpSpPr/>
              <p:nvPr/>
            </p:nvGrpSpPr>
            <p:grpSpPr>
              <a:xfrm>
                <a:off x="3179583" y="2186385"/>
                <a:ext cx="387360" cy="387360"/>
                <a:chOff x="2652535" y="-3571486"/>
                <a:chExt cx="4882348" cy="4882348"/>
              </a:xfrm>
              <a:solidFill>
                <a:schemeClr val="bg2"/>
              </a:solidFill>
            </p:grpSpPr>
            <p:sp>
              <p:nvSpPr>
                <p:cNvPr id="517" name="Freeform: Shape 310">
                  <a:extLst>
                    <a:ext uri="{FF2B5EF4-FFF2-40B4-BE49-F238E27FC236}">
                      <a16:creationId xmlns:a16="http://schemas.microsoft.com/office/drawing/2014/main" id="{D911AB50-D703-4670-9C78-6D9D3D915908}"/>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8" name="Freeform: Shape 311">
                  <a:extLst>
                    <a:ext uri="{FF2B5EF4-FFF2-40B4-BE49-F238E27FC236}">
                      <a16:creationId xmlns:a16="http://schemas.microsoft.com/office/drawing/2014/main" id="{A2876FE9-9C7B-4FB4-8267-F695D2D54A0F}"/>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9" name="Group 518">
                  <a:extLst>
                    <a:ext uri="{FF2B5EF4-FFF2-40B4-BE49-F238E27FC236}">
                      <a16:creationId xmlns:a16="http://schemas.microsoft.com/office/drawing/2014/main" id="{D557623F-B3D1-4FE9-84DE-9A42F1E60D9C}"/>
                    </a:ext>
                  </a:extLst>
                </p:cNvPr>
                <p:cNvGrpSpPr/>
                <p:nvPr/>
              </p:nvGrpSpPr>
              <p:grpSpPr>
                <a:xfrm rot="5400000">
                  <a:off x="4197485" y="-3571486"/>
                  <a:ext cx="1792447" cy="4882348"/>
                  <a:chOff x="4197485" y="-3571486"/>
                  <a:chExt cx="1792447" cy="4882348"/>
                </a:xfrm>
                <a:grpFill/>
              </p:grpSpPr>
              <p:sp>
                <p:nvSpPr>
                  <p:cNvPr id="520" name="Freeform: Shape 313">
                    <a:extLst>
                      <a:ext uri="{FF2B5EF4-FFF2-40B4-BE49-F238E27FC236}">
                        <a16:creationId xmlns:a16="http://schemas.microsoft.com/office/drawing/2014/main" id="{18AACA6B-044E-4DE0-A1B0-8AEAB855435C}"/>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21" name="Freeform: Shape 314">
                    <a:extLst>
                      <a:ext uri="{FF2B5EF4-FFF2-40B4-BE49-F238E27FC236}">
                        <a16:creationId xmlns:a16="http://schemas.microsoft.com/office/drawing/2014/main" id="{C27F08E9-BE5C-4412-8720-129DB0A0FA70}"/>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8" name="Group 437">
              <a:extLst>
                <a:ext uri="{FF2B5EF4-FFF2-40B4-BE49-F238E27FC236}">
                  <a16:creationId xmlns:a16="http://schemas.microsoft.com/office/drawing/2014/main" id="{70890142-3569-473A-832F-558767F2DD9B}"/>
                </a:ext>
              </a:extLst>
            </p:cNvPr>
            <p:cNvGrpSpPr/>
            <p:nvPr/>
          </p:nvGrpSpPr>
          <p:grpSpPr>
            <a:xfrm>
              <a:off x="4413642" y="1914581"/>
              <a:ext cx="396817" cy="396817"/>
              <a:chOff x="4596394" y="1416189"/>
              <a:chExt cx="507244" cy="507244"/>
            </a:xfrm>
          </p:grpSpPr>
          <p:sp>
            <p:nvSpPr>
              <p:cNvPr id="508" name="Oval 507">
                <a:extLst>
                  <a:ext uri="{FF2B5EF4-FFF2-40B4-BE49-F238E27FC236}">
                    <a16:creationId xmlns:a16="http://schemas.microsoft.com/office/drawing/2014/main" id="{A9CE2AC4-C299-4E2F-9222-25489092AFE9}"/>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9" name="Group 508">
                <a:extLst>
                  <a:ext uri="{FF2B5EF4-FFF2-40B4-BE49-F238E27FC236}">
                    <a16:creationId xmlns:a16="http://schemas.microsoft.com/office/drawing/2014/main" id="{BD680461-FA82-4D8F-8BD5-7A40D4367162}"/>
                  </a:ext>
                </a:extLst>
              </p:cNvPr>
              <p:cNvGrpSpPr/>
              <p:nvPr/>
            </p:nvGrpSpPr>
            <p:grpSpPr>
              <a:xfrm>
                <a:off x="4656336" y="1476131"/>
                <a:ext cx="387360" cy="387360"/>
                <a:chOff x="2652535" y="-3571486"/>
                <a:chExt cx="4882348" cy="4882348"/>
              </a:xfrm>
              <a:solidFill>
                <a:schemeClr val="bg2"/>
              </a:solidFill>
            </p:grpSpPr>
            <p:sp>
              <p:nvSpPr>
                <p:cNvPr id="510" name="Freeform: Shape 316">
                  <a:extLst>
                    <a:ext uri="{FF2B5EF4-FFF2-40B4-BE49-F238E27FC236}">
                      <a16:creationId xmlns:a16="http://schemas.microsoft.com/office/drawing/2014/main" id="{31E69456-1D42-4E0A-85FB-8A5C250668B9}"/>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1" name="Freeform: Shape 317">
                  <a:extLst>
                    <a:ext uri="{FF2B5EF4-FFF2-40B4-BE49-F238E27FC236}">
                      <a16:creationId xmlns:a16="http://schemas.microsoft.com/office/drawing/2014/main" id="{94BFB5DF-AE4C-4465-B5FD-F5FB87FECA12}"/>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12" name="Group 511">
                  <a:extLst>
                    <a:ext uri="{FF2B5EF4-FFF2-40B4-BE49-F238E27FC236}">
                      <a16:creationId xmlns:a16="http://schemas.microsoft.com/office/drawing/2014/main" id="{7719C80D-DADA-487F-B8E3-6DEF17D8FE48}"/>
                    </a:ext>
                  </a:extLst>
                </p:cNvPr>
                <p:cNvGrpSpPr/>
                <p:nvPr/>
              </p:nvGrpSpPr>
              <p:grpSpPr>
                <a:xfrm rot="5400000">
                  <a:off x="4197485" y="-3571486"/>
                  <a:ext cx="1792447" cy="4882348"/>
                  <a:chOff x="4197485" y="-3571486"/>
                  <a:chExt cx="1792447" cy="4882348"/>
                </a:xfrm>
                <a:grpFill/>
              </p:grpSpPr>
              <p:sp>
                <p:nvSpPr>
                  <p:cNvPr id="513" name="Freeform: Shape 319">
                    <a:extLst>
                      <a:ext uri="{FF2B5EF4-FFF2-40B4-BE49-F238E27FC236}">
                        <a16:creationId xmlns:a16="http://schemas.microsoft.com/office/drawing/2014/main" id="{71D479D3-E51E-4A38-ABDE-0A071DF8575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14" name="Freeform: Shape 320">
                    <a:extLst>
                      <a:ext uri="{FF2B5EF4-FFF2-40B4-BE49-F238E27FC236}">
                        <a16:creationId xmlns:a16="http://schemas.microsoft.com/office/drawing/2014/main" id="{E735D331-70C1-400C-9326-EA4D68024BFB}"/>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39" name="Group 438">
              <a:extLst>
                <a:ext uri="{FF2B5EF4-FFF2-40B4-BE49-F238E27FC236}">
                  <a16:creationId xmlns:a16="http://schemas.microsoft.com/office/drawing/2014/main" id="{89B6FE3C-095B-4EC4-B9F3-08B8797C98F4}"/>
                </a:ext>
              </a:extLst>
            </p:cNvPr>
            <p:cNvGrpSpPr/>
            <p:nvPr/>
          </p:nvGrpSpPr>
          <p:grpSpPr>
            <a:xfrm>
              <a:off x="4413642" y="2564265"/>
              <a:ext cx="396817" cy="396817"/>
              <a:chOff x="4596394" y="2126443"/>
              <a:chExt cx="507244" cy="507244"/>
            </a:xfrm>
          </p:grpSpPr>
          <p:sp>
            <p:nvSpPr>
              <p:cNvPr id="501" name="Oval 500">
                <a:extLst>
                  <a:ext uri="{FF2B5EF4-FFF2-40B4-BE49-F238E27FC236}">
                    <a16:creationId xmlns:a16="http://schemas.microsoft.com/office/drawing/2014/main" id="{5777650D-9B57-4CFA-B6CF-DF3651C58B11}"/>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2" name="Group 501">
                <a:extLst>
                  <a:ext uri="{FF2B5EF4-FFF2-40B4-BE49-F238E27FC236}">
                    <a16:creationId xmlns:a16="http://schemas.microsoft.com/office/drawing/2014/main" id="{5D20FC79-6FBB-4967-8601-ED6181D5FB9D}"/>
                  </a:ext>
                </a:extLst>
              </p:cNvPr>
              <p:cNvGrpSpPr/>
              <p:nvPr/>
            </p:nvGrpSpPr>
            <p:grpSpPr>
              <a:xfrm>
                <a:off x="4656336" y="2186385"/>
                <a:ext cx="387360" cy="387360"/>
                <a:chOff x="2652535" y="-3571486"/>
                <a:chExt cx="4882348" cy="4882348"/>
              </a:xfrm>
              <a:solidFill>
                <a:schemeClr val="bg2"/>
              </a:solidFill>
            </p:grpSpPr>
            <p:sp>
              <p:nvSpPr>
                <p:cNvPr id="503" name="Freeform: Shape 322">
                  <a:extLst>
                    <a:ext uri="{FF2B5EF4-FFF2-40B4-BE49-F238E27FC236}">
                      <a16:creationId xmlns:a16="http://schemas.microsoft.com/office/drawing/2014/main" id="{043DE606-CE78-4762-85B6-66ED2DA9C2AB}"/>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4" name="Freeform: Shape 323">
                  <a:extLst>
                    <a:ext uri="{FF2B5EF4-FFF2-40B4-BE49-F238E27FC236}">
                      <a16:creationId xmlns:a16="http://schemas.microsoft.com/office/drawing/2014/main" id="{499FDDB3-6530-4BC4-9CA3-03400FBE9DB1}"/>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505" name="Group 504">
                  <a:extLst>
                    <a:ext uri="{FF2B5EF4-FFF2-40B4-BE49-F238E27FC236}">
                      <a16:creationId xmlns:a16="http://schemas.microsoft.com/office/drawing/2014/main" id="{C0FC8086-3DF7-4B20-972E-26389864236B}"/>
                    </a:ext>
                  </a:extLst>
                </p:cNvPr>
                <p:cNvGrpSpPr/>
                <p:nvPr/>
              </p:nvGrpSpPr>
              <p:grpSpPr>
                <a:xfrm rot="5400000">
                  <a:off x="4197485" y="-3571486"/>
                  <a:ext cx="1792447" cy="4882348"/>
                  <a:chOff x="4197485" y="-3571486"/>
                  <a:chExt cx="1792447" cy="4882348"/>
                </a:xfrm>
                <a:grpFill/>
              </p:grpSpPr>
              <p:sp>
                <p:nvSpPr>
                  <p:cNvPr id="506" name="Freeform: Shape 325">
                    <a:extLst>
                      <a:ext uri="{FF2B5EF4-FFF2-40B4-BE49-F238E27FC236}">
                        <a16:creationId xmlns:a16="http://schemas.microsoft.com/office/drawing/2014/main" id="{3990668B-3509-4E04-8CFA-E231CDD396D0}"/>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507" name="Freeform: Shape 326">
                    <a:extLst>
                      <a:ext uri="{FF2B5EF4-FFF2-40B4-BE49-F238E27FC236}">
                        <a16:creationId xmlns:a16="http://schemas.microsoft.com/office/drawing/2014/main" id="{2D720520-3E98-408A-A376-D3A8BFDAD44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440" name="Group 439">
              <a:extLst>
                <a:ext uri="{FF2B5EF4-FFF2-40B4-BE49-F238E27FC236}">
                  <a16:creationId xmlns:a16="http://schemas.microsoft.com/office/drawing/2014/main" id="{543B5AFA-85EF-4554-B3B0-24715B822CE9}"/>
                </a:ext>
              </a:extLst>
            </p:cNvPr>
            <p:cNvGrpSpPr/>
            <p:nvPr/>
          </p:nvGrpSpPr>
          <p:grpSpPr>
            <a:xfrm>
              <a:off x="6807004" y="1957907"/>
              <a:ext cx="819226" cy="517562"/>
              <a:chOff x="6444145" y="1701124"/>
              <a:chExt cx="1280626" cy="802839"/>
            </a:xfrm>
            <a:solidFill>
              <a:schemeClr val="tx2"/>
            </a:solidFill>
          </p:grpSpPr>
          <p:grpSp>
            <p:nvGrpSpPr>
              <p:cNvPr id="495" name="Group 494">
                <a:extLst>
                  <a:ext uri="{FF2B5EF4-FFF2-40B4-BE49-F238E27FC236}">
                    <a16:creationId xmlns:a16="http://schemas.microsoft.com/office/drawing/2014/main" id="{0ABED0C7-E167-4BEE-8EA8-2A7D0265C401}"/>
                  </a:ext>
                </a:extLst>
              </p:cNvPr>
              <p:cNvGrpSpPr/>
              <p:nvPr/>
            </p:nvGrpSpPr>
            <p:grpSpPr>
              <a:xfrm>
                <a:off x="6444145" y="2041258"/>
                <a:ext cx="1280626" cy="462705"/>
                <a:chOff x="6799745" y="2065165"/>
                <a:chExt cx="1280626" cy="462705"/>
              </a:xfrm>
              <a:grpFill/>
            </p:grpSpPr>
            <p:sp>
              <p:nvSpPr>
                <p:cNvPr id="499" name="Rectangle: Rounded Corners 351">
                  <a:extLst>
                    <a:ext uri="{FF2B5EF4-FFF2-40B4-BE49-F238E27FC236}">
                      <a16:creationId xmlns:a16="http://schemas.microsoft.com/office/drawing/2014/main" id="{6EEE55C2-2F45-4B6B-8105-24BF4D96233B}"/>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0" name="Rectangle: Rounded Corners 353">
                  <a:extLst>
                    <a:ext uri="{FF2B5EF4-FFF2-40B4-BE49-F238E27FC236}">
                      <a16:creationId xmlns:a16="http://schemas.microsoft.com/office/drawing/2014/main" id="{9B14800E-E859-446E-9997-E3531B0CAB75}"/>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6" name="Group 495">
                <a:extLst>
                  <a:ext uri="{FF2B5EF4-FFF2-40B4-BE49-F238E27FC236}">
                    <a16:creationId xmlns:a16="http://schemas.microsoft.com/office/drawing/2014/main" id="{7E1C808C-1610-4066-A009-E0F824BEC39C}"/>
                  </a:ext>
                </a:extLst>
              </p:cNvPr>
              <p:cNvGrpSpPr/>
              <p:nvPr/>
            </p:nvGrpSpPr>
            <p:grpSpPr>
              <a:xfrm>
                <a:off x="6691732" y="1701124"/>
                <a:ext cx="956368" cy="458033"/>
                <a:chOff x="7044558" y="1563201"/>
                <a:chExt cx="964127" cy="461749"/>
              </a:xfrm>
              <a:grpFill/>
            </p:grpSpPr>
            <p:sp>
              <p:nvSpPr>
                <p:cNvPr id="497" name="Rectangle: Rounded Corners 347">
                  <a:extLst>
                    <a:ext uri="{FF2B5EF4-FFF2-40B4-BE49-F238E27FC236}">
                      <a16:creationId xmlns:a16="http://schemas.microsoft.com/office/drawing/2014/main" id="{E8AC8778-54B5-47A9-8B25-EF1E3C9D77EC}"/>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8" name="Rectangle: Rounded Corners 348">
                  <a:extLst>
                    <a:ext uri="{FF2B5EF4-FFF2-40B4-BE49-F238E27FC236}">
                      <a16:creationId xmlns:a16="http://schemas.microsoft.com/office/drawing/2014/main" id="{EC798BCC-6951-4246-A2C7-FCF9DF9CEDC4}"/>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441" name="Group 440">
              <a:extLst>
                <a:ext uri="{FF2B5EF4-FFF2-40B4-BE49-F238E27FC236}">
                  <a16:creationId xmlns:a16="http://schemas.microsoft.com/office/drawing/2014/main" id="{C63B6FA3-3978-4224-AD05-93C4EADB2523}"/>
                </a:ext>
              </a:extLst>
            </p:cNvPr>
            <p:cNvGrpSpPr/>
            <p:nvPr/>
          </p:nvGrpSpPr>
          <p:grpSpPr>
            <a:xfrm>
              <a:off x="6999001" y="2588405"/>
              <a:ext cx="228070" cy="228070"/>
              <a:chOff x="7547191" y="1416189"/>
              <a:chExt cx="507244" cy="507244"/>
            </a:xfrm>
          </p:grpSpPr>
          <p:sp>
            <p:nvSpPr>
              <p:cNvPr id="493" name="Oval 492">
                <a:extLst>
                  <a:ext uri="{FF2B5EF4-FFF2-40B4-BE49-F238E27FC236}">
                    <a16:creationId xmlns:a16="http://schemas.microsoft.com/office/drawing/2014/main" id="{4723C510-30DA-4862-A533-8D77660422C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4" name="Freeform 594">
                <a:extLst>
                  <a:ext uri="{FF2B5EF4-FFF2-40B4-BE49-F238E27FC236}">
                    <a16:creationId xmlns:a16="http://schemas.microsoft.com/office/drawing/2014/main" id="{C0FC5380-4990-4834-BC3B-B2289600229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2" name="Group 441">
              <a:extLst>
                <a:ext uri="{FF2B5EF4-FFF2-40B4-BE49-F238E27FC236}">
                  <a16:creationId xmlns:a16="http://schemas.microsoft.com/office/drawing/2014/main" id="{8D925D69-8DBE-4ABE-B9FB-BED633744961}"/>
                </a:ext>
              </a:extLst>
            </p:cNvPr>
            <p:cNvGrpSpPr/>
            <p:nvPr/>
          </p:nvGrpSpPr>
          <p:grpSpPr>
            <a:xfrm>
              <a:off x="4858902" y="2770027"/>
              <a:ext cx="860793" cy="301990"/>
              <a:chOff x="5119882" y="2533650"/>
              <a:chExt cx="941045" cy="425467"/>
            </a:xfrm>
          </p:grpSpPr>
          <p:sp>
            <p:nvSpPr>
              <p:cNvPr id="489" name="Rounded Rectangle 133">
                <a:extLst>
                  <a:ext uri="{FF2B5EF4-FFF2-40B4-BE49-F238E27FC236}">
                    <a16:creationId xmlns:a16="http://schemas.microsoft.com/office/drawing/2014/main" id="{FF2DD8BC-42E6-42F8-BD2C-DD9034706B27}"/>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490" name="Group 489">
                <a:extLst>
                  <a:ext uri="{FF2B5EF4-FFF2-40B4-BE49-F238E27FC236}">
                    <a16:creationId xmlns:a16="http://schemas.microsoft.com/office/drawing/2014/main" id="{A8192E02-DE98-4FB6-9D91-6DE3385CA2D3}"/>
                  </a:ext>
                </a:extLst>
              </p:cNvPr>
              <p:cNvGrpSpPr/>
              <p:nvPr/>
            </p:nvGrpSpPr>
            <p:grpSpPr>
              <a:xfrm>
                <a:off x="5538458" y="2727217"/>
                <a:ext cx="433750" cy="208020"/>
                <a:chOff x="7583358" y="2759986"/>
                <a:chExt cx="552936" cy="265180"/>
              </a:xfrm>
            </p:grpSpPr>
            <p:pic>
              <p:nvPicPr>
                <p:cNvPr id="491" name="Picture 490">
                  <a:extLst>
                    <a:ext uri="{FF2B5EF4-FFF2-40B4-BE49-F238E27FC236}">
                      <a16:creationId xmlns:a16="http://schemas.microsoft.com/office/drawing/2014/main" id="{76ED62FA-AA91-4E80-81FA-57B33408FE59}"/>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492" name="Picture 491">
                  <a:extLst>
                    <a:ext uri="{FF2B5EF4-FFF2-40B4-BE49-F238E27FC236}">
                      <a16:creationId xmlns:a16="http://schemas.microsoft.com/office/drawing/2014/main" id="{76458EF2-0644-4E3C-B36E-FA2C76D5C060}"/>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443" name="Group 442">
              <a:extLst>
                <a:ext uri="{FF2B5EF4-FFF2-40B4-BE49-F238E27FC236}">
                  <a16:creationId xmlns:a16="http://schemas.microsoft.com/office/drawing/2014/main" id="{773CAD21-9D91-4880-91CB-8632888BA955}"/>
                </a:ext>
              </a:extLst>
            </p:cNvPr>
            <p:cNvGrpSpPr/>
            <p:nvPr/>
          </p:nvGrpSpPr>
          <p:grpSpPr>
            <a:xfrm>
              <a:off x="5413022" y="2657499"/>
              <a:ext cx="228070" cy="228070"/>
              <a:chOff x="7547191" y="1416189"/>
              <a:chExt cx="507244" cy="507244"/>
            </a:xfrm>
          </p:grpSpPr>
          <p:sp>
            <p:nvSpPr>
              <p:cNvPr id="487" name="Oval 486">
                <a:extLst>
                  <a:ext uri="{FF2B5EF4-FFF2-40B4-BE49-F238E27FC236}">
                    <a16:creationId xmlns:a16="http://schemas.microsoft.com/office/drawing/2014/main" id="{848492BE-6AEE-4DE7-8E55-00931E25FB1D}"/>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8" name="Freeform 594">
                <a:extLst>
                  <a:ext uri="{FF2B5EF4-FFF2-40B4-BE49-F238E27FC236}">
                    <a16:creationId xmlns:a16="http://schemas.microsoft.com/office/drawing/2014/main" id="{1B9253D0-2887-4A95-903A-E786E5E94DA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4" name="Group 443">
              <a:extLst>
                <a:ext uri="{FF2B5EF4-FFF2-40B4-BE49-F238E27FC236}">
                  <a16:creationId xmlns:a16="http://schemas.microsoft.com/office/drawing/2014/main" id="{6001D150-F09C-4497-89A7-52FD55C916C5}"/>
                </a:ext>
              </a:extLst>
            </p:cNvPr>
            <p:cNvGrpSpPr/>
            <p:nvPr/>
          </p:nvGrpSpPr>
          <p:grpSpPr>
            <a:xfrm>
              <a:off x="3509160" y="2770027"/>
              <a:ext cx="860793" cy="301990"/>
              <a:chOff x="3644303" y="2533650"/>
              <a:chExt cx="941045" cy="425467"/>
            </a:xfrm>
          </p:grpSpPr>
          <p:sp>
            <p:nvSpPr>
              <p:cNvPr id="483" name="Rounded Rectangle 133">
                <a:extLst>
                  <a:ext uri="{FF2B5EF4-FFF2-40B4-BE49-F238E27FC236}">
                    <a16:creationId xmlns:a16="http://schemas.microsoft.com/office/drawing/2014/main" id="{2E40B311-4BDC-456D-A766-0699C4C3786F}"/>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484" name="Group 483">
                <a:extLst>
                  <a:ext uri="{FF2B5EF4-FFF2-40B4-BE49-F238E27FC236}">
                    <a16:creationId xmlns:a16="http://schemas.microsoft.com/office/drawing/2014/main" id="{248947A1-0973-4E24-9CED-8E13F2C8499B}"/>
                  </a:ext>
                </a:extLst>
              </p:cNvPr>
              <p:cNvGrpSpPr/>
              <p:nvPr/>
            </p:nvGrpSpPr>
            <p:grpSpPr>
              <a:xfrm>
                <a:off x="4086942" y="2727217"/>
                <a:ext cx="433750" cy="208020"/>
                <a:chOff x="7614033" y="2759986"/>
                <a:chExt cx="552936" cy="265180"/>
              </a:xfrm>
            </p:grpSpPr>
            <p:pic>
              <p:nvPicPr>
                <p:cNvPr id="485" name="Picture 484">
                  <a:extLst>
                    <a:ext uri="{FF2B5EF4-FFF2-40B4-BE49-F238E27FC236}">
                      <a16:creationId xmlns:a16="http://schemas.microsoft.com/office/drawing/2014/main" id="{452152A9-8B77-4A34-9E6E-F0601FD50502}"/>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486" name="Picture 485">
                  <a:extLst>
                    <a:ext uri="{FF2B5EF4-FFF2-40B4-BE49-F238E27FC236}">
                      <a16:creationId xmlns:a16="http://schemas.microsoft.com/office/drawing/2014/main" id="{4A0C2DC7-B41E-408C-A6CD-6DAD568A99EC}"/>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445" name="Group 444">
              <a:extLst>
                <a:ext uri="{FF2B5EF4-FFF2-40B4-BE49-F238E27FC236}">
                  <a16:creationId xmlns:a16="http://schemas.microsoft.com/office/drawing/2014/main" id="{C1CB96D0-DEE8-435B-A0A1-FE7D1B35E27F}"/>
                </a:ext>
              </a:extLst>
            </p:cNvPr>
            <p:cNvGrpSpPr/>
            <p:nvPr/>
          </p:nvGrpSpPr>
          <p:grpSpPr>
            <a:xfrm>
              <a:off x="3939637" y="2657113"/>
              <a:ext cx="228070" cy="228070"/>
              <a:chOff x="7547191" y="1416189"/>
              <a:chExt cx="507244" cy="507244"/>
            </a:xfrm>
          </p:grpSpPr>
          <p:sp>
            <p:nvSpPr>
              <p:cNvPr id="481" name="Oval 480">
                <a:extLst>
                  <a:ext uri="{FF2B5EF4-FFF2-40B4-BE49-F238E27FC236}">
                    <a16:creationId xmlns:a16="http://schemas.microsoft.com/office/drawing/2014/main" id="{29746104-574E-4466-A23F-772ECD9FE040}"/>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2" name="Freeform 594">
                <a:extLst>
                  <a:ext uri="{FF2B5EF4-FFF2-40B4-BE49-F238E27FC236}">
                    <a16:creationId xmlns:a16="http://schemas.microsoft.com/office/drawing/2014/main" id="{F5129EEF-8AAC-4651-8416-2BA909CF2810}"/>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6" name="Rectangle: Rounded Corners 692">
              <a:extLst>
                <a:ext uri="{FF2B5EF4-FFF2-40B4-BE49-F238E27FC236}">
                  <a16:creationId xmlns:a16="http://schemas.microsoft.com/office/drawing/2014/main" id="{FC092C90-E2BA-467F-8EE9-3E251A0DF86A}"/>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447" name="Rectangle: Rounded Corners 705">
              <a:extLst>
                <a:ext uri="{FF2B5EF4-FFF2-40B4-BE49-F238E27FC236}">
                  <a16:creationId xmlns:a16="http://schemas.microsoft.com/office/drawing/2014/main" id="{5CB2C742-01C6-4857-B3D8-C772FCA5A06F}"/>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448" name="Group 4">
              <a:extLst>
                <a:ext uri="{FF2B5EF4-FFF2-40B4-BE49-F238E27FC236}">
                  <a16:creationId xmlns:a16="http://schemas.microsoft.com/office/drawing/2014/main" id="{15D18056-467A-4FA9-8D1A-A5AF6F7C41E9}"/>
                </a:ext>
              </a:extLst>
            </p:cNvPr>
            <p:cNvGrpSpPr>
              <a:grpSpLocks noChangeAspect="1"/>
            </p:cNvGrpSpPr>
            <p:nvPr/>
          </p:nvGrpSpPr>
          <p:grpSpPr bwMode="auto">
            <a:xfrm>
              <a:off x="1353273" y="2463094"/>
              <a:ext cx="248989" cy="188487"/>
              <a:chOff x="740" y="0"/>
              <a:chExt cx="4280" cy="3240"/>
            </a:xfrm>
          </p:grpSpPr>
          <p:sp>
            <p:nvSpPr>
              <p:cNvPr id="477" name="Freeform 5">
                <a:extLst>
                  <a:ext uri="{FF2B5EF4-FFF2-40B4-BE49-F238E27FC236}">
                    <a16:creationId xmlns:a16="http://schemas.microsoft.com/office/drawing/2014/main" id="{65FC7727-8A13-40AE-8AC1-88633514B97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6">
                <a:extLst>
                  <a:ext uri="{FF2B5EF4-FFF2-40B4-BE49-F238E27FC236}">
                    <a16:creationId xmlns:a16="http://schemas.microsoft.com/office/drawing/2014/main" id="{DDF17004-0224-41C3-B951-97523F5150B9}"/>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7">
                <a:extLst>
                  <a:ext uri="{FF2B5EF4-FFF2-40B4-BE49-F238E27FC236}">
                    <a16:creationId xmlns:a16="http://schemas.microsoft.com/office/drawing/2014/main" id="{FDF2E347-99FE-4824-9A46-C403D8281700}"/>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8">
                <a:extLst>
                  <a:ext uri="{FF2B5EF4-FFF2-40B4-BE49-F238E27FC236}">
                    <a16:creationId xmlns:a16="http://schemas.microsoft.com/office/drawing/2014/main" id="{74D41575-10D5-489D-B28B-9CBA612FEE8B}"/>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9" name="Group 448">
              <a:extLst>
                <a:ext uri="{FF2B5EF4-FFF2-40B4-BE49-F238E27FC236}">
                  <a16:creationId xmlns:a16="http://schemas.microsoft.com/office/drawing/2014/main" id="{FA1AF6D8-447B-40BB-9B3D-6F08C9B648EC}"/>
                </a:ext>
              </a:extLst>
            </p:cNvPr>
            <p:cNvGrpSpPr/>
            <p:nvPr/>
          </p:nvGrpSpPr>
          <p:grpSpPr>
            <a:xfrm>
              <a:off x="1390132" y="2956526"/>
              <a:ext cx="167022" cy="230402"/>
              <a:chOff x="858973" y="1403744"/>
              <a:chExt cx="643458" cy="887629"/>
            </a:xfrm>
          </p:grpSpPr>
          <p:grpSp>
            <p:nvGrpSpPr>
              <p:cNvPr id="471" name="Group 470">
                <a:extLst>
                  <a:ext uri="{FF2B5EF4-FFF2-40B4-BE49-F238E27FC236}">
                    <a16:creationId xmlns:a16="http://schemas.microsoft.com/office/drawing/2014/main" id="{F6A03258-BC60-41B2-A973-45E038DB28AB}"/>
                  </a:ext>
                </a:extLst>
              </p:cNvPr>
              <p:cNvGrpSpPr/>
              <p:nvPr/>
            </p:nvGrpSpPr>
            <p:grpSpPr>
              <a:xfrm>
                <a:off x="858973" y="1403744"/>
                <a:ext cx="643458" cy="887629"/>
                <a:chOff x="565417" y="1536835"/>
                <a:chExt cx="996124" cy="1374120"/>
              </a:xfrm>
            </p:grpSpPr>
            <p:sp>
              <p:nvSpPr>
                <p:cNvPr id="473" name="Rounded Rectangle 63">
                  <a:extLst>
                    <a:ext uri="{FF2B5EF4-FFF2-40B4-BE49-F238E27FC236}">
                      <a16:creationId xmlns:a16="http://schemas.microsoft.com/office/drawing/2014/main" id="{1D11127F-F274-4A31-86A0-A6F597D58337}"/>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4" name="Group 473">
                  <a:extLst>
                    <a:ext uri="{FF2B5EF4-FFF2-40B4-BE49-F238E27FC236}">
                      <a16:creationId xmlns:a16="http://schemas.microsoft.com/office/drawing/2014/main" id="{73E11985-FBC5-4740-83CE-CC1E583D5B18}"/>
                    </a:ext>
                  </a:extLst>
                </p:cNvPr>
                <p:cNvGrpSpPr/>
                <p:nvPr/>
              </p:nvGrpSpPr>
              <p:grpSpPr>
                <a:xfrm>
                  <a:off x="565417" y="1536835"/>
                  <a:ext cx="996124" cy="1374120"/>
                  <a:chOff x="352800" y="-7200"/>
                  <a:chExt cx="1984680" cy="2737800"/>
                </a:xfrm>
              </p:grpSpPr>
              <p:sp>
                <p:nvSpPr>
                  <p:cNvPr id="475" name="Freeform: Shape 1">
                    <a:extLst>
                      <a:ext uri="{FF2B5EF4-FFF2-40B4-BE49-F238E27FC236}">
                        <a16:creationId xmlns:a16="http://schemas.microsoft.com/office/drawing/2014/main" id="{6B3412FA-3465-4711-ACEE-DE88DE2B421F}"/>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76" name="Freeform 57">
                    <a:extLst>
                      <a:ext uri="{FF2B5EF4-FFF2-40B4-BE49-F238E27FC236}">
                        <a16:creationId xmlns:a16="http://schemas.microsoft.com/office/drawing/2014/main" id="{BAEF2B69-C195-44BF-A5CC-738163E396BC}"/>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sp>
            <p:nvSpPr>
              <p:cNvPr id="472" name="Freeform: Shape 796">
                <a:extLst>
                  <a:ext uri="{FF2B5EF4-FFF2-40B4-BE49-F238E27FC236}">
                    <a16:creationId xmlns:a16="http://schemas.microsoft.com/office/drawing/2014/main" id="{4948C2C3-C430-4A7E-8724-49E422E04777}"/>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450" name="TextBox 449">
              <a:extLst>
                <a:ext uri="{FF2B5EF4-FFF2-40B4-BE49-F238E27FC236}">
                  <a16:creationId xmlns:a16="http://schemas.microsoft.com/office/drawing/2014/main" id="{E20BCDB2-51AF-4798-BCD7-35E56E0D843F}"/>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451" name="TextBox 450">
              <a:extLst>
                <a:ext uri="{FF2B5EF4-FFF2-40B4-BE49-F238E27FC236}">
                  <a16:creationId xmlns:a16="http://schemas.microsoft.com/office/drawing/2014/main" id="{46D7D0DF-4CA4-4B79-AAC1-B1ECA893DB8A}"/>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452" name="Rectangle 451">
              <a:extLst>
                <a:ext uri="{FF2B5EF4-FFF2-40B4-BE49-F238E27FC236}">
                  <a16:creationId xmlns:a16="http://schemas.microsoft.com/office/drawing/2014/main" id="{686BF0DC-3F10-4B8E-B886-26575645F808}"/>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453" name="Rectangle 452">
              <a:extLst>
                <a:ext uri="{FF2B5EF4-FFF2-40B4-BE49-F238E27FC236}">
                  <a16:creationId xmlns:a16="http://schemas.microsoft.com/office/drawing/2014/main" id="{748048A7-1FF7-444C-AF54-075CB5B0BEEE}"/>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454" name="Picture 453">
              <a:extLst>
                <a:ext uri="{FF2B5EF4-FFF2-40B4-BE49-F238E27FC236}">
                  <a16:creationId xmlns:a16="http://schemas.microsoft.com/office/drawing/2014/main" id="{CD6C2954-35B0-4CAE-9435-003A578CEB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455" name="Picture 454">
              <a:extLst>
                <a:ext uri="{FF2B5EF4-FFF2-40B4-BE49-F238E27FC236}">
                  <a16:creationId xmlns:a16="http://schemas.microsoft.com/office/drawing/2014/main" id="{644629DF-F9F5-4492-A6BB-CCD66F0919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56" name="Rectangle: Rounded Corners 455">
              <a:extLst>
                <a:ext uri="{FF2B5EF4-FFF2-40B4-BE49-F238E27FC236}">
                  <a16:creationId xmlns:a16="http://schemas.microsoft.com/office/drawing/2014/main" id="{54AA5980-04C4-492F-8621-45F327D2CBBF}"/>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57" name="Rectangle: Rounded Corners 456">
              <a:extLst>
                <a:ext uri="{FF2B5EF4-FFF2-40B4-BE49-F238E27FC236}">
                  <a16:creationId xmlns:a16="http://schemas.microsoft.com/office/drawing/2014/main" id="{0A090C3F-D22A-4AB5-B59E-A26979BECA42}"/>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58" name="Rectangle: Rounded Corners 457">
              <a:extLst>
                <a:ext uri="{FF2B5EF4-FFF2-40B4-BE49-F238E27FC236}">
                  <a16:creationId xmlns:a16="http://schemas.microsoft.com/office/drawing/2014/main" id="{10921F29-01AD-498D-8D44-C3CC5FB48C8A}"/>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err="1"/>
                <a:t>vEPC</a:t>
              </a:r>
              <a:endParaRPr lang="en-ZA" sz="1050" dirty="0"/>
            </a:p>
          </p:txBody>
        </p:sp>
        <p:sp>
          <p:nvSpPr>
            <p:cNvPr id="463" name="Oval 462">
              <a:extLst>
                <a:ext uri="{FF2B5EF4-FFF2-40B4-BE49-F238E27FC236}">
                  <a16:creationId xmlns:a16="http://schemas.microsoft.com/office/drawing/2014/main" id="{B08A8156-EFAE-4CAF-8437-5538E20D9E07}"/>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8" name="Freeform 23">
              <a:extLst>
                <a:ext uri="{FF2B5EF4-FFF2-40B4-BE49-F238E27FC236}">
                  <a16:creationId xmlns:a16="http://schemas.microsoft.com/office/drawing/2014/main" id="{8BFA84BE-30F8-4169-82FD-46C3C576A35B}"/>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a:p>
          </p:txBody>
        </p:sp>
        <p:sp>
          <p:nvSpPr>
            <p:cNvPr id="469" name="Arc 468">
              <a:extLst>
                <a:ext uri="{FF2B5EF4-FFF2-40B4-BE49-F238E27FC236}">
                  <a16:creationId xmlns:a16="http://schemas.microsoft.com/office/drawing/2014/main" id="{3DD8EC98-66B9-48C2-BCDD-3FB8AEC873C6}"/>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70" name="Picture 469">
              <a:extLst>
                <a:ext uri="{FF2B5EF4-FFF2-40B4-BE49-F238E27FC236}">
                  <a16:creationId xmlns:a16="http://schemas.microsoft.com/office/drawing/2014/main" id="{97701729-C8EF-4672-A468-288A3BBCBAB7}"/>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grpSp>
        <p:nvGrpSpPr>
          <p:cNvPr id="180" name="Group 179">
            <a:extLst>
              <a:ext uri="{FF2B5EF4-FFF2-40B4-BE49-F238E27FC236}">
                <a16:creationId xmlns:a16="http://schemas.microsoft.com/office/drawing/2014/main" id="{129D7A5A-8E3E-4FD2-B0FB-47C49F615B78}"/>
              </a:ext>
            </a:extLst>
          </p:cNvPr>
          <p:cNvGrpSpPr/>
          <p:nvPr/>
        </p:nvGrpSpPr>
        <p:grpSpPr>
          <a:xfrm>
            <a:off x="2085124" y="1138669"/>
            <a:ext cx="5019081" cy="556743"/>
            <a:chOff x="2239219" y="3481266"/>
            <a:chExt cx="1260000" cy="556743"/>
          </a:xfrm>
        </p:grpSpPr>
        <p:sp>
          <p:nvSpPr>
            <p:cNvPr id="181" name="Rectangle 180">
              <a:extLst>
                <a:ext uri="{FF2B5EF4-FFF2-40B4-BE49-F238E27FC236}">
                  <a16:creationId xmlns:a16="http://schemas.microsoft.com/office/drawing/2014/main" id="{FBADDD96-E7B0-4E66-9B4A-0F1F5FC7527D}"/>
                </a:ext>
              </a:extLst>
            </p:cNvPr>
            <p:cNvSpPr/>
            <p:nvPr/>
          </p:nvSpPr>
          <p:spPr>
            <a:xfrm>
              <a:off x="2260521"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Automation</a:t>
              </a:r>
            </a:p>
          </p:txBody>
        </p:sp>
        <p:sp>
          <p:nvSpPr>
            <p:cNvPr id="182" name="Rectangle 181">
              <a:extLst>
                <a:ext uri="{FF2B5EF4-FFF2-40B4-BE49-F238E27FC236}">
                  <a16:creationId xmlns:a16="http://schemas.microsoft.com/office/drawing/2014/main" id="{709758CA-A3A5-4E35-A024-3AEB70BEC6E8}"/>
                </a:ext>
              </a:extLst>
            </p:cNvPr>
            <p:cNvSpPr/>
            <p:nvPr/>
          </p:nvSpPr>
          <p:spPr>
            <a:xfrm>
              <a:off x="2239219" y="3865599"/>
              <a:ext cx="1260000" cy="17241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SO/SR-PCE + </a:t>
              </a:r>
              <a:r>
                <a:rPr kumimoji="0" lang="en-US" sz="1000" b="0" i="0" u="none" strike="noStrike" kern="1200" cap="none" spc="0" normalizeH="0" baseline="0" noProof="0" dirty="0" err="1">
                  <a:ln>
                    <a:noFill/>
                  </a:ln>
                  <a:solidFill>
                    <a:srgbClr val="005073"/>
                  </a:solidFill>
                  <a:effectLst/>
                  <a:uLnTx/>
                  <a:uFillTx/>
                  <a:latin typeface="CiscoSansTT" panose="020B0503020201020303" pitchFamily="34" charset="0"/>
                  <a:ea typeface="+mn-ea"/>
                  <a:cs typeface="CiscoSansTT" panose="020B0503020201020303" pitchFamily="34" charset="0"/>
                </a:rPr>
                <a:t>Crosswork</a:t>
              </a: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 + WAE + XRv9000 + EPN-M</a:t>
              </a:r>
            </a:p>
          </p:txBody>
        </p:sp>
      </p:grpSp>
      <p:grpSp>
        <p:nvGrpSpPr>
          <p:cNvPr id="190" name="Group 189">
            <a:extLst>
              <a:ext uri="{FF2B5EF4-FFF2-40B4-BE49-F238E27FC236}">
                <a16:creationId xmlns:a16="http://schemas.microsoft.com/office/drawing/2014/main" id="{9D3B26CB-27D6-48EA-8E5A-4B05FACC7C72}"/>
              </a:ext>
            </a:extLst>
          </p:cNvPr>
          <p:cNvGrpSpPr/>
          <p:nvPr/>
        </p:nvGrpSpPr>
        <p:grpSpPr>
          <a:xfrm>
            <a:off x="6748582" y="3483065"/>
            <a:ext cx="1260000" cy="924333"/>
            <a:chOff x="5251221" y="3481266"/>
            <a:chExt cx="1260000" cy="924333"/>
          </a:xfrm>
        </p:grpSpPr>
        <p:sp>
          <p:nvSpPr>
            <p:cNvPr id="191" name="Rectangle 190">
              <a:extLst>
                <a:ext uri="{FF2B5EF4-FFF2-40B4-BE49-F238E27FC236}">
                  <a16:creationId xmlns:a16="http://schemas.microsoft.com/office/drawing/2014/main" id="{C84DF5FD-4DAC-47E5-AEBE-6F6BCEE042FD}"/>
                </a:ext>
              </a:extLst>
            </p:cNvPr>
            <p:cNvSpPr/>
            <p:nvPr/>
          </p:nvSpPr>
          <p:spPr>
            <a:xfrm>
              <a:off x="5276363" y="3481266"/>
              <a:ext cx="1224000" cy="21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Optical</a:t>
              </a:r>
            </a:p>
          </p:txBody>
        </p:sp>
        <p:sp>
          <p:nvSpPr>
            <p:cNvPr id="192" name="Rectangle 191">
              <a:extLst>
                <a:ext uri="{FF2B5EF4-FFF2-40B4-BE49-F238E27FC236}">
                  <a16:creationId xmlns:a16="http://schemas.microsoft.com/office/drawing/2014/main" id="{6ACAFD75-740B-4FE3-A142-3544A5A1595A}"/>
                </a:ext>
              </a:extLst>
            </p:cNvPr>
            <p:cNvSpPr/>
            <p:nvPr/>
          </p:nvSpPr>
          <p:spPr>
            <a:xfrm>
              <a:off x="5251221" y="3865599"/>
              <a:ext cx="1260000" cy="5400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1k</a:t>
              </a:r>
            </a:p>
            <a:p>
              <a:pPr marL="171450" marR="0" lvl="0" indent="-171450"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rPr>
                <a:t>NCS2k</a:t>
              </a:r>
            </a:p>
          </p:txBody>
        </p:sp>
      </p:grpSp>
    </p:spTree>
    <p:extLst>
      <p:ext uri="{BB962C8B-B14F-4D97-AF65-F5344CB8AC3E}">
        <p14:creationId xmlns:p14="http://schemas.microsoft.com/office/powerpoint/2010/main" val="32016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400G OTN XP</a:t>
            </a:r>
          </a:p>
        </p:txBody>
      </p:sp>
      <p:sp>
        <p:nvSpPr>
          <p:cNvPr id="28" name="Rectangle 27"/>
          <p:cNvSpPr/>
          <p:nvPr/>
        </p:nvSpPr>
        <p:spPr>
          <a:xfrm>
            <a:off x="551189" y="1077913"/>
            <a:ext cx="2377440" cy="1728506"/>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29" name="Rectangle 28"/>
          <p:cNvSpPr/>
          <p:nvPr/>
        </p:nvSpPr>
        <p:spPr>
          <a:xfrm>
            <a:off x="551189" y="2806420"/>
            <a:ext cx="2377440" cy="1910044"/>
          </a:xfrm>
          <a:prstGeom prst="rect">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30" name="Rectangle 29"/>
          <p:cNvSpPr/>
          <p:nvPr/>
        </p:nvSpPr>
        <p:spPr>
          <a:xfrm>
            <a:off x="3393122" y="2806420"/>
            <a:ext cx="2377440" cy="1910044"/>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31" name="Rectangle 30"/>
          <p:cNvSpPr/>
          <p:nvPr/>
        </p:nvSpPr>
        <p:spPr>
          <a:xfrm>
            <a:off x="6210779" y="2806420"/>
            <a:ext cx="2377440" cy="1910044"/>
          </a:xfrm>
          <a:prstGeom prst="rect">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32" name="Freeform 5"/>
          <p:cNvSpPr>
            <a:spLocks noEditPoints="1"/>
          </p:cNvSpPr>
          <p:nvPr/>
        </p:nvSpPr>
        <p:spPr bwMode="auto">
          <a:xfrm>
            <a:off x="1280836" y="1261844"/>
            <a:ext cx="918146" cy="918146"/>
          </a:xfrm>
          <a:custGeom>
            <a:avLst/>
            <a:gdLst>
              <a:gd name="T0" fmla="*/ 182 w 232"/>
              <a:gd name="T1" fmla="*/ 50 h 232"/>
              <a:gd name="T2" fmla="*/ 92 w 232"/>
              <a:gd name="T3" fmla="*/ 27 h 232"/>
              <a:gd name="T4" fmla="*/ 27 w 232"/>
              <a:gd name="T5" fmla="*/ 92 h 232"/>
              <a:gd name="T6" fmla="*/ 51 w 232"/>
              <a:gd name="T7" fmla="*/ 182 h 232"/>
              <a:gd name="T8" fmla="*/ 140 w 232"/>
              <a:gd name="T9" fmla="*/ 206 h 232"/>
              <a:gd name="T10" fmla="*/ 206 w 232"/>
              <a:gd name="T11" fmla="*/ 140 h 232"/>
              <a:gd name="T12" fmla="*/ 116 w 232"/>
              <a:gd name="T13" fmla="*/ 44 h 232"/>
              <a:gd name="T14" fmla="*/ 62 w 232"/>
              <a:gd name="T15" fmla="*/ 116 h 232"/>
              <a:gd name="T16" fmla="*/ 135 w 232"/>
              <a:gd name="T17" fmla="*/ 131 h 232"/>
              <a:gd name="T18" fmla="*/ 134 w 232"/>
              <a:gd name="T19" fmla="*/ 138 h 232"/>
              <a:gd name="T20" fmla="*/ 130 w 232"/>
              <a:gd name="T21" fmla="*/ 143 h 232"/>
              <a:gd name="T22" fmla="*/ 124 w 232"/>
              <a:gd name="T23" fmla="*/ 146 h 232"/>
              <a:gd name="T24" fmla="*/ 119 w 232"/>
              <a:gd name="T25" fmla="*/ 156 h 232"/>
              <a:gd name="T26" fmla="*/ 107 w 232"/>
              <a:gd name="T27" fmla="*/ 145 h 232"/>
              <a:gd name="T28" fmla="*/ 104 w 232"/>
              <a:gd name="T29" fmla="*/ 142 h 232"/>
              <a:gd name="T30" fmla="*/ 94 w 232"/>
              <a:gd name="T31" fmla="*/ 146 h 232"/>
              <a:gd name="T32" fmla="*/ 103 w 232"/>
              <a:gd name="T33" fmla="*/ 126 h 232"/>
              <a:gd name="T34" fmla="*/ 104 w 232"/>
              <a:gd name="T35" fmla="*/ 131 h 232"/>
              <a:gd name="T36" fmla="*/ 107 w 232"/>
              <a:gd name="T37" fmla="*/ 135 h 232"/>
              <a:gd name="T38" fmla="*/ 112 w 232"/>
              <a:gd name="T39" fmla="*/ 138 h 232"/>
              <a:gd name="T40" fmla="*/ 118 w 232"/>
              <a:gd name="T41" fmla="*/ 137 h 232"/>
              <a:gd name="T42" fmla="*/ 123 w 232"/>
              <a:gd name="T43" fmla="*/ 134 h 232"/>
              <a:gd name="T44" fmla="*/ 123 w 232"/>
              <a:gd name="T45" fmla="*/ 127 h 232"/>
              <a:gd name="T46" fmla="*/ 120 w 232"/>
              <a:gd name="T47" fmla="*/ 123 h 232"/>
              <a:gd name="T48" fmla="*/ 115 w 232"/>
              <a:gd name="T49" fmla="*/ 120 h 232"/>
              <a:gd name="T50" fmla="*/ 107 w 232"/>
              <a:gd name="T51" fmla="*/ 118 h 232"/>
              <a:gd name="T52" fmla="*/ 102 w 232"/>
              <a:gd name="T53" fmla="*/ 115 h 232"/>
              <a:gd name="T54" fmla="*/ 97 w 232"/>
              <a:gd name="T55" fmla="*/ 111 h 232"/>
              <a:gd name="T56" fmla="*/ 94 w 232"/>
              <a:gd name="T57" fmla="*/ 105 h 232"/>
              <a:gd name="T58" fmla="*/ 94 w 232"/>
              <a:gd name="T59" fmla="*/ 98 h 232"/>
              <a:gd name="T60" fmla="*/ 96 w 232"/>
              <a:gd name="T61" fmla="*/ 92 h 232"/>
              <a:gd name="T62" fmla="*/ 101 w 232"/>
              <a:gd name="T63" fmla="*/ 87 h 232"/>
              <a:gd name="T64" fmla="*/ 107 w 232"/>
              <a:gd name="T65" fmla="*/ 84 h 232"/>
              <a:gd name="T66" fmla="*/ 119 w 232"/>
              <a:gd name="T67" fmla="*/ 75 h 232"/>
              <a:gd name="T68" fmla="*/ 122 w 232"/>
              <a:gd name="T69" fmla="*/ 86 h 232"/>
              <a:gd name="T70" fmla="*/ 124 w 232"/>
              <a:gd name="T71" fmla="*/ 89 h 232"/>
              <a:gd name="T72" fmla="*/ 134 w 232"/>
              <a:gd name="T73" fmla="*/ 106 h 232"/>
              <a:gd name="T74" fmla="*/ 124 w 232"/>
              <a:gd name="T75" fmla="*/ 102 h 232"/>
              <a:gd name="T76" fmla="*/ 122 w 232"/>
              <a:gd name="T77" fmla="*/ 97 h 232"/>
              <a:gd name="T78" fmla="*/ 119 w 232"/>
              <a:gd name="T79" fmla="*/ 95 h 232"/>
              <a:gd name="T80" fmla="*/ 115 w 232"/>
              <a:gd name="T81" fmla="*/ 93 h 232"/>
              <a:gd name="T82" fmla="*/ 108 w 232"/>
              <a:gd name="T83" fmla="*/ 94 h 232"/>
              <a:gd name="T84" fmla="*/ 105 w 232"/>
              <a:gd name="T85" fmla="*/ 99 h 232"/>
              <a:gd name="T86" fmla="*/ 107 w 232"/>
              <a:gd name="T87" fmla="*/ 104 h 232"/>
              <a:gd name="T88" fmla="*/ 114 w 232"/>
              <a:gd name="T89" fmla="*/ 108 h 232"/>
              <a:gd name="T90" fmla="*/ 120 w 232"/>
              <a:gd name="T91" fmla="*/ 111 h 232"/>
              <a:gd name="T92" fmla="*/ 126 w 232"/>
              <a:gd name="T93" fmla="*/ 113 h 232"/>
              <a:gd name="T94" fmla="*/ 131 w 232"/>
              <a:gd name="T95" fmla="*/ 117 h 232"/>
              <a:gd name="T96" fmla="*/ 133 w 232"/>
              <a:gd name="T97" fmla="*/ 120 h 232"/>
              <a:gd name="T98" fmla="*/ 135 w 232"/>
              <a:gd name="T99" fmla="*/ 125 h 232"/>
              <a:gd name="T100" fmla="*/ 135 w 232"/>
              <a:gd name="T101" fmla="*/ 13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2" h="232">
                <a:moveTo>
                  <a:pt x="232" y="116"/>
                </a:moveTo>
                <a:cubicBezTo>
                  <a:pt x="206" y="92"/>
                  <a:pt x="206" y="92"/>
                  <a:pt x="206" y="92"/>
                </a:cubicBezTo>
                <a:cubicBezTo>
                  <a:pt x="217" y="58"/>
                  <a:pt x="217" y="58"/>
                  <a:pt x="217" y="58"/>
                </a:cubicBezTo>
                <a:cubicBezTo>
                  <a:pt x="182" y="50"/>
                  <a:pt x="182" y="50"/>
                  <a:pt x="182" y="50"/>
                </a:cubicBezTo>
                <a:cubicBezTo>
                  <a:pt x="174" y="16"/>
                  <a:pt x="174" y="16"/>
                  <a:pt x="174" y="16"/>
                </a:cubicBezTo>
                <a:cubicBezTo>
                  <a:pt x="140" y="27"/>
                  <a:pt x="140" y="27"/>
                  <a:pt x="140" y="27"/>
                </a:cubicBezTo>
                <a:cubicBezTo>
                  <a:pt x="116" y="0"/>
                  <a:pt x="116" y="0"/>
                  <a:pt x="116" y="0"/>
                </a:cubicBezTo>
                <a:cubicBezTo>
                  <a:pt x="92" y="27"/>
                  <a:pt x="92" y="27"/>
                  <a:pt x="92" y="27"/>
                </a:cubicBezTo>
                <a:cubicBezTo>
                  <a:pt x="58" y="16"/>
                  <a:pt x="58" y="16"/>
                  <a:pt x="58" y="16"/>
                </a:cubicBezTo>
                <a:cubicBezTo>
                  <a:pt x="51" y="50"/>
                  <a:pt x="51" y="50"/>
                  <a:pt x="51" y="50"/>
                </a:cubicBezTo>
                <a:cubicBezTo>
                  <a:pt x="16" y="58"/>
                  <a:pt x="16" y="58"/>
                  <a:pt x="16" y="58"/>
                </a:cubicBezTo>
                <a:cubicBezTo>
                  <a:pt x="27" y="92"/>
                  <a:pt x="27" y="92"/>
                  <a:pt x="27" y="92"/>
                </a:cubicBezTo>
                <a:cubicBezTo>
                  <a:pt x="0" y="116"/>
                  <a:pt x="0" y="116"/>
                  <a:pt x="0" y="116"/>
                </a:cubicBezTo>
                <a:cubicBezTo>
                  <a:pt x="27" y="140"/>
                  <a:pt x="27" y="140"/>
                  <a:pt x="27" y="140"/>
                </a:cubicBezTo>
                <a:cubicBezTo>
                  <a:pt x="16" y="174"/>
                  <a:pt x="16" y="174"/>
                  <a:pt x="16" y="174"/>
                </a:cubicBezTo>
                <a:cubicBezTo>
                  <a:pt x="51" y="182"/>
                  <a:pt x="51" y="182"/>
                  <a:pt x="51" y="182"/>
                </a:cubicBezTo>
                <a:cubicBezTo>
                  <a:pt x="58" y="217"/>
                  <a:pt x="58" y="217"/>
                  <a:pt x="58" y="217"/>
                </a:cubicBezTo>
                <a:cubicBezTo>
                  <a:pt x="92" y="206"/>
                  <a:pt x="92" y="206"/>
                  <a:pt x="92" y="206"/>
                </a:cubicBezTo>
                <a:cubicBezTo>
                  <a:pt x="116" y="232"/>
                  <a:pt x="116" y="232"/>
                  <a:pt x="116" y="232"/>
                </a:cubicBezTo>
                <a:cubicBezTo>
                  <a:pt x="140" y="206"/>
                  <a:pt x="140" y="206"/>
                  <a:pt x="140" y="206"/>
                </a:cubicBezTo>
                <a:cubicBezTo>
                  <a:pt x="174" y="217"/>
                  <a:pt x="174" y="217"/>
                  <a:pt x="174" y="217"/>
                </a:cubicBezTo>
                <a:cubicBezTo>
                  <a:pt x="182" y="182"/>
                  <a:pt x="182" y="182"/>
                  <a:pt x="182" y="182"/>
                </a:cubicBezTo>
                <a:cubicBezTo>
                  <a:pt x="217" y="174"/>
                  <a:pt x="217" y="174"/>
                  <a:pt x="217" y="174"/>
                </a:cubicBezTo>
                <a:cubicBezTo>
                  <a:pt x="206" y="140"/>
                  <a:pt x="206" y="140"/>
                  <a:pt x="206" y="140"/>
                </a:cubicBezTo>
                <a:lnTo>
                  <a:pt x="232" y="116"/>
                </a:lnTo>
                <a:close/>
                <a:moveTo>
                  <a:pt x="116" y="189"/>
                </a:moveTo>
                <a:cubicBezTo>
                  <a:pt x="76" y="189"/>
                  <a:pt x="44" y="156"/>
                  <a:pt x="44" y="116"/>
                </a:cubicBezTo>
                <a:cubicBezTo>
                  <a:pt x="44" y="76"/>
                  <a:pt x="76" y="44"/>
                  <a:pt x="116" y="44"/>
                </a:cubicBezTo>
                <a:cubicBezTo>
                  <a:pt x="156" y="44"/>
                  <a:pt x="189" y="76"/>
                  <a:pt x="189" y="116"/>
                </a:cubicBezTo>
                <a:cubicBezTo>
                  <a:pt x="189" y="156"/>
                  <a:pt x="156" y="189"/>
                  <a:pt x="116" y="189"/>
                </a:cubicBezTo>
                <a:close/>
                <a:moveTo>
                  <a:pt x="116" y="62"/>
                </a:moveTo>
                <a:cubicBezTo>
                  <a:pt x="87" y="62"/>
                  <a:pt x="62" y="86"/>
                  <a:pt x="62" y="116"/>
                </a:cubicBezTo>
                <a:cubicBezTo>
                  <a:pt x="62" y="146"/>
                  <a:pt x="87" y="171"/>
                  <a:pt x="116" y="171"/>
                </a:cubicBezTo>
                <a:cubicBezTo>
                  <a:pt x="146" y="171"/>
                  <a:pt x="171" y="146"/>
                  <a:pt x="171" y="116"/>
                </a:cubicBezTo>
                <a:cubicBezTo>
                  <a:pt x="171" y="86"/>
                  <a:pt x="146" y="62"/>
                  <a:pt x="116" y="62"/>
                </a:cubicBezTo>
                <a:close/>
                <a:moveTo>
                  <a:pt x="135" y="131"/>
                </a:moveTo>
                <a:cubicBezTo>
                  <a:pt x="135" y="133"/>
                  <a:pt x="135" y="133"/>
                  <a:pt x="135" y="133"/>
                </a:cubicBezTo>
                <a:cubicBezTo>
                  <a:pt x="135" y="134"/>
                  <a:pt x="135" y="134"/>
                  <a:pt x="135" y="134"/>
                </a:cubicBezTo>
                <a:cubicBezTo>
                  <a:pt x="134" y="136"/>
                  <a:pt x="134" y="136"/>
                  <a:pt x="134" y="136"/>
                </a:cubicBezTo>
                <a:cubicBezTo>
                  <a:pt x="134" y="138"/>
                  <a:pt x="134" y="138"/>
                  <a:pt x="134" y="138"/>
                </a:cubicBezTo>
                <a:cubicBezTo>
                  <a:pt x="133" y="139"/>
                  <a:pt x="133" y="139"/>
                  <a:pt x="133" y="139"/>
                </a:cubicBezTo>
                <a:cubicBezTo>
                  <a:pt x="132" y="140"/>
                  <a:pt x="132" y="140"/>
                  <a:pt x="132" y="140"/>
                </a:cubicBezTo>
                <a:cubicBezTo>
                  <a:pt x="131" y="142"/>
                  <a:pt x="131" y="142"/>
                  <a:pt x="131" y="142"/>
                </a:cubicBezTo>
                <a:cubicBezTo>
                  <a:pt x="130" y="143"/>
                  <a:pt x="130" y="143"/>
                  <a:pt x="130" y="143"/>
                </a:cubicBezTo>
                <a:cubicBezTo>
                  <a:pt x="128" y="144"/>
                  <a:pt x="128" y="144"/>
                  <a:pt x="128" y="144"/>
                </a:cubicBezTo>
                <a:cubicBezTo>
                  <a:pt x="127" y="145"/>
                  <a:pt x="127" y="145"/>
                  <a:pt x="127" y="145"/>
                </a:cubicBezTo>
                <a:cubicBezTo>
                  <a:pt x="125" y="145"/>
                  <a:pt x="125" y="145"/>
                  <a:pt x="125" y="145"/>
                </a:cubicBezTo>
                <a:cubicBezTo>
                  <a:pt x="124" y="146"/>
                  <a:pt x="124" y="146"/>
                  <a:pt x="124" y="146"/>
                </a:cubicBezTo>
                <a:cubicBezTo>
                  <a:pt x="122" y="146"/>
                  <a:pt x="122" y="146"/>
                  <a:pt x="122" y="146"/>
                </a:cubicBezTo>
                <a:cubicBezTo>
                  <a:pt x="121" y="147"/>
                  <a:pt x="121" y="147"/>
                  <a:pt x="121" y="147"/>
                </a:cubicBezTo>
                <a:cubicBezTo>
                  <a:pt x="119" y="147"/>
                  <a:pt x="119" y="147"/>
                  <a:pt x="119" y="147"/>
                </a:cubicBezTo>
                <a:cubicBezTo>
                  <a:pt x="119" y="156"/>
                  <a:pt x="119" y="156"/>
                  <a:pt x="119" y="156"/>
                </a:cubicBezTo>
                <a:cubicBezTo>
                  <a:pt x="110" y="156"/>
                  <a:pt x="110" y="156"/>
                  <a:pt x="110" y="156"/>
                </a:cubicBezTo>
                <a:cubicBezTo>
                  <a:pt x="110" y="146"/>
                  <a:pt x="110" y="146"/>
                  <a:pt x="110" y="146"/>
                </a:cubicBezTo>
                <a:cubicBezTo>
                  <a:pt x="109" y="145"/>
                  <a:pt x="109" y="145"/>
                  <a:pt x="109" y="145"/>
                </a:cubicBezTo>
                <a:cubicBezTo>
                  <a:pt x="107" y="145"/>
                  <a:pt x="107" y="145"/>
                  <a:pt x="107" y="145"/>
                </a:cubicBezTo>
                <a:cubicBezTo>
                  <a:pt x="107" y="144"/>
                  <a:pt x="107" y="144"/>
                  <a:pt x="107" y="144"/>
                </a:cubicBezTo>
                <a:cubicBezTo>
                  <a:pt x="106" y="144"/>
                  <a:pt x="106" y="144"/>
                  <a:pt x="106" y="144"/>
                </a:cubicBezTo>
                <a:cubicBezTo>
                  <a:pt x="105" y="143"/>
                  <a:pt x="105" y="143"/>
                  <a:pt x="105" y="143"/>
                </a:cubicBezTo>
                <a:cubicBezTo>
                  <a:pt x="104" y="142"/>
                  <a:pt x="104" y="142"/>
                  <a:pt x="104" y="142"/>
                </a:cubicBezTo>
                <a:cubicBezTo>
                  <a:pt x="104" y="141"/>
                  <a:pt x="104" y="141"/>
                  <a:pt x="104" y="141"/>
                </a:cubicBezTo>
                <a:cubicBezTo>
                  <a:pt x="103" y="140"/>
                  <a:pt x="103" y="140"/>
                  <a:pt x="103" y="140"/>
                </a:cubicBezTo>
                <a:cubicBezTo>
                  <a:pt x="103" y="146"/>
                  <a:pt x="103" y="146"/>
                  <a:pt x="103" y="146"/>
                </a:cubicBezTo>
                <a:cubicBezTo>
                  <a:pt x="94" y="146"/>
                  <a:pt x="94" y="146"/>
                  <a:pt x="94" y="146"/>
                </a:cubicBezTo>
                <a:cubicBezTo>
                  <a:pt x="94" y="124"/>
                  <a:pt x="94" y="124"/>
                  <a:pt x="94" y="124"/>
                </a:cubicBezTo>
                <a:cubicBezTo>
                  <a:pt x="103" y="124"/>
                  <a:pt x="103" y="124"/>
                  <a:pt x="103" y="124"/>
                </a:cubicBezTo>
                <a:cubicBezTo>
                  <a:pt x="103" y="125"/>
                  <a:pt x="103" y="125"/>
                  <a:pt x="103" y="125"/>
                </a:cubicBezTo>
                <a:cubicBezTo>
                  <a:pt x="103" y="126"/>
                  <a:pt x="103" y="126"/>
                  <a:pt x="103" y="126"/>
                </a:cubicBezTo>
                <a:cubicBezTo>
                  <a:pt x="103" y="127"/>
                  <a:pt x="103" y="127"/>
                  <a:pt x="103" y="127"/>
                </a:cubicBezTo>
                <a:cubicBezTo>
                  <a:pt x="104" y="128"/>
                  <a:pt x="104" y="128"/>
                  <a:pt x="104" y="128"/>
                </a:cubicBezTo>
                <a:cubicBezTo>
                  <a:pt x="104" y="129"/>
                  <a:pt x="104" y="129"/>
                  <a:pt x="104" y="129"/>
                </a:cubicBezTo>
                <a:cubicBezTo>
                  <a:pt x="104" y="131"/>
                  <a:pt x="104" y="131"/>
                  <a:pt x="104" y="131"/>
                </a:cubicBezTo>
                <a:cubicBezTo>
                  <a:pt x="105" y="132"/>
                  <a:pt x="105" y="132"/>
                  <a:pt x="105" y="132"/>
                </a:cubicBezTo>
                <a:cubicBezTo>
                  <a:pt x="106" y="133"/>
                  <a:pt x="106" y="133"/>
                  <a:pt x="106" y="133"/>
                </a:cubicBezTo>
                <a:cubicBezTo>
                  <a:pt x="107" y="134"/>
                  <a:pt x="107" y="134"/>
                  <a:pt x="107" y="134"/>
                </a:cubicBezTo>
                <a:cubicBezTo>
                  <a:pt x="107" y="135"/>
                  <a:pt x="107" y="135"/>
                  <a:pt x="107" y="135"/>
                </a:cubicBezTo>
                <a:cubicBezTo>
                  <a:pt x="109" y="136"/>
                  <a:pt x="109" y="136"/>
                  <a:pt x="109" y="136"/>
                </a:cubicBezTo>
                <a:cubicBezTo>
                  <a:pt x="110" y="137"/>
                  <a:pt x="110" y="137"/>
                  <a:pt x="110" y="137"/>
                </a:cubicBezTo>
                <a:cubicBezTo>
                  <a:pt x="111" y="137"/>
                  <a:pt x="111" y="137"/>
                  <a:pt x="111" y="137"/>
                </a:cubicBezTo>
                <a:cubicBezTo>
                  <a:pt x="112" y="138"/>
                  <a:pt x="112" y="138"/>
                  <a:pt x="112" y="138"/>
                </a:cubicBezTo>
                <a:cubicBezTo>
                  <a:pt x="114" y="138"/>
                  <a:pt x="114" y="138"/>
                  <a:pt x="114" y="138"/>
                </a:cubicBezTo>
                <a:cubicBezTo>
                  <a:pt x="115" y="138"/>
                  <a:pt x="115" y="138"/>
                  <a:pt x="115" y="138"/>
                </a:cubicBezTo>
                <a:cubicBezTo>
                  <a:pt x="117" y="138"/>
                  <a:pt x="117" y="138"/>
                  <a:pt x="117" y="138"/>
                </a:cubicBezTo>
                <a:cubicBezTo>
                  <a:pt x="118" y="137"/>
                  <a:pt x="118" y="137"/>
                  <a:pt x="118" y="137"/>
                </a:cubicBezTo>
                <a:cubicBezTo>
                  <a:pt x="120" y="137"/>
                  <a:pt x="120" y="137"/>
                  <a:pt x="120" y="137"/>
                </a:cubicBezTo>
                <a:cubicBezTo>
                  <a:pt x="121" y="136"/>
                  <a:pt x="121" y="136"/>
                  <a:pt x="121" y="136"/>
                </a:cubicBezTo>
                <a:cubicBezTo>
                  <a:pt x="122" y="135"/>
                  <a:pt x="122" y="135"/>
                  <a:pt x="122" y="135"/>
                </a:cubicBezTo>
                <a:cubicBezTo>
                  <a:pt x="123" y="134"/>
                  <a:pt x="123" y="134"/>
                  <a:pt x="123" y="134"/>
                </a:cubicBezTo>
                <a:cubicBezTo>
                  <a:pt x="124" y="132"/>
                  <a:pt x="124" y="132"/>
                  <a:pt x="124" y="132"/>
                </a:cubicBezTo>
                <a:cubicBezTo>
                  <a:pt x="124" y="130"/>
                  <a:pt x="124" y="130"/>
                  <a:pt x="124" y="130"/>
                </a:cubicBezTo>
                <a:cubicBezTo>
                  <a:pt x="124" y="129"/>
                  <a:pt x="124" y="129"/>
                  <a:pt x="124" y="129"/>
                </a:cubicBezTo>
                <a:cubicBezTo>
                  <a:pt x="123" y="127"/>
                  <a:pt x="123" y="127"/>
                  <a:pt x="123" y="127"/>
                </a:cubicBezTo>
                <a:cubicBezTo>
                  <a:pt x="123" y="126"/>
                  <a:pt x="123" y="126"/>
                  <a:pt x="123" y="126"/>
                </a:cubicBezTo>
                <a:cubicBezTo>
                  <a:pt x="122" y="125"/>
                  <a:pt x="122" y="125"/>
                  <a:pt x="122" y="125"/>
                </a:cubicBezTo>
                <a:cubicBezTo>
                  <a:pt x="121" y="124"/>
                  <a:pt x="121" y="124"/>
                  <a:pt x="121" y="124"/>
                </a:cubicBezTo>
                <a:cubicBezTo>
                  <a:pt x="120" y="123"/>
                  <a:pt x="120" y="123"/>
                  <a:pt x="120" y="123"/>
                </a:cubicBezTo>
                <a:cubicBezTo>
                  <a:pt x="119" y="122"/>
                  <a:pt x="119" y="122"/>
                  <a:pt x="119" y="122"/>
                </a:cubicBezTo>
                <a:cubicBezTo>
                  <a:pt x="118" y="122"/>
                  <a:pt x="118" y="122"/>
                  <a:pt x="118" y="122"/>
                </a:cubicBezTo>
                <a:cubicBezTo>
                  <a:pt x="116" y="121"/>
                  <a:pt x="116" y="121"/>
                  <a:pt x="116" y="121"/>
                </a:cubicBezTo>
                <a:cubicBezTo>
                  <a:pt x="115" y="120"/>
                  <a:pt x="115" y="120"/>
                  <a:pt x="115" y="120"/>
                </a:cubicBezTo>
                <a:cubicBezTo>
                  <a:pt x="113" y="120"/>
                  <a:pt x="113" y="120"/>
                  <a:pt x="113" y="120"/>
                </a:cubicBezTo>
                <a:cubicBezTo>
                  <a:pt x="110" y="119"/>
                  <a:pt x="110" y="119"/>
                  <a:pt x="110" y="119"/>
                </a:cubicBezTo>
                <a:cubicBezTo>
                  <a:pt x="109" y="118"/>
                  <a:pt x="109" y="118"/>
                  <a:pt x="109" y="118"/>
                </a:cubicBezTo>
                <a:cubicBezTo>
                  <a:pt x="107" y="118"/>
                  <a:pt x="107" y="118"/>
                  <a:pt x="107" y="118"/>
                </a:cubicBezTo>
                <a:cubicBezTo>
                  <a:pt x="106" y="117"/>
                  <a:pt x="106" y="117"/>
                  <a:pt x="106" y="117"/>
                </a:cubicBezTo>
                <a:cubicBezTo>
                  <a:pt x="104" y="116"/>
                  <a:pt x="104" y="116"/>
                  <a:pt x="104" y="116"/>
                </a:cubicBezTo>
                <a:cubicBezTo>
                  <a:pt x="103" y="116"/>
                  <a:pt x="103" y="116"/>
                  <a:pt x="103" y="116"/>
                </a:cubicBezTo>
                <a:cubicBezTo>
                  <a:pt x="102" y="115"/>
                  <a:pt x="102" y="115"/>
                  <a:pt x="102" y="115"/>
                </a:cubicBezTo>
                <a:cubicBezTo>
                  <a:pt x="100" y="114"/>
                  <a:pt x="100" y="114"/>
                  <a:pt x="100" y="114"/>
                </a:cubicBezTo>
                <a:cubicBezTo>
                  <a:pt x="99" y="113"/>
                  <a:pt x="99" y="113"/>
                  <a:pt x="99" y="113"/>
                </a:cubicBezTo>
                <a:cubicBezTo>
                  <a:pt x="98" y="112"/>
                  <a:pt x="98" y="112"/>
                  <a:pt x="98" y="112"/>
                </a:cubicBezTo>
                <a:cubicBezTo>
                  <a:pt x="97" y="111"/>
                  <a:pt x="97" y="111"/>
                  <a:pt x="97" y="111"/>
                </a:cubicBezTo>
                <a:cubicBezTo>
                  <a:pt x="96" y="110"/>
                  <a:pt x="96" y="110"/>
                  <a:pt x="96" y="110"/>
                </a:cubicBezTo>
                <a:cubicBezTo>
                  <a:pt x="95" y="108"/>
                  <a:pt x="95" y="108"/>
                  <a:pt x="95" y="108"/>
                </a:cubicBezTo>
                <a:cubicBezTo>
                  <a:pt x="95" y="107"/>
                  <a:pt x="95" y="107"/>
                  <a:pt x="95" y="107"/>
                </a:cubicBezTo>
                <a:cubicBezTo>
                  <a:pt x="94" y="105"/>
                  <a:pt x="94" y="105"/>
                  <a:pt x="94" y="105"/>
                </a:cubicBezTo>
                <a:cubicBezTo>
                  <a:pt x="94" y="103"/>
                  <a:pt x="94" y="103"/>
                  <a:pt x="94" y="103"/>
                </a:cubicBezTo>
                <a:cubicBezTo>
                  <a:pt x="94" y="101"/>
                  <a:pt x="94" y="101"/>
                  <a:pt x="94" y="101"/>
                </a:cubicBezTo>
                <a:cubicBezTo>
                  <a:pt x="94" y="100"/>
                  <a:pt x="94" y="100"/>
                  <a:pt x="94" y="100"/>
                </a:cubicBezTo>
                <a:cubicBezTo>
                  <a:pt x="94" y="98"/>
                  <a:pt x="94" y="98"/>
                  <a:pt x="94" y="98"/>
                </a:cubicBezTo>
                <a:cubicBezTo>
                  <a:pt x="94" y="97"/>
                  <a:pt x="94" y="97"/>
                  <a:pt x="94" y="97"/>
                </a:cubicBezTo>
                <a:cubicBezTo>
                  <a:pt x="95" y="95"/>
                  <a:pt x="95" y="95"/>
                  <a:pt x="95" y="95"/>
                </a:cubicBezTo>
                <a:cubicBezTo>
                  <a:pt x="95" y="94"/>
                  <a:pt x="95" y="94"/>
                  <a:pt x="95" y="94"/>
                </a:cubicBezTo>
                <a:cubicBezTo>
                  <a:pt x="96" y="92"/>
                  <a:pt x="96" y="92"/>
                  <a:pt x="96" y="92"/>
                </a:cubicBezTo>
                <a:cubicBezTo>
                  <a:pt x="97" y="91"/>
                  <a:pt x="97" y="91"/>
                  <a:pt x="97" y="91"/>
                </a:cubicBezTo>
                <a:cubicBezTo>
                  <a:pt x="98" y="90"/>
                  <a:pt x="98" y="90"/>
                  <a:pt x="98" y="90"/>
                </a:cubicBezTo>
                <a:cubicBezTo>
                  <a:pt x="99" y="88"/>
                  <a:pt x="99" y="88"/>
                  <a:pt x="99" y="88"/>
                </a:cubicBezTo>
                <a:cubicBezTo>
                  <a:pt x="101" y="87"/>
                  <a:pt x="101" y="87"/>
                  <a:pt x="101" y="87"/>
                </a:cubicBezTo>
                <a:cubicBezTo>
                  <a:pt x="103" y="86"/>
                  <a:pt x="103" y="86"/>
                  <a:pt x="103" y="86"/>
                </a:cubicBezTo>
                <a:cubicBezTo>
                  <a:pt x="104" y="85"/>
                  <a:pt x="104" y="85"/>
                  <a:pt x="104" y="85"/>
                </a:cubicBezTo>
                <a:cubicBezTo>
                  <a:pt x="106" y="85"/>
                  <a:pt x="106" y="85"/>
                  <a:pt x="106" y="85"/>
                </a:cubicBezTo>
                <a:cubicBezTo>
                  <a:pt x="107" y="84"/>
                  <a:pt x="107" y="84"/>
                  <a:pt x="107" y="84"/>
                </a:cubicBezTo>
                <a:cubicBezTo>
                  <a:pt x="109" y="84"/>
                  <a:pt x="109" y="84"/>
                  <a:pt x="109" y="84"/>
                </a:cubicBezTo>
                <a:cubicBezTo>
                  <a:pt x="110" y="84"/>
                  <a:pt x="110" y="84"/>
                  <a:pt x="110" y="84"/>
                </a:cubicBezTo>
                <a:cubicBezTo>
                  <a:pt x="110" y="75"/>
                  <a:pt x="110" y="75"/>
                  <a:pt x="110" y="75"/>
                </a:cubicBezTo>
                <a:cubicBezTo>
                  <a:pt x="119" y="75"/>
                  <a:pt x="119" y="75"/>
                  <a:pt x="119" y="75"/>
                </a:cubicBezTo>
                <a:cubicBezTo>
                  <a:pt x="119" y="85"/>
                  <a:pt x="119" y="85"/>
                  <a:pt x="119" y="85"/>
                </a:cubicBezTo>
                <a:cubicBezTo>
                  <a:pt x="120" y="85"/>
                  <a:pt x="120" y="85"/>
                  <a:pt x="120" y="85"/>
                </a:cubicBezTo>
                <a:cubicBezTo>
                  <a:pt x="121" y="86"/>
                  <a:pt x="121" y="86"/>
                  <a:pt x="121" y="86"/>
                </a:cubicBezTo>
                <a:cubicBezTo>
                  <a:pt x="122" y="86"/>
                  <a:pt x="122" y="86"/>
                  <a:pt x="122" y="86"/>
                </a:cubicBezTo>
                <a:cubicBezTo>
                  <a:pt x="123" y="87"/>
                  <a:pt x="123" y="87"/>
                  <a:pt x="123" y="87"/>
                </a:cubicBezTo>
                <a:cubicBezTo>
                  <a:pt x="123" y="87"/>
                  <a:pt x="123" y="87"/>
                  <a:pt x="123" y="87"/>
                </a:cubicBezTo>
                <a:cubicBezTo>
                  <a:pt x="124" y="88"/>
                  <a:pt x="124" y="88"/>
                  <a:pt x="124" y="88"/>
                </a:cubicBezTo>
                <a:cubicBezTo>
                  <a:pt x="124" y="89"/>
                  <a:pt x="124" y="89"/>
                  <a:pt x="124" y="89"/>
                </a:cubicBezTo>
                <a:cubicBezTo>
                  <a:pt x="125" y="89"/>
                  <a:pt x="125" y="89"/>
                  <a:pt x="125" y="89"/>
                </a:cubicBezTo>
                <a:cubicBezTo>
                  <a:pt x="125" y="85"/>
                  <a:pt x="125" y="85"/>
                  <a:pt x="125" y="85"/>
                </a:cubicBezTo>
                <a:cubicBezTo>
                  <a:pt x="134" y="85"/>
                  <a:pt x="134" y="85"/>
                  <a:pt x="134" y="85"/>
                </a:cubicBezTo>
                <a:cubicBezTo>
                  <a:pt x="134" y="106"/>
                  <a:pt x="134" y="106"/>
                  <a:pt x="134" y="106"/>
                </a:cubicBezTo>
                <a:cubicBezTo>
                  <a:pt x="125" y="106"/>
                  <a:pt x="125" y="106"/>
                  <a:pt x="125" y="106"/>
                </a:cubicBezTo>
                <a:cubicBezTo>
                  <a:pt x="124" y="104"/>
                  <a:pt x="124" y="104"/>
                  <a:pt x="124" y="104"/>
                </a:cubicBezTo>
                <a:cubicBezTo>
                  <a:pt x="124" y="103"/>
                  <a:pt x="124" y="103"/>
                  <a:pt x="124" y="103"/>
                </a:cubicBezTo>
                <a:cubicBezTo>
                  <a:pt x="124" y="102"/>
                  <a:pt x="124" y="102"/>
                  <a:pt x="124" y="102"/>
                </a:cubicBezTo>
                <a:cubicBezTo>
                  <a:pt x="124" y="101"/>
                  <a:pt x="124" y="101"/>
                  <a:pt x="124" y="101"/>
                </a:cubicBezTo>
                <a:cubicBezTo>
                  <a:pt x="123" y="100"/>
                  <a:pt x="123" y="100"/>
                  <a:pt x="123" y="100"/>
                </a:cubicBezTo>
                <a:cubicBezTo>
                  <a:pt x="123" y="98"/>
                  <a:pt x="123" y="98"/>
                  <a:pt x="123" y="98"/>
                </a:cubicBezTo>
                <a:cubicBezTo>
                  <a:pt x="122" y="97"/>
                  <a:pt x="122" y="97"/>
                  <a:pt x="122" y="97"/>
                </a:cubicBezTo>
                <a:cubicBezTo>
                  <a:pt x="121" y="96"/>
                  <a:pt x="121" y="96"/>
                  <a:pt x="121" y="96"/>
                </a:cubicBezTo>
                <a:cubicBezTo>
                  <a:pt x="120" y="96"/>
                  <a:pt x="120" y="96"/>
                  <a:pt x="120" y="96"/>
                </a:cubicBezTo>
                <a:cubicBezTo>
                  <a:pt x="120" y="95"/>
                  <a:pt x="120" y="95"/>
                  <a:pt x="120" y="95"/>
                </a:cubicBezTo>
                <a:cubicBezTo>
                  <a:pt x="119" y="95"/>
                  <a:pt x="119" y="95"/>
                  <a:pt x="119" y="95"/>
                </a:cubicBezTo>
                <a:cubicBezTo>
                  <a:pt x="118" y="94"/>
                  <a:pt x="118" y="94"/>
                  <a:pt x="118" y="94"/>
                </a:cubicBezTo>
                <a:cubicBezTo>
                  <a:pt x="117" y="94"/>
                  <a:pt x="117" y="94"/>
                  <a:pt x="117" y="94"/>
                </a:cubicBezTo>
                <a:cubicBezTo>
                  <a:pt x="116" y="93"/>
                  <a:pt x="116" y="93"/>
                  <a:pt x="116" y="93"/>
                </a:cubicBezTo>
                <a:cubicBezTo>
                  <a:pt x="115" y="93"/>
                  <a:pt x="115" y="93"/>
                  <a:pt x="115" y="93"/>
                </a:cubicBezTo>
                <a:cubicBezTo>
                  <a:pt x="113" y="93"/>
                  <a:pt x="113" y="93"/>
                  <a:pt x="113" y="93"/>
                </a:cubicBezTo>
                <a:cubicBezTo>
                  <a:pt x="111" y="93"/>
                  <a:pt x="111" y="93"/>
                  <a:pt x="111" y="93"/>
                </a:cubicBezTo>
                <a:cubicBezTo>
                  <a:pt x="110" y="94"/>
                  <a:pt x="110" y="94"/>
                  <a:pt x="110" y="94"/>
                </a:cubicBezTo>
                <a:cubicBezTo>
                  <a:pt x="108" y="94"/>
                  <a:pt x="108" y="94"/>
                  <a:pt x="108" y="94"/>
                </a:cubicBezTo>
                <a:cubicBezTo>
                  <a:pt x="107" y="95"/>
                  <a:pt x="107" y="95"/>
                  <a:pt x="107" y="95"/>
                </a:cubicBezTo>
                <a:cubicBezTo>
                  <a:pt x="106" y="96"/>
                  <a:pt x="106" y="96"/>
                  <a:pt x="106" y="96"/>
                </a:cubicBezTo>
                <a:cubicBezTo>
                  <a:pt x="106" y="98"/>
                  <a:pt x="106" y="98"/>
                  <a:pt x="106" y="98"/>
                </a:cubicBezTo>
                <a:cubicBezTo>
                  <a:pt x="105" y="99"/>
                  <a:pt x="105" y="99"/>
                  <a:pt x="105" y="99"/>
                </a:cubicBezTo>
                <a:cubicBezTo>
                  <a:pt x="105" y="100"/>
                  <a:pt x="105" y="100"/>
                  <a:pt x="105" y="100"/>
                </a:cubicBezTo>
                <a:cubicBezTo>
                  <a:pt x="106" y="102"/>
                  <a:pt x="106" y="102"/>
                  <a:pt x="106" y="102"/>
                </a:cubicBezTo>
                <a:cubicBezTo>
                  <a:pt x="106" y="103"/>
                  <a:pt x="106" y="103"/>
                  <a:pt x="106" y="103"/>
                </a:cubicBezTo>
                <a:cubicBezTo>
                  <a:pt x="107" y="104"/>
                  <a:pt x="107" y="104"/>
                  <a:pt x="107" y="104"/>
                </a:cubicBezTo>
                <a:cubicBezTo>
                  <a:pt x="109" y="105"/>
                  <a:pt x="109" y="105"/>
                  <a:pt x="109" y="105"/>
                </a:cubicBezTo>
                <a:cubicBezTo>
                  <a:pt x="110" y="106"/>
                  <a:pt x="110" y="106"/>
                  <a:pt x="110" y="106"/>
                </a:cubicBezTo>
                <a:cubicBezTo>
                  <a:pt x="112" y="107"/>
                  <a:pt x="112" y="107"/>
                  <a:pt x="112" y="107"/>
                </a:cubicBezTo>
                <a:cubicBezTo>
                  <a:pt x="114" y="108"/>
                  <a:pt x="114" y="108"/>
                  <a:pt x="114" y="108"/>
                </a:cubicBezTo>
                <a:cubicBezTo>
                  <a:pt x="116" y="109"/>
                  <a:pt x="116" y="109"/>
                  <a:pt x="116" y="109"/>
                </a:cubicBezTo>
                <a:cubicBezTo>
                  <a:pt x="118" y="110"/>
                  <a:pt x="118" y="110"/>
                  <a:pt x="118" y="110"/>
                </a:cubicBezTo>
                <a:cubicBezTo>
                  <a:pt x="119" y="110"/>
                  <a:pt x="119" y="110"/>
                  <a:pt x="119" y="110"/>
                </a:cubicBezTo>
                <a:cubicBezTo>
                  <a:pt x="120" y="111"/>
                  <a:pt x="120" y="111"/>
                  <a:pt x="120" y="111"/>
                </a:cubicBezTo>
                <a:cubicBezTo>
                  <a:pt x="122" y="111"/>
                  <a:pt x="122" y="111"/>
                  <a:pt x="122" y="111"/>
                </a:cubicBezTo>
                <a:cubicBezTo>
                  <a:pt x="124" y="112"/>
                  <a:pt x="124" y="112"/>
                  <a:pt x="124" y="112"/>
                </a:cubicBezTo>
                <a:cubicBezTo>
                  <a:pt x="125" y="113"/>
                  <a:pt x="125" y="113"/>
                  <a:pt x="125" y="113"/>
                </a:cubicBezTo>
                <a:cubicBezTo>
                  <a:pt x="126" y="113"/>
                  <a:pt x="126" y="113"/>
                  <a:pt x="126" y="113"/>
                </a:cubicBezTo>
                <a:cubicBezTo>
                  <a:pt x="127" y="114"/>
                  <a:pt x="127" y="114"/>
                  <a:pt x="127" y="114"/>
                </a:cubicBezTo>
                <a:cubicBezTo>
                  <a:pt x="128" y="115"/>
                  <a:pt x="128" y="115"/>
                  <a:pt x="128" y="115"/>
                </a:cubicBezTo>
                <a:cubicBezTo>
                  <a:pt x="130" y="116"/>
                  <a:pt x="130" y="116"/>
                  <a:pt x="130" y="116"/>
                </a:cubicBezTo>
                <a:cubicBezTo>
                  <a:pt x="131" y="117"/>
                  <a:pt x="131" y="117"/>
                  <a:pt x="131" y="117"/>
                </a:cubicBezTo>
                <a:cubicBezTo>
                  <a:pt x="131" y="117"/>
                  <a:pt x="131" y="117"/>
                  <a:pt x="131" y="117"/>
                </a:cubicBezTo>
                <a:cubicBezTo>
                  <a:pt x="132" y="118"/>
                  <a:pt x="132" y="118"/>
                  <a:pt x="132" y="118"/>
                </a:cubicBezTo>
                <a:cubicBezTo>
                  <a:pt x="133" y="119"/>
                  <a:pt x="133" y="119"/>
                  <a:pt x="133" y="119"/>
                </a:cubicBezTo>
                <a:cubicBezTo>
                  <a:pt x="133" y="120"/>
                  <a:pt x="133" y="120"/>
                  <a:pt x="133" y="120"/>
                </a:cubicBezTo>
                <a:cubicBezTo>
                  <a:pt x="134" y="121"/>
                  <a:pt x="134" y="121"/>
                  <a:pt x="134" y="121"/>
                </a:cubicBezTo>
                <a:cubicBezTo>
                  <a:pt x="134" y="122"/>
                  <a:pt x="134" y="122"/>
                  <a:pt x="134" y="122"/>
                </a:cubicBezTo>
                <a:cubicBezTo>
                  <a:pt x="135" y="124"/>
                  <a:pt x="135" y="124"/>
                  <a:pt x="135" y="124"/>
                </a:cubicBezTo>
                <a:cubicBezTo>
                  <a:pt x="135" y="125"/>
                  <a:pt x="135" y="125"/>
                  <a:pt x="135" y="125"/>
                </a:cubicBezTo>
                <a:cubicBezTo>
                  <a:pt x="135" y="127"/>
                  <a:pt x="135" y="127"/>
                  <a:pt x="135" y="127"/>
                </a:cubicBezTo>
                <a:cubicBezTo>
                  <a:pt x="135" y="128"/>
                  <a:pt x="135" y="128"/>
                  <a:pt x="135" y="128"/>
                </a:cubicBezTo>
                <a:cubicBezTo>
                  <a:pt x="135" y="129"/>
                  <a:pt x="135" y="129"/>
                  <a:pt x="135" y="129"/>
                </a:cubicBezTo>
                <a:lnTo>
                  <a:pt x="135" y="13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mj-lt"/>
            </a:endParaRPr>
          </a:p>
        </p:txBody>
      </p:sp>
      <p:sp>
        <p:nvSpPr>
          <p:cNvPr id="35" name="TextBox 34"/>
          <p:cNvSpPr txBox="1"/>
          <p:nvPr/>
        </p:nvSpPr>
        <p:spPr>
          <a:xfrm>
            <a:off x="1137507" y="2548839"/>
            <a:ext cx="1183339" cy="261610"/>
          </a:xfrm>
          <a:prstGeom prst="rect">
            <a:avLst/>
          </a:prstGeom>
          <a:solidFill>
            <a:schemeClr val="tx2">
              <a:lumMod val="75000"/>
            </a:schemeClr>
          </a:solidFill>
        </p:spPr>
        <p:txBody>
          <a:bodyPr wrap="square" tIns="91440" bIns="91440" rtlCol="0" anchor="ctr">
            <a:no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400" b="0" i="0" u="none" strike="noStrike" kern="0" cap="none" spc="0" normalizeH="0" baseline="0">
                <a:ln>
                  <a:noFill/>
                </a:ln>
                <a:solidFill>
                  <a:srgbClr val="FFFFFF"/>
                </a:solidFill>
                <a:effectLst/>
                <a:uLnTx/>
                <a:uFillTx/>
                <a:latin typeface="+mj-lt"/>
              </a:defRPr>
            </a:lvl1pPr>
          </a:lstStyle>
          <a:p>
            <a:r>
              <a:rPr lang="en-US" dirty="0"/>
              <a:t>Efficiency</a:t>
            </a:r>
          </a:p>
        </p:txBody>
      </p:sp>
      <p:sp>
        <p:nvSpPr>
          <p:cNvPr id="36" name="TextBox 35"/>
          <p:cNvSpPr txBox="1"/>
          <p:nvPr/>
        </p:nvSpPr>
        <p:spPr>
          <a:xfrm>
            <a:off x="551189" y="2862524"/>
            <a:ext cx="2377440" cy="1585651"/>
          </a:xfrm>
          <a:prstGeom prst="rect">
            <a:avLst/>
          </a:prstGeom>
          <a:noFill/>
        </p:spPr>
        <p:txBody>
          <a:bodyPr wrap="square" lIns="91440" tIns="45720" rIns="91440" bIns="45720" rtlCol="0">
            <a:noAutofit/>
          </a:bodyPr>
          <a:lstStyle/>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Single Line Card capable to multiplex up to 40x10GE in </a:t>
            </a:r>
            <a:br>
              <a:rPr kumimoji="0" lang="en-US" sz="1100" b="0" i="0" u="none" strike="noStrike" kern="0" cap="none" spc="0" normalizeH="0" baseline="0" noProof="0" dirty="0">
                <a:ln>
                  <a:noFill/>
                </a:ln>
                <a:solidFill>
                  <a:srgbClr val="FFFFFF"/>
                </a:solidFill>
                <a:effectLst/>
                <a:uLnTx/>
                <a:uFillTx/>
                <a:latin typeface="+mj-lt"/>
              </a:rPr>
            </a:br>
            <a:r>
              <a:rPr kumimoji="0" lang="en-US" sz="1100" b="0" i="0" u="none" strike="noStrike" kern="0" cap="none" spc="0" normalizeH="0" baseline="0" noProof="0" dirty="0">
                <a:ln>
                  <a:noFill/>
                </a:ln>
                <a:solidFill>
                  <a:srgbClr val="FFFFFF"/>
                </a:solidFill>
                <a:effectLst/>
                <a:uLnTx/>
                <a:uFillTx/>
                <a:latin typeface="+mj-lt"/>
              </a:rPr>
              <a:t>2 slots</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Future </a:t>
            </a:r>
            <a:r>
              <a:rPr kumimoji="0" lang="en-US" sz="1100" b="0" i="0" u="none" strike="noStrike" kern="0" cap="none" spc="0" normalizeH="0" baseline="0" noProof="0" dirty="0" err="1">
                <a:ln>
                  <a:noFill/>
                </a:ln>
                <a:solidFill>
                  <a:srgbClr val="FFFFFF"/>
                </a:solidFill>
                <a:effectLst/>
                <a:uLnTx/>
                <a:uFillTx/>
                <a:latin typeface="+mj-lt"/>
              </a:rPr>
              <a:t>Xponder</a:t>
            </a:r>
            <a:r>
              <a:rPr kumimoji="0" lang="en-US" sz="1100" b="0" i="0" u="none" strike="noStrike" kern="0" cap="none" spc="0" normalizeH="0" baseline="0" noProof="0" dirty="0">
                <a:ln>
                  <a:noFill/>
                </a:ln>
                <a:solidFill>
                  <a:srgbClr val="FFFFFF"/>
                </a:solidFill>
                <a:effectLst/>
                <a:uLnTx/>
                <a:uFillTx/>
                <a:latin typeface="+mj-lt"/>
              </a:rPr>
              <a:t> capability will optimize wavelengths usage </a:t>
            </a:r>
            <a:br>
              <a:rPr kumimoji="0" lang="en-US" sz="1100" b="0" i="0" u="none" strike="noStrike" kern="0" cap="none" spc="0" normalizeH="0" baseline="0" noProof="0" dirty="0">
                <a:ln>
                  <a:noFill/>
                </a:ln>
                <a:solidFill>
                  <a:srgbClr val="FFFFFF"/>
                </a:solidFill>
                <a:effectLst/>
                <a:uLnTx/>
                <a:uFillTx/>
                <a:latin typeface="+mj-lt"/>
              </a:rPr>
            </a:br>
            <a:r>
              <a:rPr kumimoji="0" lang="en-US" sz="1100" b="0" i="0" u="none" strike="noStrike" kern="0" cap="none" spc="0" normalizeH="0" baseline="0" noProof="0" dirty="0">
                <a:ln>
                  <a:noFill/>
                </a:ln>
                <a:solidFill>
                  <a:srgbClr val="FFFFFF"/>
                </a:solidFill>
                <a:effectLst/>
                <a:uLnTx/>
                <a:uFillTx/>
                <a:latin typeface="+mj-lt"/>
              </a:rPr>
              <a:t>for 10GE traffic aggregation</a:t>
            </a:r>
          </a:p>
        </p:txBody>
      </p:sp>
      <p:sp>
        <p:nvSpPr>
          <p:cNvPr id="37" name="Rectangle 36"/>
          <p:cNvSpPr/>
          <p:nvPr/>
        </p:nvSpPr>
        <p:spPr>
          <a:xfrm>
            <a:off x="3380984" y="1077913"/>
            <a:ext cx="2377440" cy="1728506"/>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38" name="Rectangle 37"/>
          <p:cNvSpPr/>
          <p:nvPr/>
        </p:nvSpPr>
        <p:spPr>
          <a:xfrm>
            <a:off x="6210779" y="1077913"/>
            <a:ext cx="2377440" cy="1728506"/>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42" name="Freeform 9"/>
          <p:cNvSpPr>
            <a:spLocks noEditPoints="1"/>
          </p:cNvSpPr>
          <p:nvPr/>
        </p:nvSpPr>
        <p:spPr bwMode="auto">
          <a:xfrm>
            <a:off x="4162340" y="1313553"/>
            <a:ext cx="814728" cy="814728"/>
          </a:xfrm>
          <a:custGeom>
            <a:avLst/>
            <a:gdLst>
              <a:gd name="T0" fmla="*/ 99 w 232"/>
              <a:gd name="T1" fmla="*/ 71 h 233"/>
              <a:gd name="T2" fmla="*/ 114 w 232"/>
              <a:gd name="T3" fmla="*/ 72 h 233"/>
              <a:gd name="T4" fmla="*/ 129 w 232"/>
              <a:gd name="T5" fmla="*/ 76 h 233"/>
              <a:gd name="T6" fmla="*/ 141 w 232"/>
              <a:gd name="T7" fmla="*/ 82 h 233"/>
              <a:gd name="T8" fmla="*/ 174 w 232"/>
              <a:gd name="T9" fmla="*/ 64 h 233"/>
              <a:gd name="T10" fmla="*/ 162 w 232"/>
              <a:gd name="T11" fmla="*/ 53 h 233"/>
              <a:gd name="T12" fmla="*/ 149 w 232"/>
              <a:gd name="T13" fmla="*/ 45 h 233"/>
              <a:gd name="T14" fmla="*/ 133 w 232"/>
              <a:gd name="T15" fmla="*/ 40 h 233"/>
              <a:gd name="T16" fmla="*/ 117 w 232"/>
              <a:gd name="T17" fmla="*/ 38 h 233"/>
              <a:gd name="T18" fmla="*/ 100 w 232"/>
              <a:gd name="T19" fmla="*/ 40 h 233"/>
              <a:gd name="T20" fmla="*/ 84 w 232"/>
              <a:gd name="T21" fmla="*/ 45 h 233"/>
              <a:gd name="T22" fmla="*/ 70 w 232"/>
              <a:gd name="T23" fmla="*/ 54 h 233"/>
              <a:gd name="T24" fmla="*/ 58 w 232"/>
              <a:gd name="T25" fmla="*/ 66 h 233"/>
              <a:gd name="T26" fmla="*/ 50 w 232"/>
              <a:gd name="T27" fmla="*/ 80 h 233"/>
              <a:gd name="T28" fmla="*/ 44 w 232"/>
              <a:gd name="T29" fmla="*/ 95 h 233"/>
              <a:gd name="T30" fmla="*/ 42 w 232"/>
              <a:gd name="T31" fmla="*/ 113 h 233"/>
              <a:gd name="T32" fmla="*/ 46 w 232"/>
              <a:gd name="T33" fmla="*/ 105 h 233"/>
              <a:gd name="T34" fmla="*/ 55 w 232"/>
              <a:gd name="T35" fmla="*/ 93 h 233"/>
              <a:gd name="T36" fmla="*/ 66 w 232"/>
              <a:gd name="T37" fmla="*/ 83 h 233"/>
              <a:gd name="T38" fmla="*/ 79 w 232"/>
              <a:gd name="T39" fmla="*/ 76 h 233"/>
              <a:gd name="T40" fmla="*/ 187 w 232"/>
              <a:gd name="T41" fmla="*/ 91 h 233"/>
              <a:gd name="T42" fmla="*/ 184 w 232"/>
              <a:gd name="T43" fmla="*/ 89 h 233"/>
              <a:gd name="T44" fmla="*/ 181 w 232"/>
              <a:gd name="T45" fmla="*/ 89 h 233"/>
              <a:gd name="T46" fmla="*/ 101 w 232"/>
              <a:gd name="T47" fmla="*/ 120 h 233"/>
              <a:gd name="T48" fmla="*/ 93 w 232"/>
              <a:gd name="T49" fmla="*/ 127 h 233"/>
              <a:gd name="T50" fmla="*/ 86 w 232"/>
              <a:gd name="T51" fmla="*/ 136 h 233"/>
              <a:gd name="T52" fmla="*/ 83 w 232"/>
              <a:gd name="T53" fmla="*/ 146 h 233"/>
              <a:gd name="T54" fmla="*/ 84 w 232"/>
              <a:gd name="T55" fmla="*/ 157 h 233"/>
              <a:gd name="T56" fmla="*/ 88 w 232"/>
              <a:gd name="T57" fmla="*/ 168 h 233"/>
              <a:gd name="T58" fmla="*/ 96 w 232"/>
              <a:gd name="T59" fmla="*/ 176 h 233"/>
              <a:gd name="T60" fmla="*/ 105 w 232"/>
              <a:gd name="T61" fmla="*/ 181 h 233"/>
              <a:gd name="T62" fmla="*/ 116 w 232"/>
              <a:gd name="T63" fmla="*/ 183 h 233"/>
              <a:gd name="T64" fmla="*/ 127 w 232"/>
              <a:gd name="T65" fmla="*/ 181 h 233"/>
              <a:gd name="T66" fmla="*/ 136 w 232"/>
              <a:gd name="T67" fmla="*/ 176 h 233"/>
              <a:gd name="T68" fmla="*/ 143 w 232"/>
              <a:gd name="T69" fmla="*/ 169 h 233"/>
              <a:gd name="T70" fmla="*/ 186 w 232"/>
              <a:gd name="T71" fmla="*/ 94 h 233"/>
              <a:gd name="T72" fmla="*/ 187 w 232"/>
              <a:gd name="T73" fmla="*/ 92 h 233"/>
              <a:gd name="T74" fmla="*/ 132 w 232"/>
              <a:gd name="T75" fmla="*/ 155 h 233"/>
              <a:gd name="T76" fmla="*/ 128 w 232"/>
              <a:gd name="T77" fmla="*/ 162 h 233"/>
              <a:gd name="T78" fmla="*/ 122 w 232"/>
              <a:gd name="T79" fmla="*/ 166 h 233"/>
              <a:gd name="T80" fmla="*/ 114 w 232"/>
              <a:gd name="T81" fmla="*/ 166 h 233"/>
              <a:gd name="T82" fmla="*/ 107 w 232"/>
              <a:gd name="T83" fmla="*/ 163 h 233"/>
              <a:gd name="T84" fmla="*/ 102 w 232"/>
              <a:gd name="T85" fmla="*/ 157 h 233"/>
              <a:gd name="T86" fmla="*/ 100 w 232"/>
              <a:gd name="T87" fmla="*/ 150 h 233"/>
              <a:gd name="T88" fmla="*/ 102 w 232"/>
              <a:gd name="T89" fmla="*/ 142 h 233"/>
              <a:gd name="T90" fmla="*/ 107 w 232"/>
              <a:gd name="T91" fmla="*/ 136 h 233"/>
              <a:gd name="T92" fmla="*/ 114 w 232"/>
              <a:gd name="T93" fmla="*/ 133 h 233"/>
              <a:gd name="T94" fmla="*/ 122 w 232"/>
              <a:gd name="T95" fmla="*/ 134 h 233"/>
              <a:gd name="T96" fmla="*/ 128 w 232"/>
              <a:gd name="T97" fmla="*/ 138 h 233"/>
              <a:gd name="T98" fmla="*/ 132 w 232"/>
              <a:gd name="T99" fmla="*/ 145 h 233"/>
              <a:gd name="T100" fmla="*/ 133 w 232"/>
              <a:gd name="T101" fmla="*/ 153 h 233"/>
              <a:gd name="T102" fmla="*/ 116 w 232"/>
              <a:gd name="T103" fmla="*/ 233 h 233"/>
              <a:gd name="T104" fmla="*/ 116 w 232"/>
              <a:gd name="T105" fmla="*/ 208 h 233"/>
              <a:gd name="T106" fmla="*/ 207 w 232"/>
              <a:gd name="T107" fmla="*/ 11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33">
                <a:moveTo>
                  <a:pt x="89" y="73"/>
                </a:moveTo>
                <a:cubicBezTo>
                  <a:pt x="94" y="72"/>
                  <a:pt x="94" y="72"/>
                  <a:pt x="94" y="72"/>
                </a:cubicBezTo>
                <a:cubicBezTo>
                  <a:pt x="99" y="71"/>
                  <a:pt x="99" y="71"/>
                  <a:pt x="99" y="71"/>
                </a:cubicBezTo>
                <a:cubicBezTo>
                  <a:pt x="104" y="71"/>
                  <a:pt x="104" y="71"/>
                  <a:pt x="104" y="71"/>
                </a:cubicBezTo>
                <a:cubicBezTo>
                  <a:pt x="109" y="71"/>
                  <a:pt x="109" y="71"/>
                  <a:pt x="109" y="71"/>
                </a:cubicBezTo>
                <a:cubicBezTo>
                  <a:pt x="114" y="72"/>
                  <a:pt x="114" y="72"/>
                  <a:pt x="114" y="72"/>
                </a:cubicBezTo>
                <a:cubicBezTo>
                  <a:pt x="119" y="73"/>
                  <a:pt x="119" y="73"/>
                  <a:pt x="119" y="73"/>
                </a:cubicBezTo>
                <a:cubicBezTo>
                  <a:pt x="124" y="74"/>
                  <a:pt x="124" y="74"/>
                  <a:pt x="124" y="74"/>
                </a:cubicBezTo>
                <a:cubicBezTo>
                  <a:pt x="129" y="76"/>
                  <a:pt x="129" y="76"/>
                  <a:pt x="129" y="76"/>
                </a:cubicBezTo>
                <a:cubicBezTo>
                  <a:pt x="133" y="78"/>
                  <a:pt x="133" y="78"/>
                  <a:pt x="133" y="78"/>
                </a:cubicBezTo>
                <a:cubicBezTo>
                  <a:pt x="137" y="80"/>
                  <a:pt x="137" y="80"/>
                  <a:pt x="137" y="80"/>
                </a:cubicBezTo>
                <a:cubicBezTo>
                  <a:pt x="141" y="82"/>
                  <a:pt x="141" y="82"/>
                  <a:pt x="141" y="82"/>
                </a:cubicBezTo>
                <a:cubicBezTo>
                  <a:pt x="175" y="69"/>
                  <a:pt x="175" y="69"/>
                  <a:pt x="175" y="69"/>
                </a:cubicBezTo>
                <a:cubicBezTo>
                  <a:pt x="177" y="69"/>
                  <a:pt x="177" y="69"/>
                  <a:pt x="177" y="69"/>
                </a:cubicBezTo>
                <a:cubicBezTo>
                  <a:pt x="174" y="64"/>
                  <a:pt x="174" y="64"/>
                  <a:pt x="174" y="64"/>
                </a:cubicBezTo>
                <a:cubicBezTo>
                  <a:pt x="170" y="60"/>
                  <a:pt x="170" y="60"/>
                  <a:pt x="170" y="60"/>
                </a:cubicBezTo>
                <a:cubicBezTo>
                  <a:pt x="166" y="57"/>
                  <a:pt x="166" y="57"/>
                  <a:pt x="166" y="57"/>
                </a:cubicBezTo>
                <a:cubicBezTo>
                  <a:pt x="162" y="53"/>
                  <a:pt x="162" y="53"/>
                  <a:pt x="162" y="53"/>
                </a:cubicBezTo>
                <a:cubicBezTo>
                  <a:pt x="158" y="50"/>
                  <a:pt x="158" y="50"/>
                  <a:pt x="158" y="50"/>
                </a:cubicBezTo>
                <a:cubicBezTo>
                  <a:pt x="153" y="48"/>
                  <a:pt x="153" y="48"/>
                  <a:pt x="153" y="48"/>
                </a:cubicBezTo>
                <a:cubicBezTo>
                  <a:pt x="149" y="45"/>
                  <a:pt x="149" y="45"/>
                  <a:pt x="149" y="45"/>
                </a:cubicBezTo>
                <a:cubicBezTo>
                  <a:pt x="144" y="43"/>
                  <a:pt x="144" y="43"/>
                  <a:pt x="144" y="43"/>
                </a:cubicBezTo>
                <a:cubicBezTo>
                  <a:pt x="139" y="41"/>
                  <a:pt x="139" y="41"/>
                  <a:pt x="139" y="41"/>
                </a:cubicBezTo>
                <a:cubicBezTo>
                  <a:pt x="133" y="40"/>
                  <a:pt x="133" y="40"/>
                  <a:pt x="133" y="40"/>
                </a:cubicBezTo>
                <a:cubicBezTo>
                  <a:pt x="128" y="39"/>
                  <a:pt x="128" y="39"/>
                  <a:pt x="128" y="39"/>
                </a:cubicBezTo>
                <a:cubicBezTo>
                  <a:pt x="122" y="38"/>
                  <a:pt x="122" y="38"/>
                  <a:pt x="122" y="38"/>
                </a:cubicBezTo>
                <a:cubicBezTo>
                  <a:pt x="117" y="38"/>
                  <a:pt x="117" y="38"/>
                  <a:pt x="117" y="38"/>
                </a:cubicBezTo>
                <a:cubicBezTo>
                  <a:pt x="111" y="38"/>
                  <a:pt x="111" y="38"/>
                  <a:pt x="111" y="38"/>
                </a:cubicBezTo>
                <a:cubicBezTo>
                  <a:pt x="105" y="39"/>
                  <a:pt x="105" y="39"/>
                  <a:pt x="105" y="39"/>
                </a:cubicBezTo>
                <a:cubicBezTo>
                  <a:pt x="100" y="40"/>
                  <a:pt x="100" y="40"/>
                  <a:pt x="100" y="40"/>
                </a:cubicBezTo>
                <a:cubicBezTo>
                  <a:pt x="94" y="41"/>
                  <a:pt x="94" y="41"/>
                  <a:pt x="94" y="41"/>
                </a:cubicBezTo>
                <a:cubicBezTo>
                  <a:pt x="89" y="43"/>
                  <a:pt x="89" y="43"/>
                  <a:pt x="89" y="43"/>
                </a:cubicBezTo>
                <a:cubicBezTo>
                  <a:pt x="84" y="45"/>
                  <a:pt x="84" y="45"/>
                  <a:pt x="84" y="45"/>
                </a:cubicBezTo>
                <a:cubicBezTo>
                  <a:pt x="79" y="48"/>
                  <a:pt x="79" y="48"/>
                  <a:pt x="79" y="48"/>
                </a:cubicBezTo>
                <a:cubicBezTo>
                  <a:pt x="74" y="51"/>
                  <a:pt x="74" y="51"/>
                  <a:pt x="74" y="51"/>
                </a:cubicBezTo>
                <a:cubicBezTo>
                  <a:pt x="70" y="54"/>
                  <a:pt x="70" y="54"/>
                  <a:pt x="70" y="54"/>
                </a:cubicBezTo>
                <a:cubicBezTo>
                  <a:pt x="66" y="58"/>
                  <a:pt x="66" y="58"/>
                  <a:pt x="66" y="58"/>
                </a:cubicBezTo>
                <a:cubicBezTo>
                  <a:pt x="62" y="62"/>
                  <a:pt x="62" y="62"/>
                  <a:pt x="62" y="62"/>
                </a:cubicBezTo>
                <a:cubicBezTo>
                  <a:pt x="58" y="66"/>
                  <a:pt x="58" y="66"/>
                  <a:pt x="58" y="66"/>
                </a:cubicBezTo>
                <a:cubicBezTo>
                  <a:pt x="55" y="70"/>
                  <a:pt x="55" y="70"/>
                  <a:pt x="55" y="70"/>
                </a:cubicBezTo>
                <a:cubicBezTo>
                  <a:pt x="52" y="75"/>
                  <a:pt x="52" y="75"/>
                  <a:pt x="52" y="75"/>
                </a:cubicBezTo>
                <a:cubicBezTo>
                  <a:pt x="50" y="80"/>
                  <a:pt x="50" y="80"/>
                  <a:pt x="50" y="80"/>
                </a:cubicBezTo>
                <a:cubicBezTo>
                  <a:pt x="47" y="85"/>
                  <a:pt x="47" y="85"/>
                  <a:pt x="47" y="85"/>
                </a:cubicBezTo>
                <a:cubicBezTo>
                  <a:pt x="46" y="90"/>
                  <a:pt x="46" y="90"/>
                  <a:pt x="46" y="90"/>
                </a:cubicBezTo>
                <a:cubicBezTo>
                  <a:pt x="44" y="95"/>
                  <a:pt x="44" y="95"/>
                  <a:pt x="44" y="95"/>
                </a:cubicBezTo>
                <a:cubicBezTo>
                  <a:pt x="43" y="101"/>
                  <a:pt x="43" y="101"/>
                  <a:pt x="43" y="101"/>
                </a:cubicBezTo>
                <a:cubicBezTo>
                  <a:pt x="42" y="107"/>
                  <a:pt x="42" y="107"/>
                  <a:pt x="42" y="107"/>
                </a:cubicBezTo>
                <a:cubicBezTo>
                  <a:pt x="42" y="113"/>
                  <a:pt x="42" y="113"/>
                  <a:pt x="42" y="113"/>
                </a:cubicBezTo>
                <a:cubicBezTo>
                  <a:pt x="42" y="114"/>
                  <a:pt x="42" y="114"/>
                  <a:pt x="42" y="114"/>
                </a:cubicBezTo>
                <a:cubicBezTo>
                  <a:pt x="44" y="110"/>
                  <a:pt x="44" y="110"/>
                  <a:pt x="44" y="110"/>
                </a:cubicBezTo>
                <a:cubicBezTo>
                  <a:pt x="46" y="105"/>
                  <a:pt x="46" y="105"/>
                  <a:pt x="46" y="105"/>
                </a:cubicBezTo>
                <a:cubicBezTo>
                  <a:pt x="49" y="101"/>
                  <a:pt x="49" y="101"/>
                  <a:pt x="49" y="101"/>
                </a:cubicBezTo>
                <a:cubicBezTo>
                  <a:pt x="52" y="97"/>
                  <a:pt x="52" y="97"/>
                  <a:pt x="52" y="97"/>
                </a:cubicBezTo>
                <a:cubicBezTo>
                  <a:pt x="55" y="93"/>
                  <a:pt x="55" y="93"/>
                  <a:pt x="55" y="93"/>
                </a:cubicBezTo>
                <a:cubicBezTo>
                  <a:pt x="58" y="89"/>
                  <a:pt x="58" y="89"/>
                  <a:pt x="58" y="89"/>
                </a:cubicBezTo>
                <a:cubicBezTo>
                  <a:pt x="62" y="86"/>
                  <a:pt x="62" y="86"/>
                  <a:pt x="62" y="86"/>
                </a:cubicBezTo>
                <a:cubicBezTo>
                  <a:pt x="66" y="83"/>
                  <a:pt x="66" y="83"/>
                  <a:pt x="66" y="83"/>
                </a:cubicBezTo>
                <a:cubicBezTo>
                  <a:pt x="70" y="81"/>
                  <a:pt x="70" y="81"/>
                  <a:pt x="70" y="81"/>
                </a:cubicBezTo>
                <a:cubicBezTo>
                  <a:pt x="75" y="78"/>
                  <a:pt x="75" y="78"/>
                  <a:pt x="75" y="78"/>
                </a:cubicBezTo>
                <a:cubicBezTo>
                  <a:pt x="79" y="76"/>
                  <a:pt x="79" y="76"/>
                  <a:pt x="79" y="76"/>
                </a:cubicBezTo>
                <a:cubicBezTo>
                  <a:pt x="84" y="74"/>
                  <a:pt x="84" y="74"/>
                  <a:pt x="84" y="74"/>
                </a:cubicBezTo>
                <a:lnTo>
                  <a:pt x="89" y="73"/>
                </a:lnTo>
                <a:close/>
                <a:moveTo>
                  <a:pt x="187" y="91"/>
                </a:moveTo>
                <a:cubicBezTo>
                  <a:pt x="186" y="90"/>
                  <a:pt x="186" y="90"/>
                  <a:pt x="186" y="90"/>
                </a:cubicBezTo>
                <a:cubicBezTo>
                  <a:pt x="185" y="89"/>
                  <a:pt x="185" y="89"/>
                  <a:pt x="185" y="89"/>
                </a:cubicBezTo>
                <a:cubicBezTo>
                  <a:pt x="184" y="89"/>
                  <a:pt x="184" y="89"/>
                  <a:pt x="184" y="89"/>
                </a:cubicBezTo>
                <a:cubicBezTo>
                  <a:pt x="183" y="88"/>
                  <a:pt x="183" y="88"/>
                  <a:pt x="183" y="88"/>
                </a:cubicBezTo>
                <a:cubicBezTo>
                  <a:pt x="182" y="88"/>
                  <a:pt x="182" y="88"/>
                  <a:pt x="182" y="88"/>
                </a:cubicBezTo>
                <a:cubicBezTo>
                  <a:pt x="181" y="89"/>
                  <a:pt x="181" y="89"/>
                  <a:pt x="181" y="89"/>
                </a:cubicBezTo>
                <a:cubicBezTo>
                  <a:pt x="104" y="119"/>
                  <a:pt x="104" y="119"/>
                  <a:pt x="104" y="119"/>
                </a:cubicBezTo>
                <a:cubicBezTo>
                  <a:pt x="104" y="119"/>
                  <a:pt x="104" y="119"/>
                  <a:pt x="104" y="119"/>
                </a:cubicBezTo>
                <a:cubicBezTo>
                  <a:pt x="101" y="120"/>
                  <a:pt x="101" y="120"/>
                  <a:pt x="101" y="120"/>
                </a:cubicBezTo>
                <a:cubicBezTo>
                  <a:pt x="98" y="122"/>
                  <a:pt x="98" y="122"/>
                  <a:pt x="98" y="122"/>
                </a:cubicBezTo>
                <a:cubicBezTo>
                  <a:pt x="95" y="124"/>
                  <a:pt x="95" y="124"/>
                  <a:pt x="95" y="124"/>
                </a:cubicBezTo>
                <a:cubicBezTo>
                  <a:pt x="93" y="127"/>
                  <a:pt x="93" y="127"/>
                  <a:pt x="93" y="127"/>
                </a:cubicBezTo>
                <a:cubicBezTo>
                  <a:pt x="90" y="130"/>
                  <a:pt x="90" y="130"/>
                  <a:pt x="90" y="130"/>
                </a:cubicBezTo>
                <a:cubicBezTo>
                  <a:pt x="88" y="132"/>
                  <a:pt x="88" y="132"/>
                  <a:pt x="88" y="132"/>
                </a:cubicBezTo>
                <a:cubicBezTo>
                  <a:pt x="86" y="136"/>
                  <a:pt x="86" y="136"/>
                  <a:pt x="86" y="136"/>
                </a:cubicBezTo>
                <a:cubicBezTo>
                  <a:pt x="85" y="139"/>
                  <a:pt x="85" y="139"/>
                  <a:pt x="85" y="139"/>
                </a:cubicBezTo>
                <a:cubicBezTo>
                  <a:pt x="84" y="142"/>
                  <a:pt x="84" y="142"/>
                  <a:pt x="84" y="142"/>
                </a:cubicBezTo>
                <a:cubicBezTo>
                  <a:pt x="83" y="146"/>
                  <a:pt x="83" y="146"/>
                  <a:pt x="83" y="146"/>
                </a:cubicBezTo>
                <a:cubicBezTo>
                  <a:pt x="83" y="150"/>
                  <a:pt x="83" y="150"/>
                  <a:pt x="83" y="150"/>
                </a:cubicBezTo>
                <a:cubicBezTo>
                  <a:pt x="83" y="154"/>
                  <a:pt x="83" y="154"/>
                  <a:pt x="83" y="154"/>
                </a:cubicBezTo>
                <a:cubicBezTo>
                  <a:pt x="84" y="157"/>
                  <a:pt x="84" y="157"/>
                  <a:pt x="84" y="157"/>
                </a:cubicBezTo>
                <a:cubicBezTo>
                  <a:pt x="85" y="161"/>
                  <a:pt x="85" y="161"/>
                  <a:pt x="85" y="161"/>
                </a:cubicBezTo>
                <a:cubicBezTo>
                  <a:pt x="87" y="164"/>
                  <a:pt x="87" y="164"/>
                  <a:pt x="87" y="164"/>
                </a:cubicBezTo>
                <a:cubicBezTo>
                  <a:pt x="88" y="168"/>
                  <a:pt x="88" y="168"/>
                  <a:pt x="88" y="168"/>
                </a:cubicBezTo>
                <a:cubicBezTo>
                  <a:pt x="91" y="171"/>
                  <a:pt x="91" y="171"/>
                  <a:pt x="91" y="171"/>
                </a:cubicBezTo>
                <a:cubicBezTo>
                  <a:pt x="93" y="173"/>
                  <a:pt x="93" y="173"/>
                  <a:pt x="93" y="173"/>
                </a:cubicBezTo>
                <a:cubicBezTo>
                  <a:pt x="96" y="176"/>
                  <a:pt x="96" y="176"/>
                  <a:pt x="96" y="176"/>
                </a:cubicBezTo>
                <a:cubicBezTo>
                  <a:pt x="99" y="178"/>
                  <a:pt x="99" y="178"/>
                  <a:pt x="99" y="178"/>
                </a:cubicBezTo>
                <a:cubicBezTo>
                  <a:pt x="102" y="180"/>
                  <a:pt x="102" y="180"/>
                  <a:pt x="102" y="180"/>
                </a:cubicBezTo>
                <a:cubicBezTo>
                  <a:pt x="105" y="181"/>
                  <a:pt x="105" y="181"/>
                  <a:pt x="105" y="181"/>
                </a:cubicBezTo>
                <a:cubicBezTo>
                  <a:pt x="109" y="182"/>
                  <a:pt x="109" y="182"/>
                  <a:pt x="109" y="182"/>
                </a:cubicBezTo>
                <a:cubicBezTo>
                  <a:pt x="113" y="183"/>
                  <a:pt x="113" y="183"/>
                  <a:pt x="113" y="183"/>
                </a:cubicBezTo>
                <a:cubicBezTo>
                  <a:pt x="116" y="183"/>
                  <a:pt x="116" y="183"/>
                  <a:pt x="116" y="183"/>
                </a:cubicBezTo>
                <a:cubicBezTo>
                  <a:pt x="120" y="183"/>
                  <a:pt x="120" y="183"/>
                  <a:pt x="120" y="183"/>
                </a:cubicBezTo>
                <a:cubicBezTo>
                  <a:pt x="124" y="182"/>
                  <a:pt x="124" y="182"/>
                  <a:pt x="124" y="182"/>
                </a:cubicBezTo>
                <a:cubicBezTo>
                  <a:pt x="127" y="181"/>
                  <a:pt x="127" y="181"/>
                  <a:pt x="127" y="181"/>
                </a:cubicBezTo>
                <a:cubicBezTo>
                  <a:pt x="130" y="180"/>
                  <a:pt x="130" y="180"/>
                  <a:pt x="130" y="180"/>
                </a:cubicBezTo>
                <a:cubicBezTo>
                  <a:pt x="133" y="178"/>
                  <a:pt x="133" y="178"/>
                  <a:pt x="133" y="178"/>
                </a:cubicBezTo>
                <a:cubicBezTo>
                  <a:pt x="136" y="176"/>
                  <a:pt x="136" y="176"/>
                  <a:pt x="136" y="176"/>
                </a:cubicBezTo>
                <a:cubicBezTo>
                  <a:pt x="139" y="174"/>
                  <a:pt x="139" y="174"/>
                  <a:pt x="139" y="174"/>
                </a:cubicBezTo>
                <a:cubicBezTo>
                  <a:pt x="141" y="172"/>
                  <a:pt x="141" y="172"/>
                  <a:pt x="141" y="172"/>
                </a:cubicBezTo>
                <a:cubicBezTo>
                  <a:pt x="143" y="169"/>
                  <a:pt x="143" y="169"/>
                  <a:pt x="143" y="169"/>
                </a:cubicBezTo>
                <a:cubicBezTo>
                  <a:pt x="145" y="166"/>
                  <a:pt x="145" y="166"/>
                  <a:pt x="145" y="166"/>
                </a:cubicBezTo>
                <a:cubicBezTo>
                  <a:pt x="186" y="95"/>
                  <a:pt x="186" y="95"/>
                  <a:pt x="186" y="95"/>
                </a:cubicBezTo>
                <a:cubicBezTo>
                  <a:pt x="186" y="94"/>
                  <a:pt x="186" y="94"/>
                  <a:pt x="186" y="94"/>
                </a:cubicBezTo>
                <a:cubicBezTo>
                  <a:pt x="186" y="94"/>
                  <a:pt x="186" y="94"/>
                  <a:pt x="186" y="94"/>
                </a:cubicBezTo>
                <a:cubicBezTo>
                  <a:pt x="187" y="93"/>
                  <a:pt x="187" y="93"/>
                  <a:pt x="187" y="93"/>
                </a:cubicBezTo>
                <a:cubicBezTo>
                  <a:pt x="187" y="92"/>
                  <a:pt x="187" y="92"/>
                  <a:pt x="187" y="92"/>
                </a:cubicBezTo>
                <a:lnTo>
                  <a:pt x="187" y="91"/>
                </a:lnTo>
                <a:close/>
                <a:moveTo>
                  <a:pt x="133" y="153"/>
                </a:moveTo>
                <a:cubicBezTo>
                  <a:pt x="132" y="155"/>
                  <a:pt x="132" y="155"/>
                  <a:pt x="132" y="155"/>
                </a:cubicBezTo>
                <a:cubicBezTo>
                  <a:pt x="131" y="157"/>
                  <a:pt x="131" y="157"/>
                  <a:pt x="131" y="157"/>
                </a:cubicBezTo>
                <a:cubicBezTo>
                  <a:pt x="130" y="160"/>
                  <a:pt x="130" y="160"/>
                  <a:pt x="130" y="160"/>
                </a:cubicBezTo>
                <a:cubicBezTo>
                  <a:pt x="128" y="162"/>
                  <a:pt x="128" y="162"/>
                  <a:pt x="128" y="162"/>
                </a:cubicBezTo>
                <a:cubicBezTo>
                  <a:pt x="126" y="163"/>
                  <a:pt x="126" y="163"/>
                  <a:pt x="126" y="163"/>
                </a:cubicBezTo>
                <a:cubicBezTo>
                  <a:pt x="124" y="165"/>
                  <a:pt x="124" y="165"/>
                  <a:pt x="124" y="165"/>
                </a:cubicBezTo>
                <a:cubicBezTo>
                  <a:pt x="122" y="166"/>
                  <a:pt x="122" y="166"/>
                  <a:pt x="122" y="166"/>
                </a:cubicBezTo>
                <a:cubicBezTo>
                  <a:pt x="119" y="166"/>
                  <a:pt x="119" y="166"/>
                  <a:pt x="119" y="166"/>
                </a:cubicBezTo>
                <a:cubicBezTo>
                  <a:pt x="116" y="166"/>
                  <a:pt x="116" y="166"/>
                  <a:pt x="116" y="166"/>
                </a:cubicBezTo>
                <a:cubicBezTo>
                  <a:pt x="114" y="166"/>
                  <a:pt x="114" y="166"/>
                  <a:pt x="114" y="166"/>
                </a:cubicBezTo>
                <a:cubicBezTo>
                  <a:pt x="111" y="166"/>
                  <a:pt x="111" y="166"/>
                  <a:pt x="111" y="166"/>
                </a:cubicBezTo>
                <a:cubicBezTo>
                  <a:pt x="109" y="165"/>
                  <a:pt x="109" y="165"/>
                  <a:pt x="109" y="165"/>
                </a:cubicBezTo>
                <a:cubicBezTo>
                  <a:pt x="107" y="163"/>
                  <a:pt x="107" y="163"/>
                  <a:pt x="107" y="163"/>
                </a:cubicBezTo>
                <a:cubicBezTo>
                  <a:pt x="105" y="162"/>
                  <a:pt x="105" y="162"/>
                  <a:pt x="105" y="162"/>
                </a:cubicBezTo>
                <a:cubicBezTo>
                  <a:pt x="103" y="160"/>
                  <a:pt x="103" y="160"/>
                  <a:pt x="103" y="160"/>
                </a:cubicBezTo>
                <a:cubicBezTo>
                  <a:pt x="102" y="157"/>
                  <a:pt x="102" y="157"/>
                  <a:pt x="102" y="157"/>
                </a:cubicBezTo>
                <a:cubicBezTo>
                  <a:pt x="101" y="155"/>
                  <a:pt x="101" y="155"/>
                  <a:pt x="101" y="155"/>
                </a:cubicBezTo>
                <a:cubicBezTo>
                  <a:pt x="100" y="153"/>
                  <a:pt x="100" y="153"/>
                  <a:pt x="100" y="153"/>
                </a:cubicBezTo>
                <a:cubicBezTo>
                  <a:pt x="100" y="150"/>
                  <a:pt x="100" y="150"/>
                  <a:pt x="100" y="150"/>
                </a:cubicBezTo>
                <a:cubicBezTo>
                  <a:pt x="100" y="147"/>
                  <a:pt x="100" y="147"/>
                  <a:pt x="100" y="147"/>
                </a:cubicBezTo>
                <a:cubicBezTo>
                  <a:pt x="101" y="145"/>
                  <a:pt x="101" y="145"/>
                  <a:pt x="101" y="145"/>
                </a:cubicBezTo>
                <a:cubicBezTo>
                  <a:pt x="102" y="142"/>
                  <a:pt x="102" y="142"/>
                  <a:pt x="102" y="142"/>
                </a:cubicBezTo>
                <a:cubicBezTo>
                  <a:pt x="103" y="140"/>
                  <a:pt x="103" y="140"/>
                  <a:pt x="103" y="140"/>
                </a:cubicBezTo>
                <a:cubicBezTo>
                  <a:pt x="105" y="138"/>
                  <a:pt x="105" y="138"/>
                  <a:pt x="105" y="138"/>
                </a:cubicBezTo>
                <a:cubicBezTo>
                  <a:pt x="107" y="136"/>
                  <a:pt x="107" y="136"/>
                  <a:pt x="107" y="136"/>
                </a:cubicBezTo>
                <a:cubicBezTo>
                  <a:pt x="109" y="135"/>
                  <a:pt x="109" y="135"/>
                  <a:pt x="109" y="135"/>
                </a:cubicBezTo>
                <a:cubicBezTo>
                  <a:pt x="111" y="134"/>
                  <a:pt x="111" y="134"/>
                  <a:pt x="111" y="134"/>
                </a:cubicBezTo>
                <a:cubicBezTo>
                  <a:pt x="114" y="133"/>
                  <a:pt x="114" y="133"/>
                  <a:pt x="114" y="133"/>
                </a:cubicBezTo>
                <a:cubicBezTo>
                  <a:pt x="116" y="133"/>
                  <a:pt x="116" y="133"/>
                  <a:pt x="116" y="133"/>
                </a:cubicBezTo>
                <a:cubicBezTo>
                  <a:pt x="119" y="133"/>
                  <a:pt x="119" y="133"/>
                  <a:pt x="119" y="133"/>
                </a:cubicBezTo>
                <a:cubicBezTo>
                  <a:pt x="122" y="134"/>
                  <a:pt x="122" y="134"/>
                  <a:pt x="122" y="134"/>
                </a:cubicBezTo>
                <a:cubicBezTo>
                  <a:pt x="124" y="135"/>
                  <a:pt x="124" y="135"/>
                  <a:pt x="124" y="135"/>
                </a:cubicBezTo>
                <a:cubicBezTo>
                  <a:pt x="126" y="136"/>
                  <a:pt x="126" y="136"/>
                  <a:pt x="126" y="136"/>
                </a:cubicBezTo>
                <a:cubicBezTo>
                  <a:pt x="128" y="138"/>
                  <a:pt x="128" y="138"/>
                  <a:pt x="128" y="138"/>
                </a:cubicBezTo>
                <a:cubicBezTo>
                  <a:pt x="130" y="140"/>
                  <a:pt x="130" y="140"/>
                  <a:pt x="130" y="140"/>
                </a:cubicBezTo>
                <a:cubicBezTo>
                  <a:pt x="131" y="142"/>
                  <a:pt x="131" y="142"/>
                  <a:pt x="131" y="142"/>
                </a:cubicBezTo>
                <a:cubicBezTo>
                  <a:pt x="132" y="145"/>
                  <a:pt x="132" y="145"/>
                  <a:pt x="132" y="145"/>
                </a:cubicBezTo>
                <a:cubicBezTo>
                  <a:pt x="133" y="147"/>
                  <a:pt x="133" y="147"/>
                  <a:pt x="133" y="147"/>
                </a:cubicBezTo>
                <a:cubicBezTo>
                  <a:pt x="133" y="150"/>
                  <a:pt x="133" y="150"/>
                  <a:pt x="133" y="150"/>
                </a:cubicBezTo>
                <a:lnTo>
                  <a:pt x="133" y="153"/>
                </a:lnTo>
                <a:close/>
                <a:moveTo>
                  <a:pt x="116" y="0"/>
                </a:moveTo>
                <a:cubicBezTo>
                  <a:pt x="52" y="0"/>
                  <a:pt x="0" y="52"/>
                  <a:pt x="0" y="116"/>
                </a:cubicBezTo>
                <a:cubicBezTo>
                  <a:pt x="0" y="181"/>
                  <a:pt x="52" y="233"/>
                  <a:pt x="116" y="233"/>
                </a:cubicBezTo>
                <a:cubicBezTo>
                  <a:pt x="180" y="233"/>
                  <a:pt x="232" y="181"/>
                  <a:pt x="232" y="116"/>
                </a:cubicBezTo>
                <a:cubicBezTo>
                  <a:pt x="232" y="52"/>
                  <a:pt x="180" y="0"/>
                  <a:pt x="116" y="0"/>
                </a:cubicBezTo>
                <a:close/>
                <a:moveTo>
                  <a:pt x="116" y="208"/>
                </a:moveTo>
                <a:cubicBezTo>
                  <a:pt x="66" y="208"/>
                  <a:pt x="25" y="167"/>
                  <a:pt x="25" y="116"/>
                </a:cubicBezTo>
                <a:cubicBezTo>
                  <a:pt x="25" y="66"/>
                  <a:pt x="66" y="25"/>
                  <a:pt x="116" y="25"/>
                </a:cubicBezTo>
                <a:cubicBezTo>
                  <a:pt x="167" y="25"/>
                  <a:pt x="207" y="66"/>
                  <a:pt x="207" y="116"/>
                </a:cubicBezTo>
                <a:cubicBezTo>
                  <a:pt x="207" y="167"/>
                  <a:pt x="167" y="208"/>
                  <a:pt x="116" y="2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mj-lt"/>
            </a:endParaRPr>
          </a:p>
        </p:txBody>
      </p:sp>
      <p:sp>
        <p:nvSpPr>
          <p:cNvPr id="43" name="TextBox 42"/>
          <p:cNvSpPr txBox="1"/>
          <p:nvPr/>
        </p:nvSpPr>
        <p:spPr>
          <a:xfrm>
            <a:off x="3393122" y="2862524"/>
            <a:ext cx="2377440" cy="1585651"/>
          </a:xfrm>
          <a:prstGeom prst="rect">
            <a:avLst/>
          </a:prstGeom>
          <a:noFill/>
        </p:spPr>
        <p:txBody>
          <a:bodyPr wrap="square" lIns="91440" tIns="45720" rIns="91440" bIns="45720" rtlCol="0">
            <a:noAutofit/>
          </a:bodyPr>
          <a:lstStyle/>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chemeClr val="bg2"/>
                </a:solidFill>
                <a:effectLst/>
                <a:uLnTx/>
                <a:uFillTx/>
                <a:latin typeface="+mj-lt"/>
              </a:rPr>
              <a:t>Up to 3dB improvement </a:t>
            </a:r>
            <a:br>
              <a:rPr kumimoji="0" lang="en-US" sz="1100" b="0" i="0" u="none" strike="noStrike" kern="0" cap="none" spc="0" normalizeH="0" baseline="0" noProof="0" dirty="0">
                <a:ln>
                  <a:noFill/>
                </a:ln>
                <a:solidFill>
                  <a:schemeClr val="bg2"/>
                </a:solidFill>
                <a:effectLst/>
                <a:uLnTx/>
                <a:uFillTx/>
                <a:latin typeface="+mj-lt"/>
              </a:rPr>
            </a:br>
            <a:r>
              <a:rPr kumimoji="0" lang="en-US" sz="1100" b="0" i="0" u="none" strike="noStrike" kern="0" cap="none" spc="0" normalizeH="0" baseline="0" noProof="0" dirty="0">
                <a:ln>
                  <a:noFill/>
                </a:ln>
                <a:solidFill>
                  <a:schemeClr val="bg2"/>
                </a:solidFill>
                <a:effectLst/>
                <a:uLnTx/>
                <a:uFillTx/>
                <a:latin typeface="+mj-lt"/>
              </a:rPr>
              <a:t>in OSNR performance for </a:t>
            </a:r>
            <a:br>
              <a:rPr kumimoji="0" lang="en-US" sz="1100" b="0" i="0" u="none" strike="noStrike" kern="0" cap="none" spc="0" normalizeH="0" baseline="0" noProof="0" dirty="0">
                <a:ln>
                  <a:noFill/>
                </a:ln>
                <a:solidFill>
                  <a:schemeClr val="bg2"/>
                </a:solidFill>
                <a:effectLst/>
                <a:uLnTx/>
                <a:uFillTx/>
                <a:latin typeface="+mj-lt"/>
              </a:rPr>
            </a:br>
            <a:r>
              <a:rPr kumimoji="0" lang="en-US" sz="1100" b="0" i="0" u="none" strike="noStrike" kern="0" cap="none" spc="0" normalizeH="0" baseline="0" noProof="0" dirty="0">
                <a:ln>
                  <a:noFill/>
                </a:ln>
                <a:solidFill>
                  <a:schemeClr val="bg2"/>
                </a:solidFill>
                <a:effectLst/>
                <a:uLnTx/>
                <a:uFillTx/>
                <a:latin typeface="+mj-lt"/>
              </a:rPr>
              <a:t>16-QAM</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chemeClr val="bg2"/>
                </a:solidFill>
                <a:effectLst/>
                <a:uLnTx/>
                <a:uFillTx/>
                <a:latin typeface="+mj-lt"/>
              </a:rPr>
              <a:t>8-QAM capability to have </a:t>
            </a:r>
            <a:br>
              <a:rPr kumimoji="0" lang="en-US" sz="1100" b="0" i="0" u="none" strike="noStrike" kern="0" cap="none" spc="0" normalizeH="0" baseline="0" noProof="0" dirty="0">
                <a:ln>
                  <a:noFill/>
                </a:ln>
                <a:solidFill>
                  <a:schemeClr val="bg2"/>
                </a:solidFill>
                <a:effectLst/>
                <a:uLnTx/>
                <a:uFillTx/>
                <a:latin typeface="+mj-lt"/>
              </a:rPr>
            </a:br>
            <a:r>
              <a:rPr kumimoji="0" lang="en-US" sz="1100" b="0" i="0" u="none" strike="noStrike" kern="0" cap="none" spc="0" normalizeH="0" baseline="0" noProof="0" dirty="0">
                <a:ln>
                  <a:noFill/>
                </a:ln>
                <a:solidFill>
                  <a:schemeClr val="bg2"/>
                </a:solidFill>
                <a:effectLst/>
                <a:uLnTx/>
                <a:uFillTx/>
                <a:latin typeface="+mj-lt"/>
              </a:rPr>
              <a:t>50% bandwidth improvement respect 100G QPSK over </a:t>
            </a:r>
            <a:br>
              <a:rPr kumimoji="0" lang="en-US" sz="1100" b="0" i="0" u="none" strike="noStrike" kern="0" cap="none" spc="0" normalizeH="0" baseline="0" noProof="0" dirty="0">
                <a:ln>
                  <a:noFill/>
                </a:ln>
                <a:solidFill>
                  <a:schemeClr val="bg2"/>
                </a:solidFill>
                <a:effectLst/>
                <a:uLnTx/>
                <a:uFillTx/>
                <a:latin typeface="+mj-lt"/>
              </a:rPr>
            </a:br>
            <a:r>
              <a:rPr kumimoji="0" lang="en-US" sz="1100" b="0" i="0" u="none" strike="noStrike" kern="0" cap="none" spc="0" normalizeH="0" baseline="0" noProof="0" dirty="0">
                <a:ln>
                  <a:noFill/>
                </a:ln>
                <a:solidFill>
                  <a:schemeClr val="bg2"/>
                </a:solidFill>
                <a:effectLst/>
                <a:uLnTx/>
                <a:uFillTx/>
                <a:latin typeface="+mj-lt"/>
              </a:rPr>
              <a:t>more than 2000km Links</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chemeClr val="bg2"/>
                </a:solidFill>
                <a:effectLst/>
                <a:uLnTx/>
                <a:uFillTx/>
                <a:latin typeface="+mj-lt"/>
              </a:rPr>
              <a:t>Detect and Manage Business Risk Faster and Better</a:t>
            </a:r>
          </a:p>
        </p:txBody>
      </p:sp>
      <p:sp>
        <p:nvSpPr>
          <p:cNvPr id="44" name="Freeform 5"/>
          <p:cNvSpPr>
            <a:spLocks/>
          </p:cNvSpPr>
          <p:nvPr/>
        </p:nvSpPr>
        <p:spPr bwMode="auto">
          <a:xfrm>
            <a:off x="6911819" y="1308592"/>
            <a:ext cx="975360" cy="824650"/>
          </a:xfrm>
          <a:custGeom>
            <a:avLst/>
            <a:gdLst>
              <a:gd name="T0" fmla="*/ 3809 w 5392"/>
              <a:gd name="T1" fmla="*/ 3078 h 3240"/>
              <a:gd name="T2" fmla="*/ 3666 w 5392"/>
              <a:gd name="T3" fmla="*/ 1696 h 3240"/>
              <a:gd name="T4" fmla="*/ 3583 w 5392"/>
              <a:gd name="T5" fmla="*/ 2806 h 3240"/>
              <a:gd name="T6" fmla="*/ 3500 w 5392"/>
              <a:gd name="T7" fmla="*/ 2787 h 3240"/>
              <a:gd name="T8" fmla="*/ 3366 w 5392"/>
              <a:gd name="T9" fmla="*/ 2019 h 3240"/>
              <a:gd name="T10" fmla="*/ 3236 w 5392"/>
              <a:gd name="T11" fmla="*/ 2431 h 3240"/>
              <a:gd name="T12" fmla="*/ 3148 w 5392"/>
              <a:gd name="T13" fmla="*/ 2289 h 3240"/>
              <a:gd name="T14" fmla="*/ 3009 w 5392"/>
              <a:gd name="T15" fmla="*/ 1308 h 3240"/>
              <a:gd name="T16" fmla="*/ 2925 w 5392"/>
              <a:gd name="T17" fmla="*/ 1701 h 3240"/>
              <a:gd name="T18" fmla="*/ 2789 w 5392"/>
              <a:gd name="T19" fmla="*/ 1744 h 3240"/>
              <a:gd name="T20" fmla="*/ 2612 w 5392"/>
              <a:gd name="T21" fmla="*/ 2123 h 3240"/>
              <a:gd name="T22" fmla="*/ 2508 w 5392"/>
              <a:gd name="T23" fmla="*/ 2065 h 3240"/>
              <a:gd name="T24" fmla="*/ 2330 w 5392"/>
              <a:gd name="T25" fmla="*/ 1780 h 3240"/>
              <a:gd name="T26" fmla="*/ 2222 w 5392"/>
              <a:gd name="T27" fmla="*/ 1886 h 3240"/>
              <a:gd name="T28" fmla="*/ 2103 w 5392"/>
              <a:gd name="T29" fmla="*/ 1563 h 3240"/>
              <a:gd name="T30" fmla="*/ 1986 w 5392"/>
              <a:gd name="T31" fmla="*/ 1808 h 3240"/>
              <a:gd name="T32" fmla="*/ 1790 w 5392"/>
              <a:gd name="T33" fmla="*/ 1786 h 3240"/>
              <a:gd name="T34" fmla="*/ 23 w 5392"/>
              <a:gd name="T35" fmla="*/ 1688 h 3240"/>
              <a:gd name="T36" fmla="*/ 1598 w 5392"/>
              <a:gd name="T37" fmla="*/ 1594 h 3240"/>
              <a:gd name="T38" fmla="*/ 1877 w 5392"/>
              <a:gd name="T39" fmla="*/ 1719 h 3240"/>
              <a:gd name="T40" fmla="*/ 2022 w 5392"/>
              <a:gd name="T41" fmla="*/ 1427 h 3240"/>
              <a:gd name="T42" fmla="*/ 2137 w 5392"/>
              <a:gd name="T43" fmla="*/ 1419 h 3240"/>
              <a:gd name="T44" fmla="*/ 2300 w 5392"/>
              <a:gd name="T45" fmla="*/ 1503 h 3240"/>
              <a:gd name="T46" fmla="*/ 2432 w 5392"/>
              <a:gd name="T47" fmla="*/ 1348 h 3240"/>
              <a:gd name="T48" fmla="*/ 2562 w 5392"/>
              <a:gd name="T49" fmla="*/ 1797 h 3240"/>
              <a:gd name="T50" fmla="*/ 2744 w 5392"/>
              <a:gd name="T51" fmla="*/ 1646 h 3240"/>
              <a:gd name="T52" fmla="*/ 2853 w 5392"/>
              <a:gd name="T53" fmla="*/ 1626 h 3240"/>
              <a:gd name="T54" fmla="*/ 2974 w 5392"/>
              <a:gd name="T55" fmla="*/ 925 h 3240"/>
              <a:gd name="T56" fmla="*/ 3062 w 5392"/>
              <a:gd name="T57" fmla="*/ 826 h 3240"/>
              <a:gd name="T58" fmla="*/ 3152 w 5392"/>
              <a:gd name="T59" fmla="*/ 1085 h 3240"/>
              <a:gd name="T60" fmla="*/ 3308 w 5392"/>
              <a:gd name="T61" fmla="*/ 1759 h 3240"/>
              <a:gd name="T62" fmla="*/ 3417 w 5392"/>
              <a:gd name="T63" fmla="*/ 1653 h 3240"/>
              <a:gd name="T64" fmla="*/ 3520 w 5392"/>
              <a:gd name="T65" fmla="*/ 2225 h 3240"/>
              <a:gd name="T66" fmla="*/ 3649 w 5392"/>
              <a:gd name="T67" fmla="*/ 273 h 3240"/>
              <a:gd name="T68" fmla="*/ 3739 w 5392"/>
              <a:gd name="T69" fmla="*/ 197 h 3240"/>
              <a:gd name="T70" fmla="*/ 3822 w 5392"/>
              <a:gd name="T71" fmla="*/ 930 h 3240"/>
              <a:gd name="T72" fmla="*/ 3968 w 5392"/>
              <a:gd name="T73" fmla="*/ 203 h 3240"/>
              <a:gd name="T74" fmla="*/ 4051 w 5392"/>
              <a:gd name="T75" fmla="*/ 0 h 3240"/>
              <a:gd name="T76" fmla="*/ 4123 w 5392"/>
              <a:gd name="T77" fmla="*/ 402 h 3240"/>
              <a:gd name="T78" fmla="*/ 4286 w 5392"/>
              <a:gd name="T79" fmla="*/ 1257 h 3240"/>
              <a:gd name="T80" fmla="*/ 4364 w 5392"/>
              <a:gd name="T81" fmla="*/ 1075 h 3240"/>
              <a:gd name="T82" fmla="*/ 4487 w 5392"/>
              <a:gd name="T83" fmla="*/ 1403 h 3240"/>
              <a:gd name="T84" fmla="*/ 4644 w 5392"/>
              <a:gd name="T85" fmla="*/ 1501 h 3240"/>
              <a:gd name="T86" fmla="*/ 4794 w 5392"/>
              <a:gd name="T87" fmla="*/ 1586 h 3240"/>
              <a:gd name="T88" fmla="*/ 4959 w 5392"/>
              <a:gd name="T89" fmla="*/ 1487 h 3240"/>
              <a:gd name="T90" fmla="*/ 5068 w 5392"/>
              <a:gd name="T91" fmla="*/ 1481 h 3240"/>
              <a:gd name="T92" fmla="*/ 5254 w 5392"/>
              <a:gd name="T93" fmla="*/ 1612 h 3240"/>
              <a:gd name="T94" fmla="*/ 5373 w 5392"/>
              <a:gd name="T95" fmla="*/ 1561 h 3240"/>
              <a:gd name="T96" fmla="*/ 5349 w 5392"/>
              <a:gd name="T97" fmla="*/ 1657 h 3240"/>
              <a:gd name="T98" fmla="*/ 5177 w 5392"/>
              <a:gd name="T99" fmla="*/ 1826 h 3240"/>
              <a:gd name="T100" fmla="*/ 5019 w 5392"/>
              <a:gd name="T101" fmla="*/ 1605 h 3240"/>
              <a:gd name="T102" fmla="*/ 4870 w 5392"/>
              <a:gd name="T103" fmla="*/ 1921 h 3240"/>
              <a:gd name="T104" fmla="*/ 4762 w 5392"/>
              <a:gd name="T105" fmla="*/ 1803 h 3240"/>
              <a:gd name="T106" fmla="*/ 4624 w 5392"/>
              <a:gd name="T107" fmla="*/ 1804 h 3240"/>
              <a:gd name="T108" fmla="*/ 4522 w 5392"/>
              <a:gd name="T109" fmla="*/ 1936 h 3240"/>
              <a:gd name="T110" fmla="*/ 4439 w 5392"/>
              <a:gd name="T111" fmla="*/ 1739 h 3240"/>
              <a:gd name="T112" fmla="*/ 4273 w 5392"/>
              <a:gd name="T113" fmla="*/ 2591 h 3240"/>
              <a:gd name="T114" fmla="*/ 4182 w 5392"/>
              <a:gd name="T115" fmla="*/ 2698 h 3240"/>
              <a:gd name="T116" fmla="*/ 4105 w 5392"/>
              <a:gd name="T117" fmla="*/ 2226 h 3240"/>
              <a:gd name="T118" fmla="*/ 3945 w 5392"/>
              <a:gd name="T119" fmla="*/ 3038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92" h="3240">
                <a:moveTo>
                  <a:pt x="3875" y="3240"/>
                </a:moveTo>
                <a:lnTo>
                  <a:pt x="3875" y="3240"/>
                </a:lnTo>
                <a:lnTo>
                  <a:pt x="3863" y="3240"/>
                </a:lnTo>
                <a:lnTo>
                  <a:pt x="3857" y="3239"/>
                </a:lnTo>
                <a:lnTo>
                  <a:pt x="3852" y="3238"/>
                </a:lnTo>
                <a:lnTo>
                  <a:pt x="3847" y="3235"/>
                </a:lnTo>
                <a:lnTo>
                  <a:pt x="3843" y="3232"/>
                </a:lnTo>
                <a:lnTo>
                  <a:pt x="3839" y="3227"/>
                </a:lnTo>
                <a:lnTo>
                  <a:pt x="3835" y="3220"/>
                </a:lnTo>
                <a:lnTo>
                  <a:pt x="3831" y="3211"/>
                </a:lnTo>
                <a:lnTo>
                  <a:pt x="3828" y="3201"/>
                </a:lnTo>
                <a:lnTo>
                  <a:pt x="3823" y="3187"/>
                </a:lnTo>
                <a:lnTo>
                  <a:pt x="3820" y="3172"/>
                </a:lnTo>
                <a:lnTo>
                  <a:pt x="3814" y="3131"/>
                </a:lnTo>
                <a:lnTo>
                  <a:pt x="3809" y="3078"/>
                </a:lnTo>
                <a:lnTo>
                  <a:pt x="3804" y="3010"/>
                </a:lnTo>
                <a:lnTo>
                  <a:pt x="3799" y="2924"/>
                </a:lnTo>
                <a:lnTo>
                  <a:pt x="3792" y="2818"/>
                </a:lnTo>
                <a:lnTo>
                  <a:pt x="3787" y="2692"/>
                </a:lnTo>
                <a:lnTo>
                  <a:pt x="3775" y="2371"/>
                </a:lnTo>
                <a:lnTo>
                  <a:pt x="3758" y="1942"/>
                </a:lnTo>
                <a:lnTo>
                  <a:pt x="3758" y="1942"/>
                </a:lnTo>
                <a:lnTo>
                  <a:pt x="3748" y="1645"/>
                </a:lnTo>
                <a:lnTo>
                  <a:pt x="3736" y="1337"/>
                </a:lnTo>
                <a:lnTo>
                  <a:pt x="3723" y="1038"/>
                </a:lnTo>
                <a:lnTo>
                  <a:pt x="3711" y="763"/>
                </a:lnTo>
                <a:lnTo>
                  <a:pt x="3711" y="763"/>
                </a:lnTo>
                <a:lnTo>
                  <a:pt x="3698" y="985"/>
                </a:lnTo>
                <a:lnTo>
                  <a:pt x="3687" y="1224"/>
                </a:lnTo>
                <a:lnTo>
                  <a:pt x="3666" y="1696"/>
                </a:lnTo>
                <a:lnTo>
                  <a:pt x="3666" y="1696"/>
                </a:lnTo>
                <a:lnTo>
                  <a:pt x="3651" y="2065"/>
                </a:lnTo>
                <a:lnTo>
                  <a:pt x="3638" y="2342"/>
                </a:lnTo>
                <a:lnTo>
                  <a:pt x="3632" y="2450"/>
                </a:lnTo>
                <a:lnTo>
                  <a:pt x="3627" y="2541"/>
                </a:lnTo>
                <a:lnTo>
                  <a:pt x="3622" y="2615"/>
                </a:lnTo>
                <a:lnTo>
                  <a:pt x="3616" y="2674"/>
                </a:lnTo>
                <a:lnTo>
                  <a:pt x="3611" y="2720"/>
                </a:lnTo>
                <a:lnTo>
                  <a:pt x="3604" y="2754"/>
                </a:lnTo>
                <a:lnTo>
                  <a:pt x="3601" y="2769"/>
                </a:lnTo>
                <a:lnTo>
                  <a:pt x="3598" y="2780"/>
                </a:lnTo>
                <a:lnTo>
                  <a:pt x="3594" y="2788"/>
                </a:lnTo>
                <a:lnTo>
                  <a:pt x="3591" y="2797"/>
                </a:lnTo>
                <a:lnTo>
                  <a:pt x="3587" y="2802"/>
                </a:lnTo>
                <a:lnTo>
                  <a:pt x="3583" y="2806"/>
                </a:lnTo>
                <a:lnTo>
                  <a:pt x="3577" y="2809"/>
                </a:lnTo>
                <a:lnTo>
                  <a:pt x="3572" y="2811"/>
                </a:lnTo>
                <a:lnTo>
                  <a:pt x="3567" y="2813"/>
                </a:lnTo>
                <a:lnTo>
                  <a:pt x="3562" y="2813"/>
                </a:lnTo>
                <a:lnTo>
                  <a:pt x="3550" y="2814"/>
                </a:lnTo>
                <a:lnTo>
                  <a:pt x="3550" y="2814"/>
                </a:lnTo>
                <a:lnTo>
                  <a:pt x="3538" y="2813"/>
                </a:lnTo>
                <a:lnTo>
                  <a:pt x="3529" y="2812"/>
                </a:lnTo>
                <a:lnTo>
                  <a:pt x="3524" y="2811"/>
                </a:lnTo>
                <a:lnTo>
                  <a:pt x="3520" y="2809"/>
                </a:lnTo>
                <a:lnTo>
                  <a:pt x="3515" y="2806"/>
                </a:lnTo>
                <a:lnTo>
                  <a:pt x="3511" y="2803"/>
                </a:lnTo>
                <a:lnTo>
                  <a:pt x="3507" y="2799"/>
                </a:lnTo>
                <a:lnTo>
                  <a:pt x="3504" y="2794"/>
                </a:lnTo>
                <a:lnTo>
                  <a:pt x="3500" y="2787"/>
                </a:lnTo>
                <a:lnTo>
                  <a:pt x="3497" y="2780"/>
                </a:lnTo>
                <a:lnTo>
                  <a:pt x="3490" y="2761"/>
                </a:lnTo>
                <a:lnTo>
                  <a:pt x="3483" y="2737"/>
                </a:lnTo>
                <a:lnTo>
                  <a:pt x="3477" y="2706"/>
                </a:lnTo>
                <a:lnTo>
                  <a:pt x="3470" y="2666"/>
                </a:lnTo>
                <a:lnTo>
                  <a:pt x="3463" y="2620"/>
                </a:lnTo>
                <a:lnTo>
                  <a:pt x="3456" y="2564"/>
                </a:lnTo>
                <a:lnTo>
                  <a:pt x="3438" y="2424"/>
                </a:lnTo>
                <a:lnTo>
                  <a:pt x="3417" y="2236"/>
                </a:lnTo>
                <a:lnTo>
                  <a:pt x="3417" y="2236"/>
                </a:lnTo>
                <a:lnTo>
                  <a:pt x="3400" y="2082"/>
                </a:lnTo>
                <a:lnTo>
                  <a:pt x="3381" y="1928"/>
                </a:lnTo>
                <a:lnTo>
                  <a:pt x="3381" y="1928"/>
                </a:lnTo>
                <a:lnTo>
                  <a:pt x="3366" y="2019"/>
                </a:lnTo>
                <a:lnTo>
                  <a:pt x="3366" y="2019"/>
                </a:lnTo>
                <a:lnTo>
                  <a:pt x="3346" y="2136"/>
                </a:lnTo>
                <a:lnTo>
                  <a:pt x="3328" y="2229"/>
                </a:lnTo>
                <a:lnTo>
                  <a:pt x="3320" y="2269"/>
                </a:lnTo>
                <a:lnTo>
                  <a:pt x="3313" y="2302"/>
                </a:lnTo>
                <a:lnTo>
                  <a:pt x="3306" y="2331"/>
                </a:lnTo>
                <a:lnTo>
                  <a:pt x="3298" y="2355"/>
                </a:lnTo>
                <a:lnTo>
                  <a:pt x="3291" y="2376"/>
                </a:lnTo>
                <a:lnTo>
                  <a:pt x="3283" y="2393"/>
                </a:lnTo>
                <a:lnTo>
                  <a:pt x="3275" y="2406"/>
                </a:lnTo>
                <a:lnTo>
                  <a:pt x="3266" y="2416"/>
                </a:lnTo>
                <a:lnTo>
                  <a:pt x="3262" y="2420"/>
                </a:lnTo>
                <a:lnTo>
                  <a:pt x="3257" y="2424"/>
                </a:lnTo>
                <a:lnTo>
                  <a:pt x="3252" y="2427"/>
                </a:lnTo>
                <a:lnTo>
                  <a:pt x="3247" y="2429"/>
                </a:lnTo>
                <a:lnTo>
                  <a:pt x="3236" y="2431"/>
                </a:lnTo>
                <a:lnTo>
                  <a:pt x="3224" y="2432"/>
                </a:lnTo>
                <a:lnTo>
                  <a:pt x="3224" y="2432"/>
                </a:lnTo>
                <a:lnTo>
                  <a:pt x="3213" y="2432"/>
                </a:lnTo>
                <a:lnTo>
                  <a:pt x="3201" y="2431"/>
                </a:lnTo>
                <a:lnTo>
                  <a:pt x="3197" y="2429"/>
                </a:lnTo>
                <a:lnTo>
                  <a:pt x="3192" y="2427"/>
                </a:lnTo>
                <a:lnTo>
                  <a:pt x="3188" y="2424"/>
                </a:lnTo>
                <a:lnTo>
                  <a:pt x="3184" y="2419"/>
                </a:lnTo>
                <a:lnTo>
                  <a:pt x="3180" y="2414"/>
                </a:lnTo>
                <a:lnTo>
                  <a:pt x="3175" y="2407"/>
                </a:lnTo>
                <a:lnTo>
                  <a:pt x="3171" y="2400"/>
                </a:lnTo>
                <a:lnTo>
                  <a:pt x="3168" y="2389"/>
                </a:lnTo>
                <a:lnTo>
                  <a:pt x="3161" y="2365"/>
                </a:lnTo>
                <a:lnTo>
                  <a:pt x="3155" y="2332"/>
                </a:lnTo>
                <a:lnTo>
                  <a:pt x="3148" y="2289"/>
                </a:lnTo>
                <a:lnTo>
                  <a:pt x="3141" y="2236"/>
                </a:lnTo>
                <a:lnTo>
                  <a:pt x="3134" y="2172"/>
                </a:lnTo>
                <a:lnTo>
                  <a:pt x="3127" y="2095"/>
                </a:lnTo>
                <a:lnTo>
                  <a:pt x="3110" y="1896"/>
                </a:lnTo>
                <a:lnTo>
                  <a:pt x="3091" y="1633"/>
                </a:lnTo>
                <a:lnTo>
                  <a:pt x="3091" y="1633"/>
                </a:lnTo>
                <a:lnTo>
                  <a:pt x="3069" y="1337"/>
                </a:lnTo>
                <a:lnTo>
                  <a:pt x="3058" y="1194"/>
                </a:lnTo>
                <a:lnTo>
                  <a:pt x="3045" y="1067"/>
                </a:lnTo>
                <a:lnTo>
                  <a:pt x="3045" y="1067"/>
                </a:lnTo>
                <a:lnTo>
                  <a:pt x="3038" y="1107"/>
                </a:lnTo>
                <a:lnTo>
                  <a:pt x="3031" y="1151"/>
                </a:lnTo>
                <a:lnTo>
                  <a:pt x="3024" y="1200"/>
                </a:lnTo>
                <a:lnTo>
                  <a:pt x="3016" y="1253"/>
                </a:lnTo>
                <a:lnTo>
                  <a:pt x="3009" y="1308"/>
                </a:lnTo>
                <a:lnTo>
                  <a:pt x="3002" y="1369"/>
                </a:lnTo>
                <a:lnTo>
                  <a:pt x="2996" y="1433"/>
                </a:lnTo>
                <a:lnTo>
                  <a:pt x="2989" y="1501"/>
                </a:lnTo>
                <a:lnTo>
                  <a:pt x="2989" y="1501"/>
                </a:lnTo>
                <a:lnTo>
                  <a:pt x="2984" y="1540"/>
                </a:lnTo>
                <a:lnTo>
                  <a:pt x="2979" y="1576"/>
                </a:lnTo>
                <a:lnTo>
                  <a:pt x="2971" y="1608"/>
                </a:lnTo>
                <a:lnTo>
                  <a:pt x="2967" y="1623"/>
                </a:lnTo>
                <a:lnTo>
                  <a:pt x="2963" y="1636"/>
                </a:lnTo>
                <a:lnTo>
                  <a:pt x="2957" y="1649"/>
                </a:lnTo>
                <a:lnTo>
                  <a:pt x="2952" y="1661"/>
                </a:lnTo>
                <a:lnTo>
                  <a:pt x="2946" y="1672"/>
                </a:lnTo>
                <a:lnTo>
                  <a:pt x="2940" y="1683"/>
                </a:lnTo>
                <a:lnTo>
                  <a:pt x="2933" y="1692"/>
                </a:lnTo>
                <a:lnTo>
                  <a:pt x="2925" y="1701"/>
                </a:lnTo>
                <a:lnTo>
                  <a:pt x="2918" y="1708"/>
                </a:lnTo>
                <a:lnTo>
                  <a:pt x="2910" y="1716"/>
                </a:lnTo>
                <a:lnTo>
                  <a:pt x="2910" y="1716"/>
                </a:lnTo>
                <a:lnTo>
                  <a:pt x="2903" y="1722"/>
                </a:lnTo>
                <a:lnTo>
                  <a:pt x="2894" y="1727"/>
                </a:lnTo>
                <a:lnTo>
                  <a:pt x="2886" y="1731"/>
                </a:lnTo>
                <a:lnTo>
                  <a:pt x="2878" y="1735"/>
                </a:lnTo>
                <a:lnTo>
                  <a:pt x="2862" y="1740"/>
                </a:lnTo>
                <a:lnTo>
                  <a:pt x="2846" y="1744"/>
                </a:lnTo>
                <a:lnTo>
                  <a:pt x="2831" y="1746"/>
                </a:lnTo>
                <a:lnTo>
                  <a:pt x="2817" y="1746"/>
                </a:lnTo>
                <a:lnTo>
                  <a:pt x="2792" y="1744"/>
                </a:lnTo>
                <a:lnTo>
                  <a:pt x="2792" y="1744"/>
                </a:lnTo>
                <a:lnTo>
                  <a:pt x="2789" y="1744"/>
                </a:lnTo>
                <a:lnTo>
                  <a:pt x="2789" y="1744"/>
                </a:lnTo>
                <a:lnTo>
                  <a:pt x="2780" y="1759"/>
                </a:lnTo>
                <a:lnTo>
                  <a:pt x="2768" y="1781"/>
                </a:lnTo>
                <a:lnTo>
                  <a:pt x="2757" y="1806"/>
                </a:lnTo>
                <a:lnTo>
                  <a:pt x="2745" y="1834"/>
                </a:lnTo>
                <a:lnTo>
                  <a:pt x="2720" y="1892"/>
                </a:lnTo>
                <a:lnTo>
                  <a:pt x="2699" y="1945"/>
                </a:lnTo>
                <a:lnTo>
                  <a:pt x="2699" y="1945"/>
                </a:lnTo>
                <a:lnTo>
                  <a:pt x="2678" y="1996"/>
                </a:lnTo>
                <a:lnTo>
                  <a:pt x="2662" y="2037"/>
                </a:lnTo>
                <a:lnTo>
                  <a:pt x="2646" y="2071"/>
                </a:lnTo>
                <a:lnTo>
                  <a:pt x="2639" y="2085"/>
                </a:lnTo>
                <a:lnTo>
                  <a:pt x="2633" y="2097"/>
                </a:lnTo>
                <a:lnTo>
                  <a:pt x="2626" y="2106"/>
                </a:lnTo>
                <a:lnTo>
                  <a:pt x="2620" y="2116"/>
                </a:lnTo>
                <a:lnTo>
                  <a:pt x="2612" y="2123"/>
                </a:lnTo>
                <a:lnTo>
                  <a:pt x="2605" y="2128"/>
                </a:lnTo>
                <a:lnTo>
                  <a:pt x="2598" y="2132"/>
                </a:lnTo>
                <a:lnTo>
                  <a:pt x="2591" y="2135"/>
                </a:lnTo>
                <a:lnTo>
                  <a:pt x="2582" y="2137"/>
                </a:lnTo>
                <a:lnTo>
                  <a:pt x="2573" y="2137"/>
                </a:lnTo>
                <a:lnTo>
                  <a:pt x="2573" y="2137"/>
                </a:lnTo>
                <a:lnTo>
                  <a:pt x="2563" y="2137"/>
                </a:lnTo>
                <a:lnTo>
                  <a:pt x="2553" y="2135"/>
                </a:lnTo>
                <a:lnTo>
                  <a:pt x="2545" y="2132"/>
                </a:lnTo>
                <a:lnTo>
                  <a:pt x="2538" y="2127"/>
                </a:lnTo>
                <a:lnTo>
                  <a:pt x="2532" y="2120"/>
                </a:lnTo>
                <a:lnTo>
                  <a:pt x="2524" y="2110"/>
                </a:lnTo>
                <a:lnTo>
                  <a:pt x="2519" y="2098"/>
                </a:lnTo>
                <a:lnTo>
                  <a:pt x="2513" y="2084"/>
                </a:lnTo>
                <a:lnTo>
                  <a:pt x="2508" y="2065"/>
                </a:lnTo>
                <a:lnTo>
                  <a:pt x="2502" y="2042"/>
                </a:lnTo>
                <a:lnTo>
                  <a:pt x="2490" y="1986"/>
                </a:lnTo>
                <a:lnTo>
                  <a:pt x="2477" y="1911"/>
                </a:lnTo>
                <a:lnTo>
                  <a:pt x="2460" y="1815"/>
                </a:lnTo>
                <a:lnTo>
                  <a:pt x="2460" y="1815"/>
                </a:lnTo>
                <a:lnTo>
                  <a:pt x="2434" y="1665"/>
                </a:lnTo>
                <a:lnTo>
                  <a:pt x="2419" y="1586"/>
                </a:lnTo>
                <a:lnTo>
                  <a:pt x="2404" y="1516"/>
                </a:lnTo>
                <a:lnTo>
                  <a:pt x="2404" y="1516"/>
                </a:lnTo>
                <a:lnTo>
                  <a:pt x="2392" y="1555"/>
                </a:lnTo>
                <a:lnTo>
                  <a:pt x="2381" y="1597"/>
                </a:lnTo>
                <a:lnTo>
                  <a:pt x="2359" y="1673"/>
                </a:lnTo>
                <a:lnTo>
                  <a:pt x="2359" y="1673"/>
                </a:lnTo>
                <a:lnTo>
                  <a:pt x="2344" y="1732"/>
                </a:lnTo>
                <a:lnTo>
                  <a:pt x="2330" y="1780"/>
                </a:lnTo>
                <a:lnTo>
                  <a:pt x="2318" y="1818"/>
                </a:lnTo>
                <a:lnTo>
                  <a:pt x="2313" y="1833"/>
                </a:lnTo>
                <a:lnTo>
                  <a:pt x="2306" y="1847"/>
                </a:lnTo>
                <a:lnTo>
                  <a:pt x="2300" y="1858"/>
                </a:lnTo>
                <a:lnTo>
                  <a:pt x="2295" y="1868"/>
                </a:lnTo>
                <a:lnTo>
                  <a:pt x="2288" y="1876"/>
                </a:lnTo>
                <a:lnTo>
                  <a:pt x="2282" y="1881"/>
                </a:lnTo>
                <a:lnTo>
                  <a:pt x="2274" y="1886"/>
                </a:lnTo>
                <a:lnTo>
                  <a:pt x="2266" y="1889"/>
                </a:lnTo>
                <a:lnTo>
                  <a:pt x="2257" y="1891"/>
                </a:lnTo>
                <a:lnTo>
                  <a:pt x="2248" y="1891"/>
                </a:lnTo>
                <a:lnTo>
                  <a:pt x="2248" y="1891"/>
                </a:lnTo>
                <a:lnTo>
                  <a:pt x="2238" y="1891"/>
                </a:lnTo>
                <a:lnTo>
                  <a:pt x="2230" y="1889"/>
                </a:lnTo>
                <a:lnTo>
                  <a:pt x="2222" y="1886"/>
                </a:lnTo>
                <a:lnTo>
                  <a:pt x="2214" y="1882"/>
                </a:lnTo>
                <a:lnTo>
                  <a:pt x="2208" y="1877"/>
                </a:lnTo>
                <a:lnTo>
                  <a:pt x="2202" y="1870"/>
                </a:lnTo>
                <a:lnTo>
                  <a:pt x="2197" y="1861"/>
                </a:lnTo>
                <a:lnTo>
                  <a:pt x="2191" y="1852"/>
                </a:lnTo>
                <a:lnTo>
                  <a:pt x="2186" y="1841"/>
                </a:lnTo>
                <a:lnTo>
                  <a:pt x="2181" y="1828"/>
                </a:lnTo>
                <a:lnTo>
                  <a:pt x="2171" y="1798"/>
                </a:lnTo>
                <a:lnTo>
                  <a:pt x="2161" y="1762"/>
                </a:lnTo>
                <a:lnTo>
                  <a:pt x="2148" y="1719"/>
                </a:lnTo>
                <a:lnTo>
                  <a:pt x="2148" y="1719"/>
                </a:lnTo>
                <a:lnTo>
                  <a:pt x="2136" y="1671"/>
                </a:lnTo>
                <a:lnTo>
                  <a:pt x="2120" y="1616"/>
                </a:lnTo>
                <a:lnTo>
                  <a:pt x="2111" y="1588"/>
                </a:lnTo>
                <a:lnTo>
                  <a:pt x="2103" y="1563"/>
                </a:lnTo>
                <a:lnTo>
                  <a:pt x="2094" y="1539"/>
                </a:lnTo>
                <a:lnTo>
                  <a:pt x="2085" y="1519"/>
                </a:lnTo>
                <a:lnTo>
                  <a:pt x="2085" y="1519"/>
                </a:lnTo>
                <a:lnTo>
                  <a:pt x="2079" y="1534"/>
                </a:lnTo>
                <a:lnTo>
                  <a:pt x="2072" y="1550"/>
                </a:lnTo>
                <a:lnTo>
                  <a:pt x="2059" y="1587"/>
                </a:lnTo>
                <a:lnTo>
                  <a:pt x="2049" y="1626"/>
                </a:lnTo>
                <a:lnTo>
                  <a:pt x="2039" y="1659"/>
                </a:lnTo>
                <a:lnTo>
                  <a:pt x="2039" y="1659"/>
                </a:lnTo>
                <a:lnTo>
                  <a:pt x="2027" y="1700"/>
                </a:lnTo>
                <a:lnTo>
                  <a:pt x="2016" y="1736"/>
                </a:lnTo>
                <a:lnTo>
                  <a:pt x="2005" y="1769"/>
                </a:lnTo>
                <a:lnTo>
                  <a:pt x="1998" y="1783"/>
                </a:lnTo>
                <a:lnTo>
                  <a:pt x="1992" y="1796"/>
                </a:lnTo>
                <a:lnTo>
                  <a:pt x="1986" y="1808"/>
                </a:lnTo>
                <a:lnTo>
                  <a:pt x="1979" y="1818"/>
                </a:lnTo>
                <a:lnTo>
                  <a:pt x="1972" y="1827"/>
                </a:lnTo>
                <a:lnTo>
                  <a:pt x="1963" y="1834"/>
                </a:lnTo>
                <a:lnTo>
                  <a:pt x="1954" y="1841"/>
                </a:lnTo>
                <a:lnTo>
                  <a:pt x="1944" y="1845"/>
                </a:lnTo>
                <a:lnTo>
                  <a:pt x="1933" y="1847"/>
                </a:lnTo>
                <a:lnTo>
                  <a:pt x="1922" y="1848"/>
                </a:lnTo>
                <a:lnTo>
                  <a:pt x="1922" y="1848"/>
                </a:lnTo>
                <a:lnTo>
                  <a:pt x="1908" y="1847"/>
                </a:lnTo>
                <a:lnTo>
                  <a:pt x="1893" y="1844"/>
                </a:lnTo>
                <a:lnTo>
                  <a:pt x="1879" y="1838"/>
                </a:lnTo>
                <a:lnTo>
                  <a:pt x="1862" y="1830"/>
                </a:lnTo>
                <a:lnTo>
                  <a:pt x="1846" y="1821"/>
                </a:lnTo>
                <a:lnTo>
                  <a:pt x="1828" y="1811"/>
                </a:lnTo>
                <a:lnTo>
                  <a:pt x="1790" y="1786"/>
                </a:lnTo>
                <a:lnTo>
                  <a:pt x="1790" y="1786"/>
                </a:lnTo>
                <a:lnTo>
                  <a:pt x="1743" y="1756"/>
                </a:lnTo>
                <a:lnTo>
                  <a:pt x="1718" y="1741"/>
                </a:lnTo>
                <a:lnTo>
                  <a:pt x="1693" y="1727"/>
                </a:lnTo>
                <a:lnTo>
                  <a:pt x="1668" y="1715"/>
                </a:lnTo>
                <a:lnTo>
                  <a:pt x="1643" y="1705"/>
                </a:lnTo>
                <a:lnTo>
                  <a:pt x="1632" y="1702"/>
                </a:lnTo>
                <a:lnTo>
                  <a:pt x="1619" y="1699"/>
                </a:lnTo>
                <a:lnTo>
                  <a:pt x="1609" y="1697"/>
                </a:lnTo>
                <a:lnTo>
                  <a:pt x="1598" y="1697"/>
                </a:lnTo>
                <a:lnTo>
                  <a:pt x="52" y="1697"/>
                </a:lnTo>
                <a:lnTo>
                  <a:pt x="52" y="1697"/>
                </a:lnTo>
                <a:lnTo>
                  <a:pt x="41" y="1696"/>
                </a:lnTo>
                <a:lnTo>
                  <a:pt x="32" y="1693"/>
                </a:lnTo>
                <a:lnTo>
                  <a:pt x="23" y="1688"/>
                </a:lnTo>
                <a:lnTo>
                  <a:pt x="16" y="1681"/>
                </a:lnTo>
                <a:lnTo>
                  <a:pt x="9" y="1674"/>
                </a:lnTo>
                <a:lnTo>
                  <a:pt x="4" y="1665"/>
                </a:lnTo>
                <a:lnTo>
                  <a:pt x="1" y="1656"/>
                </a:lnTo>
                <a:lnTo>
                  <a:pt x="0" y="1645"/>
                </a:lnTo>
                <a:lnTo>
                  <a:pt x="0" y="1645"/>
                </a:lnTo>
                <a:lnTo>
                  <a:pt x="1" y="1635"/>
                </a:lnTo>
                <a:lnTo>
                  <a:pt x="4" y="1625"/>
                </a:lnTo>
                <a:lnTo>
                  <a:pt x="9" y="1616"/>
                </a:lnTo>
                <a:lnTo>
                  <a:pt x="16" y="1608"/>
                </a:lnTo>
                <a:lnTo>
                  <a:pt x="23" y="1602"/>
                </a:lnTo>
                <a:lnTo>
                  <a:pt x="32" y="1598"/>
                </a:lnTo>
                <a:lnTo>
                  <a:pt x="41" y="1595"/>
                </a:lnTo>
                <a:lnTo>
                  <a:pt x="52" y="1594"/>
                </a:lnTo>
                <a:lnTo>
                  <a:pt x="1598" y="1594"/>
                </a:lnTo>
                <a:lnTo>
                  <a:pt x="1598" y="1594"/>
                </a:lnTo>
                <a:lnTo>
                  <a:pt x="1614" y="1594"/>
                </a:lnTo>
                <a:lnTo>
                  <a:pt x="1631" y="1596"/>
                </a:lnTo>
                <a:lnTo>
                  <a:pt x="1647" y="1599"/>
                </a:lnTo>
                <a:lnTo>
                  <a:pt x="1663" y="1603"/>
                </a:lnTo>
                <a:lnTo>
                  <a:pt x="1679" y="1608"/>
                </a:lnTo>
                <a:lnTo>
                  <a:pt x="1696" y="1614"/>
                </a:lnTo>
                <a:lnTo>
                  <a:pt x="1711" y="1622"/>
                </a:lnTo>
                <a:lnTo>
                  <a:pt x="1728" y="1629"/>
                </a:lnTo>
                <a:lnTo>
                  <a:pt x="1759" y="1645"/>
                </a:lnTo>
                <a:lnTo>
                  <a:pt x="1789" y="1663"/>
                </a:lnTo>
                <a:lnTo>
                  <a:pt x="1819" y="1681"/>
                </a:lnTo>
                <a:lnTo>
                  <a:pt x="1847" y="1699"/>
                </a:lnTo>
                <a:lnTo>
                  <a:pt x="1847" y="1699"/>
                </a:lnTo>
                <a:lnTo>
                  <a:pt x="1877" y="1719"/>
                </a:lnTo>
                <a:lnTo>
                  <a:pt x="1907" y="1736"/>
                </a:lnTo>
                <a:lnTo>
                  <a:pt x="1907" y="1736"/>
                </a:lnTo>
                <a:lnTo>
                  <a:pt x="1915" y="1714"/>
                </a:lnTo>
                <a:lnTo>
                  <a:pt x="1923" y="1687"/>
                </a:lnTo>
                <a:lnTo>
                  <a:pt x="1940" y="1631"/>
                </a:lnTo>
                <a:lnTo>
                  <a:pt x="1940" y="1631"/>
                </a:lnTo>
                <a:lnTo>
                  <a:pt x="1952" y="1585"/>
                </a:lnTo>
                <a:lnTo>
                  <a:pt x="1965" y="1542"/>
                </a:lnTo>
                <a:lnTo>
                  <a:pt x="1973" y="1522"/>
                </a:lnTo>
                <a:lnTo>
                  <a:pt x="1980" y="1503"/>
                </a:lnTo>
                <a:lnTo>
                  <a:pt x="1987" y="1485"/>
                </a:lnTo>
                <a:lnTo>
                  <a:pt x="1995" y="1468"/>
                </a:lnTo>
                <a:lnTo>
                  <a:pt x="2004" y="1453"/>
                </a:lnTo>
                <a:lnTo>
                  <a:pt x="2013" y="1440"/>
                </a:lnTo>
                <a:lnTo>
                  <a:pt x="2022" y="1427"/>
                </a:lnTo>
                <a:lnTo>
                  <a:pt x="2034" y="1417"/>
                </a:lnTo>
                <a:lnTo>
                  <a:pt x="2045" y="1410"/>
                </a:lnTo>
                <a:lnTo>
                  <a:pt x="2057" y="1403"/>
                </a:lnTo>
                <a:lnTo>
                  <a:pt x="2064" y="1401"/>
                </a:lnTo>
                <a:lnTo>
                  <a:pt x="2071" y="1400"/>
                </a:lnTo>
                <a:lnTo>
                  <a:pt x="2077" y="1399"/>
                </a:lnTo>
                <a:lnTo>
                  <a:pt x="2085" y="1398"/>
                </a:lnTo>
                <a:lnTo>
                  <a:pt x="2085" y="1398"/>
                </a:lnTo>
                <a:lnTo>
                  <a:pt x="2093" y="1399"/>
                </a:lnTo>
                <a:lnTo>
                  <a:pt x="2099" y="1400"/>
                </a:lnTo>
                <a:lnTo>
                  <a:pt x="2106" y="1401"/>
                </a:lnTo>
                <a:lnTo>
                  <a:pt x="2112" y="1403"/>
                </a:lnTo>
                <a:lnTo>
                  <a:pt x="2119" y="1407"/>
                </a:lnTo>
                <a:lnTo>
                  <a:pt x="2126" y="1410"/>
                </a:lnTo>
                <a:lnTo>
                  <a:pt x="2137" y="1419"/>
                </a:lnTo>
                <a:lnTo>
                  <a:pt x="2148" y="1429"/>
                </a:lnTo>
                <a:lnTo>
                  <a:pt x="2159" y="1443"/>
                </a:lnTo>
                <a:lnTo>
                  <a:pt x="2169" y="1458"/>
                </a:lnTo>
                <a:lnTo>
                  <a:pt x="2178" y="1476"/>
                </a:lnTo>
                <a:lnTo>
                  <a:pt x="2188" y="1496"/>
                </a:lnTo>
                <a:lnTo>
                  <a:pt x="2196" y="1518"/>
                </a:lnTo>
                <a:lnTo>
                  <a:pt x="2205" y="1542"/>
                </a:lnTo>
                <a:lnTo>
                  <a:pt x="2213" y="1568"/>
                </a:lnTo>
                <a:lnTo>
                  <a:pt x="2230" y="1625"/>
                </a:lnTo>
                <a:lnTo>
                  <a:pt x="2249" y="1690"/>
                </a:lnTo>
                <a:lnTo>
                  <a:pt x="2249" y="1690"/>
                </a:lnTo>
                <a:lnTo>
                  <a:pt x="2260" y="1646"/>
                </a:lnTo>
                <a:lnTo>
                  <a:pt x="2260" y="1646"/>
                </a:lnTo>
                <a:lnTo>
                  <a:pt x="2281" y="1568"/>
                </a:lnTo>
                <a:lnTo>
                  <a:pt x="2300" y="1503"/>
                </a:lnTo>
                <a:lnTo>
                  <a:pt x="2308" y="1476"/>
                </a:lnTo>
                <a:lnTo>
                  <a:pt x="2317" y="1451"/>
                </a:lnTo>
                <a:lnTo>
                  <a:pt x="2325" y="1429"/>
                </a:lnTo>
                <a:lnTo>
                  <a:pt x="2333" y="1410"/>
                </a:lnTo>
                <a:lnTo>
                  <a:pt x="2342" y="1394"/>
                </a:lnTo>
                <a:lnTo>
                  <a:pt x="2350" y="1380"/>
                </a:lnTo>
                <a:lnTo>
                  <a:pt x="2359" y="1368"/>
                </a:lnTo>
                <a:lnTo>
                  <a:pt x="2368" y="1360"/>
                </a:lnTo>
                <a:lnTo>
                  <a:pt x="2378" y="1353"/>
                </a:lnTo>
                <a:lnTo>
                  <a:pt x="2388" y="1349"/>
                </a:lnTo>
                <a:lnTo>
                  <a:pt x="2398" y="1346"/>
                </a:lnTo>
                <a:lnTo>
                  <a:pt x="2411" y="1345"/>
                </a:lnTo>
                <a:lnTo>
                  <a:pt x="2411" y="1345"/>
                </a:lnTo>
                <a:lnTo>
                  <a:pt x="2422" y="1346"/>
                </a:lnTo>
                <a:lnTo>
                  <a:pt x="2432" y="1348"/>
                </a:lnTo>
                <a:lnTo>
                  <a:pt x="2438" y="1350"/>
                </a:lnTo>
                <a:lnTo>
                  <a:pt x="2443" y="1352"/>
                </a:lnTo>
                <a:lnTo>
                  <a:pt x="2447" y="1356"/>
                </a:lnTo>
                <a:lnTo>
                  <a:pt x="2452" y="1359"/>
                </a:lnTo>
                <a:lnTo>
                  <a:pt x="2460" y="1369"/>
                </a:lnTo>
                <a:lnTo>
                  <a:pt x="2469" y="1383"/>
                </a:lnTo>
                <a:lnTo>
                  <a:pt x="2477" y="1400"/>
                </a:lnTo>
                <a:lnTo>
                  <a:pt x="2485" y="1422"/>
                </a:lnTo>
                <a:lnTo>
                  <a:pt x="2493" y="1448"/>
                </a:lnTo>
                <a:lnTo>
                  <a:pt x="2502" y="1479"/>
                </a:lnTo>
                <a:lnTo>
                  <a:pt x="2510" y="1516"/>
                </a:lnTo>
                <a:lnTo>
                  <a:pt x="2518" y="1559"/>
                </a:lnTo>
                <a:lnTo>
                  <a:pt x="2539" y="1664"/>
                </a:lnTo>
                <a:lnTo>
                  <a:pt x="2562" y="1797"/>
                </a:lnTo>
                <a:lnTo>
                  <a:pt x="2562" y="1797"/>
                </a:lnTo>
                <a:lnTo>
                  <a:pt x="2575" y="1872"/>
                </a:lnTo>
                <a:lnTo>
                  <a:pt x="2587" y="1944"/>
                </a:lnTo>
                <a:lnTo>
                  <a:pt x="2587" y="1944"/>
                </a:lnTo>
                <a:lnTo>
                  <a:pt x="2603" y="1907"/>
                </a:lnTo>
                <a:lnTo>
                  <a:pt x="2603" y="1907"/>
                </a:lnTo>
                <a:lnTo>
                  <a:pt x="2630" y="1838"/>
                </a:lnTo>
                <a:lnTo>
                  <a:pt x="2655" y="1781"/>
                </a:lnTo>
                <a:lnTo>
                  <a:pt x="2676" y="1734"/>
                </a:lnTo>
                <a:lnTo>
                  <a:pt x="2686" y="1716"/>
                </a:lnTo>
                <a:lnTo>
                  <a:pt x="2696" y="1698"/>
                </a:lnTo>
                <a:lnTo>
                  <a:pt x="2705" y="1684"/>
                </a:lnTo>
                <a:lnTo>
                  <a:pt x="2715" y="1671"/>
                </a:lnTo>
                <a:lnTo>
                  <a:pt x="2724" y="1661"/>
                </a:lnTo>
                <a:lnTo>
                  <a:pt x="2733" y="1653"/>
                </a:lnTo>
                <a:lnTo>
                  <a:pt x="2744" y="1646"/>
                </a:lnTo>
                <a:lnTo>
                  <a:pt x="2753" y="1642"/>
                </a:lnTo>
                <a:lnTo>
                  <a:pt x="2764" y="1640"/>
                </a:lnTo>
                <a:lnTo>
                  <a:pt x="2775" y="1639"/>
                </a:lnTo>
                <a:lnTo>
                  <a:pt x="2775" y="1639"/>
                </a:lnTo>
                <a:lnTo>
                  <a:pt x="2788" y="1639"/>
                </a:lnTo>
                <a:lnTo>
                  <a:pt x="2801" y="1640"/>
                </a:lnTo>
                <a:lnTo>
                  <a:pt x="2801" y="1640"/>
                </a:lnTo>
                <a:lnTo>
                  <a:pt x="2817" y="1641"/>
                </a:lnTo>
                <a:lnTo>
                  <a:pt x="2828" y="1641"/>
                </a:lnTo>
                <a:lnTo>
                  <a:pt x="2838" y="1640"/>
                </a:lnTo>
                <a:lnTo>
                  <a:pt x="2841" y="1638"/>
                </a:lnTo>
                <a:lnTo>
                  <a:pt x="2845" y="1636"/>
                </a:lnTo>
                <a:lnTo>
                  <a:pt x="2845" y="1636"/>
                </a:lnTo>
                <a:lnTo>
                  <a:pt x="2848" y="1632"/>
                </a:lnTo>
                <a:lnTo>
                  <a:pt x="2853" y="1626"/>
                </a:lnTo>
                <a:lnTo>
                  <a:pt x="2859" y="1615"/>
                </a:lnTo>
                <a:lnTo>
                  <a:pt x="2864" y="1601"/>
                </a:lnTo>
                <a:lnTo>
                  <a:pt x="2871" y="1582"/>
                </a:lnTo>
                <a:lnTo>
                  <a:pt x="2877" y="1559"/>
                </a:lnTo>
                <a:lnTo>
                  <a:pt x="2882" y="1529"/>
                </a:lnTo>
                <a:lnTo>
                  <a:pt x="2886" y="1491"/>
                </a:lnTo>
                <a:lnTo>
                  <a:pt x="2886" y="1491"/>
                </a:lnTo>
                <a:lnTo>
                  <a:pt x="2898" y="1375"/>
                </a:lnTo>
                <a:lnTo>
                  <a:pt x="2909" y="1271"/>
                </a:lnTo>
                <a:lnTo>
                  <a:pt x="2920" y="1182"/>
                </a:lnTo>
                <a:lnTo>
                  <a:pt x="2933" y="1107"/>
                </a:lnTo>
                <a:lnTo>
                  <a:pt x="2944" y="1042"/>
                </a:lnTo>
                <a:lnTo>
                  <a:pt x="2956" y="988"/>
                </a:lnTo>
                <a:lnTo>
                  <a:pt x="2968" y="945"/>
                </a:lnTo>
                <a:lnTo>
                  <a:pt x="2974" y="925"/>
                </a:lnTo>
                <a:lnTo>
                  <a:pt x="2979" y="908"/>
                </a:lnTo>
                <a:lnTo>
                  <a:pt x="2985" y="894"/>
                </a:lnTo>
                <a:lnTo>
                  <a:pt x="2991" y="882"/>
                </a:lnTo>
                <a:lnTo>
                  <a:pt x="2997" y="870"/>
                </a:lnTo>
                <a:lnTo>
                  <a:pt x="3002" y="861"/>
                </a:lnTo>
                <a:lnTo>
                  <a:pt x="3007" y="853"/>
                </a:lnTo>
                <a:lnTo>
                  <a:pt x="3012" y="846"/>
                </a:lnTo>
                <a:lnTo>
                  <a:pt x="3018" y="840"/>
                </a:lnTo>
                <a:lnTo>
                  <a:pt x="3024" y="836"/>
                </a:lnTo>
                <a:lnTo>
                  <a:pt x="3029" y="833"/>
                </a:lnTo>
                <a:lnTo>
                  <a:pt x="3034" y="830"/>
                </a:lnTo>
                <a:lnTo>
                  <a:pt x="3043" y="827"/>
                </a:lnTo>
                <a:lnTo>
                  <a:pt x="3053" y="826"/>
                </a:lnTo>
                <a:lnTo>
                  <a:pt x="3062" y="826"/>
                </a:lnTo>
                <a:lnTo>
                  <a:pt x="3062" y="826"/>
                </a:lnTo>
                <a:lnTo>
                  <a:pt x="3073" y="826"/>
                </a:lnTo>
                <a:lnTo>
                  <a:pt x="3084" y="827"/>
                </a:lnTo>
                <a:lnTo>
                  <a:pt x="3089" y="829"/>
                </a:lnTo>
                <a:lnTo>
                  <a:pt x="3094" y="831"/>
                </a:lnTo>
                <a:lnTo>
                  <a:pt x="3098" y="834"/>
                </a:lnTo>
                <a:lnTo>
                  <a:pt x="3102" y="838"/>
                </a:lnTo>
                <a:lnTo>
                  <a:pt x="3106" y="843"/>
                </a:lnTo>
                <a:lnTo>
                  <a:pt x="3110" y="851"/>
                </a:lnTo>
                <a:lnTo>
                  <a:pt x="3113" y="858"/>
                </a:lnTo>
                <a:lnTo>
                  <a:pt x="3118" y="868"/>
                </a:lnTo>
                <a:lnTo>
                  <a:pt x="3125" y="893"/>
                </a:lnTo>
                <a:lnTo>
                  <a:pt x="3131" y="926"/>
                </a:lnTo>
                <a:lnTo>
                  <a:pt x="3138" y="968"/>
                </a:lnTo>
                <a:lnTo>
                  <a:pt x="3144" y="1021"/>
                </a:lnTo>
                <a:lnTo>
                  <a:pt x="3152" y="1085"/>
                </a:lnTo>
                <a:lnTo>
                  <a:pt x="3159" y="1163"/>
                </a:lnTo>
                <a:lnTo>
                  <a:pt x="3174" y="1361"/>
                </a:lnTo>
                <a:lnTo>
                  <a:pt x="3194" y="1625"/>
                </a:lnTo>
                <a:lnTo>
                  <a:pt x="3194" y="1625"/>
                </a:lnTo>
                <a:lnTo>
                  <a:pt x="3215" y="1899"/>
                </a:lnTo>
                <a:lnTo>
                  <a:pt x="3226" y="2035"/>
                </a:lnTo>
                <a:lnTo>
                  <a:pt x="3236" y="2157"/>
                </a:lnTo>
                <a:lnTo>
                  <a:pt x="3236" y="2157"/>
                </a:lnTo>
                <a:lnTo>
                  <a:pt x="3251" y="2077"/>
                </a:lnTo>
                <a:lnTo>
                  <a:pt x="3263" y="2003"/>
                </a:lnTo>
                <a:lnTo>
                  <a:pt x="3263" y="2003"/>
                </a:lnTo>
                <a:lnTo>
                  <a:pt x="3281" y="1902"/>
                </a:lnTo>
                <a:lnTo>
                  <a:pt x="3295" y="1821"/>
                </a:lnTo>
                <a:lnTo>
                  <a:pt x="3302" y="1788"/>
                </a:lnTo>
                <a:lnTo>
                  <a:pt x="3308" y="1759"/>
                </a:lnTo>
                <a:lnTo>
                  <a:pt x="3314" y="1734"/>
                </a:lnTo>
                <a:lnTo>
                  <a:pt x="3320" y="1712"/>
                </a:lnTo>
                <a:lnTo>
                  <a:pt x="3327" y="1695"/>
                </a:lnTo>
                <a:lnTo>
                  <a:pt x="3334" y="1680"/>
                </a:lnTo>
                <a:lnTo>
                  <a:pt x="3341" y="1669"/>
                </a:lnTo>
                <a:lnTo>
                  <a:pt x="3348" y="1661"/>
                </a:lnTo>
                <a:lnTo>
                  <a:pt x="3356" y="1655"/>
                </a:lnTo>
                <a:lnTo>
                  <a:pt x="3366" y="1650"/>
                </a:lnTo>
                <a:lnTo>
                  <a:pt x="3376" y="1648"/>
                </a:lnTo>
                <a:lnTo>
                  <a:pt x="3387" y="1647"/>
                </a:lnTo>
                <a:lnTo>
                  <a:pt x="3387" y="1647"/>
                </a:lnTo>
                <a:lnTo>
                  <a:pt x="3399" y="1647"/>
                </a:lnTo>
                <a:lnTo>
                  <a:pt x="3408" y="1649"/>
                </a:lnTo>
                <a:lnTo>
                  <a:pt x="3413" y="1650"/>
                </a:lnTo>
                <a:lnTo>
                  <a:pt x="3417" y="1653"/>
                </a:lnTo>
                <a:lnTo>
                  <a:pt x="3421" y="1655"/>
                </a:lnTo>
                <a:lnTo>
                  <a:pt x="3426" y="1658"/>
                </a:lnTo>
                <a:lnTo>
                  <a:pt x="3430" y="1663"/>
                </a:lnTo>
                <a:lnTo>
                  <a:pt x="3433" y="1668"/>
                </a:lnTo>
                <a:lnTo>
                  <a:pt x="3437" y="1674"/>
                </a:lnTo>
                <a:lnTo>
                  <a:pt x="3440" y="1681"/>
                </a:lnTo>
                <a:lnTo>
                  <a:pt x="3447" y="1700"/>
                </a:lnTo>
                <a:lnTo>
                  <a:pt x="3453" y="1725"/>
                </a:lnTo>
                <a:lnTo>
                  <a:pt x="3460" y="1756"/>
                </a:lnTo>
                <a:lnTo>
                  <a:pt x="3467" y="1794"/>
                </a:lnTo>
                <a:lnTo>
                  <a:pt x="3474" y="1841"/>
                </a:lnTo>
                <a:lnTo>
                  <a:pt x="3481" y="1896"/>
                </a:lnTo>
                <a:lnTo>
                  <a:pt x="3499" y="2038"/>
                </a:lnTo>
                <a:lnTo>
                  <a:pt x="3520" y="2225"/>
                </a:lnTo>
                <a:lnTo>
                  <a:pt x="3520" y="2225"/>
                </a:lnTo>
                <a:lnTo>
                  <a:pt x="3534" y="2347"/>
                </a:lnTo>
                <a:lnTo>
                  <a:pt x="3534" y="2347"/>
                </a:lnTo>
                <a:lnTo>
                  <a:pt x="3549" y="2031"/>
                </a:lnTo>
                <a:lnTo>
                  <a:pt x="3563" y="1692"/>
                </a:lnTo>
                <a:lnTo>
                  <a:pt x="3563" y="1692"/>
                </a:lnTo>
                <a:lnTo>
                  <a:pt x="3585" y="1198"/>
                </a:lnTo>
                <a:lnTo>
                  <a:pt x="3594" y="997"/>
                </a:lnTo>
                <a:lnTo>
                  <a:pt x="3603" y="826"/>
                </a:lnTo>
                <a:lnTo>
                  <a:pt x="3612" y="681"/>
                </a:lnTo>
                <a:lnTo>
                  <a:pt x="3619" y="560"/>
                </a:lnTo>
                <a:lnTo>
                  <a:pt x="3626" y="461"/>
                </a:lnTo>
                <a:lnTo>
                  <a:pt x="3633" y="381"/>
                </a:lnTo>
                <a:lnTo>
                  <a:pt x="3642" y="319"/>
                </a:lnTo>
                <a:lnTo>
                  <a:pt x="3645" y="295"/>
                </a:lnTo>
                <a:lnTo>
                  <a:pt x="3649" y="273"/>
                </a:lnTo>
                <a:lnTo>
                  <a:pt x="3653" y="255"/>
                </a:lnTo>
                <a:lnTo>
                  <a:pt x="3657" y="240"/>
                </a:lnTo>
                <a:lnTo>
                  <a:pt x="3662" y="227"/>
                </a:lnTo>
                <a:lnTo>
                  <a:pt x="3666" y="218"/>
                </a:lnTo>
                <a:lnTo>
                  <a:pt x="3671" y="210"/>
                </a:lnTo>
                <a:lnTo>
                  <a:pt x="3677" y="205"/>
                </a:lnTo>
                <a:lnTo>
                  <a:pt x="3682" y="200"/>
                </a:lnTo>
                <a:lnTo>
                  <a:pt x="3687" y="197"/>
                </a:lnTo>
                <a:lnTo>
                  <a:pt x="3693" y="195"/>
                </a:lnTo>
                <a:lnTo>
                  <a:pt x="3699" y="194"/>
                </a:lnTo>
                <a:lnTo>
                  <a:pt x="3713" y="194"/>
                </a:lnTo>
                <a:lnTo>
                  <a:pt x="3713" y="194"/>
                </a:lnTo>
                <a:lnTo>
                  <a:pt x="3726" y="194"/>
                </a:lnTo>
                <a:lnTo>
                  <a:pt x="3732" y="195"/>
                </a:lnTo>
                <a:lnTo>
                  <a:pt x="3739" y="197"/>
                </a:lnTo>
                <a:lnTo>
                  <a:pt x="3744" y="202"/>
                </a:lnTo>
                <a:lnTo>
                  <a:pt x="3749" y="206"/>
                </a:lnTo>
                <a:lnTo>
                  <a:pt x="3754" y="213"/>
                </a:lnTo>
                <a:lnTo>
                  <a:pt x="3759" y="221"/>
                </a:lnTo>
                <a:lnTo>
                  <a:pt x="3763" y="234"/>
                </a:lnTo>
                <a:lnTo>
                  <a:pt x="3768" y="248"/>
                </a:lnTo>
                <a:lnTo>
                  <a:pt x="3773" y="266"/>
                </a:lnTo>
                <a:lnTo>
                  <a:pt x="3777" y="286"/>
                </a:lnTo>
                <a:lnTo>
                  <a:pt x="3780" y="311"/>
                </a:lnTo>
                <a:lnTo>
                  <a:pt x="3784" y="340"/>
                </a:lnTo>
                <a:lnTo>
                  <a:pt x="3791" y="412"/>
                </a:lnTo>
                <a:lnTo>
                  <a:pt x="3800" y="504"/>
                </a:lnTo>
                <a:lnTo>
                  <a:pt x="3807" y="620"/>
                </a:lnTo>
                <a:lnTo>
                  <a:pt x="3814" y="761"/>
                </a:lnTo>
                <a:lnTo>
                  <a:pt x="3822" y="930"/>
                </a:lnTo>
                <a:lnTo>
                  <a:pt x="3831" y="1130"/>
                </a:lnTo>
                <a:lnTo>
                  <a:pt x="3840" y="1362"/>
                </a:lnTo>
                <a:lnTo>
                  <a:pt x="3862" y="1938"/>
                </a:lnTo>
                <a:lnTo>
                  <a:pt x="3862" y="1938"/>
                </a:lnTo>
                <a:lnTo>
                  <a:pt x="3877" y="2339"/>
                </a:lnTo>
                <a:lnTo>
                  <a:pt x="3877" y="2339"/>
                </a:lnTo>
                <a:lnTo>
                  <a:pt x="3891" y="1983"/>
                </a:lnTo>
                <a:lnTo>
                  <a:pt x="3905" y="1618"/>
                </a:lnTo>
                <a:lnTo>
                  <a:pt x="3905" y="1618"/>
                </a:lnTo>
                <a:lnTo>
                  <a:pt x="3926" y="1084"/>
                </a:lnTo>
                <a:lnTo>
                  <a:pt x="3942" y="682"/>
                </a:lnTo>
                <a:lnTo>
                  <a:pt x="3948" y="526"/>
                </a:lnTo>
                <a:lnTo>
                  <a:pt x="3956" y="395"/>
                </a:lnTo>
                <a:lnTo>
                  <a:pt x="3962" y="287"/>
                </a:lnTo>
                <a:lnTo>
                  <a:pt x="3968" y="203"/>
                </a:lnTo>
                <a:lnTo>
                  <a:pt x="3974" y="135"/>
                </a:lnTo>
                <a:lnTo>
                  <a:pt x="3980" y="85"/>
                </a:lnTo>
                <a:lnTo>
                  <a:pt x="3985" y="65"/>
                </a:lnTo>
                <a:lnTo>
                  <a:pt x="3988" y="50"/>
                </a:lnTo>
                <a:lnTo>
                  <a:pt x="3992" y="36"/>
                </a:lnTo>
                <a:lnTo>
                  <a:pt x="3996" y="25"/>
                </a:lnTo>
                <a:lnTo>
                  <a:pt x="4000" y="17"/>
                </a:lnTo>
                <a:lnTo>
                  <a:pt x="4004" y="10"/>
                </a:lnTo>
                <a:lnTo>
                  <a:pt x="4009" y="6"/>
                </a:lnTo>
                <a:lnTo>
                  <a:pt x="4015" y="3"/>
                </a:lnTo>
                <a:lnTo>
                  <a:pt x="4020" y="1"/>
                </a:lnTo>
                <a:lnTo>
                  <a:pt x="4026" y="0"/>
                </a:lnTo>
                <a:lnTo>
                  <a:pt x="4038" y="0"/>
                </a:lnTo>
                <a:lnTo>
                  <a:pt x="4038" y="0"/>
                </a:lnTo>
                <a:lnTo>
                  <a:pt x="4051" y="0"/>
                </a:lnTo>
                <a:lnTo>
                  <a:pt x="4056" y="1"/>
                </a:lnTo>
                <a:lnTo>
                  <a:pt x="4061" y="2"/>
                </a:lnTo>
                <a:lnTo>
                  <a:pt x="4066" y="4"/>
                </a:lnTo>
                <a:lnTo>
                  <a:pt x="4071" y="8"/>
                </a:lnTo>
                <a:lnTo>
                  <a:pt x="4076" y="12"/>
                </a:lnTo>
                <a:lnTo>
                  <a:pt x="4080" y="20"/>
                </a:lnTo>
                <a:lnTo>
                  <a:pt x="4084" y="27"/>
                </a:lnTo>
                <a:lnTo>
                  <a:pt x="4087" y="37"/>
                </a:lnTo>
                <a:lnTo>
                  <a:pt x="4090" y="50"/>
                </a:lnTo>
                <a:lnTo>
                  <a:pt x="4094" y="65"/>
                </a:lnTo>
                <a:lnTo>
                  <a:pt x="4100" y="103"/>
                </a:lnTo>
                <a:lnTo>
                  <a:pt x="4107" y="155"/>
                </a:lnTo>
                <a:lnTo>
                  <a:pt x="4112" y="220"/>
                </a:lnTo>
                <a:lnTo>
                  <a:pt x="4118" y="303"/>
                </a:lnTo>
                <a:lnTo>
                  <a:pt x="4123" y="402"/>
                </a:lnTo>
                <a:lnTo>
                  <a:pt x="4130" y="523"/>
                </a:lnTo>
                <a:lnTo>
                  <a:pt x="4145" y="830"/>
                </a:lnTo>
                <a:lnTo>
                  <a:pt x="4162" y="1239"/>
                </a:lnTo>
                <a:lnTo>
                  <a:pt x="4162" y="1239"/>
                </a:lnTo>
                <a:lnTo>
                  <a:pt x="4185" y="1745"/>
                </a:lnTo>
                <a:lnTo>
                  <a:pt x="4196" y="1991"/>
                </a:lnTo>
                <a:lnTo>
                  <a:pt x="4209" y="2214"/>
                </a:lnTo>
                <a:lnTo>
                  <a:pt x="4209" y="2214"/>
                </a:lnTo>
                <a:lnTo>
                  <a:pt x="4224" y="2014"/>
                </a:lnTo>
                <a:lnTo>
                  <a:pt x="4240" y="1820"/>
                </a:lnTo>
                <a:lnTo>
                  <a:pt x="4240" y="1820"/>
                </a:lnTo>
                <a:lnTo>
                  <a:pt x="4258" y="1574"/>
                </a:lnTo>
                <a:lnTo>
                  <a:pt x="4273" y="1389"/>
                </a:lnTo>
                <a:lnTo>
                  <a:pt x="4280" y="1317"/>
                </a:lnTo>
                <a:lnTo>
                  <a:pt x="4286" y="1257"/>
                </a:lnTo>
                <a:lnTo>
                  <a:pt x="4291" y="1207"/>
                </a:lnTo>
                <a:lnTo>
                  <a:pt x="4298" y="1168"/>
                </a:lnTo>
                <a:lnTo>
                  <a:pt x="4304" y="1137"/>
                </a:lnTo>
                <a:lnTo>
                  <a:pt x="4310" y="1114"/>
                </a:lnTo>
                <a:lnTo>
                  <a:pt x="4313" y="1105"/>
                </a:lnTo>
                <a:lnTo>
                  <a:pt x="4317" y="1098"/>
                </a:lnTo>
                <a:lnTo>
                  <a:pt x="4320" y="1091"/>
                </a:lnTo>
                <a:lnTo>
                  <a:pt x="4325" y="1086"/>
                </a:lnTo>
                <a:lnTo>
                  <a:pt x="4329" y="1082"/>
                </a:lnTo>
                <a:lnTo>
                  <a:pt x="4333" y="1079"/>
                </a:lnTo>
                <a:lnTo>
                  <a:pt x="4337" y="1077"/>
                </a:lnTo>
                <a:lnTo>
                  <a:pt x="4342" y="1076"/>
                </a:lnTo>
                <a:lnTo>
                  <a:pt x="4352" y="1075"/>
                </a:lnTo>
                <a:lnTo>
                  <a:pt x="4364" y="1075"/>
                </a:lnTo>
                <a:lnTo>
                  <a:pt x="4364" y="1075"/>
                </a:lnTo>
                <a:lnTo>
                  <a:pt x="4375" y="1075"/>
                </a:lnTo>
                <a:lnTo>
                  <a:pt x="4384" y="1077"/>
                </a:lnTo>
                <a:lnTo>
                  <a:pt x="4394" y="1081"/>
                </a:lnTo>
                <a:lnTo>
                  <a:pt x="4399" y="1084"/>
                </a:lnTo>
                <a:lnTo>
                  <a:pt x="4403" y="1087"/>
                </a:lnTo>
                <a:lnTo>
                  <a:pt x="4407" y="1091"/>
                </a:lnTo>
                <a:lnTo>
                  <a:pt x="4410" y="1097"/>
                </a:lnTo>
                <a:lnTo>
                  <a:pt x="4419" y="1110"/>
                </a:lnTo>
                <a:lnTo>
                  <a:pt x="4426" y="1127"/>
                </a:lnTo>
                <a:lnTo>
                  <a:pt x="4433" y="1148"/>
                </a:lnTo>
                <a:lnTo>
                  <a:pt x="4441" y="1175"/>
                </a:lnTo>
                <a:lnTo>
                  <a:pt x="4449" y="1208"/>
                </a:lnTo>
                <a:lnTo>
                  <a:pt x="4457" y="1246"/>
                </a:lnTo>
                <a:lnTo>
                  <a:pt x="4466" y="1291"/>
                </a:lnTo>
                <a:lnTo>
                  <a:pt x="4487" y="1403"/>
                </a:lnTo>
                <a:lnTo>
                  <a:pt x="4511" y="1549"/>
                </a:lnTo>
                <a:lnTo>
                  <a:pt x="4511" y="1549"/>
                </a:lnTo>
                <a:lnTo>
                  <a:pt x="4526" y="1637"/>
                </a:lnTo>
                <a:lnTo>
                  <a:pt x="4541" y="1724"/>
                </a:lnTo>
                <a:lnTo>
                  <a:pt x="4541" y="1724"/>
                </a:lnTo>
                <a:lnTo>
                  <a:pt x="4558" y="1669"/>
                </a:lnTo>
                <a:lnTo>
                  <a:pt x="4575" y="1622"/>
                </a:lnTo>
                <a:lnTo>
                  <a:pt x="4583" y="1601"/>
                </a:lnTo>
                <a:lnTo>
                  <a:pt x="4591" y="1581"/>
                </a:lnTo>
                <a:lnTo>
                  <a:pt x="4599" y="1564"/>
                </a:lnTo>
                <a:lnTo>
                  <a:pt x="4608" y="1547"/>
                </a:lnTo>
                <a:lnTo>
                  <a:pt x="4616" y="1533"/>
                </a:lnTo>
                <a:lnTo>
                  <a:pt x="4624" y="1520"/>
                </a:lnTo>
                <a:lnTo>
                  <a:pt x="4634" y="1510"/>
                </a:lnTo>
                <a:lnTo>
                  <a:pt x="4644" y="1501"/>
                </a:lnTo>
                <a:lnTo>
                  <a:pt x="4654" y="1494"/>
                </a:lnTo>
                <a:lnTo>
                  <a:pt x="4666" y="1489"/>
                </a:lnTo>
                <a:lnTo>
                  <a:pt x="4677" y="1486"/>
                </a:lnTo>
                <a:lnTo>
                  <a:pt x="4689" y="1485"/>
                </a:lnTo>
                <a:lnTo>
                  <a:pt x="4689" y="1485"/>
                </a:lnTo>
                <a:lnTo>
                  <a:pt x="4703" y="1486"/>
                </a:lnTo>
                <a:lnTo>
                  <a:pt x="4714" y="1489"/>
                </a:lnTo>
                <a:lnTo>
                  <a:pt x="4725" y="1494"/>
                </a:lnTo>
                <a:lnTo>
                  <a:pt x="4737" y="1502"/>
                </a:lnTo>
                <a:lnTo>
                  <a:pt x="4747" y="1511"/>
                </a:lnTo>
                <a:lnTo>
                  <a:pt x="4758" y="1522"/>
                </a:lnTo>
                <a:lnTo>
                  <a:pt x="4767" y="1536"/>
                </a:lnTo>
                <a:lnTo>
                  <a:pt x="4776" y="1551"/>
                </a:lnTo>
                <a:lnTo>
                  <a:pt x="4784" y="1568"/>
                </a:lnTo>
                <a:lnTo>
                  <a:pt x="4794" y="1586"/>
                </a:lnTo>
                <a:lnTo>
                  <a:pt x="4802" y="1606"/>
                </a:lnTo>
                <a:lnTo>
                  <a:pt x="4810" y="1628"/>
                </a:lnTo>
                <a:lnTo>
                  <a:pt x="4828" y="1676"/>
                </a:lnTo>
                <a:lnTo>
                  <a:pt x="4846" y="1731"/>
                </a:lnTo>
                <a:lnTo>
                  <a:pt x="4846" y="1731"/>
                </a:lnTo>
                <a:lnTo>
                  <a:pt x="4855" y="1755"/>
                </a:lnTo>
                <a:lnTo>
                  <a:pt x="4855" y="1755"/>
                </a:lnTo>
                <a:lnTo>
                  <a:pt x="4885" y="1671"/>
                </a:lnTo>
                <a:lnTo>
                  <a:pt x="4885" y="1671"/>
                </a:lnTo>
                <a:lnTo>
                  <a:pt x="4905" y="1613"/>
                </a:lnTo>
                <a:lnTo>
                  <a:pt x="4923" y="1566"/>
                </a:lnTo>
                <a:lnTo>
                  <a:pt x="4938" y="1529"/>
                </a:lnTo>
                <a:lnTo>
                  <a:pt x="4946" y="1513"/>
                </a:lnTo>
                <a:lnTo>
                  <a:pt x="4952" y="1499"/>
                </a:lnTo>
                <a:lnTo>
                  <a:pt x="4959" y="1487"/>
                </a:lnTo>
                <a:lnTo>
                  <a:pt x="4966" y="1478"/>
                </a:lnTo>
                <a:lnTo>
                  <a:pt x="4973" y="1470"/>
                </a:lnTo>
                <a:lnTo>
                  <a:pt x="4981" y="1463"/>
                </a:lnTo>
                <a:lnTo>
                  <a:pt x="4988" y="1458"/>
                </a:lnTo>
                <a:lnTo>
                  <a:pt x="4996" y="1455"/>
                </a:lnTo>
                <a:lnTo>
                  <a:pt x="5006" y="1453"/>
                </a:lnTo>
                <a:lnTo>
                  <a:pt x="5015" y="1453"/>
                </a:lnTo>
                <a:lnTo>
                  <a:pt x="5015" y="1453"/>
                </a:lnTo>
                <a:lnTo>
                  <a:pt x="5023" y="1453"/>
                </a:lnTo>
                <a:lnTo>
                  <a:pt x="5031" y="1455"/>
                </a:lnTo>
                <a:lnTo>
                  <a:pt x="5040" y="1458"/>
                </a:lnTo>
                <a:lnTo>
                  <a:pt x="5047" y="1461"/>
                </a:lnTo>
                <a:lnTo>
                  <a:pt x="5054" y="1467"/>
                </a:lnTo>
                <a:lnTo>
                  <a:pt x="5060" y="1473"/>
                </a:lnTo>
                <a:lnTo>
                  <a:pt x="5068" y="1481"/>
                </a:lnTo>
                <a:lnTo>
                  <a:pt x="5074" y="1489"/>
                </a:lnTo>
                <a:lnTo>
                  <a:pt x="5087" y="1510"/>
                </a:lnTo>
                <a:lnTo>
                  <a:pt x="5101" y="1536"/>
                </a:lnTo>
                <a:lnTo>
                  <a:pt x="5116" y="1567"/>
                </a:lnTo>
                <a:lnTo>
                  <a:pt x="5133" y="1603"/>
                </a:lnTo>
                <a:lnTo>
                  <a:pt x="5133" y="1603"/>
                </a:lnTo>
                <a:lnTo>
                  <a:pt x="5156" y="1656"/>
                </a:lnTo>
                <a:lnTo>
                  <a:pt x="5170" y="1683"/>
                </a:lnTo>
                <a:lnTo>
                  <a:pt x="5183" y="1706"/>
                </a:lnTo>
                <a:lnTo>
                  <a:pt x="5183" y="1706"/>
                </a:lnTo>
                <a:lnTo>
                  <a:pt x="5197" y="1689"/>
                </a:lnTo>
                <a:lnTo>
                  <a:pt x="5211" y="1670"/>
                </a:lnTo>
                <a:lnTo>
                  <a:pt x="5236" y="1636"/>
                </a:lnTo>
                <a:lnTo>
                  <a:pt x="5236" y="1636"/>
                </a:lnTo>
                <a:lnTo>
                  <a:pt x="5254" y="1612"/>
                </a:lnTo>
                <a:lnTo>
                  <a:pt x="5269" y="1592"/>
                </a:lnTo>
                <a:lnTo>
                  <a:pt x="5282" y="1575"/>
                </a:lnTo>
                <a:lnTo>
                  <a:pt x="5296" y="1562"/>
                </a:lnTo>
                <a:lnTo>
                  <a:pt x="5303" y="1556"/>
                </a:lnTo>
                <a:lnTo>
                  <a:pt x="5309" y="1552"/>
                </a:lnTo>
                <a:lnTo>
                  <a:pt x="5317" y="1548"/>
                </a:lnTo>
                <a:lnTo>
                  <a:pt x="5323" y="1546"/>
                </a:lnTo>
                <a:lnTo>
                  <a:pt x="5330" y="1545"/>
                </a:lnTo>
                <a:lnTo>
                  <a:pt x="5337" y="1545"/>
                </a:lnTo>
                <a:lnTo>
                  <a:pt x="5345" y="1546"/>
                </a:lnTo>
                <a:lnTo>
                  <a:pt x="5353" y="1548"/>
                </a:lnTo>
                <a:lnTo>
                  <a:pt x="5353" y="1548"/>
                </a:lnTo>
                <a:lnTo>
                  <a:pt x="5360" y="1551"/>
                </a:lnTo>
                <a:lnTo>
                  <a:pt x="5367" y="1555"/>
                </a:lnTo>
                <a:lnTo>
                  <a:pt x="5373" y="1561"/>
                </a:lnTo>
                <a:lnTo>
                  <a:pt x="5380" y="1567"/>
                </a:lnTo>
                <a:lnTo>
                  <a:pt x="5385" y="1575"/>
                </a:lnTo>
                <a:lnTo>
                  <a:pt x="5389" y="1583"/>
                </a:lnTo>
                <a:lnTo>
                  <a:pt x="5391" y="1594"/>
                </a:lnTo>
                <a:lnTo>
                  <a:pt x="5392" y="1606"/>
                </a:lnTo>
                <a:lnTo>
                  <a:pt x="5392" y="1606"/>
                </a:lnTo>
                <a:lnTo>
                  <a:pt x="5391" y="1615"/>
                </a:lnTo>
                <a:lnTo>
                  <a:pt x="5389" y="1624"/>
                </a:lnTo>
                <a:lnTo>
                  <a:pt x="5385" y="1632"/>
                </a:lnTo>
                <a:lnTo>
                  <a:pt x="5380" y="1639"/>
                </a:lnTo>
                <a:lnTo>
                  <a:pt x="5373" y="1645"/>
                </a:lnTo>
                <a:lnTo>
                  <a:pt x="5366" y="1650"/>
                </a:lnTo>
                <a:lnTo>
                  <a:pt x="5358" y="1655"/>
                </a:lnTo>
                <a:lnTo>
                  <a:pt x="5349" y="1657"/>
                </a:lnTo>
                <a:lnTo>
                  <a:pt x="5349" y="1657"/>
                </a:lnTo>
                <a:lnTo>
                  <a:pt x="5320" y="1696"/>
                </a:lnTo>
                <a:lnTo>
                  <a:pt x="5320" y="1696"/>
                </a:lnTo>
                <a:lnTo>
                  <a:pt x="5299" y="1726"/>
                </a:lnTo>
                <a:lnTo>
                  <a:pt x="5279" y="1752"/>
                </a:lnTo>
                <a:lnTo>
                  <a:pt x="5261" y="1775"/>
                </a:lnTo>
                <a:lnTo>
                  <a:pt x="5243" y="1793"/>
                </a:lnTo>
                <a:lnTo>
                  <a:pt x="5235" y="1800"/>
                </a:lnTo>
                <a:lnTo>
                  <a:pt x="5228" y="1808"/>
                </a:lnTo>
                <a:lnTo>
                  <a:pt x="5219" y="1813"/>
                </a:lnTo>
                <a:lnTo>
                  <a:pt x="5211" y="1818"/>
                </a:lnTo>
                <a:lnTo>
                  <a:pt x="5203" y="1822"/>
                </a:lnTo>
                <a:lnTo>
                  <a:pt x="5195" y="1824"/>
                </a:lnTo>
                <a:lnTo>
                  <a:pt x="5186" y="1826"/>
                </a:lnTo>
                <a:lnTo>
                  <a:pt x="5177" y="1826"/>
                </a:lnTo>
                <a:lnTo>
                  <a:pt x="5177" y="1826"/>
                </a:lnTo>
                <a:lnTo>
                  <a:pt x="5168" y="1826"/>
                </a:lnTo>
                <a:lnTo>
                  <a:pt x="5158" y="1824"/>
                </a:lnTo>
                <a:lnTo>
                  <a:pt x="5149" y="1820"/>
                </a:lnTo>
                <a:lnTo>
                  <a:pt x="5141" y="1816"/>
                </a:lnTo>
                <a:lnTo>
                  <a:pt x="5133" y="1810"/>
                </a:lnTo>
                <a:lnTo>
                  <a:pt x="5124" y="1801"/>
                </a:lnTo>
                <a:lnTo>
                  <a:pt x="5117" y="1792"/>
                </a:lnTo>
                <a:lnTo>
                  <a:pt x="5109" y="1782"/>
                </a:lnTo>
                <a:lnTo>
                  <a:pt x="5101" y="1770"/>
                </a:lnTo>
                <a:lnTo>
                  <a:pt x="5092" y="1757"/>
                </a:lnTo>
                <a:lnTo>
                  <a:pt x="5076" y="1726"/>
                </a:lnTo>
                <a:lnTo>
                  <a:pt x="5058" y="1690"/>
                </a:lnTo>
                <a:lnTo>
                  <a:pt x="5039" y="1646"/>
                </a:lnTo>
                <a:lnTo>
                  <a:pt x="5039" y="1646"/>
                </a:lnTo>
                <a:lnTo>
                  <a:pt x="5019" y="1605"/>
                </a:lnTo>
                <a:lnTo>
                  <a:pt x="5019" y="1605"/>
                </a:lnTo>
                <a:lnTo>
                  <a:pt x="5000" y="1656"/>
                </a:lnTo>
                <a:lnTo>
                  <a:pt x="4982" y="1705"/>
                </a:lnTo>
                <a:lnTo>
                  <a:pt x="4982" y="1705"/>
                </a:lnTo>
                <a:lnTo>
                  <a:pt x="4962" y="1762"/>
                </a:lnTo>
                <a:lnTo>
                  <a:pt x="4945" y="1809"/>
                </a:lnTo>
                <a:lnTo>
                  <a:pt x="4929" y="1847"/>
                </a:lnTo>
                <a:lnTo>
                  <a:pt x="4922" y="1862"/>
                </a:lnTo>
                <a:lnTo>
                  <a:pt x="4916" y="1876"/>
                </a:lnTo>
                <a:lnTo>
                  <a:pt x="4908" y="1888"/>
                </a:lnTo>
                <a:lnTo>
                  <a:pt x="4901" y="1897"/>
                </a:lnTo>
                <a:lnTo>
                  <a:pt x="4894" y="1906"/>
                </a:lnTo>
                <a:lnTo>
                  <a:pt x="4887" y="1913"/>
                </a:lnTo>
                <a:lnTo>
                  <a:pt x="4878" y="1918"/>
                </a:lnTo>
                <a:lnTo>
                  <a:pt x="4870" y="1921"/>
                </a:lnTo>
                <a:lnTo>
                  <a:pt x="4862" y="1923"/>
                </a:lnTo>
                <a:lnTo>
                  <a:pt x="4852" y="1923"/>
                </a:lnTo>
                <a:lnTo>
                  <a:pt x="4852" y="1923"/>
                </a:lnTo>
                <a:lnTo>
                  <a:pt x="4843" y="1923"/>
                </a:lnTo>
                <a:lnTo>
                  <a:pt x="4834" y="1921"/>
                </a:lnTo>
                <a:lnTo>
                  <a:pt x="4827" y="1919"/>
                </a:lnTo>
                <a:lnTo>
                  <a:pt x="4820" y="1915"/>
                </a:lnTo>
                <a:lnTo>
                  <a:pt x="4813" y="1910"/>
                </a:lnTo>
                <a:lnTo>
                  <a:pt x="4807" y="1903"/>
                </a:lnTo>
                <a:lnTo>
                  <a:pt x="4801" y="1895"/>
                </a:lnTo>
                <a:lnTo>
                  <a:pt x="4795" y="1886"/>
                </a:lnTo>
                <a:lnTo>
                  <a:pt x="4790" y="1876"/>
                </a:lnTo>
                <a:lnTo>
                  <a:pt x="4784" y="1864"/>
                </a:lnTo>
                <a:lnTo>
                  <a:pt x="4773" y="1837"/>
                </a:lnTo>
                <a:lnTo>
                  <a:pt x="4762" y="1803"/>
                </a:lnTo>
                <a:lnTo>
                  <a:pt x="4748" y="1763"/>
                </a:lnTo>
                <a:lnTo>
                  <a:pt x="4748" y="1763"/>
                </a:lnTo>
                <a:lnTo>
                  <a:pt x="4736" y="1727"/>
                </a:lnTo>
                <a:lnTo>
                  <a:pt x="4721" y="1686"/>
                </a:lnTo>
                <a:lnTo>
                  <a:pt x="4706" y="1645"/>
                </a:lnTo>
                <a:lnTo>
                  <a:pt x="4699" y="1627"/>
                </a:lnTo>
                <a:lnTo>
                  <a:pt x="4690" y="1611"/>
                </a:lnTo>
                <a:lnTo>
                  <a:pt x="4690" y="1611"/>
                </a:lnTo>
                <a:lnTo>
                  <a:pt x="4683" y="1627"/>
                </a:lnTo>
                <a:lnTo>
                  <a:pt x="4676" y="1646"/>
                </a:lnTo>
                <a:lnTo>
                  <a:pt x="4661" y="1688"/>
                </a:lnTo>
                <a:lnTo>
                  <a:pt x="4648" y="1729"/>
                </a:lnTo>
                <a:lnTo>
                  <a:pt x="4637" y="1766"/>
                </a:lnTo>
                <a:lnTo>
                  <a:pt x="4637" y="1766"/>
                </a:lnTo>
                <a:lnTo>
                  <a:pt x="4624" y="1804"/>
                </a:lnTo>
                <a:lnTo>
                  <a:pt x="4613" y="1839"/>
                </a:lnTo>
                <a:lnTo>
                  <a:pt x="4603" y="1865"/>
                </a:lnTo>
                <a:lnTo>
                  <a:pt x="4593" y="1888"/>
                </a:lnTo>
                <a:lnTo>
                  <a:pt x="4588" y="1899"/>
                </a:lnTo>
                <a:lnTo>
                  <a:pt x="4583" y="1907"/>
                </a:lnTo>
                <a:lnTo>
                  <a:pt x="4578" y="1914"/>
                </a:lnTo>
                <a:lnTo>
                  <a:pt x="4572" y="1920"/>
                </a:lnTo>
                <a:lnTo>
                  <a:pt x="4565" y="1925"/>
                </a:lnTo>
                <a:lnTo>
                  <a:pt x="4559" y="1930"/>
                </a:lnTo>
                <a:lnTo>
                  <a:pt x="4552" y="1933"/>
                </a:lnTo>
                <a:lnTo>
                  <a:pt x="4545" y="1935"/>
                </a:lnTo>
                <a:lnTo>
                  <a:pt x="4545" y="1935"/>
                </a:lnTo>
                <a:lnTo>
                  <a:pt x="4536" y="1937"/>
                </a:lnTo>
                <a:lnTo>
                  <a:pt x="4529" y="1937"/>
                </a:lnTo>
                <a:lnTo>
                  <a:pt x="4522" y="1936"/>
                </a:lnTo>
                <a:lnTo>
                  <a:pt x="4515" y="1935"/>
                </a:lnTo>
                <a:lnTo>
                  <a:pt x="4508" y="1932"/>
                </a:lnTo>
                <a:lnTo>
                  <a:pt x="4501" y="1928"/>
                </a:lnTo>
                <a:lnTo>
                  <a:pt x="4495" y="1924"/>
                </a:lnTo>
                <a:lnTo>
                  <a:pt x="4490" y="1919"/>
                </a:lnTo>
                <a:lnTo>
                  <a:pt x="4490" y="1919"/>
                </a:lnTo>
                <a:lnTo>
                  <a:pt x="4486" y="1915"/>
                </a:lnTo>
                <a:lnTo>
                  <a:pt x="4482" y="1910"/>
                </a:lnTo>
                <a:lnTo>
                  <a:pt x="4479" y="1903"/>
                </a:lnTo>
                <a:lnTo>
                  <a:pt x="4474" y="1895"/>
                </a:lnTo>
                <a:lnTo>
                  <a:pt x="4470" y="1885"/>
                </a:lnTo>
                <a:lnTo>
                  <a:pt x="4467" y="1874"/>
                </a:lnTo>
                <a:lnTo>
                  <a:pt x="4459" y="1842"/>
                </a:lnTo>
                <a:lnTo>
                  <a:pt x="4450" y="1798"/>
                </a:lnTo>
                <a:lnTo>
                  <a:pt x="4439" y="1739"/>
                </a:lnTo>
                <a:lnTo>
                  <a:pt x="4409" y="1566"/>
                </a:lnTo>
                <a:lnTo>
                  <a:pt x="4409" y="1566"/>
                </a:lnTo>
                <a:lnTo>
                  <a:pt x="4394" y="1478"/>
                </a:lnTo>
                <a:lnTo>
                  <a:pt x="4378" y="1384"/>
                </a:lnTo>
                <a:lnTo>
                  <a:pt x="4378" y="1384"/>
                </a:lnTo>
                <a:lnTo>
                  <a:pt x="4369" y="1487"/>
                </a:lnTo>
                <a:lnTo>
                  <a:pt x="4360" y="1600"/>
                </a:lnTo>
                <a:lnTo>
                  <a:pt x="4343" y="1827"/>
                </a:lnTo>
                <a:lnTo>
                  <a:pt x="4343" y="1827"/>
                </a:lnTo>
                <a:lnTo>
                  <a:pt x="4320" y="2116"/>
                </a:lnTo>
                <a:lnTo>
                  <a:pt x="4303" y="2332"/>
                </a:lnTo>
                <a:lnTo>
                  <a:pt x="4295" y="2416"/>
                </a:lnTo>
                <a:lnTo>
                  <a:pt x="4287" y="2487"/>
                </a:lnTo>
                <a:lnTo>
                  <a:pt x="4280" y="2544"/>
                </a:lnTo>
                <a:lnTo>
                  <a:pt x="4273" y="2591"/>
                </a:lnTo>
                <a:lnTo>
                  <a:pt x="4266" y="2627"/>
                </a:lnTo>
                <a:lnTo>
                  <a:pt x="4258" y="2654"/>
                </a:lnTo>
                <a:lnTo>
                  <a:pt x="4254" y="2664"/>
                </a:lnTo>
                <a:lnTo>
                  <a:pt x="4251" y="2673"/>
                </a:lnTo>
                <a:lnTo>
                  <a:pt x="4247" y="2680"/>
                </a:lnTo>
                <a:lnTo>
                  <a:pt x="4243" y="2686"/>
                </a:lnTo>
                <a:lnTo>
                  <a:pt x="4238" y="2690"/>
                </a:lnTo>
                <a:lnTo>
                  <a:pt x="4234" y="2694"/>
                </a:lnTo>
                <a:lnTo>
                  <a:pt x="4228" y="2696"/>
                </a:lnTo>
                <a:lnTo>
                  <a:pt x="4223" y="2698"/>
                </a:lnTo>
                <a:lnTo>
                  <a:pt x="4213" y="2699"/>
                </a:lnTo>
                <a:lnTo>
                  <a:pt x="4201" y="2699"/>
                </a:lnTo>
                <a:lnTo>
                  <a:pt x="4201" y="2699"/>
                </a:lnTo>
                <a:lnTo>
                  <a:pt x="4188" y="2699"/>
                </a:lnTo>
                <a:lnTo>
                  <a:pt x="4182" y="2698"/>
                </a:lnTo>
                <a:lnTo>
                  <a:pt x="4177" y="2696"/>
                </a:lnTo>
                <a:lnTo>
                  <a:pt x="4171" y="2694"/>
                </a:lnTo>
                <a:lnTo>
                  <a:pt x="4166" y="2690"/>
                </a:lnTo>
                <a:lnTo>
                  <a:pt x="4161" y="2684"/>
                </a:lnTo>
                <a:lnTo>
                  <a:pt x="4157" y="2677"/>
                </a:lnTo>
                <a:lnTo>
                  <a:pt x="4152" y="2667"/>
                </a:lnTo>
                <a:lnTo>
                  <a:pt x="4148" y="2655"/>
                </a:lnTo>
                <a:lnTo>
                  <a:pt x="4145" y="2641"/>
                </a:lnTo>
                <a:lnTo>
                  <a:pt x="4141" y="2623"/>
                </a:lnTo>
                <a:lnTo>
                  <a:pt x="4136" y="2602"/>
                </a:lnTo>
                <a:lnTo>
                  <a:pt x="4133" y="2578"/>
                </a:lnTo>
                <a:lnTo>
                  <a:pt x="4126" y="2518"/>
                </a:lnTo>
                <a:lnTo>
                  <a:pt x="4120" y="2440"/>
                </a:lnTo>
                <a:lnTo>
                  <a:pt x="4113" y="2344"/>
                </a:lnTo>
                <a:lnTo>
                  <a:pt x="4105" y="2226"/>
                </a:lnTo>
                <a:lnTo>
                  <a:pt x="4098" y="2086"/>
                </a:lnTo>
                <a:lnTo>
                  <a:pt x="4081" y="1724"/>
                </a:lnTo>
                <a:lnTo>
                  <a:pt x="4059" y="1243"/>
                </a:lnTo>
                <a:lnTo>
                  <a:pt x="4059" y="1243"/>
                </a:lnTo>
                <a:lnTo>
                  <a:pt x="4040" y="819"/>
                </a:lnTo>
                <a:lnTo>
                  <a:pt x="4040" y="819"/>
                </a:lnTo>
                <a:lnTo>
                  <a:pt x="4024" y="1213"/>
                </a:lnTo>
                <a:lnTo>
                  <a:pt x="4008" y="1622"/>
                </a:lnTo>
                <a:lnTo>
                  <a:pt x="4008" y="1622"/>
                </a:lnTo>
                <a:lnTo>
                  <a:pt x="3988" y="2156"/>
                </a:lnTo>
                <a:lnTo>
                  <a:pt x="3971" y="2558"/>
                </a:lnTo>
                <a:lnTo>
                  <a:pt x="3965" y="2714"/>
                </a:lnTo>
                <a:lnTo>
                  <a:pt x="3958" y="2845"/>
                </a:lnTo>
                <a:lnTo>
                  <a:pt x="3952" y="2953"/>
                </a:lnTo>
                <a:lnTo>
                  <a:pt x="3945" y="3038"/>
                </a:lnTo>
                <a:lnTo>
                  <a:pt x="3939" y="3105"/>
                </a:lnTo>
                <a:lnTo>
                  <a:pt x="3933" y="3155"/>
                </a:lnTo>
                <a:lnTo>
                  <a:pt x="3929" y="3175"/>
                </a:lnTo>
                <a:lnTo>
                  <a:pt x="3926" y="3190"/>
                </a:lnTo>
                <a:lnTo>
                  <a:pt x="3922" y="3204"/>
                </a:lnTo>
                <a:lnTo>
                  <a:pt x="3917" y="3215"/>
                </a:lnTo>
                <a:lnTo>
                  <a:pt x="3913" y="3223"/>
                </a:lnTo>
                <a:lnTo>
                  <a:pt x="3909" y="3230"/>
                </a:lnTo>
                <a:lnTo>
                  <a:pt x="3904" y="3234"/>
                </a:lnTo>
                <a:lnTo>
                  <a:pt x="3899" y="3237"/>
                </a:lnTo>
                <a:lnTo>
                  <a:pt x="3894" y="3239"/>
                </a:lnTo>
                <a:lnTo>
                  <a:pt x="3887" y="3240"/>
                </a:lnTo>
                <a:lnTo>
                  <a:pt x="3875" y="3240"/>
                </a:lnTo>
                <a:lnTo>
                  <a:pt x="3875" y="324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mj-lt"/>
            </a:endParaRPr>
          </a:p>
        </p:txBody>
      </p:sp>
      <p:sp>
        <p:nvSpPr>
          <p:cNvPr id="48" name="TextBox 47"/>
          <p:cNvSpPr txBox="1"/>
          <p:nvPr/>
        </p:nvSpPr>
        <p:spPr>
          <a:xfrm>
            <a:off x="6210779" y="2862524"/>
            <a:ext cx="2377440" cy="1585651"/>
          </a:xfrm>
          <a:prstGeom prst="rect">
            <a:avLst/>
          </a:prstGeom>
          <a:noFill/>
        </p:spPr>
        <p:txBody>
          <a:bodyPr wrap="square" lIns="91440" tIns="45720" rIns="91440" bIns="45720" rtlCol="0">
            <a:noAutofit/>
          </a:bodyPr>
          <a:lstStyle/>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CFP2 WDM </a:t>
            </a:r>
            <a:r>
              <a:rPr kumimoji="0" lang="en-US" sz="1100" b="0" i="0" u="none" strike="noStrike" kern="0" cap="none" spc="0" normalizeH="0" baseline="0" noProof="0" dirty="0" err="1">
                <a:ln>
                  <a:noFill/>
                </a:ln>
                <a:solidFill>
                  <a:srgbClr val="FFFFFF"/>
                </a:solidFill>
                <a:effectLst/>
                <a:uLnTx/>
                <a:uFillTx/>
                <a:latin typeface="+mj-lt"/>
              </a:rPr>
              <a:t>pluggability</a:t>
            </a:r>
            <a:r>
              <a:rPr kumimoji="0" lang="en-US" sz="1100" b="0" i="0" u="none" strike="noStrike" kern="0" cap="none" spc="0" normalizeH="0" baseline="0" noProof="0" dirty="0">
                <a:ln>
                  <a:noFill/>
                </a:ln>
                <a:solidFill>
                  <a:srgbClr val="FFFFFF"/>
                </a:solidFill>
                <a:effectLst/>
                <a:uLnTx/>
                <a:uFillTx/>
                <a:latin typeface="+mj-lt"/>
              </a:rPr>
              <a:t> allows a pays as you grow strategy</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Huge </a:t>
            </a:r>
            <a:r>
              <a:rPr kumimoji="0" lang="en-US" sz="1100" b="0" i="0" u="none" strike="noStrike" kern="0" cap="none" spc="0" normalizeH="0" baseline="0" noProof="0" dirty="0" err="1">
                <a:ln>
                  <a:noFill/>
                </a:ln>
                <a:solidFill>
                  <a:srgbClr val="FFFFFF"/>
                </a:solidFill>
                <a:effectLst/>
                <a:uLnTx/>
                <a:uFillTx/>
                <a:latin typeface="+mj-lt"/>
              </a:rPr>
              <a:t>variaty</a:t>
            </a:r>
            <a:r>
              <a:rPr kumimoji="0" lang="en-US" sz="1100" b="0" i="0" u="none" strike="noStrike" kern="0" cap="none" spc="0" normalizeH="0" baseline="0" noProof="0" dirty="0">
                <a:ln>
                  <a:noFill/>
                </a:ln>
                <a:solidFill>
                  <a:srgbClr val="FFFFFF"/>
                </a:solidFill>
                <a:effectLst/>
                <a:uLnTx/>
                <a:uFillTx/>
                <a:latin typeface="+mj-lt"/>
              </a:rPr>
              <a:t> of possible </a:t>
            </a:r>
            <a:br>
              <a:rPr kumimoji="0" lang="en-US" sz="1100" b="0" i="0" u="none" strike="noStrike" kern="0" cap="none" spc="0" normalizeH="0" baseline="0" noProof="0" dirty="0">
                <a:ln>
                  <a:noFill/>
                </a:ln>
                <a:solidFill>
                  <a:srgbClr val="FFFFFF"/>
                </a:solidFill>
                <a:effectLst/>
                <a:uLnTx/>
                <a:uFillTx/>
                <a:latin typeface="+mj-lt"/>
              </a:rPr>
            </a:br>
            <a:r>
              <a:rPr kumimoji="0" lang="en-US" sz="1100" b="0" i="0" u="none" strike="noStrike" kern="0" cap="none" spc="0" normalizeH="0" baseline="0" noProof="0" dirty="0" err="1">
                <a:ln>
                  <a:noFill/>
                </a:ln>
                <a:solidFill>
                  <a:srgbClr val="FFFFFF"/>
                </a:solidFill>
                <a:effectLst/>
                <a:uLnTx/>
                <a:uFillTx/>
                <a:latin typeface="+mj-lt"/>
              </a:rPr>
              <a:t>cleint</a:t>
            </a:r>
            <a:r>
              <a:rPr kumimoji="0" lang="en-US" sz="1100" b="0" i="0" u="none" strike="noStrike" kern="0" cap="none" spc="0" normalizeH="0" baseline="0" noProof="0" dirty="0">
                <a:ln>
                  <a:noFill/>
                </a:ln>
                <a:solidFill>
                  <a:srgbClr val="FFFFFF"/>
                </a:solidFill>
                <a:effectLst/>
                <a:uLnTx/>
                <a:uFillTx/>
                <a:latin typeface="+mj-lt"/>
              </a:rPr>
              <a:t> support </a:t>
            </a:r>
            <a:br>
              <a:rPr kumimoji="0" lang="en-US" sz="1100" b="0" i="0" u="none" strike="noStrike" kern="0" cap="none" spc="0" normalizeH="0" baseline="0" noProof="0" dirty="0">
                <a:ln>
                  <a:noFill/>
                </a:ln>
                <a:solidFill>
                  <a:srgbClr val="FFFFFF"/>
                </a:solidFill>
                <a:effectLst/>
                <a:uLnTx/>
                <a:uFillTx/>
                <a:latin typeface="+mj-lt"/>
              </a:rPr>
            </a:br>
            <a:r>
              <a:rPr kumimoji="0" lang="en-US" sz="1100" b="0" i="0" u="none" strike="noStrike" kern="0" cap="none" spc="0" normalizeH="0" baseline="0" noProof="0" dirty="0">
                <a:ln>
                  <a:noFill/>
                </a:ln>
                <a:solidFill>
                  <a:srgbClr val="FFFFFF"/>
                </a:solidFill>
                <a:effectLst/>
                <a:uLnTx/>
                <a:uFillTx/>
                <a:latin typeface="+mj-lt"/>
              </a:rPr>
              <a:t>(e.g.:40GE or 16G FC )</a:t>
            </a:r>
          </a:p>
          <a:p>
            <a:pPr marL="171450" marR="0" lvl="0" indent="-171450"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FFFFFF"/>
                </a:solidFill>
                <a:effectLst/>
                <a:uLnTx/>
                <a:uFillTx/>
                <a:latin typeface="+mj-lt"/>
              </a:rPr>
              <a:t>Pay as you grow bandwidth License</a:t>
            </a:r>
          </a:p>
        </p:txBody>
      </p:sp>
      <p:sp>
        <p:nvSpPr>
          <p:cNvPr id="49" name="Freeform 13"/>
          <p:cNvSpPr>
            <a:spLocks/>
          </p:cNvSpPr>
          <p:nvPr/>
        </p:nvSpPr>
        <p:spPr bwMode="auto">
          <a:xfrm>
            <a:off x="3006376" y="1572486"/>
            <a:ext cx="296862" cy="296862"/>
          </a:xfrm>
          <a:custGeom>
            <a:avLst/>
            <a:gdLst>
              <a:gd name="T0" fmla="*/ 187 w 187"/>
              <a:gd name="T1" fmla="*/ 67 h 187"/>
              <a:gd name="T2" fmla="*/ 120 w 187"/>
              <a:gd name="T3" fmla="*/ 67 h 187"/>
              <a:gd name="T4" fmla="*/ 120 w 187"/>
              <a:gd name="T5" fmla="*/ 0 h 187"/>
              <a:gd name="T6" fmla="*/ 66 w 187"/>
              <a:gd name="T7" fmla="*/ 0 h 187"/>
              <a:gd name="T8" fmla="*/ 66 w 187"/>
              <a:gd name="T9" fmla="*/ 67 h 187"/>
              <a:gd name="T10" fmla="*/ 0 w 187"/>
              <a:gd name="T11" fmla="*/ 67 h 187"/>
              <a:gd name="T12" fmla="*/ 0 w 187"/>
              <a:gd name="T13" fmla="*/ 120 h 187"/>
              <a:gd name="T14" fmla="*/ 66 w 187"/>
              <a:gd name="T15" fmla="*/ 120 h 187"/>
              <a:gd name="T16" fmla="*/ 66 w 187"/>
              <a:gd name="T17" fmla="*/ 187 h 187"/>
              <a:gd name="T18" fmla="*/ 120 w 187"/>
              <a:gd name="T19" fmla="*/ 187 h 187"/>
              <a:gd name="T20" fmla="*/ 120 w 187"/>
              <a:gd name="T21" fmla="*/ 120 h 187"/>
              <a:gd name="T22" fmla="*/ 187 w 187"/>
              <a:gd name="T23" fmla="*/ 120 h 187"/>
              <a:gd name="T24" fmla="*/ 187 w 187"/>
              <a:gd name="T25" fmla="*/ 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7">
                <a:moveTo>
                  <a:pt x="187" y="67"/>
                </a:moveTo>
                <a:lnTo>
                  <a:pt x="120" y="67"/>
                </a:lnTo>
                <a:lnTo>
                  <a:pt x="120" y="0"/>
                </a:lnTo>
                <a:lnTo>
                  <a:pt x="66" y="0"/>
                </a:lnTo>
                <a:lnTo>
                  <a:pt x="66" y="67"/>
                </a:lnTo>
                <a:lnTo>
                  <a:pt x="0" y="67"/>
                </a:lnTo>
                <a:lnTo>
                  <a:pt x="0" y="120"/>
                </a:lnTo>
                <a:lnTo>
                  <a:pt x="66" y="120"/>
                </a:lnTo>
                <a:lnTo>
                  <a:pt x="66" y="187"/>
                </a:lnTo>
                <a:lnTo>
                  <a:pt x="120" y="187"/>
                </a:lnTo>
                <a:lnTo>
                  <a:pt x="120" y="120"/>
                </a:lnTo>
                <a:lnTo>
                  <a:pt x="187" y="120"/>
                </a:lnTo>
                <a:lnTo>
                  <a:pt x="187" y="67"/>
                </a:lnTo>
                <a:close/>
              </a:path>
            </a:pathLst>
          </a:custGeom>
          <a:solidFill>
            <a:srgbClr val="676767">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mj-lt"/>
            </a:endParaRPr>
          </a:p>
        </p:txBody>
      </p:sp>
      <p:sp>
        <p:nvSpPr>
          <p:cNvPr id="50" name="Freeform 13"/>
          <p:cNvSpPr>
            <a:spLocks/>
          </p:cNvSpPr>
          <p:nvPr/>
        </p:nvSpPr>
        <p:spPr bwMode="auto">
          <a:xfrm>
            <a:off x="5836170" y="1572486"/>
            <a:ext cx="296862" cy="296862"/>
          </a:xfrm>
          <a:custGeom>
            <a:avLst/>
            <a:gdLst>
              <a:gd name="T0" fmla="*/ 187 w 187"/>
              <a:gd name="T1" fmla="*/ 67 h 187"/>
              <a:gd name="T2" fmla="*/ 120 w 187"/>
              <a:gd name="T3" fmla="*/ 67 h 187"/>
              <a:gd name="T4" fmla="*/ 120 w 187"/>
              <a:gd name="T5" fmla="*/ 0 h 187"/>
              <a:gd name="T6" fmla="*/ 66 w 187"/>
              <a:gd name="T7" fmla="*/ 0 h 187"/>
              <a:gd name="T8" fmla="*/ 66 w 187"/>
              <a:gd name="T9" fmla="*/ 67 h 187"/>
              <a:gd name="T10" fmla="*/ 0 w 187"/>
              <a:gd name="T11" fmla="*/ 67 h 187"/>
              <a:gd name="T12" fmla="*/ 0 w 187"/>
              <a:gd name="T13" fmla="*/ 120 h 187"/>
              <a:gd name="T14" fmla="*/ 66 w 187"/>
              <a:gd name="T15" fmla="*/ 120 h 187"/>
              <a:gd name="T16" fmla="*/ 66 w 187"/>
              <a:gd name="T17" fmla="*/ 187 h 187"/>
              <a:gd name="T18" fmla="*/ 120 w 187"/>
              <a:gd name="T19" fmla="*/ 187 h 187"/>
              <a:gd name="T20" fmla="*/ 120 w 187"/>
              <a:gd name="T21" fmla="*/ 120 h 187"/>
              <a:gd name="T22" fmla="*/ 187 w 187"/>
              <a:gd name="T23" fmla="*/ 120 h 187"/>
              <a:gd name="T24" fmla="*/ 187 w 187"/>
              <a:gd name="T25" fmla="*/ 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7">
                <a:moveTo>
                  <a:pt x="187" y="67"/>
                </a:moveTo>
                <a:lnTo>
                  <a:pt x="120" y="67"/>
                </a:lnTo>
                <a:lnTo>
                  <a:pt x="120" y="0"/>
                </a:lnTo>
                <a:lnTo>
                  <a:pt x="66" y="0"/>
                </a:lnTo>
                <a:lnTo>
                  <a:pt x="66" y="67"/>
                </a:lnTo>
                <a:lnTo>
                  <a:pt x="0" y="67"/>
                </a:lnTo>
                <a:lnTo>
                  <a:pt x="0" y="120"/>
                </a:lnTo>
                <a:lnTo>
                  <a:pt x="66" y="120"/>
                </a:lnTo>
                <a:lnTo>
                  <a:pt x="66" y="187"/>
                </a:lnTo>
                <a:lnTo>
                  <a:pt x="120" y="187"/>
                </a:lnTo>
                <a:lnTo>
                  <a:pt x="120" y="120"/>
                </a:lnTo>
                <a:lnTo>
                  <a:pt x="187" y="120"/>
                </a:lnTo>
                <a:lnTo>
                  <a:pt x="187" y="67"/>
                </a:lnTo>
                <a:close/>
              </a:path>
            </a:pathLst>
          </a:custGeom>
          <a:solidFill>
            <a:srgbClr val="676767">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mj-lt"/>
            </a:endParaRPr>
          </a:p>
        </p:txBody>
      </p:sp>
      <p:sp>
        <p:nvSpPr>
          <p:cNvPr id="51" name="TextBox 50"/>
          <p:cNvSpPr txBox="1"/>
          <p:nvPr/>
        </p:nvSpPr>
        <p:spPr>
          <a:xfrm>
            <a:off x="3902114" y="2548839"/>
            <a:ext cx="1359456" cy="261610"/>
          </a:xfrm>
          <a:prstGeom prst="rect">
            <a:avLst/>
          </a:prstGeom>
          <a:solidFill>
            <a:schemeClr val="accent1">
              <a:lumMod val="75000"/>
            </a:schemeClr>
          </a:solidFill>
        </p:spPr>
        <p:txBody>
          <a:bodyPr wrap="square" tIns="91440" bIns="91440" rtlCol="0" anchor="ctr">
            <a:no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400" b="0" i="0" u="none" strike="noStrike" kern="0" cap="none" spc="0" normalizeH="0" baseline="0">
                <a:ln>
                  <a:noFill/>
                </a:ln>
                <a:solidFill>
                  <a:srgbClr val="FFFFFF"/>
                </a:solidFill>
                <a:effectLst/>
                <a:uLnTx/>
                <a:uFillTx/>
                <a:latin typeface="+mj-lt"/>
              </a:defRPr>
            </a:lvl1pPr>
          </a:lstStyle>
          <a:p>
            <a:r>
              <a:rPr lang="en-US" dirty="0"/>
              <a:t>Performance</a:t>
            </a:r>
          </a:p>
        </p:txBody>
      </p:sp>
      <p:sp>
        <p:nvSpPr>
          <p:cNvPr id="52" name="TextBox 51"/>
          <p:cNvSpPr txBox="1"/>
          <p:nvPr/>
        </p:nvSpPr>
        <p:spPr>
          <a:xfrm>
            <a:off x="6719771" y="2548839"/>
            <a:ext cx="1359456" cy="261610"/>
          </a:xfrm>
          <a:prstGeom prst="rect">
            <a:avLst/>
          </a:prstGeom>
          <a:solidFill>
            <a:schemeClr val="accent2">
              <a:lumMod val="75000"/>
            </a:schemeClr>
          </a:solidFill>
        </p:spPr>
        <p:txBody>
          <a:bodyPr wrap="square" tIns="91440" bIns="91440" rtlCol="0" anchor="ctr">
            <a:no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400" b="0" i="0" u="none" strike="noStrike" kern="0" cap="none" spc="0" normalizeH="0" baseline="0">
                <a:ln>
                  <a:noFill/>
                </a:ln>
                <a:solidFill>
                  <a:srgbClr val="FFFFFF"/>
                </a:solidFill>
                <a:effectLst/>
                <a:uLnTx/>
                <a:uFillTx/>
                <a:latin typeface="+mj-lt"/>
              </a:defRPr>
            </a:lvl1pPr>
          </a:lstStyle>
          <a:p>
            <a:r>
              <a:rPr lang="en-US" dirty="0"/>
              <a:t>Flexibility</a:t>
            </a:r>
          </a:p>
        </p:txBody>
      </p:sp>
    </p:spTree>
    <p:extLst>
      <p:ext uri="{BB962C8B-B14F-4D97-AF65-F5344CB8AC3E}">
        <p14:creationId xmlns:p14="http://schemas.microsoft.com/office/powerpoint/2010/main" val="33249807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extBox 18"/>
          <p:cNvSpPr txBox="1"/>
          <p:nvPr/>
        </p:nvSpPr>
        <p:spPr>
          <a:xfrm>
            <a:off x="549275" y="1249247"/>
            <a:ext cx="2560320" cy="2585849"/>
          </a:xfrm>
          <a:prstGeom prst="rect">
            <a:avLst/>
          </a:prstGeom>
          <a:solidFill>
            <a:schemeClr val="bg2">
              <a:lumMod val="95000"/>
            </a:schemeClr>
          </a:solidFill>
          <a:ln w="25400" cap="flat" cmpd="sng" algn="ctr">
            <a:noFill/>
            <a:prstDash val="solid"/>
          </a:ln>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mj-lt"/>
              <a:ea typeface="+mn-ea"/>
              <a:cs typeface="+mn-cs"/>
            </a:endParaRPr>
          </a:p>
        </p:txBody>
      </p:sp>
      <p:sp>
        <p:nvSpPr>
          <p:cNvPr id="22" name="TextBox 21"/>
          <p:cNvSpPr txBox="1"/>
          <p:nvPr/>
        </p:nvSpPr>
        <p:spPr>
          <a:xfrm>
            <a:off x="3292634" y="1249247"/>
            <a:ext cx="2560320" cy="2585849"/>
          </a:xfrm>
          <a:prstGeom prst="rect">
            <a:avLst/>
          </a:prstGeom>
          <a:solidFill>
            <a:schemeClr val="bg2">
              <a:lumMod val="95000"/>
            </a:schemeClr>
          </a:solidFill>
          <a:ln w="25400" cap="flat" cmpd="sng" algn="ctr">
            <a:noFill/>
            <a:prstDash val="solid"/>
          </a:ln>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mj-lt"/>
              <a:ea typeface="+mn-ea"/>
              <a:cs typeface="+mn-cs"/>
            </a:endParaRPr>
          </a:p>
        </p:txBody>
      </p:sp>
      <p:sp>
        <p:nvSpPr>
          <p:cNvPr id="25" name="TextBox 24"/>
          <p:cNvSpPr txBox="1"/>
          <p:nvPr/>
        </p:nvSpPr>
        <p:spPr>
          <a:xfrm>
            <a:off x="6035993" y="1249247"/>
            <a:ext cx="2560320" cy="2585849"/>
          </a:xfrm>
          <a:prstGeom prst="rect">
            <a:avLst/>
          </a:prstGeom>
          <a:solidFill>
            <a:schemeClr val="bg2">
              <a:lumMod val="95000"/>
            </a:schemeClr>
          </a:solidFill>
          <a:ln w="25400" cap="flat" cmpd="sng" algn="ctr">
            <a:noFill/>
            <a:prstDash val="solid"/>
          </a:ln>
          <a:effectLst/>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mj-lt"/>
              <a:ea typeface="+mn-ea"/>
              <a:cs typeface="+mn-cs"/>
            </a:endParaRPr>
          </a:p>
        </p:txBody>
      </p:sp>
      <p:sp>
        <p:nvSpPr>
          <p:cNvPr id="2" name="Title 1"/>
          <p:cNvSpPr>
            <a:spLocks noGrp="1"/>
          </p:cNvSpPr>
          <p:nvPr>
            <p:ph type="title"/>
          </p:nvPr>
        </p:nvSpPr>
        <p:spPr/>
        <p:txBody>
          <a:bodyPr/>
          <a:lstStyle/>
          <a:p>
            <a:r>
              <a:rPr lang="en-US" dirty="0"/>
              <a:t>100G Density Summary</a:t>
            </a:r>
          </a:p>
        </p:txBody>
      </p:sp>
      <p:pic>
        <p:nvPicPr>
          <p:cNvPr id="1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0816" y="2002172"/>
            <a:ext cx="1823955" cy="10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940" y="1489956"/>
            <a:ext cx="1812990" cy="2104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2152" y="2344171"/>
            <a:ext cx="1908002" cy="3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p:nvSpPr>
        <p:spPr>
          <a:xfrm>
            <a:off x="549275" y="1073150"/>
            <a:ext cx="2560320" cy="307777"/>
          </a:xfrm>
          <a:prstGeom prst="round2SameRect">
            <a:avLst/>
          </a:prstGeom>
          <a:solidFill>
            <a:schemeClr val="tx2"/>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mj-lt"/>
                <a:ea typeface="+mn-ea"/>
                <a:cs typeface="+mn-cs"/>
              </a:rPr>
              <a:t>NCS 2015</a:t>
            </a:r>
          </a:p>
        </p:txBody>
      </p:sp>
      <p:sp>
        <p:nvSpPr>
          <p:cNvPr id="20" name="TextBox 19"/>
          <p:cNvSpPr txBox="1"/>
          <p:nvPr/>
        </p:nvSpPr>
        <p:spPr>
          <a:xfrm>
            <a:off x="549275" y="3799086"/>
            <a:ext cx="2560320" cy="917377"/>
          </a:xfrm>
          <a:prstGeom prst="round2SameRect">
            <a:avLst>
              <a:gd name="adj1" fmla="val 0"/>
              <a:gd name="adj2" fmla="val 7057"/>
            </a:avLst>
          </a:prstGeom>
          <a:solidFill>
            <a:schemeClr val="tx2"/>
          </a:solidFill>
          <a:ln w="25400" cap="flat" cmpd="sng" algn="ctr">
            <a:noFill/>
            <a:prstDash val="solid"/>
          </a:ln>
          <a:effectLst/>
        </p:spPr>
        <p:txBody>
          <a:bodyPr wrap="square" rtlCol="0">
            <a:noAutofit/>
          </a:bodyPr>
          <a:lstStyle/>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15 usable slot in the chassis (14 RU)</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15x 100G Clients</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100x 10G Clients</a:t>
            </a:r>
          </a:p>
        </p:txBody>
      </p:sp>
      <p:sp>
        <p:nvSpPr>
          <p:cNvPr id="21" name="TextBox 20"/>
          <p:cNvSpPr txBox="1"/>
          <p:nvPr/>
        </p:nvSpPr>
        <p:spPr>
          <a:xfrm>
            <a:off x="3292634" y="1073150"/>
            <a:ext cx="2560320" cy="307777"/>
          </a:xfrm>
          <a:prstGeom prst="round2SameRect">
            <a:avLst/>
          </a:prstGeom>
          <a:solidFill>
            <a:schemeClr val="tx2"/>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mj-lt"/>
                <a:ea typeface="+mn-ea"/>
                <a:cs typeface="+mn-cs"/>
              </a:rPr>
              <a:t>NCS 2006</a:t>
            </a:r>
          </a:p>
        </p:txBody>
      </p:sp>
      <p:sp>
        <p:nvSpPr>
          <p:cNvPr id="23" name="TextBox 22"/>
          <p:cNvSpPr txBox="1"/>
          <p:nvPr/>
        </p:nvSpPr>
        <p:spPr>
          <a:xfrm>
            <a:off x="3292634" y="3799086"/>
            <a:ext cx="2560320" cy="917377"/>
          </a:xfrm>
          <a:prstGeom prst="round2SameRect">
            <a:avLst>
              <a:gd name="adj1" fmla="val 0"/>
              <a:gd name="adj2" fmla="val 7939"/>
            </a:avLst>
          </a:prstGeom>
          <a:solidFill>
            <a:schemeClr val="tx2"/>
          </a:solidFill>
          <a:ln w="25400" cap="flat" cmpd="sng" algn="ctr">
            <a:noFill/>
            <a:prstDash val="solid"/>
          </a:ln>
          <a:effectLst/>
        </p:spPr>
        <p:txBody>
          <a:bodyPr wrap="square" rtlCol="0">
            <a:noAutofit/>
          </a:bodyPr>
          <a:lstStyle/>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6 usable slot in the chassis </a:t>
            </a:r>
            <a:br>
              <a:rPr kumimoji="0" lang="en-US" sz="1200" b="0" i="0" u="none" strike="noStrike" kern="0" cap="none" spc="0" normalizeH="0" baseline="0" noProof="0" dirty="0">
                <a:ln>
                  <a:noFill/>
                </a:ln>
                <a:solidFill>
                  <a:srgbClr val="FFFFFF"/>
                </a:solidFill>
                <a:effectLst/>
                <a:uLnTx/>
                <a:uFillTx/>
                <a:latin typeface="+mj-lt"/>
                <a:ea typeface="+mn-ea"/>
                <a:cs typeface="+mn-cs"/>
              </a:rPr>
            </a:br>
            <a:r>
              <a:rPr kumimoji="0" lang="en-US" sz="1200" b="0" i="0" u="none" strike="noStrike" kern="0" cap="none" spc="0" normalizeH="0" baseline="0" noProof="0" dirty="0">
                <a:ln>
                  <a:noFill/>
                </a:ln>
                <a:solidFill>
                  <a:srgbClr val="FFFFFF"/>
                </a:solidFill>
                <a:effectLst/>
                <a:uLnTx/>
                <a:uFillTx/>
                <a:latin typeface="+mj-lt"/>
                <a:ea typeface="+mn-ea"/>
                <a:cs typeface="+mn-cs"/>
              </a:rPr>
              <a:t>(6 RU)</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6x 100G Clients</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40x 10G Clients</a:t>
            </a:r>
          </a:p>
        </p:txBody>
      </p:sp>
      <p:sp>
        <p:nvSpPr>
          <p:cNvPr id="24" name="TextBox 23"/>
          <p:cNvSpPr txBox="1"/>
          <p:nvPr/>
        </p:nvSpPr>
        <p:spPr>
          <a:xfrm>
            <a:off x="6035993" y="1073150"/>
            <a:ext cx="2560320" cy="307777"/>
          </a:xfrm>
          <a:prstGeom prst="round2SameRect">
            <a:avLst/>
          </a:prstGeom>
          <a:solidFill>
            <a:schemeClr val="tx2"/>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mj-lt"/>
                <a:ea typeface="+mn-ea"/>
                <a:cs typeface="+mn-cs"/>
              </a:rPr>
              <a:t>NCS 2002</a:t>
            </a:r>
          </a:p>
        </p:txBody>
      </p:sp>
      <p:sp>
        <p:nvSpPr>
          <p:cNvPr id="26" name="TextBox 25"/>
          <p:cNvSpPr txBox="1"/>
          <p:nvPr/>
        </p:nvSpPr>
        <p:spPr>
          <a:xfrm>
            <a:off x="6035993" y="3799086"/>
            <a:ext cx="2560320" cy="917377"/>
          </a:xfrm>
          <a:prstGeom prst="round2SameRect">
            <a:avLst>
              <a:gd name="adj1" fmla="val 0"/>
              <a:gd name="adj2" fmla="val 8821"/>
            </a:avLst>
          </a:prstGeom>
          <a:solidFill>
            <a:schemeClr val="tx2"/>
          </a:solidFill>
          <a:ln w="25400" cap="flat" cmpd="sng" algn="ctr">
            <a:noFill/>
            <a:prstDash val="solid"/>
          </a:ln>
          <a:effectLst/>
        </p:spPr>
        <p:txBody>
          <a:bodyPr wrap="square" rtlCol="0">
            <a:noAutofit/>
          </a:bodyPr>
          <a:lstStyle/>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2 usable slot in the chassis </a:t>
            </a:r>
            <a:br>
              <a:rPr kumimoji="0" lang="en-US" sz="1200" b="0" i="0" u="none" strike="noStrike" kern="0" cap="none" spc="0" normalizeH="0" baseline="0" noProof="0" dirty="0">
                <a:ln>
                  <a:noFill/>
                </a:ln>
                <a:solidFill>
                  <a:srgbClr val="FFFFFF"/>
                </a:solidFill>
                <a:effectLst/>
                <a:uLnTx/>
                <a:uFillTx/>
                <a:latin typeface="+mj-lt"/>
                <a:ea typeface="+mn-ea"/>
                <a:cs typeface="+mn-cs"/>
              </a:rPr>
            </a:br>
            <a:r>
              <a:rPr kumimoji="0" lang="en-US" sz="1200" b="0" i="0" u="none" strike="noStrike" kern="0" cap="none" spc="0" normalizeH="0" baseline="0" noProof="0" dirty="0">
                <a:ln>
                  <a:noFill/>
                </a:ln>
                <a:solidFill>
                  <a:srgbClr val="FFFFFF"/>
                </a:solidFill>
                <a:effectLst/>
                <a:uLnTx/>
                <a:uFillTx/>
                <a:latin typeface="+mj-lt"/>
                <a:ea typeface="+mn-ea"/>
                <a:cs typeface="+mn-cs"/>
              </a:rPr>
              <a:t>(2 RU)</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2x 100G Clients</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10x 10G Clients</a:t>
            </a:r>
          </a:p>
        </p:txBody>
      </p:sp>
    </p:spTree>
    <p:extLst>
      <p:ext uri="{BB962C8B-B14F-4D97-AF65-F5344CB8AC3E}">
        <p14:creationId xmlns:p14="http://schemas.microsoft.com/office/powerpoint/2010/main" val="34900651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isco NCS 1000</a:t>
            </a:r>
            <a:br>
              <a:rPr lang="en-US" dirty="0"/>
            </a:br>
            <a:r>
              <a:rPr lang="en-US" sz="1800" dirty="0"/>
              <a:t>Programmability and Massive Scale for Data Center Interconnect</a:t>
            </a:r>
            <a:endParaRPr lang="en-US" dirty="0"/>
          </a:p>
        </p:txBody>
      </p:sp>
      <p:sp>
        <p:nvSpPr>
          <p:cNvPr id="3" name="Rounded Rectangle 2"/>
          <p:cNvSpPr/>
          <p:nvPr/>
        </p:nvSpPr>
        <p:spPr>
          <a:xfrm>
            <a:off x="5091490" y="2872224"/>
            <a:ext cx="3753319" cy="745147"/>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n w="2540">
                  <a:noFill/>
                </a:ln>
                <a:solidFill>
                  <a:schemeClr val="bg2"/>
                </a:solidFill>
                <a:latin typeface="+mj-lt"/>
              </a:rPr>
              <a:t>Cisco NCS 1002</a:t>
            </a:r>
            <a:endParaRPr lang="en-US" sz="1200" b="1" dirty="0">
              <a:ln w="2540">
                <a:noFill/>
              </a:ln>
              <a:solidFill>
                <a:schemeClr val="bg2"/>
              </a:solidFill>
              <a:latin typeface="+mj-lt"/>
            </a:endParaRPr>
          </a:p>
          <a:p>
            <a:pPr algn="ctr"/>
            <a:r>
              <a:rPr lang="en-US" sz="1200" dirty="0">
                <a:ln w="2540">
                  <a:noFill/>
                </a:ln>
                <a:solidFill>
                  <a:schemeClr val="bg2"/>
                </a:solidFill>
                <a:latin typeface="+mj-lt"/>
              </a:rPr>
              <a:t>8 250G MXP/TXPs</a:t>
            </a:r>
          </a:p>
          <a:p>
            <a:pPr algn="ctr"/>
            <a:r>
              <a:rPr lang="en-US" sz="1200" dirty="0">
                <a:ln w="2540">
                  <a:noFill/>
                </a:ln>
                <a:solidFill>
                  <a:schemeClr val="bg2"/>
                </a:solidFill>
                <a:latin typeface="+mj-lt"/>
              </a:rPr>
              <a:t>IOS-XR</a:t>
            </a:r>
          </a:p>
        </p:txBody>
      </p:sp>
      <p:sp>
        <p:nvSpPr>
          <p:cNvPr id="4" name="Rounded Rectangle 3"/>
          <p:cNvSpPr/>
          <p:nvPr/>
        </p:nvSpPr>
        <p:spPr>
          <a:xfrm>
            <a:off x="5091492" y="2056407"/>
            <a:ext cx="3753319" cy="745147"/>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n w="2540">
                  <a:noFill/>
                </a:ln>
                <a:solidFill>
                  <a:schemeClr val="bg2"/>
                </a:solidFill>
                <a:latin typeface="+mj-lt"/>
              </a:rPr>
              <a:t>Cisco 15216 Mux-</a:t>
            </a:r>
            <a:r>
              <a:rPr lang="en-US" sz="1400" b="1" dirty="0" err="1">
                <a:ln w="2540">
                  <a:noFill/>
                </a:ln>
                <a:solidFill>
                  <a:schemeClr val="bg2"/>
                </a:solidFill>
                <a:latin typeface="+mj-lt"/>
              </a:rPr>
              <a:t>Demux</a:t>
            </a:r>
            <a:endParaRPr lang="en-US" sz="1200" b="1" dirty="0">
              <a:ln w="2540">
                <a:noFill/>
              </a:ln>
              <a:solidFill>
                <a:schemeClr val="bg2"/>
              </a:solidFill>
              <a:latin typeface="+mj-lt"/>
            </a:endParaRPr>
          </a:p>
          <a:p>
            <a:pPr algn="ctr"/>
            <a:r>
              <a:rPr lang="en-US" sz="1200" dirty="0">
                <a:ln w="2540">
                  <a:noFill/>
                </a:ln>
                <a:solidFill>
                  <a:schemeClr val="bg2"/>
                </a:solidFill>
                <a:latin typeface="+mj-lt"/>
              </a:rPr>
              <a:t>96 channels</a:t>
            </a:r>
          </a:p>
          <a:p>
            <a:pPr algn="ctr"/>
            <a:r>
              <a:rPr lang="en-US" sz="1200" dirty="0">
                <a:ln w="2540">
                  <a:noFill/>
                </a:ln>
                <a:solidFill>
                  <a:schemeClr val="bg2"/>
                </a:solidFill>
                <a:latin typeface="+mj-lt"/>
              </a:rPr>
              <a:t>Passive</a:t>
            </a:r>
          </a:p>
        </p:txBody>
      </p:sp>
      <p:sp>
        <p:nvSpPr>
          <p:cNvPr id="5" name="Rounded Rectangle 4"/>
          <p:cNvSpPr/>
          <p:nvPr/>
        </p:nvSpPr>
        <p:spPr>
          <a:xfrm>
            <a:off x="5091491" y="1190803"/>
            <a:ext cx="3753319" cy="81053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n w="2540">
                  <a:noFill/>
                </a:ln>
                <a:solidFill>
                  <a:schemeClr val="bg2"/>
                </a:solidFill>
                <a:latin typeface="+mj-lt"/>
              </a:rPr>
              <a:t>Cisco NCS 1001</a:t>
            </a:r>
            <a:endParaRPr lang="en-US" sz="1200" b="1" dirty="0">
              <a:ln w="2540">
                <a:noFill/>
              </a:ln>
              <a:solidFill>
                <a:schemeClr val="bg2"/>
              </a:solidFill>
              <a:latin typeface="+mj-lt"/>
            </a:endParaRPr>
          </a:p>
          <a:p>
            <a:pPr algn="ctr"/>
            <a:r>
              <a:rPr lang="en-US" sz="1200" dirty="0">
                <a:ln w="2540">
                  <a:noFill/>
                </a:ln>
                <a:solidFill>
                  <a:schemeClr val="bg2"/>
                </a:solidFill>
                <a:latin typeface="+mj-lt"/>
              </a:rPr>
              <a:t>Amplifiers + Protection + Channel Monitoring</a:t>
            </a:r>
          </a:p>
          <a:p>
            <a:pPr algn="ctr"/>
            <a:r>
              <a:rPr lang="en-US" sz="1200" dirty="0">
                <a:ln w="2540">
                  <a:noFill/>
                </a:ln>
                <a:solidFill>
                  <a:schemeClr val="bg2"/>
                </a:solidFill>
                <a:latin typeface="+mj-lt"/>
              </a:rPr>
              <a:t>IOS-XR</a:t>
            </a:r>
          </a:p>
        </p:txBody>
      </p:sp>
      <p:grpSp>
        <p:nvGrpSpPr>
          <p:cNvPr id="6" name="Group 5"/>
          <p:cNvGrpSpPr/>
          <p:nvPr/>
        </p:nvGrpSpPr>
        <p:grpSpPr>
          <a:xfrm>
            <a:off x="659853" y="1532080"/>
            <a:ext cx="3124205" cy="549299"/>
            <a:chOff x="4369735" y="3381063"/>
            <a:chExt cx="3206722" cy="542008"/>
          </a:xfrm>
        </p:grpSpPr>
        <p:pic>
          <p:nvPicPr>
            <p:cNvPr id="7"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5494" t="18268" r="2596" b="61850"/>
            <a:stretch/>
          </p:blipFill>
          <p:spPr bwMode="auto">
            <a:xfrm rot="60000">
              <a:off x="4443315" y="3381063"/>
              <a:ext cx="3003364"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4369735" y="3733803"/>
              <a:ext cx="3206722" cy="18926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9" name="Picture 2" descr="C:\Users\ssuresan\Downloads\KM32011.jpg"/>
          <p:cNvPicPr>
            <a:picLocks noChangeAspect="1" noChangeArrowheads="1"/>
          </p:cNvPicPr>
          <p:nvPr/>
        </p:nvPicPr>
        <p:blipFill rotWithShape="1">
          <a:blip r:embed="rId4">
            <a:extLst>
              <a:ext uri="{28A0092B-C50C-407E-A947-70E740481C1C}">
                <a14:useLocalDpi xmlns:a14="http://schemas.microsoft.com/office/drawing/2010/main" val="0"/>
              </a:ext>
            </a:extLst>
          </a:blip>
          <a:srcRect t="37187" b="37335"/>
          <a:stretch/>
        </p:blipFill>
        <p:spPr bwMode="auto">
          <a:xfrm>
            <a:off x="546497" y="2476650"/>
            <a:ext cx="3362311" cy="685312"/>
          </a:xfrm>
          <a:prstGeom prst="rect">
            <a:avLst/>
          </a:prstGeom>
          <a:noFill/>
          <a:extLst>
            <a:ext uri="{909E8E84-426E-40DD-AFC4-6F175D3DCCD1}">
              <a14:hiddenFill xmlns:a14="http://schemas.microsoft.com/office/drawing/2010/main">
                <a:solidFill>
                  <a:srgbClr val="FFFFFF"/>
                </a:solidFill>
              </a14:hiddenFill>
            </a:ext>
          </a:extLst>
        </p:spPr>
      </p:pic>
      <p:sp>
        <p:nvSpPr>
          <p:cNvPr id="10" name="Rounded Rectangle 9"/>
          <p:cNvSpPr/>
          <p:nvPr/>
        </p:nvSpPr>
        <p:spPr>
          <a:xfrm>
            <a:off x="277813" y="4435982"/>
            <a:ext cx="8566996" cy="274320"/>
          </a:xfrm>
          <a:prstGeom prst="roundRect">
            <a:avLst/>
          </a:prstGeom>
          <a:solidFill>
            <a:schemeClr val="bg2">
              <a:lumMod val="95000"/>
            </a:schemeClr>
          </a:solidFill>
        </p:spPr>
        <p:txBody>
          <a:bodyPr wrap="square" lIns="0" tIns="0" rIns="0" bIns="0" anchor="ctr">
            <a:noAutofit/>
          </a:bodyPr>
          <a:lstStyle/>
          <a:p>
            <a:pPr algn="ctr">
              <a:spcBef>
                <a:spcPts val="141"/>
              </a:spcBef>
            </a:pPr>
            <a:r>
              <a:rPr lang="en-US" sz="1300" dirty="0">
                <a:latin typeface="+mj-lt"/>
              </a:rPr>
              <a:t>Point-To-Point DCI optimized </a:t>
            </a:r>
            <a:r>
              <a:rPr lang="en-US" sz="1300" b="1" dirty="0">
                <a:latin typeface="+mj-lt"/>
              </a:rPr>
              <a:t>DWDM Transport Solution</a:t>
            </a:r>
          </a:p>
        </p:txBody>
      </p:sp>
      <p:sp>
        <p:nvSpPr>
          <p:cNvPr id="12" name="Freeform 11"/>
          <p:cNvSpPr/>
          <p:nvPr/>
        </p:nvSpPr>
        <p:spPr>
          <a:xfrm>
            <a:off x="2313476" y="1322483"/>
            <a:ext cx="5154490" cy="1236418"/>
          </a:xfrm>
          <a:custGeom>
            <a:avLst/>
            <a:gdLst>
              <a:gd name="connsiteX0" fmla="*/ 140677 w 21992492"/>
              <a:gd name="connsiteY0" fmla="*/ 2625969 h 5275385"/>
              <a:gd name="connsiteX1" fmla="*/ 6002215 w 21992492"/>
              <a:gd name="connsiteY1" fmla="*/ 234462 h 5275385"/>
              <a:gd name="connsiteX2" fmla="*/ 15216554 w 21992492"/>
              <a:gd name="connsiteY2" fmla="*/ 422031 h 5275385"/>
              <a:gd name="connsiteX3" fmla="*/ 21640800 w 21992492"/>
              <a:gd name="connsiteY3" fmla="*/ 3024554 h 5275385"/>
              <a:gd name="connsiteX4" fmla="*/ 21640800 w 21992492"/>
              <a:gd name="connsiteY4" fmla="*/ 3962400 h 5275385"/>
              <a:gd name="connsiteX5" fmla="*/ 21711138 w 21992492"/>
              <a:gd name="connsiteY5" fmla="*/ 4032738 h 5275385"/>
              <a:gd name="connsiteX6" fmla="*/ 21687692 w 21992492"/>
              <a:gd name="connsiteY6" fmla="*/ 4759569 h 5275385"/>
              <a:gd name="connsiteX7" fmla="*/ 21593907 w 21992492"/>
              <a:gd name="connsiteY7" fmla="*/ 4712677 h 5275385"/>
              <a:gd name="connsiteX8" fmla="*/ 21593907 w 21992492"/>
              <a:gd name="connsiteY8" fmla="*/ 5134708 h 5275385"/>
              <a:gd name="connsiteX9" fmla="*/ 46892 w 21992492"/>
              <a:gd name="connsiteY9" fmla="*/ 4876800 h 5275385"/>
              <a:gd name="connsiteX10" fmla="*/ 46892 w 21992492"/>
              <a:gd name="connsiteY10" fmla="*/ 5228492 h 5275385"/>
              <a:gd name="connsiteX11" fmla="*/ 21992492 w 21992492"/>
              <a:gd name="connsiteY11" fmla="*/ 5275385 h 5275385"/>
              <a:gd name="connsiteX12" fmla="*/ 21922154 w 21992492"/>
              <a:gd name="connsiteY12" fmla="*/ 0 h 5275385"/>
              <a:gd name="connsiteX13" fmla="*/ 0 w 21992492"/>
              <a:gd name="connsiteY13" fmla="*/ 23446 h 5275385"/>
              <a:gd name="connsiteX14" fmla="*/ 0 w 21992492"/>
              <a:gd name="connsiteY14" fmla="*/ 2766646 h 5275385"/>
              <a:gd name="connsiteX15" fmla="*/ 257907 w 21992492"/>
              <a:gd name="connsiteY15" fmla="*/ 2602523 h 5275385"/>
              <a:gd name="connsiteX16" fmla="*/ 257907 w 21992492"/>
              <a:gd name="connsiteY16" fmla="*/ 2672862 h 5275385"/>
              <a:gd name="connsiteX17" fmla="*/ 351692 w 21992492"/>
              <a:gd name="connsiteY17" fmla="*/ 2579077 h 5275385"/>
              <a:gd name="connsiteX18" fmla="*/ 609600 w 21992492"/>
              <a:gd name="connsiteY18" fmla="*/ 2391508 h 5275385"/>
              <a:gd name="connsiteX19" fmla="*/ 187569 w 21992492"/>
              <a:gd name="connsiteY19" fmla="*/ 2649415 h 527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992492" h="5275385">
                <a:moveTo>
                  <a:pt x="140677" y="2625969"/>
                </a:moveTo>
                <a:lnTo>
                  <a:pt x="6002215" y="234462"/>
                </a:lnTo>
                <a:lnTo>
                  <a:pt x="15216554" y="422031"/>
                </a:lnTo>
                <a:lnTo>
                  <a:pt x="21640800" y="3024554"/>
                </a:lnTo>
                <a:lnTo>
                  <a:pt x="21640800" y="3962400"/>
                </a:lnTo>
                <a:lnTo>
                  <a:pt x="21711138" y="4032738"/>
                </a:lnTo>
                <a:lnTo>
                  <a:pt x="21687692" y="4759569"/>
                </a:lnTo>
                <a:lnTo>
                  <a:pt x="21593907" y="4712677"/>
                </a:lnTo>
                <a:lnTo>
                  <a:pt x="21593907" y="5134708"/>
                </a:lnTo>
                <a:lnTo>
                  <a:pt x="46892" y="4876800"/>
                </a:lnTo>
                <a:lnTo>
                  <a:pt x="46892" y="5228492"/>
                </a:lnTo>
                <a:lnTo>
                  <a:pt x="21992492" y="5275385"/>
                </a:lnTo>
                <a:lnTo>
                  <a:pt x="21922154" y="0"/>
                </a:lnTo>
                <a:lnTo>
                  <a:pt x="0" y="23446"/>
                </a:lnTo>
                <a:lnTo>
                  <a:pt x="0" y="2766646"/>
                </a:lnTo>
                <a:lnTo>
                  <a:pt x="257907" y="2602523"/>
                </a:lnTo>
                <a:lnTo>
                  <a:pt x="257907" y="2672862"/>
                </a:lnTo>
                <a:lnTo>
                  <a:pt x="351692" y="2579077"/>
                </a:lnTo>
                <a:lnTo>
                  <a:pt x="609600" y="2391508"/>
                </a:lnTo>
                <a:lnTo>
                  <a:pt x="187569" y="2649415"/>
                </a:lnTo>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22"/>
          </a:p>
        </p:txBody>
      </p:sp>
      <p:sp>
        <p:nvSpPr>
          <p:cNvPr id="13" name="Freeform 12"/>
          <p:cNvSpPr/>
          <p:nvPr/>
        </p:nvSpPr>
        <p:spPr>
          <a:xfrm>
            <a:off x="2302485" y="1311493"/>
            <a:ext cx="5181967" cy="1247409"/>
          </a:xfrm>
          <a:custGeom>
            <a:avLst/>
            <a:gdLst>
              <a:gd name="connsiteX0" fmla="*/ 257908 w 22109724"/>
              <a:gd name="connsiteY0" fmla="*/ 2719754 h 5322277"/>
              <a:gd name="connsiteX1" fmla="*/ 6072554 w 22109724"/>
              <a:gd name="connsiteY1" fmla="*/ 281354 h 5322277"/>
              <a:gd name="connsiteX2" fmla="*/ 15193108 w 22109724"/>
              <a:gd name="connsiteY2" fmla="*/ 422030 h 5322277"/>
              <a:gd name="connsiteX3" fmla="*/ 21664247 w 22109724"/>
              <a:gd name="connsiteY3" fmla="*/ 3048000 h 5322277"/>
              <a:gd name="connsiteX4" fmla="*/ 21664247 w 22109724"/>
              <a:gd name="connsiteY4" fmla="*/ 3962400 h 5322277"/>
              <a:gd name="connsiteX5" fmla="*/ 21758031 w 22109724"/>
              <a:gd name="connsiteY5" fmla="*/ 4103077 h 5322277"/>
              <a:gd name="connsiteX6" fmla="*/ 21758031 w 22109724"/>
              <a:gd name="connsiteY6" fmla="*/ 4783015 h 5322277"/>
              <a:gd name="connsiteX7" fmla="*/ 21758031 w 22109724"/>
              <a:gd name="connsiteY7" fmla="*/ 4783015 h 5322277"/>
              <a:gd name="connsiteX8" fmla="*/ 21640800 w 22109724"/>
              <a:gd name="connsiteY8" fmla="*/ 5087815 h 5322277"/>
              <a:gd name="connsiteX9" fmla="*/ 117231 w 22109724"/>
              <a:gd name="connsiteY9" fmla="*/ 4829907 h 5322277"/>
              <a:gd name="connsiteX10" fmla="*/ 117231 w 22109724"/>
              <a:gd name="connsiteY10" fmla="*/ 5322277 h 5322277"/>
              <a:gd name="connsiteX11" fmla="*/ 22109724 w 22109724"/>
              <a:gd name="connsiteY11" fmla="*/ 5322277 h 5322277"/>
              <a:gd name="connsiteX12" fmla="*/ 22015939 w 22109724"/>
              <a:gd name="connsiteY12" fmla="*/ 0 h 5322277"/>
              <a:gd name="connsiteX13" fmla="*/ 0 w 22109724"/>
              <a:gd name="connsiteY13" fmla="*/ 23446 h 5322277"/>
              <a:gd name="connsiteX14" fmla="*/ 23447 w 22109724"/>
              <a:gd name="connsiteY14" fmla="*/ 2930769 h 5322277"/>
              <a:gd name="connsiteX15" fmla="*/ 398585 w 22109724"/>
              <a:gd name="connsiteY15" fmla="*/ 2766646 h 532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09724" h="5322277">
                <a:moveTo>
                  <a:pt x="257908" y="2719754"/>
                </a:moveTo>
                <a:lnTo>
                  <a:pt x="6072554" y="281354"/>
                </a:lnTo>
                <a:lnTo>
                  <a:pt x="15193108" y="422030"/>
                </a:lnTo>
                <a:lnTo>
                  <a:pt x="21664247" y="3048000"/>
                </a:lnTo>
                <a:lnTo>
                  <a:pt x="21664247" y="3962400"/>
                </a:lnTo>
                <a:lnTo>
                  <a:pt x="21758031" y="4103077"/>
                </a:lnTo>
                <a:lnTo>
                  <a:pt x="21758031" y="4783015"/>
                </a:lnTo>
                <a:lnTo>
                  <a:pt x="21758031" y="4783015"/>
                </a:lnTo>
                <a:lnTo>
                  <a:pt x="21640800" y="5087815"/>
                </a:lnTo>
                <a:lnTo>
                  <a:pt x="117231" y="4829907"/>
                </a:lnTo>
                <a:lnTo>
                  <a:pt x="117231" y="5322277"/>
                </a:lnTo>
                <a:lnTo>
                  <a:pt x="22109724" y="5322277"/>
                </a:lnTo>
                <a:lnTo>
                  <a:pt x="22015939" y="0"/>
                </a:lnTo>
                <a:lnTo>
                  <a:pt x="0" y="23446"/>
                </a:lnTo>
                <a:lnTo>
                  <a:pt x="23447" y="2930769"/>
                </a:lnTo>
                <a:lnTo>
                  <a:pt x="398585" y="2766646"/>
                </a:lnTo>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22"/>
          </a:p>
        </p:txBody>
      </p:sp>
      <p:pic>
        <p:nvPicPr>
          <p:cNvPr id="14" name="Picture 3" descr="C:\Users\ssuresan\Downloads\KM32030.jpg"/>
          <p:cNvPicPr>
            <a:picLocks noChangeAspect="1" noChangeArrowheads="1"/>
          </p:cNvPicPr>
          <p:nvPr/>
        </p:nvPicPr>
        <p:blipFill rotWithShape="1">
          <a:blip r:embed="rId5">
            <a:extLst>
              <a:ext uri="{28A0092B-C50C-407E-A947-70E740481C1C}">
                <a14:useLocalDpi xmlns:a14="http://schemas.microsoft.com/office/drawing/2010/main" val="0"/>
              </a:ext>
            </a:extLst>
          </a:blip>
          <a:srcRect l="15854" t="12269" r="14171" b="17758"/>
          <a:stretch/>
        </p:blipFill>
        <p:spPr bwMode="auto">
          <a:xfrm>
            <a:off x="3949398" y="1864224"/>
            <a:ext cx="628739" cy="50299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Work stuff\platform X\pictures\KQ60004.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7028" b="36674"/>
          <a:stretch/>
        </p:blipFill>
        <p:spPr bwMode="auto">
          <a:xfrm>
            <a:off x="591110" y="3107334"/>
            <a:ext cx="3261694" cy="65790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3006940" y="2516415"/>
            <a:ext cx="328726" cy="118872"/>
          </a:xfrm>
          <a:prstGeom prst="rect">
            <a:avLst/>
          </a:prstGeom>
          <a:solidFill>
            <a:schemeClr val="accent5">
              <a:lumMod val="50000"/>
            </a:schemeClr>
          </a:solidFill>
        </p:spPr>
        <p:txBody>
          <a:bodyPr wrap="square" lIns="0" rIns="0" rtlCol="0" anchor="b" anchorCtr="0">
            <a:spAutoFit/>
          </a:bodyPr>
          <a:lstStyle/>
          <a:p>
            <a:r>
              <a:rPr lang="en-US" sz="270" dirty="0">
                <a:solidFill>
                  <a:schemeClr val="bg1"/>
                </a:solidFill>
              </a:rPr>
              <a:t>15216-MD-48-ODD=</a:t>
            </a:r>
          </a:p>
        </p:txBody>
      </p:sp>
      <p:pic>
        <p:nvPicPr>
          <p:cNvPr id="17" name="Picture 2" descr="C:\Users\ssuresan\Downloads\KM32011.jpg"/>
          <p:cNvPicPr>
            <a:picLocks noChangeAspect="1" noChangeArrowheads="1"/>
          </p:cNvPicPr>
          <p:nvPr/>
        </p:nvPicPr>
        <p:blipFill rotWithShape="1">
          <a:blip r:embed="rId4">
            <a:extLst>
              <a:ext uri="{28A0092B-C50C-407E-A947-70E740481C1C}">
                <a14:useLocalDpi xmlns:a14="http://schemas.microsoft.com/office/drawing/2010/main" val="0"/>
              </a:ext>
            </a:extLst>
          </a:blip>
          <a:srcRect t="38541" b="38529"/>
          <a:stretch/>
        </p:blipFill>
        <p:spPr bwMode="auto">
          <a:xfrm>
            <a:off x="545857" y="1906876"/>
            <a:ext cx="3352195" cy="61492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2976603" y="1918530"/>
            <a:ext cx="359064" cy="118872"/>
          </a:xfrm>
          <a:prstGeom prst="rect">
            <a:avLst/>
          </a:prstGeom>
          <a:solidFill>
            <a:schemeClr val="accent5">
              <a:lumMod val="50000"/>
            </a:schemeClr>
          </a:solidFill>
        </p:spPr>
        <p:txBody>
          <a:bodyPr wrap="square" lIns="0" rIns="0" rtlCol="0" anchor="b" anchorCtr="0">
            <a:spAutoFit/>
          </a:bodyPr>
          <a:lstStyle/>
          <a:p>
            <a:r>
              <a:rPr lang="en-US" sz="270" dirty="0">
                <a:solidFill>
                  <a:schemeClr val="bg1"/>
                </a:solidFill>
              </a:rPr>
              <a:t>15216-MD-48-EVEN=</a:t>
            </a:r>
          </a:p>
        </p:txBody>
      </p:sp>
      <p:sp>
        <p:nvSpPr>
          <p:cNvPr id="21" name="Freeform 20"/>
          <p:cNvSpPr/>
          <p:nvPr/>
        </p:nvSpPr>
        <p:spPr>
          <a:xfrm>
            <a:off x="2883877" y="1943316"/>
            <a:ext cx="1477108" cy="261257"/>
          </a:xfrm>
          <a:custGeom>
            <a:avLst/>
            <a:gdLst>
              <a:gd name="connsiteX0" fmla="*/ 0 w 1477108"/>
              <a:gd name="connsiteY0" fmla="*/ 251209 h 261257"/>
              <a:gd name="connsiteX1" fmla="*/ 964642 w 1477108"/>
              <a:gd name="connsiteY1" fmla="*/ 261257 h 261257"/>
              <a:gd name="connsiteX2" fmla="*/ 954593 w 1477108"/>
              <a:gd name="connsiteY2" fmla="*/ 10048 h 261257"/>
              <a:gd name="connsiteX3" fmla="*/ 1477108 w 1477108"/>
              <a:gd name="connsiteY3" fmla="*/ 0 h 261257"/>
            </a:gdLst>
            <a:ahLst/>
            <a:cxnLst>
              <a:cxn ang="0">
                <a:pos x="connsiteX0" y="connsiteY0"/>
              </a:cxn>
              <a:cxn ang="0">
                <a:pos x="connsiteX1" y="connsiteY1"/>
              </a:cxn>
              <a:cxn ang="0">
                <a:pos x="connsiteX2" y="connsiteY2"/>
              </a:cxn>
              <a:cxn ang="0">
                <a:pos x="connsiteX3" y="connsiteY3"/>
              </a:cxn>
            </a:cxnLst>
            <a:rect l="l" t="t" r="r" b="b"/>
            <a:pathLst>
              <a:path w="1477108" h="261257">
                <a:moveTo>
                  <a:pt x="0" y="251209"/>
                </a:moveTo>
                <a:lnTo>
                  <a:pt x="964642" y="261257"/>
                </a:lnTo>
                <a:lnTo>
                  <a:pt x="954593" y="10048"/>
                </a:lnTo>
                <a:lnTo>
                  <a:pt x="1477108" y="0"/>
                </a:lnTo>
              </a:path>
            </a:pathLst>
          </a:custGeom>
          <a:noFill/>
          <a:ln w="38100" cmpd="tri">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a:off x="2887851" y="2068040"/>
            <a:ext cx="1467173" cy="738753"/>
          </a:xfrm>
          <a:custGeom>
            <a:avLst/>
            <a:gdLst>
              <a:gd name="connsiteX0" fmla="*/ 0 w 1467173"/>
              <a:gd name="connsiteY0" fmla="*/ 738753 h 738753"/>
              <a:gd name="connsiteX1" fmla="*/ 1095213 w 1467173"/>
              <a:gd name="connsiteY1" fmla="*/ 738753 h 738753"/>
              <a:gd name="connsiteX2" fmla="*/ 1084881 w 1467173"/>
              <a:gd name="connsiteY2" fmla="*/ 0 h 738753"/>
              <a:gd name="connsiteX3" fmla="*/ 1467173 w 1467173"/>
              <a:gd name="connsiteY3" fmla="*/ 0 h 738753"/>
            </a:gdLst>
            <a:ahLst/>
            <a:cxnLst>
              <a:cxn ang="0">
                <a:pos x="connsiteX0" y="connsiteY0"/>
              </a:cxn>
              <a:cxn ang="0">
                <a:pos x="connsiteX1" y="connsiteY1"/>
              </a:cxn>
              <a:cxn ang="0">
                <a:pos x="connsiteX2" y="connsiteY2"/>
              </a:cxn>
              <a:cxn ang="0">
                <a:pos x="connsiteX3" y="connsiteY3"/>
              </a:cxn>
            </a:cxnLst>
            <a:rect l="l" t="t" r="r" b="b"/>
            <a:pathLst>
              <a:path w="1467173" h="738753">
                <a:moveTo>
                  <a:pt x="0" y="738753"/>
                </a:moveTo>
                <a:lnTo>
                  <a:pt x="1095213" y="738753"/>
                </a:lnTo>
                <a:lnTo>
                  <a:pt x="1084881" y="0"/>
                </a:lnTo>
                <a:lnTo>
                  <a:pt x="1467173" y="0"/>
                </a:lnTo>
              </a:path>
            </a:pathLst>
          </a:custGeom>
          <a:noFill/>
          <a:ln w="38100" cmpd="tri">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p:cNvSpPr/>
          <p:nvPr/>
        </p:nvSpPr>
        <p:spPr>
          <a:xfrm>
            <a:off x="2839266" y="1356392"/>
            <a:ext cx="782172" cy="272530"/>
          </a:xfrm>
          <a:custGeom>
            <a:avLst/>
            <a:gdLst>
              <a:gd name="connsiteX0" fmla="*/ 0 w 1684149"/>
              <a:gd name="connsiteY0" fmla="*/ 309966 h 309966"/>
              <a:gd name="connsiteX1" fmla="*/ 0 w 1684149"/>
              <a:gd name="connsiteY1" fmla="*/ 0 h 309966"/>
              <a:gd name="connsiteX2" fmla="*/ 1684149 w 1684149"/>
              <a:gd name="connsiteY2" fmla="*/ 5166 h 309966"/>
            </a:gdLst>
            <a:ahLst/>
            <a:cxnLst>
              <a:cxn ang="0">
                <a:pos x="connsiteX0" y="connsiteY0"/>
              </a:cxn>
              <a:cxn ang="0">
                <a:pos x="connsiteX1" y="connsiteY1"/>
              </a:cxn>
              <a:cxn ang="0">
                <a:pos x="connsiteX2" y="connsiteY2"/>
              </a:cxn>
            </a:cxnLst>
            <a:rect l="l" t="t" r="r" b="b"/>
            <a:pathLst>
              <a:path w="1684149" h="309966">
                <a:moveTo>
                  <a:pt x="0" y="309966"/>
                </a:moveTo>
                <a:lnTo>
                  <a:pt x="0" y="0"/>
                </a:lnTo>
                <a:lnTo>
                  <a:pt x="1684149" y="5166"/>
                </a:lnTo>
              </a:path>
            </a:pathLst>
          </a:custGeom>
          <a:noFill/>
          <a:ln w="38100" cmpd="tri">
            <a:solidFill>
              <a:schemeClr val="accent5"/>
            </a:solidFill>
            <a:headEnd type="oval"/>
            <a:tail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p:cNvSpPr/>
          <p:nvPr/>
        </p:nvSpPr>
        <p:spPr>
          <a:xfrm>
            <a:off x="2712203" y="1639254"/>
            <a:ext cx="1942455" cy="552773"/>
          </a:xfrm>
          <a:custGeom>
            <a:avLst/>
            <a:gdLst>
              <a:gd name="connsiteX0" fmla="*/ 1637655 w 1942455"/>
              <a:gd name="connsiteY0" fmla="*/ 552773 h 552773"/>
              <a:gd name="connsiteX1" fmla="*/ 1942455 w 1942455"/>
              <a:gd name="connsiteY1" fmla="*/ 547607 h 552773"/>
              <a:gd name="connsiteX2" fmla="*/ 1937289 w 1942455"/>
              <a:gd name="connsiteY2" fmla="*/ 149817 h 552773"/>
              <a:gd name="connsiteX3" fmla="*/ 0 w 1942455"/>
              <a:gd name="connsiteY3" fmla="*/ 149817 h 552773"/>
              <a:gd name="connsiteX4" fmla="*/ 5166 w 1942455"/>
              <a:gd name="connsiteY4" fmla="*/ 0 h 552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455" h="552773">
                <a:moveTo>
                  <a:pt x="1637655" y="552773"/>
                </a:moveTo>
                <a:lnTo>
                  <a:pt x="1942455" y="547607"/>
                </a:lnTo>
                <a:lnTo>
                  <a:pt x="1937289" y="149817"/>
                </a:lnTo>
                <a:lnTo>
                  <a:pt x="0" y="149817"/>
                </a:lnTo>
                <a:lnTo>
                  <a:pt x="5166" y="0"/>
                </a:lnTo>
              </a:path>
            </a:pathLst>
          </a:custGeom>
          <a:noFill/>
          <a:ln w="38100" cmpd="tri">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277813" y="4171474"/>
            <a:ext cx="2379819" cy="246221"/>
          </a:xfrm>
          <a:prstGeom prst="rect">
            <a:avLst/>
          </a:prstGeom>
          <a:noFill/>
        </p:spPr>
        <p:txBody>
          <a:bodyPr wrap="square" lIns="0" rtlCol="0">
            <a:spAutoFit/>
          </a:bodyPr>
          <a:lstStyle/>
          <a:p>
            <a:r>
              <a:rPr lang="en-US" sz="1000" dirty="0"/>
              <a:t>End customer 100GE/10GE/40GE traffic</a:t>
            </a:r>
          </a:p>
        </p:txBody>
      </p:sp>
      <p:sp>
        <p:nvSpPr>
          <p:cNvPr id="26" name="TextBox 25"/>
          <p:cNvSpPr txBox="1"/>
          <p:nvPr/>
        </p:nvSpPr>
        <p:spPr>
          <a:xfrm>
            <a:off x="948932" y="1076262"/>
            <a:ext cx="3275256" cy="246221"/>
          </a:xfrm>
          <a:prstGeom prst="rect">
            <a:avLst/>
          </a:prstGeom>
          <a:noFill/>
        </p:spPr>
        <p:txBody>
          <a:bodyPr wrap="none" rtlCol="0">
            <a:spAutoFit/>
          </a:bodyPr>
          <a:lstStyle/>
          <a:p>
            <a:r>
              <a:rPr lang="en-US" sz="1000" dirty="0"/>
              <a:t>96 channels of 100G/200G/250G to external fiber plant</a:t>
            </a:r>
          </a:p>
        </p:txBody>
      </p:sp>
      <p:sp>
        <p:nvSpPr>
          <p:cNvPr id="27" name="Freeform 26"/>
          <p:cNvSpPr/>
          <p:nvPr/>
        </p:nvSpPr>
        <p:spPr>
          <a:xfrm>
            <a:off x="3533775" y="3180205"/>
            <a:ext cx="809625" cy="304800"/>
          </a:xfrm>
          <a:custGeom>
            <a:avLst/>
            <a:gdLst>
              <a:gd name="connsiteX0" fmla="*/ 809625 w 809625"/>
              <a:gd name="connsiteY0" fmla="*/ 0 h 304800"/>
              <a:gd name="connsiteX1" fmla="*/ 9525 w 809625"/>
              <a:gd name="connsiteY1" fmla="*/ 57150 h 304800"/>
              <a:gd name="connsiteX2" fmla="*/ 0 w 809625"/>
              <a:gd name="connsiteY2" fmla="*/ 95250 h 304800"/>
              <a:gd name="connsiteX3" fmla="*/ 476250 w 809625"/>
              <a:gd name="connsiteY3" fmla="*/ 304800 h 304800"/>
              <a:gd name="connsiteX4" fmla="*/ 809625 w 809625"/>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304800">
                <a:moveTo>
                  <a:pt x="809625" y="0"/>
                </a:moveTo>
                <a:lnTo>
                  <a:pt x="9525" y="57150"/>
                </a:lnTo>
                <a:lnTo>
                  <a:pt x="0" y="95250"/>
                </a:lnTo>
                <a:lnTo>
                  <a:pt x="476250" y="304800"/>
                </a:lnTo>
                <a:lnTo>
                  <a:pt x="809625" y="0"/>
                </a:lnTo>
                <a:close/>
              </a:path>
            </a:pathLst>
          </a:custGeom>
          <a:solidFill>
            <a:schemeClr val="tx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p:cNvGrpSpPr/>
          <p:nvPr/>
        </p:nvGrpSpPr>
        <p:grpSpPr>
          <a:xfrm>
            <a:off x="3852804" y="3033848"/>
            <a:ext cx="792949" cy="1000788"/>
            <a:chOff x="3470575" y="1206521"/>
            <a:chExt cx="792949" cy="1000788"/>
          </a:xfrm>
        </p:grpSpPr>
        <p:pic>
          <p:nvPicPr>
            <p:cNvPr id="29" name="Picture 28"/>
            <p:cNvPicPr>
              <a:picLocks noChangeAspect="1"/>
            </p:cNvPicPr>
            <p:nvPr/>
          </p:nvPicPr>
          <p:blipFill>
            <a:blip r:embed="rId7" cstate="print">
              <a:extLst>
                <a:ext uri="{BEBA8EAE-BF5A-486C-A8C5-ECC9F3942E4B}">
                  <a14:imgProps xmlns:a14="http://schemas.microsoft.com/office/drawing/2010/main">
                    <a14:imgLayer r:embed="rId8">
                      <a14:imgEffect>
                        <a14:backgroundRemoval t="9548" b="95980" l="5534" r="93676"/>
                      </a14:imgEffect>
                    </a14:imgLayer>
                  </a14:imgProps>
                </a:ext>
                <a:ext uri="{28A0092B-C50C-407E-A947-70E740481C1C}">
                  <a14:useLocalDpi xmlns:a14="http://schemas.microsoft.com/office/drawing/2010/main"/>
                </a:ext>
              </a:extLst>
            </a:blip>
            <a:stretch>
              <a:fillRect/>
            </a:stretch>
          </p:blipFill>
          <p:spPr>
            <a:xfrm>
              <a:off x="3470575" y="1206521"/>
              <a:ext cx="792949" cy="784569"/>
            </a:xfrm>
            <a:prstGeom prst="rect">
              <a:avLst/>
            </a:prstGeom>
            <a:effectLst/>
          </p:spPr>
        </p:pic>
        <p:sp>
          <p:nvSpPr>
            <p:cNvPr id="30" name="TextBox 29"/>
            <p:cNvSpPr txBox="1"/>
            <p:nvPr/>
          </p:nvSpPr>
          <p:spPr>
            <a:xfrm>
              <a:off x="3578571" y="1961088"/>
              <a:ext cx="613533" cy="246221"/>
            </a:xfrm>
            <a:prstGeom prst="rect">
              <a:avLst/>
            </a:prstGeom>
            <a:noFill/>
          </p:spPr>
          <p:txBody>
            <a:bodyPr wrap="square" rtlCol="0">
              <a:spAutoFit/>
            </a:bodyPr>
            <a:lstStyle/>
            <a:p>
              <a:pPr algn="ctr"/>
              <a:r>
                <a:rPr lang="en-US" sz="1000" dirty="0">
                  <a:solidFill>
                    <a:schemeClr val="tx1">
                      <a:lumMod val="75000"/>
                      <a:lumOff val="25000"/>
                    </a:schemeClr>
                  </a:solidFill>
                </a:rPr>
                <a:t>200G</a:t>
              </a:r>
              <a:endParaRPr lang="en-US" sz="1050" dirty="0">
                <a:solidFill>
                  <a:schemeClr val="tx1">
                    <a:lumMod val="75000"/>
                    <a:lumOff val="25000"/>
                  </a:schemeClr>
                </a:solidFill>
              </a:endParaRPr>
            </a:p>
          </p:txBody>
        </p:sp>
      </p:grpSp>
      <p:sp>
        <p:nvSpPr>
          <p:cNvPr id="31" name="Freeform 30"/>
          <p:cNvSpPr/>
          <p:nvPr/>
        </p:nvSpPr>
        <p:spPr>
          <a:xfrm>
            <a:off x="367048" y="2581740"/>
            <a:ext cx="3682438" cy="1410236"/>
          </a:xfrm>
          <a:custGeom>
            <a:avLst/>
            <a:gdLst>
              <a:gd name="connsiteX0" fmla="*/ 1403797 w 1410237"/>
              <a:gd name="connsiteY0" fmla="*/ 1056067 h 1410236"/>
              <a:gd name="connsiteX1" fmla="*/ 1410237 w 1410237"/>
              <a:gd name="connsiteY1" fmla="*/ 1410236 h 1410236"/>
              <a:gd name="connsiteX2" fmla="*/ 12879 w 1410237"/>
              <a:gd name="connsiteY2" fmla="*/ 1410236 h 1410236"/>
              <a:gd name="connsiteX3" fmla="*/ 0 w 1410237"/>
              <a:gd name="connsiteY3" fmla="*/ 0 h 1410236"/>
              <a:gd name="connsiteX4" fmla="*/ 663262 w 1410237"/>
              <a:gd name="connsiteY4" fmla="*/ 6439 h 1410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237" h="1410236">
                <a:moveTo>
                  <a:pt x="1403797" y="1056067"/>
                </a:moveTo>
                <a:lnTo>
                  <a:pt x="1410237" y="1410236"/>
                </a:lnTo>
                <a:lnTo>
                  <a:pt x="12879" y="1410236"/>
                </a:lnTo>
                <a:lnTo>
                  <a:pt x="0" y="0"/>
                </a:lnTo>
                <a:lnTo>
                  <a:pt x="663262" y="6439"/>
                </a:lnTo>
              </a:path>
            </a:pathLst>
          </a:custGeom>
          <a:noFill/>
          <a:ln w="38100" cmpd="tri">
            <a:solidFill>
              <a:schemeClr val="accent1"/>
            </a:solidFill>
            <a:headEnd type="oval"/>
            <a:tail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3000983" y="2047541"/>
            <a:ext cx="491247" cy="432880"/>
          </a:xfrm>
          <a:custGeom>
            <a:avLst/>
            <a:gdLst>
              <a:gd name="connsiteX0" fmla="*/ 0 w 491247"/>
              <a:gd name="connsiteY0" fmla="*/ 4863 h 432880"/>
              <a:gd name="connsiteX1" fmla="*/ 4864 w 491247"/>
              <a:gd name="connsiteY1" fmla="*/ 432880 h 432880"/>
              <a:gd name="connsiteX2" fmla="*/ 491247 w 491247"/>
              <a:gd name="connsiteY2" fmla="*/ 428017 h 432880"/>
              <a:gd name="connsiteX3" fmla="*/ 491247 w 491247"/>
              <a:gd name="connsiteY3" fmla="*/ 0 h 432880"/>
              <a:gd name="connsiteX4" fmla="*/ 0 w 491247"/>
              <a:gd name="connsiteY4" fmla="*/ 4863 h 43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47" h="432880">
                <a:moveTo>
                  <a:pt x="0" y="4863"/>
                </a:moveTo>
                <a:cubicBezTo>
                  <a:pt x="1621" y="147535"/>
                  <a:pt x="3243" y="290208"/>
                  <a:pt x="4864" y="432880"/>
                </a:cubicBezTo>
                <a:lnTo>
                  <a:pt x="491247" y="428017"/>
                </a:lnTo>
                <a:lnTo>
                  <a:pt x="491247" y="0"/>
                </a:lnTo>
                <a:lnTo>
                  <a:pt x="0" y="4863"/>
                </a:lnTo>
                <a:close/>
              </a:path>
            </a:pathLst>
          </a:custGeom>
          <a:noFill/>
          <a:ln w="38100">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32"/>
          <p:cNvSpPr/>
          <p:nvPr/>
        </p:nvSpPr>
        <p:spPr>
          <a:xfrm>
            <a:off x="3482502" y="1915640"/>
            <a:ext cx="549613" cy="539885"/>
          </a:xfrm>
          <a:custGeom>
            <a:avLst/>
            <a:gdLst>
              <a:gd name="connsiteX0" fmla="*/ 9728 w 549613"/>
              <a:gd name="connsiteY0" fmla="*/ 145915 h 539885"/>
              <a:gd name="connsiteX1" fmla="*/ 549613 w 549613"/>
              <a:gd name="connsiteY1" fmla="*/ 0 h 539885"/>
              <a:gd name="connsiteX2" fmla="*/ 544749 w 549613"/>
              <a:gd name="connsiteY2" fmla="*/ 442608 h 539885"/>
              <a:gd name="connsiteX3" fmla="*/ 0 w 549613"/>
              <a:gd name="connsiteY3" fmla="*/ 539885 h 539885"/>
              <a:gd name="connsiteX4" fmla="*/ 9728 w 549613"/>
              <a:gd name="connsiteY4" fmla="*/ 145915 h 539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613" h="539885">
                <a:moveTo>
                  <a:pt x="9728" y="145915"/>
                </a:moveTo>
                <a:lnTo>
                  <a:pt x="549613" y="0"/>
                </a:lnTo>
                <a:cubicBezTo>
                  <a:pt x="547992" y="147536"/>
                  <a:pt x="546370" y="295072"/>
                  <a:pt x="544749" y="442608"/>
                </a:cubicBezTo>
                <a:lnTo>
                  <a:pt x="0" y="539885"/>
                </a:lnTo>
                <a:lnTo>
                  <a:pt x="9728" y="145915"/>
                </a:lnTo>
                <a:close/>
              </a:path>
            </a:pathLst>
          </a:custGeom>
          <a:solidFill>
            <a:schemeClr val="tx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33"/>
          <p:cNvSpPr/>
          <p:nvPr/>
        </p:nvSpPr>
        <p:spPr>
          <a:xfrm>
            <a:off x="3335667" y="3202738"/>
            <a:ext cx="324965" cy="84120"/>
          </a:xfrm>
          <a:custGeom>
            <a:avLst/>
            <a:gdLst>
              <a:gd name="connsiteX0" fmla="*/ 0 w 491247"/>
              <a:gd name="connsiteY0" fmla="*/ 4863 h 432880"/>
              <a:gd name="connsiteX1" fmla="*/ 4864 w 491247"/>
              <a:gd name="connsiteY1" fmla="*/ 432880 h 432880"/>
              <a:gd name="connsiteX2" fmla="*/ 491247 w 491247"/>
              <a:gd name="connsiteY2" fmla="*/ 428017 h 432880"/>
              <a:gd name="connsiteX3" fmla="*/ 491247 w 491247"/>
              <a:gd name="connsiteY3" fmla="*/ 0 h 432880"/>
              <a:gd name="connsiteX4" fmla="*/ 0 w 491247"/>
              <a:gd name="connsiteY4" fmla="*/ 4863 h 43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47" h="432880">
                <a:moveTo>
                  <a:pt x="0" y="4863"/>
                </a:moveTo>
                <a:cubicBezTo>
                  <a:pt x="1621" y="147535"/>
                  <a:pt x="3243" y="290208"/>
                  <a:pt x="4864" y="432880"/>
                </a:cubicBezTo>
                <a:lnTo>
                  <a:pt x="491247" y="428017"/>
                </a:lnTo>
                <a:lnTo>
                  <a:pt x="491247" y="0"/>
                </a:lnTo>
                <a:lnTo>
                  <a:pt x="0" y="4863"/>
                </a:lnTo>
                <a:close/>
              </a:path>
            </a:pathLst>
          </a:custGeom>
          <a:noFill/>
          <a:ln w="19050">
            <a:solidFill>
              <a:schemeClr val="accent6"/>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5" name="Elbow Connector 34"/>
          <p:cNvCxnSpPr>
            <a:endCxn id="25" idx="3"/>
          </p:cNvCxnSpPr>
          <p:nvPr/>
        </p:nvCxnSpPr>
        <p:spPr>
          <a:xfrm rot="5400000">
            <a:off x="2331363" y="3662509"/>
            <a:ext cx="958346" cy="305807"/>
          </a:xfrm>
          <a:prstGeom prst="bentConnector2">
            <a:avLst/>
          </a:prstGeom>
          <a:ln w="38100" cmpd="tri">
            <a:solidFill>
              <a:schemeClr val="accent5"/>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3724590" y="3161962"/>
            <a:ext cx="1366900" cy="0"/>
          </a:xfrm>
          <a:prstGeom prst="line">
            <a:avLst/>
          </a:prstGeom>
          <a:ln>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22431" y="1605160"/>
            <a:ext cx="1469061" cy="11054"/>
          </a:xfrm>
          <a:prstGeom prst="line">
            <a:avLst/>
          </a:prstGeom>
          <a:ln>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682119" y="2521801"/>
            <a:ext cx="1409372" cy="0"/>
          </a:xfrm>
          <a:prstGeom prst="line">
            <a:avLst/>
          </a:prstGeom>
          <a:ln>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091492" y="3620330"/>
            <a:ext cx="3753317" cy="746358"/>
          </a:xfrm>
          <a:prstGeom prst="rect">
            <a:avLst/>
          </a:prstGeom>
        </p:spPr>
        <p:txBody>
          <a:bodyPr wrap="square">
            <a:spAutoFit/>
          </a:bodyPr>
          <a:lstStyle/>
          <a:p>
            <a:pPr algn="ctr">
              <a:spcBef>
                <a:spcPts val="141"/>
              </a:spcBef>
            </a:pPr>
            <a:r>
              <a:rPr lang="en-US" sz="1000" b="1" dirty="0">
                <a:latin typeface="+mj-lt"/>
              </a:rPr>
              <a:t>Simple To Use</a:t>
            </a:r>
          </a:p>
          <a:p>
            <a:pPr algn="ctr">
              <a:spcBef>
                <a:spcPts val="141"/>
              </a:spcBef>
            </a:pPr>
            <a:r>
              <a:rPr lang="en-US" sz="1000" b="1" dirty="0">
                <a:latin typeface="+mj-lt"/>
              </a:rPr>
              <a:t>Optimized for controlled environs</a:t>
            </a:r>
          </a:p>
          <a:p>
            <a:pPr algn="ctr">
              <a:spcBef>
                <a:spcPts val="141"/>
              </a:spcBef>
            </a:pPr>
            <a:r>
              <a:rPr lang="en-US" sz="1000" b="1" dirty="0">
                <a:latin typeface="+mj-lt"/>
              </a:rPr>
              <a:t>Automation focused </a:t>
            </a:r>
          </a:p>
          <a:p>
            <a:pPr algn="ctr">
              <a:spcBef>
                <a:spcPts val="141"/>
              </a:spcBef>
            </a:pPr>
            <a:r>
              <a:rPr lang="en-US" sz="1000" b="1" dirty="0">
                <a:latin typeface="+mj-lt"/>
              </a:rPr>
              <a:t>Maximize capacity at minimum footprint</a:t>
            </a:r>
          </a:p>
        </p:txBody>
      </p:sp>
    </p:spTree>
    <p:extLst>
      <p:ext uri="{BB962C8B-B14F-4D97-AF65-F5344CB8AC3E}">
        <p14:creationId xmlns:p14="http://schemas.microsoft.com/office/powerpoint/2010/main" val="32862988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WDM Transport Overview</a:t>
            </a:r>
            <a:br>
              <a:rPr lang="en-US" dirty="0"/>
            </a:br>
            <a:r>
              <a:rPr lang="en-US" sz="1800" dirty="0"/>
              <a:t>First to 250G DWDM Pluggable Transport</a:t>
            </a:r>
            <a:endParaRPr lang="en-US" dirty="0"/>
          </a:p>
        </p:txBody>
      </p:sp>
      <p:pic>
        <p:nvPicPr>
          <p:cNvPr id="3" name="Picture 2" descr="C:\Work stuff\platform X\pictures\KQ60032.png"/>
          <p:cNvPicPr>
            <a:picLocks noChangeAspect="1" noChangeArrowheads="1"/>
          </p:cNvPicPr>
          <p:nvPr/>
        </p:nvPicPr>
        <p:blipFill rotWithShape="1">
          <a:blip r:embed="rId3">
            <a:extLst>
              <a:ext uri="{28A0092B-C50C-407E-A947-70E740481C1C}">
                <a14:useLocalDpi xmlns:a14="http://schemas.microsoft.com/office/drawing/2010/main" val="0"/>
              </a:ext>
            </a:extLst>
          </a:blip>
          <a:srcRect t="35915" b="34426"/>
          <a:stretch/>
        </p:blipFill>
        <p:spPr bwMode="auto">
          <a:xfrm>
            <a:off x="1872468" y="1186816"/>
            <a:ext cx="5399064" cy="1281049"/>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p:cNvSpPr txBox="1">
            <a:spLocks/>
          </p:cNvSpPr>
          <p:nvPr/>
        </p:nvSpPr>
        <p:spPr>
          <a:xfrm>
            <a:off x="214463" y="3899676"/>
            <a:ext cx="2840521" cy="807913"/>
          </a:xfrm>
          <a:prstGeom prst="rect">
            <a:avLst/>
          </a:prstGeom>
        </p:spPr>
        <p:txBody>
          <a:bodyPr wrap="squar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40" indent="0" algn="ctr">
              <a:lnSpc>
                <a:spcPct val="100000"/>
              </a:lnSpc>
              <a:spcBef>
                <a:spcPts val="450"/>
              </a:spcBef>
              <a:buFont typeface="Arial" charset="0"/>
              <a:buNone/>
            </a:pPr>
            <a:r>
              <a:rPr lang="en-US" sz="1000" b="1" dirty="0">
                <a:latin typeface="+mj-lt"/>
              </a:rPr>
              <a:t>State of the art 28nm integrated ASIC</a:t>
            </a:r>
          </a:p>
          <a:p>
            <a:pPr marL="57140" indent="0" algn="ctr">
              <a:lnSpc>
                <a:spcPct val="100000"/>
              </a:lnSpc>
              <a:spcBef>
                <a:spcPts val="450"/>
              </a:spcBef>
              <a:buFont typeface="Arial" charset="0"/>
              <a:buNone/>
            </a:pPr>
            <a:r>
              <a:rPr lang="en-US" sz="1000" b="1" dirty="0">
                <a:latin typeface="+mj-lt"/>
              </a:rPr>
              <a:t>Multiple Line rates – Distance </a:t>
            </a:r>
            <a:r>
              <a:rPr lang="en-US" sz="1000" b="1" dirty="0" err="1">
                <a:latin typeface="+mj-lt"/>
              </a:rPr>
              <a:t>vs</a:t>
            </a:r>
            <a:r>
              <a:rPr lang="en-US" sz="1000" b="1" dirty="0">
                <a:latin typeface="+mj-lt"/>
              </a:rPr>
              <a:t> reach trade-off</a:t>
            </a:r>
          </a:p>
          <a:p>
            <a:pPr marL="57140" indent="0" algn="ctr">
              <a:lnSpc>
                <a:spcPct val="100000"/>
              </a:lnSpc>
              <a:spcBef>
                <a:spcPts val="450"/>
              </a:spcBef>
              <a:buFont typeface="Arial" charset="0"/>
              <a:buNone/>
            </a:pPr>
            <a:r>
              <a:rPr lang="en-US" sz="1000" b="1" dirty="0">
                <a:latin typeface="+mj-lt"/>
              </a:rPr>
              <a:t>Soft Decision FEC – Double the reach</a:t>
            </a:r>
          </a:p>
          <a:p>
            <a:pPr marL="57140" indent="0" algn="ctr">
              <a:lnSpc>
                <a:spcPct val="100000"/>
              </a:lnSpc>
              <a:spcBef>
                <a:spcPts val="450"/>
              </a:spcBef>
              <a:buFont typeface="Arial" charset="0"/>
              <a:buNone/>
            </a:pPr>
            <a:r>
              <a:rPr lang="en-US" sz="1000" b="1" dirty="0" err="1">
                <a:latin typeface="+mj-lt"/>
              </a:rPr>
              <a:t>Nyquist</a:t>
            </a:r>
            <a:r>
              <a:rPr lang="en-US" sz="1000" b="1" dirty="0">
                <a:latin typeface="+mj-lt"/>
              </a:rPr>
              <a:t> shaping – ~30% more capacity</a:t>
            </a:r>
          </a:p>
        </p:txBody>
      </p:sp>
      <p:pic>
        <p:nvPicPr>
          <p:cNvPr id="6" name="Picture Placeholder 12"/>
          <p:cNvPicPr>
            <a:picLocks noChangeAspect="1"/>
          </p:cNvPicPr>
          <p:nvPr/>
        </p:nvPicPr>
        <p:blipFill>
          <a:blip r:embed="rId4" cstate="print">
            <a:extLst>
              <a:ext uri="{28A0092B-C50C-407E-A947-70E740481C1C}">
                <a14:useLocalDpi xmlns:a14="http://schemas.microsoft.com/office/drawing/2010/main" val="0"/>
              </a:ext>
            </a:extLst>
          </a:blip>
          <a:srcRect t="1463" b="1463"/>
          <a:stretch>
            <a:fillRect/>
          </a:stretch>
        </p:blipFill>
        <p:spPr>
          <a:xfrm>
            <a:off x="570885" y="2506599"/>
            <a:ext cx="2127676" cy="1172849"/>
          </a:xfrm>
          <a:prstGeom prst="rect">
            <a:avLst/>
          </a:prstGeom>
          <a:ln>
            <a:noFill/>
          </a:ln>
          <a:effectLst/>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ackgroundRemoval t="9548" b="95980" l="5534" r="93676"/>
                    </a14:imgEffect>
                  </a14:imgLayer>
                </a14:imgProps>
              </a:ext>
              <a:ext uri="{28A0092B-C50C-407E-A947-70E740481C1C}">
                <a14:useLocalDpi xmlns:a14="http://schemas.microsoft.com/office/drawing/2010/main"/>
              </a:ext>
            </a:extLst>
          </a:blip>
          <a:stretch>
            <a:fillRect/>
          </a:stretch>
        </p:blipFill>
        <p:spPr>
          <a:xfrm>
            <a:off x="3411804" y="2479916"/>
            <a:ext cx="1685355" cy="1325290"/>
          </a:xfrm>
          <a:prstGeom prst="rect">
            <a:avLst/>
          </a:prstGeom>
          <a:effectLst/>
        </p:spPr>
      </p:pic>
      <p:sp>
        <p:nvSpPr>
          <p:cNvPr id="8" name="Right Arrow 7"/>
          <p:cNvSpPr/>
          <p:nvPr/>
        </p:nvSpPr>
        <p:spPr>
          <a:xfrm>
            <a:off x="5778223" y="2579483"/>
            <a:ext cx="3077610" cy="363474"/>
          </a:xfrm>
          <a:prstGeom prst="rightArrow">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atin typeface="+mj-lt"/>
            </a:endParaRPr>
          </a:p>
        </p:txBody>
      </p:sp>
      <p:sp>
        <p:nvSpPr>
          <p:cNvPr id="9" name="Right Arrow 8"/>
          <p:cNvSpPr/>
          <p:nvPr/>
        </p:nvSpPr>
        <p:spPr>
          <a:xfrm>
            <a:off x="5778223" y="3080955"/>
            <a:ext cx="1051329" cy="618678"/>
          </a:xfrm>
          <a:prstGeom prst="rightArrow">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atin typeface="+mj-lt"/>
            </a:endParaRPr>
          </a:p>
        </p:txBody>
      </p:sp>
      <p:sp>
        <p:nvSpPr>
          <p:cNvPr id="10" name="Right Arrow 9"/>
          <p:cNvSpPr/>
          <p:nvPr/>
        </p:nvSpPr>
        <p:spPr>
          <a:xfrm>
            <a:off x="5778223" y="3945906"/>
            <a:ext cx="752324" cy="781267"/>
          </a:xfrm>
          <a:prstGeom prst="rightArrow">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atin typeface="+mj-lt"/>
            </a:endParaRPr>
          </a:p>
        </p:txBody>
      </p:sp>
      <p:sp>
        <p:nvSpPr>
          <p:cNvPr id="11" name="TextBox 10"/>
          <p:cNvSpPr txBox="1"/>
          <p:nvPr/>
        </p:nvSpPr>
        <p:spPr>
          <a:xfrm>
            <a:off x="5790164" y="2483755"/>
            <a:ext cx="1628651" cy="153888"/>
          </a:xfrm>
          <a:prstGeom prst="rect">
            <a:avLst/>
          </a:prstGeom>
          <a:noFill/>
        </p:spPr>
        <p:txBody>
          <a:bodyPr wrap="square" lIns="0" tIns="0" rIns="0" bIns="0" rtlCol="0">
            <a:spAutoFit/>
          </a:bodyPr>
          <a:lstStyle/>
          <a:p>
            <a:r>
              <a:rPr lang="en-US" sz="1000" dirty="0">
                <a:latin typeface="+mj-lt"/>
              </a:rPr>
              <a:t>9.6Tbps 4000Km + </a:t>
            </a:r>
          </a:p>
        </p:txBody>
      </p:sp>
      <p:sp>
        <p:nvSpPr>
          <p:cNvPr id="12" name="TextBox 11"/>
          <p:cNvSpPr txBox="1"/>
          <p:nvPr/>
        </p:nvSpPr>
        <p:spPr>
          <a:xfrm>
            <a:off x="5790165" y="2921246"/>
            <a:ext cx="1466748" cy="153888"/>
          </a:xfrm>
          <a:prstGeom prst="rect">
            <a:avLst/>
          </a:prstGeom>
          <a:noFill/>
        </p:spPr>
        <p:txBody>
          <a:bodyPr wrap="square" lIns="0" tIns="0" rIns="0" bIns="0" rtlCol="0">
            <a:spAutoFit/>
          </a:bodyPr>
          <a:lstStyle/>
          <a:p>
            <a:r>
              <a:rPr lang="en-US" sz="1000" dirty="0">
                <a:latin typeface="+mj-lt"/>
              </a:rPr>
              <a:t>19.2Tbps  800Km</a:t>
            </a:r>
          </a:p>
        </p:txBody>
      </p:sp>
      <p:sp>
        <p:nvSpPr>
          <p:cNvPr id="13" name="TextBox 12"/>
          <p:cNvSpPr txBox="1"/>
          <p:nvPr/>
        </p:nvSpPr>
        <p:spPr>
          <a:xfrm>
            <a:off x="5778223" y="3771698"/>
            <a:ext cx="1308050" cy="153888"/>
          </a:xfrm>
          <a:prstGeom prst="rect">
            <a:avLst/>
          </a:prstGeom>
          <a:noFill/>
        </p:spPr>
        <p:txBody>
          <a:bodyPr wrap="square" lIns="0" tIns="0" rIns="0" bIns="0" rtlCol="0">
            <a:spAutoFit/>
          </a:bodyPr>
          <a:lstStyle/>
          <a:p>
            <a:r>
              <a:rPr lang="en-US" sz="1000" dirty="0">
                <a:latin typeface="+mj-lt"/>
              </a:rPr>
              <a:t>24Tbps  500Km</a:t>
            </a:r>
          </a:p>
        </p:txBody>
      </p:sp>
      <p:sp>
        <p:nvSpPr>
          <p:cNvPr id="14" name="TextBox 13"/>
          <p:cNvSpPr txBox="1"/>
          <p:nvPr/>
        </p:nvSpPr>
        <p:spPr>
          <a:xfrm>
            <a:off x="5181426" y="2645804"/>
            <a:ext cx="487313" cy="184666"/>
          </a:xfrm>
          <a:prstGeom prst="rect">
            <a:avLst/>
          </a:prstGeom>
          <a:noFill/>
        </p:spPr>
        <p:txBody>
          <a:bodyPr wrap="square" lIns="0" tIns="0" rIns="0" bIns="0" rtlCol="0">
            <a:spAutoFit/>
          </a:bodyPr>
          <a:lstStyle/>
          <a:p>
            <a:r>
              <a:rPr lang="en-US" sz="1200" dirty="0">
                <a:latin typeface="+mj-lt"/>
              </a:rPr>
              <a:t>100G</a:t>
            </a:r>
          </a:p>
        </p:txBody>
      </p:sp>
      <p:sp>
        <p:nvSpPr>
          <p:cNvPr id="15" name="TextBox 14"/>
          <p:cNvSpPr txBox="1"/>
          <p:nvPr/>
        </p:nvSpPr>
        <p:spPr>
          <a:xfrm>
            <a:off x="5206830" y="3274878"/>
            <a:ext cx="487313" cy="184666"/>
          </a:xfrm>
          <a:prstGeom prst="rect">
            <a:avLst/>
          </a:prstGeom>
          <a:noFill/>
        </p:spPr>
        <p:txBody>
          <a:bodyPr wrap="square" lIns="0" tIns="0" rIns="0" bIns="0" rtlCol="0">
            <a:spAutoFit/>
          </a:bodyPr>
          <a:lstStyle/>
          <a:p>
            <a:r>
              <a:rPr lang="en-US" sz="1200" dirty="0">
                <a:latin typeface="+mj-lt"/>
              </a:rPr>
              <a:t>200G</a:t>
            </a:r>
          </a:p>
        </p:txBody>
      </p:sp>
      <p:sp>
        <p:nvSpPr>
          <p:cNvPr id="16" name="TextBox 15"/>
          <p:cNvSpPr txBox="1"/>
          <p:nvPr/>
        </p:nvSpPr>
        <p:spPr>
          <a:xfrm>
            <a:off x="5205301" y="4221123"/>
            <a:ext cx="487313" cy="184666"/>
          </a:xfrm>
          <a:prstGeom prst="rect">
            <a:avLst/>
          </a:prstGeom>
          <a:noFill/>
        </p:spPr>
        <p:txBody>
          <a:bodyPr wrap="square" lIns="0" tIns="0" rIns="0" bIns="0" rtlCol="0">
            <a:spAutoFit/>
          </a:bodyPr>
          <a:lstStyle/>
          <a:p>
            <a:r>
              <a:rPr lang="en-US" sz="1200" dirty="0">
                <a:latin typeface="+mj-lt"/>
              </a:rPr>
              <a:t>250G</a:t>
            </a:r>
          </a:p>
        </p:txBody>
      </p:sp>
      <p:sp>
        <p:nvSpPr>
          <p:cNvPr id="17" name="Text Placeholder 1"/>
          <p:cNvSpPr txBox="1">
            <a:spLocks/>
          </p:cNvSpPr>
          <p:nvPr/>
        </p:nvSpPr>
        <p:spPr>
          <a:xfrm>
            <a:off x="3332983" y="3899676"/>
            <a:ext cx="1842996" cy="807913"/>
          </a:xfrm>
          <a:prstGeom prst="rect">
            <a:avLst/>
          </a:prstGeom>
        </p:spPr>
        <p:txBody>
          <a:bodyPr lIns="0" tIns="0" rIns="0" bIns="0">
            <a:spAutoFit/>
          </a:bodyPr>
          <a:lstStyle>
            <a:lvl1pPr marL="374537" indent="-298361" algn="l" defTabSz="914247" rtl="0" eaLnBrk="1" latinLnBrk="0" hangingPunct="1">
              <a:lnSpc>
                <a:spcPct val="95000"/>
              </a:lnSpc>
              <a:spcBef>
                <a:spcPts val="1480"/>
              </a:spcBef>
              <a:buClr>
                <a:schemeClr val="tx2"/>
              </a:buClr>
              <a:buSzPct val="80000"/>
              <a:buFont typeface="Wingdings" panose="05000000000000000000" pitchFamily="2" charset="2"/>
              <a:buChar char="§"/>
              <a:tabLst/>
              <a:defRPr lang="en-US" sz="2700" b="0" i="0" kern="1200">
                <a:solidFill>
                  <a:schemeClr val="tx2"/>
                </a:solidFill>
                <a:latin typeface="+mn-lt"/>
                <a:ea typeface="+mn-ea"/>
                <a:cs typeface="CiscoSans ExtraLight"/>
              </a:defRPr>
            </a:lvl1pPr>
            <a:lvl2pPr marL="677131" indent="-287780" algn="l" defTabSz="914247" rtl="0" eaLnBrk="1" latinLnBrk="0" hangingPunct="1">
              <a:lnSpc>
                <a:spcPct val="95000"/>
              </a:lnSpc>
              <a:spcBef>
                <a:spcPts val="600"/>
              </a:spcBef>
              <a:buClr>
                <a:schemeClr val="tx2"/>
              </a:buClr>
              <a:buSzPct val="80000"/>
              <a:buFont typeface="Wingdings" panose="05000000000000000000" pitchFamily="2" charset="2"/>
              <a:buChar char="§"/>
              <a:defRPr lang="en-US" sz="2400" b="0" i="0" kern="1200">
                <a:solidFill>
                  <a:schemeClr val="tx2"/>
                </a:solidFill>
                <a:latin typeface="+mn-lt"/>
                <a:ea typeface="+mn-ea"/>
                <a:cs typeface="CiscoSans ExtraLight"/>
              </a:defRPr>
            </a:lvl2pPr>
            <a:lvl3pPr marL="996652" indent="-228532" algn="l" defTabSz="914247" rtl="0" eaLnBrk="1" latinLnBrk="0" hangingPunct="1">
              <a:lnSpc>
                <a:spcPct val="95000"/>
              </a:lnSpc>
              <a:spcBef>
                <a:spcPts val="840"/>
              </a:spcBef>
              <a:buClr>
                <a:schemeClr val="tx2"/>
              </a:buClr>
              <a:buSzPct val="80000"/>
              <a:buFont typeface="Wingdings" panose="05000000000000000000" pitchFamily="2" charset="2"/>
              <a:buChar char="§"/>
              <a:defRPr lang="en-US" sz="2100" b="0" i="0" kern="1200">
                <a:solidFill>
                  <a:schemeClr val="tx2"/>
                </a:solidFill>
                <a:latin typeface="+mn-lt"/>
                <a:ea typeface="+mn-ea"/>
                <a:cs typeface="CiscoSans ExtraLight"/>
              </a:defRPr>
            </a:lvl3pPr>
            <a:lvl4pPr marL="1214602" indent="-228532" algn="l" defTabSz="914247" rtl="0" eaLnBrk="1" latinLnBrk="0" hangingPunct="1">
              <a:lnSpc>
                <a:spcPct val="95000"/>
              </a:lnSpc>
              <a:spcBef>
                <a:spcPts val="840"/>
              </a:spcBef>
              <a:buClr>
                <a:schemeClr val="tx2"/>
              </a:buClr>
              <a:buSzPct val="80000"/>
              <a:buFont typeface="Wingdings" panose="05000000000000000000" pitchFamily="2" charset="2"/>
              <a:buChar char="§"/>
              <a:defRPr lang="en-US" sz="1900" b="0" i="0" kern="1200">
                <a:solidFill>
                  <a:schemeClr val="tx2"/>
                </a:solidFill>
                <a:latin typeface="+mn-lt"/>
                <a:ea typeface="+mn-ea"/>
                <a:cs typeface="CiscoSans ExtraLight"/>
              </a:defRPr>
            </a:lvl4pPr>
            <a:lvl5pPr marL="1443134" indent="-224299" algn="l" defTabSz="914247" rtl="0" eaLnBrk="1" latinLnBrk="0" hangingPunct="1">
              <a:lnSpc>
                <a:spcPct val="95000"/>
              </a:lnSpc>
              <a:spcBef>
                <a:spcPts val="840"/>
              </a:spcBef>
              <a:buClr>
                <a:schemeClr val="tx2"/>
              </a:buClr>
              <a:buSzPct val="80000"/>
              <a:buFont typeface="Wingdings" panose="05000000000000000000" pitchFamily="2" charset="2"/>
              <a:buChar char="§"/>
              <a:defRPr lang="en-US" sz="1600" b="0" i="0" kern="1200">
                <a:solidFill>
                  <a:schemeClr val="tx2"/>
                </a:solidFill>
                <a:latin typeface="+mn-lt"/>
                <a:ea typeface="+mn-ea"/>
                <a:cs typeface="CiscoSans ExtraLight"/>
              </a:defRPr>
            </a:lvl5pPr>
            <a:lvl6pPr marL="1151654" indent="-228563" algn="l" defTabSz="914247"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26" indent="-228532" algn="l" defTabSz="914247"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867" indent="0" algn="l" defTabSz="914247" rtl="0" eaLnBrk="1" latinLnBrk="0" hangingPunct="1">
              <a:spcBef>
                <a:spcPct val="20000"/>
              </a:spcBef>
              <a:buFont typeface="Arial" pitchFamily="34" charset="0"/>
              <a:buNone/>
              <a:defRPr sz="2000" kern="1200">
                <a:solidFill>
                  <a:schemeClr val="tx1"/>
                </a:solidFill>
                <a:latin typeface="+mn-lt"/>
                <a:ea typeface="+mn-ea"/>
                <a:cs typeface="+mn-cs"/>
              </a:defRPr>
            </a:lvl8pPr>
            <a:lvl9pPr marL="3885553" indent="-228563" algn="l" defTabSz="91424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40" indent="0" algn="ctr">
              <a:lnSpc>
                <a:spcPct val="100000"/>
              </a:lnSpc>
              <a:spcBef>
                <a:spcPts val="450"/>
              </a:spcBef>
              <a:buNone/>
            </a:pPr>
            <a:r>
              <a:rPr lang="en-US" sz="1000" b="1" dirty="0">
                <a:solidFill>
                  <a:schemeClr val="tx1"/>
                </a:solidFill>
                <a:latin typeface="+mj-lt"/>
              </a:rPr>
              <a:t>Pluggable</a:t>
            </a:r>
          </a:p>
          <a:p>
            <a:pPr marL="57140" indent="0" algn="ctr">
              <a:lnSpc>
                <a:spcPct val="100000"/>
              </a:lnSpc>
              <a:spcBef>
                <a:spcPts val="450"/>
              </a:spcBef>
              <a:buNone/>
            </a:pPr>
            <a:r>
              <a:rPr lang="en-US" sz="1000" b="1" dirty="0">
                <a:solidFill>
                  <a:schemeClr val="tx1"/>
                </a:solidFill>
                <a:latin typeface="+mj-lt"/>
              </a:rPr>
              <a:t>Field replaceable</a:t>
            </a:r>
          </a:p>
          <a:p>
            <a:pPr marL="57140" indent="0" algn="ctr">
              <a:lnSpc>
                <a:spcPct val="100000"/>
              </a:lnSpc>
              <a:spcBef>
                <a:spcPts val="450"/>
              </a:spcBef>
              <a:buNone/>
            </a:pPr>
            <a:r>
              <a:rPr lang="en-US" sz="1000" b="1" dirty="0">
                <a:solidFill>
                  <a:schemeClr val="tx1"/>
                </a:solidFill>
                <a:latin typeface="+mj-lt"/>
              </a:rPr>
              <a:t>Deferrable</a:t>
            </a:r>
          </a:p>
          <a:p>
            <a:pPr marL="57140" indent="0" algn="ctr">
              <a:lnSpc>
                <a:spcPct val="100000"/>
              </a:lnSpc>
              <a:spcBef>
                <a:spcPts val="450"/>
              </a:spcBef>
              <a:buNone/>
            </a:pPr>
            <a:r>
              <a:rPr lang="en-US" sz="1000" b="1" dirty="0">
                <a:solidFill>
                  <a:schemeClr val="tx1"/>
                </a:solidFill>
                <a:latin typeface="+mj-lt"/>
              </a:rPr>
              <a:t>Thermal efficiency</a:t>
            </a:r>
          </a:p>
        </p:txBody>
      </p:sp>
      <p:sp>
        <p:nvSpPr>
          <p:cNvPr id="18" name="TextBox 17"/>
          <p:cNvSpPr txBox="1"/>
          <p:nvPr/>
        </p:nvSpPr>
        <p:spPr>
          <a:xfrm>
            <a:off x="7058458" y="4567760"/>
            <a:ext cx="1800173" cy="138499"/>
          </a:xfrm>
          <a:prstGeom prst="rect">
            <a:avLst/>
          </a:prstGeom>
          <a:noFill/>
        </p:spPr>
        <p:txBody>
          <a:bodyPr wrap="square" lIns="0" tIns="0" rIns="0" bIns="0" rtlCol="0">
            <a:spAutoFit/>
          </a:bodyPr>
          <a:lstStyle/>
          <a:p>
            <a:pPr algn="r"/>
            <a:r>
              <a:rPr lang="en-US" sz="900" dirty="0">
                <a:latin typeface="+mj-lt"/>
              </a:rPr>
              <a:t>96 channel DWDM system* </a:t>
            </a:r>
          </a:p>
        </p:txBody>
      </p:sp>
    </p:spTree>
    <p:extLst>
      <p:ext uri="{BB962C8B-B14F-4D97-AF65-F5344CB8AC3E}">
        <p14:creationId xmlns:p14="http://schemas.microsoft.com/office/powerpoint/2010/main" val="20944760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89977167-828E-4A24-B485-117AE2EBB6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92303" y="3035988"/>
            <a:ext cx="1447879" cy="209917"/>
          </a:xfrm>
          <a:prstGeom prst="rect">
            <a:avLst/>
          </a:prstGeom>
        </p:spPr>
      </p:pic>
      <p:sp>
        <p:nvSpPr>
          <p:cNvPr id="37" name="TextBox 36">
            <a:extLst>
              <a:ext uri="{FF2B5EF4-FFF2-40B4-BE49-F238E27FC236}">
                <a16:creationId xmlns:a16="http://schemas.microsoft.com/office/drawing/2014/main" id="{A8FAEC5D-D119-4560-A56B-6F2B22C14F05}"/>
              </a:ext>
            </a:extLst>
          </p:cNvPr>
          <p:cNvSpPr txBox="1"/>
          <p:nvPr/>
        </p:nvSpPr>
        <p:spPr>
          <a:xfrm>
            <a:off x="1700049" y="2779397"/>
            <a:ext cx="1545742" cy="219291"/>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ts val="60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CiscoSansTT ExtraLight"/>
                <a:ea typeface="ＭＳ Ｐゴシック" charset="0"/>
                <a:cs typeface="+mn-cs"/>
              </a:rPr>
              <a:t>NCS 55A2-MOD</a:t>
            </a:r>
          </a:p>
        </p:txBody>
      </p:sp>
      <p:pic>
        <p:nvPicPr>
          <p:cNvPr id="45" name="Picture 44">
            <a:extLst>
              <a:ext uri="{FF2B5EF4-FFF2-40B4-BE49-F238E27FC236}">
                <a16:creationId xmlns:a16="http://schemas.microsoft.com/office/drawing/2014/main" id="{D020D69E-4B2F-4739-ABBE-5FDC9081B55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90388" y="2626888"/>
            <a:ext cx="917332" cy="898442"/>
          </a:xfrm>
          <a:prstGeom prst="rect">
            <a:avLst/>
          </a:prstGeom>
        </p:spPr>
      </p:pic>
      <p:pic>
        <p:nvPicPr>
          <p:cNvPr id="50" name="Picture 49">
            <a:extLst>
              <a:ext uri="{FF2B5EF4-FFF2-40B4-BE49-F238E27FC236}">
                <a16:creationId xmlns:a16="http://schemas.microsoft.com/office/drawing/2014/main" id="{87A26582-70BB-48EE-817F-812149C1AEB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81336" y="3349937"/>
            <a:ext cx="1408065" cy="1152212"/>
          </a:xfrm>
          <a:prstGeom prst="rect">
            <a:avLst/>
          </a:prstGeom>
        </p:spPr>
      </p:pic>
      <p:cxnSp>
        <p:nvCxnSpPr>
          <p:cNvPr id="58" name="Straight Connector 57">
            <a:extLst>
              <a:ext uri="{FF2B5EF4-FFF2-40B4-BE49-F238E27FC236}">
                <a16:creationId xmlns:a16="http://schemas.microsoft.com/office/drawing/2014/main" id="{515355E4-08DE-4EDD-909A-7C838BC69F10}"/>
              </a:ext>
            </a:extLst>
          </p:cNvPr>
          <p:cNvCxnSpPr>
            <a:cxnSpLocks/>
          </p:cNvCxnSpPr>
          <p:nvPr/>
        </p:nvCxnSpPr>
        <p:spPr>
          <a:xfrm flipV="1">
            <a:off x="636357" y="4649769"/>
            <a:ext cx="6020102" cy="1"/>
          </a:xfrm>
          <a:prstGeom prst="line">
            <a:avLst/>
          </a:prstGeom>
          <a:ln w="12700">
            <a:solidFill>
              <a:schemeClr val="accent1"/>
            </a:solidFill>
            <a:headEnd type="oval" w="med" len="med"/>
            <a:tailEnd type="oval" w="med" len="med"/>
          </a:ln>
          <a:effectLst/>
        </p:spPr>
        <p:style>
          <a:lnRef idx="3">
            <a:schemeClr val="accent6"/>
          </a:lnRef>
          <a:fillRef idx="0">
            <a:schemeClr val="accent6"/>
          </a:fillRef>
          <a:effectRef idx="2">
            <a:schemeClr val="accent6"/>
          </a:effectRef>
          <a:fontRef idx="minor">
            <a:schemeClr val="tx1"/>
          </a:fontRef>
        </p:style>
      </p:cxnSp>
      <p:sp>
        <p:nvSpPr>
          <p:cNvPr id="62" name="TextBox 61">
            <a:extLst>
              <a:ext uri="{FF2B5EF4-FFF2-40B4-BE49-F238E27FC236}">
                <a16:creationId xmlns:a16="http://schemas.microsoft.com/office/drawing/2014/main" id="{0C20740A-1B30-4F12-A44C-DE45BA870F2D}"/>
              </a:ext>
            </a:extLst>
          </p:cNvPr>
          <p:cNvSpPr txBox="1"/>
          <p:nvPr/>
        </p:nvSpPr>
        <p:spPr>
          <a:xfrm>
            <a:off x="4186818" y="3433699"/>
            <a:ext cx="1053670" cy="21544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CiscoSansTT ExtraLight"/>
                <a:ea typeface="ＭＳ Ｐゴシック" charset="0"/>
              </a:rPr>
              <a:t>NCS 55xx Family</a:t>
            </a:r>
          </a:p>
        </p:txBody>
      </p:sp>
      <p:sp>
        <p:nvSpPr>
          <p:cNvPr id="63" name="TextBox 62">
            <a:extLst>
              <a:ext uri="{FF2B5EF4-FFF2-40B4-BE49-F238E27FC236}">
                <a16:creationId xmlns:a16="http://schemas.microsoft.com/office/drawing/2014/main" id="{8C27C414-3D4C-45CF-A85A-F57964576C8C}"/>
              </a:ext>
            </a:extLst>
          </p:cNvPr>
          <p:cNvSpPr txBox="1"/>
          <p:nvPr/>
        </p:nvSpPr>
        <p:spPr>
          <a:xfrm>
            <a:off x="3435498" y="2971669"/>
            <a:ext cx="681678" cy="33855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CiscoSansTT ExtraLight"/>
                <a:ea typeface="ＭＳ Ｐゴシック" charset="0"/>
              </a:rPr>
              <a:t>ASR 99xx</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CiscoSansTT ExtraLight"/>
                <a:ea typeface="ＭＳ Ｐゴシック" charset="0"/>
              </a:rPr>
              <a:t>Family</a:t>
            </a:r>
          </a:p>
        </p:txBody>
      </p:sp>
      <p:sp>
        <p:nvSpPr>
          <p:cNvPr id="7" name="Title 6"/>
          <p:cNvSpPr>
            <a:spLocks noGrp="1"/>
          </p:cNvSpPr>
          <p:nvPr>
            <p:ph type="title"/>
          </p:nvPr>
        </p:nvSpPr>
        <p:spPr>
          <a:xfrm>
            <a:off x="173826" y="127512"/>
            <a:ext cx="7886700" cy="551899"/>
          </a:xfrm>
        </p:spPr>
        <p:txBody>
          <a:bodyPr/>
          <a:lstStyle/>
          <a:p>
            <a:r>
              <a:rPr lang="en-US" dirty="0"/>
              <a:t>Optimized IP + Optical Metro Transport</a:t>
            </a:r>
            <a:br>
              <a:rPr lang="en-US" dirty="0"/>
            </a:br>
            <a:r>
              <a:rPr lang="en-US" sz="1800" dirty="0">
                <a:solidFill>
                  <a:schemeClr val="accent1"/>
                </a:solidFill>
              </a:rPr>
              <a:t>Ready &amp; Trusted Hardware Platforms</a:t>
            </a:r>
          </a:p>
        </p:txBody>
      </p:sp>
      <p:grpSp>
        <p:nvGrpSpPr>
          <p:cNvPr id="2" name="Group 1"/>
          <p:cNvGrpSpPr/>
          <p:nvPr/>
        </p:nvGrpSpPr>
        <p:grpSpPr>
          <a:xfrm>
            <a:off x="704850" y="1654064"/>
            <a:ext cx="5951609" cy="1032925"/>
            <a:chOff x="1553559" y="1263539"/>
            <a:chExt cx="5387987" cy="1032925"/>
          </a:xfrm>
        </p:grpSpPr>
        <p:cxnSp>
          <p:nvCxnSpPr>
            <p:cNvPr id="65" name="Straight Connector 64">
              <a:extLst>
                <a:ext uri="{FF2B5EF4-FFF2-40B4-BE49-F238E27FC236}">
                  <a16:creationId xmlns:a16="http://schemas.microsoft.com/office/drawing/2014/main" id="{DAC091F6-11C1-4DBD-8F67-3413F43BC041}"/>
                </a:ext>
              </a:extLst>
            </p:cNvPr>
            <p:cNvCxnSpPr/>
            <p:nvPr/>
          </p:nvCxnSpPr>
          <p:spPr>
            <a:xfrm flipV="1">
              <a:off x="1751877" y="1811996"/>
              <a:ext cx="4333603" cy="1"/>
            </a:xfrm>
            <a:prstGeom prst="line">
              <a:avLst/>
            </a:prstGeom>
            <a:noFill/>
            <a:ln w="12700" cap="rnd" cmpd="sng" algn="ctr">
              <a:solidFill>
                <a:schemeClr val="tx2"/>
              </a:solidFill>
              <a:prstDash val="dash"/>
              <a:headEnd type="none" w="med" len="med"/>
              <a:tailEnd type="none" w="med" len="med"/>
            </a:ln>
            <a:effectLst/>
          </p:spPr>
        </p:cxnSp>
        <p:sp>
          <p:nvSpPr>
            <p:cNvPr id="67" name="TextBox 66">
              <a:extLst>
                <a:ext uri="{FF2B5EF4-FFF2-40B4-BE49-F238E27FC236}">
                  <a16:creationId xmlns:a16="http://schemas.microsoft.com/office/drawing/2014/main" id="{1649EEFF-E83F-4D7C-BF9E-5FBB47BC8413}"/>
                </a:ext>
              </a:extLst>
            </p:cNvPr>
            <p:cNvSpPr txBox="1"/>
            <p:nvPr/>
          </p:nvSpPr>
          <p:spPr>
            <a:xfrm>
              <a:off x="2236966" y="1478345"/>
              <a:ext cx="640986" cy="246221"/>
            </a:xfrm>
            <a:prstGeom prst="rect">
              <a:avLst/>
            </a:prstGeom>
            <a:noFill/>
          </p:spPr>
          <p:txBody>
            <a:bodyPr wrap="square" rtlCol="0">
              <a:spAutoFit/>
            </a:bodyPr>
            <a:lstStyle/>
            <a:p>
              <a:pPr marL="0" marR="0" lvl="0" indent="0" algn="ctr" defTabSz="609207"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39393B"/>
                  </a:solidFill>
                  <a:effectLst/>
                  <a:uLnTx/>
                  <a:uFillTx/>
                  <a:latin typeface="CiscoSansTT ExtraLight"/>
                  <a:ea typeface="ＭＳ Ｐゴシック" pitchFamily="34" charset="-128"/>
                </a:rPr>
                <a:t>Access</a:t>
              </a:r>
            </a:p>
          </p:txBody>
        </p:sp>
        <p:sp>
          <p:nvSpPr>
            <p:cNvPr id="69" name="Oval 68">
              <a:extLst>
                <a:ext uri="{FF2B5EF4-FFF2-40B4-BE49-F238E27FC236}">
                  <a16:creationId xmlns:a16="http://schemas.microsoft.com/office/drawing/2014/main" id="{E4824B35-9971-4057-8FFF-02A0A5769BD3}"/>
                </a:ext>
              </a:extLst>
            </p:cNvPr>
            <p:cNvSpPr/>
            <p:nvPr/>
          </p:nvSpPr>
          <p:spPr>
            <a:xfrm>
              <a:off x="2411644" y="1734167"/>
              <a:ext cx="163592" cy="163505"/>
            </a:xfrm>
            <a:prstGeom prst="ellipse">
              <a:avLst/>
            </a:prstGeom>
            <a:solidFill>
              <a:schemeClr val="bg1"/>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marL="0" marR="0" lvl="0" indent="0" algn="ctr" defTabSz="609207"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0" name="Oval 69">
              <a:extLst>
                <a:ext uri="{FF2B5EF4-FFF2-40B4-BE49-F238E27FC236}">
                  <a16:creationId xmlns:a16="http://schemas.microsoft.com/office/drawing/2014/main" id="{F1A55ECB-7613-4B19-AA48-767C832B3A37}"/>
                </a:ext>
              </a:extLst>
            </p:cNvPr>
            <p:cNvSpPr/>
            <p:nvPr/>
          </p:nvSpPr>
          <p:spPr>
            <a:xfrm>
              <a:off x="3111115" y="1733623"/>
              <a:ext cx="164592" cy="164592"/>
            </a:xfrm>
            <a:prstGeom prst="ellipse">
              <a:avLst/>
            </a:prstGeom>
            <a:solidFill>
              <a:schemeClr val="bg1"/>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marL="0" marR="0" lvl="0" indent="0" algn="ctr" defTabSz="609207"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1" name="Oval 70">
              <a:extLst>
                <a:ext uri="{FF2B5EF4-FFF2-40B4-BE49-F238E27FC236}">
                  <a16:creationId xmlns:a16="http://schemas.microsoft.com/office/drawing/2014/main" id="{AE150B1F-0CCA-4513-88CC-CEB549E475E3}"/>
                </a:ext>
              </a:extLst>
            </p:cNvPr>
            <p:cNvSpPr/>
            <p:nvPr/>
          </p:nvSpPr>
          <p:spPr>
            <a:xfrm>
              <a:off x="4251878" y="1733623"/>
              <a:ext cx="164592" cy="164592"/>
            </a:xfrm>
            <a:prstGeom prst="ellipse">
              <a:avLst/>
            </a:prstGeom>
            <a:solidFill>
              <a:schemeClr val="bg1"/>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marL="0" marR="0" lvl="0" indent="0" algn="ctr" defTabSz="609207"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CiscoSansTT ExtraLight"/>
                <a:ea typeface="+mn-ea"/>
                <a:cs typeface="+mn-cs"/>
              </a:endParaRPr>
            </a:p>
          </p:txBody>
        </p:sp>
        <p:pic>
          <p:nvPicPr>
            <p:cNvPr id="72" name="Picture 7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553559" y="1571423"/>
              <a:ext cx="466206" cy="466206"/>
            </a:xfrm>
            <a:prstGeom prst="rect">
              <a:avLst/>
            </a:prstGeom>
          </p:spPr>
        </p:pic>
        <p:grpSp>
          <p:nvGrpSpPr>
            <p:cNvPr id="74" name="Group 73"/>
            <p:cNvGrpSpPr>
              <a:grpSpLocks noChangeAspect="1"/>
            </p:cNvGrpSpPr>
            <p:nvPr/>
          </p:nvGrpSpPr>
          <p:grpSpPr>
            <a:xfrm>
              <a:off x="4979710" y="1460247"/>
              <a:ext cx="1119596" cy="554602"/>
              <a:chOff x="836085" y="1496592"/>
              <a:chExt cx="538984" cy="266991"/>
            </a:xfrm>
          </p:grpSpPr>
          <p:sp>
            <p:nvSpPr>
              <p:cNvPr id="76" name="Freeform 751"/>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7" name="Freeform 752"/>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8" name="Freeform 753"/>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75" name="Rectangle 74"/>
            <p:cNvSpPr/>
            <p:nvPr/>
          </p:nvSpPr>
          <p:spPr>
            <a:xfrm>
              <a:off x="5265383" y="1611691"/>
              <a:ext cx="693521" cy="400110"/>
            </a:xfrm>
            <a:prstGeom prst="rect">
              <a:avLst/>
            </a:prstGeom>
          </p:spPr>
          <p:txBody>
            <a:bodyPr wrap="square">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005073"/>
                  </a:solidFill>
                  <a:effectLst/>
                  <a:uLnTx/>
                  <a:uFillTx/>
                  <a:latin typeface="CiscoSansTT ExtraLight"/>
                  <a:ea typeface="Apple LiGothic Medium"/>
                  <a:cs typeface="Apple LiGothic Medium"/>
                </a:rPr>
                <a:t>Core Network</a:t>
              </a:r>
            </a:p>
          </p:txBody>
        </p:sp>
        <p:cxnSp>
          <p:nvCxnSpPr>
            <p:cNvPr id="80" name="Straight Connector 79">
              <a:extLst>
                <a:ext uri="{FF2B5EF4-FFF2-40B4-BE49-F238E27FC236}">
                  <a16:creationId xmlns:a16="http://schemas.microsoft.com/office/drawing/2014/main" id="{DAC091F6-11C1-4DBD-8F67-3413F43BC041}"/>
                </a:ext>
              </a:extLst>
            </p:cNvPr>
            <p:cNvCxnSpPr>
              <a:cxnSpLocks/>
            </p:cNvCxnSpPr>
            <p:nvPr/>
          </p:nvCxnSpPr>
          <p:spPr>
            <a:xfrm>
              <a:off x="6115511" y="1809802"/>
              <a:ext cx="505080" cy="250083"/>
            </a:xfrm>
            <a:prstGeom prst="line">
              <a:avLst/>
            </a:prstGeom>
            <a:noFill/>
            <a:ln w="12700" cap="rnd" cmpd="sng" algn="ctr">
              <a:solidFill>
                <a:schemeClr val="tx2"/>
              </a:solidFill>
              <a:prstDash val="dash"/>
              <a:headEnd type="none" w="med" len="med"/>
              <a:tailEnd type="none" w="med" len="med"/>
            </a:ln>
            <a:effectLst/>
          </p:spPr>
        </p:cxnSp>
        <p:cxnSp>
          <p:nvCxnSpPr>
            <p:cNvPr id="81" name="Straight Connector 80">
              <a:extLst>
                <a:ext uri="{FF2B5EF4-FFF2-40B4-BE49-F238E27FC236}">
                  <a16:creationId xmlns:a16="http://schemas.microsoft.com/office/drawing/2014/main" id="{DAC091F6-11C1-4DBD-8F67-3413F43BC041}"/>
                </a:ext>
              </a:extLst>
            </p:cNvPr>
            <p:cNvCxnSpPr>
              <a:cxnSpLocks/>
            </p:cNvCxnSpPr>
            <p:nvPr/>
          </p:nvCxnSpPr>
          <p:spPr>
            <a:xfrm flipV="1">
              <a:off x="6135790" y="1486371"/>
              <a:ext cx="521830" cy="311061"/>
            </a:xfrm>
            <a:prstGeom prst="line">
              <a:avLst/>
            </a:prstGeom>
            <a:noFill/>
            <a:ln w="12700" cap="rnd" cmpd="sng" algn="ctr">
              <a:solidFill>
                <a:schemeClr val="tx2"/>
              </a:solidFill>
              <a:prstDash val="dash"/>
              <a:headEnd type="none" w="med" len="med"/>
              <a:tailEnd type="none" w="med" len="med"/>
            </a:ln>
            <a:effectLst/>
          </p:spPr>
        </p:cxnSp>
        <p:pic>
          <p:nvPicPr>
            <p:cNvPr id="141" name="Picture 140">
              <a:extLst>
                <a:ext uri="{FF2B5EF4-FFF2-40B4-BE49-F238E27FC236}">
                  <a16:creationId xmlns:a16="http://schemas.microsoft.com/office/drawing/2014/main" id="{9BF80DDF-84DA-4F7A-B076-C1495B9FDDA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480189" y="1263539"/>
              <a:ext cx="461357" cy="470921"/>
            </a:xfrm>
            <a:prstGeom prst="rect">
              <a:avLst/>
            </a:prstGeom>
          </p:spPr>
        </p:pic>
        <p:pic>
          <p:nvPicPr>
            <p:cNvPr id="73" name="Picture 72"/>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480189" y="1835514"/>
              <a:ext cx="460950" cy="460950"/>
            </a:xfrm>
            <a:prstGeom prst="rect">
              <a:avLst/>
            </a:prstGeom>
          </p:spPr>
        </p:pic>
      </p:grpSp>
      <p:sp>
        <p:nvSpPr>
          <p:cNvPr id="84" name="Rounded Rectangle 83"/>
          <p:cNvSpPr/>
          <p:nvPr/>
        </p:nvSpPr>
        <p:spPr>
          <a:xfrm>
            <a:off x="1887670" y="2365607"/>
            <a:ext cx="1273731" cy="241378"/>
          </a:xfrm>
          <a:prstGeom prst="roundRect">
            <a:avLst>
              <a:gd name="adj" fmla="val 50000"/>
            </a:avLst>
          </a:prstGeom>
          <a:solidFill>
            <a:srgbClr val="00507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Pre Aggregation</a:t>
            </a:r>
          </a:p>
        </p:txBody>
      </p:sp>
      <p:sp>
        <p:nvSpPr>
          <p:cNvPr id="85" name="Rounded Rectangle 84"/>
          <p:cNvSpPr/>
          <p:nvPr/>
        </p:nvSpPr>
        <p:spPr>
          <a:xfrm>
            <a:off x="3418109" y="2373022"/>
            <a:ext cx="1052670" cy="241378"/>
          </a:xfrm>
          <a:prstGeom prst="roundRect">
            <a:avLst>
              <a:gd name="adj" fmla="val 50000"/>
            </a:avLst>
          </a:prstGeom>
          <a:solidFill>
            <a:srgbClr val="00507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Aggregation</a:t>
            </a:r>
          </a:p>
        </p:txBody>
      </p:sp>
      <p:sp>
        <p:nvSpPr>
          <p:cNvPr id="14" name="TextBox 13"/>
          <p:cNvSpPr txBox="1"/>
          <p:nvPr/>
        </p:nvSpPr>
        <p:spPr>
          <a:xfrm>
            <a:off x="3639187" y="4526659"/>
            <a:ext cx="1436611" cy="246221"/>
          </a:xfrm>
          <a:prstGeom prst="rect">
            <a:avLst/>
          </a:prstGeom>
          <a:solidFill>
            <a:schemeClr val="bg2"/>
          </a:solid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BCEB"/>
                </a:solidFill>
                <a:effectLst/>
                <a:uLnTx/>
                <a:uFillTx/>
                <a:latin typeface="CiscoSansTT" panose="020B0503020201020303" pitchFamily="34" charset="0"/>
                <a:ea typeface="ＭＳ Ｐゴシック" charset="0"/>
                <a:cs typeface="CiscoSansTT" panose="020B0503020201020303" pitchFamily="34" charset="0"/>
              </a:rPr>
              <a:t>IOS-XR End to End  </a:t>
            </a:r>
          </a:p>
        </p:txBody>
      </p:sp>
      <p:grpSp>
        <p:nvGrpSpPr>
          <p:cNvPr id="8" name="Group 7"/>
          <p:cNvGrpSpPr/>
          <p:nvPr/>
        </p:nvGrpSpPr>
        <p:grpSpPr>
          <a:xfrm>
            <a:off x="7015074" y="1868870"/>
            <a:ext cx="2128925" cy="1051286"/>
            <a:chOff x="7015074" y="1086048"/>
            <a:chExt cx="2128925" cy="1051286"/>
          </a:xfrm>
        </p:grpSpPr>
        <p:sp>
          <p:nvSpPr>
            <p:cNvPr id="17" name="Round Same Side Corner Rectangle 16"/>
            <p:cNvSpPr/>
            <p:nvPr/>
          </p:nvSpPr>
          <p:spPr>
            <a:xfrm rot="16200000">
              <a:off x="7553894" y="547228"/>
              <a:ext cx="1051286" cy="2128925"/>
            </a:xfrm>
            <a:prstGeom prst="round2SameRect">
              <a:avLst>
                <a:gd name="adj1" fmla="val 50000"/>
                <a:gd name="adj2" fmla="val 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 name="Rectangle 3">
              <a:extLst>
                <a:ext uri="{FF2B5EF4-FFF2-40B4-BE49-F238E27FC236}">
                  <a16:creationId xmlns:a16="http://schemas.microsoft.com/office/drawing/2014/main" id="{460DFEC4-1584-4C10-98D7-7C6DAF6713D8}"/>
                </a:ext>
              </a:extLst>
            </p:cNvPr>
            <p:cNvSpPr/>
            <p:nvPr/>
          </p:nvSpPr>
          <p:spPr>
            <a:xfrm>
              <a:off x="7201591" y="1257747"/>
              <a:ext cx="1931504" cy="707886"/>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5073"/>
                  </a:solidFill>
                  <a:effectLst/>
                  <a:uLnTx/>
                  <a:uFillTx/>
                  <a:latin typeface="CiscoSansTT ExtraLight"/>
                  <a:ea typeface="ＭＳ Ｐゴシック" charset="0"/>
                </a:rPr>
                <a:t>More details on the platforms:</a:t>
              </a:r>
            </a:p>
            <a:p>
              <a:pPr marL="115888" marR="0" lvl="0" indent="-11588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ExtraLight"/>
                  <a:ea typeface="ＭＳ Ｐゴシック" charset="0"/>
                  <a:hlinkClick r:id="rId8"/>
                </a:rPr>
                <a:t>NCS55x</a:t>
              </a:r>
              <a:endParaRPr kumimoji="0" lang="en-US" sz="1000" b="0" i="0" u="none" strike="noStrike" kern="1200" cap="none" spc="0" normalizeH="0" baseline="0" noProof="0" dirty="0">
                <a:ln>
                  <a:noFill/>
                </a:ln>
                <a:solidFill>
                  <a:srgbClr val="005073"/>
                </a:solidFill>
                <a:effectLst/>
                <a:uLnTx/>
                <a:uFillTx/>
                <a:latin typeface="CiscoSansTT ExtraLight"/>
                <a:ea typeface="ＭＳ Ｐゴシック" charset="0"/>
              </a:endParaRPr>
            </a:p>
            <a:p>
              <a:pPr marL="115888" marR="0" lvl="0" indent="-11588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ExtraLight"/>
                  <a:ea typeface="ＭＳ Ｐゴシック" charset="0"/>
                  <a:hlinkClick r:id="rId9"/>
                </a:rPr>
                <a:t>NCS55xx</a:t>
              </a:r>
              <a:endParaRPr kumimoji="0" lang="en-US" sz="1000" b="0" i="0" u="none" strike="noStrike" kern="1200" cap="none" spc="0" normalizeH="0" baseline="0" noProof="0" dirty="0">
                <a:ln>
                  <a:noFill/>
                </a:ln>
                <a:solidFill>
                  <a:srgbClr val="005073"/>
                </a:solidFill>
                <a:effectLst/>
                <a:uLnTx/>
                <a:uFillTx/>
                <a:latin typeface="CiscoSansTT ExtraLight"/>
                <a:ea typeface="ＭＳ Ｐゴシック" charset="0"/>
              </a:endParaRPr>
            </a:p>
            <a:p>
              <a:pPr marL="115888" marR="0" lvl="0" indent="-11588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073"/>
                  </a:solidFill>
                  <a:effectLst/>
                  <a:uLnTx/>
                  <a:uFillTx/>
                  <a:latin typeface="CiscoSansTT ExtraLight"/>
                  <a:ea typeface="ＭＳ Ｐゴシック" charset="0"/>
                  <a:hlinkClick r:id="rId9"/>
                </a:rPr>
                <a:t>ASR9k</a:t>
              </a:r>
              <a:endParaRPr kumimoji="0" lang="en-US" sz="1000" b="0" i="0" u="none" strike="noStrike" kern="1200" cap="none" spc="0" normalizeH="0" baseline="0" noProof="0" dirty="0">
                <a:ln>
                  <a:noFill/>
                </a:ln>
                <a:solidFill>
                  <a:srgbClr val="005073"/>
                </a:solidFill>
                <a:effectLst/>
                <a:uLnTx/>
                <a:uFillTx/>
                <a:latin typeface="CiscoSansTT ExtraLight"/>
                <a:ea typeface="ＭＳ Ｐゴシック" charset="0"/>
              </a:endParaRPr>
            </a:p>
          </p:txBody>
        </p:sp>
      </p:grpSp>
    </p:spTree>
    <p:extLst>
      <p:ext uri="{BB962C8B-B14F-4D97-AF65-F5344CB8AC3E}">
        <p14:creationId xmlns:p14="http://schemas.microsoft.com/office/powerpoint/2010/main" val="102606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Placeholder 6">
            <a:extLst>
              <a:ext uri="{FF2B5EF4-FFF2-40B4-BE49-F238E27FC236}">
                <a16:creationId xmlns:a16="http://schemas.microsoft.com/office/drawing/2014/main" id="{C4EDFB60-99E4-8C4E-AF82-A318EB01A09D}"/>
              </a:ext>
            </a:extLst>
          </p:cNvPr>
          <p:cNvGraphicFramePr>
            <a:graphicFrameLocks/>
          </p:cNvGraphicFramePr>
          <p:nvPr/>
        </p:nvGraphicFramePr>
        <p:xfrm>
          <a:off x="211284" y="1187599"/>
          <a:ext cx="8732691" cy="2389004"/>
        </p:xfrm>
        <a:graphic>
          <a:graphicData uri="http://schemas.openxmlformats.org/drawingml/2006/table">
            <a:tbl>
              <a:tblPr firstRow="1" bandRow="1">
                <a:tableStyleId>{3B4B98B0-60AC-42C2-AFA5-B58CD77FA1E5}</a:tableStyleId>
              </a:tblPr>
              <a:tblGrid>
                <a:gridCol w="2910897">
                  <a:extLst>
                    <a:ext uri="{9D8B030D-6E8A-4147-A177-3AD203B41FA5}">
                      <a16:colId xmlns:a16="http://schemas.microsoft.com/office/drawing/2014/main" val="1408566945"/>
                    </a:ext>
                  </a:extLst>
                </a:gridCol>
                <a:gridCol w="2910897">
                  <a:extLst>
                    <a:ext uri="{9D8B030D-6E8A-4147-A177-3AD203B41FA5}">
                      <a16:colId xmlns:a16="http://schemas.microsoft.com/office/drawing/2014/main" val="2972872527"/>
                    </a:ext>
                  </a:extLst>
                </a:gridCol>
                <a:gridCol w="2910897">
                  <a:extLst>
                    <a:ext uri="{9D8B030D-6E8A-4147-A177-3AD203B41FA5}">
                      <a16:colId xmlns:a16="http://schemas.microsoft.com/office/drawing/2014/main" val="704739698"/>
                    </a:ext>
                  </a:extLst>
                </a:gridCol>
              </a:tblGrid>
              <a:tr h="388064">
                <a:tc>
                  <a:txBody>
                    <a:bodyPr/>
                    <a:lstStyle/>
                    <a:p>
                      <a:r>
                        <a:rPr lang="en-US" sz="1200" dirty="0">
                          <a:solidFill>
                            <a:schemeClr val="accent1"/>
                          </a:solidFill>
                        </a:rPr>
                        <a:t>Chassis/Router</a:t>
                      </a:r>
                    </a:p>
                  </a:txBody>
                  <a:tcPr marL="121920" marR="121920" marT="60960" marB="60960" anchor="ctr">
                    <a:lnB w="12700" cmpd="sng">
                      <a:noFill/>
                    </a:lnB>
                  </a:tcPr>
                </a:tc>
                <a:tc>
                  <a:txBody>
                    <a:bodyPr/>
                    <a:lstStyle/>
                    <a:p>
                      <a:r>
                        <a:rPr lang="en-US" sz="1200" dirty="0">
                          <a:solidFill>
                            <a:schemeClr val="accent1"/>
                          </a:solidFill>
                        </a:rPr>
                        <a:t>Line-cards</a:t>
                      </a:r>
                    </a:p>
                  </a:txBody>
                  <a:tcPr marL="121920" marR="121920" marT="60960" marB="60960" anchor="ctr">
                    <a:lnB w="12700" cmpd="sng">
                      <a:noFill/>
                    </a:lnB>
                  </a:tcPr>
                </a:tc>
                <a:tc>
                  <a:txBody>
                    <a:bodyPr/>
                    <a:lstStyle/>
                    <a:p>
                      <a:r>
                        <a:rPr lang="en-US" sz="1200" dirty="0">
                          <a:solidFill>
                            <a:schemeClr val="accent1"/>
                          </a:solidFill>
                        </a:rPr>
                        <a:t>Modular Port Adaptor (MPA)</a:t>
                      </a:r>
                    </a:p>
                  </a:txBody>
                  <a:tcPr marL="121920" marR="121920" marT="60960" marB="60960" anchor="ctr">
                    <a:lnB w="12700" cmpd="sng">
                      <a:noFill/>
                    </a:lnB>
                  </a:tcPr>
                </a:tc>
                <a:extLst>
                  <a:ext uri="{0D108BD9-81ED-4DB2-BD59-A6C34878D82A}">
                    <a16:rowId xmlns:a16="http://schemas.microsoft.com/office/drawing/2014/main" val="936312548"/>
                  </a:ext>
                </a:extLst>
              </a:tr>
              <a:tr h="626802">
                <a:tc>
                  <a:txBody>
                    <a:bodyPr/>
                    <a:lstStyle/>
                    <a:p>
                      <a:pPr algn="l"/>
                      <a:r>
                        <a:rPr lang="en-US" sz="1050" kern="1200" dirty="0">
                          <a:solidFill>
                            <a:schemeClr val="bg1"/>
                          </a:solidFill>
                          <a:effectLst/>
                          <a:latin typeface="+mn-lt"/>
                          <a:ea typeface="+mn-ea"/>
                          <a:cs typeface="+mn-cs"/>
                        </a:rPr>
                        <a:t>Cisco ASR9000/9900 Router Chassis</a:t>
                      </a:r>
                    </a:p>
                    <a:p>
                      <a:pPr algn="l"/>
                      <a:r>
                        <a:rPr lang="en-US" sz="1050" kern="1200" dirty="0">
                          <a:solidFill>
                            <a:schemeClr val="bg1"/>
                          </a:solidFill>
                          <a:effectLst/>
                          <a:latin typeface="+mn-lt"/>
                          <a:ea typeface="+mn-ea"/>
                          <a:cs typeface="+mn-cs"/>
                        </a:rPr>
                        <a:t>(2, 4, 8, 10, &amp; 20 LC slot variants) </a:t>
                      </a:r>
                      <a:endParaRPr lang="en-GB" sz="1050" kern="1200" dirty="0">
                        <a:solidFill>
                          <a:schemeClr val="bg1"/>
                        </a:solidFill>
                        <a:effectLst/>
                        <a:latin typeface="+mn-lt"/>
                        <a:ea typeface="+mn-ea"/>
                        <a:cs typeface="+mn-cs"/>
                      </a:endParaRPr>
                    </a:p>
                  </a:txBody>
                  <a:tcPr marL="121920" marR="121920" marT="96000" marB="96000" anchor="ctr">
                    <a:lnR w="12700" cap="flat" cmpd="sng" algn="ctr">
                      <a:solidFill>
                        <a:schemeClr val="bg2"/>
                      </a:solidFill>
                      <a:prstDash val="solid"/>
                      <a:round/>
                      <a:headEnd type="none" w="med" len="med"/>
                      <a:tailEnd type="none" w="med" len="med"/>
                    </a:lnR>
                    <a:lnT w="12700" cmpd="sng">
                      <a:noFill/>
                    </a:lnT>
                    <a:solidFill>
                      <a:schemeClr val="accent1">
                        <a:alpha val="10000"/>
                      </a:schemeClr>
                    </a:solidFill>
                  </a:tcPr>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A9K-MOD-400 and A9K-MOD-200 SE &amp; TR line cards</a:t>
                      </a:r>
                      <a:endParaRPr lang="en-GB" sz="1050" kern="1200" dirty="0">
                        <a:solidFill>
                          <a:schemeClr val="bg1"/>
                        </a:solidFill>
                        <a:effectLst/>
                        <a:latin typeface="+mn-lt"/>
                        <a:ea typeface="+mn-ea"/>
                        <a:cs typeface="+mn-cs"/>
                      </a:endParaRPr>
                    </a:p>
                  </a:txBody>
                  <a:tcPr marL="121920" marR="121920" marT="96000" marB="9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solidFill>
                      <a:schemeClr val="accent1">
                        <a:alpha val="10000"/>
                      </a:schemeClr>
                    </a:solidFill>
                  </a:tcPr>
                </a:tc>
                <a:tc>
                  <a:txBody>
                    <a:bodyPr/>
                    <a:lstStyle/>
                    <a:p>
                      <a:pPr marL="285750" lvl="0" indent="-285750" algn="l">
                        <a:buFont typeface="Arial" panose="020B0604020202020204" pitchFamily="34" charset="0"/>
                        <a:buChar char="•"/>
                      </a:pPr>
                      <a:r>
                        <a:rPr lang="en-US" sz="1050" kern="1200" dirty="0">
                          <a:solidFill>
                            <a:schemeClr val="bg1"/>
                          </a:solidFill>
                          <a:effectLst/>
                          <a:latin typeface="+mn-lt"/>
                          <a:ea typeface="+mn-ea"/>
                          <a:cs typeface="+mn-cs"/>
                        </a:rPr>
                        <a:t>2 ports of 100GE CFP2 </a:t>
                      </a:r>
                    </a:p>
                    <a:p>
                      <a:pPr marL="285750" lvl="0" indent="-285750" algn="l">
                        <a:buFont typeface="Arial" panose="020B0604020202020204" pitchFamily="34" charset="0"/>
                        <a:buChar char="•"/>
                      </a:pPr>
                      <a:r>
                        <a:rPr lang="en-US" sz="1050" kern="1200" dirty="0">
                          <a:solidFill>
                            <a:schemeClr val="bg1"/>
                          </a:solidFill>
                          <a:effectLst/>
                          <a:latin typeface="+mn-lt"/>
                          <a:ea typeface="+mn-ea"/>
                          <a:cs typeface="+mn-cs"/>
                        </a:rPr>
                        <a:t>1 port of 100GE CFP2 </a:t>
                      </a:r>
                    </a:p>
                    <a:p>
                      <a:pPr marL="285750" indent="-285750" algn="l">
                        <a:buFont typeface="Arial" panose="020B0604020202020204" pitchFamily="34" charset="0"/>
                        <a:buChar char="•"/>
                      </a:pPr>
                      <a:r>
                        <a:rPr lang="en-US" sz="1050" kern="1200" dirty="0">
                          <a:solidFill>
                            <a:schemeClr val="bg1"/>
                          </a:solidFill>
                          <a:effectLst/>
                          <a:latin typeface="+mn-lt"/>
                          <a:ea typeface="+mn-ea"/>
                          <a:cs typeface="+mn-cs"/>
                        </a:rPr>
                        <a:t>1 port of 200GE CFP2 </a:t>
                      </a:r>
                      <a:endParaRPr lang="en-GB" sz="1050" kern="1200" dirty="0">
                        <a:solidFill>
                          <a:schemeClr val="bg1"/>
                        </a:solidFill>
                        <a:effectLst/>
                        <a:latin typeface="+mn-lt"/>
                        <a:ea typeface="+mn-ea"/>
                        <a:cs typeface="+mn-cs"/>
                      </a:endParaRPr>
                    </a:p>
                  </a:txBody>
                  <a:tcPr marL="121920" marR="121920" marT="96000" marB="96000" anchor="ctr">
                    <a:lnL w="12700" cap="flat" cmpd="sng" algn="ctr">
                      <a:solidFill>
                        <a:schemeClr val="bg2"/>
                      </a:solidFill>
                      <a:prstDash val="solid"/>
                      <a:round/>
                      <a:headEnd type="none" w="med" len="med"/>
                      <a:tailEnd type="none" w="med" len="med"/>
                    </a:lnL>
                    <a:lnT w="12700" cmpd="sng">
                      <a:noFill/>
                    </a:lnT>
                    <a:solidFill>
                      <a:schemeClr val="accent1">
                        <a:alpha val="10000"/>
                      </a:schemeClr>
                    </a:solidFill>
                  </a:tcPr>
                </a:tc>
                <a:extLst>
                  <a:ext uri="{0D108BD9-81ED-4DB2-BD59-A6C34878D82A}">
                    <a16:rowId xmlns:a16="http://schemas.microsoft.com/office/drawing/2014/main" val="4086587024"/>
                  </a:ext>
                </a:extLst>
              </a:tr>
              <a:tr h="477558">
                <a:tc>
                  <a:txBody>
                    <a:bodyPr/>
                    <a:lstStyle/>
                    <a:p>
                      <a:pPr algn="l"/>
                      <a:r>
                        <a:rPr lang="en-US" sz="1050" kern="1200" dirty="0">
                          <a:solidFill>
                            <a:schemeClr val="bg1"/>
                          </a:solidFill>
                          <a:effectLst/>
                          <a:latin typeface="+mn-lt"/>
                          <a:ea typeface="+mn-ea"/>
                          <a:cs typeface="+mn-cs"/>
                        </a:rPr>
                        <a:t>Cisco NCS5500</a:t>
                      </a:r>
                      <a:r>
                        <a:rPr lang="en-US" sz="1050" kern="1200" baseline="0" dirty="0">
                          <a:solidFill>
                            <a:schemeClr val="bg1"/>
                          </a:solidFill>
                          <a:effectLst/>
                          <a:latin typeface="+mn-lt"/>
                          <a:ea typeface="+mn-ea"/>
                          <a:cs typeface="+mn-cs"/>
                        </a:rPr>
                        <a:t> Router Chassis</a:t>
                      </a:r>
                      <a:endParaRPr lang="en-US" sz="1050" kern="1200" dirty="0">
                        <a:solidFill>
                          <a:schemeClr val="bg1"/>
                        </a:solidFill>
                        <a:effectLst/>
                        <a:latin typeface="+mn-lt"/>
                        <a:ea typeface="+mn-ea"/>
                        <a:cs typeface="+mn-cs"/>
                      </a:endParaRPr>
                    </a:p>
                    <a:p>
                      <a:pPr algn="l"/>
                      <a:r>
                        <a:rPr lang="en-US" sz="1050" kern="1200" dirty="0">
                          <a:solidFill>
                            <a:schemeClr val="bg1"/>
                          </a:solidFill>
                          <a:effectLst/>
                          <a:latin typeface="+mn-lt"/>
                          <a:ea typeface="+mn-ea"/>
                          <a:cs typeface="+mn-cs"/>
                        </a:rPr>
                        <a:t>(4, 8 &amp; 16 LC slot variants)</a:t>
                      </a:r>
                      <a:endParaRPr lang="en-GB" sz="1050" kern="1200" dirty="0">
                        <a:solidFill>
                          <a:schemeClr val="bg1"/>
                        </a:solidFill>
                        <a:effectLst/>
                        <a:latin typeface="+mn-lt"/>
                        <a:ea typeface="+mn-ea"/>
                        <a:cs typeface="+mn-cs"/>
                      </a:endParaRPr>
                    </a:p>
                  </a:txBody>
                  <a:tcPr marL="121920" marR="121920" marT="96000" marB="96000" anchor="ctr">
                    <a:lnR>
                      <a:noFill/>
                    </a:lnR>
                  </a:tcPr>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NC55-MOD-A-BM line card and CFP2 MPA</a:t>
                      </a:r>
                      <a:endParaRPr lang="en-GB" sz="1050" kern="1200" dirty="0">
                        <a:solidFill>
                          <a:schemeClr val="bg1"/>
                        </a:solidFill>
                        <a:effectLst/>
                        <a:latin typeface="+mn-lt"/>
                        <a:ea typeface="+mn-ea"/>
                        <a:cs typeface="+mn-cs"/>
                      </a:endParaRPr>
                    </a:p>
                  </a:txBody>
                  <a:tcPr marL="121920" marR="121920" marT="96000" marB="96000" anchor="ctr">
                    <a:lnL>
                      <a:noFill/>
                    </a:lnL>
                    <a:lnR>
                      <a:noFill/>
                    </a:lnR>
                  </a:tcPr>
                </a:tc>
                <a:tc rowSpan="2">
                  <a:txBody>
                    <a:bodyPr/>
                    <a:lstStyle/>
                    <a:p>
                      <a:pPr marL="285750" lvl="0" indent="-285750" algn="l">
                        <a:buFont typeface="Arial" panose="020B0604020202020204" pitchFamily="34" charset="0"/>
                        <a:buChar char="•"/>
                      </a:pPr>
                      <a:r>
                        <a:rPr lang="en-US" sz="1050" kern="1200" dirty="0">
                          <a:solidFill>
                            <a:schemeClr val="bg1"/>
                          </a:solidFill>
                          <a:effectLst/>
                          <a:latin typeface="+mn-lt"/>
                          <a:ea typeface="+mn-ea"/>
                          <a:cs typeface="+mn-cs"/>
                        </a:rPr>
                        <a:t>2 ports of CFP2</a:t>
                      </a:r>
                    </a:p>
                    <a:p>
                      <a:pPr marL="285750" indent="-285750" algn="l">
                        <a:buFont typeface="Arial" panose="020B0604020202020204" pitchFamily="34" charset="0"/>
                        <a:buChar char="•"/>
                      </a:pPr>
                      <a:r>
                        <a:rPr lang="en-US" sz="1050" kern="1200" dirty="0">
                          <a:solidFill>
                            <a:schemeClr val="bg1"/>
                          </a:solidFill>
                          <a:effectLst/>
                          <a:latin typeface="+mn-lt"/>
                          <a:ea typeface="+mn-ea"/>
                          <a:cs typeface="+mn-cs"/>
                        </a:rPr>
                        <a:t>1 port of CFP2 + </a:t>
                      </a:r>
                      <a:r>
                        <a:rPr lang="de-DE" sz="1050" kern="1200" dirty="0">
                          <a:solidFill>
                            <a:schemeClr val="bg1"/>
                          </a:solidFill>
                          <a:effectLst/>
                          <a:latin typeface="+mn-lt"/>
                          <a:ea typeface="+mn-ea"/>
                          <a:cs typeface="+mn-cs"/>
                        </a:rPr>
                        <a:t>2 ports of QSFP28 (4x10G/40G/100G)</a:t>
                      </a:r>
                      <a:endParaRPr lang="en-GB" sz="1050" kern="1200" dirty="0">
                        <a:solidFill>
                          <a:schemeClr val="bg1"/>
                        </a:solidFill>
                        <a:effectLst/>
                        <a:latin typeface="+mn-lt"/>
                        <a:ea typeface="+mn-ea"/>
                        <a:cs typeface="+mn-cs"/>
                      </a:endParaRPr>
                    </a:p>
                  </a:txBody>
                  <a:tcPr marL="121920" marR="121920" marT="96000" marB="96000" anchor="ctr">
                    <a:lnL>
                      <a:noFill/>
                    </a:lnL>
                  </a:tcPr>
                </a:tc>
                <a:extLst>
                  <a:ext uri="{0D108BD9-81ED-4DB2-BD59-A6C34878D82A}">
                    <a16:rowId xmlns:a16="http://schemas.microsoft.com/office/drawing/2014/main" val="2505730199"/>
                  </a:ext>
                </a:extLst>
              </a:tr>
              <a:tr h="761832">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Fixed form factor Cisco NCS-55A2-MOD with CFP2 MPA</a:t>
                      </a:r>
                    </a:p>
                    <a:p>
                      <a:pPr marL="0" marR="0" lvl="0" indent="0" algn="l" defTabSz="685777" rtl="0" eaLnBrk="1" fontAlgn="auto" latinLnBrk="0" hangingPunct="1">
                        <a:lnSpc>
                          <a:spcPct val="100000"/>
                        </a:lnSpc>
                        <a:spcBef>
                          <a:spcPts val="0"/>
                        </a:spcBef>
                        <a:spcAft>
                          <a:spcPts val="0"/>
                        </a:spcAft>
                        <a:buClrTx/>
                        <a:buSzTx/>
                        <a:buFontTx/>
                        <a:buNone/>
                        <a:tabLst/>
                        <a:defRPr/>
                      </a:pPr>
                      <a:r>
                        <a:rPr lang="en-US" sz="1000" u="sng" kern="1200" dirty="0">
                          <a:solidFill>
                            <a:schemeClr val="bg1"/>
                          </a:solidFill>
                          <a:effectLst/>
                          <a:latin typeface="+mn-lt"/>
                          <a:ea typeface="+mn-ea"/>
                          <a:cs typeface="+mn-cs"/>
                        </a:rPr>
                        <a:t>Note - Temp. Hardened &amp; Conformal Coated SE/Non-SE variants</a:t>
                      </a:r>
                      <a:r>
                        <a:rPr lang="en-US" sz="1000" u="sng" kern="1200" baseline="0" dirty="0">
                          <a:solidFill>
                            <a:schemeClr val="bg1"/>
                          </a:solidFill>
                          <a:effectLst/>
                          <a:latin typeface="+mn-lt"/>
                          <a:ea typeface="+mn-ea"/>
                          <a:cs typeface="+mn-cs"/>
                        </a:rPr>
                        <a:t> available.</a:t>
                      </a:r>
                      <a:endParaRPr lang="en-GB" sz="1000" u="sng" kern="1200" dirty="0">
                        <a:solidFill>
                          <a:schemeClr val="bg1"/>
                        </a:solidFill>
                        <a:effectLst/>
                        <a:latin typeface="+mn-lt"/>
                        <a:ea typeface="+mn-ea"/>
                        <a:cs typeface="+mn-cs"/>
                      </a:endParaRPr>
                    </a:p>
                  </a:txBody>
                  <a:tcPr marL="121920" marR="121920" marT="96000" marB="96000" anchor="ctr">
                    <a:lnR w="12700" cap="flat" cmpd="sng" algn="ctr">
                      <a:solidFill>
                        <a:schemeClr val="bg2"/>
                      </a:solidFill>
                      <a:prstDash val="solid"/>
                      <a:round/>
                      <a:headEnd type="none" w="med" len="med"/>
                      <a:tailEnd type="none" w="med" len="med"/>
                    </a:lnR>
                    <a:solidFill>
                      <a:schemeClr val="accent1">
                        <a:alpha val="10000"/>
                      </a:schemeClr>
                    </a:solidFill>
                  </a:tcPr>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fr" sz="1050" kern="1200" dirty="0">
                          <a:solidFill>
                            <a:schemeClr val="bg1"/>
                          </a:solidFill>
                          <a:effectLst/>
                          <a:latin typeface="+mn-lt"/>
                          <a:ea typeface="+mn-ea"/>
                          <a:cs typeface="+mn-cs"/>
                        </a:rPr>
                        <a:t>N.A.</a:t>
                      </a:r>
                    </a:p>
                  </a:txBody>
                  <a:tcPr marL="121920" marR="121920" marT="96000" marB="9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solidFill>
                      <a:schemeClr val="accent1">
                        <a:alpha val="10000"/>
                      </a:schemeClr>
                    </a:solidFill>
                  </a:tcPr>
                </a:tc>
                <a:tc vMerge="1">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endParaRPr lang="fr" sz="1000" kern="1200" dirty="0">
                        <a:solidFill>
                          <a:schemeClr val="accent4"/>
                        </a:solidFill>
                        <a:effectLst/>
                        <a:latin typeface="+mn-lt"/>
                        <a:ea typeface="+mn-ea"/>
                        <a:cs typeface="+mn-cs"/>
                      </a:endParaRPr>
                    </a:p>
                  </a:txBody>
                  <a:tcPr marT="72000" marB="72000">
                    <a:lnL w="12700" cap="flat" cmpd="sng" algn="ctr">
                      <a:solidFill>
                        <a:schemeClr val="bg2"/>
                      </a:solidFill>
                      <a:prstDash val="solid"/>
                      <a:round/>
                      <a:headEnd type="none" w="med" len="med"/>
                      <a:tailEnd type="none" w="med" len="med"/>
                    </a:lnL>
                    <a:solidFill>
                      <a:schemeClr val="accent1">
                        <a:alpha val="10000"/>
                      </a:schemeClr>
                    </a:solidFill>
                  </a:tcPr>
                </a:tc>
                <a:extLst>
                  <a:ext uri="{0D108BD9-81ED-4DB2-BD59-A6C34878D82A}">
                    <a16:rowId xmlns:a16="http://schemas.microsoft.com/office/drawing/2014/main" val="3146425920"/>
                  </a:ext>
                </a:extLst>
              </a:tr>
            </a:tbl>
          </a:graphicData>
        </a:graphic>
      </p:graphicFrame>
      <p:grpSp>
        <p:nvGrpSpPr>
          <p:cNvPr id="4" name="Group 3"/>
          <p:cNvGrpSpPr/>
          <p:nvPr/>
        </p:nvGrpSpPr>
        <p:grpSpPr>
          <a:xfrm>
            <a:off x="209647" y="3733486"/>
            <a:ext cx="3481357" cy="1015545"/>
            <a:chOff x="1494133" y="3785164"/>
            <a:chExt cx="3475266" cy="1226659"/>
          </a:xfrm>
        </p:grpSpPr>
        <p:sp>
          <p:nvSpPr>
            <p:cNvPr id="5" name="TextBox 4"/>
            <p:cNvSpPr txBox="1"/>
            <p:nvPr/>
          </p:nvSpPr>
          <p:spPr>
            <a:xfrm>
              <a:off x="2708551" y="4245881"/>
              <a:ext cx="2260848" cy="192409"/>
            </a:xfrm>
            <a:prstGeom prst="rect">
              <a:avLst/>
            </a:prstGeom>
            <a:noFill/>
          </p:spPr>
          <p:txBody>
            <a:bodyPr wrap="square" rtlCol="0">
              <a:spAutoFit/>
            </a:bodyPr>
            <a:lstStyle/>
            <a:p>
              <a:pPr algn="ctr"/>
              <a:r>
                <a:rPr lang="en-US" sz="1067" dirty="0">
                  <a:solidFill>
                    <a:schemeClr val="bg1"/>
                  </a:solidFill>
                  <a:latin typeface="CiscoSansTT Heavy" panose="020B0903020201020303" pitchFamily="34" charset="0"/>
                  <a:cs typeface="CiscoSansTT Heavy" panose="020B0903020201020303" pitchFamily="34" charset="0"/>
                </a:rPr>
                <a:t>A9K-MOD200-SE/TR</a:t>
              </a:r>
            </a:p>
          </p:txBody>
        </p:sp>
        <p:pic>
          <p:nvPicPr>
            <p:cNvPr id="6" name="Picture 5"/>
            <p:cNvPicPr>
              <a:picLocks noChangeAspect="1"/>
            </p:cNvPicPr>
            <p:nvPr/>
          </p:nvPicPr>
          <p:blipFill>
            <a:blip r:embed="rId2"/>
            <a:stretch>
              <a:fillRect/>
            </a:stretch>
          </p:blipFill>
          <p:spPr>
            <a:xfrm>
              <a:off x="1495767" y="3810281"/>
              <a:ext cx="1616138" cy="261313"/>
            </a:xfrm>
            <a:prstGeom prst="rect">
              <a:avLst/>
            </a:prstGeom>
          </p:spPr>
        </p:pic>
        <p:pic>
          <p:nvPicPr>
            <p:cNvPr id="7" name="Picture 6"/>
            <p:cNvPicPr>
              <a:picLocks noChangeAspect="1"/>
            </p:cNvPicPr>
            <p:nvPr/>
          </p:nvPicPr>
          <p:blipFill>
            <a:blip r:embed="rId3"/>
            <a:stretch>
              <a:fillRect/>
            </a:stretch>
          </p:blipFill>
          <p:spPr>
            <a:xfrm>
              <a:off x="1554301" y="4608280"/>
              <a:ext cx="861919" cy="209779"/>
            </a:xfrm>
            <a:prstGeom prst="rect">
              <a:avLst/>
            </a:prstGeom>
          </p:spPr>
        </p:pic>
        <p:pic>
          <p:nvPicPr>
            <p:cNvPr id="8" name="Picture 7"/>
            <p:cNvPicPr>
              <a:picLocks noChangeAspect="1"/>
            </p:cNvPicPr>
            <p:nvPr/>
          </p:nvPicPr>
          <p:blipFill>
            <a:blip r:embed="rId4"/>
            <a:stretch>
              <a:fillRect/>
            </a:stretch>
          </p:blipFill>
          <p:spPr>
            <a:xfrm>
              <a:off x="3062014" y="4558514"/>
              <a:ext cx="841397" cy="230302"/>
            </a:xfrm>
            <a:prstGeom prst="rect">
              <a:avLst/>
            </a:prstGeom>
          </p:spPr>
        </p:pic>
        <p:sp>
          <p:nvSpPr>
            <p:cNvPr id="9" name="TextBox 8"/>
            <p:cNvSpPr txBox="1"/>
            <p:nvPr/>
          </p:nvSpPr>
          <p:spPr>
            <a:xfrm>
              <a:off x="2976173" y="3785164"/>
              <a:ext cx="1847302" cy="309876"/>
            </a:xfrm>
            <a:prstGeom prst="rect">
              <a:avLst/>
            </a:prstGeom>
            <a:noFill/>
          </p:spPr>
          <p:txBody>
            <a:bodyPr wrap="square" rtlCol="0">
              <a:spAutoFit/>
            </a:bodyPr>
            <a:lstStyle/>
            <a:p>
              <a:pPr algn="ctr"/>
              <a:r>
                <a:rPr lang="en-US" sz="1067" dirty="0">
                  <a:solidFill>
                    <a:schemeClr val="bg1"/>
                  </a:solidFill>
                  <a:latin typeface="CiscoSansTT Heavy" panose="020B0903020201020303" pitchFamily="34" charset="0"/>
                  <a:cs typeface="CiscoSansTT Heavy" panose="020B0903020201020303" pitchFamily="34" charset="0"/>
                </a:rPr>
                <a:t>A9K-MOD400-SE/TR</a:t>
              </a:r>
            </a:p>
          </p:txBody>
        </p:sp>
        <p:grpSp>
          <p:nvGrpSpPr>
            <p:cNvPr id="10" name="Group 9"/>
            <p:cNvGrpSpPr/>
            <p:nvPr/>
          </p:nvGrpSpPr>
          <p:grpSpPr>
            <a:xfrm>
              <a:off x="1513752" y="4289647"/>
              <a:ext cx="1548262" cy="254100"/>
              <a:chOff x="3049471" y="1201829"/>
              <a:chExt cx="2266811" cy="313815"/>
            </a:xfrm>
          </p:grpSpPr>
          <p:pic>
            <p:nvPicPr>
              <p:cNvPr id="13" name="Picture 12"/>
              <p:cNvPicPr>
                <a:picLocks noChangeAspect="1"/>
              </p:cNvPicPr>
              <p:nvPr/>
            </p:nvPicPr>
            <p:blipFill>
              <a:blip r:embed="rId2"/>
              <a:stretch>
                <a:fillRect/>
              </a:stretch>
            </p:blipFill>
            <p:spPr>
              <a:xfrm>
                <a:off x="3049471" y="1201829"/>
                <a:ext cx="2266811" cy="313815"/>
              </a:xfrm>
              <a:prstGeom prst="rect">
                <a:avLst/>
              </a:prstGeom>
            </p:spPr>
          </p:pic>
          <p:pic>
            <p:nvPicPr>
              <p:cNvPr id="14" name="Picture 13"/>
              <p:cNvPicPr>
                <a:picLocks noChangeAspect="1"/>
              </p:cNvPicPr>
              <p:nvPr/>
            </p:nvPicPr>
            <p:blipFill>
              <a:blip r:embed="rId5"/>
              <a:stretch>
                <a:fillRect/>
              </a:stretch>
            </p:blipFill>
            <p:spPr>
              <a:xfrm>
                <a:off x="4430991" y="1265297"/>
                <a:ext cx="804916" cy="182416"/>
              </a:xfrm>
              <a:prstGeom prst="rect">
                <a:avLst/>
              </a:prstGeom>
            </p:spPr>
          </p:pic>
          <p:pic>
            <p:nvPicPr>
              <p:cNvPr id="15" name="Picture 14"/>
              <p:cNvPicPr>
                <a:picLocks noChangeAspect="1"/>
              </p:cNvPicPr>
              <p:nvPr/>
            </p:nvPicPr>
            <p:blipFill>
              <a:blip r:embed="rId5"/>
              <a:stretch>
                <a:fillRect/>
              </a:stretch>
            </p:blipFill>
            <p:spPr>
              <a:xfrm>
                <a:off x="3187738" y="1265297"/>
                <a:ext cx="804916" cy="182416"/>
              </a:xfrm>
              <a:prstGeom prst="rect">
                <a:avLst/>
              </a:prstGeom>
            </p:spPr>
          </p:pic>
        </p:grpSp>
        <p:sp>
          <p:nvSpPr>
            <p:cNvPr id="11" name="Rectangle 10"/>
            <p:cNvSpPr/>
            <p:nvPr/>
          </p:nvSpPr>
          <p:spPr>
            <a:xfrm>
              <a:off x="1494133" y="4819414"/>
              <a:ext cx="1168830" cy="192409"/>
            </a:xfrm>
            <a:prstGeom prst="rect">
              <a:avLst/>
            </a:prstGeom>
          </p:spPr>
          <p:txBody>
            <a:bodyPr wrap="none">
              <a:spAutoFit/>
            </a:bodyPr>
            <a:lstStyle/>
            <a:p>
              <a:r>
                <a:rPr lang="en-US" sz="1067" dirty="0">
                  <a:solidFill>
                    <a:schemeClr val="bg1"/>
                  </a:solidFill>
                  <a:latin typeface="CiscoSansTT Heavy" panose="020B0903020201020303" pitchFamily="34" charset="0"/>
                  <a:cs typeface="CiscoSansTT Heavy" panose="020B0903020201020303" pitchFamily="34" charset="0"/>
                </a:rPr>
                <a:t>A9K-MPA-2X100GE</a:t>
              </a:r>
            </a:p>
          </p:txBody>
        </p:sp>
        <p:sp>
          <p:nvSpPr>
            <p:cNvPr id="12" name="Rectangle 11"/>
            <p:cNvSpPr/>
            <p:nvPr/>
          </p:nvSpPr>
          <p:spPr>
            <a:xfrm>
              <a:off x="2976173" y="4803584"/>
              <a:ext cx="1168830" cy="192408"/>
            </a:xfrm>
            <a:prstGeom prst="rect">
              <a:avLst/>
            </a:prstGeom>
          </p:spPr>
          <p:txBody>
            <a:bodyPr wrap="none">
              <a:spAutoFit/>
            </a:bodyPr>
            <a:lstStyle/>
            <a:p>
              <a:r>
                <a:rPr lang="en-US" sz="1067" dirty="0">
                  <a:solidFill>
                    <a:schemeClr val="bg1"/>
                  </a:solidFill>
                  <a:latin typeface="CiscoSansTT Heavy" panose="020B0903020201020303" pitchFamily="34" charset="0"/>
                  <a:cs typeface="CiscoSansTT Heavy" panose="020B0903020201020303" pitchFamily="34" charset="0"/>
                </a:rPr>
                <a:t>A9K-MPA-1X100GE</a:t>
              </a:r>
            </a:p>
          </p:txBody>
        </p:sp>
      </p:grpSp>
      <p:pic>
        <p:nvPicPr>
          <p:cNvPr id="16" name="Picture 15"/>
          <p:cNvPicPr>
            <a:picLocks noChangeAspect="1"/>
          </p:cNvPicPr>
          <p:nvPr/>
        </p:nvPicPr>
        <p:blipFill>
          <a:blip r:embed="rId6"/>
          <a:stretch>
            <a:fillRect/>
          </a:stretch>
        </p:blipFill>
        <p:spPr>
          <a:xfrm>
            <a:off x="6858078" y="3904149"/>
            <a:ext cx="1625496" cy="819993"/>
          </a:xfrm>
          <a:prstGeom prst="rect">
            <a:avLst/>
          </a:prstGeom>
        </p:spPr>
      </p:pic>
      <p:pic>
        <p:nvPicPr>
          <p:cNvPr id="17" name="Picture 16">
            <a:extLst>
              <a:ext uri="{FF2B5EF4-FFF2-40B4-BE49-F238E27FC236}">
                <a16:creationId xmlns:a16="http://schemas.microsoft.com/office/drawing/2014/main" id="{5CEE030B-6C25-AD4C-9BFE-FA2231EDDEAA}"/>
              </a:ext>
            </a:extLst>
          </p:cNvPr>
          <p:cNvPicPr>
            <a:picLocks noChangeAspect="1"/>
          </p:cNvPicPr>
          <p:nvPr/>
        </p:nvPicPr>
        <p:blipFill>
          <a:blip r:embed="rId7"/>
          <a:stretch>
            <a:fillRect/>
          </a:stretch>
        </p:blipFill>
        <p:spPr>
          <a:xfrm>
            <a:off x="4284169" y="4026974"/>
            <a:ext cx="2236685" cy="472340"/>
          </a:xfrm>
          <a:prstGeom prst="rect">
            <a:avLst/>
          </a:prstGeom>
        </p:spPr>
      </p:pic>
      <p:sp>
        <p:nvSpPr>
          <p:cNvPr id="18" name="TextBox 17"/>
          <p:cNvSpPr txBox="1"/>
          <p:nvPr/>
        </p:nvSpPr>
        <p:spPr>
          <a:xfrm>
            <a:off x="6328595" y="3620052"/>
            <a:ext cx="2240525" cy="256545"/>
          </a:xfrm>
          <a:prstGeom prst="rect">
            <a:avLst/>
          </a:prstGeom>
          <a:noFill/>
        </p:spPr>
        <p:txBody>
          <a:bodyPr wrap="square" rtlCol="0">
            <a:spAutoFit/>
          </a:bodyPr>
          <a:lstStyle/>
          <a:p>
            <a:pPr algn="ctr"/>
            <a:r>
              <a:rPr lang="en-US" sz="1067" dirty="0">
                <a:solidFill>
                  <a:schemeClr val="bg1"/>
                </a:solidFill>
                <a:latin typeface="CiscoSansTT Heavy" panose="020B0903020201020303" pitchFamily="34" charset="0"/>
                <a:cs typeface="CiscoSansTT Heavy" panose="020B0903020201020303" pitchFamily="34" charset="0"/>
              </a:rPr>
              <a:t>NCS-55A2-MOD NON-SE/SE</a:t>
            </a:r>
          </a:p>
        </p:txBody>
      </p:sp>
      <p:sp>
        <p:nvSpPr>
          <p:cNvPr id="19" name="TextBox 18"/>
          <p:cNvSpPr txBox="1"/>
          <p:nvPr/>
        </p:nvSpPr>
        <p:spPr>
          <a:xfrm>
            <a:off x="3430160" y="3647604"/>
            <a:ext cx="3647501" cy="420756"/>
          </a:xfrm>
          <a:prstGeom prst="rect">
            <a:avLst/>
          </a:prstGeom>
          <a:noFill/>
        </p:spPr>
        <p:txBody>
          <a:bodyPr wrap="square" rtlCol="0">
            <a:spAutoFit/>
          </a:bodyPr>
          <a:lstStyle/>
          <a:p>
            <a:pPr algn="ctr"/>
            <a:r>
              <a:rPr lang="en-US" sz="1067" dirty="0">
                <a:solidFill>
                  <a:schemeClr val="bg1"/>
                </a:solidFill>
                <a:latin typeface="CiscoSansTT Heavy" panose="020B0903020201020303" pitchFamily="34" charset="0"/>
                <a:cs typeface="CiscoSansTT Heavy" panose="020B0903020201020303" pitchFamily="34" charset="0"/>
              </a:rPr>
              <a:t>NC55-MOD-A LINE CARD</a:t>
            </a:r>
          </a:p>
          <a:p>
            <a:pPr algn="ctr"/>
            <a:r>
              <a:rPr lang="en-US" sz="1067" dirty="0">
                <a:solidFill>
                  <a:schemeClr val="bg1"/>
                </a:solidFill>
                <a:latin typeface="CiscoSansTT Heavy" panose="020B0903020201020303" pitchFamily="34" charset="0"/>
                <a:cs typeface="CiscoSansTT Heavy" panose="020B0903020201020303" pitchFamily="34" charset="0"/>
              </a:rPr>
              <a:t>(NON SE / SE)</a:t>
            </a:r>
          </a:p>
        </p:txBody>
      </p:sp>
      <p:sp>
        <p:nvSpPr>
          <p:cNvPr id="20" name="Title 2"/>
          <p:cNvSpPr txBox="1">
            <a:spLocks/>
          </p:cNvSpPr>
          <p:nvPr/>
        </p:nvSpPr>
        <p:spPr>
          <a:xfrm>
            <a:off x="98623" y="167390"/>
            <a:ext cx="4919952" cy="401137"/>
          </a:xfrm>
          <a:prstGeom prst="rect">
            <a:avLst/>
          </a:prstGeom>
        </p:spPr>
        <p:txBody>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GB" sz="2400" dirty="0"/>
              <a:t>CFP2 DCO – Supported Devices</a:t>
            </a:r>
          </a:p>
        </p:txBody>
      </p:sp>
      <p:pic>
        <p:nvPicPr>
          <p:cNvPr id="21" name="Picture 20">
            <a:extLst>
              <a:ext uri="{FF2B5EF4-FFF2-40B4-BE49-F238E27FC236}">
                <a16:creationId xmlns:a16="http://schemas.microsoft.com/office/drawing/2014/main" id="{F618F430-3DBD-4DAD-BC63-D95334C2A74D}"/>
              </a:ext>
            </a:extLst>
          </p:cNvPr>
          <p:cNvPicPr>
            <a:picLocks noChangeAspect="1"/>
          </p:cNvPicPr>
          <p:nvPr/>
        </p:nvPicPr>
        <p:blipFill>
          <a:blip r:embed="rId4"/>
          <a:stretch>
            <a:fillRect/>
          </a:stretch>
        </p:blipFill>
        <p:spPr>
          <a:xfrm flipH="1">
            <a:off x="3262419" y="4384819"/>
            <a:ext cx="743769" cy="203576"/>
          </a:xfrm>
          <a:prstGeom prst="rect">
            <a:avLst/>
          </a:prstGeom>
        </p:spPr>
      </p:pic>
      <p:sp>
        <p:nvSpPr>
          <p:cNvPr id="22" name="Rectangle 21">
            <a:extLst>
              <a:ext uri="{FF2B5EF4-FFF2-40B4-BE49-F238E27FC236}">
                <a16:creationId xmlns:a16="http://schemas.microsoft.com/office/drawing/2014/main" id="{5056586C-1D11-4FE1-AE55-1EBBC6A4EF04}"/>
              </a:ext>
            </a:extLst>
          </p:cNvPr>
          <p:cNvSpPr/>
          <p:nvPr/>
        </p:nvSpPr>
        <p:spPr>
          <a:xfrm>
            <a:off x="3186292" y="4574199"/>
            <a:ext cx="1834156" cy="261610"/>
          </a:xfrm>
          <a:prstGeom prst="rect">
            <a:avLst/>
          </a:prstGeom>
        </p:spPr>
        <p:txBody>
          <a:bodyPr wrap="none">
            <a:spAutoFit/>
          </a:bodyPr>
          <a:lstStyle/>
          <a:p>
            <a:r>
              <a:rPr lang="en-US" sz="1100" dirty="0">
                <a:solidFill>
                  <a:srgbClr val="005073"/>
                </a:solidFill>
                <a:latin typeface="CiscoSansTT Heavy" panose="020B0903020201020303" pitchFamily="34" charset="0"/>
                <a:cs typeface="CiscoSansTT Heavy" panose="020B0903020201020303" pitchFamily="34" charset="0"/>
              </a:rPr>
              <a:t>A9K-MPA-1X200GE</a:t>
            </a:r>
            <a:r>
              <a:rPr lang="en-US" sz="1100" i="1" baseline="30000" dirty="0">
                <a:solidFill>
                  <a:srgbClr val="FF0000"/>
                </a:solidFill>
                <a:highlight>
                  <a:srgbClr val="FFFF00"/>
                </a:highlight>
                <a:latin typeface="CiscoSansTT" panose="020B0503020201020303" pitchFamily="34" charset="0"/>
                <a:cs typeface="CiscoSansTT" panose="020B0503020201020303" pitchFamily="34" charset="0"/>
              </a:rPr>
              <a:t>New!</a:t>
            </a:r>
          </a:p>
        </p:txBody>
      </p:sp>
    </p:spTree>
    <p:extLst>
      <p:ext uri="{BB962C8B-B14F-4D97-AF65-F5344CB8AC3E}">
        <p14:creationId xmlns:p14="http://schemas.microsoft.com/office/powerpoint/2010/main" val="272583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2696" y="308502"/>
            <a:ext cx="7886700" cy="551899"/>
          </a:xfrm>
        </p:spPr>
        <p:txBody>
          <a:bodyPr/>
          <a:lstStyle/>
          <a:p>
            <a:r>
              <a:rPr lang="en-US" sz="2400" dirty="0">
                <a:solidFill>
                  <a:srgbClr val="005073"/>
                </a:solidFill>
                <a:latin typeface="CiscoSansTT ExtraLight" charset="0"/>
                <a:ea typeface="CiscoSansTT ExtraLight" charset="0"/>
                <a:cs typeface="CiscoSansTT ExtraLight" charset="0"/>
              </a:rPr>
              <a:t>ASR9000 MOD200/400 Cards &amp; MPAs</a:t>
            </a:r>
            <a:endParaRPr lang="en-US" sz="2400" dirty="0"/>
          </a:p>
        </p:txBody>
      </p:sp>
      <p:graphicFrame>
        <p:nvGraphicFramePr>
          <p:cNvPr id="3" name="Table 2"/>
          <p:cNvGraphicFramePr>
            <a:graphicFrameLocks noGrp="1"/>
          </p:cNvGraphicFramePr>
          <p:nvPr/>
        </p:nvGraphicFramePr>
        <p:xfrm>
          <a:off x="1640010" y="2681971"/>
          <a:ext cx="6668612" cy="2139636"/>
        </p:xfrm>
        <a:graphic>
          <a:graphicData uri="http://schemas.openxmlformats.org/drawingml/2006/table">
            <a:tbl>
              <a:tblPr firstRow="1" bandRow="1">
                <a:tableStyleId>{5C22544A-7EE6-4342-B048-85BDC9FD1C3A}</a:tableStyleId>
              </a:tblPr>
              <a:tblGrid>
                <a:gridCol w="3334306">
                  <a:extLst>
                    <a:ext uri="{9D8B030D-6E8A-4147-A177-3AD203B41FA5}">
                      <a16:colId xmlns:a16="http://schemas.microsoft.com/office/drawing/2014/main" val="2833865316"/>
                    </a:ext>
                  </a:extLst>
                </a:gridCol>
                <a:gridCol w="3334306">
                  <a:extLst>
                    <a:ext uri="{9D8B030D-6E8A-4147-A177-3AD203B41FA5}">
                      <a16:colId xmlns:a16="http://schemas.microsoft.com/office/drawing/2014/main" val="4123494416"/>
                    </a:ext>
                  </a:extLst>
                </a:gridCol>
              </a:tblGrid>
              <a:tr h="235132">
                <a:tc>
                  <a:txBody>
                    <a:bodyPr/>
                    <a:lstStyle/>
                    <a:p>
                      <a:pPr algn="ctr"/>
                      <a:r>
                        <a:rPr lang="en-US" sz="1050" b="0" dirty="0">
                          <a:solidFill>
                            <a:schemeClr val="tx2">
                              <a:lumMod val="50000"/>
                            </a:schemeClr>
                          </a:solidFill>
                          <a:latin typeface="CiscoSansTT" panose="020B0503020201020303" pitchFamily="34" charset="0"/>
                          <a:cs typeface="CiscoSansTT" panose="020B0503020201020303" pitchFamily="34" charset="0"/>
                        </a:rPr>
                        <a:t>LC Slot</a:t>
                      </a:r>
                    </a:p>
                  </a:txBody>
                  <a:tcPr anchor="ctr">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20000"/>
                          <a:lumOff val="80000"/>
                        </a:schemeClr>
                      </a:solidFill>
                      <a:prstDash val="solid"/>
                      <a:round/>
                      <a:headEnd type="none" w="med" len="med"/>
                      <a:tailEnd type="none" w="med" len="med"/>
                    </a:lnB>
                    <a:noFill/>
                  </a:tcPr>
                </a:tc>
                <a:tc>
                  <a:txBody>
                    <a:bodyPr/>
                    <a:lstStyle/>
                    <a:p>
                      <a:pPr algn="ctr"/>
                      <a:r>
                        <a:rPr lang="en-US" sz="1050" b="0" dirty="0">
                          <a:solidFill>
                            <a:schemeClr val="tx2">
                              <a:lumMod val="50000"/>
                            </a:schemeClr>
                          </a:solidFill>
                          <a:latin typeface="CiscoSansTT" panose="020B0503020201020303" pitchFamily="34" charset="0"/>
                          <a:cs typeface="CiscoSansTT" panose="020B0503020201020303" pitchFamily="34" charset="0"/>
                        </a:rPr>
                        <a:t>LC Slot</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081308493"/>
                  </a:ext>
                </a:extLst>
              </a:tr>
              <a:tr h="384760">
                <a:tc>
                  <a:txBody>
                    <a:bodyPr/>
                    <a:lstStyle/>
                    <a:p>
                      <a:pPr marL="0" marR="0" lvl="0" indent="0" algn="ctr" defTabSz="685743" rtl="0" eaLnBrk="1" fontAlgn="auto" latinLnBrk="0" hangingPunct="1">
                        <a:lnSpc>
                          <a:spcPct val="100000"/>
                        </a:lnSpc>
                        <a:spcBef>
                          <a:spcPts val="0"/>
                        </a:spcBef>
                        <a:spcAft>
                          <a:spcPts val="0"/>
                        </a:spcAft>
                        <a:buClrTx/>
                        <a:buSzTx/>
                        <a:buFontTx/>
                        <a:buNone/>
                        <a:tabLst/>
                        <a:defRPr/>
                      </a:pPr>
                      <a:r>
                        <a:rPr lang="en-US" sz="1050" b="0" kern="1200" dirty="0">
                          <a:solidFill>
                            <a:schemeClr val="tx2">
                              <a:lumMod val="50000"/>
                            </a:schemeClr>
                          </a:solidFill>
                          <a:latin typeface="CiscoSansTT" panose="020B0503020201020303" pitchFamily="34" charset="0"/>
                          <a:ea typeface="CiscoSansTT ExtraLight" charset="0"/>
                          <a:cs typeface="CiscoSansTT" panose="020B0503020201020303" pitchFamily="34" charset="0"/>
                          <a:sym typeface="Calibri" charset="0"/>
                        </a:rPr>
                        <a:t>2x Forwarding ASIC @ 150Mpps / 240Gbps</a:t>
                      </a:r>
                      <a:endParaRPr lang="en-US" sz="1050" b="0" kern="1200" dirty="0">
                        <a:solidFill>
                          <a:schemeClr val="tx2">
                            <a:lumMod val="50000"/>
                          </a:schemeClr>
                        </a:solidFill>
                        <a:latin typeface="CiscoSansTT" panose="020B0503020201020303" pitchFamily="34" charset="0"/>
                        <a:ea typeface="CiscoSansTT ExtraLight" charset="0"/>
                        <a:cs typeface="CiscoSansTT" panose="020B0503020201020303" pitchFamily="34" charset="0"/>
                      </a:endParaRPr>
                    </a:p>
                  </a:txBody>
                  <a:tcPr anchor="ctr">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noFill/>
                  </a:tcPr>
                </a:tc>
                <a:tc>
                  <a:txBody>
                    <a:bodyPr/>
                    <a:lstStyle/>
                    <a:p>
                      <a:pPr marL="0" marR="0" lvl="0" indent="0" algn="ctr" defTabSz="685743" rtl="0" eaLnBrk="1" fontAlgn="auto" latinLnBrk="0" hangingPunct="1">
                        <a:lnSpc>
                          <a:spcPct val="100000"/>
                        </a:lnSpc>
                        <a:spcBef>
                          <a:spcPts val="0"/>
                        </a:spcBef>
                        <a:spcAft>
                          <a:spcPts val="0"/>
                        </a:spcAft>
                        <a:buClrTx/>
                        <a:buSzTx/>
                        <a:buFontTx/>
                        <a:buNone/>
                        <a:tabLst/>
                        <a:defRPr/>
                      </a:pPr>
                      <a:r>
                        <a:rPr lang="en-US" sz="1050" b="0" kern="1200" dirty="0">
                          <a:solidFill>
                            <a:schemeClr val="tx2">
                              <a:lumMod val="50000"/>
                            </a:schemeClr>
                          </a:solidFill>
                          <a:latin typeface="CiscoSansTT" panose="020B0503020201020303" pitchFamily="34" charset="0"/>
                          <a:ea typeface="CiscoSansTT ExtraLight" charset="0"/>
                          <a:cs typeface="CiscoSansTT" panose="020B0503020201020303" pitchFamily="34" charset="0"/>
                          <a:sym typeface="Calibri" charset="0"/>
                        </a:rPr>
                        <a:t>1x Forwarding ASIC @ 150Mpps / 240Gbps</a:t>
                      </a:r>
                      <a:endParaRPr lang="en-US" sz="1050" b="0" kern="1200" dirty="0">
                        <a:solidFill>
                          <a:schemeClr val="tx2">
                            <a:lumMod val="50000"/>
                          </a:schemeClr>
                        </a:solidFill>
                        <a:latin typeface="CiscoSansTT" panose="020B0503020201020303" pitchFamily="34" charset="0"/>
                        <a:ea typeface="CiscoSansTT ExtraLight" charset="0"/>
                        <a:cs typeface="CiscoSansTT" panose="020B0503020201020303" pitchFamily="34" charset="0"/>
                      </a:endParaRP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625737015"/>
                  </a:ext>
                </a:extLst>
              </a:tr>
              <a:tr h="1503416">
                <a:tc>
                  <a:txBody>
                    <a:bodyPr/>
                    <a:lstStyle/>
                    <a:p>
                      <a:pPr algn="l" defTabSz="685743" rtl="0" eaLnBrk="1" latinLnBrk="0" hangingPunct="1">
                        <a:lnSpc>
                          <a:spcPct val="100000"/>
                        </a:lnSpc>
                        <a:spcBef>
                          <a:spcPts val="450"/>
                        </a:spcBef>
                      </a:pPr>
                      <a:r>
                        <a:rPr lang="en-US" sz="1050" kern="1200" dirty="0">
                          <a:solidFill>
                            <a:srgbClr val="26194B"/>
                          </a:solidFill>
                          <a:latin typeface="CiscoSansTT ExtraLight" charset="0"/>
                          <a:ea typeface="CiscoSansTT ExtraLight" charset="0"/>
                          <a:cs typeface="CiscoSansTT ExtraLight" charset="0"/>
                        </a:rPr>
                        <a:t>2 Modular Port Adaptor bays of 200G each, MPA Options -</a:t>
                      </a:r>
                      <a:endParaRPr lang="sk-SK" sz="1050" kern="1200" dirty="0">
                        <a:solidFill>
                          <a:srgbClr val="26194B"/>
                        </a:solidFill>
                        <a:latin typeface="CiscoSansTT ExtraLight" charset="0"/>
                        <a:ea typeface="CiscoSansTT ExtraLight" charset="0"/>
                        <a:cs typeface="CiscoSansTT ExtraLight" charset="0"/>
                      </a:endParaRPr>
                    </a:p>
                    <a:p>
                      <a:pPr marL="630146" lvl="1" indent="-285715" algn="l" defTabSz="685743" rtl="0" eaLnBrk="1" latinLnBrk="0" hangingPunct="1">
                        <a:lnSpc>
                          <a:spcPct val="100000"/>
                        </a:lnSpc>
                        <a:spcBef>
                          <a:spcPts val="300"/>
                        </a:spcBef>
                        <a:buFont typeface="Wingdings" panose="05000000000000000000" pitchFamily="2" charset="2"/>
                        <a:buChar char="ü"/>
                      </a:pPr>
                      <a:r>
                        <a:rPr lang="en-US" sz="1050" b="1" u="sng" kern="1200" dirty="0">
                          <a:solidFill>
                            <a:srgbClr val="26194B"/>
                          </a:solidFill>
                          <a:latin typeface="CiscoSansTT ExtraLight" charset="0"/>
                          <a:ea typeface="CiscoSansTT ExtraLight" charset="0"/>
                          <a:cs typeface="CiscoSansTT ExtraLight" charset="0"/>
                        </a:rPr>
                        <a:t>2 ports of CFP2_DCO (OTN, 100G/200G DWDM)</a:t>
                      </a:r>
                      <a:endParaRPr lang="en-US" sz="1050" b="0" u="none" kern="1200" dirty="0">
                        <a:solidFill>
                          <a:srgbClr val="26194B"/>
                        </a:solidFill>
                        <a:latin typeface="CiscoSansTT ExtraLight" charset="0"/>
                        <a:ea typeface="CiscoSansTT ExtraLight" charset="0"/>
                        <a:cs typeface="CiscoSansTT ExtraLight" charset="0"/>
                      </a:endParaRPr>
                    </a:p>
                    <a:p>
                      <a:pPr marL="630146" lvl="1" indent="-285715" algn="l" defTabSz="685743" rtl="0" eaLnBrk="1" latinLnBrk="0" hangingPunct="1">
                        <a:lnSpc>
                          <a:spcPct val="100000"/>
                        </a:lnSpc>
                        <a:spcBef>
                          <a:spcPts val="300"/>
                        </a:spcBef>
                        <a:buFont typeface="Wingdings" panose="05000000000000000000" pitchFamily="2" charset="2"/>
                        <a:buChar char="ü"/>
                      </a:pPr>
                      <a:r>
                        <a:rPr lang="en-US" sz="1050" b="1" u="sng" kern="1200" dirty="0">
                          <a:solidFill>
                            <a:srgbClr val="26194B"/>
                          </a:solidFill>
                          <a:latin typeface="CiscoSansTT ExtraLight" charset="0"/>
                          <a:ea typeface="CiscoSansTT ExtraLight" charset="0"/>
                          <a:cs typeface="CiscoSansTT ExtraLight" charset="0"/>
                        </a:rPr>
                        <a:t>1 ports of CFP2_DCO (OTN, 100G/200G DWDM)</a:t>
                      </a:r>
                      <a:endParaRPr lang="en-US" sz="1050" kern="1200" dirty="0">
                        <a:solidFill>
                          <a:srgbClr val="26194B"/>
                        </a:solidFill>
                        <a:latin typeface="CiscoSansTT ExtraLight" charset="0"/>
                        <a:ea typeface="CiscoSansTT ExtraLight" charset="0"/>
                        <a:cs typeface="CiscoSansTT ExtraLight" charset="0"/>
                      </a:endParaRPr>
                    </a:p>
                    <a:p>
                      <a:pPr marL="0" marR="0" lvl="0" indent="0" algn="ctr" defTabSz="685743" rtl="0" eaLnBrk="1" fontAlgn="auto" latinLnBrk="0" hangingPunct="1">
                        <a:lnSpc>
                          <a:spcPct val="100000"/>
                        </a:lnSpc>
                        <a:spcBef>
                          <a:spcPts val="0"/>
                        </a:spcBef>
                        <a:spcAft>
                          <a:spcPts val="0"/>
                        </a:spcAft>
                        <a:buClrTx/>
                        <a:buSzTx/>
                        <a:buFontTx/>
                        <a:buNone/>
                        <a:tabLst/>
                        <a:defRPr/>
                      </a:pPr>
                      <a:endParaRPr lang="en-US" sz="1050" b="0" kern="1200" dirty="0">
                        <a:solidFill>
                          <a:schemeClr val="tx2">
                            <a:lumMod val="50000"/>
                          </a:schemeClr>
                        </a:solidFill>
                        <a:latin typeface="CiscoSansTT" panose="020B0503020201020303" pitchFamily="34" charset="0"/>
                        <a:ea typeface="CiscoSansTT ExtraLight" charset="0"/>
                        <a:cs typeface="CiscoSansTT" panose="020B0503020201020303" pitchFamily="34" charset="0"/>
                      </a:endParaRPr>
                    </a:p>
                  </a:txBody>
                  <a:tcPr anchor="ctr">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noFill/>
                  </a:tcPr>
                </a:tc>
                <a:tc>
                  <a:txBody>
                    <a:bodyPr/>
                    <a:lstStyle/>
                    <a:p>
                      <a:pPr algn="l" defTabSz="685743" rtl="0" eaLnBrk="1" latinLnBrk="0" hangingPunct="1">
                        <a:lnSpc>
                          <a:spcPct val="100000"/>
                        </a:lnSpc>
                        <a:spcBef>
                          <a:spcPts val="450"/>
                        </a:spcBef>
                      </a:pPr>
                      <a:r>
                        <a:rPr lang="en-US" sz="1050" kern="1200" dirty="0">
                          <a:solidFill>
                            <a:srgbClr val="26194B"/>
                          </a:solidFill>
                          <a:latin typeface="CiscoSansTT ExtraLight" charset="0"/>
                          <a:ea typeface="CiscoSansTT ExtraLight" charset="0"/>
                          <a:cs typeface="CiscoSansTT ExtraLight" charset="0"/>
                        </a:rPr>
                        <a:t>2 Modular Port Adaptor bays of 100G each, MPA Options -</a:t>
                      </a:r>
                      <a:endParaRPr lang="sk-SK" sz="1050" kern="1200" dirty="0">
                        <a:solidFill>
                          <a:srgbClr val="26194B"/>
                        </a:solidFill>
                        <a:latin typeface="CiscoSansTT ExtraLight" charset="0"/>
                        <a:ea typeface="CiscoSansTT ExtraLight" charset="0"/>
                        <a:cs typeface="CiscoSansTT ExtraLight" charset="0"/>
                      </a:endParaRPr>
                    </a:p>
                    <a:p>
                      <a:pPr marL="630146" lvl="1" indent="-285715" algn="l" defTabSz="685743" rtl="0" eaLnBrk="1" latinLnBrk="0" hangingPunct="1">
                        <a:lnSpc>
                          <a:spcPct val="100000"/>
                        </a:lnSpc>
                        <a:spcBef>
                          <a:spcPts val="300"/>
                        </a:spcBef>
                        <a:buFont typeface="Wingdings" panose="05000000000000000000" pitchFamily="2" charset="2"/>
                        <a:buChar char="ü"/>
                      </a:pPr>
                      <a:r>
                        <a:rPr lang="en-US" sz="1050" b="1" u="sng" kern="1200" dirty="0">
                          <a:solidFill>
                            <a:srgbClr val="26194B"/>
                          </a:solidFill>
                          <a:latin typeface="CiscoSansTT ExtraLight" charset="0"/>
                          <a:ea typeface="CiscoSansTT ExtraLight" charset="0"/>
                          <a:cs typeface="CiscoSansTT ExtraLight" charset="0"/>
                        </a:rPr>
                        <a:t>1 ports of CFP2_DCO (OTN, 100G/200G DWDM)</a:t>
                      </a:r>
                      <a:endParaRPr lang="en-US" sz="1050" kern="1200" dirty="0">
                        <a:solidFill>
                          <a:srgbClr val="26194B"/>
                        </a:solidFill>
                        <a:latin typeface="CiscoSansTT ExtraLight" charset="0"/>
                        <a:ea typeface="CiscoSansTT ExtraLight" charset="0"/>
                        <a:cs typeface="CiscoSansTT ExtraLight" charset="0"/>
                      </a:endParaRPr>
                    </a:p>
                    <a:p>
                      <a:pPr marL="0" marR="0" lvl="0" indent="0" algn="ctr" defTabSz="685743" rtl="0" eaLnBrk="1" fontAlgn="auto" latinLnBrk="0" hangingPunct="1">
                        <a:lnSpc>
                          <a:spcPct val="100000"/>
                        </a:lnSpc>
                        <a:spcBef>
                          <a:spcPts val="0"/>
                        </a:spcBef>
                        <a:spcAft>
                          <a:spcPts val="0"/>
                        </a:spcAft>
                        <a:buClrTx/>
                        <a:buSzTx/>
                        <a:buFontTx/>
                        <a:buNone/>
                        <a:tabLst/>
                        <a:defRPr/>
                      </a:pPr>
                      <a:endParaRPr lang="en-US" sz="1050" b="0" kern="1200" dirty="0">
                        <a:solidFill>
                          <a:schemeClr val="tx2">
                            <a:lumMod val="50000"/>
                          </a:schemeClr>
                        </a:solidFill>
                        <a:latin typeface="CiscoSansTT" panose="020B0503020201020303" pitchFamily="34" charset="0"/>
                        <a:ea typeface="CiscoSansTT ExtraLight" charset="0"/>
                        <a:cs typeface="CiscoSansTT" panose="020B0503020201020303" pitchFamily="34" charset="0"/>
                      </a:endParaRP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628068347"/>
                  </a:ext>
                </a:extLst>
              </a:tr>
            </a:tbl>
          </a:graphicData>
        </a:graphic>
      </p:graphicFrame>
      <p:sp>
        <p:nvSpPr>
          <p:cNvPr id="4" name="TextBox 3"/>
          <p:cNvSpPr txBox="1"/>
          <p:nvPr/>
        </p:nvSpPr>
        <p:spPr>
          <a:xfrm>
            <a:off x="5377923" y="1246572"/>
            <a:ext cx="2735626" cy="261610"/>
          </a:xfrm>
          <a:prstGeom prst="rect">
            <a:avLst/>
          </a:prstGeom>
          <a:noFill/>
        </p:spPr>
        <p:txBody>
          <a:bodyPr wrap="square" rtlCol="0">
            <a:spAutoFit/>
          </a:bodyPr>
          <a:lstStyle/>
          <a:p>
            <a:pPr algn="ctr"/>
            <a:r>
              <a:rPr lang="en-US" sz="1100" dirty="0">
                <a:solidFill>
                  <a:schemeClr val="tx1">
                    <a:lumMod val="50000"/>
                  </a:schemeClr>
                </a:solidFill>
                <a:latin typeface="CiscoSansTT Heavy" panose="020B0903020201020303" pitchFamily="34" charset="0"/>
                <a:cs typeface="CiscoSansTT Heavy" panose="020B0903020201020303" pitchFamily="34" charset="0"/>
              </a:rPr>
              <a:t>A9K-MOD200-SE/TR</a:t>
            </a:r>
          </a:p>
        </p:txBody>
      </p:sp>
      <p:sp>
        <p:nvSpPr>
          <p:cNvPr id="5" name="Pentagon 4"/>
          <p:cNvSpPr/>
          <p:nvPr/>
        </p:nvSpPr>
        <p:spPr>
          <a:xfrm>
            <a:off x="348295" y="2623034"/>
            <a:ext cx="1218074" cy="302281"/>
          </a:xfrm>
          <a:prstGeom prst="homePlate">
            <a:avLst>
              <a:gd name="adj" fmla="val 28721"/>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solidFill>
                  <a:schemeClr val="tx1">
                    <a:lumMod val="50000"/>
                  </a:schemeClr>
                </a:solidFill>
              </a:rPr>
              <a:t>FORM FACTOR</a:t>
            </a:r>
          </a:p>
        </p:txBody>
      </p:sp>
      <p:sp>
        <p:nvSpPr>
          <p:cNvPr id="6" name="Pentagon 5"/>
          <p:cNvSpPr/>
          <p:nvPr/>
        </p:nvSpPr>
        <p:spPr>
          <a:xfrm>
            <a:off x="348295" y="3021046"/>
            <a:ext cx="1218074" cy="302281"/>
          </a:xfrm>
          <a:prstGeom prst="homePlate">
            <a:avLst>
              <a:gd name="adj" fmla="val 28721"/>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solidFill>
                  <a:schemeClr val="tx1">
                    <a:lumMod val="50000"/>
                  </a:schemeClr>
                </a:solidFill>
              </a:rPr>
              <a:t>ASIC</a:t>
            </a:r>
          </a:p>
        </p:txBody>
      </p:sp>
      <p:sp>
        <p:nvSpPr>
          <p:cNvPr id="7" name="Pentagon 6"/>
          <p:cNvSpPr/>
          <p:nvPr/>
        </p:nvSpPr>
        <p:spPr>
          <a:xfrm>
            <a:off x="348295" y="3380996"/>
            <a:ext cx="1218074" cy="1440611"/>
          </a:xfrm>
          <a:prstGeom prst="homePlate">
            <a:avLst>
              <a:gd name="adj" fmla="val 8644"/>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solidFill>
                  <a:schemeClr val="tx1">
                    <a:lumMod val="50000"/>
                  </a:schemeClr>
                </a:solidFill>
              </a:rPr>
              <a:t>CFP2 DCO MPAs SUPPORTED</a:t>
            </a:r>
          </a:p>
        </p:txBody>
      </p:sp>
      <p:pic>
        <p:nvPicPr>
          <p:cNvPr id="8" name="Picture 7"/>
          <p:cNvPicPr>
            <a:picLocks noChangeAspect="1"/>
          </p:cNvPicPr>
          <p:nvPr/>
        </p:nvPicPr>
        <p:blipFill>
          <a:blip r:embed="rId2"/>
          <a:stretch>
            <a:fillRect/>
          </a:stretch>
        </p:blipFill>
        <p:spPr>
          <a:xfrm>
            <a:off x="1727928" y="1624091"/>
            <a:ext cx="3017125" cy="417687"/>
          </a:xfrm>
          <a:prstGeom prst="rect">
            <a:avLst/>
          </a:prstGeom>
        </p:spPr>
      </p:pic>
      <p:pic>
        <p:nvPicPr>
          <p:cNvPr id="9" name="Picture 8"/>
          <p:cNvPicPr>
            <a:picLocks noChangeAspect="1"/>
          </p:cNvPicPr>
          <p:nvPr/>
        </p:nvPicPr>
        <p:blipFill>
          <a:blip r:embed="rId3"/>
          <a:stretch>
            <a:fillRect/>
          </a:stretch>
        </p:blipFill>
        <p:spPr>
          <a:xfrm>
            <a:off x="4095443" y="2108659"/>
            <a:ext cx="1261935" cy="307138"/>
          </a:xfrm>
          <a:prstGeom prst="rect">
            <a:avLst/>
          </a:prstGeom>
        </p:spPr>
      </p:pic>
      <p:pic>
        <p:nvPicPr>
          <p:cNvPr id="10" name="Picture 9"/>
          <p:cNvPicPr>
            <a:picLocks noChangeAspect="1"/>
          </p:cNvPicPr>
          <p:nvPr/>
        </p:nvPicPr>
        <p:blipFill>
          <a:blip r:embed="rId4"/>
          <a:stretch>
            <a:fillRect/>
          </a:stretch>
        </p:blipFill>
        <p:spPr>
          <a:xfrm>
            <a:off x="2071357" y="2081575"/>
            <a:ext cx="1231889" cy="337185"/>
          </a:xfrm>
          <a:prstGeom prst="rect">
            <a:avLst/>
          </a:prstGeom>
        </p:spPr>
      </p:pic>
      <p:sp>
        <p:nvSpPr>
          <p:cNvPr id="11" name="TextBox 10"/>
          <p:cNvSpPr txBox="1"/>
          <p:nvPr/>
        </p:nvSpPr>
        <p:spPr>
          <a:xfrm>
            <a:off x="1928870" y="1290800"/>
            <a:ext cx="2735626" cy="261610"/>
          </a:xfrm>
          <a:prstGeom prst="rect">
            <a:avLst/>
          </a:prstGeom>
          <a:noFill/>
        </p:spPr>
        <p:txBody>
          <a:bodyPr wrap="square" rtlCol="0">
            <a:spAutoFit/>
          </a:bodyPr>
          <a:lstStyle/>
          <a:p>
            <a:pPr algn="ctr"/>
            <a:r>
              <a:rPr lang="en-US" sz="1100" dirty="0">
                <a:solidFill>
                  <a:schemeClr val="tx1">
                    <a:lumMod val="50000"/>
                  </a:schemeClr>
                </a:solidFill>
                <a:latin typeface="CiscoSansTT Heavy" panose="020B0903020201020303" pitchFamily="34" charset="0"/>
                <a:cs typeface="CiscoSansTT Heavy" panose="020B0903020201020303" pitchFamily="34" charset="0"/>
              </a:rPr>
              <a:t>A9K-MOD400-SE/TR</a:t>
            </a:r>
          </a:p>
        </p:txBody>
      </p:sp>
      <p:grpSp>
        <p:nvGrpSpPr>
          <p:cNvPr id="12" name="Group 11"/>
          <p:cNvGrpSpPr/>
          <p:nvPr/>
        </p:nvGrpSpPr>
        <p:grpSpPr>
          <a:xfrm>
            <a:off x="5122271" y="1624091"/>
            <a:ext cx="3017125" cy="417687"/>
            <a:chOff x="4706681" y="1138316"/>
            <a:chExt cx="3017125" cy="417687"/>
          </a:xfrm>
        </p:grpSpPr>
        <p:pic>
          <p:nvPicPr>
            <p:cNvPr id="13" name="Picture 12"/>
            <p:cNvPicPr>
              <a:picLocks noChangeAspect="1"/>
            </p:cNvPicPr>
            <p:nvPr/>
          </p:nvPicPr>
          <p:blipFill>
            <a:blip r:embed="rId2"/>
            <a:stretch>
              <a:fillRect/>
            </a:stretch>
          </p:blipFill>
          <p:spPr>
            <a:xfrm>
              <a:off x="4706681" y="1138316"/>
              <a:ext cx="3017125" cy="417687"/>
            </a:xfrm>
            <a:prstGeom prst="rect">
              <a:avLst/>
            </a:prstGeom>
          </p:spPr>
        </p:pic>
        <p:pic>
          <p:nvPicPr>
            <p:cNvPr id="14" name="Picture 13"/>
            <p:cNvPicPr>
              <a:picLocks noChangeAspect="1"/>
            </p:cNvPicPr>
            <p:nvPr/>
          </p:nvPicPr>
          <p:blipFill>
            <a:blip r:embed="rId5"/>
            <a:stretch>
              <a:fillRect/>
            </a:stretch>
          </p:blipFill>
          <p:spPr>
            <a:xfrm>
              <a:off x="6330146" y="1223530"/>
              <a:ext cx="1071341" cy="242796"/>
            </a:xfrm>
            <a:prstGeom prst="rect">
              <a:avLst/>
            </a:prstGeom>
          </p:spPr>
        </p:pic>
        <p:pic>
          <p:nvPicPr>
            <p:cNvPr id="15" name="Picture 14"/>
            <p:cNvPicPr>
              <a:picLocks noChangeAspect="1"/>
            </p:cNvPicPr>
            <p:nvPr/>
          </p:nvPicPr>
          <p:blipFill>
            <a:blip r:embed="rId5"/>
            <a:stretch>
              <a:fillRect/>
            </a:stretch>
          </p:blipFill>
          <p:spPr>
            <a:xfrm>
              <a:off x="5086892" y="1223531"/>
              <a:ext cx="1071341" cy="242796"/>
            </a:xfrm>
            <a:prstGeom prst="rect">
              <a:avLst/>
            </a:prstGeom>
          </p:spPr>
        </p:pic>
      </p:grpSp>
      <p:sp>
        <p:nvSpPr>
          <p:cNvPr id="16" name="Rectangle 15"/>
          <p:cNvSpPr/>
          <p:nvPr/>
        </p:nvSpPr>
        <p:spPr>
          <a:xfrm>
            <a:off x="3970260" y="2404345"/>
            <a:ext cx="1608133" cy="261610"/>
          </a:xfrm>
          <a:prstGeom prst="rect">
            <a:avLst/>
          </a:prstGeom>
        </p:spPr>
        <p:txBody>
          <a:bodyPr wrap="none">
            <a:spAutoFit/>
          </a:bodyPr>
          <a:lstStyle/>
          <a:p>
            <a:r>
              <a:rPr lang="en-US" sz="1100" dirty="0">
                <a:solidFill>
                  <a:schemeClr val="tx1">
                    <a:lumMod val="50000"/>
                  </a:schemeClr>
                </a:solidFill>
                <a:latin typeface="CiscoSansTT Heavy" panose="020B0903020201020303" pitchFamily="34" charset="0"/>
                <a:cs typeface="CiscoSansTT Heavy" panose="020B0903020201020303" pitchFamily="34" charset="0"/>
              </a:rPr>
              <a:t>A9K-MPA-2X100GE</a:t>
            </a:r>
          </a:p>
        </p:txBody>
      </p:sp>
      <p:sp>
        <p:nvSpPr>
          <p:cNvPr id="17" name="Rectangle 16"/>
          <p:cNvSpPr/>
          <p:nvPr/>
        </p:nvSpPr>
        <p:spPr>
          <a:xfrm>
            <a:off x="1849872" y="2361424"/>
            <a:ext cx="1608133" cy="261610"/>
          </a:xfrm>
          <a:prstGeom prst="rect">
            <a:avLst/>
          </a:prstGeom>
        </p:spPr>
        <p:txBody>
          <a:bodyPr wrap="none">
            <a:spAutoFit/>
          </a:bodyPr>
          <a:lstStyle/>
          <a:p>
            <a:r>
              <a:rPr lang="en-US" sz="1100" dirty="0">
                <a:solidFill>
                  <a:schemeClr val="tx1">
                    <a:lumMod val="50000"/>
                  </a:schemeClr>
                </a:solidFill>
                <a:latin typeface="CiscoSansTT Heavy" panose="020B0903020201020303" pitchFamily="34" charset="0"/>
                <a:cs typeface="CiscoSansTT Heavy" panose="020B0903020201020303" pitchFamily="34" charset="0"/>
              </a:rPr>
              <a:t>A9K-MPA-1X100GE</a:t>
            </a:r>
          </a:p>
        </p:txBody>
      </p:sp>
      <p:pic>
        <p:nvPicPr>
          <p:cNvPr id="18" name="Picture 17">
            <a:extLst>
              <a:ext uri="{FF2B5EF4-FFF2-40B4-BE49-F238E27FC236}">
                <a16:creationId xmlns:a16="http://schemas.microsoft.com/office/drawing/2014/main" id="{FD0FDED7-8D57-4D9C-A0CF-39074A5467F2}"/>
              </a:ext>
            </a:extLst>
          </p:cNvPr>
          <p:cNvPicPr>
            <a:picLocks noChangeAspect="1"/>
          </p:cNvPicPr>
          <p:nvPr/>
        </p:nvPicPr>
        <p:blipFill>
          <a:blip r:embed="rId4"/>
          <a:stretch>
            <a:fillRect/>
          </a:stretch>
        </p:blipFill>
        <p:spPr>
          <a:xfrm flipH="1">
            <a:off x="6245407" y="2081576"/>
            <a:ext cx="1231889" cy="337185"/>
          </a:xfrm>
          <a:prstGeom prst="rect">
            <a:avLst/>
          </a:prstGeom>
        </p:spPr>
      </p:pic>
      <p:sp>
        <p:nvSpPr>
          <p:cNvPr id="19" name="Rectangle 18">
            <a:extLst>
              <a:ext uri="{FF2B5EF4-FFF2-40B4-BE49-F238E27FC236}">
                <a16:creationId xmlns:a16="http://schemas.microsoft.com/office/drawing/2014/main" id="{F50524EE-76E4-497D-92A1-6944DF003A96}"/>
              </a:ext>
            </a:extLst>
          </p:cNvPr>
          <p:cNvSpPr/>
          <p:nvPr/>
        </p:nvSpPr>
        <p:spPr>
          <a:xfrm>
            <a:off x="6070582" y="2404345"/>
            <a:ext cx="1834156" cy="261610"/>
          </a:xfrm>
          <a:prstGeom prst="rect">
            <a:avLst/>
          </a:prstGeom>
        </p:spPr>
        <p:txBody>
          <a:bodyPr wrap="none">
            <a:spAutoFit/>
          </a:bodyPr>
          <a:lstStyle/>
          <a:p>
            <a:r>
              <a:rPr lang="en-US" sz="1100" dirty="0">
                <a:solidFill>
                  <a:schemeClr val="tx1">
                    <a:lumMod val="50000"/>
                  </a:schemeClr>
                </a:solidFill>
                <a:latin typeface="CiscoSansTT Heavy" panose="020B0903020201020303" pitchFamily="34" charset="0"/>
                <a:cs typeface="CiscoSansTT Heavy" panose="020B0903020201020303" pitchFamily="34" charset="0"/>
              </a:rPr>
              <a:t>A9K-MPA-1X200GE</a:t>
            </a:r>
            <a:r>
              <a:rPr lang="en-US" sz="1100" i="1" baseline="30000" dirty="0">
                <a:solidFill>
                  <a:srgbClr val="FF0000"/>
                </a:solidFill>
                <a:highlight>
                  <a:srgbClr val="FFFF00"/>
                </a:highlight>
                <a:latin typeface="CiscoSansTT" panose="020B0503020201020303" pitchFamily="34" charset="0"/>
                <a:cs typeface="CiscoSansTT" panose="020B0503020201020303" pitchFamily="34" charset="0"/>
              </a:rPr>
              <a:t>New!</a:t>
            </a:r>
          </a:p>
        </p:txBody>
      </p:sp>
    </p:spTree>
    <p:extLst>
      <p:ext uri="{BB962C8B-B14F-4D97-AF65-F5344CB8AC3E}">
        <p14:creationId xmlns:p14="http://schemas.microsoft.com/office/powerpoint/2010/main" val="188889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31422" y="329284"/>
            <a:ext cx="7886700" cy="551899"/>
          </a:xfrm>
        </p:spPr>
        <p:txBody>
          <a:bodyPr/>
          <a:lstStyle/>
          <a:p>
            <a:r>
              <a:rPr lang="en-US" sz="2400" dirty="0">
                <a:solidFill>
                  <a:srgbClr val="005073"/>
                </a:solidFill>
                <a:latin typeface="CiscoSansTT ExtraLight" charset="0"/>
                <a:ea typeface="CiscoSansTT ExtraLight" charset="0"/>
                <a:cs typeface="CiscoSansTT ExtraLight" charset="0"/>
              </a:rPr>
              <a:t>NCS5500 </a:t>
            </a:r>
            <a:r>
              <a:rPr lang="en-US" sz="2400" dirty="0" err="1">
                <a:solidFill>
                  <a:srgbClr val="005073"/>
                </a:solidFill>
                <a:latin typeface="CiscoSansTT ExtraLight" charset="0"/>
                <a:ea typeface="CiscoSansTT ExtraLight" charset="0"/>
                <a:cs typeface="CiscoSansTT ExtraLight" charset="0"/>
              </a:rPr>
              <a:t>Fretta</a:t>
            </a:r>
            <a:r>
              <a:rPr lang="en-US" sz="2400" dirty="0">
                <a:solidFill>
                  <a:srgbClr val="005073"/>
                </a:solidFill>
                <a:latin typeface="CiscoSansTT ExtraLight" charset="0"/>
                <a:ea typeface="CiscoSansTT ExtraLight" charset="0"/>
                <a:cs typeface="CiscoSansTT ExtraLight" charset="0"/>
              </a:rPr>
              <a:t> MOD Cards/Routers</a:t>
            </a:r>
            <a:endParaRPr lang="en-US" sz="2400" dirty="0"/>
          </a:p>
        </p:txBody>
      </p:sp>
      <p:pic>
        <p:nvPicPr>
          <p:cNvPr id="18" name="Picture 17"/>
          <p:cNvPicPr>
            <a:picLocks noChangeAspect="1"/>
          </p:cNvPicPr>
          <p:nvPr/>
        </p:nvPicPr>
        <p:blipFill>
          <a:blip r:embed="rId2"/>
          <a:stretch>
            <a:fillRect/>
          </a:stretch>
        </p:blipFill>
        <p:spPr>
          <a:xfrm>
            <a:off x="1433334" y="1599594"/>
            <a:ext cx="1622651" cy="818557"/>
          </a:xfrm>
          <a:prstGeom prst="rect">
            <a:avLst/>
          </a:prstGeom>
        </p:spPr>
      </p:pic>
      <p:pic>
        <p:nvPicPr>
          <p:cNvPr id="19" name="Picture 18">
            <a:extLst>
              <a:ext uri="{FF2B5EF4-FFF2-40B4-BE49-F238E27FC236}">
                <a16:creationId xmlns:a16="http://schemas.microsoft.com/office/drawing/2014/main" id="{5CEE030B-6C25-AD4C-9BFE-FA2231EDDEAA}"/>
              </a:ext>
            </a:extLst>
          </p:cNvPr>
          <p:cNvPicPr>
            <a:picLocks noChangeAspect="1"/>
          </p:cNvPicPr>
          <p:nvPr/>
        </p:nvPicPr>
        <p:blipFill>
          <a:blip r:embed="rId3"/>
          <a:stretch>
            <a:fillRect/>
          </a:stretch>
        </p:blipFill>
        <p:spPr>
          <a:xfrm>
            <a:off x="3957766" y="1822669"/>
            <a:ext cx="2232771" cy="471514"/>
          </a:xfrm>
          <a:prstGeom prst="rect">
            <a:avLst/>
          </a:prstGeom>
        </p:spPr>
      </p:pic>
      <p:pic>
        <p:nvPicPr>
          <p:cNvPr id="20" name="Picture 19"/>
          <p:cNvPicPr>
            <a:picLocks noChangeAspect="1"/>
          </p:cNvPicPr>
          <p:nvPr/>
        </p:nvPicPr>
        <p:blipFill>
          <a:blip r:embed="rId4"/>
          <a:stretch>
            <a:fillRect/>
          </a:stretch>
        </p:blipFill>
        <p:spPr>
          <a:xfrm>
            <a:off x="6914357" y="1627521"/>
            <a:ext cx="1820795" cy="671157"/>
          </a:xfrm>
          <a:prstGeom prst="rect">
            <a:avLst/>
          </a:prstGeom>
        </p:spPr>
      </p:pic>
      <p:graphicFrame>
        <p:nvGraphicFramePr>
          <p:cNvPr id="21" name="Table 20"/>
          <p:cNvGraphicFramePr>
            <a:graphicFrameLocks noGrp="1"/>
          </p:cNvGraphicFramePr>
          <p:nvPr/>
        </p:nvGraphicFramePr>
        <p:xfrm>
          <a:off x="1321863" y="2646714"/>
          <a:ext cx="7757235" cy="2400577"/>
        </p:xfrm>
        <a:graphic>
          <a:graphicData uri="http://schemas.openxmlformats.org/drawingml/2006/table">
            <a:tbl>
              <a:tblPr firstRow="1" bandRow="1">
                <a:tableStyleId>{5C22544A-7EE6-4342-B048-85BDC9FD1C3A}</a:tableStyleId>
              </a:tblPr>
              <a:tblGrid>
                <a:gridCol w="2585745">
                  <a:extLst>
                    <a:ext uri="{9D8B030D-6E8A-4147-A177-3AD203B41FA5}">
                      <a16:colId xmlns:a16="http://schemas.microsoft.com/office/drawing/2014/main" val="2833865316"/>
                    </a:ext>
                  </a:extLst>
                </a:gridCol>
                <a:gridCol w="2585745">
                  <a:extLst>
                    <a:ext uri="{9D8B030D-6E8A-4147-A177-3AD203B41FA5}">
                      <a16:colId xmlns:a16="http://schemas.microsoft.com/office/drawing/2014/main" val="4123494416"/>
                    </a:ext>
                  </a:extLst>
                </a:gridCol>
                <a:gridCol w="2585745">
                  <a:extLst>
                    <a:ext uri="{9D8B030D-6E8A-4147-A177-3AD203B41FA5}">
                      <a16:colId xmlns:a16="http://schemas.microsoft.com/office/drawing/2014/main" val="3227546593"/>
                    </a:ext>
                  </a:extLst>
                </a:gridCol>
              </a:tblGrid>
              <a:tr h="294263">
                <a:tc>
                  <a:txBody>
                    <a:bodyPr/>
                    <a:lstStyle/>
                    <a:p>
                      <a:pPr marL="0" marR="0" lvl="0" indent="0" algn="ctr" defTabSz="685743" rtl="0" eaLnBrk="1" fontAlgn="auto" latinLnBrk="0" hangingPunct="1">
                        <a:lnSpc>
                          <a:spcPct val="100000"/>
                        </a:lnSpc>
                        <a:spcBef>
                          <a:spcPts val="0"/>
                        </a:spcBef>
                        <a:spcAft>
                          <a:spcPts val="0"/>
                        </a:spcAft>
                        <a:buClrTx/>
                        <a:buSzTx/>
                        <a:buFontTx/>
                        <a:buNone/>
                        <a:tabLst/>
                        <a:defRPr/>
                      </a:pPr>
                      <a:r>
                        <a:rPr lang="en-US" sz="1050" b="0" dirty="0">
                          <a:solidFill>
                            <a:schemeClr val="tx2">
                              <a:lumMod val="50000"/>
                            </a:schemeClr>
                          </a:solidFill>
                          <a:latin typeface="CiscoSansTT" panose="020B0503020201020303" pitchFamily="34" charset="0"/>
                          <a:ea typeface="CiscoSansTT ExtraLight" charset="0"/>
                          <a:cs typeface="CiscoSansTT" panose="020B0503020201020303" pitchFamily="34" charset="0"/>
                        </a:rPr>
                        <a:t>2RU, Depth ~ 11 inches, 280mm</a:t>
                      </a:r>
                      <a:endParaRPr lang="en-US" sz="1050" b="0" dirty="0">
                        <a:solidFill>
                          <a:schemeClr val="tx2">
                            <a:lumMod val="50000"/>
                          </a:schemeClr>
                        </a:solidFill>
                        <a:latin typeface="CiscoSansTT" panose="020B0503020201020303" pitchFamily="34" charset="0"/>
                        <a:cs typeface="CiscoSansTT" panose="020B0503020201020303" pitchFamily="34" charset="0"/>
                      </a:endParaRPr>
                    </a:p>
                  </a:txBody>
                  <a:tcPr anchor="ctr">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20000"/>
                          <a:lumOff val="80000"/>
                        </a:schemeClr>
                      </a:solidFill>
                      <a:prstDash val="solid"/>
                      <a:round/>
                      <a:headEnd type="none" w="med" len="med"/>
                      <a:tailEnd type="none" w="med" len="med"/>
                    </a:lnB>
                    <a:noFill/>
                  </a:tcPr>
                </a:tc>
                <a:tc>
                  <a:txBody>
                    <a:bodyPr/>
                    <a:lstStyle/>
                    <a:p>
                      <a:pPr algn="ctr"/>
                      <a:r>
                        <a:rPr lang="en-US" sz="1050" b="0" dirty="0">
                          <a:solidFill>
                            <a:schemeClr val="tx2">
                              <a:lumMod val="50000"/>
                            </a:schemeClr>
                          </a:solidFill>
                          <a:latin typeface="CiscoSansTT" panose="020B0503020201020303" pitchFamily="34" charset="0"/>
                          <a:cs typeface="CiscoSansTT" panose="020B0503020201020303" pitchFamily="34" charset="0"/>
                        </a:rPr>
                        <a:t>LC Slot</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20000"/>
                          <a:lumOff val="80000"/>
                        </a:schemeClr>
                      </a:solidFill>
                      <a:prstDash val="solid"/>
                      <a:round/>
                      <a:headEnd type="none" w="med" len="med"/>
                      <a:tailEnd type="none" w="med" len="med"/>
                    </a:lnB>
                    <a:noFill/>
                  </a:tcPr>
                </a:tc>
                <a:tc>
                  <a:txBody>
                    <a:bodyPr/>
                    <a:lstStyle/>
                    <a:p>
                      <a:pPr marL="0" marR="0" lvl="0" indent="0" algn="ctr" defTabSz="685743" rtl="0" eaLnBrk="1" fontAlgn="auto" latinLnBrk="0" hangingPunct="1">
                        <a:lnSpc>
                          <a:spcPct val="100000"/>
                        </a:lnSpc>
                        <a:spcBef>
                          <a:spcPts val="0"/>
                        </a:spcBef>
                        <a:spcAft>
                          <a:spcPts val="0"/>
                        </a:spcAft>
                        <a:buClrTx/>
                        <a:buSzTx/>
                        <a:buFontTx/>
                        <a:buNone/>
                        <a:tabLst/>
                        <a:defRPr/>
                      </a:pPr>
                      <a:r>
                        <a:rPr lang="en-US" sz="1050" b="0" dirty="0">
                          <a:solidFill>
                            <a:schemeClr val="tx2">
                              <a:lumMod val="50000"/>
                            </a:schemeClr>
                          </a:solidFill>
                          <a:latin typeface="CiscoSansTT" panose="020B0503020201020303" pitchFamily="34" charset="0"/>
                          <a:ea typeface="CiscoSansTT ExtraLight" charset="0"/>
                          <a:cs typeface="CiscoSansTT" panose="020B0503020201020303" pitchFamily="34" charset="0"/>
                        </a:rPr>
                        <a:t>2RU, Depth ~ 11 inches, 280mm</a:t>
                      </a:r>
                      <a:endParaRPr lang="en-US" sz="1050" b="0" dirty="0">
                        <a:solidFill>
                          <a:schemeClr val="tx2">
                            <a:lumMod val="50000"/>
                          </a:schemeClr>
                        </a:solidFill>
                        <a:latin typeface="CiscoSansTT" panose="020B0503020201020303" pitchFamily="34" charset="0"/>
                        <a:cs typeface="CiscoSansTT" panose="020B0503020201020303" pitchFamily="34" charset="0"/>
                      </a:endParaRPr>
                    </a:p>
                  </a:txBody>
                  <a:tcPr anchor="ctr">
                    <a:lnL w="12700" cap="flat" cmpd="sng" algn="ctr">
                      <a:solidFill>
                        <a:schemeClr val="accent1">
                          <a:lumMod val="60000"/>
                          <a:lumOff val="40000"/>
                        </a:schemeClr>
                      </a:solidFill>
                      <a:prstDash val="solid"/>
                      <a:round/>
                      <a:headEnd type="none" w="med" len="med"/>
                      <a:tailEnd type="none" w="med" len="med"/>
                    </a:lnL>
                    <a:lnB w="12700" cap="flat" cmpd="sng" algn="ctr">
                      <a:solidFill>
                        <a:schemeClr val="accent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081308493"/>
                  </a:ext>
                </a:extLst>
              </a:tr>
              <a:tr h="294263">
                <a:tc gridSpan="3">
                  <a:txBody>
                    <a:bodyPr/>
                    <a:lstStyle/>
                    <a:p>
                      <a:pPr marL="0" marR="0" lvl="0" indent="0" algn="ctr" defTabSz="685743" rtl="0" eaLnBrk="1" fontAlgn="auto" latinLnBrk="0" hangingPunct="1">
                        <a:lnSpc>
                          <a:spcPct val="100000"/>
                        </a:lnSpc>
                        <a:spcBef>
                          <a:spcPts val="0"/>
                        </a:spcBef>
                        <a:spcAft>
                          <a:spcPts val="0"/>
                        </a:spcAft>
                        <a:buClrTx/>
                        <a:buSzTx/>
                        <a:buFontTx/>
                        <a:buNone/>
                        <a:tabLst/>
                        <a:defRPr/>
                      </a:pPr>
                      <a:r>
                        <a:rPr lang="en-US" sz="1050" b="0" kern="1200" dirty="0">
                          <a:solidFill>
                            <a:schemeClr val="tx2">
                              <a:lumMod val="50000"/>
                            </a:schemeClr>
                          </a:solidFill>
                          <a:latin typeface="CiscoSansTT" panose="020B0503020201020303" pitchFamily="34" charset="0"/>
                          <a:ea typeface="CiscoSansTT ExtraLight" charset="0"/>
                          <a:cs typeface="CiscoSansTT" panose="020B0503020201020303" pitchFamily="34" charset="0"/>
                        </a:rPr>
                        <a:t>1x Forwarding ASIC @ 825 </a:t>
                      </a:r>
                      <a:r>
                        <a:rPr lang="en-US" sz="1050" b="0" kern="1200" dirty="0" err="1">
                          <a:solidFill>
                            <a:schemeClr val="tx2">
                              <a:lumMod val="50000"/>
                            </a:schemeClr>
                          </a:solidFill>
                          <a:latin typeface="CiscoSansTT" panose="020B0503020201020303" pitchFamily="34" charset="0"/>
                          <a:ea typeface="CiscoSansTT ExtraLight" charset="0"/>
                          <a:cs typeface="CiscoSansTT" panose="020B0503020201020303" pitchFamily="34" charset="0"/>
                        </a:rPr>
                        <a:t>Mpps</a:t>
                      </a:r>
                      <a:r>
                        <a:rPr lang="en-US" sz="1050" b="0" kern="1200" dirty="0">
                          <a:solidFill>
                            <a:schemeClr val="tx2">
                              <a:lumMod val="50000"/>
                            </a:schemeClr>
                          </a:solidFill>
                          <a:latin typeface="CiscoSansTT" panose="020B0503020201020303" pitchFamily="34" charset="0"/>
                          <a:ea typeface="CiscoSansTT ExtraLight" charset="0"/>
                          <a:cs typeface="CiscoSansTT" panose="020B0503020201020303" pitchFamily="34" charset="0"/>
                        </a:rPr>
                        <a:t> / 900 </a:t>
                      </a:r>
                      <a:r>
                        <a:rPr lang="en-US" sz="1050" b="0" kern="1200" dirty="0" err="1">
                          <a:solidFill>
                            <a:schemeClr val="tx2">
                              <a:lumMod val="50000"/>
                            </a:schemeClr>
                          </a:solidFill>
                          <a:latin typeface="CiscoSansTT" panose="020B0503020201020303" pitchFamily="34" charset="0"/>
                          <a:ea typeface="CiscoSansTT ExtraLight" charset="0"/>
                          <a:cs typeface="CiscoSansTT" panose="020B0503020201020303" pitchFamily="34" charset="0"/>
                        </a:rPr>
                        <a:t>Gbps</a:t>
                      </a:r>
                      <a:endParaRPr lang="en-US" sz="1050" b="0" kern="1200" dirty="0">
                        <a:solidFill>
                          <a:schemeClr val="tx2">
                            <a:lumMod val="50000"/>
                          </a:schemeClr>
                        </a:solidFill>
                        <a:latin typeface="CiscoSansTT" panose="020B0503020201020303" pitchFamily="34" charset="0"/>
                        <a:ea typeface="CiscoSansTT ExtraLight" charset="0"/>
                        <a:cs typeface="CiscoSansTT" panose="020B0503020201020303" pitchFamily="34" charset="0"/>
                      </a:endParaRPr>
                    </a:p>
                  </a:txBody>
                  <a:tcPr anchor="ct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noFill/>
                  </a:tcPr>
                </a:tc>
                <a:tc hMerge="1">
                  <a:txBody>
                    <a:bodyPr/>
                    <a:lstStyle/>
                    <a:p>
                      <a:pPr algn="ctr"/>
                      <a:endParaRPr lang="en-US" sz="1050" b="0" dirty="0">
                        <a:solidFill>
                          <a:schemeClr val="tx2">
                            <a:lumMod val="50000"/>
                          </a:schemeClr>
                        </a:solidFill>
                        <a:latin typeface="CiscoSansTT" panose="020B0503020201020303" pitchFamily="34" charset="0"/>
                        <a:cs typeface="CiscoSansTT" panose="020B0503020201020303" pitchFamily="34" charset="0"/>
                      </a:endParaRP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noFill/>
                  </a:tcPr>
                </a:tc>
                <a:tc hMerge="1">
                  <a:txBody>
                    <a:bodyPr/>
                    <a:lstStyle/>
                    <a:p>
                      <a:pPr algn="ctr"/>
                      <a:endParaRPr lang="en-US" sz="1050" b="0" dirty="0">
                        <a:solidFill>
                          <a:schemeClr val="tx2">
                            <a:lumMod val="50000"/>
                          </a:schemeClr>
                        </a:solidFill>
                        <a:latin typeface="CiscoSansTT" panose="020B0503020201020303" pitchFamily="34" charset="0"/>
                        <a:cs typeface="CiscoSansTT" panose="020B0503020201020303" pitchFamily="34" charset="0"/>
                      </a:endParaRPr>
                    </a:p>
                  </a:txBody>
                  <a:tcPr anchor="ctr">
                    <a:lnL w="12700" cap="flat" cmpd="sng" algn="ctr">
                      <a:solidFill>
                        <a:schemeClr val="accent1">
                          <a:lumMod val="60000"/>
                          <a:lumOff val="40000"/>
                        </a:schemeClr>
                      </a:solidFill>
                      <a:prstDash val="solid"/>
                      <a:round/>
                      <a:headEnd type="none" w="med" len="med"/>
                      <a:tailEnd type="none" w="med" len="med"/>
                    </a:lnL>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79101063"/>
                  </a:ext>
                </a:extLst>
              </a:tr>
              <a:tr h="564263">
                <a:tc>
                  <a:txBody>
                    <a:bodyPr/>
                    <a:lstStyle/>
                    <a:p>
                      <a:pPr algn="l">
                        <a:lnSpc>
                          <a:spcPct val="100000"/>
                        </a:lnSpc>
                        <a:spcBef>
                          <a:spcPts val="450"/>
                        </a:spcBef>
                      </a:pPr>
                      <a:r>
                        <a:rPr lang="en-US" sz="1050" dirty="0">
                          <a:solidFill>
                            <a:srgbClr val="26194B"/>
                          </a:solidFill>
                          <a:latin typeface="CiscoSansTT ExtraLight" charset="0"/>
                          <a:ea typeface="CiscoSansTT ExtraLight" charset="0"/>
                          <a:cs typeface="CiscoSansTT ExtraLight" charset="0"/>
                        </a:rPr>
                        <a:t>Fixed : 24 ports 1/10G &amp; 16 ports 1/10/25G.</a:t>
                      </a:r>
                      <a:r>
                        <a:rPr lang="en-US" sz="1050" baseline="0" dirty="0">
                          <a:solidFill>
                            <a:srgbClr val="26194B"/>
                          </a:solidFill>
                          <a:latin typeface="CiscoSansTT ExtraLight" charset="0"/>
                          <a:ea typeface="CiscoSansTT ExtraLight" charset="0"/>
                          <a:cs typeface="CiscoSansTT ExtraLight" charset="0"/>
                        </a:rPr>
                        <a:t> </a:t>
                      </a:r>
                      <a:r>
                        <a:rPr lang="en-US" sz="1050" b="0" baseline="0" dirty="0">
                          <a:solidFill>
                            <a:srgbClr val="26194B"/>
                          </a:solidFill>
                          <a:latin typeface="CiscoSansTT ExtraLight" charset="0"/>
                          <a:ea typeface="CiscoSansTT ExtraLight" charset="0"/>
                          <a:cs typeface="CiscoSansTT ExtraLight" charset="0"/>
                        </a:rPr>
                        <a:t>All ports </a:t>
                      </a:r>
                      <a:r>
                        <a:rPr lang="en-US" sz="1050" b="0" baseline="0" dirty="0" err="1">
                          <a:solidFill>
                            <a:srgbClr val="26194B"/>
                          </a:solidFill>
                          <a:latin typeface="CiscoSansTT ExtraLight" charset="0"/>
                          <a:ea typeface="CiscoSansTT ExtraLight" charset="0"/>
                          <a:cs typeface="CiscoSansTT ExtraLight" charset="0"/>
                        </a:rPr>
                        <a:t>Macsec</a:t>
                      </a:r>
                      <a:r>
                        <a:rPr lang="en-US" sz="1050" b="0" baseline="0" dirty="0">
                          <a:solidFill>
                            <a:srgbClr val="26194B"/>
                          </a:solidFill>
                          <a:latin typeface="CiscoSansTT ExtraLight" charset="0"/>
                          <a:ea typeface="CiscoSansTT ExtraLight" charset="0"/>
                          <a:cs typeface="CiscoSansTT ExtraLight" charset="0"/>
                        </a:rPr>
                        <a:t> Capable</a:t>
                      </a:r>
                      <a:endParaRPr lang="en-US" sz="1050" b="0" dirty="0">
                        <a:solidFill>
                          <a:srgbClr val="26194B"/>
                        </a:solidFill>
                        <a:latin typeface="CiscoSansTT ExtraLight" charset="0"/>
                        <a:ea typeface="CiscoSansTT ExtraLight" charset="0"/>
                        <a:cs typeface="CiscoSansTT ExtraLight" charset="0"/>
                      </a:endParaRPr>
                    </a:p>
                  </a:txBody>
                  <a:tcPr>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685743" rtl="0" eaLnBrk="1" fontAlgn="auto" latinLnBrk="0" hangingPunct="1">
                        <a:lnSpc>
                          <a:spcPct val="100000"/>
                        </a:lnSpc>
                        <a:spcBef>
                          <a:spcPts val="0"/>
                        </a:spcBef>
                        <a:spcAft>
                          <a:spcPts val="0"/>
                        </a:spcAft>
                        <a:buClrTx/>
                        <a:buSzTx/>
                        <a:buFontTx/>
                        <a:buNone/>
                        <a:tabLst/>
                        <a:defRPr/>
                      </a:pPr>
                      <a:r>
                        <a:rPr lang="en-US" sz="1050" dirty="0">
                          <a:solidFill>
                            <a:srgbClr val="26194B"/>
                          </a:solidFill>
                          <a:latin typeface="CiscoSansTT ExtraLight" charset="0"/>
                          <a:ea typeface="CiscoSansTT ExtraLight" charset="0"/>
                          <a:cs typeface="CiscoSansTT ExtraLight" charset="0"/>
                        </a:rPr>
                        <a:t>Fixed ports – 12 ports of 1/10G SFP+, 2 ports of 40G QSFP+</a:t>
                      </a:r>
                      <a:endParaRPr lang="en-US" sz="1050" b="0" dirty="0">
                        <a:solidFill>
                          <a:schemeClr val="tx2">
                            <a:lumMod val="50000"/>
                          </a:schemeClr>
                        </a:solidFill>
                        <a:latin typeface="CiscoSansTT" panose="020B0503020201020303" pitchFamily="34" charset="0"/>
                        <a:cs typeface="CiscoSansTT" panose="020B0503020201020303" pitchFamily="34" charset="0"/>
                      </a:endParaRP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tx1">
                        <a:lumMod val="10000"/>
                        <a:lumOff val="90000"/>
                      </a:schemeClr>
                    </a:solidFill>
                  </a:tcPr>
                </a:tc>
                <a:tc>
                  <a:txBody>
                    <a:bodyPr/>
                    <a:lstStyle/>
                    <a:p>
                      <a:pPr algn="l">
                        <a:lnSpc>
                          <a:spcPct val="100000"/>
                        </a:lnSpc>
                        <a:spcBef>
                          <a:spcPts val="450"/>
                        </a:spcBef>
                      </a:pPr>
                      <a:r>
                        <a:rPr lang="en-US" sz="1050" dirty="0">
                          <a:solidFill>
                            <a:srgbClr val="26194B"/>
                          </a:solidFill>
                          <a:latin typeface="CiscoSansTT ExtraLight" charset="0"/>
                          <a:ea typeface="CiscoSansTT ExtraLight" charset="0"/>
                          <a:cs typeface="CiscoSansTT ExtraLight" charset="0"/>
                        </a:rPr>
                        <a:t>Fixed : 24 ports 1/10G &amp; 16 ports 1/10/25G.</a:t>
                      </a:r>
                      <a:r>
                        <a:rPr lang="en-US" sz="1050" baseline="0" dirty="0">
                          <a:solidFill>
                            <a:srgbClr val="26194B"/>
                          </a:solidFill>
                          <a:latin typeface="CiscoSansTT ExtraLight" charset="0"/>
                          <a:ea typeface="CiscoSansTT ExtraLight" charset="0"/>
                          <a:cs typeface="CiscoSansTT ExtraLight" charset="0"/>
                        </a:rPr>
                        <a:t> </a:t>
                      </a:r>
                      <a:r>
                        <a:rPr lang="en-US" sz="1050" b="0" baseline="0" dirty="0">
                          <a:solidFill>
                            <a:srgbClr val="26194B"/>
                          </a:solidFill>
                          <a:latin typeface="CiscoSansTT ExtraLight" charset="0"/>
                          <a:ea typeface="CiscoSansTT ExtraLight" charset="0"/>
                          <a:cs typeface="CiscoSansTT ExtraLight" charset="0"/>
                        </a:rPr>
                        <a:t>16 10/25G </a:t>
                      </a:r>
                      <a:r>
                        <a:rPr lang="en-US" sz="1050" b="0" baseline="0" dirty="0" err="1">
                          <a:solidFill>
                            <a:srgbClr val="26194B"/>
                          </a:solidFill>
                          <a:latin typeface="CiscoSansTT ExtraLight" charset="0"/>
                          <a:ea typeface="CiscoSansTT ExtraLight" charset="0"/>
                          <a:cs typeface="CiscoSansTT ExtraLight" charset="0"/>
                        </a:rPr>
                        <a:t>Macsec</a:t>
                      </a:r>
                      <a:r>
                        <a:rPr lang="en-US" sz="1050" b="0" baseline="0" dirty="0">
                          <a:solidFill>
                            <a:srgbClr val="26194B"/>
                          </a:solidFill>
                          <a:latin typeface="CiscoSansTT ExtraLight" charset="0"/>
                          <a:ea typeface="CiscoSansTT ExtraLight" charset="0"/>
                          <a:cs typeface="CiscoSansTT ExtraLight" charset="0"/>
                        </a:rPr>
                        <a:t> capable</a:t>
                      </a:r>
                    </a:p>
                    <a:p>
                      <a:pPr algn="l">
                        <a:lnSpc>
                          <a:spcPct val="100000"/>
                        </a:lnSpc>
                        <a:spcBef>
                          <a:spcPts val="450"/>
                        </a:spcBef>
                      </a:pPr>
                      <a:r>
                        <a:rPr lang="en-US" sz="1050" baseline="0" dirty="0">
                          <a:solidFill>
                            <a:srgbClr val="26194B"/>
                          </a:solidFill>
                          <a:latin typeface="CiscoSansTT ExtraLight" charset="0"/>
                          <a:ea typeface="CiscoSansTT ExtraLight" charset="0"/>
                          <a:cs typeface="CiscoSansTT ExtraLight" charset="0"/>
                        </a:rPr>
                        <a:t>All ports support DWDM</a:t>
                      </a:r>
                    </a:p>
                  </a:txBody>
                  <a:tcPr>
                    <a:lnL w="12700" cap="flat" cmpd="sng" algn="ctr">
                      <a:solidFill>
                        <a:schemeClr val="accent1">
                          <a:lumMod val="60000"/>
                          <a:lumOff val="40000"/>
                        </a:schemeClr>
                      </a:solidFill>
                      <a:prstDash val="solid"/>
                      <a:round/>
                      <a:headEnd type="none" w="med" len="med"/>
                      <a:tailEnd type="none" w="med" len="med"/>
                    </a:lnL>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067109810"/>
                  </a:ext>
                </a:extLst>
              </a:tr>
              <a:tr h="1177051">
                <a:tc gridSpan="2">
                  <a:txBody>
                    <a:bodyPr/>
                    <a:lstStyle/>
                    <a:p>
                      <a:pPr algn="l" defTabSz="685743" rtl="0" eaLnBrk="1" latinLnBrk="0" hangingPunct="1">
                        <a:lnSpc>
                          <a:spcPct val="100000"/>
                        </a:lnSpc>
                        <a:spcBef>
                          <a:spcPts val="450"/>
                        </a:spcBef>
                      </a:pPr>
                      <a:r>
                        <a:rPr lang="en-US" sz="1050" kern="1200" dirty="0">
                          <a:solidFill>
                            <a:srgbClr val="26194B"/>
                          </a:solidFill>
                          <a:latin typeface="CiscoSansTT ExtraLight" charset="0"/>
                          <a:ea typeface="CiscoSansTT ExtraLight" charset="0"/>
                          <a:cs typeface="CiscoSansTT ExtraLight" charset="0"/>
                        </a:rPr>
                        <a:t>2 Modular Port Adaptor bays of 400G each, MPA Options -</a:t>
                      </a:r>
                      <a:endParaRPr lang="sk-SK" sz="1050" kern="1200" dirty="0">
                        <a:solidFill>
                          <a:srgbClr val="26194B"/>
                        </a:solidFill>
                        <a:latin typeface="CiscoSansTT ExtraLight" charset="0"/>
                        <a:ea typeface="CiscoSansTT ExtraLight" charset="0"/>
                        <a:cs typeface="CiscoSansTT ExtraLight" charset="0"/>
                      </a:endParaRPr>
                    </a:p>
                    <a:p>
                      <a:pPr marL="630146" lvl="1" indent="-285715" algn="l" defTabSz="685743" rtl="0" eaLnBrk="1" latinLnBrk="0" hangingPunct="1">
                        <a:lnSpc>
                          <a:spcPct val="100000"/>
                        </a:lnSpc>
                        <a:spcBef>
                          <a:spcPts val="300"/>
                        </a:spcBef>
                        <a:buFont typeface="Wingdings" panose="05000000000000000000" pitchFamily="2" charset="2"/>
                        <a:buChar char="ü"/>
                      </a:pPr>
                      <a:r>
                        <a:rPr lang="en-US" sz="1050" b="1" u="sng" kern="1200" dirty="0">
                          <a:solidFill>
                            <a:srgbClr val="26194B"/>
                          </a:solidFill>
                          <a:latin typeface="CiscoSansTT ExtraLight" charset="0"/>
                          <a:ea typeface="CiscoSansTT ExtraLight" charset="0"/>
                          <a:cs typeface="CiscoSansTT ExtraLight" charset="0"/>
                        </a:rPr>
                        <a:t>2 ports of CFP2_DCO (OTN, 100G/200G DWDM)</a:t>
                      </a:r>
                      <a:r>
                        <a:rPr lang="en-US" sz="1050" kern="1200" dirty="0">
                          <a:solidFill>
                            <a:srgbClr val="26194B"/>
                          </a:solidFill>
                          <a:latin typeface="CiscoSansTT ExtraLight" charset="0"/>
                          <a:ea typeface="CiscoSansTT ExtraLight" charset="0"/>
                          <a:cs typeface="CiscoSansTT ExtraLight" charset="0"/>
                        </a:rPr>
                        <a:t>, </a:t>
                      </a:r>
                      <a:r>
                        <a:rPr lang="de-DE" sz="1050" kern="1200" dirty="0">
                          <a:solidFill>
                            <a:srgbClr val="26194B"/>
                          </a:solidFill>
                          <a:latin typeface="CiscoSansTT ExtraLight" charset="0"/>
                          <a:ea typeface="CiscoSansTT ExtraLight" charset="0"/>
                          <a:cs typeface="CiscoSansTT ExtraLight" charset="0"/>
                        </a:rPr>
                        <a:t>MACSec capable</a:t>
                      </a:r>
                      <a:endParaRPr lang="en-US" sz="1050" kern="1200" dirty="0">
                        <a:solidFill>
                          <a:srgbClr val="26194B"/>
                        </a:solidFill>
                        <a:latin typeface="CiscoSansTT ExtraLight" charset="0"/>
                        <a:ea typeface="CiscoSansTT ExtraLight" charset="0"/>
                        <a:cs typeface="CiscoSansTT ExtraLight" charset="0"/>
                      </a:endParaRPr>
                    </a:p>
                    <a:p>
                      <a:pPr marL="630146" lvl="1" indent="-285715" algn="l" defTabSz="685743" rtl="0" eaLnBrk="1" latinLnBrk="0" hangingPunct="1">
                        <a:lnSpc>
                          <a:spcPct val="100000"/>
                        </a:lnSpc>
                        <a:spcBef>
                          <a:spcPts val="300"/>
                        </a:spcBef>
                        <a:buFont typeface="Wingdings" panose="05000000000000000000" pitchFamily="2" charset="2"/>
                        <a:buChar char="ü"/>
                      </a:pPr>
                      <a:r>
                        <a:rPr lang="de-DE" sz="1050" kern="1200" dirty="0">
                          <a:solidFill>
                            <a:srgbClr val="26194B"/>
                          </a:solidFill>
                          <a:latin typeface="CiscoSansTT ExtraLight" charset="0"/>
                          <a:ea typeface="CiscoSansTT ExtraLight" charset="0"/>
                          <a:cs typeface="CiscoSansTT ExtraLight" charset="0"/>
                        </a:rPr>
                        <a:t>4 ports of QSFP28 (4x10G/40G/100G), MACSec Capable</a:t>
                      </a:r>
                    </a:p>
                    <a:p>
                      <a:pPr marL="630146" lvl="1" indent="-285715" algn="l" defTabSz="685743" rtl="0" eaLnBrk="1" latinLnBrk="0" hangingPunct="1">
                        <a:lnSpc>
                          <a:spcPct val="100000"/>
                        </a:lnSpc>
                        <a:spcBef>
                          <a:spcPts val="300"/>
                        </a:spcBef>
                        <a:buFont typeface="Wingdings" panose="05000000000000000000" pitchFamily="2" charset="2"/>
                        <a:buChar char="ü"/>
                      </a:pPr>
                      <a:r>
                        <a:rPr lang="en-US" sz="1050" b="1" u="sng" kern="1200" dirty="0">
                          <a:solidFill>
                            <a:srgbClr val="26194B"/>
                          </a:solidFill>
                          <a:latin typeface="CiscoSansTT ExtraLight" charset="0"/>
                          <a:ea typeface="CiscoSansTT ExtraLight" charset="0"/>
                          <a:cs typeface="CiscoSansTT ExtraLight" charset="0"/>
                        </a:rPr>
                        <a:t>1 ports of CFP2_DCO (OTN, 100G/200G DWDM)</a:t>
                      </a:r>
                      <a:r>
                        <a:rPr lang="en-US" sz="1050" b="1" kern="1200" dirty="0">
                          <a:solidFill>
                            <a:srgbClr val="26194B"/>
                          </a:solidFill>
                          <a:latin typeface="CiscoSansTT ExtraLight" charset="0"/>
                          <a:ea typeface="CiscoSansTT ExtraLight" charset="0"/>
                          <a:cs typeface="CiscoSansTT ExtraLight" charset="0"/>
                        </a:rPr>
                        <a:t> </a:t>
                      </a:r>
                      <a:r>
                        <a:rPr lang="en-US" sz="1050" kern="1200" dirty="0">
                          <a:solidFill>
                            <a:srgbClr val="26194B"/>
                          </a:solidFill>
                          <a:latin typeface="CiscoSansTT ExtraLight" charset="0"/>
                          <a:ea typeface="CiscoSansTT ExtraLight" charset="0"/>
                          <a:cs typeface="CiscoSansTT ExtraLight" charset="0"/>
                        </a:rPr>
                        <a:t>+ </a:t>
                      </a:r>
                      <a:r>
                        <a:rPr lang="de-DE" sz="1050" kern="1200" dirty="0">
                          <a:solidFill>
                            <a:srgbClr val="26194B"/>
                          </a:solidFill>
                          <a:latin typeface="CiscoSansTT ExtraLight" charset="0"/>
                          <a:ea typeface="CiscoSansTT ExtraLight" charset="0"/>
                          <a:cs typeface="CiscoSansTT ExtraLight" charset="0"/>
                        </a:rPr>
                        <a:t>2 ports of QSFP28 (4x10G/40G/100G), MACSec capable</a:t>
                      </a:r>
                      <a:endParaRPr lang="en-US" sz="1050" kern="1200" dirty="0">
                        <a:solidFill>
                          <a:srgbClr val="26194B"/>
                        </a:solidFill>
                        <a:latin typeface="CiscoSansTT ExtraLight" charset="0"/>
                        <a:ea typeface="CiscoSansTT ExtraLight" charset="0"/>
                        <a:cs typeface="CiscoSansTT ExtraLight" charset="0"/>
                      </a:endParaRPr>
                    </a:p>
                  </a:txBody>
                  <a:tcPr>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noFill/>
                  </a:tcPr>
                </a:tc>
                <a:tc hMerge="1">
                  <a:txBody>
                    <a:bodyPr/>
                    <a:lstStyle/>
                    <a:p>
                      <a:pPr algn="ctr"/>
                      <a:endParaRPr lang="en-US" sz="1050" b="0" dirty="0">
                        <a:solidFill>
                          <a:schemeClr val="tx2">
                            <a:lumMod val="50000"/>
                          </a:schemeClr>
                        </a:solidFill>
                        <a:latin typeface="CiscoSansTT" panose="020B0503020201020303" pitchFamily="34" charset="0"/>
                        <a:cs typeface="CiscoSansTT" panose="020B0503020201020303" pitchFamily="34" charset="0"/>
                      </a:endParaRP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noFill/>
                  </a:tcPr>
                </a:tc>
                <a:tc>
                  <a:txBody>
                    <a:bodyPr/>
                    <a:lstStyle/>
                    <a:p>
                      <a:pPr marL="0" indent="0" algn="l" defTabSz="685743" rtl="0" eaLnBrk="1" fontAlgn="base" latinLnBrk="0" hangingPunct="1">
                        <a:lnSpc>
                          <a:spcPct val="100000"/>
                        </a:lnSpc>
                        <a:spcBef>
                          <a:spcPts val="450"/>
                        </a:spcBef>
                        <a:spcAft>
                          <a:spcPct val="0"/>
                        </a:spcAft>
                      </a:pPr>
                      <a:r>
                        <a:rPr lang="en-US" sz="1050" kern="1200" dirty="0">
                          <a:solidFill>
                            <a:srgbClr val="26194B"/>
                          </a:solidFill>
                          <a:latin typeface="CiscoSansTT ExtraLight" charset="0"/>
                          <a:ea typeface="CiscoSansTT ExtraLight" charset="0"/>
                          <a:cs typeface="CiscoSansTT ExtraLight" charset="0"/>
                        </a:rPr>
                        <a:t>2 Modular Port Adaptor bays of 400G each(Temp Hardened), MPA Options:</a:t>
                      </a:r>
                    </a:p>
                    <a:p>
                      <a:pPr marL="514319" marR="0" lvl="1" indent="-171450" algn="l" defTabSz="685743" rtl="0" eaLnBrk="1" fontAlgn="base" latinLnBrk="0" hangingPunct="1">
                        <a:lnSpc>
                          <a:spcPct val="100000"/>
                        </a:lnSpc>
                        <a:spcBef>
                          <a:spcPts val="450"/>
                        </a:spcBef>
                        <a:spcAft>
                          <a:spcPct val="0"/>
                        </a:spcAft>
                        <a:buClrTx/>
                        <a:buSzTx/>
                        <a:buFont typeface="Wingdings" panose="05000000000000000000" pitchFamily="2" charset="2"/>
                        <a:buChar char="ü"/>
                        <a:tabLst/>
                        <a:defRPr/>
                      </a:pPr>
                      <a:r>
                        <a:rPr lang="en-GB" sz="1050" b="1" u="sng" kern="1200" dirty="0">
                          <a:solidFill>
                            <a:srgbClr val="26194B"/>
                          </a:solidFill>
                          <a:latin typeface="CiscoSansTT ExtraLight" charset="0"/>
                          <a:ea typeface="CiscoSansTT ExtraLight" charset="0"/>
                          <a:cs typeface="CiscoSansTT ExtraLight" charset="0"/>
                        </a:rPr>
                        <a:t>2X100/200G CFP2  – Temp Hardened</a:t>
                      </a:r>
                      <a:endParaRPr lang="de-DE" sz="1050" b="1" u="sng" kern="1200" dirty="0">
                        <a:solidFill>
                          <a:srgbClr val="26194B"/>
                        </a:solidFill>
                        <a:latin typeface="CiscoSansTT ExtraLight" charset="0"/>
                        <a:ea typeface="CiscoSansTT ExtraLight" charset="0"/>
                        <a:cs typeface="CiscoSansTT ExtraLight" charset="0"/>
                      </a:endParaRPr>
                    </a:p>
                  </a:txBody>
                  <a:tcPr>
                    <a:lnL w="12700" cap="flat" cmpd="sng" algn="ctr">
                      <a:solidFill>
                        <a:schemeClr val="accent1">
                          <a:lumMod val="60000"/>
                          <a:lumOff val="40000"/>
                        </a:schemeClr>
                      </a:solidFill>
                      <a:prstDash val="solid"/>
                      <a:round/>
                      <a:headEnd type="none" w="med" len="med"/>
                      <a:tailEnd type="none" w="med" len="med"/>
                    </a:lnL>
                    <a:lnT w="12700" cap="flat" cmpd="sng" algn="ctr">
                      <a:solidFill>
                        <a:schemeClr val="accent1">
                          <a:lumMod val="20000"/>
                          <a:lumOff val="80000"/>
                        </a:schemeClr>
                      </a:solidFill>
                      <a:prstDash val="solid"/>
                      <a:round/>
                      <a:headEnd type="none" w="med" len="med"/>
                      <a:tailEnd type="none" w="med" len="med"/>
                    </a:lnT>
                    <a:noFill/>
                  </a:tcPr>
                </a:tc>
                <a:extLst>
                  <a:ext uri="{0D108BD9-81ED-4DB2-BD59-A6C34878D82A}">
                    <a16:rowId xmlns:a16="http://schemas.microsoft.com/office/drawing/2014/main" val="3961226569"/>
                  </a:ext>
                </a:extLst>
              </a:tr>
            </a:tbl>
          </a:graphicData>
        </a:graphic>
      </p:graphicFrame>
      <p:sp>
        <p:nvSpPr>
          <p:cNvPr id="22" name="TextBox 21"/>
          <p:cNvSpPr txBox="1"/>
          <p:nvPr/>
        </p:nvSpPr>
        <p:spPr>
          <a:xfrm>
            <a:off x="944262" y="1196326"/>
            <a:ext cx="2735626" cy="216206"/>
          </a:xfrm>
          <a:prstGeom prst="rect">
            <a:avLst/>
          </a:prstGeom>
          <a:noFill/>
        </p:spPr>
        <p:txBody>
          <a:bodyPr wrap="square" rtlCol="0">
            <a:spAutoFit/>
          </a:bodyPr>
          <a:lstStyle/>
          <a:p>
            <a:pPr algn="ctr"/>
            <a:r>
              <a:rPr lang="en-US" sz="1100" dirty="0">
                <a:solidFill>
                  <a:schemeClr val="tx1">
                    <a:lumMod val="50000"/>
                  </a:schemeClr>
                </a:solidFill>
                <a:latin typeface="CiscoSansTT Heavy" panose="020B0903020201020303" pitchFamily="34" charset="0"/>
                <a:cs typeface="CiscoSansTT Heavy" panose="020B0903020201020303" pitchFamily="34" charset="0"/>
              </a:rPr>
              <a:t>NCS-55A2-MOD NON-SE/SE</a:t>
            </a:r>
          </a:p>
        </p:txBody>
      </p:sp>
      <p:sp>
        <p:nvSpPr>
          <p:cNvPr id="23" name="TextBox 22"/>
          <p:cNvSpPr txBox="1"/>
          <p:nvPr/>
        </p:nvSpPr>
        <p:spPr>
          <a:xfrm>
            <a:off x="3654325" y="1200674"/>
            <a:ext cx="2735626" cy="356105"/>
          </a:xfrm>
          <a:prstGeom prst="rect">
            <a:avLst/>
          </a:prstGeom>
          <a:noFill/>
        </p:spPr>
        <p:txBody>
          <a:bodyPr wrap="square" rtlCol="0">
            <a:spAutoFit/>
          </a:bodyPr>
          <a:lstStyle/>
          <a:p>
            <a:pPr algn="ctr"/>
            <a:r>
              <a:rPr lang="en-US" sz="1100" dirty="0">
                <a:solidFill>
                  <a:schemeClr val="tx1">
                    <a:lumMod val="50000"/>
                  </a:schemeClr>
                </a:solidFill>
                <a:latin typeface="CiscoSansTT Heavy" panose="020B0903020201020303" pitchFamily="34" charset="0"/>
                <a:cs typeface="CiscoSansTT Heavy" panose="020B0903020201020303" pitchFamily="34" charset="0"/>
              </a:rPr>
              <a:t>MODULAR LINE CARD</a:t>
            </a:r>
          </a:p>
          <a:p>
            <a:pPr algn="ctr"/>
            <a:r>
              <a:rPr lang="en-US" sz="1100" dirty="0">
                <a:solidFill>
                  <a:schemeClr val="tx1">
                    <a:lumMod val="50000"/>
                  </a:schemeClr>
                </a:solidFill>
                <a:latin typeface="CiscoSansTT Heavy" panose="020B0903020201020303" pitchFamily="34" charset="0"/>
                <a:cs typeface="CiscoSansTT Heavy" panose="020B0903020201020303" pitchFamily="34" charset="0"/>
              </a:rPr>
              <a:t>(NON SE / SE)</a:t>
            </a:r>
          </a:p>
        </p:txBody>
      </p:sp>
      <p:sp>
        <p:nvSpPr>
          <p:cNvPr id="24" name="TextBox 23"/>
          <p:cNvSpPr txBox="1"/>
          <p:nvPr/>
        </p:nvSpPr>
        <p:spPr>
          <a:xfrm>
            <a:off x="6424978" y="1179220"/>
            <a:ext cx="2735626" cy="356105"/>
          </a:xfrm>
          <a:prstGeom prst="rect">
            <a:avLst/>
          </a:prstGeom>
          <a:noFill/>
        </p:spPr>
        <p:txBody>
          <a:bodyPr wrap="square" rtlCol="0">
            <a:spAutoFit/>
          </a:bodyPr>
          <a:lstStyle/>
          <a:p>
            <a:pPr algn="ctr"/>
            <a:r>
              <a:rPr lang="en-US" sz="1100" dirty="0">
                <a:solidFill>
                  <a:schemeClr val="tx1">
                    <a:lumMod val="50000"/>
                  </a:schemeClr>
                </a:solidFill>
                <a:latin typeface="CiscoSansTT Heavy" panose="020B0903020201020303" pitchFamily="34" charset="0"/>
                <a:cs typeface="CiscoSansTT Heavy" panose="020B0903020201020303" pitchFamily="34" charset="0"/>
              </a:rPr>
              <a:t>NCS-55A2-MOD</a:t>
            </a:r>
          </a:p>
          <a:p>
            <a:pPr algn="ctr"/>
            <a:r>
              <a:rPr lang="en-US" sz="1100" dirty="0">
                <a:solidFill>
                  <a:schemeClr val="tx1">
                    <a:lumMod val="50000"/>
                  </a:schemeClr>
                </a:solidFill>
                <a:latin typeface="CiscoSansTT Heavy" panose="020B0903020201020303" pitchFamily="34" charset="0"/>
                <a:cs typeface="CiscoSansTT Heavy" panose="020B0903020201020303" pitchFamily="34" charset="0"/>
              </a:rPr>
              <a:t>(TEMP HARDENED)</a:t>
            </a:r>
          </a:p>
        </p:txBody>
      </p:sp>
      <p:sp>
        <p:nvSpPr>
          <p:cNvPr id="25" name="Pentagon 24"/>
          <p:cNvSpPr/>
          <p:nvPr/>
        </p:nvSpPr>
        <p:spPr>
          <a:xfrm>
            <a:off x="62545" y="2624381"/>
            <a:ext cx="1218074" cy="365760"/>
          </a:xfrm>
          <a:prstGeom prst="homePlate">
            <a:avLst>
              <a:gd name="adj" fmla="val 28721"/>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solidFill>
                  <a:schemeClr val="tx1">
                    <a:lumMod val="50000"/>
                  </a:schemeClr>
                </a:solidFill>
              </a:rPr>
              <a:t>FORM FACTOR</a:t>
            </a:r>
          </a:p>
        </p:txBody>
      </p:sp>
      <p:sp>
        <p:nvSpPr>
          <p:cNvPr id="26" name="Pentagon 25"/>
          <p:cNvSpPr/>
          <p:nvPr/>
        </p:nvSpPr>
        <p:spPr>
          <a:xfrm>
            <a:off x="62545" y="3011509"/>
            <a:ext cx="1218074" cy="227108"/>
          </a:xfrm>
          <a:prstGeom prst="homePlate">
            <a:avLst>
              <a:gd name="adj" fmla="val 28721"/>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solidFill>
                  <a:schemeClr val="tx1">
                    <a:lumMod val="50000"/>
                  </a:schemeClr>
                </a:solidFill>
              </a:rPr>
              <a:t>ASIC</a:t>
            </a:r>
          </a:p>
        </p:txBody>
      </p:sp>
      <p:sp>
        <p:nvSpPr>
          <p:cNvPr id="27" name="Pentagon 26"/>
          <p:cNvSpPr/>
          <p:nvPr/>
        </p:nvSpPr>
        <p:spPr>
          <a:xfrm>
            <a:off x="62545" y="3288567"/>
            <a:ext cx="1218074" cy="575074"/>
          </a:xfrm>
          <a:prstGeom prst="homePlate">
            <a:avLst>
              <a:gd name="adj" fmla="val 28721"/>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solidFill>
                  <a:schemeClr val="tx1">
                    <a:lumMod val="50000"/>
                  </a:schemeClr>
                </a:solidFill>
              </a:rPr>
              <a:t>FIXED PORTS</a:t>
            </a:r>
          </a:p>
        </p:txBody>
      </p:sp>
      <p:sp>
        <p:nvSpPr>
          <p:cNvPr id="28" name="Pentagon 27"/>
          <p:cNvSpPr/>
          <p:nvPr/>
        </p:nvSpPr>
        <p:spPr>
          <a:xfrm>
            <a:off x="62545" y="3913592"/>
            <a:ext cx="1218074" cy="1133700"/>
          </a:xfrm>
          <a:prstGeom prst="homePlate">
            <a:avLst>
              <a:gd name="adj" fmla="val 8644"/>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solidFill>
                  <a:schemeClr val="tx1">
                    <a:lumMod val="50000"/>
                  </a:schemeClr>
                </a:solidFill>
              </a:rPr>
              <a:t>CFP2 DCO MPAs SUPPORTED</a:t>
            </a:r>
          </a:p>
        </p:txBody>
      </p:sp>
      <p:sp>
        <p:nvSpPr>
          <p:cNvPr id="29" name="Rectangle 28"/>
          <p:cNvSpPr/>
          <p:nvPr/>
        </p:nvSpPr>
        <p:spPr>
          <a:xfrm>
            <a:off x="6599165" y="2165611"/>
            <a:ext cx="2434469" cy="305233"/>
          </a:xfrm>
          <a:prstGeom prst="rect">
            <a:avLst/>
          </a:prstGeom>
        </p:spPr>
        <p:txBody>
          <a:bodyPr wrap="square">
            <a:spAutoFit/>
          </a:bodyPr>
          <a:lstStyle/>
          <a:p>
            <a:pPr marL="0" lvl="2" defTabSz="684179">
              <a:spcBef>
                <a:spcPts val="0"/>
              </a:spcBef>
            </a:pPr>
            <a:r>
              <a:rPr lang="en-US" sz="900" dirty="0">
                <a:solidFill>
                  <a:srgbClr val="26194B"/>
                </a:solidFill>
                <a:latin typeface="CiscoSansTT ExtraLight" charset="0"/>
                <a:cs typeface="CiscoSansTT ExtraLight" charset="0"/>
              </a:rPr>
              <a:t>GR 3108 Class 2,</a:t>
            </a:r>
          </a:p>
          <a:p>
            <a:pPr marL="0" lvl="2" defTabSz="684179">
              <a:spcBef>
                <a:spcPts val="0"/>
              </a:spcBef>
            </a:pPr>
            <a:r>
              <a:rPr lang="en-US" sz="900" dirty="0">
                <a:solidFill>
                  <a:srgbClr val="26194B"/>
                </a:solidFill>
                <a:latin typeface="CiscoSansTT ExtraLight" charset="0"/>
                <a:cs typeface="CiscoSansTT ExtraLight" charset="0"/>
              </a:rPr>
              <a:t>Expected temp range ~ -40C to 70C </a:t>
            </a:r>
          </a:p>
        </p:txBody>
      </p:sp>
    </p:spTree>
    <p:extLst>
      <p:ext uri="{BB962C8B-B14F-4D97-AF65-F5344CB8AC3E}">
        <p14:creationId xmlns:p14="http://schemas.microsoft.com/office/powerpoint/2010/main" val="1132687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F38A3-6EBD-4731-8291-1D04E01D33D0}"/>
              </a:ext>
            </a:extLst>
          </p:cNvPr>
          <p:cNvSpPr>
            <a:spLocks noGrp="1"/>
          </p:cNvSpPr>
          <p:nvPr>
            <p:ph type="title"/>
          </p:nvPr>
        </p:nvSpPr>
        <p:spPr/>
        <p:txBody>
          <a:bodyPr/>
          <a:lstStyle/>
          <a:p>
            <a:r>
              <a:rPr lang="en-US" dirty="0"/>
              <a:t>Strategic Intent</a:t>
            </a:r>
          </a:p>
        </p:txBody>
      </p:sp>
      <p:sp>
        <p:nvSpPr>
          <p:cNvPr id="11" name="Content Placeholder 2"/>
          <p:cNvSpPr>
            <a:spLocks noGrp="1"/>
          </p:cNvSpPr>
          <p:nvPr>
            <p:ph type="body" sz="quarter" idx="10"/>
          </p:nvPr>
        </p:nvSpPr>
        <p:spPr>
          <a:xfrm>
            <a:off x="462301" y="900898"/>
            <a:ext cx="8277344" cy="530337"/>
          </a:xfrm>
        </p:spPr>
        <p:txBody>
          <a:bodyPr/>
          <a:lstStyle/>
          <a:p>
            <a:pPr marL="57150" indent="0">
              <a:buNone/>
            </a:pPr>
            <a:r>
              <a:rPr lang="en-US" sz="1600" b="1" dirty="0"/>
              <a:t>Ethiopia is a greenfield network - Vodacom should take advantage of building a network that is ground breaking, innovative and future proof</a:t>
            </a:r>
            <a:r>
              <a:rPr lang="mr-IN" sz="1600" b="1" dirty="0"/>
              <a:t>…</a:t>
            </a:r>
            <a:endParaRPr lang="en-US" sz="1600" b="1" dirty="0"/>
          </a:p>
        </p:txBody>
      </p:sp>
      <p:sp>
        <p:nvSpPr>
          <p:cNvPr id="3" name="Rectangle 2"/>
          <p:cNvSpPr/>
          <p:nvPr/>
        </p:nvSpPr>
        <p:spPr>
          <a:xfrm>
            <a:off x="473005" y="1667617"/>
            <a:ext cx="1689652" cy="2882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The Network</a:t>
            </a:r>
          </a:p>
        </p:txBody>
      </p:sp>
      <p:sp>
        <p:nvSpPr>
          <p:cNvPr id="6" name="Rectangle 5"/>
          <p:cNvSpPr/>
          <p:nvPr/>
        </p:nvSpPr>
        <p:spPr>
          <a:xfrm>
            <a:off x="2295940" y="1674829"/>
            <a:ext cx="6483474" cy="2882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2"/>
                </a:solidFill>
              </a:rPr>
              <a:t>Needs to be easy to manage remotely, central NOC concept</a:t>
            </a:r>
          </a:p>
        </p:txBody>
      </p:sp>
      <p:sp>
        <p:nvSpPr>
          <p:cNvPr id="7" name="Rectangle 6"/>
          <p:cNvSpPr/>
          <p:nvPr/>
        </p:nvSpPr>
        <p:spPr>
          <a:xfrm>
            <a:off x="476320" y="2059725"/>
            <a:ext cx="1689652" cy="28823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SDN</a:t>
            </a:r>
          </a:p>
        </p:txBody>
      </p:sp>
      <p:sp>
        <p:nvSpPr>
          <p:cNvPr id="8" name="Rectangle 7"/>
          <p:cNvSpPr/>
          <p:nvPr/>
        </p:nvSpPr>
        <p:spPr>
          <a:xfrm>
            <a:off x="2299277" y="2066937"/>
            <a:ext cx="6479882" cy="28823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2"/>
                </a:solidFill>
              </a:rPr>
              <a:t>Zero-touch, closed-loop automation, orchestration, N to S, E to W</a:t>
            </a:r>
          </a:p>
        </p:txBody>
      </p:sp>
      <p:sp>
        <p:nvSpPr>
          <p:cNvPr id="9" name="Rectangle 8"/>
          <p:cNvSpPr/>
          <p:nvPr/>
        </p:nvSpPr>
        <p:spPr>
          <a:xfrm>
            <a:off x="469696" y="2451833"/>
            <a:ext cx="1689652" cy="288235"/>
          </a:xfrm>
          <a:prstGeom prst="rect">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Telco Cloud</a:t>
            </a:r>
          </a:p>
        </p:txBody>
      </p:sp>
      <p:sp>
        <p:nvSpPr>
          <p:cNvPr id="10" name="Rectangle 9"/>
          <p:cNvSpPr/>
          <p:nvPr/>
        </p:nvSpPr>
        <p:spPr>
          <a:xfrm>
            <a:off x="2292603" y="2459045"/>
            <a:ext cx="6487839" cy="288235"/>
          </a:xfrm>
          <a:prstGeom prst="rect">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2"/>
                </a:solidFill>
              </a:rPr>
              <a:t>Open, disaggregated, cloud native, horizontal stack (IT, DCs, Networks, MECs)</a:t>
            </a:r>
          </a:p>
        </p:txBody>
      </p:sp>
      <p:sp>
        <p:nvSpPr>
          <p:cNvPr id="12" name="Rectangle 11"/>
          <p:cNvSpPr/>
          <p:nvPr/>
        </p:nvSpPr>
        <p:spPr>
          <a:xfrm>
            <a:off x="476320" y="2843941"/>
            <a:ext cx="1689652" cy="288235"/>
          </a:xfrm>
          <a:prstGeom prst="rect">
            <a:avLst/>
          </a:prstGeom>
          <a:solidFill>
            <a:srgbClr val="0020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RAN</a:t>
            </a:r>
          </a:p>
        </p:txBody>
      </p:sp>
      <p:sp>
        <p:nvSpPr>
          <p:cNvPr id="13" name="Rectangle 12"/>
          <p:cNvSpPr/>
          <p:nvPr/>
        </p:nvSpPr>
        <p:spPr>
          <a:xfrm>
            <a:off x="2292605" y="2843941"/>
            <a:ext cx="6487576" cy="288235"/>
          </a:xfrm>
          <a:prstGeom prst="rect">
            <a:avLst/>
          </a:prstGeom>
          <a:solidFill>
            <a:srgbClr val="0020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2"/>
                </a:solidFill>
              </a:rPr>
              <a:t>Virtual RAN or Open RAN solution is recommended</a:t>
            </a:r>
          </a:p>
        </p:txBody>
      </p:sp>
      <p:sp>
        <p:nvSpPr>
          <p:cNvPr id="16" name="Rectangle 15"/>
          <p:cNvSpPr/>
          <p:nvPr/>
        </p:nvSpPr>
        <p:spPr>
          <a:xfrm>
            <a:off x="473011" y="3230597"/>
            <a:ext cx="1689652" cy="288235"/>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IP Transport</a:t>
            </a:r>
          </a:p>
        </p:txBody>
      </p:sp>
      <p:sp>
        <p:nvSpPr>
          <p:cNvPr id="17" name="Rectangle 16"/>
          <p:cNvSpPr/>
          <p:nvPr/>
        </p:nvSpPr>
        <p:spPr>
          <a:xfrm>
            <a:off x="2295940" y="3237809"/>
            <a:ext cx="6484501" cy="288235"/>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2"/>
                </a:solidFill>
              </a:rPr>
              <a:t>Segmented Routing, SRv6 using IPv6, IPoEoF</a:t>
            </a:r>
          </a:p>
        </p:txBody>
      </p:sp>
      <p:sp>
        <p:nvSpPr>
          <p:cNvPr id="18" name="Rectangle 17"/>
          <p:cNvSpPr/>
          <p:nvPr/>
        </p:nvSpPr>
        <p:spPr>
          <a:xfrm>
            <a:off x="476320" y="3622705"/>
            <a:ext cx="1689652" cy="288235"/>
          </a:xfrm>
          <a:prstGeom prst="rect">
            <a:avLst/>
          </a:prstGeom>
          <a:solidFill>
            <a:srgbClr val="E6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Packet Core</a:t>
            </a:r>
          </a:p>
        </p:txBody>
      </p:sp>
      <p:sp>
        <p:nvSpPr>
          <p:cNvPr id="19" name="Rectangle 18"/>
          <p:cNvSpPr/>
          <p:nvPr/>
        </p:nvSpPr>
        <p:spPr>
          <a:xfrm>
            <a:off x="2299268" y="3629917"/>
            <a:ext cx="6480913" cy="288235"/>
          </a:xfrm>
          <a:prstGeom prst="rect">
            <a:avLst/>
          </a:prstGeom>
          <a:solidFill>
            <a:srgbClr val="E6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2"/>
                </a:solidFill>
              </a:rPr>
              <a:t>Virtualized Packet Core</a:t>
            </a:r>
          </a:p>
        </p:txBody>
      </p:sp>
      <p:sp>
        <p:nvSpPr>
          <p:cNvPr id="20" name="Rectangle 19"/>
          <p:cNvSpPr/>
          <p:nvPr/>
        </p:nvSpPr>
        <p:spPr>
          <a:xfrm>
            <a:off x="479635" y="4014813"/>
            <a:ext cx="1689652" cy="288235"/>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Security</a:t>
            </a:r>
          </a:p>
        </p:txBody>
      </p:sp>
      <p:sp>
        <p:nvSpPr>
          <p:cNvPr id="21" name="Rectangle 20"/>
          <p:cNvSpPr/>
          <p:nvPr/>
        </p:nvSpPr>
        <p:spPr>
          <a:xfrm>
            <a:off x="2302604" y="4022025"/>
            <a:ext cx="6477838" cy="288235"/>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2"/>
                </a:solidFill>
              </a:rPr>
              <a:t>End to End Security, vertically and horizontally</a:t>
            </a:r>
          </a:p>
        </p:txBody>
      </p:sp>
      <p:sp>
        <p:nvSpPr>
          <p:cNvPr id="22" name="Rectangle 21"/>
          <p:cNvSpPr/>
          <p:nvPr/>
        </p:nvSpPr>
        <p:spPr>
          <a:xfrm>
            <a:off x="473011" y="4406921"/>
            <a:ext cx="1689652" cy="288235"/>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Opex reduction</a:t>
            </a:r>
          </a:p>
        </p:txBody>
      </p:sp>
      <p:sp>
        <p:nvSpPr>
          <p:cNvPr id="23" name="Rectangle 22"/>
          <p:cNvSpPr/>
          <p:nvPr/>
        </p:nvSpPr>
        <p:spPr>
          <a:xfrm>
            <a:off x="2295940" y="4414129"/>
            <a:ext cx="6484502" cy="288235"/>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2"/>
                </a:solidFill>
              </a:rPr>
              <a:t>Headcount efficiencies using AI/ML, fewer network SKU’s, in addition to above</a:t>
            </a:r>
          </a:p>
        </p:txBody>
      </p:sp>
    </p:spTree>
    <p:extLst>
      <p:ext uri="{BB962C8B-B14F-4D97-AF65-F5344CB8AC3E}">
        <p14:creationId xmlns:p14="http://schemas.microsoft.com/office/powerpoint/2010/main" val="757035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D7A8F55-623D-EA49-AA2E-28E3B086C915}"/>
              </a:ext>
            </a:extLst>
          </p:cNvPr>
          <p:cNvSpPr>
            <a:spLocks noGrp="1"/>
          </p:cNvSpPr>
          <p:nvPr>
            <p:ph type="title"/>
          </p:nvPr>
        </p:nvSpPr>
        <p:spPr/>
        <p:txBody>
          <a:bodyPr/>
          <a:lstStyle/>
          <a:p>
            <a:r>
              <a:rPr lang="en-US" dirty="0"/>
              <a:t>IP Core</a:t>
            </a:r>
            <a:endParaRPr lang="en-US" dirty="0">
              <a:solidFill>
                <a:srgbClr val="FF0000"/>
              </a:solidFill>
            </a:endParaRPr>
          </a:p>
        </p:txBody>
      </p:sp>
      <p:sp>
        <p:nvSpPr>
          <p:cNvPr id="461" name="Rounded Rectangle 5">
            <a:extLst>
              <a:ext uri="{FF2B5EF4-FFF2-40B4-BE49-F238E27FC236}">
                <a16:creationId xmlns:a16="http://schemas.microsoft.com/office/drawing/2014/main" id="{DA020266-E713-4B76-BA39-F348AE2B2885}"/>
              </a:ext>
            </a:extLst>
          </p:cNvPr>
          <p:cNvSpPr/>
          <p:nvPr/>
        </p:nvSpPr>
        <p:spPr>
          <a:xfrm>
            <a:off x="1815664" y="1274627"/>
            <a:ext cx="5887501" cy="212239"/>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2" name="Rectangle 461">
            <a:extLst>
              <a:ext uri="{FF2B5EF4-FFF2-40B4-BE49-F238E27FC236}">
                <a16:creationId xmlns:a16="http://schemas.microsoft.com/office/drawing/2014/main" id="{802C3352-FF47-40E6-A2E8-2940D62A08D6}"/>
              </a:ext>
            </a:extLst>
          </p:cNvPr>
          <p:cNvSpPr/>
          <p:nvPr/>
        </p:nvSpPr>
        <p:spPr>
          <a:xfrm>
            <a:off x="3888461" y="1221403"/>
            <a:ext cx="1595309" cy="27699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Network Automation</a:t>
            </a:r>
          </a:p>
        </p:txBody>
      </p:sp>
      <p:sp>
        <p:nvSpPr>
          <p:cNvPr id="464" name="Rounded Rectangle 5">
            <a:extLst>
              <a:ext uri="{FF2B5EF4-FFF2-40B4-BE49-F238E27FC236}">
                <a16:creationId xmlns:a16="http://schemas.microsoft.com/office/drawing/2014/main" id="{6133AB0B-08AE-4DE3-B3D3-12C6EAA40FC1}"/>
              </a:ext>
            </a:extLst>
          </p:cNvPr>
          <p:cNvSpPr/>
          <p:nvPr/>
        </p:nvSpPr>
        <p:spPr>
          <a:xfrm>
            <a:off x="1828713" y="3441207"/>
            <a:ext cx="2738937" cy="212239"/>
          </a:xfrm>
          <a:prstGeom prst="roundRect">
            <a:avLst>
              <a:gd name="adj" fmla="val 50000"/>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5" name="Rounded Rectangle 5">
            <a:extLst>
              <a:ext uri="{FF2B5EF4-FFF2-40B4-BE49-F238E27FC236}">
                <a16:creationId xmlns:a16="http://schemas.microsoft.com/office/drawing/2014/main" id="{F25C61C2-05EA-4221-A5D7-EB1F38D4B4AE}"/>
              </a:ext>
            </a:extLst>
          </p:cNvPr>
          <p:cNvSpPr/>
          <p:nvPr/>
        </p:nvSpPr>
        <p:spPr>
          <a:xfrm>
            <a:off x="4629928" y="3441207"/>
            <a:ext cx="3086286" cy="212239"/>
          </a:xfrm>
          <a:prstGeom prst="roundRect">
            <a:avLst>
              <a:gd name="adj" fmla="val 5000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6" name="TextBox 465">
            <a:extLst>
              <a:ext uri="{FF2B5EF4-FFF2-40B4-BE49-F238E27FC236}">
                <a16:creationId xmlns:a16="http://schemas.microsoft.com/office/drawing/2014/main" id="{A7C545E7-9972-454F-9B61-A9D7401D932F}"/>
              </a:ext>
            </a:extLst>
          </p:cNvPr>
          <p:cNvSpPr txBox="1"/>
          <p:nvPr/>
        </p:nvSpPr>
        <p:spPr>
          <a:xfrm>
            <a:off x="240732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MEC Services</a:t>
            </a:r>
          </a:p>
        </p:txBody>
      </p:sp>
      <p:sp>
        <p:nvSpPr>
          <p:cNvPr id="467" name="TextBox 466">
            <a:extLst>
              <a:ext uri="{FF2B5EF4-FFF2-40B4-BE49-F238E27FC236}">
                <a16:creationId xmlns:a16="http://schemas.microsoft.com/office/drawing/2014/main" id="{AECEB6E3-36F3-45F2-B9F4-52B243CA11D8}"/>
              </a:ext>
            </a:extLst>
          </p:cNvPr>
          <p:cNvSpPr txBox="1"/>
          <p:nvPr/>
        </p:nvSpPr>
        <p:spPr>
          <a:xfrm>
            <a:off x="5382211" y="3406070"/>
            <a:ext cx="1581720" cy="276999"/>
          </a:xfrm>
          <a:prstGeom prst="rect">
            <a:avLst/>
          </a:prstGeom>
          <a:noFill/>
          <a:ln>
            <a:noFill/>
          </a:ln>
        </p:spPr>
        <p:txBody>
          <a:bodyPr wrap="square" rtlCol="0">
            <a:spAutoFit/>
          </a:bodyPr>
          <a:lstStyle/>
          <a:p>
            <a:pPr algn="ctr" defTabSz="609585" fontAlgn="base">
              <a:spcBef>
                <a:spcPct val="0"/>
              </a:spcBef>
              <a:spcAft>
                <a:spcPct val="0"/>
              </a:spcAft>
            </a:pPr>
            <a:r>
              <a:rPr lang="en-US" sz="1200" dirty="0">
                <a:solidFill>
                  <a:srgbClr val="FFFFFF"/>
                </a:solidFill>
                <a:latin typeface="CiscoSansTT ExtraLight"/>
              </a:rPr>
              <a:t>Core Services</a:t>
            </a:r>
          </a:p>
        </p:txBody>
      </p:sp>
      <p:grpSp>
        <p:nvGrpSpPr>
          <p:cNvPr id="255" name="Group 254">
            <a:extLst>
              <a:ext uri="{FF2B5EF4-FFF2-40B4-BE49-F238E27FC236}">
                <a16:creationId xmlns:a16="http://schemas.microsoft.com/office/drawing/2014/main" id="{E2BDA9EE-358C-4784-A7E7-22D2D7FCAF25}"/>
              </a:ext>
            </a:extLst>
          </p:cNvPr>
          <p:cNvGrpSpPr/>
          <p:nvPr/>
        </p:nvGrpSpPr>
        <p:grpSpPr>
          <a:xfrm>
            <a:off x="1809314" y="1469053"/>
            <a:ext cx="5906900" cy="2953566"/>
            <a:chOff x="1796604" y="1015595"/>
            <a:chExt cx="5523336" cy="2215176"/>
          </a:xfrm>
        </p:grpSpPr>
        <p:sp>
          <p:nvSpPr>
            <p:cNvPr id="256" name="Rounded Rectangle 5">
              <a:extLst>
                <a:ext uri="{FF2B5EF4-FFF2-40B4-BE49-F238E27FC236}">
                  <a16:creationId xmlns:a16="http://schemas.microsoft.com/office/drawing/2014/main" id="{611375DB-74AB-4F30-B25E-631C7B824A91}"/>
                </a:ext>
              </a:extLst>
            </p:cNvPr>
            <p:cNvSpPr/>
            <p:nvPr/>
          </p:nvSpPr>
          <p:spPr>
            <a:xfrm>
              <a:off x="1814743" y="3063131"/>
              <a:ext cx="5505197" cy="159179"/>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57" name="Rectangle 256">
              <a:extLst>
                <a:ext uri="{FF2B5EF4-FFF2-40B4-BE49-F238E27FC236}">
                  <a16:creationId xmlns:a16="http://schemas.microsoft.com/office/drawing/2014/main" id="{7F30AD78-62F3-4C61-93E3-F738C35E6D79}"/>
                </a:ext>
              </a:extLst>
            </p:cNvPr>
            <p:cNvSpPr/>
            <p:nvPr/>
          </p:nvSpPr>
          <p:spPr>
            <a:xfrm>
              <a:off x="4130518" y="3023022"/>
              <a:ext cx="700292"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Security</a:t>
              </a:r>
            </a:p>
          </p:txBody>
        </p:sp>
        <p:sp>
          <p:nvSpPr>
            <p:cNvPr id="282" name="Rounded Rectangle 5">
              <a:extLst>
                <a:ext uri="{FF2B5EF4-FFF2-40B4-BE49-F238E27FC236}">
                  <a16:creationId xmlns:a16="http://schemas.microsoft.com/office/drawing/2014/main" id="{9CEC04DA-774F-4536-B077-4961E335DDD8}"/>
                </a:ext>
              </a:extLst>
            </p:cNvPr>
            <p:cNvSpPr/>
            <p:nvPr/>
          </p:nvSpPr>
          <p:spPr>
            <a:xfrm>
              <a:off x="1796604" y="1055513"/>
              <a:ext cx="5505197" cy="159179"/>
            </a:xfrm>
            <a:prstGeom prst="roundRect">
              <a:avLst>
                <a:gd name="adj" fmla="val 5000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283" name="Rectangle 282">
              <a:extLst>
                <a:ext uri="{FF2B5EF4-FFF2-40B4-BE49-F238E27FC236}">
                  <a16:creationId xmlns:a16="http://schemas.microsoft.com/office/drawing/2014/main" id="{F7C8F96B-A4A6-41BA-B268-3467F12E2236}"/>
                </a:ext>
              </a:extLst>
            </p:cNvPr>
            <p:cNvSpPr/>
            <p:nvPr/>
          </p:nvSpPr>
          <p:spPr>
            <a:xfrm>
              <a:off x="3421534" y="1015595"/>
              <a:ext cx="2118263" cy="207749"/>
            </a:xfrm>
            <a:prstGeom prst="rect">
              <a:avLst/>
            </a:prstGeom>
          </p:spPr>
          <p:txBody>
            <a:bodyPr wrap="none">
              <a:spAutoFit/>
            </a:bodyPr>
            <a:lstStyle/>
            <a:p>
              <a:pPr algn="ctr" defTabSz="609585" fontAlgn="base">
                <a:spcBef>
                  <a:spcPct val="0"/>
                </a:spcBef>
                <a:spcAft>
                  <a:spcPct val="0"/>
                </a:spcAft>
              </a:pPr>
              <a:r>
                <a:rPr lang="en-US" sz="1200" dirty="0">
                  <a:solidFill>
                    <a:srgbClr val="FFFFFF"/>
                  </a:solidFill>
                  <a:latin typeface="CiscoSansTT ExtraLight"/>
                  <a:ea typeface="ＭＳ Ｐゴシック" charset="0"/>
                </a:rPr>
                <a:t>Programmability and Analytics</a:t>
              </a:r>
            </a:p>
          </p:txBody>
        </p:sp>
        <p:sp>
          <p:nvSpPr>
            <p:cNvPr id="459" name="Rounded Rectangle 5">
              <a:extLst>
                <a:ext uri="{FF2B5EF4-FFF2-40B4-BE49-F238E27FC236}">
                  <a16:creationId xmlns:a16="http://schemas.microsoft.com/office/drawing/2014/main" id="{F6AB5BCD-6E1F-48EB-9D39-A33D5BA9397A}"/>
                </a:ext>
              </a:extLst>
            </p:cNvPr>
            <p:cNvSpPr/>
            <p:nvPr/>
          </p:nvSpPr>
          <p:spPr>
            <a:xfrm>
              <a:off x="1814743" y="2680003"/>
              <a:ext cx="5505197" cy="15917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sp>
          <p:nvSpPr>
            <p:cNvPr id="460" name="Rounded Rectangle 5">
              <a:extLst>
                <a:ext uri="{FF2B5EF4-FFF2-40B4-BE49-F238E27FC236}">
                  <a16:creationId xmlns:a16="http://schemas.microsoft.com/office/drawing/2014/main" id="{24245A35-23AB-4C8E-B121-07780FFC8B01}"/>
                </a:ext>
              </a:extLst>
            </p:cNvPr>
            <p:cNvSpPr/>
            <p:nvPr/>
          </p:nvSpPr>
          <p:spPr>
            <a:xfrm>
              <a:off x="1814743" y="2872148"/>
              <a:ext cx="5505197" cy="15917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t"/>
            <a:lstStyle/>
            <a:p>
              <a:pPr algn="ctr" defTabSz="609585" fontAlgn="base">
                <a:spcBef>
                  <a:spcPct val="0"/>
                </a:spcBef>
                <a:spcAft>
                  <a:spcPct val="0"/>
                </a:spcAft>
              </a:pPr>
              <a:endParaRPr lang="en-US" sz="1467" dirty="0">
                <a:solidFill>
                  <a:srgbClr val="FFFFFF"/>
                </a:solidFill>
                <a:latin typeface="CiscoSansTT ExtraLight"/>
              </a:endParaRPr>
            </a:p>
          </p:txBody>
        </p:sp>
      </p:grpSp>
      <p:grpSp>
        <p:nvGrpSpPr>
          <p:cNvPr id="258" name="Group 257">
            <a:extLst>
              <a:ext uri="{FF2B5EF4-FFF2-40B4-BE49-F238E27FC236}">
                <a16:creationId xmlns:a16="http://schemas.microsoft.com/office/drawing/2014/main" id="{96F7BCF0-A5A4-479B-AB76-E07DD5FB7390}"/>
              </a:ext>
            </a:extLst>
          </p:cNvPr>
          <p:cNvGrpSpPr/>
          <p:nvPr/>
        </p:nvGrpSpPr>
        <p:grpSpPr>
          <a:xfrm>
            <a:off x="2757608" y="3653123"/>
            <a:ext cx="4126451" cy="523485"/>
            <a:chOff x="3885104" y="3643289"/>
            <a:chExt cx="5238470" cy="523485"/>
          </a:xfrm>
        </p:grpSpPr>
        <p:sp>
          <p:nvSpPr>
            <p:cNvPr id="263" name="TextBox 262">
              <a:extLst>
                <a:ext uri="{FF2B5EF4-FFF2-40B4-BE49-F238E27FC236}">
                  <a16:creationId xmlns:a16="http://schemas.microsoft.com/office/drawing/2014/main" id="{F361FB4B-87AA-43AE-80E5-EDB2BFD95DBB}"/>
                </a:ext>
              </a:extLst>
            </p:cNvPr>
            <p:cNvSpPr txBox="1"/>
            <p:nvPr/>
          </p:nvSpPr>
          <p:spPr>
            <a:xfrm>
              <a:off x="4805487" y="3889775"/>
              <a:ext cx="3085452" cy="276999"/>
            </a:xfrm>
            <a:prstGeom prst="rect">
              <a:avLst/>
            </a:prstGeom>
            <a:noFill/>
            <a:ln>
              <a:noFill/>
            </a:ln>
          </p:spPr>
          <p:txBody>
            <a:bodyPr wrap="none" rtlCol="0">
              <a:spAutoFit/>
            </a:bodyPr>
            <a:lstStyle/>
            <a:p>
              <a:pPr defTabSz="609585" fontAlgn="base">
                <a:spcBef>
                  <a:spcPct val="0"/>
                </a:spcBef>
                <a:spcAft>
                  <a:spcPct val="0"/>
                </a:spcAft>
              </a:pPr>
              <a:r>
                <a:rPr lang="en-US" sz="1200" dirty="0">
                  <a:solidFill>
                    <a:srgbClr val="FFFFFF"/>
                  </a:solidFill>
                  <a:latin typeface="CiscoSansTT ExtraLight"/>
                </a:rPr>
                <a:t>Slicing / Segment Routing / IPv6</a:t>
              </a:r>
            </a:p>
          </p:txBody>
        </p:sp>
        <p:sp>
          <p:nvSpPr>
            <p:cNvPr id="264" name="TextBox 263">
              <a:extLst>
                <a:ext uri="{FF2B5EF4-FFF2-40B4-BE49-F238E27FC236}">
                  <a16:creationId xmlns:a16="http://schemas.microsoft.com/office/drawing/2014/main" id="{0CD47AA4-6C2B-4940-A038-9992306CA9BD}"/>
                </a:ext>
              </a:extLst>
            </p:cNvPr>
            <p:cNvSpPr txBox="1"/>
            <p:nvPr/>
          </p:nvSpPr>
          <p:spPr>
            <a:xfrm>
              <a:off x="3885104" y="3643289"/>
              <a:ext cx="5238470" cy="276999"/>
            </a:xfrm>
            <a:prstGeom prst="rect">
              <a:avLst/>
            </a:prstGeom>
            <a:noFill/>
            <a:ln>
              <a:noFill/>
            </a:ln>
          </p:spPr>
          <p:txBody>
            <a:bodyPr wrap="none" rtlCol="0">
              <a:spAutoFit/>
            </a:bodyPr>
            <a:lstStyle/>
            <a:p>
              <a:pPr algn="ctr" defTabSz="609585" fontAlgn="base">
                <a:spcBef>
                  <a:spcPct val="0"/>
                </a:spcBef>
                <a:spcAft>
                  <a:spcPct val="0"/>
                </a:spcAft>
              </a:pPr>
              <a:r>
                <a:rPr lang="en-US" sz="1200" dirty="0">
                  <a:solidFill>
                    <a:srgbClr val="FFFFFF"/>
                  </a:solidFill>
                  <a:latin typeface="CiscoSansTT ExtraLight"/>
                </a:rPr>
                <a:t>Trusted Infrastructure, 5G Timing Support (SyncE &amp; PTP)</a:t>
              </a:r>
            </a:p>
          </p:txBody>
        </p:sp>
      </p:grpSp>
      <p:grpSp>
        <p:nvGrpSpPr>
          <p:cNvPr id="957" name="Group 956">
            <a:extLst>
              <a:ext uri="{FF2B5EF4-FFF2-40B4-BE49-F238E27FC236}">
                <a16:creationId xmlns:a16="http://schemas.microsoft.com/office/drawing/2014/main" id="{64452086-9719-44DE-8388-739CF1B77595}"/>
              </a:ext>
            </a:extLst>
          </p:cNvPr>
          <p:cNvGrpSpPr/>
          <p:nvPr/>
        </p:nvGrpSpPr>
        <p:grpSpPr>
          <a:xfrm>
            <a:off x="732673" y="1788912"/>
            <a:ext cx="7368255" cy="1567451"/>
            <a:chOff x="732673" y="1788912"/>
            <a:chExt cx="7368255" cy="1567451"/>
          </a:xfrm>
        </p:grpSpPr>
        <p:sp>
          <p:nvSpPr>
            <p:cNvPr id="46" name="Rectangle: Rounded Corners 152">
              <a:extLst>
                <a:ext uri="{FF2B5EF4-FFF2-40B4-BE49-F238E27FC236}">
                  <a16:creationId xmlns:a16="http://schemas.microsoft.com/office/drawing/2014/main" id="{543F0C12-F0FF-514F-A38E-0B0781D30355}"/>
                </a:ext>
              </a:extLst>
            </p:cNvPr>
            <p:cNvSpPr/>
            <p:nvPr/>
          </p:nvSpPr>
          <p:spPr>
            <a:xfrm>
              <a:off x="732673" y="1788912"/>
              <a:ext cx="7368255" cy="1567451"/>
            </a:xfrm>
            <a:prstGeom prst="roundRect">
              <a:avLst>
                <a:gd name="adj" fmla="val 84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A797565D-2DF1-0B49-B7FA-F4693C4DB0A8}"/>
                </a:ext>
              </a:extLst>
            </p:cNvPr>
            <p:cNvSpPr/>
            <p:nvPr/>
          </p:nvSpPr>
          <p:spPr>
            <a:xfrm>
              <a:off x="1298988" y="2897072"/>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Group 47">
              <a:extLst>
                <a:ext uri="{FF2B5EF4-FFF2-40B4-BE49-F238E27FC236}">
                  <a16:creationId xmlns:a16="http://schemas.microsoft.com/office/drawing/2014/main" id="{F79F1473-5FDB-5F40-830F-A629EF447F58}"/>
                </a:ext>
              </a:extLst>
            </p:cNvPr>
            <p:cNvGrpSpPr/>
            <p:nvPr/>
          </p:nvGrpSpPr>
          <p:grpSpPr>
            <a:xfrm rot="16200000">
              <a:off x="1787492" y="2428962"/>
              <a:ext cx="393048" cy="893063"/>
              <a:chOff x="1053576" y="845943"/>
              <a:chExt cx="429692" cy="976323"/>
            </a:xfrm>
          </p:grpSpPr>
          <p:sp>
            <p:nvSpPr>
              <p:cNvPr id="49" name="Arc 48">
                <a:extLst>
                  <a:ext uri="{FF2B5EF4-FFF2-40B4-BE49-F238E27FC236}">
                    <a16:creationId xmlns:a16="http://schemas.microsoft.com/office/drawing/2014/main" id="{E4CF665A-EEA5-8347-9B77-D8074C55CB77}"/>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0" name="Straight Connector 49">
                <a:extLst>
                  <a:ext uri="{FF2B5EF4-FFF2-40B4-BE49-F238E27FC236}">
                    <a16:creationId xmlns:a16="http://schemas.microsoft.com/office/drawing/2014/main" id="{4DB197F1-F5E5-294E-9C8B-0388BA4B678A}"/>
                  </a:ext>
                </a:extLst>
              </p:cNvPr>
              <p:cNvCxnSpPr>
                <a:cxnSpLocks/>
                <a:endCxn id="49" idx="2"/>
              </p:cNvCxnSpPr>
              <p:nvPr/>
            </p:nvCxnSpPr>
            <p:spPr>
              <a:xfrm rot="5400000">
                <a:off x="624048" y="1275471"/>
                <a:ext cx="859056"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225A9E5-EF6A-E64A-B1BC-682C4A633384}"/>
                  </a:ext>
                </a:extLst>
              </p:cNvPr>
              <p:cNvCxnSpPr>
                <a:cxnSpLocks/>
                <a:stCxn id="49" idx="0"/>
              </p:cNvCxnSpPr>
              <p:nvPr/>
            </p:nvCxnSpPr>
            <p:spPr>
              <a:xfrm rot="5400000" flipV="1">
                <a:off x="1327056" y="1666053"/>
                <a:ext cx="0" cy="312425"/>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5A9AB0D3-1667-EA4B-BC0E-2903F60EB186}"/>
                </a:ext>
              </a:extLst>
            </p:cNvPr>
            <p:cNvGrpSpPr/>
            <p:nvPr/>
          </p:nvGrpSpPr>
          <p:grpSpPr>
            <a:xfrm>
              <a:off x="1139370" y="2057674"/>
              <a:ext cx="874980" cy="214533"/>
              <a:chOff x="1053577" y="1587731"/>
              <a:chExt cx="956555" cy="234534"/>
            </a:xfrm>
          </p:grpSpPr>
          <p:sp>
            <p:nvSpPr>
              <p:cNvPr id="53" name="Arc 52">
                <a:extLst>
                  <a:ext uri="{FF2B5EF4-FFF2-40B4-BE49-F238E27FC236}">
                    <a16:creationId xmlns:a16="http://schemas.microsoft.com/office/drawing/2014/main" id="{6C956767-1632-EF46-82DF-148D5E23DD4B}"/>
                  </a:ext>
                </a:extLst>
              </p:cNvPr>
              <p:cNvSpPr/>
              <p:nvPr/>
            </p:nvSpPr>
            <p:spPr>
              <a:xfrm rot="10800000">
                <a:off x="1053577" y="1587731"/>
                <a:ext cx="234534" cy="23453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4" name="Straight Connector 53">
                <a:extLst>
                  <a:ext uri="{FF2B5EF4-FFF2-40B4-BE49-F238E27FC236}">
                    <a16:creationId xmlns:a16="http://schemas.microsoft.com/office/drawing/2014/main" id="{AE7D0C00-CF9D-524B-876E-75274BFD9A80}"/>
                  </a:ext>
                </a:extLst>
              </p:cNvPr>
              <p:cNvCxnSpPr>
                <a:cxnSpLocks/>
                <a:endCxn id="53" idx="2"/>
              </p:cNvCxnSpPr>
              <p:nvPr/>
            </p:nvCxnSpPr>
            <p:spPr>
              <a:xfrm>
                <a:off x="1053577" y="1637992"/>
                <a:ext cx="0" cy="67006"/>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AE5FBF-636E-CC48-83B0-07FAD59875AB}"/>
                  </a:ext>
                </a:extLst>
              </p:cNvPr>
              <p:cNvCxnSpPr>
                <a:cxnSpLocks/>
                <a:stCxn id="53" idx="0"/>
              </p:cNvCxnSpPr>
              <p:nvPr/>
            </p:nvCxnSpPr>
            <p:spPr>
              <a:xfrm>
                <a:off x="1170844" y="1822265"/>
                <a:ext cx="839288"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11929C3-DDB9-9040-88B0-54C2A2D6DD3A}"/>
                </a:ext>
              </a:extLst>
            </p:cNvPr>
            <p:cNvGrpSpPr/>
            <p:nvPr/>
          </p:nvGrpSpPr>
          <p:grpSpPr>
            <a:xfrm>
              <a:off x="1471454" y="2049161"/>
              <a:ext cx="874980" cy="168558"/>
              <a:chOff x="1416621" y="1599856"/>
              <a:chExt cx="956555" cy="184273"/>
            </a:xfrm>
          </p:grpSpPr>
          <p:sp>
            <p:nvSpPr>
              <p:cNvPr id="57" name="Arc 56">
                <a:extLst>
                  <a:ext uri="{FF2B5EF4-FFF2-40B4-BE49-F238E27FC236}">
                    <a16:creationId xmlns:a16="http://schemas.microsoft.com/office/drawing/2014/main" id="{923636A1-52BF-EB44-B744-1151556FAB7B}"/>
                  </a:ext>
                </a:extLst>
              </p:cNvPr>
              <p:cNvSpPr/>
              <p:nvPr/>
            </p:nvSpPr>
            <p:spPr>
              <a:xfrm rot="10800000">
                <a:off x="1416621" y="1653219"/>
                <a:ext cx="130909" cy="130909"/>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8" name="Straight Connector 57">
                <a:extLst>
                  <a:ext uri="{FF2B5EF4-FFF2-40B4-BE49-F238E27FC236}">
                    <a16:creationId xmlns:a16="http://schemas.microsoft.com/office/drawing/2014/main" id="{B6FE8E51-97A6-524A-9A1D-042EB7D1C696}"/>
                  </a:ext>
                </a:extLst>
              </p:cNvPr>
              <p:cNvCxnSpPr>
                <a:cxnSpLocks/>
                <a:endCxn id="57" idx="2"/>
              </p:cNvCxnSpPr>
              <p:nvPr/>
            </p:nvCxnSpPr>
            <p:spPr>
              <a:xfrm>
                <a:off x="1416621" y="1599856"/>
                <a:ext cx="0" cy="118817"/>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38A73D9-FB34-4345-8268-BE9E8163654F}"/>
                  </a:ext>
                </a:extLst>
              </p:cNvPr>
              <p:cNvCxnSpPr>
                <a:cxnSpLocks/>
                <a:stCxn id="57" idx="0"/>
              </p:cNvCxnSpPr>
              <p:nvPr/>
            </p:nvCxnSpPr>
            <p:spPr>
              <a:xfrm>
                <a:off x="1482076" y="1784128"/>
                <a:ext cx="891100" cy="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4A1EB65-F3AB-AB4C-B2D0-209A24041426}"/>
                </a:ext>
              </a:extLst>
            </p:cNvPr>
            <p:cNvGrpSpPr/>
            <p:nvPr/>
          </p:nvGrpSpPr>
          <p:grpSpPr>
            <a:xfrm>
              <a:off x="1802844" y="1995223"/>
              <a:ext cx="662063" cy="168558"/>
              <a:chOff x="1778907" y="1564701"/>
              <a:chExt cx="723787" cy="184273"/>
            </a:xfrm>
          </p:grpSpPr>
          <p:sp>
            <p:nvSpPr>
              <p:cNvPr id="61" name="Arc 60">
                <a:extLst>
                  <a:ext uri="{FF2B5EF4-FFF2-40B4-BE49-F238E27FC236}">
                    <a16:creationId xmlns:a16="http://schemas.microsoft.com/office/drawing/2014/main" id="{22E9CB76-15F4-4941-A700-E7D3DF09B0B7}"/>
                  </a:ext>
                </a:extLst>
              </p:cNvPr>
              <p:cNvSpPr/>
              <p:nvPr/>
            </p:nvSpPr>
            <p:spPr>
              <a:xfrm rot="10800000">
                <a:off x="1778907" y="1692410"/>
                <a:ext cx="56564" cy="56564"/>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62" name="Straight Connector 61">
                <a:extLst>
                  <a:ext uri="{FF2B5EF4-FFF2-40B4-BE49-F238E27FC236}">
                    <a16:creationId xmlns:a16="http://schemas.microsoft.com/office/drawing/2014/main" id="{DBBCED37-CC24-E043-A9C0-96A2C197B6DF}"/>
                  </a:ext>
                </a:extLst>
              </p:cNvPr>
              <p:cNvCxnSpPr>
                <a:cxnSpLocks/>
                <a:endCxn id="61" idx="2"/>
              </p:cNvCxnSpPr>
              <p:nvPr/>
            </p:nvCxnSpPr>
            <p:spPr>
              <a:xfrm>
                <a:off x="1778907" y="1564701"/>
                <a:ext cx="0" cy="155991"/>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CD1DE0B-ADB8-5C46-A546-8F8ACF4B0D02}"/>
                  </a:ext>
                </a:extLst>
              </p:cNvPr>
              <p:cNvCxnSpPr>
                <a:cxnSpLocks/>
                <a:stCxn id="61" idx="0"/>
              </p:cNvCxnSpPr>
              <p:nvPr/>
            </p:nvCxnSpPr>
            <p:spPr>
              <a:xfrm>
                <a:off x="1807189" y="1748974"/>
                <a:ext cx="695505" cy="0"/>
              </a:xfrm>
              <a:prstGeom prst="line">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B19D8E6E-7C72-AE4E-B150-CA7A7FF20DDF}"/>
                </a:ext>
              </a:extLst>
            </p:cNvPr>
            <p:cNvSpPr/>
            <p:nvPr/>
          </p:nvSpPr>
          <p:spPr>
            <a:xfrm>
              <a:off x="1673576"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DC27652D-47D2-E347-AB08-C21A72F67D33}"/>
                </a:ext>
              </a:extLst>
            </p:cNvPr>
            <p:cNvSpPr/>
            <p:nvPr/>
          </p:nvSpPr>
          <p:spPr>
            <a:xfrm>
              <a:off x="1012239"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C64C3B93-2EB8-0243-8D54-DC008FEEB804}"/>
                </a:ext>
              </a:extLst>
            </p:cNvPr>
            <p:cNvSpPr/>
            <p:nvPr/>
          </p:nvSpPr>
          <p:spPr>
            <a:xfrm>
              <a:off x="1342907" y="1855349"/>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7" name="Straight Connector 66">
              <a:extLst>
                <a:ext uri="{FF2B5EF4-FFF2-40B4-BE49-F238E27FC236}">
                  <a16:creationId xmlns:a16="http://schemas.microsoft.com/office/drawing/2014/main" id="{4577D47E-1746-FB44-91A6-88B934B26C09}"/>
                </a:ext>
              </a:extLst>
            </p:cNvPr>
            <p:cNvCxnSpPr>
              <a:cxnSpLocks/>
            </p:cNvCxnSpPr>
            <p:nvPr/>
          </p:nvCxnSpPr>
          <p:spPr>
            <a:xfrm flipV="1">
              <a:off x="1643226" y="2579286"/>
              <a:ext cx="722024" cy="3544"/>
            </a:xfrm>
            <a:prstGeom prst="line">
              <a:avLst/>
            </a:prstGeom>
            <a:ln w="22225" cap="rnd">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E7D56004-9BD9-184F-A464-44C5CD1974A3}"/>
                </a:ext>
              </a:extLst>
            </p:cNvPr>
            <p:cNvSpPr/>
            <p:nvPr/>
          </p:nvSpPr>
          <p:spPr>
            <a:xfrm>
              <a:off x="1298988" y="2408174"/>
              <a:ext cx="349310" cy="34931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72">
              <a:extLst>
                <a:ext uri="{FF2B5EF4-FFF2-40B4-BE49-F238E27FC236}">
                  <a16:creationId xmlns:a16="http://schemas.microsoft.com/office/drawing/2014/main" id="{0860E415-48F3-824E-87C4-01D44447763F}"/>
                </a:ext>
              </a:extLst>
            </p:cNvPr>
            <p:cNvGrpSpPr/>
            <p:nvPr/>
          </p:nvGrpSpPr>
          <p:grpSpPr>
            <a:xfrm>
              <a:off x="4825353" y="1970648"/>
              <a:ext cx="2313166" cy="911499"/>
              <a:chOff x="6257463" y="1617978"/>
              <a:chExt cx="1576956" cy="996478"/>
            </a:xfrm>
          </p:grpSpPr>
          <p:grpSp>
            <p:nvGrpSpPr>
              <p:cNvPr id="74" name="Group 73">
                <a:extLst>
                  <a:ext uri="{FF2B5EF4-FFF2-40B4-BE49-F238E27FC236}">
                    <a16:creationId xmlns:a16="http://schemas.microsoft.com/office/drawing/2014/main" id="{412D1A55-7874-9F4A-A097-D0EEDF0E7220}"/>
                  </a:ext>
                </a:extLst>
              </p:cNvPr>
              <p:cNvGrpSpPr/>
              <p:nvPr/>
            </p:nvGrpSpPr>
            <p:grpSpPr>
              <a:xfrm>
                <a:off x="6296881" y="2015544"/>
                <a:ext cx="1537538" cy="598912"/>
                <a:chOff x="6652481" y="2039451"/>
                <a:chExt cx="1537538" cy="598912"/>
              </a:xfrm>
              <a:solidFill>
                <a:schemeClr val="bg2">
                  <a:lumMod val="85000"/>
                </a:schemeClr>
              </a:solidFill>
            </p:grpSpPr>
            <p:sp>
              <p:nvSpPr>
                <p:cNvPr id="80" name="Rectangle: Rounded Corners 6">
                  <a:extLst>
                    <a:ext uri="{FF2B5EF4-FFF2-40B4-BE49-F238E27FC236}">
                      <a16:creationId xmlns:a16="http://schemas.microsoft.com/office/drawing/2014/main" id="{B6A127B8-8C5E-0A4B-8BC0-8F3007427997}"/>
                    </a:ext>
                  </a:extLst>
                </p:cNvPr>
                <p:cNvSpPr/>
                <p:nvPr/>
              </p:nvSpPr>
              <p:spPr>
                <a:xfrm rot="10800000">
                  <a:off x="6652481" y="234806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40">
                  <a:extLst>
                    <a:ext uri="{FF2B5EF4-FFF2-40B4-BE49-F238E27FC236}">
                      <a16:creationId xmlns:a16="http://schemas.microsoft.com/office/drawing/2014/main" id="{3CFC2B63-785E-E943-B664-F3BD95DC43B5}"/>
                    </a:ext>
                  </a:extLst>
                </p:cNvPr>
                <p:cNvSpPr/>
                <p:nvPr/>
              </p:nvSpPr>
              <p:spPr>
                <a:xfrm rot="10800000">
                  <a:off x="7166831" y="22375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Rounded Corners 141">
                  <a:extLst>
                    <a:ext uri="{FF2B5EF4-FFF2-40B4-BE49-F238E27FC236}">
                      <a16:creationId xmlns:a16="http://schemas.microsoft.com/office/drawing/2014/main" id="{92A2FF71-AA39-0D4C-854F-D3199B7A071E}"/>
                    </a:ext>
                  </a:extLst>
                </p:cNvPr>
                <p:cNvSpPr/>
                <p:nvPr/>
              </p:nvSpPr>
              <p:spPr>
                <a:xfrm rot="10800000">
                  <a:off x="6986202" y="212327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Rounded Corners 142">
                  <a:extLst>
                    <a:ext uri="{FF2B5EF4-FFF2-40B4-BE49-F238E27FC236}">
                      <a16:creationId xmlns:a16="http://schemas.microsoft.com/office/drawing/2014/main" id="{13286E94-C05C-B549-B238-62318EB8F544}"/>
                    </a:ext>
                  </a:extLst>
                </p:cNvPr>
                <p:cNvSpPr/>
                <p:nvPr/>
              </p:nvSpPr>
              <p:spPr>
                <a:xfrm rot="10800000">
                  <a:off x="7501982" y="2039451"/>
                  <a:ext cx="632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5" name="Group 74">
                <a:extLst>
                  <a:ext uri="{FF2B5EF4-FFF2-40B4-BE49-F238E27FC236}">
                    <a16:creationId xmlns:a16="http://schemas.microsoft.com/office/drawing/2014/main" id="{2D1A0889-FC41-A240-9CCB-01E2FB6BAA82}"/>
                  </a:ext>
                </a:extLst>
              </p:cNvPr>
              <p:cNvGrpSpPr/>
              <p:nvPr/>
            </p:nvGrpSpPr>
            <p:grpSpPr>
              <a:xfrm>
                <a:off x="6257463" y="1617978"/>
                <a:ext cx="1553564" cy="594092"/>
                <a:chOff x="6606761" y="1479381"/>
                <a:chExt cx="1566167" cy="598912"/>
              </a:xfrm>
              <a:solidFill>
                <a:schemeClr val="bg2">
                  <a:lumMod val="85000"/>
                </a:schemeClr>
              </a:solidFill>
            </p:grpSpPr>
            <p:sp>
              <p:nvSpPr>
                <p:cNvPr id="76" name="Rectangle: Rounded Corners 148">
                  <a:extLst>
                    <a:ext uri="{FF2B5EF4-FFF2-40B4-BE49-F238E27FC236}">
                      <a16:creationId xmlns:a16="http://schemas.microsoft.com/office/drawing/2014/main" id="{88B1F798-6685-1641-B5B1-F294B8142FD3}"/>
                    </a:ext>
                  </a:extLst>
                </p:cNvPr>
                <p:cNvSpPr/>
                <p:nvPr/>
              </p:nvSpPr>
              <p:spPr>
                <a:xfrm rot="10800000">
                  <a:off x="6777158"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Rounded Corners 149">
                  <a:extLst>
                    <a:ext uri="{FF2B5EF4-FFF2-40B4-BE49-F238E27FC236}">
                      <a16:creationId xmlns:a16="http://schemas.microsoft.com/office/drawing/2014/main" id="{7980C41E-FAA2-B148-9553-CF1CE23E7FA9}"/>
                    </a:ext>
                  </a:extLst>
                </p:cNvPr>
                <p:cNvSpPr/>
                <p:nvPr/>
              </p:nvSpPr>
              <p:spPr>
                <a:xfrm rot="10800000">
                  <a:off x="7228576" y="1677501"/>
                  <a:ext cx="7245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Rounded Corners 150">
                  <a:extLst>
                    <a:ext uri="{FF2B5EF4-FFF2-40B4-BE49-F238E27FC236}">
                      <a16:creationId xmlns:a16="http://schemas.microsoft.com/office/drawing/2014/main" id="{58AFB3E2-0EEF-4B4D-9B4F-992CE7701A8D}"/>
                    </a:ext>
                  </a:extLst>
                </p:cNvPr>
                <p:cNvSpPr/>
                <p:nvPr/>
              </p:nvSpPr>
              <p:spPr>
                <a:xfrm rot="10800000">
                  <a:off x="6606761" y="15632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Rounded Corners 151">
                  <a:extLst>
                    <a:ext uri="{FF2B5EF4-FFF2-40B4-BE49-F238E27FC236}">
                      <a16:creationId xmlns:a16="http://schemas.microsoft.com/office/drawing/2014/main" id="{22D9F23A-58B5-104C-8088-D537872C91D5}"/>
                    </a:ext>
                  </a:extLst>
                </p:cNvPr>
                <p:cNvSpPr/>
                <p:nvPr/>
              </p:nvSpPr>
              <p:spPr>
                <a:xfrm rot="10800000">
                  <a:off x="7545075" y="1479381"/>
                  <a:ext cx="62785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84" name="Group 83">
              <a:extLst>
                <a:ext uri="{FF2B5EF4-FFF2-40B4-BE49-F238E27FC236}">
                  <a16:creationId xmlns:a16="http://schemas.microsoft.com/office/drawing/2014/main" id="{D33D658C-5B5C-9440-9544-9810C2FE0893}"/>
                </a:ext>
              </a:extLst>
            </p:cNvPr>
            <p:cNvGrpSpPr/>
            <p:nvPr/>
          </p:nvGrpSpPr>
          <p:grpSpPr>
            <a:xfrm>
              <a:off x="4495170" y="1970649"/>
              <a:ext cx="1509591" cy="909293"/>
              <a:chOff x="4722239" y="1617979"/>
              <a:chExt cx="1650330" cy="994067"/>
            </a:xfrm>
          </p:grpSpPr>
          <p:grpSp>
            <p:nvGrpSpPr>
              <p:cNvPr id="85" name="Group 84">
                <a:extLst>
                  <a:ext uri="{FF2B5EF4-FFF2-40B4-BE49-F238E27FC236}">
                    <a16:creationId xmlns:a16="http://schemas.microsoft.com/office/drawing/2014/main" id="{09260FFA-607E-EB42-8092-A4018204D168}"/>
                  </a:ext>
                </a:extLst>
              </p:cNvPr>
              <p:cNvGrpSpPr/>
              <p:nvPr/>
            </p:nvGrpSpPr>
            <p:grpSpPr>
              <a:xfrm>
                <a:off x="4722239" y="1617979"/>
                <a:ext cx="1604404" cy="594092"/>
                <a:chOff x="5071331" y="1479382"/>
                <a:chExt cx="1617419" cy="598911"/>
              </a:xfrm>
              <a:solidFill>
                <a:schemeClr val="bg2">
                  <a:lumMod val="85000"/>
                </a:schemeClr>
              </a:solidFill>
            </p:grpSpPr>
            <p:sp>
              <p:nvSpPr>
                <p:cNvPr id="91" name="Rectangle: Rounded Corners 161">
                  <a:extLst>
                    <a:ext uri="{FF2B5EF4-FFF2-40B4-BE49-F238E27FC236}">
                      <a16:creationId xmlns:a16="http://schemas.microsoft.com/office/drawing/2014/main" id="{83325A3A-8411-AA48-9A87-34206EE10054}"/>
                    </a:ext>
                  </a:extLst>
                </p:cNvPr>
                <p:cNvSpPr/>
                <p:nvPr/>
              </p:nvSpPr>
              <p:spPr>
                <a:xfrm>
                  <a:off x="5920832" y="147938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162">
                  <a:extLst>
                    <a:ext uri="{FF2B5EF4-FFF2-40B4-BE49-F238E27FC236}">
                      <a16:creationId xmlns:a16="http://schemas.microsoft.com/office/drawing/2014/main" id="{0BBAFF49-D507-8B4E-B9E9-98ECEE311748}"/>
                    </a:ext>
                  </a:extLst>
                </p:cNvPr>
                <p:cNvSpPr/>
                <p:nvPr/>
              </p:nvSpPr>
              <p:spPr>
                <a:xfrm>
                  <a:off x="5151212" y="158987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Rounded Corners 163">
                  <a:extLst>
                    <a:ext uri="{FF2B5EF4-FFF2-40B4-BE49-F238E27FC236}">
                      <a16:creationId xmlns:a16="http://schemas.microsoft.com/office/drawing/2014/main" id="{89E6864E-B6AB-0847-BD3E-9F1F4B1C6CD6}"/>
                    </a:ext>
                  </a:extLst>
                </p:cNvPr>
                <p:cNvSpPr/>
                <p:nvPr/>
              </p:nvSpPr>
              <p:spPr>
                <a:xfrm>
                  <a:off x="5631272" y="1704172"/>
                  <a:ext cx="633341"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Rounded Corners 164">
                  <a:extLst>
                    <a:ext uri="{FF2B5EF4-FFF2-40B4-BE49-F238E27FC236}">
                      <a16:creationId xmlns:a16="http://schemas.microsoft.com/office/drawing/2014/main" id="{0DE05EC3-6B4C-0D45-9938-3C1748591C6B}"/>
                    </a:ext>
                  </a:extLst>
                </p:cNvPr>
                <p:cNvSpPr/>
                <p:nvPr/>
              </p:nvSpPr>
              <p:spPr>
                <a:xfrm>
                  <a:off x="5071331" y="178799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AEB51B67-0141-DF4C-802F-B0B1ED2957AF}"/>
                  </a:ext>
                </a:extLst>
              </p:cNvPr>
              <p:cNvGrpSpPr/>
              <p:nvPr/>
            </p:nvGrpSpPr>
            <p:grpSpPr>
              <a:xfrm>
                <a:off x="4819003" y="2017956"/>
                <a:ext cx="1553566" cy="594090"/>
                <a:chOff x="5168302" y="2039452"/>
                <a:chExt cx="1566168" cy="598911"/>
              </a:xfrm>
              <a:solidFill>
                <a:schemeClr val="bg2">
                  <a:lumMod val="85000"/>
                </a:schemeClr>
              </a:solidFill>
            </p:grpSpPr>
            <p:sp>
              <p:nvSpPr>
                <p:cNvPr id="87" name="Rectangle: Rounded Corners 165">
                  <a:extLst>
                    <a:ext uri="{FF2B5EF4-FFF2-40B4-BE49-F238E27FC236}">
                      <a16:creationId xmlns:a16="http://schemas.microsoft.com/office/drawing/2014/main" id="{8FA2CD82-E337-E445-8A8E-DAA21D9D8971}"/>
                    </a:ext>
                  </a:extLst>
                </p:cNvPr>
                <p:cNvSpPr/>
                <p:nvPr/>
              </p:nvSpPr>
              <p:spPr>
                <a:xfrm>
                  <a:off x="5796155" y="203945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Rounded Corners 166">
                  <a:extLst>
                    <a:ext uri="{FF2B5EF4-FFF2-40B4-BE49-F238E27FC236}">
                      <a16:creationId xmlns:a16="http://schemas.microsoft.com/office/drawing/2014/main" id="{F33A3F32-41B6-4448-86A3-3BD52965E0D7}"/>
                    </a:ext>
                  </a:extLst>
                </p:cNvPr>
                <p:cNvSpPr/>
                <p:nvPr/>
              </p:nvSpPr>
              <p:spPr>
                <a:xfrm>
                  <a:off x="5485309" y="2149942"/>
                  <a:ext cx="62734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Rounded Corners 167">
                  <a:extLst>
                    <a:ext uri="{FF2B5EF4-FFF2-40B4-BE49-F238E27FC236}">
                      <a16:creationId xmlns:a16="http://schemas.microsoft.com/office/drawing/2014/main" id="{68DE86BE-61DE-9249-80A2-63EAF4BF0097}"/>
                    </a:ext>
                  </a:extLst>
                </p:cNvPr>
                <p:cNvSpPr/>
                <p:nvPr/>
              </p:nvSpPr>
              <p:spPr>
                <a:xfrm>
                  <a:off x="5966552" y="226424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Rounded Corners 168">
                  <a:extLst>
                    <a:ext uri="{FF2B5EF4-FFF2-40B4-BE49-F238E27FC236}">
                      <a16:creationId xmlns:a16="http://schemas.microsoft.com/office/drawing/2014/main" id="{4368BF64-5C36-C04C-93B9-4006CB03F93B}"/>
                    </a:ext>
                  </a:extLst>
                </p:cNvPr>
                <p:cNvSpPr/>
                <p:nvPr/>
              </p:nvSpPr>
              <p:spPr>
                <a:xfrm>
                  <a:off x="5168302" y="2348062"/>
                  <a:ext cx="105892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95" name="Group 94">
              <a:extLst>
                <a:ext uri="{FF2B5EF4-FFF2-40B4-BE49-F238E27FC236}">
                  <a16:creationId xmlns:a16="http://schemas.microsoft.com/office/drawing/2014/main" id="{87BE8CEA-09B1-3246-A772-BE4135A0FE69}"/>
                </a:ext>
              </a:extLst>
            </p:cNvPr>
            <p:cNvGrpSpPr/>
            <p:nvPr/>
          </p:nvGrpSpPr>
          <p:grpSpPr>
            <a:xfrm>
              <a:off x="3086190" y="2006242"/>
              <a:ext cx="1509592" cy="909292"/>
              <a:chOff x="3181899" y="1656890"/>
              <a:chExt cx="1650332" cy="994066"/>
            </a:xfrm>
          </p:grpSpPr>
          <p:grpSp>
            <p:nvGrpSpPr>
              <p:cNvPr id="96" name="Group 95">
                <a:extLst>
                  <a:ext uri="{FF2B5EF4-FFF2-40B4-BE49-F238E27FC236}">
                    <a16:creationId xmlns:a16="http://schemas.microsoft.com/office/drawing/2014/main" id="{848A5773-40D0-9445-8B0D-4A2AC0433711}"/>
                  </a:ext>
                </a:extLst>
              </p:cNvPr>
              <p:cNvGrpSpPr/>
              <p:nvPr/>
            </p:nvGrpSpPr>
            <p:grpSpPr>
              <a:xfrm>
                <a:off x="3227827" y="2056864"/>
                <a:ext cx="1604404" cy="594092"/>
                <a:chOff x="3576919" y="2078361"/>
                <a:chExt cx="1617419" cy="598911"/>
              </a:xfrm>
              <a:solidFill>
                <a:schemeClr val="bg2">
                  <a:lumMod val="85000"/>
                </a:schemeClr>
              </a:solidFill>
            </p:grpSpPr>
            <p:sp>
              <p:nvSpPr>
                <p:cNvPr id="102" name="Rectangle: Rounded Corners 170">
                  <a:extLst>
                    <a:ext uri="{FF2B5EF4-FFF2-40B4-BE49-F238E27FC236}">
                      <a16:creationId xmlns:a16="http://schemas.microsoft.com/office/drawing/2014/main" id="{ECE206C2-BF1E-7B4A-936A-D547703B8EC7}"/>
                    </a:ext>
                  </a:extLst>
                </p:cNvPr>
                <p:cNvSpPr/>
                <p:nvPr/>
              </p:nvSpPr>
              <p:spPr>
                <a:xfrm rot="10800000">
                  <a:off x="3576919" y="2386971"/>
                  <a:ext cx="105747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tangle: Rounded Corners 172">
                  <a:extLst>
                    <a:ext uri="{FF2B5EF4-FFF2-40B4-BE49-F238E27FC236}">
                      <a16:creationId xmlns:a16="http://schemas.microsoft.com/office/drawing/2014/main" id="{C09D17D1-94AA-E044-8942-8F9A5F9FABAD}"/>
                    </a:ext>
                  </a:extLst>
                </p:cNvPr>
                <p:cNvSpPr/>
                <p:nvPr/>
              </p:nvSpPr>
              <p:spPr>
                <a:xfrm rot="10800000">
                  <a:off x="4091269" y="2276482"/>
                  <a:ext cx="102318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Rounded Corners 173">
                  <a:extLst>
                    <a:ext uri="{FF2B5EF4-FFF2-40B4-BE49-F238E27FC236}">
                      <a16:creationId xmlns:a16="http://schemas.microsoft.com/office/drawing/2014/main" id="{A134F28A-900F-644D-A0B8-FAF2CDD47789}"/>
                    </a:ext>
                  </a:extLst>
                </p:cNvPr>
                <p:cNvSpPr/>
                <p:nvPr/>
              </p:nvSpPr>
              <p:spPr>
                <a:xfrm rot="10800000">
                  <a:off x="3910640" y="2162182"/>
                  <a:ext cx="72375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Rounded Corners 174">
                  <a:extLst>
                    <a:ext uri="{FF2B5EF4-FFF2-40B4-BE49-F238E27FC236}">
                      <a16:creationId xmlns:a16="http://schemas.microsoft.com/office/drawing/2014/main" id="{EF8470F7-B557-1645-81B3-EA08264A93CF}"/>
                    </a:ext>
                  </a:extLst>
                </p:cNvPr>
                <p:cNvSpPr/>
                <p:nvPr/>
              </p:nvSpPr>
              <p:spPr>
                <a:xfrm rot="10800000">
                  <a:off x="4539140" y="2078361"/>
                  <a:ext cx="65519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7" name="Group 96">
                <a:extLst>
                  <a:ext uri="{FF2B5EF4-FFF2-40B4-BE49-F238E27FC236}">
                    <a16:creationId xmlns:a16="http://schemas.microsoft.com/office/drawing/2014/main" id="{68676BBF-1F27-D648-94D9-66D96B063131}"/>
                  </a:ext>
                </a:extLst>
              </p:cNvPr>
              <p:cNvGrpSpPr/>
              <p:nvPr/>
            </p:nvGrpSpPr>
            <p:grpSpPr>
              <a:xfrm>
                <a:off x="3181899" y="1656890"/>
                <a:ext cx="1443175" cy="594090"/>
                <a:chOff x="3531199" y="1518292"/>
                <a:chExt cx="1454882" cy="598911"/>
              </a:xfrm>
              <a:solidFill>
                <a:schemeClr val="bg2">
                  <a:lumMod val="85000"/>
                </a:schemeClr>
              </a:solidFill>
            </p:grpSpPr>
            <p:sp>
              <p:nvSpPr>
                <p:cNvPr id="98" name="Rectangle: Rounded Corners 175">
                  <a:extLst>
                    <a:ext uri="{FF2B5EF4-FFF2-40B4-BE49-F238E27FC236}">
                      <a16:creationId xmlns:a16="http://schemas.microsoft.com/office/drawing/2014/main" id="{8B1850F4-F0D6-3C47-AA44-CE4F523E50EC}"/>
                    </a:ext>
                  </a:extLst>
                </p:cNvPr>
                <p:cNvSpPr/>
                <p:nvPr/>
              </p:nvSpPr>
              <p:spPr>
                <a:xfrm rot="10800000">
                  <a:off x="3701596" y="182690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Rounded Corners 176">
                  <a:extLst>
                    <a:ext uri="{FF2B5EF4-FFF2-40B4-BE49-F238E27FC236}">
                      <a16:creationId xmlns:a16="http://schemas.microsoft.com/office/drawing/2014/main" id="{7F5C5939-D8DC-4D40-B240-976FC53893FA}"/>
                    </a:ext>
                  </a:extLst>
                </p:cNvPr>
                <p:cNvSpPr/>
                <p:nvPr/>
              </p:nvSpPr>
              <p:spPr>
                <a:xfrm rot="10800000">
                  <a:off x="4153015" y="17164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Rounded Corners 177">
                  <a:extLst>
                    <a:ext uri="{FF2B5EF4-FFF2-40B4-BE49-F238E27FC236}">
                      <a16:creationId xmlns:a16="http://schemas.microsoft.com/office/drawing/2014/main" id="{A4042947-5689-F54E-8191-21974D511148}"/>
                    </a:ext>
                  </a:extLst>
                </p:cNvPr>
                <p:cNvSpPr/>
                <p:nvPr/>
              </p:nvSpPr>
              <p:spPr>
                <a:xfrm rot="10800000">
                  <a:off x="3531199" y="1602112"/>
                  <a:ext cx="76791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Rounded Corners 178">
                  <a:extLst>
                    <a:ext uri="{FF2B5EF4-FFF2-40B4-BE49-F238E27FC236}">
                      <a16:creationId xmlns:a16="http://schemas.microsoft.com/office/drawing/2014/main" id="{9446EDC7-08CB-3C43-B3FD-002A0325392B}"/>
                    </a:ext>
                  </a:extLst>
                </p:cNvPr>
                <p:cNvSpPr/>
                <p:nvPr/>
              </p:nvSpPr>
              <p:spPr>
                <a:xfrm rot="10800000">
                  <a:off x="4038444" y="1518292"/>
                  <a:ext cx="94763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6" name="Group 105">
              <a:extLst>
                <a:ext uri="{FF2B5EF4-FFF2-40B4-BE49-F238E27FC236}">
                  <a16:creationId xmlns:a16="http://schemas.microsoft.com/office/drawing/2014/main" id="{B93DEF2F-C7A9-B846-ACF5-4CE5885DBD8F}"/>
                </a:ext>
              </a:extLst>
            </p:cNvPr>
            <p:cNvGrpSpPr/>
            <p:nvPr/>
          </p:nvGrpSpPr>
          <p:grpSpPr>
            <a:xfrm>
              <a:off x="1799537" y="2094016"/>
              <a:ext cx="1491424" cy="749099"/>
              <a:chOff x="6621828" y="1373655"/>
              <a:chExt cx="1630470" cy="818938"/>
            </a:xfrm>
            <a:solidFill>
              <a:schemeClr val="bg2">
                <a:lumMod val="85000"/>
              </a:schemeClr>
            </a:solidFill>
          </p:grpSpPr>
          <p:sp>
            <p:nvSpPr>
              <p:cNvPr id="107" name="Rectangle: Rounded Corners 190">
                <a:extLst>
                  <a:ext uri="{FF2B5EF4-FFF2-40B4-BE49-F238E27FC236}">
                    <a16:creationId xmlns:a16="http://schemas.microsoft.com/office/drawing/2014/main" id="{B922FB59-C327-FF46-B99E-E6815852AF2B}"/>
                  </a:ext>
                </a:extLst>
              </p:cNvPr>
              <p:cNvSpPr/>
              <p:nvPr/>
            </p:nvSpPr>
            <p:spPr>
              <a:xfrm>
                <a:off x="6782354" y="1479382"/>
                <a:ext cx="640848"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Rounded Corners 191">
                <a:extLst>
                  <a:ext uri="{FF2B5EF4-FFF2-40B4-BE49-F238E27FC236}">
                    <a16:creationId xmlns:a16="http://schemas.microsoft.com/office/drawing/2014/main" id="{D7EEF32E-DD2D-A54A-B5BB-623401B7C6BD}"/>
                  </a:ext>
                </a:extLst>
              </p:cNvPr>
              <p:cNvSpPr/>
              <p:nvPr/>
            </p:nvSpPr>
            <p:spPr>
              <a:xfrm>
                <a:off x="6884887" y="1589872"/>
                <a:ext cx="966955"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Rounded Corners 192">
                <a:extLst>
                  <a:ext uri="{FF2B5EF4-FFF2-40B4-BE49-F238E27FC236}">
                    <a16:creationId xmlns:a16="http://schemas.microsoft.com/office/drawing/2014/main" id="{C4F6B6D2-A1E1-9F4B-B4AA-F0A0E2B1A5D7}"/>
                  </a:ext>
                </a:extLst>
              </p:cNvPr>
              <p:cNvSpPr/>
              <p:nvPr/>
            </p:nvSpPr>
            <p:spPr>
              <a:xfrm>
                <a:off x="7166702" y="1704172"/>
                <a:ext cx="83105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Rounded Corners 194">
                <a:extLst>
                  <a:ext uri="{FF2B5EF4-FFF2-40B4-BE49-F238E27FC236}">
                    <a16:creationId xmlns:a16="http://schemas.microsoft.com/office/drawing/2014/main" id="{65AB835D-A1F2-424F-9F33-8B9B1FA8019C}"/>
                  </a:ext>
                </a:extLst>
              </p:cNvPr>
              <p:cNvSpPr/>
              <p:nvPr/>
            </p:nvSpPr>
            <p:spPr>
              <a:xfrm>
                <a:off x="6621828" y="17879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Rounded Corners 228">
                <a:extLst>
                  <a:ext uri="{FF2B5EF4-FFF2-40B4-BE49-F238E27FC236}">
                    <a16:creationId xmlns:a16="http://schemas.microsoft.com/office/drawing/2014/main" id="{AA37F00F-953F-4B40-A39F-3F72AF6DB68A}"/>
                  </a:ext>
                </a:extLst>
              </p:cNvPr>
              <p:cNvSpPr/>
              <p:nvPr/>
            </p:nvSpPr>
            <p:spPr>
              <a:xfrm>
                <a:off x="7362155" y="1902292"/>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Rounded Corners 229">
                <a:extLst>
                  <a:ext uri="{FF2B5EF4-FFF2-40B4-BE49-F238E27FC236}">
                    <a16:creationId xmlns:a16="http://schemas.microsoft.com/office/drawing/2014/main" id="{2F54EC34-B944-E44D-A465-6D78F1BB58F1}"/>
                  </a:ext>
                </a:extLst>
              </p:cNvPr>
              <p:cNvSpPr/>
              <p:nvPr/>
            </p:nvSpPr>
            <p:spPr>
              <a:xfrm>
                <a:off x="7295480" y="1373655"/>
                <a:ext cx="89014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3" name="TextBox 112">
              <a:extLst>
                <a:ext uri="{FF2B5EF4-FFF2-40B4-BE49-F238E27FC236}">
                  <a16:creationId xmlns:a16="http://schemas.microsoft.com/office/drawing/2014/main" id="{5320E499-8998-524F-9DBA-F9229746E41F}"/>
                </a:ext>
              </a:extLst>
            </p:cNvPr>
            <p:cNvSpPr txBox="1"/>
            <p:nvPr/>
          </p:nvSpPr>
          <p:spPr>
            <a:xfrm>
              <a:off x="2172785" y="2322454"/>
              <a:ext cx="567784" cy="230832"/>
            </a:xfrm>
            <a:prstGeom prst="rect">
              <a:avLst/>
            </a:prstGeom>
            <a:noFill/>
          </p:spPr>
          <p:txBody>
            <a:bodyPr wrap="none" rtlCol="0">
              <a:spAutoFit/>
            </a:bodyPr>
            <a:lstStyle/>
            <a:p>
              <a:pPr algn="ctr"/>
              <a:r>
                <a:rPr lang="en-US" sz="900" b="1" dirty="0">
                  <a:latin typeface="+mn-lt"/>
                </a:rPr>
                <a:t>Access</a:t>
              </a:r>
            </a:p>
          </p:txBody>
        </p:sp>
        <p:sp>
          <p:nvSpPr>
            <p:cNvPr id="114" name="TextBox 113">
              <a:extLst>
                <a:ext uri="{FF2B5EF4-FFF2-40B4-BE49-F238E27FC236}">
                  <a16:creationId xmlns:a16="http://schemas.microsoft.com/office/drawing/2014/main" id="{9D427241-2B23-6C44-92A0-B3A8F7140ACA}"/>
                </a:ext>
              </a:extLst>
            </p:cNvPr>
            <p:cNvSpPr txBox="1"/>
            <p:nvPr/>
          </p:nvSpPr>
          <p:spPr>
            <a:xfrm>
              <a:off x="3412728" y="2322454"/>
              <a:ext cx="1043877" cy="230832"/>
            </a:xfrm>
            <a:prstGeom prst="rect">
              <a:avLst/>
            </a:prstGeom>
            <a:noFill/>
          </p:spPr>
          <p:txBody>
            <a:bodyPr wrap="none" rtlCol="0">
              <a:spAutoFit/>
            </a:bodyPr>
            <a:lstStyle/>
            <a:p>
              <a:pPr algn="ctr"/>
              <a:r>
                <a:rPr lang="en-US" sz="900" b="1" dirty="0">
                  <a:latin typeface="+mn-lt"/>
                </a:rPr>
                <a:t>Pre-aggregation</a:t>
              </a:r>
            </a:p>
          </p:txBody>
        </p:sp>
        <p:sp>
          <p:nvSpPr>
            <p:cNvPr id="115" name="TextBox 114">
              <a:extLst>
                <a:ext uri="{FF2B5EF4-FFF2-40B4-BE49-F238E27FC236}">
                  <a16:creationId xmlns:a16="http://schemas.microsoft.com/office/drawing/2014/main" id="{80644EC7-6B66-DB4B-AF32-2E19DDCC5441}"/>
                </a:ext>
              </a:extLst>
            </p:cNvPr>
            <p:cNvSpPr txBox="1"/>
            <p:nvPr/>
          </p:nvSpPr>
          <p:spPr>
            <a:xfrm>
              <a:off x="5831407" y="2334311"/>
              <a:ext cx="439544" cy="230832"/>
            </a:xfrm>
            <a:prstGeom prst="rect">
              <a:avLst/>
            </a:prstGeom>
            <a:noFill/>
          </p:spPr>
          <p:txBody>
            <a:bodyPr wrap="none" rtlCol="0">
              <a:spAutoFit/>
            </a:bodyPr>
            <a:lstStyle/>
            <a:p>
              <a:pPr algn="ctr"/>
              <a:r>
                <a:rPr lang="en-US" sz="900" b="1" dirty="0">
                  <a:latin typeface="+mn-lt"/>
                </a:rPr>
                <a:t>Core</a:t>
              </a:r>
            </a:p>
          </p:txBody>
        </p:sp>
        <p:grpSp>
          <p:nvGrpSpPr>
            <p:cNvPr id="117" name="Group 116">
              <a:extLst>
                <a:ext uri="{FF2B5EF4-FFF2-40B4-BE49-F238E27FC236}">
                  <a16:creationId xmlns:a16="http://schemas.microsoft.com/office/drawing/2014/main" id="{15A0CA46-7A4B-284A-B597-80E5709CAC74}"/>
                </a:ext>
              </a:extLst>
            </p:cNvPr>
            <p:cNvGrpSpPr/>
            <p:nvPr/>
          </p:nvGrpSpPr>
          <p:grpSpPr>
            <a:xfrm>
              <a:off x="1722376" y="1935055"/>
              <a:ext cx="160263" cy="98451"/>
              <a:chOff x="3221673" y="3946130"/>
              <a:chExt cx="521162" cy="320153"/>
            </a:xfrm>
            <a:solidFill>
              <a:schemeClr val="accent2"/>
            </a:solidFill>
          </p:grpSpPr>
          <p:sp>
            <p:nvSpPr>
              <p:cNvPr id="118" name="Freeform 7">
                <a:extLst>
                  <a:ext uri="{FF2B5EF4-FFF2-40B4-BE49-F238E27FC236}">
                    <a16:creationId xmlns:a16="http://schemas.microsoft.com/office/drawing/2014/main" id="{879E5432-00A4-9D45-ABE3-F01E514EB92C}"/>
                  </a:ext>
                </a:extLst>
              </p:cNvPr>
              <p:cNvSpPr>
                <a:spLocks noChangeArrowheads="1"/>
              </p:cNvSpPr>
              <p:nvPr/>
            </p:nvSpPr>
            <p:spPr bwMode="auto">
              <a:xfrm>
                <a:off x="3221673" y="3949306"/>
                <a:ext cx="219865" cy="315010"/>
              </a:xfrm>
              <a:custGeom>
                <a:avLst/>
                <a:gdLst>
                  <a:gd name="T0" fmla="*/ 218398 w 752"/>
                  <a:gd name="T1" fmla="*/ 0 h 1080"/>
                  <a:gd name="T2" fmla="*/ 218398 w 752"/>
                  <a:gd name="T3" fmla="*/ 0 h 1080"/>
                  <a:gd name="T4" fmla="*/ 223452 w 752"/>
                  <a:gd name="T5" fmla="*/ 2881 h 1080"/>
                  <a:gd name="T6" fmla="*/ 250526 w 752"/>
                  <a:gd name="T7" fmla="*/ 33132 h 1080"/>
                  <a:gd name="T8" fmla="*/ 222730 w 752"/>
                  <a:gd name="T9" fmla="*/ 75987 h 1080"/>
                  <a:gd name="T10" fmla="*/ 205763 w 752"/>
                  <a:gd name="T11" fmla="*/ 78148 h 1080"/>
                  <a:gd name="T12" fmla="*/ 142590 w 752"/>
                  <a:gd name="T13" fmla="*/ 78148 h 1080"/>
                  <a:gd name="T14" fmla="*/ 122736 w 752"/>
                  <a:gd name="T15" fmla="*/ 78148 h 1080"/>
                  <a:gd name="T16" fmla="*/ 117682 w 752"/>
                  <a:gd name="T17" fmla="*/ 82829 h 1080"/>
                  <a:gd name="T18" fmla="*/ 111906 w 752"/>
                  <a:gd name="T19" fmla="*/ 109839 h 1080"/>
                  <a:gd name="T20" fmla="*/ 116599 w 752"/>
                  <a:gd name="T21" fmla="*/ 115601 h 1080"/>
                  <a:gd name="T22" fmla="*/ 121292 w 752"/>
                  <a:gd name="T23" fmla="*/ 115241 h 1080"/>
                  <a:gd name="T24" fmla="*/ 129595 w 752"/>
                  <a:gd name="T25" fmla="*/ 115241 h 1080"/>
                  <a:gd name="T26" fmla="*/ 186992 w 752"/>
                  <a:gd name="T27" fmla="*/ 128566 h 1080"/>
                  <a:gd name="T28" fmla="*/ 261355 w 752"/>
                  <a:gd name="T29" fmla="*/ 210675 h 1080"/>
                  <a:gd name="T30" fmla="*/ 268214 w 752"/>
                  <a:gd name="T31" fmla="*/ 270096 h 1080"/>
                  <a:gd name="T32" fmla="*/ 261355 w 752"/>
                  <a:gd name="T33" fmla="*/ 301427 h 1080"/>
                  <a:gd name="T34" fmla="*/ 207207 w 752"/>
                  <a:gd name="T35" fmla="*/ 367690 h 1080"/>
                  <a:gd name="T36" fmla="*/ 158835 w 752"/>
                  <a:gd name="T37" fmla="*/ 385337 h 1080"/>
                  <a:gd name="T38" fmla="*/ 120570 w 752"/>
                  <a:gd name="T39" fmla="*/ 388578 h 1080"/>
                  <a:gd name="T40" fmla="*/ 5054 w 752"/>
                  <a:gd name="T41" fmla="*/ 310790 h 1080"/>
                  <a:gd name="T42" fmla="*/ 722 w 752"/>
                  <a:gd name="T43" fmla="*/ 294224 h 1080"/>
                  <a:gd name="T44" fmla="*/ 39348 w 752"/>
                  <a:gd name="T45" fmla="*/ 254250 h 1080"/>
                  <a:gd name="T46" fmla="*/ 72559 w 752"/>
                  <a:gd name="T47" fmla="*/ 274057 h 1080"/>
                  <a:gd name="T48" fmla="*/ 76890 w 752"/>
                  <a:gd name="T49" fmla="*/ 282700 h 1080"/>
                  <a:gd name="T50" fmla="*/ 124902 w 752"/>
                  <a:gd name="T51" fmla="*/ 311511 h 1080"/>
                  <a:gd name="T52" fmla="*/ 155586 w 752"/>
                  <a:gd name="T53" fmla="*/ 306469 h 1080"/>
                  <a:gd name="T54" fmla="*/ 166054 w 752"/>
                  <a:gd name="T55" fmla="*/ 302147 h 1080"/>
                  <a:gd name="T56" fmla="*/ 190241 w 752"/>
                  <a:gd name="T57" fmla="*/ 269736 h 1080"/>
                  <a:gd name="T58" fmla="*/ 192046 w 752"/>
                  <a:gd name="T59" fmla="*/ 254250 h 1080"/>
                  <a:gd name="T60" fmla="*/ 186270 w 752"/>
                  <a:gd name="T61" fmla="*/ 231562 h 1080"/>
                  <a:gd name="T62" fmla="*/ 151976 w 752"/>
                  <a:gd name="T63" fmla="*/ 197350 h 1080"/>
                  <a:gd name="T64" fmla="*/ 124541 w 752"/>
                  <a:gd name="T65" fmla="*/ 192308 h 1080"/>
                  <a:gd name="T66" fmla="*/ 76529 w 752"/>
                  <a:gd name="T67" fmla="*/ 206353 h 1080"/>
                  <a:gd name="T68" fmla="*/ 44763 w 752"/>
                  <a:gd name="T69" fmla="*/ 209594 h 1080"/>
                  <a:gd name="T70" fmla="*/ 19493 w 752"/>
                  <a:gd name="T71" fmla="*/ 163858 h 1080"/>
                  <a:gd name="T72" fmla="*/ 30684 w 752"/>
                  <a:gd name="T73" fmla="*/ 117402 h 1080"/>
                  <a:gd name="T74" fmla="*/ 49455 w 752"/>
                  <a:gd name="T75" fmla="*/ 37093 h 1080"/>
                  <a:gd name="T76" fmla="*/ 51621 w 752"/>
                  <a:gd name="T77" fmla="*/ 27010 h 1080"/>
                  <a:gd name="T78" fmla="*/ 76890 w 752"/>
                  <a:gd name="T79" fmla="*/ 2881 h 1080"/>
                  <a:gd name="T80" fmla="*/ 83027 w 752"/>
                  <a:gd name="T81" fmla="*/ 0 h 1080"/>
                  <a:gd name="T82" fmla="*/ 218398 w 752"/>
                  <a:gd name="T83" fmla="*/ 0 h 10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2" h="1080">
                    <a:moveTo>
                      <a:pt x="605" y="0"/>
                    </a:moveTo>
                    <a:lnTo>
                      <a:pt x="605" y="0"/>
                    </a:lnTo>
                    <a:cubicBezTo>
                      <a:pt x="608" y="5"/>
                      <a:pt x="613" y="6"/>
                      <a:pt x="619" y="8"/>
                    </a:cubicBezTo>
                    <a:cubicBezTo>
                      <a:pt x="662" y="20"/>
                      <a:pt x="686" y="49"/>
                      <a:pt x="694" y="92"/>
                    </a:cubicBezTo>
                    <a:cubicBezTo>
                      <a:pt x="703" y="138"/>
                      <a:pt x="677" y="196"/>
                      <a:pt x="617" y="211"/>
                    </a:cubicBezTo>
                    <a:cubicBezTo>
                      <a:pt x="602" y="216"/>
                      <a:pt x="587" y="217"/>
                      <a:pt x="570" y="217"/>
                    </a:cubicBezTo>
                    <a:cubicBezTo>
                      <a:pt x="512" y="216"/>
                      <a:pt x="453" y="217"/>
                      <a:pt x="395" y="217"/>
                    </a:cubicBezTo>
                    <a:cubicBezTo>
                      <a:pt x="377" y="217"/>
                      <a:pt x="359" y="217"/>
                      <a:pt x="340" y="217"/>
                    </a:cubicBezTo>
                    <a:cubicBezTo>
                      <a:pt x="334" y="217"/>
                      <a:pt x="328" y="223"/>
                      <a:pt x="326" y="230"/>
                    </a:cubicBezTo>
                    <a:cubicBezTo>
                      <a:pt x="320" y="254"/>
                      <a:pt x="314" y="280"/>
                      <a:pt x="310" y="305"/>
                    </a:cubicBezTo>
                    <a:cubicBezTo>
                      <a:pt x="307" y="317"/>
                      <a:pt x="311" y="321"/>
                      <a:pt x="323" y="321"/>
                    </a:cubicBezTo>
                    <a:cubicBezTo>
                      <a:pt x="328" y="321"/>
                      <a:pt x="333" y="321"/>
                      <a:pt x="336" y="320"/>
                    </a:cubicBezTo>
                    <a:cubicBezTo>
                      <a:pt x="343" y="320"/>
                      <a:pt x="351" y="320"/>
                      <a:pt x="359" y="320"/>
                    </a:cubicBezTo>
                    <a:cubicBezTo>
                      <a:pt x="415" y="318"/>
                      <a:pt x="467" y="332"/>
                      <a:pt x="518" y="357"/>
                    </a:cubicBezTo>
                    <a:cubicBezTo>
                      <a:pt x="616" y="406"/>
                      <a:pt x="685" y="482"/>
                      <a:pt x="724" y="585"/>
                    </a:cubicBezTo>
                    <a:cubicBezTo>
                      <a:pt x="744" y="638"/>
                      <a:pt x="751" y="693"/>
                      <a:pt x="743" y="750"/>
                    </a:cubicBezTo>
                    <a:cubicBezTo>
                      <a:pt x="740" y="779"/>
                      <a:pt x="734" y="808"/>
                      <a:pt x="724" y="837"/>
                    </a:cubicBezTo>
                    <a:cubicBezTo>
                      <a:pt x="697" y="917"/>
                      <a:pt x="646" y="978"/>
                      <a:pt x="574" y="1021"/>
                    </a:cubicBezTo>
                    <a:cubicBezTo>
                      <a:pt x="532" y="1046"/>
                      <a:pt x="487" y="1061"/>
                      <a:pt x="440" y="1070"/>
                    </a:cubicBezTo>
                    <a:cubicBezTo>
                      <a:pt x="404" y="1076"/>
                      <a:pt x="369" y="1079"/>
                      <a:pt x="334" y="1079"/>
                    </a:cubicBezTo>
                    <a:cubicBezTo>
                      <a:pt x="210" y="1079"/>
                      <a:pt x="74" y="1004"/>
                      <a:pt x="14" y="863"/>
                    </a:cubicBezTo>
                    <a:cubicBezTo>
                      <a:pt x="8" y="848"/>
                      <a:pt x="3" y="833"/>
                      <a:pt x="2" y="817"/>
                    </a:cubicBezTo>
                    <a:cubicBezTo>
                      <a:pt x="0" y="765"/>
                      <a:pt x="39" y="707"/>
                      <a:pt x="109" y="706"/>
                    </a:cubicBezTo>
                    <a:cubicBezTo>
                      <a:pt x="149" y="706"/>
                      <a:pt x="181" y="724"/>
                      <a:pt x="201" y="761"/>
                    </a:cubicBezTo>
                    <a:cubicBezTo>
                      <a:pt x="205" y="768"/>
                      <a:pt x="210" y="776"/>
                      <a:pt x="213" y="785"/>
                    </a:cubicBezTo>
                    <a:cubicBezTo>
                      <a:pt x="241" y="839"/>
                      <a:pt x="287" y="865"/>
                      <a:pt x="346" y="865"/>
                    </a:cubicBezTo>
                    <a:cubicBezTo>
                      <a:pt x="374" y="865"/>
                      <a:pt x="403" y="860"/>
                      <a:pt x="431" y="851"/>
                    </a:cubicBezTo>
                    <a:cubicBezTo>
                      <a:pt x="440" y="848"/>
                      <a:pt x="449" y="844"/>
                      <a:pt x="460" y="839"/>
                    </a:cubicBezTo>
                    <a:cubicBezTo>
                      <a:pt x="496" y="821"/>
                      <a:pt x="518" y="790"/>
                      <a:pt x="527" y="749"/>
                    </a:cubicBezTo>
                    <a:cubicBezTo>
                      <a:pt x="529" y="735"/>
                      <a:pt x="530" y="721"/>
                      <a:pt x="532" y="706"/>
                    </a:cubicBezTo>
                    <a:cubicBezTo>
                      <a:pt x="532" y="684"/>
                      <a:pt x="527" y="663"/>
                      <a:pt x="516" y="643"/>
                    </a:cubicBezTo>
                    <a:cubicBezTo>
                      <a:pt x="495" y="600"/>
                      <a:pt x="463" y="568"/>
                      <a:pt x="421" y="548"/>
                    </a:cubicBezTo>
                    <a:cubicBezTo>
                      <a:pt x="397" y="536"/>
                      <a:pt x="372" y="533"/>
                      <a:pt x="345" y="534"/>
                    </a:cubicBezTo>
                    <a:cubicBezTo>
                      <a:pt x="297" y="539"/>
                      <a:pt x="253" y="550"/>
                      <a:pt x="212" y="573"/>
                    </a:cubicBezTo>
                    <a:cubicBezTo>
                      <a:pt x="184" y="589"/>
                      <a:pt x="155" y="591"/>
                      <a:pt x="124" y="582"/>
                    </a:cubicBezTo>
                    <a:cubicBezTo>
                      <a:pt x="71" y="563"/>
                      <a:pt x="42" y="511"/>
                      <a:pt x="54" y="455"/>
                    </a:cubicBezTo>
                    <a:cubicBezTo>
                      <a:pt x="63" y="412"/>
                      <a:pt x="74" y="369"/>
                      <a:pt x="85" y="326"/>
                    </a:cubicBezTo>
                    <a:cubicBezTo>
                      <a:pt x="101" y="251"/>
                      <a:pt x="118" y="176"/>
                      <a:pt x="137" y="103"/>
                    </a:cubicBezTo>
                    <a:cubicBezTo>
                      <a:pt x="138" y="93"/>
                      <a:pt x="140" y="84"/>
                      <a:pt x="143" y="75"/>
                    </a:cubicBezTo>
                    <a:cubicBezTo>
                      <a:pt x="155" y="41"/>
                      <a:pt x="178" y="18"/>
                      <a:pt x="213" y="8"/>
                    </a:cubicBezTo>
                    <a:cubicBezTo>
                      <a:pt x="219" y="6"/>
                      <a:pt x="225" y="5"/>
                      <a:pt x="230" y="0"/>
                    </a:cubicBezTo>
                    <a:cubicBezTo>
                      <a:pt x="355" y="0"/>
                      <a:pt x="480" y="0"/>
                      <a:pt x="605" y="0"/>
                    </a:cubicBezTo>
                  </a:path>
                </a:pathLst>
              </a:custGeom>
              <a:grpFill/>
              <a:ln>
                <a:noFill/>
              </a:ln>
              <a:effectLst/>
            </p:spPr>
            <p:txBody>
              <a:bodyPr wrap="none" anchor="ctr"/>
              <a:lstStyle/>
              <a:p>
                <a:endParaRPr lang="en-US" dirty="0"/>
              </a:p>
            </p:txBody>
          </p:sp>
          <p:sp>
            <p:nvSpPr>
              <p:cNvPr id="119" name="Freeform 23">
                <a:extLst>
                  <a:ext uri="{FF2B5EF4-FFF2-40B4-BE49-F238E27FC236}">
                    <a16:creationId xmlns:a16="http://schemas.microsoft.com/office/drawing/2014/main" id="{6F2C1420-9A37-1C4D-990A-BC09F77E72BB}"/>
                  </a:ext>
                </a:extLst>
              </p:cNvPr>
              <p:cNvSpPr>
                <a:spLocks noChangeArrowheads="1"/>
              </p:cNvSpPr>
              <p:nvPr/>
            </p:nvSpPr>
            <p:spPr bwMode="auto">
              <a:xfrm>
                <a:off x="3457396" y="3946130"/>
                <a:ext cx="285439" cy="320153"/>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120" name="Group 119">
              <a:extLst>
                <a:ext uri="{FF2B5EF4-FFF2-40B4-BE49-F238E27FC236}">
                  <a16:creationId xmlns:a16="http://schemas.microsoft.com/office/drawing/2014/main" id="{24F18B5B-A69A-4D44-BA29-703641D54625}"/>
                </a:ext>
              </a:extLst>
            </p:cNvPr>
            <p:cNvGrpSpPr/>
            <p:nvPr/>
          </p:nvGrpSpPr>
          <p:grpSpPr>
            <a:xfrm>
              <a:off x="1388809" y="1934661"/>
              <a:ext cx="166060" cy="99240"/>
              <a:chOff x="3202819" y="3711222"/>
              <a:chExt cx="348044" cy="207998"/>
            </a:xfrm>
            <a:solidFill>
              <a:schemeClr val="accent1"/>
            </a:solidFill>
          </p:grpSpPr>
          <p:sp>
            <p:nvSpPr>
              <p:cNvPr id="121" name="Freeform 77">
                <a:extLst>
                  <a:ext uri="{FF2B5EF4-FFF2-40B4-BE49-F238E27FC236}">
                    <a16:creationId xmlns:a16="http://schemas.microsoft.com/office/drawing/2014/main" id="{79E3B014-073D-DD49-9B4E-1DEF5B9A5DFB}"/>
                  </a:ext>
                </a:extLst>
              </p:cNvPr>
              <p:cNvSpPr>
                <a:spLocks noChangeArrowheads="1"/>
              </p:cNvSpPr>
              <p:nvPr/>
            </p:nvSpPr>
            <p:spPr bwMode="auto">
              <a:xfrm>
                <a:off x="3202819" y="3711222"/>
                <a:ext cx="164078" cy="207998"/>
              </a:xfrm>
              <a:custGeom>
                <a:avLst/>
                <a:gdLst>
                  <a:gd name="T0" fmla="*/ 211232 w 872"/>
                  <a:gd name="T1" fmla="*/ 0 h 1108"/>
                  <a:gd name="T2" fmla="*/ 211232 w 872"/>
                  <a:gd name="T3" fmla="*/ 0 h 1108"/>
                  <a:gd name="T4" fmla="*/ 216279 w 872"/>
                  <a:gd name="T5" fmla="*/ 2877 h 1108"/>
                  <a:gd name="T6" fmla="*/ 244395 w 872"/>
                  <a:gd name="T7" fmla="*/ 38480 h 1108"/>
                  <a:gd name="T8" fmla="*/ 244395 w 872"/>
                  <a:gd name="T9" fmla="*/ 49628 h 1108"/>
                  <a:gd name="T10" fmla="*/ 244395 w 872"/>
                  <a:gd name="T11" fmla="*/ 213616 h 1108"/>
                  <a:gd name="T12" fmla="*/ 244395 w 872"/>
                  <a:gd name="T13" fmla="*/ 220809 h 1108"/>
                  <a:gd name="T14" fmla="*/ 256290 w 872"/>
                  <a:gd name="T15" fmla="*/ 233036 h 1108"/>
                  <a:gd name="T16" fmla="*/ 270348 w 872"/>
                  <a:gd name="T17" fmla="*/ 233036 h 1108"/>
                  <a:gd name="T18" fmla="*/ 302430 w 872"/>
                  <a:gd name="T19" fmla="*/ 254254 h 1108"/>
                  <a:gd name="T20" fmla="*/ 276476 w 872"/>
                  <a:gd name="T21" fmla="*/ 308197 h 1108"/>
                  <a:gd name="T22" fmla="*/ 265302 w 872"/>
                  <a:gd name="T23" fmla="*/ 309276 h 1108"/>
                  <a:gd name="T24" fmla="*/ 248720 w 872"/>
                  <a:gd name="T25" fmla="*/ 309276 h 1108"/>
                  <a:gd name="T26" fmla="*/ 244755 w 872"/>
                  <a:gd name="T27" fmla="*/ 313232 h 1108"/>
                  <a:gd name="T28" fmla="*/ 244395 w 872"/>
                  <a:gd name="T29" fmla="*/ 324381 h 1108"/>
                  <a:gd name="T30" fmla="*/ 244395 w 872"/>
                  <a:gd name="T31" fmla="*/ 349554 h 1108"/>
                  <a:gd name="T32" fmla="*/ 231058 w 872"/>
                  <a:gd name="T33" fmla="*/ 378324 h 1108"/>
                  <a:gd name="T34" fmla="*/ 168697 w 872"/>
                  <a:gd name="T35" fmla="*/ 359624 h 1108"/>
                  <a:gd name="T36" fmla="*/ 166895 w 872"/>
                  <a:gd name="T37" fmla="*/ 345239 h 1108"/>
                  <a:gd name="T38" fmla="*/ 166895 w 872"/>
                  <a:gd name="T39" fmla="*/ 317188 h 1108"/>
                  <a:gd name="T40" fmla="*/ 165814 w 872"/>
                  <a:gd name="T41" fmla="*/ 311434 h 1108"/>
                  <a:gd name="T42" fmla="*/ 164372 w 872"/>
                  <a:gd name="T43" fmla="*/ 309996 h 1108"/>
                  <a:gd name="T44" fmla="*/ 158604 w 872"/>
                  <a:gd name="T45" fmla="*/ 309276 h 1108"/>
                  <a:gd name="T46" fmla="*/ 133372 w 872"/>
                  <a:gd name="T47" fmla="*/ 309276 h 1108"/>
                  <a:gd name="T48" fmla="*/ 54430 w 872"/>
                  <a:gd name="T49" fmla="*/ 309276 h 1108"/>
                  <a:gd name="T50" fmla="*/ 43256 w 872"/>
                  <a:gd name="T51" fmla="*/ 308917 h 1108"/>
                  <a:gd name="T52" fmla="*/ 10453 w 872"/>
                  <a:gd name="T53" fmla="*/ 256052 h 1108"/>
                  <a:gd name="T54" fmla="*/ 18744 w 872"/>
                  <a:gd name="T55" fmla="*/ 242746 h 1108"/>
                  <a:gd name="T56" fmla="*/ 80023 w 872"/>
                  <a:gd name="T57" fmla="*/ 153559 h 1108"/>
                  <a:gd name="T58" fmla="*/ 167616 w 872"/>
                  <a:gd name="T59" fmla="*/ 26972 h 1108"/>
                  <a:gd name="T60" fmla="*/ 174825 w 872"/>
                  <a:gd name="T61" fmla="*/ 16543 h 1108"/>
                  <a:gd name="T62" fmla="*/ 195372 w 872"/>
                  <a:gd name="T63" fmla="*/ 2877 h 1108"/>
                  <a:gd name="T64" fmla="*/ 200058 w 872"/>
                  <a:gd name="T65" fmla="*/ 0 h 1108"/>
                  <a:gd name="T66" fmla="*/ 211232 w 872"/>
                  <a:gd name="T67" fmla="*/ 0 h 1108"/>
                  <a:gd name="T68" fmla="*/ 166895 w 872"/>
                  <a:gd name="T69" fmla="*/ 199232 h 1108"/>
                  <a:gd name="T70" fmla="*/ 166895 w 872"/>
                  <a:gd name="T71" fmla="*/ 199232 h 1108"/>
                  <a:gd name="T72" fmla="*/ 166895 w 872"/>
                  <a:gd name="T73" fmla="*/ 199232 h 1108"/>
                  <a:gd name="T74" fmla="*/ 166895 w 872"/>
                  <a:gd name="T75" fmla="*/ 175496 h 1108"/>
                  <a:gd name="T76" fmla="*/ 166535 w 872"/>
                  <a:gd name="T77" fmla="*/ 170102 h 1108"/>
                  <a:gd name="T78" fmla="*/ 165453 w 872"/>
                  <a:gd name="T79" fmla="*/ 169023 h 1108"/>
                  <a:gd name="T80" fmla="*/ 163290 w 872"/>
                  <a:gd name="T81" fmla="*/ 169383 h 1108"/>
                  <a:gd name="T82" fmla="*/ 122197 w 872"/>
                  <a:gd name="T83" fmla="*/ 228361 h 1108"/>
                  <a:gd name="T84" fmla="*/ 122197 w 872"/>
                  <a:gd name="T85" fmla="*/ 229440 h 1108"/>
                  <a:gd name="T86" fmla="*/ 123639 w 872"/>
                  <a:gd name="T87" fmla="*/ 231598 h 1108"/>
                  <a:gd name="T88" fmla="*/ 136256 w 872"/>
                  <a:gd name="T89" fmla="*/ 232317 h 1108"/>
                  <a:gd name="T90" fmla="*/ 162569 w 872"/>
                  <a:gd name="T91" fmla="*/ 232317 h 1108"/>
                  <a:gd name="T92" fmla="*/ 166535 w 872"/>
                  <a:gd name="T93" fmla="*/ 229080 h 1108"/>
                  <a:gd name="T94" fmla="*/ 166895 w 872"/>
                  <a:gd name="T95" fmla="*/ 224765 h 1108"/>
                  <a:gd name="T96" fmla="*/ 166895 w 872"/>
                  <a:gd name="T97" fmla="*/ 199232 h 1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72" h="1108">
                    <a:moveTo>
                      <a:pt x="586" y="0"/>
                    </a:moveTo>
                    <a:lnTo>
                      <a:pt x="586" y="0"/>
                    </a:lnTo>
                    <a:cubicBezTo>
                      <a:pt x="589" y="5"/>
                      <a:pt x="595" y="6"/>
                      <a:pt x="600" y="8"/>
                    </a:cubicBezTo>
                    <a:cubicBezTo>
                      <a:pt x="647" y="23"/>
                      <a:pt x="675" y="58"/>
                      <a:pt x="678" y="107"/>
                    </a:cubicBezTo>
                    <a:cubicBezTo>
                      <a:pt x="678" y="118"/>
                      <a:pt x="678" y="129"/>
                      <a:pt x="678" y="138"/>
                    </a:cubicBezTo>
                    <a:cubicBezTo>
                      <a:pt x="678" y="291"/>
                      <a:pt x="678" y="442"/>
                      <a:pt x="678" y="594"/>
                    </a:cubicBezTo>
                    <a:cubicBezTo>
                      <a:pt x="678" y="602"/>
                      <a:pt x="678" y="608"/>
                      <a:pt x="678" y="614"/>
                    </a:cubicBezTo>
                    <a:cubicBezTo>
                      <a:pt x="678" y="646"/>
                      <a:pt x="678" y="646"/>
                      <a:pt x="711" y="648"/>
                    </a:cubicBezTo>
                    <a:cubicBezTo>
                      <a:pt x="724" y="648"/>
                      <a:pt x="737" y="646"/>
                      <a:pt x="750" y="648"/>
                    </a:cubicBezTo>
                    <a:cubicBezTo>
                      <a:pt x="791" y="651"/>
                      <a:pt x="820" y="670"/>
                      <a:pt x="839" y="707"/>
                    </a:cubicBezTo>
                    <a:cubicBezTo>
                      <a:pt x="871" y="770"/>
                      <a:pt x="831" y="842"/>
                      <a:pt x="767" y="857"/>
                    </a:cubicBezTo>
                    <a:cubicBezTo>
                      <a:pt x="757" y="860"/>
                      <a:pt x="747" y="859"/>
                      <a:pt x="736" y="860"/>
                    </a:cubicBezTo>
                    <a:cubicBezTo>
                      <a:pt x="721" y="860"/>
                      <a:pt x="705" y="860"/>
                      <a:pt x="690" y="860"/>
                    </a:cubicBezTo>
                    <a:cubicBezTo>
                      <a:pt x="684" y="860"/>
                      <a:pt x="679" y="866"/>
                      <a:pt x="679" y="871"/>
                    </a:cubicBezTo>
                    <a:cubicBezTo>
                      <a:pt x="679" y="882"/>
                      <a:pt x="678" y="891"/>
                      <a:pt x="678" y="902"/>
                    </a:cubicBezTo>
                    <a:cubicBezTo>
                      <a:pt x="678" y="925"/>
                      <a:pt x="678" y="949"/>
                      <a:pt x="678" y="972"/>
                    </a:cubicBezTo>
                    <a:cubicBezTo>
                      <a:pt x="676" y="1003"/>
                      <a:pt x="666" y="1030"/>
                      <a:pt x="641" y="1052"/>
                    </a:cubicBezTo>
                    <a:cubicBezTo>
                      <a:pt x="580" y="1107"/>
                      <a:pt x="486" y="1073"/>
                      <a:pt x="468" y="1000"/>
                    </a:cubicBezTo>
                    <a:cubicBezTo>
                      <a:pt x="463" y="986"/>
                      <a:pt x="463" y="974"/>
                      <a:pt x="463" y="960"/>
                    </a:cubicBezTo>
                    <a:cubicBezTo>
                      <a:pt x="463" y="934"/>
                      <a:pt x="463" y="908"/>
                      <a:pt x="463" y="882"/>
                    </a:cubicBezTo>
                    <a:cubicBezTo>
                      <a:pt x="463" y="877"/>
                      <a:pt x="462" y="873"/>
                      <a:pt x="460" y="866"/>
                    </a:cubicBezTo>
                    <a:cubicBezTo>
                      <a:pt x="460" y="865"/>
                      <a:pt x="457" y="862"/>
                      <a:pt x="456" y="862"/>
                    </a:cubicBezTo>
                    <a:cubicBezTo>
                      <a:pt x="451" y="860"/>
                      <a:pt x="445" y="860"/>
                      <a:pt x="440" y="860"/>
                    </a:cubicBezTo>
                    <a:cubicBezTo>
                      <a:pt x="416" y="860"/>
                      <a:pt x="393" y="860"/>
                      <a:pt x="370" y="860"/>
                    </a:cubicBezTo>
                    <a:cubicBezTo>
                      <a:pt x="297" y="860"/>
                      <a:pt x="225" y="860"/>
                      <a:pt x="151" y="860"/>
                    </a:cubicBezTo>
                    <a:cubicBezTo>
                      <a:pt x="140" y="860"/>
                      <a:pt x="131" y="860"/>
                      <a:pt x="120" y="859"/>
                    </a:cubicBezTo>
                    <a:cubicBezTo>
                      <a:pt x="50" y="856"/>
                      <a:pt x="0" y="782"/>
                      <a:pt x="29" y="712"/>
                    </a:cubicBezTo>
                    <a:cubicBezTo>
                      <a:pt x="35" y="700"/>
                      <a:pt x="42" y="687"/>
                      <a:pt x="52" y="675"/>
                    </a:cubicBezTo>
                    <a:cubicBezTo>
                      <a:pt x="108" y="592"/>
                      <a:pt x="165" y="510"/>
                      <a:pt x="222" y="427"/>
                    </a:cubicBezTo>
                    <a:cubicBezTo>
                      <a:pt x="303" y="309"/>
                      <a:pt x="384" y="193"/>
                      <a:pt x="465" y="75"/>
                    </a:cubicBezTo>
                    <a:cubicBezTo>
                      <a:pt x="471" y="64"/>
                      <a:pt x="477" y="55"/>
                      <a:pt x="485" y="46"/>
                    </a:cubicBezTo>
                    <a:cubicBezTo>
                      <a:pt x="499" y="26"/>
                      <a:pt x="517" y="12"/>
                      <a:pt x="542" y="8"/>
                    </a:cubicBezTo>
                    <a:cubicBezTo>
                      <a:pt x="546" y="6"/>
                      <a:pt x="551" y="5"/>
                      <a:pt x="555" y="0"/>
                    </a:cubicBezTo>
                    <a:cubicBezTo>
                      <a:pt x="564" y="0"/>
                      <a:pt x="575" y="0"/>
                      <a:pt x="586" y="0"/>
                    </a:cubicBezTo>
                    <a:close/>
                    <a:moveTo>
                      <a:pt x="463" y="554"/>
                    </a:moveTo>
                    <a:lnTo>
                      <a:pt x="463" y="554"/>
                    </a:lnTo>
                    <a:cubicBezTo>
                      <a:pt x="463" y="533"/>
                      <a:pt x="463" y="510"/>
                      <a:pt x="463" y="488"/>
                    </a:cubicBezTo>
                    <a:cubicBezTo>
                      <a:pt x="463" y="484"/>
                      <a:pt x="462" y="478"/>
                      <a:pt x="462" y="473"/>
                    </a:cubicBezTo>
                    <a:cubicBezTo>
                      <a:pt x="460" y="471"/>
                      <a:pt x="460" y="471"/>
                      <a:pt x="459" y="470"/>
                    </a:cubicBezTo>
                    <a:cubicBezTo>
                      <a:pt x="456" y="468"/>
                      <a:pt x="454" y="468"/>
                      <a:pt x="453" y="471"/>
                    </a:cubicBezTo>
                    <a:cubicBezTo>
                      <a:pt x="414" y="527"/>
                      <a:pt x="378" y="580"/>
                      <a:pt x="339" y="635"/>
                    </a:cubicBezTo>
                    <a:cubicBezTo>
                      <a:pt x="339" y="635"/>
                      <a:pt x="339" y="637"/>
                      <a:pt x="339" y="638"/>
                    </a:cubicBezTo>
                    <a:cubicBezTo>
                      <a:pt x="339" y="641"/>
                      <a:pt x="341" y="644"/>
                      <a:pt x="343" y="644"/>
                    </a:cubicBezTo>
                    <a:cubicBezTo>
                      <a:pt x="353" y="646"/>
                      <a:pt x="365" y="646"/>
                      <a:pt x="378" y="646"/>
                    </a:cubicBezTo>
                    <a:cubicBezTo>
                      <a:pt x="402" y="646"/>
                      <a:pt x="427" y="646"/>
                      <a:pt x="451" y="646"/>
                    </a:cubicBezTo>
                    <a:cubicBezTo>
                      <a:pt x="456" y="646"/>
                      <a:pt x="460" y="641"/>
                      <a:pt x="462" y="637"/>
                    </a:cubicBezTo>
                    <a:cubicBezTo>
                      <a:pt x="462" y="632"/>
                      <a:pt x="463" y="629"/>
                      <a:pt x="463" y="625"/>
                    </a:cubicBezTo>
                    <a:cubicBezTo>
                      <a:pt x="463" y="602"/>
                      <a:pt x="463" y="577"/>
                      <a:pt x="463" y="554"/>
                    </a:cubicBezTo>
                    <a:close/>
                  </a:path>
                </a:pathLst>
              </a:custGeom>
              <a:grpFill/>
              <a:ln>
                <a:noFill/>
              </a:ln>
              <a:effectLst/>
            </p:spPr>
            <p:txBody>
              <a:bodyPr wrap="none" anchor="ctr"/>
              <a:lstStyle/>
              <a:p>
                <a:endParaRPr lang="en-US" dirty="0"/>
              </a:p>
            </p:txBody>
          </p:sp>
          <p:sp>
            <p:nvSpPr>
              <p:cNvPr id="122" name="Freeform 23">
                <a:extLst>
                  <a:ext uri="{FF2B5EF4-FFF2-40B4-BE49-F238E27FC236}">
                    <a16:creationId xmlns:a16="http://schemas.microsoft.com/office/drawing/2014/main" id="{E9580BBF-6765-1649-BE17-5FCF9D3023A4}"/>
                  </a:ext>
                </a:extLst>
              </p:cNvPr>
              <p:cNvSpPr>
                <a:spLocks noChangeArrowheads="1"/>
              </p:cNvSpPr>
              <p:nvPr/>
            </p:nvSpPr>
            <p:spPr bwMode="auto">
              <a:xfrm>
                <a:off x="3366897" y="3712051"/>
                <a:ext cx="183966" cy="206340"/>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123" name="Group 122">
              <a:extLst>
                <a:ext uri="{FF2B5EF4-FFF2-40B4-BE49-F238E27FC236}">
                  <a16:creationId xmlns:a16="http://schemas.microsoft.com/office/drawing/2014/main" id="{326F0DCB-F177-2349-A053-98EFAEEF73E7}"/>
                </a:ext>
              </a:extLst>
            </p:cNvPr>
            <p:cNvGrpSpPr/>
            <p:nvPr/>
          </p:nvGrpSpPr>
          <p:grpSpPr>
            <a:xfrm>
              <a:off x="1061637" y="1935056"/>
              <a:ext cx="159067" cy="98449"/>
              <a:chOff x="974446" y="1475289"/>
              <a:chExt cx="173897" cy="107627"/>
            </a:xfrm>
            <a:solidFill>
              <a:schemeClr val="accent5"/>
            </a:solidFill>
          </p:grpSpPr>
          <p:sp>
            <p:nvSpPr>
              <p:cNvPr id="124" name="Freeform 11">
                <a:extLst>
                  <a:ext uri="{FF2B5EF4-FFF2-40B4-BE49-F238E27FC236}">
                    <a16:creationId xmlns:a16="http://schemas.microsoft.com/office/drawing/2014/main" id="{C6411383-BED3-6541-84BA-38643E1259FF}"/>
                  </a:ext>
                </a:extLst>
              </p:cNvPr>
              <p:cNvSpPr>
                <a:spLocks noChangeArrowheads="1"/>
              </p:cNvSpPr>
              <p:nvPr/>
            </p:nvSpPr>
            <p:spPr bwMode="auto">
              <a:xfrm>
                <a:off x="974446" y="1476356"/>
                <a:ext cx="72029" cy="105901"/>
              </a:xfrm>
              <a:custGeom>
                <a:avLst/>
                <a:gdLst>
                  <a:gd name="T0" fmla="*/ 150289 w 740"/>
                  <a:gd name="T1" fmla="*/ 0 h 1089"/>
                  <a:gd name="T2" fmla="*/ 150289 w 740"/>
                  <a:gd name="T3" fmla="*/ 0 h 1089"/>
                  <a:gd name="T4" fmla="*/ 157137 w 740"/>
                  <a:gd name="T5" fmla="*/ 2160 h 1089"/>
                  <a:gd name="T6" fmla="*/ 206873 w 740"/>
                  <a:gd name="T7" fmla="*/ 23044 h 1089"/>
                  <a:gd name="T8" fmla="*/ 243634 w 740"/>
                  <a:gd name="T9" fmla="*/ 90017 h 1089"/>
                  <a:gd name="T10" fmla="*/ 227055 w 740"/>
                  <a:gd name="T11" fmla="*/ 168151 h 1089"/>
                  <a:gd name="T12" fmla="*/ 225614 w 740"/>
                  <a:gd name="T13" fmla="*/ 172112 h 1089"/>
                  <a:gd name="T14" fmla="*/ 224893 w 740"/>
                  <a:gd name="T15" fmla="*/ 173552 h 1089"/>
                  <a:gd name="T16" fmla="*/ 228857 w 740"/>
                  <a:gd name="T17" fmla="*/ 179313 h 1089"/>
                  <a:gd name="T18" fmla="*/ 263456 w 740"/>
                  <a:gd name="T19" fmla="*/ 249166 h 1089"/>
                  <a:gd name="T20" fmla="*/ 262015 w 740"/>
                  <a:gd name="T21" fmla="*/ 296695 h 1089"/>
                  <a:gd name="T22" fmla="*/ 233903 w 740"/>
                  <a:gd name="T23" fmla="*/ 346024 h 1089"/>
                  <a:gd name="T24" fmla="*/ 176238 w 740"/>
                  <a:gd name="T25" fmla="*/ 380951 h 1089"/>
                  <a:gd name="T26" fmla="*/ 76046 w 740"/>
                  <a:gd name="T27" fmla="*/ 377710 h 1089"/>
                  <a:gd name="T28" fmla="*/ 6848 w 740"/>
                  <a:gd name="T29" fmla="*/ 302096 h 1089"/>
                  <a:gd name="T30" fmla="*/ 6487 w 740"/>
                  <a:gd name="T31" fmla="*/ 299216 h 1089"/>
                  <a:gd name="T32" fmla="*/ 29553 w 740"/>
                  <a:gd name="T33" fmla="*/ 252407 h 1089"/>
                  <a:gd name="T34" fmla="*/ 77487 w 740"/>
                  <a:gd name="T35" fmla="*/ 271130 h 1089"/>
                  <a:gd name="T36" fmla="*/ 82172 w 740"/>
                  <a:gd name="T37" fmla="*/ 281572 h 1089"/>
                  <a:gd name="T38" fmla="*/ 117853 w 740"/>
                  <a:gd name="T39" fmla="*/ 309658 h 1089"/>
                  <a:gd name="T40" fmla="*/ 169391 w 740"/>
                  <a:gd name="T41" fmla="*/ 299936 h 1089"/>
                  <a:gd name="T42" fmla="*/ 179842 w 740"/>
                  <a:gd name="T43" fmla="*/ 290574 h 1089"/>
                  <a:gd name="T44" fmla="*/ 188132 w 740"/>
                  <a:gd name="T45" fmla="*/ 270050 h 1089"/>
                  <a:gd name="T46" fmla="*/ 184528 w 740"/>
                  <a:gd name="T47" fmla="*/ 248086 h 1089"/>
                  <a:gd name="T48" fmla="*/ 169391 w 740"/>
                  <a:gd name="T49" fmla="*/ 230443 h 1089"/>
                  <a:gd name="T50" fmla="*/ 150289 w 740"/>
                  <a:gd name="T51" fmla="*/ 225042 h 1089"/>
                  <a:gd name="T52" fmla="*/ 138396 w 740"/>
                  <a:gd name="T53" fmla="*/ 223602 h 1089"/>
                  <a:gd name="T54" fmla="*/ 119655 w 740"/>
                  <a:gd name="T55" fmla="*/ 218201 h 1089"/>
                  <a:gd name="T56" fmla="*/ 101274 w 740"/>
                  <a:gd name="T57" fmla="*/ 181474 h 1089"/>
                  <a:gd name="T58" fmla="*/ 128304 w 740"/>
                  <a:gd name="T59" fmla="*/ 148708 h 1089"/>
                  <a:gd name="T60" fmla="*/ 135152 w 740"/>
                  <a:gd name="T61" fmla="*/ 147267 h 1089"/>
                  <a:gd name="T62" fmla="*/ 161462 w 740"/>
                  <a:gd name="T63" fmla="*/ 127824 h 1089"/>
                  <a:gd name="T64" fmla="*/ 166868 w 740"/>
                  <a:gd name="T65" fmla="*/ 96498 h 1089"/>
                  <a:gd name="T66" fmla="*/ 148847 w 740"/>
                  <a:gd name="T67" fmla="*/ 78855 h 1089"/>
                  <a:gd name="T68" fmla="*/ 121096 w 740"/>
                  <a:gd name="T69" fmla="*/ 81735 h 1089"/>
                  <a:gd name="T70" fmla="*/ 93705 w 740"/>
                  <a:gd name="T71" fmla="*/ 104780 h 1089"/>
                  <a:gd name="T72" fmla="*/ 87579 w 740"/>
                  <a:gd name="T73" fmla="*/ 115582 h 1089"/>
                  <a:gd name="T74" fmla="*/ 59827 w 740"/>
                  <a:gd name="T75" fmla="*/ 133225 h 1089"/>
                  <a:gd name="T76" fmla="*/ 18020 w 740"/>
                  <a:gd name="T77" fmla="*/ 106940 h 1089"/>
                  <a:gd name="T78" fmla="*/ 20183 w 740"/>
                  <a:gd name="T79" fmla="*/ 78135 h 1089"/>
                  <a:gd name="T80" fmla="*/ 111726 w 740"/>
                  <a:gd name="T81" fmla="*/ 3961 h 1089"/>
                  <a:gd name="T82" fmla="*/ 124340 w 740"/>
                  <a:gd name="T83" fmla="*/ 2160 h 1089"/>
                  <a:gd name="T84" fmla="*/ 127944 w 740"/>
                  <a:gd name="T85" fmla="*/ 0 h 1089"/>
                  <a:gd name="T86" fmla="*/ 150289 w 740"/>
                  <a:gd name="T87" fmla="*/ 0 h 10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40" h="1089">
                    <a:moveTo>
                      <a:pt x="417" y="0"/>
                    </a:moveTo>
                    <a:lnTo>
                      <a:pt x="417" y="0"/>
                    </a:lnTo>
                    <a:cubicBezTo>
                      <a:pt x="422" y="5"/>
                      <a:pt x="428" y="6"/>
                      <a:pt x="436" y="6"/>
                    </a:cubicBezTo>
                    <a:cubicBezTo>
                      <a:pt x="488" y="12"/>
                      <a:pt x="534" y="32"/>
                      <a:pt x="574" y="64"/>
                    </a:cubicBezTo>
                    <a:cubicBezTo>
                      <a:pt x="635" y="112"/>
                      <a:pt x="669" y="173"/>
                      <a:pt x="676" y="250"/>
                    </a:cubicBezTo>
                    <a:cubicBezTo>
                      <a:pt x="684" y="328"/>
                      <a:pt x="670" y="400"/>
                      <a:pt x="630" y="467"/>
                    </a:cubicBezTo>
                    <a:cubicBezTo>
                      <a:pt x="629" y="471"/>
                      <a:pt x="627" y="475"/>
                      <a:pt x="626" y="478"/>
                    </a:cubicBezTo>
                    <a:cubicBezTo>
                      <a:pt x="624" y="479"/>
                      <a:pt x="624" y="481"/>
                      <a:pt x="624" y="482"/>
                    </a:cubicBezTo>
                    <a:cubicBezTo>
                      <a:pt x="626" y="488"/>
                      <a:pt x="630" y="493"/>
                      <a:pt x="635" y="498"/>
                    </a:cubicBezTo>
                    <a:cubicBezTo>
                      <a:pt x="692" y="550"/>
                      <a:pt x="721" y="615"/>
                      <a:pt x="731" y="692"/>
                    </a:cubicBezTo>
                    <a:cubicBezTo>
                      <a:pt x="739" y="736"/>
                      <a:pt x="737" y="781"/>
                      <a:pt x="727" y="824"/>
                    </a:cubicBezTo>
                    <a:cubicBezTo>
                      <a:pt x="713" y="877"/>
                      <a:pt x="685" y="922"/>
                      <a:pt x="649" y="961"/>
                    </a:cubicBezTo>
                    <a:cubicBezTo>
                      <a:pt x="604" y="1007"/>
                      <a:pt x="551" y="1038"/>
                      <a:pt x="489" y="1058"/>
                    </a:cubicBezTo>
                    <a:cubicBezTo>
                      <a:pt x="396" y="1088"/>
                      <a:pt x="303" y="1087"/>
                      <a:pt x="211" y="1049"/>
                    </a:cubicBezTo>
                    <a:cubicBezTo>
                      <a:pt x="116" y="1007"/>
                      <a:pt x="55" y="935"/>
                      <a:pt x="19" y="839"/>
                    </a:cubicBezTo>
                    <a:cubicBezTo>
                      <a:pt x="19" y="837"/>
                      <a:pt x="18" y="834"/>
                      <a:pt x="18" y="831"/>
                    </a:cubicBezTo>
                    <a:cubicBezTo>
                      <a:pt x="0" y="788"/>
                      <a:pt x="30" y="721"/>
                      <a:pt x="82" y="701"/>
                    </a:cubicBezTo>
                    <a:cubicBezTo>
                      <a:pt x="131" y="684"/>
                      <a:pt x="191" y="704"/>
                      <a:pt x="215" y="753"/>
                    </a:cubicBezTo>
                    <a:cubicBezTo>
                      <a:pt x="220" y="764"/>
                      <a:pt x="223" y="773"/>
                      <a:pt x="228" y="782"/>
                    </a:cubicBezTo>
                    <a:cubicBezTo>
                      <a:pt x="246" y="827"/>
                      <a:pt x="280" y="851"/>
                      <a:pt x="327" y="860"/>
                    </a:cubicBezTo>
                    <a:cubicBezTo>
                      <a:pt x="379" y="871"/>
                      <a:pt x="425" y="859"/>
                      <a:pt x="470" y="833"/>
                    </a:cubicBezTo>
                    <a:cubicBezTo>
                      <a:pt x="480" y="825"/>
                      <a:pt x="489" y="816"/>
                      <a:pt x="499" y="807"/>
                    </a:cubicBezTo>
                    <a:cubicBezTo>
                      <a:pt x="514" y="791"/>
                      <a:pt x="522" y="773"/>
                      <a:pt x="522" y="750"/>
                    </a:cubicBezTo>
                    <a:cubicBezTo>
                      <a:pt x="520" y="730"/>
                      <a:pt x="520" y="709"/>
                      <a:pt x="512" y="689"/>
                    </a:cubicBezTo>
                    <a:cubicBezTo>
                      <a:pt x="505" y="667"/>
                      <a:pt x="491" y="651"/>
                      <a:pt x="470" y="640"/>
                    </a:cubicBezTo>
                    <a:cubicBezTo>
                      <a:pt x="454" y="632"/>
                      <a:pt x="436" y="626"/>
                      <a:pt x="417" y="625"/>
                    </a:cubicBezTo>
                    <a:cubicBezTo>
                      <a:pt x="407" y="623"/>
                      <a:pt x="394" y="623"/>
                      <a:pt x="384" y="621"/>
                    </a:cubicBezTo>
                    <a:cubicBezTo>
                      <a:pt x="365" y="620"/>
                      <a:pt x="347" y="617"/>
                      <a:pt x="332" y="606"/>
                    </a:cubicBezTo>
                    <a:cubicBezTo>
                      <a:pt x="293" y="582"/>
                      <a:pt x="277" y="548"/>
                      <a:pt x="281" y="504"/>
                    </a:cubicBezTo>
                    <a:cubicBezTo>
                      <a:pt x="286" y="458"/>
                      <a:pt x="312" y="427"/>
                      <a:pt x="356" y="413"/>
                    </a:cubicBezTo>
                    <a:cubicBezTo>
                      <a:pt x="362" y="410"/>
                      <a:pt x="368" y="409"/>
                      <a:pt x="375" y="409"/>
                    </a:cubicBezTo>
                    <a:cubicBezTo>
                      <a:pt x="408" y="403"/>
                      <a:pt x="431" y="383"/>
                      <a:pt x="448" y="355"/>
                    </a:cubicBezTo>
                    <a:cubicBezTo>
                      <a:pt x="463" y="328"/>
                      <a:pt x="468" y="298"/>
                      <a:pt x="463" y="268"/>
                    </a:cubicBezTo>
                    <a:cubicBezTo>
                      <a:pt x="459" y="240"/>
                      <a:pt x="439" y="225"/>
                      <a:pt x="413" y="219"/>
                    </a:cubicBezTo>
                    <a:cubicBezTo>
                      <a:pt x="387" y="214"/>
                      <a:pt x="362" y="216"/>
                      <a:pt x="336" y="227"/>
                    </a:cubicBezTo>
                    <a:cubicBezTo>
                      <a:pt x="304" y="240"/>
                      <a:pt x="280" y="262"/>
                      <a:pt x="260" y="291"/>
                    </a:cubicBezTo>
                    <a:cubicBezTo>
                      <a:pt x="254" y="300"/>
                      <a:pt x="249" y="311"/>
                      <a:pt x="243" y="321"/>
                    </a:cubicBezTo>
                    <a:cubicBezTo>
                      <a:pt x="225" y="349"/>
                      <a:pt x="199" y="364"/>
                      <a:pt x="166" y="370"/>
                    </a:cubicBezTo>
                    <a:cubicBezTo>
                      <a:pt x="119" y="377"/>
                      <a:pt x="67" y="349"/>
                      <a:pt x="50" y="297"/>
                    </a:cubicBezTo>
                    <a:cubicBezTo>
                      <a:pt x="41" y="271"/>
                      <a:pt x="42" y="243"/>
                      <a:pt x="56" y="217"/>
                    </a:cubicBezTo>
                    <a:cubicBezTo>
                      <a:pt x="110" y="112"/>
                      <a:pt x="194" y="40"/>
                      <a:pt x="310" y="11"/>
                    </a:cubicBezTo>
                    <a:cubicBezTo>
                      <a:pt x="321" y="8"/>
                      <a:pt x="333" y="8"/>
                      <a:pt x="345" y="6"/>
                    </a:cubicBezTo>
                    <a:cubicBezTo>
                      <a:pt x="349" y="5"/>
                      <a:pt x="352" y="2"/>
                      <a:pt x="355" y="0"/>
                    </a:cubicBezTo>
                    <a:cubicBezTo>
                      <a:pt x="376" y="0"/>
                      <a:pt x="396" y="0"/>
                      <a:pt x="4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25" name="Freeform 23">
                <a:extLst>
                  <a:ext uri="{FF2B5EF4-FFF2-40B4-BE49-F238E27FC236}">
                    <a16:creationId xmlns:a16="http://schemas.microsoft.com/office/drawing/2014/main" id="{0E259B30-9133-FA40-A620-3D5A44413E68}"/>
                  </a:ext>
                </a:extLst>
              </p:cNvPr>
              <p:cNvSpPr>
                <a:spLocks noChangeArrowheads="1"/>
              </p:cNvSpPr>
              <p:nvPr/>
            </p:nvSpPr>
            <p:spPr bwMode="auto">
              <a:xfrm>
                <a:off x="1052385" y="1475289"/>
                <a:ext cx="95958" cy="107627"/>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grpFill/>
              <a:ln>
                <a:noFill/>
              </a:ln>
              <a:effectLst/>
            </p:spPr>
            <p:txBody>
              <a:bodyPr wrap="none" anchor="ctr"/>
              <a:lstStyle/>
              <a:p>
                <a:endParaRPr lang="en-US" dirty="0"/>
              </a:p>
            </p:txBody>
          </p:sp>
        </p:grpSp>
        <p:grpSp>
          <p:nvGrpSpPr>
            <p:cNvPr id="126" name="Group 125">
              <a:extLst>
                <a:ext uri="{FF2B5EF4-FFF2-40B4-BE49-F238E27FC236}">
                  <a16:creationId xmlns:a16="http://schemas.microsoft.com/office/drawing/2014/main" id="{29C09EAA-2575-BD40-9D78-6875621941A7}"/>
                </a:ext>
              </a:extLst>
            </p:cNvPr>
            <p:cNvGrpSpPr/>
            <p:nvPr/>
          </p:nvGrpSpPr>
          <p:grpSpPr>
            <a:xfrm>
              <a:off x="3062826" y="1914581"/>
              <a:ext cx="396817" cy="396817"/>
              <a:chOff x="3119641" y="1416189"/>
              <a:chExt cx="507244" cy="507244"/>
            </a:xfrm>
          </p:grpSpPr>
          <p:sp>
            <p:nvSpPr>
              <p:cNvPr id="127" name="Oval 126">
                <a:extLst>
                  <a:ext uri="{FF2B5EF4-FFF2-40B4-BE49-F238E27FC236}">
                    <a16:creationId xmlns:a16="http://schemas.microsoft.com/office/drawing/2014/main" id="{D5D486EF-FC53-F64A-A796-A0102DBF1560}"/>
                  </a:ext>
                </a:extLst>
              </p:cNvPr>
              <p:cNvSpPr/>
              <p:nvPr/>
            </p:nvSpPr>
            <p:spPr>
              <a:xfrm>
                <a:off x="311964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4CDC3EEC-8F29-3E48-9344-B9E72731C0AF}"/>
                  </a:ext>
                </a:extLst>
              </p:cNvPr>
              <p:cNvGrpSpPr/>
              <p:nvPr/>
            </p:nvGrpSpPr>
            <p:grpSpPr>
              <a:xfrm>
                <a:off x="3179583" y="1476131"/>
                <a:ext cx="387360" cy="387360"/>
                <a:chOff x="2652535" y="-3571486"/>
                <a:chExt cx="4882348" cy="4882348"/>
              </a:xfrm>
              <a:solidFill>
                <a:schemeClr val="bg2"/>
              </a:solidFill>
            </p:grpSpPr>
            <p:sp>
              <p:nvSpPr>
                <p:cNvPr id="129" name="Freeform: Shape 298">
                  <a:extLst>
                    <a:ext uri="{FF2B5EF4-FFF2-40B4-BE49-F238E27FC236}">
                      <a16:creationId xmlns:a16="http://schemas.microsoft.com/office/drawing/2014/main" id="{61DAB88C-BFE6-7E4D-BA45-B579340F9D25}"/>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0" name="Freeform: Shape 299">
                  <a:extLst>
                    <a:ext uri="{FF2B5EF4-FFF2-40B4-BE49-F238E27FC236}">
                      <a16:creationId xmlns:a16="http://schemas.microsoft.com/office/drawing/2014/main" id="{5FFAE1C7-0FEF-464B-AE32-B6E19507AEF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1" name="Group 130">
                  <a:extLst>
                    <a:ext uri="{FF2B5EF4-FFF2-40B4-BE49-F238E27FC236}">
                      <a16:creationId xmlns:a16="http://schemas.microsoft.com/office/drawing/2014/main" id="{90AD8C03-35EF-314C-A624-02CC9821C0F6}"/>
                    </a:ext>
                  </a:extLst>
                </p:cNvPr>
                <p:cNvGrpSpPr/>
                <p:nvPr/>
              </p:nvGrpSpPr>
              <p:grpSpPr>
                <a:xfrm rot="5400000">
                  <a:off x="4197485" y="-3571486"/>
                  <a:ext cx="1792447" cy="4882348"/>
                  <a:chOff x="4197485" y="-3571486"/>
                  <a:chExt cx="1792447" cy="4882348"/>
                </a:xfrm>
                <a:grpFill/>
              </p:grpSpPr>
              <p:sp>
                <p:nvSpPr>
                  <p:cNvPr id="132" name="Freeform: Shape 301">
                    <a:extLst>
                      <a:ext uri="{FF2B5EF4-FFF2-40B4-BE49-F238E27FC236}">
                        <a16:creationId xmlns:a16="http://schemas.microsoft.com/office/drawing/2014/main" id="{A01B0AAF-7679-F84E-9B3E-DDFFC844F6F4}"/>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3" name="Freeform: Shape 302">
                    <a:extLst>
                      <a:ext uri="{FF2B5EF4-FFF2-40B4-BE49-F238E27FC236}">
                        <a16:creationId xmlns:a16="http://schemas.microsoft.com/office/drawing/2014/main" id="{A7F9E52A-914C-2544-96EB-172D28C9F643}"/>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34" name="Group 133">
              <a:extLst>
                <a:ext uri="{FF2B5EF4-FFF2-40B4-BE49-F238E27FC236}">
                  <a16:creationId xmlns:a16="http://schemas.microsoft.com/office/drawing/2014/main" id="{18177C14-A5B3-9746-A4DC-6F7A7C89E25B}"/>
                </a:ext>
              </a:extLst>
            </p:cNvPr>
            <p:cNvGrpSpPr/>
            <p:nvPr/>
          </p:nvGrpSpPr>
          <p:grpSpPr>
            <a:xfrm>
              <a:off x="3062826" y="2564265"/>
              <a:ext cx="396817" cy="396817"/>
              <a:chOff x="3119641" y="2126443"/>
              <a:chExt cx="507244" cy="507244"/>
            </a:xfrm>
          </p:grpSpPr>
          <p:sp>
            <p:nvSpPr>
              <p:cNvPr id="135" name="Oval 134">
                <a:extLst>
                  <a:ext uri="{FF2B5EF4-FFF2-40B4-BE49-F238E27FC236}">
                    <a16:creationId xmlns:a16="http://schemas.microsoft.com/office/drawing/2014/main" id="{930F69AF-78A2-934E-95A4-2A478ED45855}"/>
                  </a:ext>
                </a:extLst>
              </p:cNvPr>
              <p:cNvSpPr/>
              <p:nvPr/>
            </p:nvSpPr>
            <p:spPr>
              <a:xfrm>
                <a:off x="3119641"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6" name="Group 135">
                <a:extLst>
                  <a:ext uri="{FF2B5EF4-FFF2-40B4-BE49-F238E27FC236}">
                    <a16:creationId xmlns:a16="http://schemas.microsoft.com/office/drawing/2014/main" id="{9DCB74B4-1190-4F4F-880D-ED018EFE6221}"/>
                  </a:ext>
                </a:extLst>
              </p:cNvPr>
              <p:cNvGrpSpPr/>
              <p:nvPr/>
            </p:nvGrpSpPr>
            <p:grpSpPr>
              <a:xfrm>
                <a:off x="3179583" y="2186385"/>
                <a:ext cx="387360" cy="387360"/>
                <a:chOff x="2652535" y="-3571486"/>
                <a:chExt cx="4882348" cy="4882348"/>
              </a:xfrm>
              <a:solidFill>
                <a:schemeClr val="bg2"/>
              </a:solidFill>
            </p:grpSpPr>
            <p:sp>
              <p:nvSpPr>
                <p:cNvPr id="137" name="Freeform: Shape 310">
                  <a:extLst>
                    <a:ext uri="{FF2B5EF4-FFF2-40B4-BE49-F238E27FC236}">
                      <a16:creationId xmlns:a16="http://schemas.microsoft.com/office/drawing/2014/main" id="{6917C718-7A50-024B-9B94-4B6B53D169B1}"/>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38" name="Freeform: Shape 311">
                  <a:extLst>
                    <a:ext uri="{FF2B5EF4-FFF2-40B4-BE49-F238E27FC236}">
                      <a16:creationId xmlns:a16="http://schemas.microsoft.com/office/drawing/2014/main" id="{EDC09241-15B3-8D4E-A6EB-ACC44F46482B}"/>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39" name="Group 138">
                  <a:extLst>
                    <a:ext uri="{FF2B5EF4-FFF2-40B4-BE49-F238E27FC236}">
                      <a16:creationId xmlns:a16="http://schemas.microsoft.com/office/drawing/2014/main" id="{E564C7FE-C9AF-124B-ADAA-9ED2B9E2055E}"/>
                    </a:ext>
                  </a:extLst>
                </p:cNvPr>
                <p:cNvGrpSpPr/>
                <p:nvPr/>
              </p:nvGrpSpPr>
              <p:grpSpPr>
                <a:xfrm rot="5400000">
                  <a:off x="4197485" y="-3571486"/>
                  <a:ext cx="1792447" cy="4882348"/>
                  <a:chOff x="4197485" y="-3571486"/>
                  <a:chExt cx="1792447" cy="4882348"/>
                </a:xfrm>
                <a:grpFill/>
              </p:grpSpPr>
              <p:sp>
                <p:nvSpPr>
                  <p:cNvPr id="140" name="Freeform: Shape 313">
                    <a:extLst>
                      <a:ext uri="{FF2B5EF4-FFF2-40B4-BE49-F238E27FC236}">
                        <a16:creationId xmlns:a16="http://schemas.microsoft.com/office/drawing/2014/main" id="{BB3F8D2C-D417-2C4B-864F-E9B62316C0D1}"/>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1" name="Freeform: Shape 314">
                    <a:extLst>
                      <a:ext uri="{FF2B5EF4-FFF2-40B4-BE49-F238E27FC236}">
                        <a16:creationId xmlns:a16="http://schemas.microsoft.com/office/drawing/2014/main" id="{1DA867DB-58E2-B549-AE1B-21A91F89E41A}"/>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42" name="Group 141">
              <a:extLst>
                <a:ext uri="{FF2B5EF4-FFF2-40B4-BE49-F238E27FC236}">
                  <a16:creationId xmlns:a16="http://schemas.microsoft.com/office/drawing/2014/main" id="{E0B00F7D-1C7C-F34D-A994-F1583E8502BF}"/>
                </a:ext>
              </a:extLst>
            </p:cNvPr>
            <p:cNvGrpSpPr/>
            <p:nvPr/>
          </p:nvGrpSpPr>
          <p:grpSpPr>
            <a:xfrm>
              <a:off x="4413642" y="1914581"/>
              <a:ext cx="396817" cy="396817"/>
              <a:chOff x="4596394" y="1416189"/>
              <a:chExt cx="507244" cy="507244"/>
            </a:xfrm>
          </p:grpSpPr>
          <p:sp>
            <p:nvSpPr>
              <p:cNvPr id="143" name="Oval 142">
                <a:extLst>
                  <a:ext uri="{FF2B5EF4-FFF2-40B4-BE49-F238E27FC236}">
                    <a16:creationId xmlns:a16="http://schemas.microsoft.com/office/drawing/2014/main" id="{1FC26448-E6F1-4E47-B230-4267133A1A3E}"/>
                  </a:ext>
                </a:extLst>
              </p:cNvPr>
              <p:cNvSpPr/>
              <p:nvPr/>
            </p:nvSpPr>
            <p:spPr>
              <a:xfrm>
                <a:off x="4596394"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 name="Group 143">
                <a:extLst>
                  <a:ext uri="{FF2B5EF4-FFF2-40B4-BE49-F238E27FC236}">
                    <a16:creationId xmlns:a16="http://schemas.microsoft.com/office/drawing/2014/main" id="{F2B0B868-CB10-2440-9C37-F048A59D663C}"/>
                  </a:ext>
                </a:extLst>
              </p:cNvPr>
              <p:cNvGrpSpPr/>
              <p:nvPr/>
            </p:nvGrpSpPr>
            <p:grpSpPr>
              <a:xfrm>
                <a:off x="4656336" y="1476131"/>
                <a:ext cx="387360" cy="387360"/>
                <a:chOff x="2652535" y="-3571486"/>
                <a:chExt cx="4882348" cy="4882348"/>
              </a:xfrm>
              <a:solidFill>
                <a:schemeClr val="bg2"/>
              </a:solidFill>
            </p:grpSpPr>
            <p:sp>
              <p:nvSpPr>
                <p:cNvPr id="145" name="Freeform: Shape 316">
                  <a:extLst>
                    <a:ext uri="{FF2B5EF4-FFF2-40B4-BE49-F238E27FC236}">
                      <a16:creationId xmlns:a16="http://schemas.microsoft.com/office/drawing/2014/main" id="{9FFAE0FF-CD9C-B94D-B576-8A1F6B4E1C72}"/>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6" name="Freeform: Shape 317">
                  <a:extLst>
                    <a:ext uri="{FF2B5EF4-FFF2-40B4-BE49-F238E27FC236}">
                      <a16:creationId xmlns:a16="http://schemas.microsoft.com/office/drawing/2014/main" id="{5497C1CA-DE62-A34B-88B5-4291F2F2063E}"/>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47" name="Group 146">
                  <a:extLst>
                    <a:ext uri="{FF2B5EF4-FFF2-40B4-BE49-F238E27FC236}">
                      <a16:creationId xmlns:a16="http://schemas.microsoft.com/office/drawing/2014/main" id="{2A305D26-734C-8940-8369-EC26D8B0853C}"/>
                    </a:ext>
                  </a:extLst>
                </p:cNvPr>
                <p:cNvGrpSpPr/>
                <p:nvPr/>
              </p:nvGrpSpPr>
              <p:grpSpPr>
                <a:xfrm rot="5400000">
                  <a:off x="4197485" y="-3571486"/>
                  <a:ext cx="1792447" cy="4882348"/>
                  <a:chOff x="4197485" y="-3571486"/>
                  <a:chExt cx="1792447" cy="4882348"/>
                </a:xfrm>
                <a:grpFill/>
              </p:grpSpPr>
              <p:sp>
                <p:nvSpPr>
                  <p:cNvPr id="148" name="Freeform: Shape 319">
                    <a:extLst>
                      <a:ext uri="{FF2B5EF4-FFF2-40B4-BE49-F238E27FC236}">
                        <a16:creationId xmlns:a16="http://schemas.microsoft.com/office/drawing/2014/main" id="{DC2C2E53-2B64-E143-9A85-DA7B07871F62}"/>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49" name="Freeform: Shape 320">
                    <a:extLst>
                      <a:ext uri="{FF2B5EF4-FFF2-40B4-BE49-F238E27FC236}">
                        <a16:creationId xmlns:a16="http://schemas.microsoft.com/office/drawing/2014/main" id="{16D18808-6F1E-4A49-ABEB-C15228A786EF}"/>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50" name="Group 149">
              <a:extLst>
                <a:ext uri="{FF2B5EF4-FFF2-40B4-BE49-F238E27FC236}">
                  <a16:creationId xmlns:a16="http://schemas.microsoft.com/office/drawing/2014/main" id="{6A880F67-B163-6A41-9ED6-979810484613}"/>
                </a:ext>
              </a:extLst>
            </p:cNvPr>
            <p:cNvGrpSpPr/>
            <p:nvPr/>
          </p:nvGrpSpPr>
          <p:grpSpPr>
            <a:xfrm>
              <a:off x="4413642" y="2564265"/>
              <a:ext cx="396817" cy="396817"/>
              <a:chOff x="4596394" y="2126443"/>
              <a:chExt cx="507244" cy="507244"/>
            </a:xfrm>
          </p:grpSpPr>
          <p:sp>
            <p:nvSpPr>
              <p:cNvPr id="151" name="Oval 150">
                <a:extLst>
                  <a:ext uri="{FF2B5EF4-FFF2-40B4-BE49-F238E27FC236}">
                    <a16:creationId xmlns:a16="http://schemas.microsoft.com/office/drawing/2014/main" id="{79D9D343-6E0C-A046-BF97-B58D7C6FEBCF}"/>
                  </a:ext>
                </a:extLst>
              </p:cNvPr>
              <p:cNvSpPr/>
              <p:nvPr/>
            </p:nvSpPr>
            <p:spPr>
              <a:xfrm>
                <a:off x="4596394" y="2126443"/>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2" name="Group 151">
                <a:extLst>
                  <a:ext uri="{FF2B5EF4-FFF2-40B4-BE49-F238E27FC236}">
                    <a16:creationId xmlns:a16="http://schemas.microsoft.com/office/drawing/2014/main" id="{2A6699AC-4D4C-FE40-A89D-41C97ECD3592}"/>
                  </a:ext>
                </a:extLst>
              </p:cNvPr>
              <p:cNvGrpSpPr/>
              <p:nvPr/>
            </p:nvGrpSpPr>
            <p:grpSpPr>
              <a:xfrm>
                <a:off x="4656336" y="2186385"/>
                <a:ext cx="387360" cy="387360"/>
                <a:chOff x="2652535" y="-3571486"/>
                <a:chExt cx="4882348" cy="4882348"/>
              </a:xfrm>
              <a:solidFill>
                <a:schemeClr val="bg2"/>
              </a:solidFill>
            </p:grpSpPr>
            <p:sp>
              <p:nvSpPr>
                <p:cNvPr id="153" name="Freeform: Shape 322">
                  <a:extLst>
                    <a:ext uri="{FF2B5EF4-FFF2-40B4-BE49-F238E27FC236}">
                      <a16:creationId xmlns:a16="http://schemas.microsoft.com/office/drawing/2014/main" id="{977AB71B-C7B2-6144-8CB2-64CDE6290EFA}"/>
                    </a:ext>
                  </a:extLst>
                </p:cNvPr>
                <p:cNvSpPr/>
                <p:nvPr/>
              </p:nvSpPr>
              <p:spPr>
                <a:xfrm rot="162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4" name="Freeform: Shape 323">
                  <a:extLst>
                    <a:ext uri="{FF2B5EF4-FFF2-40B4-BE49-F238E27FC236}">
                      <a16:creationId xmlns:a16="http://schemas.microsoft.com/office/drawing/2014/main" id="{4A0337D8-29CB-8944-A9DF-D268D60CF139}"/>
                    </a:ext>
                  </a:extLst>
                </p:cNvPr>
                <p:cNvSpPr/>
                <p:nvPr/>
              </p:nvSpPr>
              <p:spPr>
                <a:xfrm rot="54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nvGrpSpPr>
                <p:cNvPr id="155" name="Group 154">
                  <a:extLst>
                    <a:ext uri="{FF2B5EF4-FFF2-40B4-BE49-F238E27FC236}">
                      <a16:creationId xmlns:a16="http://schemas.microsoft.com/office/drawing/2014/main" id="{A2C6A8B1-A385-E241-B698-AD03CAF05D1B}"/>
                    </a:ext>
                  </a:extLst>
                </p:cNvPr>
                <p:cNvGrpSpPr/>
                <p:nvPr/>
              </p:nvGrpSpPr>
              <p:grpSpPr>
                <a:xfrm rot="5400000">
                  <a:off x="4197485" y="-3571486"/>
                  <a:ext cx="1792447" cy="4882348"/>
                  <a:chOff x="4197485" y="-3571486"/>
                  <a:chExt cx="1792447" cy="4882348"/>
                </a:xfrm>
                <a:grpFill/>
              </p:grpSpPr>
              <p:sp>
                <p:nvSpPr>
                  <p:cNvPr id="156" name="Freeform: Shape 325">
                    <a:extLst>
                      <a:ext uri="{FF2B5EF4-FFF2-40B4-BE49-F238E27FC236}">
                        <a16:creationId xmlns:a16="http://schemas.microsoft.com/office/drawing/2014/main" id="{AD9CAFD3-ECC8-7C46-BC8C-2AB3EB44BE93}"/>
                      </a:ext>
                    </a:extLst>
                  </p:cNvPr>
                  <p:cNvSpPr/>
                  <p:nvPr/>
                </p:nvSpPr>
                <p:spPr>
                  <a:xfrm rot="5400000">
                    <a:off x="4017137" y="-3391138"/>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sp>
                <p:nvSpPr>
                  <p:cNvPr id="157" name="Freeform: Shape 326">
                    <a:extLst>
                      <a:ext uri="{FF2B5EF4-FFF2-40B4-BE49-F238E27FC236}">
                        <a16:creationId xmlns:a16="http://schemas.microsoft.com/office/drawing/2014/main" id="{DF6A22FE-6573-8749-953D-45F58045082C}"/>
                      </a:ext>
                    </a:extLst>
                  </p:cNvPr>
                  <p:cNvSpPr/>
                  <p:nvPr/>
                </p:nvSpPr>
                <p:spPr>
                  <a:xfrm rot="16200000">
                    <a:off x="4017138" y="-661931"/>
                    <a:ext cx="2153141" cy="1792446"/>
                  </a:xfrm>
                  <a:custGeom>
                    <a:avLst/>
                    <a:gdLst>
                      <a:gd name="connsiteX0" fmla="*/ 0 w 2153141"/>
                      <a:gd name="connsiteY0" fmla="*/ 896224 h 1792446"/>
                      <a:gd name="connsiteX1" fmla="*/ 62826 w 2153141"/>
                      <a:gd name="connsiteY1" fmla="*/ 744548 h 1792446"/>
                      <a:gd name="connsiteX2" fmla="*/ 62827 w 2153141"/>
                      <a:gd name="connsiteY2" fmla="*/ 744547 h 1792446"/>
                      <a:gd name="connsiteX3" fmla="*/ 62827 w 2153141"/>
                      <a:gd name="connsiteY3" fmla="*/ 744547 h 1792446"/>
                      <a:gd name="connsiteX4" fmla="*/ 62828 w 2153141"/>
                      <a:gd name="connsiteY4" fmla="*/ 744546 h 1792446"/>
                      <a:gd name="connsiteX5" fmla="*/ 744547 w 2153141"/>
                      <a:gd name="connsiteY5" fmla="*/ 62826 h 1792446"/>
                      <a:gd name="connsiteX6" fmla="*/ 1047899 w 2153141"/>
                      <a:gd name="connsiteY6" fmla="*/ 62826 h 1792446"/>
                      <a:gd name="connsiteX7" fmla="*/ 1047899 w 2153141"/>
                      <a:gd name="connsiteY7" fmla="*/ 366178 h 1792446"/>
                      <a:gd name="connsiteX8" fmla="*/ 732356 w 2153141"/>
                      <a:gd name="connsiteY8" fmla="*/ 681721 h 1792446"/>
                      <a:gd name="connsiteX9" fmla="*/ 1938639 w 2153141"/>
                      <a:gd name="connsiteY9" fmla="*/ 681721 h 1792446"/>
                      <a:gd name="connsiteX10" fmla="*/ 2153141 w 2153141"/>
                      <a:gd name="connsiteY10" fmla="*/ 896223 h 1792446"/>
                      <a:gd name="connsiteX11" fmla="*/ 1938639 w 2153141"/>
                      <a:gd name="connsiteY11" fmla="*/ 1110725 h 1792446"/>
                      <a:gd name="connsiteX12" fmla="*/ 732357 w 2153141"/>
                      <a:gd name="connsiteY12" fmla="*/ 1110725 h 1792446"/>
                      <a:gd name="connsiteX13" fmla="*/ 1047900 w 2153141"/>
                      <a:gd name="connsiteY13" fmla="*/ 1426268 h 1792446"/>
                      <a:gd name="connsiteX14" fmla="*/ 1047900 w 2153141"/>
                      <a:gd name="connsiteY14" fmla="*/ 1729620 h 1792446"/>
                      <a:gd name="connsiteX15" fmla="*/ 744548 w 2153141"/>
                      <a:gd name="connsiteY15" fmla="*/ 1729620 h 1792446"/>
                      <a:gd name="connsiteX16" fmla="*/ 62837 w 2153141"/>
                      <a:gd name="connsiteY16" fmla="*/ 1047908 h 1792446"/>
                      <a:gd name="connsiteX17" fmla="*/ 62826 w 2153141"/>
                      <a:gd name="connsiteY17" fmla="*/ 1047900 h 1792446"/>
                      <a:gd name="connsiteX18" fmla="*/ 0 w 2153141"/>
                      <a:gd name="connsiteY18" fmla="*/ 896224 h 179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3141" h="1792446">
                        <a:moveTo>
                          <a:pt x="0" y="896224"/>
                        </a:moveTo>
                        <a:cubicBezTo>
                          <a:pt x="0" y="841328"/>
                          <a:pt x="20942" y="786432"/>
                          <a:pt x="62826" y="744548"/>
                        </a:cubicBezTo>
                        <a:lnTo>
                          <a:pt x="62827" y="744547"/>
                        </a:lnTo>
                        <a:lnTo>
                          <a:pt x="62827" y="744547"/>
                        </a:lnTo>
                        <a:lnTo>
                          <a:pt x="62828" y="744546"/>
                        </a:lnTo>
                        <a:lnTo>
                          <a:pt x="744547" y="62826"/>
                        </a:lnTo>
                        <a:cubicBezTo>
                          <a:pt x="828315" y="-20942"/>
                          <a:pt x="964131" y="-20942"/>
                          <a:pt x="1047899" y="62826"/>
                        </a:cubicBezTo>
                        <a:cubicBezTo>
                          <a:pt x="1131667" y="146595"/>
                          <a:pt x="1131667" y="282410"/>
                          <a:pt x="1047899" y="366178"/>
                        </a:cubicBezTo>
                        <a:lnTo>
                          <a:pt x="732356" y="681721"/>
                        </a:lnTo>
                        <a:lnTo>
                          <a:pt x="1938639" y="681721"/>
                        </a:lnTo>
                        <a:cubicBezTo>
                          <a:pt x="2057105" y="681721"/>
                          <a:pt x="2153141" y="777757"/>
                          <a:pt x="2153141" y="896223"/>
                        </a:cubicBezTo>
                        <a:cubicBezTo>
                          <a:pt x="2153141" y="1014689"/>
                          <a:pt x="2057105" y="1110725"/>
                          <a:pt x="1938639" y="1110725"/>
                        </a:cubicBezTo>
                        <a:lnTo>
                          <a:pt x="732357" y="1110725"/>
                        </a:lnTo>
                        <a:lnTo>
                          <a:pt x="1047900" y="1426268"/>
                        </a:lnTo>
                        <a:cubicBezTo>
                          <a:pt x="1131668" y="1510036"/>
                          <a:pt x="1131668" y="1645851"/>
                          <a:pt x="1047900" y="1729620"/>
                        </a:cubicBezTo>
                        <a:cubicBezTo>
                          <a:pt x="964132" y="1813388"/>
                          <a:pt x="828316" y="1813388"/>
                          <a:pt x="744548" y="1729620"/>
                        </a:cubicBezTo>
                        <a:lnTo>
                          <a:pt x="62837" y="1047908"/>
                        </a:lnTo>
                        <a:lnTo>
                          <a:pt x="62826" y="1047900"/>
                        </a:lnTo>
                        <a:cubicBezTo>
                          <a:pt x="20942" y="1006015"/>
                          <a:pt x="0" y="951120"/>
                          <a:pt x="0" y="89622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endParaRPr lang="en-US" sz="1100" dirty="0">
                      <a:solidFill>
                        <a:schemeClr val="bg2"/>
                      </a:solidFill>
                    </a:endParaRPr>
                  </a:p>
                </p:txBody>
              </p:sp>
            </p:grpSp>
          </p:grpSp>
        </p:grpSp>
        <p:grpSp>
          <p:nvGrpSpPr>
            <p:cNvPr id="174" name="Group 173">
              <a:extLst>
                <a:ext uri="{FF2B5EF4-FFF2-40B4-BE49-F238E27FC236}">
                  <a16:creationId xmlns:a16="http://schemas.microsoft.com/office/drawing/2014/main" id="{BE80D833-A2B0-7A48-B6BD-D4F1CADAE243}"/>
                </a:ext>
              </a:extLst>
            </p:cNvPr>
            <p:cNvGrpSpPr/>
            <p:nvPr/>
          </p:nvGrpSpPr>
          <p:grpSpPr>
            <a:xfrm>
              <a:off x="6807004" y="1957907"/>
              <a:ext cx="819226" cy="517562"/>
              <a:chOff x="6444145" y="1701124"/>
              <a:chExt cx="1280626" cy="802839"/>
            </a:xfrm>
            <a:solidFill>
              <a:schemeClr val="tx2"/>
            </a:solidFill>
          </p:grpSpPr>
          <p:grpSp>
            <p:nvGrpSpPr>
              <p:cNvPr id="175" name="Group 174">
                <a:extLst>
                  <a:ext uri="{FF2B5EF4-FFF2-40B4-BE49-F238E27FC236}">
                    <a16:creationId xmlns:a16="http://schemas.microsoft.com/office/drawing/2014/main" id="{95B99B2C-5995-234B-8693-A64B85C244C1}"/>
                  </a:ext>
                </a:extLst>
              </p:cNvPr>
              <p:cNvGrpSpPr/>
              <p:nvPr/>
            </p:nvGrpSpPr>
            <p:grpSpPr>
              <a:xfrm>
                <a:off x="6444145" y="2041258"/>
                <a:ext cx="1280626" cy="462705"/>
                <a:chOff x="6799745" y="2065165"/>
                <a:chExt cx="1280626" cy="462705"/>
              </a:xfrm>
              <a:grpFill/>
            </p:grpSpPr>
            <p:sp>
              <p:nvSpPr>
                <p:cNvPr id="179" name="Rectangle: Rounded Corners 351">
                  <a:extLst>
                    <a:ext uri="{FF2B5EF4-FFF2-40B4-BE49-F238E27FC236}">
                      <a16:creationId xmlns:a16="http://schemas.microsoft.com/office/drawing/2014/main" id="{0B95E826-452F-3749-83C3-22F43AC809E9}"/>
                    </a:ext>
                  </a:extLst>
                </p:cNvPr>
                <p:cNvSpPr/>
                <p:nvPr/>
              </p:nvSpPr>
              <p:spPr>
                <a:xfrm rot="10800000">
                  <a:off x="6954150" y="2237569"/>
                  <a:ext cx="103829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Rectangle: Rounded Corners 353">
                  <a:extLst>
                    <a:ext uri="{FF2B5EF4-FFF2-40B4-BE49-F238E27FC236}">
                      <a16:creationId xmlns:a16="http://schemas.microsoft.com/office/drawing/2014/main" id="{E167C188-4C24-D140-B9E9-2FF723075662}"/>
                    </a:ext>
                  </a:extLst>
                </p:cNvPr>
                <p:cNvSpPr/>
                <p:nvPr/>
              </p:nvSpPr>
              <p:spPr>
                <a:xfrm rot="10800000">
                  <a:off x="6799745" y="2065165"/>
                  <a:ext cx="1280626"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6" name="Group 175">
                <a:extLst>
                  <a:ext uri="{FF2B5EF4-FFF2-40B4-BE49-F238E27FC236}">
                    <a16:creationId xmlns:a16="http://schemas.microsoft.com/office/drawing/2014/main" id="{90D80E9D-18A8-314E-815A-D2FF14745697}"/>
                  </a:ext>
                </a:extLst>
              </p:cNvPr>
              <p:cNvGrpSpPr/>
              <p:nvPr/>
            </p:nvGrpSpPr>
            <p:grpSpPr>
              <a:xfrm>
                <a:off x="6691732" y="1701124"/>
                <a:ext cx="956368" cy="458033"/>
                <a:chOff x="7044558" y="1563201"/>
                <a:chExt cx="964127" cy="461749"/>
              </a:xfrm>
              <a:grpFill/>
            </p:grpSpPr>
            <p:sp>
              <p:nvSpPr>
                <p:cNvPr id="177" name="Rectangle: Rounded Corners 347">
                  <a:extLst>
                    <a:ext uri="{FF2B5EF4-FFF2-40B4-BE49-F238E27FC236}">
                      <a16:creationId xmlns:a16="http://schemas.microsoft.com/office/drawing/2014/main" id="{193E023B-BE0A-DA44-9FB2-EB8E8D9AFA1F}"/>
                    </a:ext>
                  </a:extLst>
                </p:cNvPr>
                <p:cNvSpPr/>
                <p:nvPr/>
              </p:nvSpPr>
              <p:spPr>
                <a:xfrm rot="10800000">
                  <a:off x="7044558" y="1734649"/>
                  <a:ext cx="964127"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Rectangle: Rounded Corners 348">
                  <a:extLst>
                    <a:ext uri="{FF2B5EF4-FFF2-40B4-BE49-F238E27FC236}">
                      <a16:creationId xmlns:a16="http://schemas.microsoft.com/office/drawing/2014/main" id="{FDC80612-BC49-DB40-B320-CCB0D685D783}"/>
                    </a:ext>
                  </a:extLst>
                </p:cNvPr>
                <p:cNvSpPr/>
                <p:nvPr/>
              </p:nvSpPr>
              <p:spPr>
                <a:xfrm rot="10800000">
                  <a:off x="7307063" y="1563201"/>
                  <a:ext cx="609563" cy="29030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1" name="Group 180">
              <a:extLst>
                <a:ext uri="{FF2B5EF4-FFF2-40B4-BE49-F238E27FC236}">
                  <a16:creationId xmlns:a16="http://schemas.microsoft.com/office/drawing/2014/main" id="{56FC3331-5943-DC43-8C60-809E3F72A92A}"/>
                </a:ext>
              </a:extLst>
            </p:cNvPr>
            <p:cNvGrpSpPr/>
            <p:nvPr/>
          </p:nvGrpSpPr>
          <p:grpSpPr>
            <a:xfrm>
              <a:off x="6999001" y="2588405"/>
              <a:ext cx="228070" cy="228070"/>
              <a:chOff x="7547191" y="1416189"/>
              <a:chExt cx="507244" cy="507244"/>
            </a:xfrm>
          </p:grpSpPr>
          <p:sp>
            <p:nvSpPr>
              <p:cNvPr id="182" name="Oval 181">
                <a:extLst>
                  <a:ext uri="{FF2B5EF4-FFF2-40B4-BE49-F238E27FC236}">
                    <a16:creationId xmlns:a16="http://schemas.microsoft.com/office/drawing/2014/main" id="{2E62EB06-C0F1-C747-BDF8-9F3DEB2E968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594">
                <a:extLst>
                  <a:ext uri="{FF2B5EF4-FFF2-40B4-BE49-F238E27FC236}">
                    <a16:creationId xmlns:a16="http://schemas.microsoft.com/office/drawing/2014/main" id="{88B547E5-28A5-0D43-BDBC-629701B485E9}"/>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4" name="Group 183">
              <a:extLst>
                <a:ext uri="{FF2B5EF4-FFF2-40B4-BE49-F238E27FC236}">
                  <a16:creationId xmlns:a16="http://schemas.microsoft.com/office/drawing/2014/main" id="{5D2F4191-59A0-C443-B2E6-4FDC37EED989}"/>
                </a:ext>
              </a:extLst>
            </p:cNvPr>
            <p:cNvGrpSpPr/>
            <p:nvPr/>
          </p:nvGrpSpPr>
          <p:grpSpPr>
            <a:xfrm>
              <a:off x="4858902" y="2770027"/>
              <a:ext cx="860793" cy="301990"/>
              <a:chOff x="5119882" y="2533650"/>
              <a:chExt cx="941045" cy="425467"/>
            </a:xfrm>
          </p:grpSpPr>
          <p:sp>
            <p:nvSpPr>
              <p:cNvPr id="185" name="Rounded Rectangle 133">
                <a:extLst>
                  <a:ext uri="{FF2B5EF4-FFF2-40B4-BE49-F238E27FC236}">
                    <a16:creationId xmlns:a16="http://schemas.microsoft.com/office/drawing/2014/main" id="{830A2AB4-F4B3-2B45-BFD3-35523BA23718}"/>
                  </a:ext>
                </a:extLst>
              </p:cNvPr>
              <p:cNvSpPr/>
              <p:nvPr/>
            </p:nvSpPr>
            <p:spPr>
              <a:xfrm>
                <a:off x="5119882"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86" name="Group 185">
                <a:extLst>
                  <a:ext uri="{FF2B5EF4-FFF2-40B4-BE49-F238E27FC236}">
                    <a16:creationId xmlns:a16="http://schemas.microsoft.com/office/drawing/2014/main" id="{C892D362-C838-5945-911A-207B3EAE09DE}"/>
                  </a:ext>
                </a:extLst>
              </p:cNvPr>
              <p:cNvGrpSpPr/>
              <p:nvPr/>
            </p:nvGrpSpPr>
            <p:grpSpPr>
              <a:xfrm>
                <a:off x="5538458" y="2727217"/>
                <a:ext cx="433750" cy="208020"/>
                <a:chOff x="7583358" y="2759986"/>
                <a:chExt cx="552936" cy="265180"/>
              </a:xfrm>
            </p:grpSpPr>
            <p:pic>
              <p:nvPicPr>
                <p:cNvPr id="187" name="Picture 186">
                  <a:extLst>
                    <a:ext uri="{FF2B5EF4-FFF2-40B4-BE49-F238E27FC236}">
                      <a16:creationId xmlns:a16="http://schemas.microsoft.com/office/drawing/2014/main" id="{D6FFCD0C-1C9B-664A-BC88-C748CB2D3D18}"/>
                    </a:ext>
                  </a:extLst>
                </p:cNvPr>
                <p:cNvPicPr>
                  <a:picLocks noChangeAspect="1"/>
                </p:cNvPicPr>
                <p:nvPr/>
              </p:nvPicPr>
              <p:blipFill rotWithShape="1">
                <a:blip r:embed="rId2"/>
                <a:srcRect l="1971" t="1971" r="1971" b="1971"/>
                <a:stretch/>
              </p:blipFill>
              <p:spPr>
                <a:xfrm>
                  <a:off x="7583358" y="2759986"/>
                  <a:ext cx="265179" cy="265176"/>
                </a:xfrm>
                <a:prstGeom prst="roundRect">
                  <a:avLst>
                    <a:gd name="adj" fmla="val 22436"/>
                  </a:avLst>
                </a:prstGeom>
              </p:spPr>
            </p:pic>
            <p:pic>
              <p:nvPicPr>
                <p:cNvPr id="188" name="Picture 187">
                  <a:extLst>
                    <a:ext uri="{FF2B5EF4-FFF2-40B4-BE49-F238E27FC236}">
                      <a16:creationId xmlns:a16="http://schemas.microsoft.com/office/drawing/2014/main" id="{B3259F28-4D43-474D-A359-03D25803E43B}"/>
                    </a:ext>
                  </a:extLst>
                </p:cNvPr>
                <p:cNvPicPr>
                  <a:picLocks noChangeAspect="1"/>
                </p:cNvPicPr>
                <p:nvPr/>
              </p:nvPicPr>
              <p:blipFill>
                <a:blip r:embed="rId3"/>
                <a:stretch>
                  <a:fillRect/>
                </a:stretch>
              </p:blipFill>
              <p:spPr>
                <a:xfrm>
                  <a:off x="7871115" y="2759990"/>
                  <a:ext cx="265179" cy="265176"/>
                </a:xfrm>
                <a:prstGeom prst="roundRect">
                  <a:avLst>
                    <a:gd name="adj" fmla="val 21600"/>
                  </a:avLst>
                </a:prstGeom>
              </p:spPr>
            </p:pic>
          </p:grpSp>
        </p:grpSp>
        <p:grpSp>
          <p:nvGrpSpPr>
            <p:cNvPr id="189" name="Group 188">
              <a:extLst>
                <a:ext uri="{FF2B5EF4-FFF2-40B4-BE49-F238E27FC236}">
                  <a16:creationId xmlns:a16="http://schemas.microsoft.com/office/drawing/2014/main" id="{1E257446-D150-7649-AC1C-8FED20EFC724}"/>
                </a:ext>
              </a:extLst>
            </p:cNvPr>
            <p:cNvGrpSpPr/>
            <p:nvPr/>
          </p:nvGrpSpPr>
          <p:grpSpPr>
            <a:xfrm>
              <a:off x="5413022" y="2657499"/>
              <a:ext cx="228070" cy="228070"/>
              <a:chOff x="7547191" y="1416189"/>
              <a:chExt cx="507244" cy="507244"/>
            </a:xfrm>
          </p:grpSpPr>
          <p:sp>
            <p:nvSpPr>
              <p:cNvPr id="190" name="Oval 189">
                <a:extLst>
                  <a:ext uri="{FF2B5EF4-FFF2-40B4-BE49-F238E27FC236}">
                    <a16:creationId xmlns:a16="http://schemas.microsoft.com/office/drawing/2014/main" id="{4279B952-35E6-2D4C-873C-C79C8DB1655B}"/>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94">
                <a:extLst>
                  <a:ext uri="{FF2B5EF4-FFF2-40B4-BE49-F238E27FC236}">
                    <a16:creationId xmlns:a16="http://schemas.microsoft.com/office/drawing/2014/main" id="{6B685256-F687-8449-89CA-60920FBBF2F2}"/>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2" name="Group 191">
              <a:extLst>
                <a:ext uri="{FF2B5EF4-FFF2-40B4-BE49-F238E27FC236}">
                  <a16:creationId xmlns:a16="http://schemas.microsoft.com/office/drawing/2014/main" id="{E28F8F01-A64D-5242-91AE-2785D0CCECEE}"/>
                </a:ext>
              </a:extLst>
            </p:cNvPr>
            <p:cNvGrpSpPr/>
            <p:nvPr/>
          </p:nvGrpSpPr>
          <p:grpSpPr>
            <a:xfrm>
              <a:off x="3509160" y="2770027"/>
              <a:ext cx="860793" cy="301990"/>
              <a:chOff x="3644303" y="2533650"/>
              <a:chExt cx="941045" cy="425467"/>
            </a:xfrm>
          </p:grpSpPr>
          <p:sp>
            <p:nvSpPr>
              <p:cNvPr id="193" name="Rounded Rectangle 133">
                <a:extLst>
                  <a:ext uri="{FF2B5EF4-FFF2-40B4-BE49-F238E27FC236}">
                    <a16:creationId xmlns:a16="http://schemas.microsoft.com/office/drawing/2014/main" id="{07E5AC07-12D3-C14D-A1CB-639F3C17E2D6}"/>
                  </a:ext>
                </a:extLst>
              </p:cNvPr>
              <p:cNvSpPr/>
              <p:nvPr/>
            </p:nvSpPr>
            <p:spPr>
              <a:xfrm>
                <a:off x="3644303" y="2533650"/>
                <a:ext cx="941045" cy="425467"/>
              </a:xfrm>
              <a:prstGeom prst="roundRect">
                <a:avLst>
                  <a:gd name="adj" fmla="val 12579"/>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6EBE4A">
                      <a:lumMod val="50000"/>
                    </a:srgbClr>
                  </a:solidFill>
                  <a:latin typeface="CiscoSansTT ExtraLight"/>
                </a:endParaRPr>
              </a:p>
            </p:txBody>
          </p:sp>
          <p:grpSp>
            <p:nvGrpSpPr>
              <p:cNvPr id="194" name="Group 193">
                <a:extLst>
                  <a:ext uri="{FF2B5EF4-FFF2-40B4-BE49-F238E27FC236}">
                    <a16:creationId xmlns:a16="http://schemas.microsoft.com/office/drawing/2014/main" id="{90E6C7BE-ED36-4249-949C-AFFD97EE666C}"/>
                  </a:ext>
                </a:extLst>
              </p:cNvPr>
              <p:cNvGrpSpPr/>
              <p:nvPr/>
            </p:nvGrpSpPr>
            <p:grpSpPr>
              <a:xfrm>
                <a:off x="4086942" y="2727217"/>
                <a:ext cx="433750" cy="208020"/>
                <a:chOff x="7614033" y="2759986"/>
                <a:chExt cx="552936" cy="265180"/>
              </a:xfrm>
            </p:grpSpPr>
            <p:pic>
              <p:nvPicPr>
                <p:cNvPr id="195" name="Picture 194">
                  <a:extLst>
                    <a:ext uri="{FF2B5EF4-FFF2-40B4-BE49-F238E27FC236}">
                      <a16:creationId xmlns:a16="http://schemas.microsoft.com/office/drawing/2014/main" id="{E6BD4A60-D00F-1A44-AFE8-52A0CAA6D49F}"/>
                    </a:ext>
                  </a:extLst>
                </p:cNvPr>
                <p:cNvPicPr>
                  <a:picLocks noChangeAspect="1"/>
                </p:cNvPicPr>
                <p:nvPr/>
              </p:nvPicPr>
              <p:blipFill rotWithShape="1">
                <a:blip r:embed="rId2"/>
                <a:srcRect l="1971" t="1971" r="1971" b="1971"/>
                <a:stretch/>
              </p:blipFill>
              <p:spPr>
                <a:xfrm>
                  <a:off x="7614033" y="2759986"/>
                  <a:ext cx="265179" cy="265176"/>
                </a:xfrm>
                <a:prstGeom prst="roundRect">
                  <a:avLst>
                    <a:gd name="adj" fmla="val 22436"/>
                  </a:avLst>
                </a:prstGeom>
              </p:spPr>
            </p:pic>
            <p:pic>
              <p:nvPicPr>
                <p:cNvPr id="196" name="Picture 195">
                  <a:extLst>
                    <a:ext uri="{FF2B5EF4-FFF2-40B4-BE49-F238E27FC236}">
                      <a16:creationId xmlns:a16="http://schemas.microsoft.com/office/drawing/2014/main" id="{8F74F611-7086-C44C-A7CB-140ACF5561BA}"/>
                    </a:ext>
                  </a:extLst>
                </p:cNvPr>
                <p:cNvPicPr>
                  <a:picLocks noChangeAspect="1"/>
                </p:cNvPicPr>
                <p:nvPr/>
              </p:nvPicPr>
              <p:blipFill>
                <a:blip r:embed="rId3"/>
                <a:stretch>
                  <a:fillRect/>
                </a:stretch>
              </p:blipFill>
              <p:spPr>
                <a:xfrm>
                  <a:off x="7901790" y="2759990"/>
                  <a:ext cx="265179" cy="265176"/>
                </a:xfrm>
                <a:prstGeom prst="roundRect">
                  <a:avLst>
                    <a:gd name="adj" fmla="val 21600"/>
                  </a:avLst>
                </a:prstGeom>
              </p:spPr>
            </p:pic>
          </p:grpSp>
        </p:grpSp>
        <p:grpSp>
          <p:nvGrpSpPr>
            <p:cNvPr id="197" name="Group 196">
              <a:extLst>
                <a:ext uri="{FF2B5EF4-FFF2-40B4-BE49-F238E27FC236}">
                  <a16:creationId xmlns:a16="http://schemas.microsoft.com/office/drawing/2014/main" id="{2962A082-C1CB-1542-AFE1-9DD4C1EE5646}"/>
                </a:ext>
              </a:extLst>
            </p:cNvPr>
            <p:cNvGrpSpPr/>
            <p:nvPr/>
          </p:nvGrpSpPr>
          <p:grpSpPr>
            <a:xfrm>
              <a:off x="3939637" y="2657113"/>
              <a:ext cx="228070" cy="228070"/>
              <a:chOff x="7547191" y="1416189"/>
              <a:chExt cx="507244" cy="507244"/>
            </a:xfrm>
          </p:grpSpPr>
          <p:sp>
            <p:nvSpPr>
              <p:cNvPr id="198" name="Oval 197">
                <a:extLst>
                  <a:ext uri="{FF2B5EF4-FFF2-40B4-BE49-F238E27FC236}">
                    <a16:creationId xmlns:a16="http://schemas.microsoft.com/office/drawing/2014/main" id="{E11AFD7C-67F8-9B48-A664-7F94562E9D6C}"/>
                  </a:ext>
                </a:extLst>
              </p:cNvPr>
              <p:cNvSpPr/>
              <p:nvPr/>
            </p:nvSpPr>
            <p:spPr>
              <a:xfrm>
                <a:off x="7547191" y="1416189"/>
                <a:ext cx="507244" cy="5072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594">
                <a:extLst>
                  <a:ext uri="{FF2B5EF4-FFF2-40B4-BE49-F238E27FC236}">
                    <a16:creationId xmlns:a16="http://schemas.microsoft.com/office/drawing/2014/main" id="{3C9223A8-3FB2-BD4F-A3E5-C7DED75F5185}"/>
                  </a:ext>
                </a:extLst>
              </p:cNvPr>
              <p:cNvSpPr>
                <a:spLocks noChangeAspect="1" noEditPoints="1"/>
              </p:cNvSpPr>
              <p:nvPr/>
            </p:nvSpPr>
            <p:spPr bwMode="auto">
              <a:xfrm>
                <a:off x="7570067" y="1439880"/>
                <a:ext cx="461492" cy="459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0" name="Rectangle: Rounded Corners 692">
              <a:extLst>
                <a:ext uri="{FF2B5EF4-FFF2-40B4-BE49-F238E27FC236}">
                  <a16:creationId xmlns:a16="http://schemas.microsoft.com/office/drawing/2014/main" id="{02F903A4-B13B-D141-8653-3DE457859E38}"/>
                </a:ext>
              </a:extLst>
            </p:cNvPr>
            <p:cNvSpPr/>
            <p:nvPr/>
          </p:nvSpPr>
          <p:spPr>
            <a:xfrm>
              <a:off x="4413642" y="2330079"/>
              <a:ext cx="402247" cy="21500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Midhaul/</a:t>
              </a:r>
              <a:br>
                <a:rPr lang="en-US" sz="600" dirty="0">
                  <a:solidFill>
                    <a:schemeClr val="bg2"/>
                  </a:solidFill>
                </a:rPr>
              </a:br>
              <a:r>
                <a:rPr lang="en-US" sz="600" dirty="0">
                  <a:solidFill>
                    <a:schemeClr val="bg2"/>
                  </a:solidFill>
                </a:rPr>
                <a:t>Backhaul</a:t>
              </a:r>
            </a:p>
          </p:txBody>
        </p:sp>
        <p:sp>
          <p:nvSpPr>
            <p:cNvPr id="202" name="Rectangle: Rounded Corners 705">
              <a:extLst>
                <a:ext uri="{FF2B5EF4-FFF2-40B4-BE49-F238E27FC236}">
                  <a16:creationId xmlns:a16="http://schemas.microsoft.com/office/drawing/2014/main" id="{389047F9-5E39-3946-88EA-C465C21BCD0A}"/>
                </a:ext>
              </a:extLst>
            </p:cNvPr>
            <p:cNvSpPr/>
            <p:nvPr/>
          </p:nvSpPr>
          <p:spPr>
            <a:xfrm>
              <a:off x="3057947" y="2330079"/>
              <a:ext cx="402247" cy="21500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600" dirty="0">
                  <a:solidFill>
                    <a:schemeClr val="bg2"/>
                  </a:solidFill>
                </a:rPr>
                <a:t>Fronthaul</a:t>
              </a:r>
            </a:p>
          </p:txBody>
        </p:sp>
        <p:grpSp>
          <p:nvGrpSpPr>
            <p:cNvPr id="203" name="Group 4">
              <a:extLst>
                <a:ext uri="{FF2B5EF4-FFF2-40B4-BE49-F238E27FC236}">
                  <a16:creationId xmlns:a16="http://schemas.microsoft.com/office/drawing/2014/main" id="{FBAC586E-E05E-0640-AB71-E2FFDBBFF15C}"/>
                </a:ext>
              </a:extLst>
            </p:cNvPr>
            <p:cNvGrpSpPr>
              <a:grpSpLocks noChangeAspect="1"/>
            </p:cNvGrpSpPr>
            <p:nvPr/>
          </p:nvGrpSpPr>
          <p:grpSpPr bwMode="auto">
            <a:xfrm>
              <a:off x="1353273" y="2463094"/>
              <a:ext cx="248989" cy="188487"/>
              <a:chOff x="740" y="0"/>
              <a:chExt cx="4280" cy="3240"/>
            </a:xfrm>
          </p:grpSpPr>
          <p:sp>
            <p:nvSpPr>
              <p:cNvPr id="204" name="Freeform 5">
                <a:extLst>
                  <a:ext uri="{FF2B5EF4-FFF2-40B4-BE49-F238E27FC236}">
                    <a16:creationId xmlns:a16="http://schemas.microsoft.com/office/drawing/2014/main" id="{C934A429-CC7F-5448-9229-20D41F9B7B17}"/>
                  </a:ext>
                </a:extLst>
              </p:cNvPr>
              <p:cNvSpPr>
                <a:spLocks/>
              </p:cNvSpPr>
              <p:nvPr/>
            </p:nvSpPr>
            <p:spPr bwMode="auto">
              <a:xfrm>
                <a:off x="740" y="3"/>
                <a:ext cx="4280" cy="1880"/>
              </a:xfrm>
              <a:custGeom>
                <a:avLst/>
                <a:gdLst>
                  <a:gd name="T0" fmla="*/ 15025 w 15335"/>
                  <a:gd name="T1" fmla="*/ 5587 h 6745"/>
                  <a:gd name="T2" fmla="*/ 8184 w 15335"/>
                  <a:gd name="T3" fmla="*/ 241 h 6745"/>
                  <a:gd name="T4" fmla="*/ 8176 w 15335"/>
                  <a:gd name="T5" fmla="*/ 230 h 6745"/>
                  <a:gd name="T6" fmla="*/ 7684 w 15335"/>
                  <a:gd name="T7" fmla="*/ 0 h 6745"/>
                  <a:gd name="T8" fmla="*/ 7674 w 15335"/>
                  <a:gd name="T9" fmla="*/ 0 h 6745"/>
                  <a:gd name="T10" fmla="*/ 7663 w 15335"/>
                  <a:gd name="T11" fmla="*/ 0 h 6745"/>
                  <a:gd name="T12" fmla="*/ 7243 w 15335"/>
                  <a:gd name="T13" fmla="*/ 171 h 6745"/>
                  <a:gd name="T14" fmla="*/ 309 w 15335"/>
                  <a:gd name="T15" fmla="*/ 5587 h 6745"/>
                  <a:gd name="T16" fmla="*/ 206 w 15335"/>
                  <a:gd name="T17" fmla="*/ 6436 h 6745"/>
                  <a:gd name="T18" fmla="*/ 1083 w 15335"/>
                  <a:gd name="T19" fmla="*/ 6539 h 6745"/>
                  <a:gd name="T20" fmla="*/ 7682 w 15335"/>
                  <a:gd name="T21" fmla="*/ 1385 h 6745"/>
                  <a:gd name="T22" fmla="*/ 14278 w 15335"/>
                  <a:gd name="T23" fmla="*/ 6539 h 6745"/>
                  <a:gd name="T24" fmla="*/ 15129 w 15335"/>
                  <a:gd name="T25" fmla="*/ 6436 h 6745"/>
                  <a:gd name="T26" fmla="*/ 15025 w 15335"/>
                  <a:gd name="T27" fmla="*/ 5587 h 6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35" h="6745">
                    <a:moveTo>
                      <a:pt x="15025" y="5587"/>
                    </a:moveTo>
                    <a:cubicBezTo>
                      <a:pt x="15025" y="5587"/>
                      <a:pt x="15025" y="5587"/>
                      <a:pt x="8184" y="241"/>
                    </a:cubicBezTo>
                    <a:cubicBezTo>
                      <a:pt x="8181" y="237"/>
                      <a:pt x="8179" y="234"/>
                      <a:pt x="8176" y="230"/>
                    </a:cubicBezTo>
                    <a:cubicBezTo>
                      <a:pt x="8057" y="82"/>
                      <a:pt x="7870" y="2"/>
                      <a:pt x="7684" y="0"/>
                    </a:cubicBezTo>
                    <a:cubicBezTo>
                      <a:pt x="7681" y="0"/>
                      <a:pt x="7677" y="0"/>
                      <a:pt x="7674" y="0"/>
                    </a:cubicBezTo>
                    <a:cubicBezTo>
                      <a:pt x="7670" y="0"/>
                      <a:pt x="7666" y="0"/>
                      <a:pt x="7663" y="0"/>
                    </a:cubicBezTo>
                    <a:cubicBezTo>
                      <a:pt x="7510" y="2"/>
                      <a:pt x="7357" y="61"/>
                      <a:pt x="7243" y="171"/>
                    </a:cubicBezTo>
                    <a:cubicBezTo>
                      <a:pt x="309" y="5587"/>
                      <a:pt x="309" y="5587"/>
                      <a:pt x="309" y="5587"/>
                    </a:cubicBezTo>
                    <a:cubicBezTo>
                      <a:pt x="52" y="5793"/>
                      <a:pt x="0" y="6179"/>
                      <a:pt x="206" y="6436"/>
                    </a:cubicBezTo>
                    <a:cubicBezTo>
                      <a:pt x="412" y="6694"/>
                      <a:pt x="799" y="6745"/>
                      <a:pt x="1083" y="6539"/>
                    </a:cubicBezTo>
                    <a:cubicBezTo>
                      <a:pt x="5401" y="3167"/>
                      <a:pt x="7051" y="1878"/>
                      <a:pt x="7682" y="1385"/>
                    </a:cubicBezTo>
                    <a:cubicBezTo>
                      <a:pt x="8313" y="1878"/>
                      <a:pt x="9962" y="3167"/>
                      <a:pt x="14278" y="6539"/>
                    </a:cubicBezTo>
                    <a:cubicBezTo>
                      <a:pt x="14535" y="6745"/>
                      <a:pt x="14922" y="6694"/>
                      <a:pt x="15129" y="6436"/>
                    </a:cubicBezTo>
                    <a:cubicBezTo>
                      <a:pt x="15335" y="6179"/>
                      <a:pt x="15284" y="5793"/>
                      <a:pt x="15025" y="5587"/>
                    </a:cubicBezTo>
                    <a:close/>
                  </a:path>
                </a:pathLst>
              </a:custGeom>
              <a:solidFill>
                <a:srgbClr val="71BF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Freeform 6">
                <a:extLst>
                  <a:ext uri="{FF2B5EF4-FFF2-40B4-BE49-F238E27FC236}">
                    <a16:creationId xmlns:a16="http://schemas.microsoft.com/office/drawing/2014/main" id="{9F70C820-9D54-CC4C-8AF6-C3B733172A92}"/>
                  </a:ext>
                </a:extLst>
              </p:cNvPr>
              <p:cNvSpPr>
                <a:spLocks/>
              </p:cNvSpPr>
              <p:nvPr/>
            </p:nvSpPr>
            <p:spPr bwMode="auto">
              <a:xfrm>
                <a:off x="1365" y="641"/>
                <a:ext cx="3021" cy="2599"/>
              </a:xfrm>
              <a:custGeom>
                <a:avLst/>
                <a:gdLst>
                  <a:gd name="T0" fmla="*/ 10824 w 10824"/>
                  <a:gd name="T1" fmla="*/ 4223 h 9322"/>
                  <a:gd name="T2" fmla="*/ 10824 w 10824"/>
                  <a:gd name="T3" fmla="*/ 4223 h 9322"/>
                  <a:gd name="T4" fmla="*/ 5438 w 10824"/>
                  <a:gd name="T5" fmla="*/ 0 h 9322"/>
                  <a:gd name="T6" fmla="*/ 0 w 10824"/>
                  <a:gd name="T7" fmla="*/ 4223 h 9322"/>
                  <a:gd name="T8" fmla="*/ 0 w 10824"/>
                  <a:gd name="T9" fmla="*/ 9322 h 9322"/>
                  <a:gd name="T10" fmla="*/ 3970 w 10824"/>
                  <a:gd name="T11" fmla="*/ 9322 h 9322"/>
                  <a:gd name="T12" fmla="*/ 3970 w 10824"/>
                  <a:gd name="T13" fmla="*/ 7082 h 9322"/>
                  <a:gd name="T14" fmla="*/ 5413 w 10824"/>
                  <a:gd name="T15" fmla="*/ 5640 h 9322"/>
                  <a:gd name="T16" fmla="*/ 5413 w 10824"/>
                  <a:gd name="T17" fmla="*/ 5640 h 9322"/>
                  <a:gd name="T18" fmla="*/ 6881 w 10824"/>
                  <a:gd name="T19" fmla="*/ 7082 h 9322"/>
                  <a:gd name="T20" fmla="*/ 6881 w 10824"/>
                  <a:gd name="T21" fmla="*/ 9322 h 9322"/>
                  <a:gd name="T22" fmla="*/ 10824 w 10824"/>
                  <a:gd name="T23" fmla="*/ 9322 h 9322"/>
                  <a:gd name="T24" fmla="*/ 10824 w 10824"/>
                  <a:gd name="T25" fmla="*/ 4223 h 9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24" h="9322">
                    <a:moveTo>
                      <a:pt x="10824" y="4223"/>
                    </a:moveTo>
                    <a:cubicBezTo>
                      <a:pt x="10824" y="4223"/>
                      <a:pt x="10824" y="4223"/>
                      <a:pt x="10824" y="4223"/>
                    </a:cubicBezTo>
                    <a:cubicBezTo>
                      <a:pt x="5438" y="0"/>
                      <a:pt x="5438" y="0"/>
                      <a:pt x="5438" y="0"/>
                    </a:cubicBezTo>
                    <a:cubicBezTo>
                      <a:pt x="0" y="4223"/>
                      <a:pt x="0" y="4223"/>
                      <a:pt x="0" y="4223"/>
                    </a:cubicBezTo>
                    <a:cubicBezTo>
                      <a:pt x="0" y="9322"/>
                      <a:pt x="0" y="9322"/>
                      <a:pt x="0" y="9322"/>
                    </a:cubicBezTo>
                    <a:cubicBezTo>
                      <a:pt x="3970" y="9322"/>
                      <a:pt x="3970" y="9322"/>
                      <a:pt x="3970" y="9322"/>
                    </a:cubicBezTo>
                    <a:cubicBezTo>
                      <a:pt x="3970" y="7082"/>
                      <a:pt x="3970" y="7082"/>
                      <a:pt x="3970" y="7082"/>
                    </a:cubicBezTo>
                    <a:cubicBezTo>
                      <a:pt x="3970" y="6284"/>
                      <a:pt x="4614" y="5640"/>
                      <a:pt x="5413" y="5640"/>
                    </a:cubicBezTo>
                    <a:cubicBezTo>
                      <a:pt x="5413" y="5640"/>
                      <a:pt x="5413" y="5640"/>
                      <a:pt x="5413" y="5640"/>
                    </a:cubicBezTo>
                    <a:cubicBezTo>
                      <a:pt x="6210" y="5640"/>
                      <a:pt x="6881" y="6284"/>
                      <a:pt x="6881" y="7082"/>
                    </a:cubicBezTo>
                    <a:cubicBezTo>
                      <a:pt x="6881" y="9322"/>
                      <a:pt x="6881" y="9322"/>
                      <a:pt x="6881" y="9322"/>
                    </a:cubicBezTo>
                    <a:cubicBezTo>
                      <a:pt x="10824" y="9322"/>
                      <a:pt x="10824" y="9322"/>
                      <a:pt x="10824" y="9322"/>
                    </a:cubicBezTo>
                    <a:cubicBezTo>
                      <a:pt x="10824" y="4223"/>
                      <a:pt x="10824" y="4223"/>
                      <a:pt x="10824" y="4223"/>
                    </a:cubicBezTo>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7">
                <a:extLst>
                  <a:ext uri="{FF2B5EF4-FFF2-40B4-BE49-F238E27FC236}">
                    <a16:creationId xmlns:a16="http://schemas.microsoft.com/office/drawing/2014/main" id="{675F0C77-E4CE-664C-A67A-230FCDA191FC}"/>
                  </a:ext>
                </a:extLst>
              </p:cNvPr>
              <p:cNvSpPr>
                <a:spLocks/>
              </p:cNvSpPr>
              <p:nvPr/>
            </p:nvSpPr>
            <p:spPr bwMode="auto">
              <a:xfrm>
                <a:off x="2625" y="2371"/>
                <a:ext cx="511" cy="869"/>
              </a:xfrm>
              <a:custGeom>
                <a:avLst/>
                <a:gdLst>
                  <a:gd name="T0" fmla="*/ 1830 w 1830"/>
                  <a:gd name="T1" fmla="*/ 3116 h 3116"/>
                  <a:gd name="T2" fmla="*/ 1830 w 1830"/>
                  <a:gd name="T3" fmla="*/ 3116 h 3116"/>
                  <a:gd name="T4" fmla="*/ 1830 w 1830"/>
                  <a:gd name="T5" fmla="*/ 927 h 3116"/>
                  <a:gd name="T6" fmla="*/ 903 w 1830"/>
                  <a:gd name="T7" fmla="*/ 0 h 3116"/>
                  <a:gd name="T8" fmla="*/ 903 w 1830"/>
                  <a:gd name="T9" fmla="*/ 0 h 3116"/>
                  <a:gd name="T10" fmla="*/ 0 w 1830"/>
                  <a:gd name="T11" fmla="*/ 927 h 3116"/>
                  <a:gd name="T12" fmla="*/ 0 w 1830"/>
                  <a:gd name="T13" fmla="*/ 3116 h 3116"/>
                  <a:gd name="T14" fmla="*/ 1830 w 1830"/>
                  <a:gd name="T15" fmla="*/ 3116 h 3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116">
                    <a:moveTo>
                      <a:pt x="1830" y="3116"/>
                    </a:moveTo>
                    <a:cubicBezTo>
                      <a:pt x="1830" y="3116"/>
                      <a:pt x="1830" y="3116"/>
                      <a:pt x="1830" y="3116"/>
                    </a:cubicBezTo>
                    <a:cubicBezTo>
                      <a:pt x="1830" y="927"/>
                      <a:pt x="1830" y="927"/>
                      <a:pt x="1830" y="927"/>
                    </a:cubicBezTo>
                    <a:cubicBezTo>
                      <a:pt x="1830" y="412"/>
                      <a:pt x="1418" y="0"/>
                      <a:pt x="903" y="0"/>
                    </a:cubicBezTo>
                    <a:cubicBezTo>
                      <a:pt x="903" y="0"/>
                      <a:pt x="903" y="0"/>
                      <a:pt x="903" y="0"/>
                    </a:cubicBezTo>
                    <a:cubicBezTo>
                      <a:pt x="413" y="0"/>
                      <a:pt x="0" y="412"/>
                      <a:pt x="0" y="927"/>
                    </a:cubicBezTo>
                    <a:cubicBezTo>
                      <a:pt x="0" y="3116"/>
                      <a:pt x="0" y="3116"/>
                      <a:pt x="0" y="3116"/>
                    </a:cubicBezTo>
                    <a:cubicBezTo>
                      <a:pt x="1830" y="3116"/>
                      <a:pt x="1830" y="3116"/>
                      <a:pt x="1830" y="311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8">
                <a:extLst>
                  <a:ext uri="{FF2B5EF4-FFF2-40B4-BE49-F238E27FC236}">
                    <a16:creationId xmlns:a16="http://schemas.microsoft.com/office/drawing/2014/main" id="{A038FD02-ECB0-8A4A-B5F0-44B512087141}"/>
                  </a:ext>
                </a:extLst>
              </p:cNvPr>
              <p:cNvSpPr>
                <a:spLocks/>
              </p:cNvSpPr>
              <p:nvPr/>
            </p:nvSpPr>
            <p:spPr bwMode="auto">
              <a:xfrm>
                <a:off x="2711" y="0"/>
                <a:ext cx="346" cy="390"/>
              </a:xfrm>
              <a:custGeom>
                <a:avLst/>
                <a:gdLst>
                  <a:gd name="T0" fmla="*/ 1240 w 1240"/>
                  <a:gd name="T1" fmla="*/ 622 h 1398"/>
                  <a:gd name="T2" fmla="*/ 1240 w 1240"/>
                  <a:gd name="T3" fmla="*/ 622 h 1398"/>
                  <a:gd name="T4" fmla="*/ 620 w 1240"/>
                  <a:gd name="T5" fmla="*/ 0 h 1398"/>
                  <a:gd name="T6" fmla="*/ 0 w 1240"/>
                  <a:gd name="T7" fmla="*/ 622 h 1398"/>
                  <a:gd name="T8" fmla="*/ 258 w 1240"/>
                  <a:gd name="T9" fmla="*/ 1140 h 1398"/>
                  <a:gd name="T10" fmla="*/ 620 w 1240"/>
                  <a:gd name="T11" fmla="*/ 1398 h 1398"/>
                  <a:gd name="T12" fmla="*/ 956 w 1240"/>
                  <a:gd name="T13" fmla="*/ 1113 h 1398"/>
                  <a:gd name="T14" fmla="*/ 1240 w 1240"/>
                  <a:gd name="T15" fmla="*/ 622 h 1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0" h="1398">
                    <a:moveTo>
                      <a:pt x="1240" y="622"/>
                    </a:moveTo>
                    <a:cubicBezTo>
                      <a:pt x="1240" y="622"/>
                      <a:pt x="1240" y="622"/>
                      <a:pt x="1240" y="622"/>
                    </a:cubicBezTo>
                    <a:cubicBezTo>
                      <a:pt x="1240" y="259"/>
                      <a:pt x="956" y="0"/>
                      <a:pt x="620" y="0"/>
                    </a:cubicBezTo>
                    <a:cubicBezTo>
                      <a:pt x="258" y="0"/>
                      <a:pt x="0" y="259"/>
                      <a:pt x="0" y="622"/>
                    </a:cubicBezTo>
                    <a:cubicBezTo>
                      <a:pt x="0" y="829"/>
                      <a:pt x="104" y="1010"/>
                      <a:pt x="258" y="1140"/>
                    </a:cubicBezTo>
                    <a:cubicBezTo>
                      <a:pt x="620" y="1398"/>
                      <a:pt x="620" y="1398"/>
                      <a:pt x="620" y="1398"/>
                    </a:cubicBezTo>
                    <a:cubicBezTo>
                      <a:pt x="956" y="1113"/>
                      <a:pt x="956" y="1113"/>
                      <a:pt x="956" y="1113"/>
                    </a:cubicBezTo>
                    <a:cubicBezTo>
                      <a:pt x="1111" y="1010"/>
                      <a:pt x="1240" y="829"/>
                      <a:pt x="1240" y="622"/>
                    </a:cubicBezTo>
                  </a:path>
                </a:pathLst>
              </a:custGeom>
              <a:solidFill>
                <a:srgbClr val="539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8" name="Group 207">
              <a:extLst>
                <a:ext uri="{FF2B5EF4-FFF2-40B4-BE49-F238E27FC236}">
                  <a16:creationId xmlns:a16="http://schemas.microsoft.com/office/drawing/2014/main" id="{C70F7885-436A-9442-9721-ACB19B4F92E6}"/>
                </a:ext>
              </a:extLst>
            </p:cNvPr>
            <p:cNvGrpSpPr/>
            <p:nvPr/>
          </p:nvGrpSpPr>
          <p:grpSpPr>
            <a:xfrm>
              <a:off x="1390132" y="2956526"/>
              <a:ext cx="167022" cy="230402"/>
              <a:chOff x="858973" y="1403744"/>
              <a:chExt cx="643458" cy="887629"/>
            </a:xfrm>
          </p:grpSpPr>
          <p:grpSp>
            <p:nvGrpSpPr>
              <p:cNvPr id="209" name="Group 208">
                <a:extLst>
                  <a:ext uri="{FF2B5EF4-FFF2-40B4-BE49-F238E27FC236}">
                    <a16:creationId xmlns:a16="http://schemas.microsoft.com/office/drawing/2014/main" id="{3DFC2E71-6305-2A44-93F4-6DDA0F4D489E}"/>
                  </a:ext>
                </a:extLst>
              </p:cNvPr>
              <p:cNvGrpSpPr/>
              <p:nvPr/>
            </p:nvGrpSpPr>
            <p:grpSpPr>
              <a:xfrm>
                <a:off x="858973" y="1403744"/>
                <a:ext cx="643458" cy="887629"/>
                <a:chOff x="565417" y="1536835"/>
                <a:chExt cx="996124" cy="1374120"/>
              </a:xfrm>
            </p:grpSpPr>
            <p:sp>
              <p:nvSpPr>
                <p:cNvPr id="211" name="Rounded Rectangle 63">
                  <a:extLst>
                    <a:ext uri="{FF2B5EF4-FFF2-40B4-BE49-F238E27FC236}">
                      <a16:creationId xmlns:a16="http://schemas.microsoft.com/office/drawing/2014/main" id="{CF3313F0-3E3D-C64A-801A-494A0CE17184}"/>
                    </a:ext>
                  </a:extLst>
                </p:cNvPr>
                <p:cNvSpPr/>
                <p:nvPr/>
              </p:nvSpPr>
              <p:spPr>
                <a:xfrm>
                  <a:off x="853525" y="2461414"/>
                  <a:ext cx="443999" cy="449541"/>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351C3FEA-14F1-BF40-82ED-AD1D9806A135}"/>
                    </a:ext>
                  </a:extLst>
                </p:cNvPr>
                <p:cNvGrpSpPr/>
                <p:nvPr/>
              </p:nvGrpSpPr>
              <p:grpSpPr>
                <a:xfrm>
                  <a:off x="565417" y="1536835"/>
                  <a:ext cx="996124" cy="1374120"/>
                  <a:chOff x="352800" y="-7200"/>
                  <a:chExt cx="1984680" cy="2737800"/>
                </a:xfrm>
              </p:grpSpPr>
              <p:sp>
                <p:nvSpPr>
                  <p:cNvPr id="213" name="Freeform: Shape 1">
                    <a:extLst>
                      <a:ext uri="{FF2B5EF4-FFF2-40B4-BE49-F238E27FC236}">
                        <a16:creationId xmlns:a16="http://schemas.microsoft.com/office/drawing/2014/main" id="{9D85BF99-9AFF-E344-869E-247F46BCD713}"/>
                      </a:ext>
                    </a:extLst>
                  </p:cNvPr>
                  <p:cNvSpPr/>
                  <p:nvPr/>
                </p:nvSpPr>
                <p:spPr>
                  <a:xfrm>
                    <a:off x="352800" y="-7200"/>
                    <a:ext cx="1984680" cy="2737800"/>
                  </a:xfrm>
                  <a:custGeom>
                    <a:avLst/>
                    <a:gdLst/>
                    <a:ahLst/>
                    <a:cxnLst>
                      <a:cxn ang="3cd4">
                        <a:pos x="hc" y="t"/>
                      </a:cxn>
                      <a:cxn ang="cd2">
                        <a:pos x="l" y="vc"/>
                      </a:cxn>
                      <a:cxn ang="cd4">
                        <a:pos x="hc" y="b"/>
                      </a:cxn>
                      <a:cxn ang="0">
                        <a:pos x="r" y="vc"/>
                      </a:cxn>
                    </a:cxnLst>
                    <a:rect l="l" t="t" r="r" b="b"/>
                    <a:pathLst>
                      <a:path w="5514" h="7606">
                        <a:moveTo>
                          <a:pt x="2394" y="6121"/>
                        </a:moveTo>
                        <a:cubicBezTo>
                          <a:pt x="3121" y="6121"/>
                          <a:pt x="3121" y="6121"/>
                          <a:pt x="3121" y="6121"/>
                        </a:cubicBezTo>
                        <a:cubicBezTo>
                          <a:pt x="3242" y="6121"/>
                          <a:pt x="3303" y="6212"/>
                          <a:pt x="3303" y="6303"/>
                        </a:cubicBezTo>
                        <a:cubicBezTo>
                          <a:pt x="3303" y="7606"/>
                          <a:pt x="3303" y="7606"/>
                          <a:pt x="3303" y="7606"/>
                        </a:cubicBezTo>
                        <a:cubicBezTo>
                          <a:pt x="5514" y="7606"/>
                          <a:pt x="5514" y="7606"/>
                          <a:pt x="5514" y="7606"/>
                        </a:cubicBezTo>
                        <a:cubicBezTo>
                          <a:pt x="5514" y="0"/>
                          <a:pt x="5514" y="0"/>
                          <a:pt x="5514" y="0"/>
                        </a:cubicBezTo>
                        <a:cubicBezTo>
                          <a:pt x="0" y="0"/>
                          <a:pt x="0" y="0"/>
                          <a:pt x="0" y="0"/>
                        </a:cubicBezTo>
                        <a:cubicBezTo>
                          <a:pt x="0" y="7606"/>
                          <a:pt x="0" y="7606"/>
                          <a:pt x="0" y="7606"/>
                        </a:cubicBezTo>
                        <a:cubicBezTo>
                          <a:pt x="2212" y="7606"/>
                          <a:pt x="2212" y="7606"/>
                          <a:pt x="2212" y="7606"/>
                        </a:cubicBezTo>
                        <a:cubicBezTo>
                          <a:pt x="2212" y="6303"/>
                          <a:pt x="2212" y="6303"/>
                          <a:pt x="2212" y="6303"/>
                        </a:cubicBezTo>
                        <a:cubicBezTo>
                          <a:pt x="2212" y="6212"/>
                          <a:pt x="2303" y="6121"/>
                          <a:pt x="2394" y="612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sp>
                <p:nvSpPr>
                  <p:cNvPr id="214" name="Freeform 57">
                    <a:extLst>
                      <a:ext uri="{FF2B5EF4-FFF2-40B4-BE49-F238E27FC236}">
                        <a16:creationId xmlns:a16="http://schemas.microsoft.com/office/drawing/2014/main" id="{9E0AF358-6DB2-8347-BC86-2B2D84595A47}"/>
                      </a:ext>
                    </a:extLst>
                  </p:cNvPr>
                  <p:cNvSpPr/>
                  <p:nvPr/>
                </p:nvSpPr>
                <p:spPr>
                  <a:xfrm>
                    <a:off x="614520" y="276480"/>
                    <a:ext cx="1472399" cy="1472400"/>
                  </a:xfrm>
                  <a:custGeom>
                    <a:avLst/>
                    <a:gdLst>
                      <a:gd name="connsiteX0" fmla="*/ 1178232 w 1472399"/>
                      <a:gd name="connsiteY0" fmla="*/ 1134720 h 1472400"/>
                      <a:gd name="connsiteX1" fmla="*/ 1417737 w 1472399"/>
                      <a:gd name="connsiteY1" fmla="*/ 1134720 h 1472400"/>
                      <a:gd name="connsiteX2" fmla="*/ 1472399 w 1472399"/>
                      <a:gd name="connsiteY2" fmla="*/ 1189022 h 1472400"/>
                      <a:gd name="connsiteX3" fmla="*/ 1472399 w 1472399"/>
                      <a:gd name="connsiteY3" fmla="*/ 1428886 h 1472400"/>
                      <a:gd name="connsiteX4" fmla="*/ 1417737 w 1472399"/>
                      <a:gd name="connsiteY4" fmla="*/ 1472400 h 1472400"/>
                      <a:gd name="connsiteX5" fmla="*/ 1178232 w 1472399"/>
                      <a:gd name="connsiteY5" fmla="*/ 1472400 h 1472400"/>
                      <a:gd name="connsiteX6" fmla="*/ 1134359 w 1472399"/>
                      <a:gd name="connsiteY6" fmla="*/ 1428886 h 1472400"/>
                      <a:gd name="connsiteX7" fmla="*/ 1134359 w 1472399"/>
                      <a:gd name="connsiteY7" fmla="*/ 1189022 h 1472400"/>
                      <a:gd name="connsiteX8" fmla="*/ 1178232 w 1472399"/>
                      <a:gd name="connsiteY8" fmla="*/ 1134720 h 1472400"/>
                      <a:gd name="connsiteX9" fmla="*/ 610872 w 1472399"/>
                      <a:gd name="connsiteY9" fmla="*/ 1134720 h 1472400"/>
                      <a:gd name="connsiteX10" fmla="*/ 850368 w 1472399"/>
                      <a:gd name="connsiteY10" fmla="*/ 1134720 h 1472400"/>
                      <a:gd name="connsiteX11" fmla="*/ 893880 w 1472399"/>
                      <a:gd name="connsiteY11" fmla="*/ 1189022 h 1472400"/>
                      <a:gd name="connsiteX12" fmla="*/ 893880 w 1472399"/>
                      <a:gd name="connsiteY12" fmla="*/ 1428886 h 1472400"/>
                      <a:gd name="connsiteX13" fmla="*/ 850368 w 1472399"/>
                      <a:gd name="connsiteY13" fmla="*/ 1472400 h 1472400"/>
                      <a:gd name="connsiteX14" fmla="*/ 610872 w 1472399"/>
                      <a:gd name="connsiteY14" fmla="*/ 1472400 h 1472400"/>
                      <a:gd name="connsiteX15" fmla="*/ 567360 w 1472399"/>
                      <a:gd name="connsiteY15" fmla="*/ 1428886 h 1472400"/>
                      <a:gd name="connsiteX16" fmla="*/ 567360 w 1472399"/>
                      <a:gd name="connsiteY16" fmla="*/ 1189022 h 1472400"/>
                      <a:gd name="connsiteX17" fmla="*/ 610872 w 1472399"/>
                      <a:gd name="connsiteY17" fmla="*/ 1134720 h 1472400"/>
                      <a:gd name="connsiteX18" fmla="*/ 43512 w 1472399"/>
                      <a:gd name="connsiteY18" fmla="*/ 1134720 h 1472400"/>
                      <a:gd name="connsiteX19" fmla="*/ 283368 w 1472399"/>
                      <a:gd name="connsiteY19" fmla="*/ 1134720 h 1472400"/>
                      <a:gd name="connsiteX20" fmla="*/ 326880 w 1472399"/>
                      <a:gd name="connsiteY20" fmla="*/ 1189022 h 1472400"/>
                      <a:gd name="connsiteX21" fmla="*/ 326880 w 1472399"/>
                      <a:gd name="connsiteY21" fmla="*/ 1428886 h 1472400"/>
                      <a:gd name="connsiteX22" fmla="*/ 283368 w 1472399"/>
                      <a:gd name="connsiteY22" fmla="*/ 1472400 h 1472400"/>
                      <a:gd name="connsiteX23" fmla="*/ 43512 w 1472399"/>
                      <a:gd name="connsiteY23" fmla="*/ 1472400 h 1472400"/>
                      <a:gd name="connsiteX24" fmla="*/ 0 w 1472399"/>
                      <a:gd name="connsiteY24" fmla="*/ 1428886 h 1472400"/>
                      <a:gd name="connsiteX25" fmla="*/ 0 w 1472399"/>
                      <a:gd name="connsiteY25" fmla="*/ 1189022 h 1472400"/>
                      <a:gd name="connsiteX26" fmla="*/ 43512 w 1472399"/>
                      <a:gd name="connsiteY26" fmla="*/ 1134720 h 1472400"/>
                      <a:gd name="connsiteX27" fmla="*/ 1178232 w 1472399"/>
                      <a:gd name="connsiteY27" fmla="*/ 0 h 1472400"/>
                      <a:gd name="connsiteX28" fmla="*/ 1417737 w 1472399"/>
                      <a:gd name="connsiteY28" fmla="*/ 0 h 1472400"/>
                      <a:gd name="connsiteX29" fmla="*/ 1472399 w 1472399"/>
                      <a:gd name="connsiteY29" fmla="*/ 43873 h 1472400"/>
                      <a:gd name="connsiteX30" fmla="*/ 1472399 w 1472399"/>
                      <a:gd name="connsiteY30" fmla="*/ 283378 h 1472400"/>
                      <a:gd name="connsiteX31" fmla="*/ 1417737 w 1472399"/>
                      <a:gd name="connsiteY31" fmla="*/ 338040 h 1472400"/>
                      <a:gd name="connsiteX32" fmla="*/ 1178232 w 1472399"/>
                      <a:gd name="connsiteY32" fmla="*/ 338040 h 1472400"/>
                      <a:gd name="connsiteX33" fmla="*/ 1134359 w 1472399"/>
                      <a:gd name="connsiteY33" fmla="*/ 283378 h 1472400"/>
                      <a:gd name="connsiteX34" fmla="*/ 1134359 w 1472399"/>
                      <a:gd name="connsiteY34" fmla="*/ 43873 h 1472400"/>
                      <a:gd name="connsiteX35" fmla="*/ 1178232 w 1472399"/>
                      <a:gd name="connsiteY35" fmla="*/ 0 h 1472400"/>
                      <a:gd name="connsiteX36" fmla="*/ 610872 w 1472399"/>
                      <a:gd name="connsiteY36" fmla="*/ 0 h 1472400"/>
                      <a:gd name="connsiteX37" fmla="*/ 850368 w 1472399"/>
                      <a:gd name="connsiteY37" fmla="*/ 0 h 1472400"/>
                      <a:gd name="connsiteX38" fmla="*/ 893880 w 1472399"/>
                      <a:gd name="connsiteY38" fmla="*/ 43873 h 1472400"/>
                      <a:gd name="connsiteX39" fmla="*/ 893880 w 1472399"/>
                      <a:gd name="connsiteY39" fmla="*/ 283378 h 1472400"/>
                      <a:gd name="connsiteX40" fmla="*/ 850368 w 1472399"/>
                      <a:gd name="connsiteY40" fmla="*/ 338040 h 1472400"/>
                      <a:gd name="connsiteX41" fmla="*/ 610872 w 1472399"/>
                      <a:gd name="connsiteY41" fmla="*/ 338040 h 1472400"/>
                      <a:gd name="connsiteX42" fmla="*/ 567360 w 1472399"/>
                      <a:gd name="connsiteY42" fmla="*/ 283378 h 1472400"/>
                      <a:gd name="connsiteX43" fmla="*/ 567360 w 1472399"/>
                      <a:gd name="connsiteY43" fmla="*/ 43873 h 1472400"/>
                      <a:gd name="connsiteX44" fmla="*/ 610872 w 1472399"/>
                      <a:gd name="connsiteY44" fmla="*/ 0 h 1472400"/>
                      <a:gd name="connsiteX45" fmla="*/ 43512 w 1472399"/>
                      <a:gd name="connsiteY45" fmla="*/ 0 h 1472400"/>
                      <a:gd name="connsiteX46" fmla="*/ 283368 w 1472399"/>
                      <a:gd name="connsiteY46" fmla="*/ 0 h 1472400"/>
                      <a:gd name="connsiteX47" fmla="*/ 326880 w 1472399"/>
                      <a:gd name="connsiteY47" fmla="*/ 43873 h 1472400"/>
                      <a:gd name="connsiteX48" fmla="*/ 326880 w 1472399"/>
                      <a:gd name="connsiteY48" fmla="*/ 283378 h 1472400"/>
                      <a:gd name="connsiteX49" fmla="*/ 283368 w 1472399"/>
                      <a:gd name="connsiteY49" fmla="*/ 338040 h 1472400"/>
                      <a:gd name="connsiteX50" fmla="*/ 43512 w 1472399"/>
                      <a:gd name="connsiteY50" fmla="*/ 338040 h 1472400"/>
                      <a:gd name="connsiteX51" fmla="*/ 0 w 1472399"/>
                      <a:gd name="connsiteY51" fmla="*/ 283378 h 1472400"/>
                      <a:gd name="connsiteX52" fmla="*/ 0 w 1472399"/>
                      <a:gd name="connsiteY52" fmla="*/ 43873 h 1472400"/>
                      <a:gd name="connsiteX53" fmla="*/ 43512 w 1472399"/>
                      <a:gd name="connsiteY53" fmla="*/ 0 h 14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72399" h="1472400">
                        <a:moveTo>
                          <a:pt x="1178232" y="1134720"/>
                        </a:moveTo>
                        <a:cubicBezTo>
                          <a:pt x="1417737" y="1134720"/>
                          <a:pt x="1417737" y="1134720"/>
                          <a:pt x="1417737" y="1134720"/>
                        </a:cubicBezTo>
                        <a:cubicBezTo>
                          <a:pt x="1450462" y="1134720"/>
                          <a:pt x="1472399" y="1156297"/>
                          <a:pt x="1472399" y="1189022"/>
                        </a:cubicBezTo>
                        <a:cubicBezTo>
                          <a:pt x="1472399" y="1428886"/>
                          <a:pt x="1472399" y="1428886"/>
                          <a:pt x="1472399" y="1428886"/>
                        </a:cubicBezTo>
                        <a:cubicBezTo>
                          <a:pt x="1472399" y="1450463"/>
                          <a:pt x="1450462" y="1472400"/>
                          <a:pt x="1417737" y="1472400"/>
                        </a:cubicBezTo>
                        <a:cubicBezTo>
                          <a:pt x="1178232" y="1472400"/>
                          <a:pt x="1178232" y="1472400"/>
                          <a:pt x="1178232" y="1472400"/>
                        </a:cubicBezTo>
                        <a:cubicBezTo>
                          <a:pt x="1156296" y="1472400"/>
                          <a:pt x="1134359" y="1450463"/>
                          <a:pt x="1134359" y="1428886"/>
                        </a:cubicBezTo>
                        <a:cubicBezTo>
                          <a:pt x="1134359" y="1189022"/>
                          <a:pt x="1134359" y="1189022"/>
                          <a:pt x="1134359" y="1189022"/>
                        </a:cubicBezTo>
                        <a:cubicBezTo>
                          <a:pt x="1134359" y="1156297"/>
                          <a:pt x="1156296" y="1134720"/>
                          <a:pt x="1178232" y="1134720"/>
                        </a:cubicBezTo>
                        <a:close/>
                        <a:moveTo>
                          <a:pt x="610872" y="1134720"/>
                        </a:moveTo>
                        <a:cubicBezTo>
                          <a:pt x="850368" y="1134720"/>
                          <a:pt x="850368" y="1134720"/>
                          <a:pt x="850368" y="1134720"/>
                        </a:cubicBezTo>
                        <a:cubicBezTo>
                          <a:pt x="883092" y="1134720"/>
                          <a:pt x="893880" y="1156297"/>
                          <a:pt x="893880" y="1189022"/>
                        </a:cubicBezTo>
                        <a:cubicBezTo>
                          <a:pt x="893880" y="1428886"/>
                          <a:pt x="893880" y="1428886"/>
                          <a:pt x="893880" y="1428886"/>
                        </a:cubicBezTo>
                        <a:cubicBezTo>
                          <a:pt x="893880" y="1450463"/>
                          <a:pt x="883092" y="1472400"/>
                          <a:pt x="850368" y="1472400"/>
                        </a:cubicBezTo>
                        <a:cubicBezTo>
                          <a:pt x="610872" y="1472400"/>
                          <a:pt x="610872" y="1472400"/>
                          <a:pt x="610872" y="1472400"/>
                        </a:cubicBezTo>
                        <a:cubicBezTo>
                          <a:pt x="588936" y="1472400"/>
                          <a:pt x="567360" y="1450463"/>
                          <a:pt x="567360" y="1428886"/>
                        </a:cubicBezTo>
                        <a:cubicBezTo>
                          <a:pt x="567360" y="1189022"/>
                          <a:pt x="567360" y="1189022"/>
                          <a:pt x="567360" y="1189022"/>
                        </a:cubicBezTo>
                        <a:cubicBezTo>
                          <a:pt x="567360" y="1156297"/>
                          <a:pt x="588936" y="1134720"/>
                          <a:pt x="610872" y="1134720"/>
                        </a:cubicBezTo>
                        <a:close/>
                        <a:moveTo>
                          <a:pt x="43512" y="1134720"/>
                        </a:moveTo>
                        <a:cubicBezTo>
                          <a:pt x="283368" y="1134720"/>
                          <a:pt x="283368" y="1134720"/>
                          <a:pt x="283368" y="1134720"/>
                        </a:cubicBezTo>
                        <a:cubicBezTo>
                          <a:pt x="305304" y="1134720"/>
                          <a:pt x="326880" y="1156297"/>
                          <a:pt x="326880" y="1189022"/>
                        </a:cubicBezTo>
                        <a:cubicBezTo>
                          <a:pt x="326880" y="1428886"/>
                          <a:pt x="326880" y="1428886"/>
                          <a:pt x="326880" y="1428886"/>
                        </a:cubicBezTo>
                        <a:cubicBezTo>
                          <a:pt x="326880" y="1450463"/>
                          <a:pt x="305304" y="1472400"/>
                          <a:pt x="283368" y="1472400"/>
                        </a:cubicBezTo>
                        <a:cubicBezTo>
                          <a:pt x="43512" y="1472400"/>
                          <a:pt x="43512" y="1472400"/>
                          <a:pt x="43512" y="1472400"/>
                        </a:cubicBezTo>
                        <a:cubicBezTo>
                          <a:pt x="21576" y="1472400"/>
                          <a:pt x="0" y="1450463"/>
                          <a:pt x="0" y="1428886"/>
                        </a:cubicBezTo>
                        <a:cubicBezTo>
                          <a:pt x="0" y="1189022"/>
                          <a:pt x="0" y="1189022"/>
                          <a:pt x="0" y="1189022"/>
                        </a:cubicBezTo>
                        <a:cubicBezTo>
                          <a:pt x="0" y="1156297"/>
                          <a:pt x="21576" y="1134720"/>
                          <a:pt x="43512" y="1134720"/>
                        </a:cubicBezTo>
                        <a:close/>
                        <a:moveTo>
                          <a:pt x="1178232" y="0"/>
                        </a:moveTo>
                        <a:cubicBezTo>
                          <a:pt x="1417737" y="0"/>
                          <a:pt x="1417737" y="0"/>
                          <a:pt x="1417737" y="0"/>
                        </a:cubicBezTo>
                        <a:cubicBezTo>
                          <a:pt x="1450462" y="0"/>
                          <a:pt x="1472399" y="21577"/>
                          <a:pt x="1472399" y="43873"/>
                        </a:cubicBezTo>
                        <a:cubicBezTo>
                          <a:pt x="1472399" y="283378"/>
                          <a:pt x="1472399" y="283378"/>
                          <a:pt x="1472399" y="283378"/>
                        </a:cubicBezTo>
                        <a:cubicBezTo>
                          <a:pt x="1472399" y="316103"/>
                          <a:pt x="1450462" y="338040"/>
                          <a:pt x="1417737" y="338040"/>
                        </a:cubicBezTo>
                        <a:cubicBezTo>
                          <a:pt x="1178232" y="338040"/>
                          <a:pt x="1178232" y="338040"/>
                          <a:pt x="1178232" y="338040"/>
                        </a:cubicBezTo>
                        <a:cubicBezTo>
                          <a:pt x="1156296" y="338040"/>
                          <a:pt x="1134359" y="316103"/>
                          <a:pt x="1134359" y="283378"/>
                        </a:cubicBezTo>
                        <a:cubicBezTo>
                          <a:pt x="1134359" y="43873"/>
                          <a:pt x="1134359" y="43873"/>
                          <a:pt x="1134359" y="43873"/>
                        </a:cubicBezTo>
                        <a:cubicBezTo>
                          <a:pt x="1134359" y="21577"/>
                          <a:pt x="1156296" y="0"/>
                          <a:pt x="1178232" y="0"/>
                        </a:cubicBezTo>
                        <a:close/>
                        <a:moveTo>
                          <a:pt x="610872" y="0"/>
                        </a:moveTo>
                        <a:cubicBezTo>
                          <a:pt x="850368" y="0"/>
                          <a:pt x="850368" y="0"/>
                          <a:pt x="850368" y="0"/>
                        </a:cubicBezTo>
                        <a:cubicBezTo>
                          <a:pt x="883092" y="0"/>
                          <a:pt x="893880" y="21577"/>
                          <a:pt x="893880" y="43873"/>
                        </a:cubicBezTo>
                        <a:cubicBezTo>
                          <a:pt x="893880" y="283378"/>
                          <a:pt x="893880" y="283378"/>
                          <a:pt x="893880" y="283378"/>
                        </a:cubicBezTo>
                        <a:cubicBezTo>
                          <a:pt x="893880" y="316103"/>
                          <a:pt x="883092" y="338040"/>
                          <a:pt x="850368" y="338040"/>
                        </a:cubicBezTo>
                        <a:cubicBezTo>
                          <a:pt x="610872" y="338040"/>
                          <a:pt x="610872" y="338040"/>
                          <a:pt x="610872" y="338040"/>
                        </a:cubicBezTo>
                        <a:cubicBezTo>
                          <a:pt x="588936" y="338040"/>
                          <a:pt x="567360" y="316103"/>
                          <a:pt x="567360" y="283378"/>
                        </a:cubicBezTo>
                        <a:cubicBezTo>
                          <a:pt x="567360" y="43873"/>
                          <a:pt x="567360" y="43873"/>
                          <a:pt x="567360" y="43873"/>
                        </a:cubicBezTo>
                        <a:cubicBezTo>
                          <a:pt x="567360" y="21577"/>
                          <a:pt x="588936" y="0"/>
                          <a:pt x="610872" y="0"/>
                        </a:cubicBezTo>
                        <a:close/>
                        <a:moveTo>
                          <a:pt x="43512" y="0"/>
                        </a:moveTo>
                        <a:cubicBezTo>
                          <a:pt x="283368" y="0"/>
                          <a:pt x="283368" y="0"/>
                          <a:pt x="283368" y="0"/>
                        </a:cubicBezTo>
                        <a:cubicBezTo>
                          <a:pt x="305304" y="0"/>
                          <a:pt x="326880" y="21577"/>
                          <a:pt x="326880" y="43873"/>
                        </a:cubicBezTo>
                        <a:cubicBezTo>
                          <a:pt x="326880" y="283378"/>
                          <a:pt x="326880" y="283378"/>
                          <a:pt x="326880" y="283378"/>
                        </a:cubicBezTo>
                        <a:cubicBezTo>
                          <a:pt x="326880" y="316103"/>
                          <a:pt x="305304" y="338040"/>
                          <a:pt x="283368" y="338040"/>
                        </a:cubicBezTo>
                        <a:cubicBezTo>
                          <a:pt x="43512" y="338040"/>
                          <a:pt x="43512" y="338040"/>
                          <a:pt x="43512" y="338040"/>
                        </a:cubicBezTo>
                        <a:cubicBezTo>
                          <a:pt x="21576" y="338040"/>
                          <a:pt x="0" y="316103"/>
                          <a:pt x="0" y="283378"/>
                        </a:cubicBezTo>
                        <a:cubicBezTo>
                          <a:pt x="0" y="43873"/>
                          <a:pt x="0" y="43873"/>
                          <a:pt x="0" y="43873"/>
                        </a:cubicBezTo>
                        <a:cubicBezTo>
                          <a:pt x="0" y="21577"/>
                          <a:pt x="21576" y="0"/>
                          <a:pt x="43512" y="0"/>
                        </a:cubicBezTo>
                        <a:close/>
                      </a:path>
                    </a:pathLst>
                  </a:custGeom>
                  <a:solidFill>
                    <a:schemeClr val="accent1">
                      <a:lumMod val="7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grpSp>
          </p:grpSp>
          <p:sp>
            <p:nvSpPr>
              <p:cNvPr id="210" name="Freeform: Shape 796">
                <a:extLst>
                  <a:ext uri="{FF2B5EF4-FFF2-40B4-BE49-F238E27FC236}">
                    <a16:creationId xmlns:a16="http://schemas.microsoft.com/office/drawing/2014/main" id="{F87C388C-A3FE-C54C-A58C-3D622DB5E995}"/>
                  </a:ext>
                </a:extLst>
              </p:cNvPr>
              <p:cNvSpPr/>
              <p:nvPr/>
            </p:nvSpPr>
            <p:spPr>
              <a:xfrm>
                <a:off x="943825" y="1679662"/>
                <a:ext cx="477370" cy="109480"/>
              </a:xfrm>
              <a:custGeom>
                <a:avLst/>
                <a:gdLst>
                  <a:gd name="connsiteX0" fmla="*/ 381997 w 477370"/>
                  <a:gd name="connsiteY0" fmla="*/ 0 h 109480"/>
                  <a:gd name="connsiteX1" fmla="*/ 459648 w 477370"/>
                  <a:gd name="connsiteY1" fmla="*/ 0 h 109480"/>
                  <a:gd name="connsiteX2" fmla="*/ 477370 w 477370"/>
                  <a:gd name="connsiteY2" fmla="*/ 17605 h 109480"/>
                  <a:gd name="connsiteX3" fmla="*/ 477370 w 477370"/>
                  <a:gd name="connsiteY3" fmla="*/ 95372 h 109480"/>
                  <a:gd name="connsiteX4" fmla="*/ 459648 w 477370"/>
                  <a:gd name="connsiteY4" fmla="*/ 109480 h 109480"/>
                  <a:gd name="connsiteX5" fmla="*/ 381997 w 477370"/>
                  <a:gd name="connsiteY5" fmla="*/ 109480 h 109480"/>
                  <a:gd name="connsiteX6" fmla="*/ 367773 w 477370"/>
                  <a:gd name="connsiteY6" fmla="*/ 95372 h 109480"/>
                  <a:gd name="connsiteX7" fmla="*/ 367773 w 477370"/>
                  <a:gd name="connsiteY7" fmla="*/ 17605 h 109480"/>
                  <a:gd name="connsiteX8" fmla="*/ 381997 w 477370"/>
                  <a:gd name="connsiteY8" fmla="*/ 0 h 109480"/>
                  <a:gd name="connsiteX9" fmla="*/ 198052 w 477370"/>
                  <a:gd name="connsiteY9" fmla="*/ 0 h 109480"/>
                  <a:gd name="connsiteX10" fmla="*/ 275700 w 477370"/>
                  <a:gd name="connsiteY10" fmla="*/ 0 h 109480"/>
                  <a:gd name="connsiteX11" fmla="*/ 289807 w 477370"/>
                  <a:gd name="connsiteY11" fmla="*/ 17605 h 109480"/>
                  <a:gd name="connsiteX12" fmla="*/ 289807 w 477370"/>
                  <a:gd name="connsiteY12" fmla="*/ 95372 h 109480"/>
                  <a:gd name="connsiteX13" fmla="*/ 275700 w 477370"/>
                  <a:gd name="connsiteY13" fmla="*/ 109480 h 109480"/>
                  <a:gd name="connsiteX14" fmla="*/ 198052 w 477370"/>
                  <a:gd name="connsiteY14" fmla="*/ 109480 h 109480"/>
                  <a:gd name="connsiteX15" fmla="*/ 183945 w 477370"/>
                  <a:gd name="connsiteY15" fmla="*/ 95372 h 109480"/>
                  <a:gd name="connsiteX16" fmla="*/ 183945 w 477370"/>
                  <a:gd name="connsiteY16" fmla="*/ 17605 h 109480"/>
                  <a:gd name="connsiteX17" fmla="*/ 198052 w 477370"/>
                  <a:gd name="connsiteY17" fmla="*/ 0 h 109480"/>
                  <a:gd name="connsiteX18" fmla="*/ 14107 w 477370"/>
                  <a:gd name="connsiteY18" fmla="*/ 0 h 109480"/>
                  <a:gd name="connsiteX19" fmla="*/ 91872 w 477370"/>
                  <a:gd name="connsiteY19" fmla="*/ 0 h 109480"/>
                  <a:gd name="connsiteX20" fmla="*/ 105979 w 477370"/>
                  <a:gd name="connsiteY20" fmla="*/ 17605 h 109480"/>
                  <a:gd name="connsiteX21" fmla="*/ 105979 w 477370"/>
                  <a:gd name="connsiteY21" fmla="*/ 95372 h 109480"/>
                  <a:gd name="connsiteX22" fmla="*/ 91872 w 477370"/>
                  <a:gd name="connsiteY22" fmla="*/ 109480 h 109480"/>
                  <a:gd name="connsiteX23" fmla="*/ 14107 w 477370"/>
                  <a:gd name="connsiteY23" fmla="*/ 109480 h 109480"/>
                  <a:gd name="connsiteX24" fmla="*/ 0 w 477370"/>
                  <a:gd name="connsiteY24" fmla="*/ 95372 h 109480"/>
                  <a:gd name="connsiteX25" fmla="*/ 0 w 477370"/>
                  <a:gd name="connsiteY25" fmla="*/ 17605 h 109480"/>
                  <a:gd name="connsiteX26" fmla="*/ 14107 w 477370"/>
                  <a:gd name="connsiteY26" fmla="*/ 0 h 10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7370" h="109480">
                    <a:moveTo>
                      <a:pt x="381997" y="0"/>
                    </a:moveTo>
                    <a:cubicBezTo>
                      <a:pt x="459648" y="0"/>
                      <a:pt x="459648" y="0"/>
                      <a:pt x="459648" y="0"/>
                    </a:cubicBezTo>
                    <a:cubicBezTo>
                      <a:pt x="470258" y="0"/>
                      <a:pt x="477370" y="6996"/>
                      <a:pt x="477370" y="17605"/>
                    </a:cubicBezTo>
                    <a:cubicBezTo>
                      <a:pt x="477370" y="95372"/>
                      <a:pt x="477370" y="95372"/>
                      <a:pt x="477370" y="95372"/>
                    </a:cubicBezTo>
                    <a:cubicBezTo>
                      <a:pt x="477370" y="102368"/>
                      <a:pt x="470258" y="109480"/>
                      <a:pt x="459648" y="109480"/>
                    </a:cubicBezTo>
                    <a:cubicBezTo>
                      <a:pt x="381997" y="109480"/>
                      <a:pt x="381997" y="109480"/>
                      <a:pt x="381997" y="109480"/>
                    </a:cubicBezTo>
                    <a:cubicBezTo>
                      <a:pt x="374885" y="109480"/>
                      <a:pt x="367773" y="102368"/>
                      <a:pt x="367773" y="95372"/>
                    </a:cubicBezTo>
                    <a:cubicBezTo>
                      <a:pt x="367773" y="17605"/>
                      <a:pt x="367773" y="17605"/>
                      <a:pt x="367773" y="17605"/>
                    </a:cubicBezTo>
                    <a:cubicBezTo>
                      <a:pt x="367773" y="6996"/>
                      <a:pt x="374885" y="0"/>
                      <a:pt x="381997" y="0"/>
                    </a:cubicBezTo>
                    <a:close/>
                    <a:moveTo>
                      <a:pt x="198052" y="0"/>
                    </a:moveTo>
                    <a:cubicBezTo>
                      <a:pt x="275700" y="0"/>
                      <a:pt x="275700" y="0"/>
                      <a:pt x="275700" y="0"/>
                    </a:cubicBezTo>
                    <a:cubicBezTo>
                      <a:pt x="286309" y="0"/>
                      <a:pt x="289807" y="6996"/>
                      <a:pt x="289807" y="17605"/>
                    </a:cubicBezTo>
                    <a:cubicBezTo>
                      <a:pt x="289807" y="95372"/>
                      <a:pt x="289807" y="95372"/>
                      <a:pt x="289807" y="95372"/>
                    </a:cubicBezTo>
                    <a:cubicBezTo>
                      <a:pt x="289807" y="102368"/>
                      <a:pt x="286309" y="109480"/>
                      <a:pt x="275700" y="109480"/>
                    </a:cubicBezTo>
                    <a:cubicBezTo>
                      <a:pt x="198052" y="109480"/>
                      <a:pt x="198052" y="109480"/>
                      <a:pt x="198052" y="109480"/>
                    </a:cubicBezTo>
                    <a:cubicBezTo>
                      <a:pt x="190940" y="109480"/>
                      <a:pt x="183945" y="102368"/>
                      <a:pt x="183945" y="95372"/>
                    </a:cubicBezTo>
                    <a:cubicBezTo>
                      <a:pt x="183945" y="17605"/>
                      <a:pt x="183945" y="17605"/>
                      <a:pt x="183945" y="17605"/>
                    </a:cubicBezTo>
                    <a:cubicBezTo>
                      <a:pt x="183945" y="6996"/>
                      <a:pt x="190940" y="0"/>
                      <a:pt x="198052" y="0"/>
                    </a:cubicBezTo>
                    <a:close/>
                    <a:moveTo>
                      <a:pt x="14107" y="0"/>
                    </a:moveTo>
                    <a:cubicBezTo>
                      <a:pt x="91872" y="0"/>
                      <a:pt x="91872" y="0"/>
                      <a:pt x="91872" y="0"/>
                    </a:cubicBezTo>
                    <a:cubicBezTo>
                      <a:pt x="98984" y="0"/>
                      <a:pt x="105979" y="6996"/>
                      <a:pt x="105979" y="17605"/>
                    </a:cubicBezTo>
                    <a:cubicBezTo>
                      <a:pt x="105979" y="95372"/>
                      <a:pt x="105979" y="95372"/>
                      <a:pt x="105979" y="95372"/>
                    </a:cubicBezTo>
                    <a:cubicBezTo>
                      <a:pt x="105979" y="102368"/>
                      <a:pt x="98984" y="109480"/>
                      <a:pt x="91872" y="109480"/>
                    </a:cubicBezTo>
                    <a:cubicBezTo>
                      <a:pt x="14107" y="109480"/>
                      <a:pt x="14107" y="109480"/>
                      <a:pt x="14107" y="109480"/>
                    </a:cubicBezTo>
                    <a:cubicBezTo>
                      <a:pt x="6995" y="109480"/>
                      <a:pt x="0" y="102368"/>
                      <a:pt x="0" y="95372"/>
                    </a:cubicBezTo>
                    <a:cubicBezTo>
                      <a:pt x="0" y="17605"/>
                      <a:pt x="0" y="17605"/>
                      <a:pt x="0" y="17605"/>
                    </a:cubicBezTo>
                    <a:cubicBezTo>
                      <a:pt x="0" y="6996"/>
                      <a:pt x="6995" y="0"/>
                      <a:pt x="14107" y="0"/>
                    </a:cubicBezTo>
                    <a:close/>
                  </a:path>
                </a:pathLst>
              </a:custGeom>
              <a:solidFill>
                <a:schemeClr val="accent1">
                  <a:lumMod val="40000"/>
                  <a:lumOff val="60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dirty="0">
                  <a:ln>
                    <a:noFill/>
                  </a:ln>
                  <a:latin typeface="Arial" pitchFamily="18"/>
                  <a:ea typeface="Arial Unicode MS" pitchFamily="2"/>
                  <a:cs typeface="Arial Unicode MS" pitchFamily="2"/>
                </a:endParaRPr>
              </a:p>
            </p:txBody>
          </p:sp>
        </p:grpSp>
        <p:sp>
          <p:nvSpPr>
            <p:cNvPr id="215" name="TextBox 214">
              <a:extLst>
                <a:ext uri="{FF2B5EF4-FFF2-40B4-BE49-F238E27FC236}">
                  <a16:creationId xmlns:a16="http://schemas.microsoft.com/office/drawing/2014/main" id="{9A0F760E-779B-AD45-B545-FC5086298CAA}"/>
                </a:ext>
              </a:extLst>
            </p:cNvPr>
            <p:cNvSpPr txBox="1"/>
            <p:nvPr/>
          </p:nvSpPr>
          <p:spPr>
            <a:xfrm>
              <a:off x="6924405" y="2117447"/>
              <a:ext cx="736376" cy="337835"/>
            </a:xfrm>
            <a:prstGeom prst="rect">
              <a:avLst/>
            </a:prstGeom>
            <a:noFill/>
          </p:spPr>
          <p:txBody>
            <a:bodyPr wrap="none" rtlCol="0">
              <a:spAutoFit/>
            </a:bodyPr>
            <a:lstStyle/>
            <a:p>
              <a:pPr algn="ctr"/>
              <a:r>
                <a:rPr lang="en-US" sz="900" dirty="0">
                  <a:solidFill>
                    <a:schemeClr val="bg2"/>
                  </a:solidFill>
                  <a:latin typeface="+mn-lt"/>
                </a:rPr>
                <a:t>Centralized </a:t>
              </a:r>
            </a:p>
            <a:p>
              <a:pPr algn="ctr"/>
              <a:r>
                <a:rPr lang="en-US" sz="900" dirty="0">
                  <a:solidFill>
                    <a:schemeClr val="bg2"/>
                  </a:solidFill>
                  <a:latin typeface="+mn-lt"/>
                </a:rPr>
                <a:t>DC</a:t>
              </a:r>
            </a:p>
          </p:txBody>
        </p:sp>
        <p:sp>
          <p:nvSpPr>
            <p:cNvPr id="216" name="TextBox 215">
              <a:extLst>
                <a:ext uri="{FF2B5EF4-FFF2-40B4-BE49-F238E27FC236}">
                  <a16:creationId xmlns:a16="http://schemas.microsoft.com/office/drawing/2014/main" id="{ED194A41-EF8C-6646-A257-D75F035FAC33}"/>
                </a:ext>
              </a:extLst>
            </p:cNvPr>
            <p:cNvSpPr txBox="1"/>
            <p:nvPr/>
          </p:nvSpPr>
          <p:spPr>
            <a:xfrm>
              <a:off x="6847488" y="2808832"/>
              <a:ext cx="531094" cy="211147"/>
            </a:xfrm>
            <a:prstGeom prst="rect">
              <a:avLst/>
            </a:prstGeom>
            <a:noFill/>
          </p:spPr>
          <p:txBody>
            <a:bodyPr wrap="none" rtlCol="0">
              <a:spAutoFit/>
            </a:bodyPr>
            <a:lstStyle/>
            <a:p>
              <a:pPr algn="ctr"/>
              <a:r>
                <a:rPr lang="en-US" sz="900" dirty="0">
                  <a:latin typeface="+mn-lt"/>
                </a:rPr>
                <a:t>Internet</a:t>
              </a:r>
            </a:p>
          </p:txBody>
        </p:sp>
        <p:sp>
          <p:nvSpPr>
            <p:cNvPr id="217" name="Rectangle 216">
              <a:extLst>
                <a:ext uri="{FF2B5EF4-FFF2-40B4-BE49-F238E27FC236}">
                  <a16:creationId xmlns:a16="http://schemas.microsoft.com/office/drawing/2014/main" id="{8BE4203B-60C3-E348-BAA7-B70939CD542C}"/>
                </a:ext>
              </a:extLst>
            </p:cNvPr>
            <p:cNvSpPr/>
            <p:nvPr/>
          </p:nvSpPr>
          <p:spPr>
            <a:xfrm>
              <a:off x="4825353"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Regional DC</a:t>
              </a:r>
            </a:p>
          </p:txBody>
        </p:sp>
        <p:sp>
          <p:nvSpPr>
            <p:cNvPr id="218" name="Rectangle 217">
              <a:extLst>
                <a:ext uri="{FF2B5EF4-FFF2-40B4-BE49-F238E27FC236}">
                  <a16:creationId xmlns:a16="http://schemas.microsoft.com/office/drawing/2014/main" id="{18D467D8-CA68-6A49-9BF6-CE930EAB2F2A}"/>
                </a:ext>
              </a:extLst>
            </p:cNvPr>
            <p:cNvSpPr/>
            <p:nvPr/>
          </p:nvSpPr>
          <p:spPr>
            <a:xfrm>
              <a:off x="3470824" y="3037150"/>
              <a:ext cx="1001422" cy="168918"/>
            </a:xfrm>
            <a:prstGeom prst="rect">
              <a:avLst/>
            </a:prstGeom>
          </p:spPr>
          <p:txBody>
            <a:bodyPr wrap="square">
              <a:spAutoFit/>
            </a:bodyPr>
            <a:lstStyle/>
            <a:p>
              <a:pPr algn="ctr" defTabSz="457189">
                <a:defRPr/>
              </a:pPr>
              <a:r>
                <a:rPr lang="en-US" sz="600" dirty="0">
                  <a:solidFill>
                    <a:srgbClr val="282828"/>
                  </a:solidFill>
                  <a:latin typeface="+mj-lt"/>
                </a:rPr>
                <a:t>MEC/CRAN Hub</a:t>
              </a:r>
            </a:p>
          </p:txBody>
        </p:sp>
        <p:pic>
          <p:nvPicPr>
            <p:cNvPr id="219" name="Picture 218">
              <a:extLst>
                <a:ext uri="{FF2B5EF4-FFF2-40B4-BE49-F238E27FC236}">
                  <a16:creationId xmlns:a16="http://schemas.microsoft.com/office/drawing/2014/main" id="{B4DAE914-6055-594F-BDAA-47BD44D8FB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28" y="2873450"/>
              <a:ext cx="157927" cy="157927"/>
            </a:xfrm>
            <a:prstGeom prst="rect">
              <a:avLst/>
            </a:prstGeom>
          </p:spPr>
        </p:pic>
        <p:pic>
          <p:nvPicPr>
            <p:cNvPr id="220" name="Picture 219">
              <a:extLst>
                <a:ext uri="{FF2B5EF4-FFF2-40B4-BE49-F238E27FC236}">
                  <a16:creationId xmlns:a16="http://schemas.microsoft.com/office/drawing/2014/main" id="{60A63F81-674D-664E-9BC0-2FBF529BE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6615" y="2880787"/>
              <a:ext cx="157927" cy="157927"/>
            </a:xfrm>
            <a:prstGeom prst="rect">
              <a:avLst/>
            </a:prstGeom>
          </p:spPr>
        </p:pic>
        <p:sp>
          <p:nvSpPr>
            <p:cNvPr id="4" name="Rectangle: Rounded Corners 3">
              <a:extLst>
                <a:ext uri="{FF2B5EF4-FFF2-40B4-BE49-F238E27FC236}">
                  <a16:creationId xmlns:a16="http://schemas.microsoft.com/office/drawing/2014/main" id="{21C9CB89-F326-48C1-86CD-C33122BA4583}"/>
                </a:ext>
              </a:extLst>
            </p:cNvPr>
            <p:cNvSpPr/>
            <p:nvPr/>
          </p:nvSpPr>
          <p:spPr>
            <a:xfrm>
              <a:off x="4892141"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223" name="Rectangle: Rounded Corners 222">
              <a:extLst>
                <a:ext uri="{FF2B5EF4-FFF2-40B4-BE49-F238E27FC236}">
                  <a16:creationId xmlns:a16="http://schemas.microsoft.com/office/drawing/2014/main" id="{D1F024EB-0F88-4018-8151-E98B475E1AB5}"/>
                </a:ext>
              </a:extLst>
            </p:cNvPr>
            <p:cNvSpPr/>
            <p:nvPr/>
          </p:nvSpPr>
          <p:spPr>
            <a:xfrm>
              <a:off x="6851804" y="1797978"/>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224" name="Rectangle: Rounded Corners 223">
              <a:extLst>
                <a:ext uri="{FF2B5EF4-FFF2-40B4-BE49-F238E27FC236}">
                  <a16:creationId xmlns:a16="http://schemas.microsoft.com/office/drawing/2014/main" id="{B5C6DA3E-F2DF-407E-BA0C-689FB335DB7B}"/>
                </a:ext>
              </a:extLst>
            </p:cNvPr>
            <p:cNvSpPr/>
            <p:nvPr/>
          </p:nvSpPr>
          <p:spPr>
            <a:xfrm>
              <a:off x="3527670" y="3183344"/>
              <a:ext cx="811658" cy="15781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dirty="0"/>
                <a:t>vEPC</a:t>
              </a:r>
            </a:p>
          </p:txBody>
        </p:sp>
        <p:sp>
          <p:nvSpPr>
            <p:cNvPr id="468" name="Oval 467">
              <a:extLst>
                <a:ext uri="{FF2B5EF4-FFF2-40B4-BE49-F238E27FC236}">
                  <a16:creationId xmlns:a16="http://schemas.microsoft.com/office/drawing/2014/main" id="{63B70D48-0F85-462E-A255-139AF8531ECF}"/>
                </a:ext>
              </a:extLst>
            </p:cNvPr>
            <p:cNvSpPr/>
            <p:nvPr/>
          </p:nvSpPr>
          <p:spPr>
            <a:xfrm>
              <a:off x="1011497" y="2373413"/>
              <a:ext cx="257863" cy="25786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Freeform 23">
              <a:extLst>
                <a:ext uri="{FF2B5EF4-FFF2-40B4-BE49-F238E27FC236}">
                  <a16:creationId xmlns:a16="http://schemas.microsoft.com/office/drawing/2014/main" id="{6887741F-C62C-4B37-8502-8647D5FECBB6}"/>
                </a:ext>
              </a:extLst>
            </p:cNvPr>
            <p:cNvSpPr>
              <a:spLocks noChangeArrowheads="1"/>
            </p:cNvSpPr>
            <p:nvPr/>
          </p:nvSpPr>
          <p:spPr bwMode="auto">
            <a:xfrm>
              <a:off x="1120189" y="2455438"/>
              <a:ext cx="87776" cy="98451"/>
            </a:xfrm>
            <a:custGeom>
              <a:avLst/>
              <a:gdLst>
                <a:gd name="T0" fmla="*/ 267283 w 981"/>
                <a:gd name="T1" fmla="*/ 159338 h 1099"/>
                <a:gd name="T2" fmla="*/ 267283 w 981"/>
                <a:gd name="T3" fmla="*/ 159338 h 1099"/>
                <a:gd name="T4" fmla="*/ 312548 w 981"/>
                <a:gd name="T5" fmla="*/ 159338 h 1099"/>
                <a:gd name="T6" fmla="*/ 327277 w 981"/>
                <a:gd name="T7" fmla="*/ 161496 h 1099"/>
                <a:gd name="T8" fmla="*/ 351706 w 981"/>
                <a:gd name="T9" fmla="*/ 190630 h 1099"/>
                <a:gd name="T10" fmla="*/ 352066 w 981"/>
                <a:gd name="T11" fmla="*/ 200341 h 1099"/>
                <a:gd name="T12" fmla="*/ 327996 w 981"/>
                <a:gd name="T13" fmla="*/ 296375 h 1099"/>
                <a:gd name="T14" fmla="*/ 271234 w 981"/>
                <a:gd name="T15" fmla="*/ 361118 h 1099"/>
                <a:gd name="T16" fmla="*/ 201899 w 981"/>
                <a:gd name="T17" fmla="*/ 389892 h 1099"/>
                <a:gd name="T18" fmla="*/ 99153 w 981"/>
                <a:gd name="T19" fmla="*/ 370469 h 1099"/>
                <a:gd name="T20" fmla="*/ 36284 w 981"/>
                <a:gd name="T21" fmla="*/ 311842 h 1099"/>
                <a:gd name="T22" fmla="*/ 4670 w 981"/>
                <a:gd name="T23" fmla="*/ 222641 h 1099"/>
                <a:gd name="T24" fmla="*/ 22633 w 981"/>
                <a:gd name="T25" fmla="*/ 108983 h 1099"/>
                <a:gd name="T26" fmla="*/ 75083 w 981"/>
                <a:gd name="T27" fmla="*/ 41003 h 1099"/>
                <a:gd name="T28" fmla="*/ 152682 w 981"/>
                <a:gd name="T29" fmla="*/ 6115 h 1099"/>
                <a:gd name="T30" fmla="*/ 263690 w 981"/>
                <a:gd name="T31" fmla="*/ 29134 h 1099"/>
                <a:gd name="T32" fmla="*/ 284886 w 981"/>
                <a:gd name="T33" fmla="*/ 45320 h 1099"/>
                <a:gd name="T34" fmla="*/ 297819 w 981"/>
                <a:gd name="T35" fmla="*/ 74813 h 1099"/>
                <a:gd name="T36" fmla="*/ 240339 w 981"/>
                <a:gd name="T37" fmla="*/ 106825 h 1099"/>
                <a:gd name="T38" fmla="*/ 229920 w 981"/>
                <a:gd name="T39" fmla="*/ 99631 h 1099"/>
                <a:gd name="T40" fmla="*/ 197588 w 981"/>
                <a:gd name="T41" fmla="*/ 83805 h 1099"/>
                <a:gd name="T42" fmla="*/ 142982 w 981"/>
                <a:gd name="T43" fmla="*/ 88841 h 1099"/>
                <a:gd name="T44" fmla="*/ 109212 w 981"/>
                <a:gd name="T45" fmla="*/ 115097 h 1099"/>
                <a:gd name="T46" fmla="*/ 81550 w 981"/>
                <a:gd name="T47" fmla="*/ 177322 h 1099"/>
                <a:gd name="T48" fmla="*/ 86939 w 981"/>
                <a:gd name="T49" fmla="*/ 239546 h 1099"/>
                <a:gd name="T50" fmla="*/ 110649 w 981"/>
                <a:gd name="T51" fmla="*/ 282708 h 1099"/>
                <a:gd name="T52" fmla="*/ 157352 w 981"/>
                <a:gd name="T53" fmla="*/ 311842 h 1099"/>
                <a:gd name="T54" fmla="*/ 210880 w 981"/>
                <a:gd name="T55" fmla="*/ 307166 h 1099"/>
                <a:gd name="T56" fmla="*/ 239261 w 981"/>
                <a:gd name="T57" fmla="*/ 287383 h 1099"/>
                <a:gd name="T58" fmla="*/ 268001 w 981"/>
                <a:gd name="T59" fmla="*/ 240265 h 1099"/>
                <a:gd name="T60" fmla="*/ 265127 w 981"/>
                <a:gd name="T61" fmla="*/ 236309 h 1099"/>
                <a:gd name="T62" fmla="*/ 241776 w 981"/>
                <a:gd name="T63" fmla="*/ 235590 h 1099"/>
                <a:gd name="T64" fmla="*/ 218065 w 981"/>
                <a:gd name="T65" fmla="*/ 235590 h 1099"/>
                <a:gd name="T66" fmla="*/ 181781 w 981"/>
                <a:gd name="T67" fmla="*/ 202859 h 1099"/>
                <a:gd name="T68" fmla="*/ 208725 w 981"/>
                <a:gd name="T69" fmla="*/ 160776 h 1099"/>
                <a:gd name="T70" fmla="*/ 221298 w 981"/>
                <a:gd name="T71" fmla="*/ 159338 h 1099"/>
                <a:gd name="T72" fmla="*/ 253631 w 981"/>
                <a:gd name="T73" fmla="*/ 159338 h 1099"/>
                <a:gd name="T74" fmla="*/ 267283 w 981"/>
                <a:gd name="T75" fmla="*/ 159338 h 10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1" h="1099">
                  <a:moveTo>
                    <a:pt x="744" y="443"/>
                  </a:moveTo>
                  <a:lnTo>
                    <a:pt x="744" y="443"/>
                  </a:lnTo>
                  <a:cubicBezTo>
                    <a:pt x="786" y="443"/>
                    <a:pt x="829" y="443"/>
                    <a:pt x="870" y="443"/>
                  </a:cubicBezTo>
                  <a:cubicBezTo>
                    <a:pt x="884" y="443"/>
                    <a:pt x="898" y="444"/>
                    <a:pt x="911" y="449"/>
                  </a:cubicBezTo>
                  <a:cubicBezTo>
                    <a:pt x="948" y="466"/>
                    <a:pt x="971" y="492"/>
                    <a:pt x="979" y="530"/>
                  </a:cubicBezTo>
                  <a:cubicBezTo>
                    <a:pt x="980" y="539"/>
                    <a:pt x="980" y="548"/>
                    <a:pt x="980" y="557"/>
                  </a:cubicBezTo>
                  <a:cubicBezTo>
                    <a:pt x="977" y="651"/>
                    <a:pt x="957" y="740"/>
                    <a:pt x="913" y="824"/>
                  </a:cubicBezTo>
                  <a:cubicBezTo>
                    <a:pt x="875" y="896"/>
                    <a:pt x="823" y="957"/>
                    <a:pt x="755" y="1004"/>
                  </a:cubicBezTo>
                  <a:cubicBezTo>
                    <a:pt x="697" y="1046"/>
                    <a:pt x="633" y="1073"/>
                    <a:pt x="562" y="1084"/>
                  </a:cubicBezTo>
                  <a:cubicBezTo>
                    <a:pt x="461" y="1098"/>
                    <a:pt x="366" y="1081"/>
                    <a:pt x="276" y="1030"/>
                  </a:cubicBezTo>
                  <a:cubicBezTo>
                    <a:pt x="204" y="991"/>
                    <a:pt x="147" y="936"/>
                    <a:pt x="101" y="867"/>
                  </a:cubicBezTo>
                  <a:cubicBezTo>
                    <a:pt x="52" y="792"/>
                    <a:pt x="25" y="709"/>
                    <a:pt x="13" y="619"/>
                  </a:cubicBezTo>
                  <a:cubicBezTo>
                    <a:pt x="0" y="508"/>
                    <a:pt x="17" y="404"/>
                    <a:pt x="63" y="303"/>
                  </a:cubicBezTo>
                  <a:cubicBezTo>
                    <a:pt x="97" y="228"/>
                    <a:pt x="146" y="166"/>
                    <a:pt x="209" y="114"/>
                  </a:cubicBezTo>
                  <a:cubicBezTo>
                    <a:pt x="273" y="63"/>
                    <a:pt x="343" y="29"/>
                    <a:pt x="425" y="17"/>
                  </a:cubicBezTo>
                  <a:cubicBezTo>
                    <a:pt x="535" y="0"/>
                    <a:pt x="639" y="20"/>
                    <a:pt x="734" y="81"/>
                  </a:cubicBezTo>
                  <a:cubicBezTo>
                    <a:pt x="755" y="94"/>
                    <a:pt x="775" y="109"/>
                    <a:pt x="793" y="126"/>
                  </a:cubicBezTo>
                  <a:cubicBezTo>
                    <a:pt x="818" y="147"/>
                    <a:pt x="829" y="175"/>
                    <a:pt x="829" y="208"/>
                  </a:cubicBezTo>
                  <a:cubicBezTo>
                    <a:pt x="826" y="288"/>
                    <a:pt x="738" y="337"/>
                    <a:pt x="669" y="297"/>
                  </a:cubicBezTo>
                  <a:cubicBezTo>
                    <a:pt x="659" y="291"/>
                    <a:pt x="650" y="283"/>
                    <a:pt x="640" y="277"/>
                  </a:cubicBezTo>
                  <a:cubicBezTo>
                    <a:pt x="613" y="256"/>
                    <a:pt x="584" y="241"/>
                    <a:pt x="550" y="233"/>
                  </a:cubicBezTo>
                  <a:cubicBezTo>
                    <a:pt x="498" y="219"/>
                    <a:pt x="447" y="224"/>
                    <a:pt x="398" y="247"/>
                  </a:cubicBezTo>
                  <a:cubicBezTo>
                    <a:pt x="360" y="264"/>
                    <a:pt x="330" y="290"/>
                    <a:pt x="304" y="320"/>
                  </a:cubicBezTo>
                  <a:cubicBezTo>
                    <a:pt x="261" y="371"/>
                    <a:pt x="236" y="429"/>
                    <a:pt x="227" y="493"/>
                  </a:cubicBezTo>
                  <a:cubicBezTo>
                    <a:pt x="219" y="551"/>
                    <a:pt x="222" y="610"/>
                    <a:pt x="242" y="666"/>
                  </a:cubicBezTo>
                  <a:cubicBezTo>
                    <a:pt x="256" y="711"/>
                    <a:pt x="278" y="750"/>
                    <a:pt x="308" y="786"/>
                  </a:cubicBezTo>
                  <a:cubicBezTo>
                    <a:pt x="343" y="825"/>
                    <a:pt x="386" y="853"/>
                    <a:pt x="438" y="867"/>
                  </a:cubicBezTo>
                  <a:cubicBezTo>
                    <a:pt x="489" y="880"/>
                    <a:pt x="539" y="876"/>
                    <a:pt x="587" y="854"/>
                  </a:cubicBezTo>
                  <a:cubicBezTo>
                    <a:pt x="617" y="842"/>
                    <a:pt x="643" y="822"/>
                    <a:pt x="666" y="799"/>
                  </a:cubicBezTo>
                  <a:cubicBezTo>
                    <a:pt x="705" y="763"/>
                    <a:pt x="731" y="718"/>
                    <a:pt x="746" y="668"/>
                  </a:cubicBezTo>
                  <a:cubicBezTo>
                    <a:pt x="748" y="662"/>
                    <a:pt x="744" y="657"/>
                    <a:pt x="738" y="657"/>
                  </a:cubicBezTo>
                  <a:cubicBezTo>
                    <a:pt x="717" y="657"/>
                    <a:pt x="695" y="655"/>
                    <a:pt x="673" y="655"/>
                  </a:cubicBezTo>
                  <a:cubicBezTo>
                    <a:pt x="651" y="655"/>
                    <a:pt x="628" y="655"/>
                    <a:pt x="607" y="655"/>
                  </a:cubicBezTo>
                  <a:cubicBezTo>
                    <a:pt x="559" y="655"/>
                    <a:pt x="512" y="616"/>
                    <a:pt x="506" y="564"/>
                  </a:cubicBezTo>
                  <a:cubicBezTo>
                    <a:pt x="500" y="508"/>
                    <a:pt x="532" y="463"/>
                    <a:pt x="581" y="447"/>
                  </a:cubicBezTo>
                  <a:cubicBezTo>
                    <a:pt x="591" y="443"/>
                    <a:pt x="604" y="443"/>
                    <a:pt x="616" y="443"/>
                  </a:cubicBezTo>
                  <a:cubicBezTo>
                    <a:pt x="646" y="443"/>
                    <a:pt x="676" y="443"/>
                    <a:pt x="706" y="443"/>
                  </a:cubicBezTo>
                  <a:cubicBezTo>
                    <a:pt x="718" y="443"/>
                    <a:pt x="732" y="443"/>
                    <a:pt x="744" y="443"/>
                  </a:cubicBezTo>
                </a:path>
              </a:pathLst>
            </a:custGeom>
            <a:solidFill>
              <a:srgbClr val="6C7384"/>
            </a:solidFill>
            <a:ln>
              <a:noFill/>
            </a:ln>
            <a:effectLst/>
          </p:spPr>
          <p:txBody>
            <a:bodyPr wrap="none" anchor="ctr"/>
            <a:lstStyle/>
            <a:p>
              <a:endParaRPr lang="en-US" dirty="0"/>
            </a:p>
          </p:txBody>
        </p:sp>
        <p:sp>
          <p:nvSpPr>
            <p:cNvPr id="931" name="Arc 930">
              <a:extLst>
                <a:ext uri="{FF2B5EF4-FFF2-40B4-BE49-F238E27FC236}">
                  <a16:creationId xmlns:a16="http://schemas.microsoft.com/office/drawing/2014/main" id="{BFB9DB37-8D6A-4FC1-92CF-C16755D8F1FC}"/>
                </a:ext>
              </a:extLst>
            </p:cNvPr>
            <p:cNvSpPr/>
            <p:nvPr/>
          </p:nvSpPr>
          <p:spPr>
            <a:xfrm rot="16200000">
              <a:off x="1122968" y="2272207"/>
              <a:ext cx="214533" cy="214533"/>
            </a:xfrm>
            <a:prstGeom prst="arc">
              <a:avLst/>
            </a:prstGeom>
            <a:ln w="2222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933" name="Picture 932">
              <a:extLst>
                <a:ext uri="{FF2B5EF4-FFF2-40B4-BE49-F238E27FC236}">
                  <a16:creationId xmlns:a16="http://schemas.microsoft.com/office/drawing/2014/main" id="{4610FB2E-0371-4095-90DD-54BD4D642126}"/>
                </a:ext>
              </a:extLst>
            </p:cNvPr>
            <p:cNvPicPr>
              <a:picLocks noChangeAspect="1"/>
            </p:cNvPicPr>
            <p:nvPr/>
          </p:nvPicPr>
          <p:blipFill>
            <a:blip r:embed="rId5">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59326" y="2457842"/>
              <a:ext cx="59710" cy="94031"/>
            </a:xfrm>
            <a:prstGeom prst="rect">
              <a:avLst/>
            </a:prstGeom>
          </p:spPr>
        </p:pic>
      </p:grpSp>
      <p:sp>
        <p:nvSpPr>
          <p:cNvPr id="201" name="Rectangle 200">
            <a:extLst>
              <a:ext uri="{FF2B5EF4-FFF2-40B4-BE49-F238E27FC236}">
                <a16:creationId xmlns:a16="http://schemas.microsoft.com/office/drawing/2014/main" id="{EC08BCEF-0D76-4578-B3AB-22A2944AAB23}"/>
              </a:ext>
            </a:extLst>
          </p:cNvPr>
          <p:cNvSpPr/>
          <p:nvPr/>
        </p:nvSpPr>
        <p:spPr>
          <a:xfrm flipH="1">
            <a:off x="732672" y="1749440"/>
            <a:ext cx="4143268" cy="1606923"/>
          </a:xfrm>
          <a:prstGeom prst="rect">
            <a:avLst/>
          </a:prstGeom>
          <a:gradFill>
            <a:gsLst>
              <a:gs pos="0">
                <a:schemeClr val="accent1">
                  <a:lumMod val="5000"/>
                  <a:lumOff val="95000"/>
                  <a:alpha val="0"/>
                </a:schemeClr>
              </a:gs>
              <a:gs pos="12000">
                <a:schemeClr val="accent4">
                  <a:alpha val="60000"/>
                </a:schemeClr>
              </a:gs>
              <a:gs pos="100000">
                <a:schemeClr val="accent4">
                  <a:alpha val="75000"/>
                </a:schemeClr>
              </a:gs>
            </a:gsLst>
            <a:lin ang="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1" name="Rectangle 220">
            <a:extLst>
              <a:ext uri="{FF2B5EF4-FFF2-40B4-BE49-F238E27FC236}">
                <a16:creationId xmlns:a16="http://schemas.microsoft.com/office/drawing/2014/main" id="{85B5D98D-0635-4241-A5D8-01401122EDBB}"/>
              </a:ext>
            </a:extLst>
          </p:cNvPr>
          <p:cNvSpPr/>
          <p:nvPr/>
        </p:nvSpPr>
        <p:spPr>
          <a:xfrm>
            <a:off x="1789987" y="4171027"/>
            <a:ext cx="5945724" cy="347185"/>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
        <p:nvSpPr>
          <p:cNvPr id="222" name="Rectangle 221">
            <a:extLst>
              <a:ext uri="{FF2B5EF4-FFF2-40B4-BE49-F238E27FC236}">
                <a16:creationId xmlns:a16="http://schemas.microsoft.com/office/drawing/2014/main" id="{552D17C2-84BE-4ED5-8817-DA6FE9CFEF2C}"/>
              </a:ext>
            </a:extLst>
          </p:cNvPr>
          <p:cNvSpPr/>
          <p:nvPr/>
        </p:nvSpPr>
        <p:spPr>
          <a:xfrm>
            <a:off x="1789987" y="1242865"/>
            <a:ext cx="5945724" cy="488854"/>
          </a:xfrm>
          <a:prstGeom prst="rect">
            <a:avLst/>
          </a:prstGeom>
          <a:solidFill>
            <a:schemeClr val="bg2">
              <a:alpha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dirty="0"/>
          </a:p>
        </p:txBody>
      </p:sp>
    </p:spTree>
    <p:extLst>
      <p:ext uri="{BB962C8B-B14F-4D97-AF65-F5344CB8AC3E}">
        <p14:creationId xmlns:p14="http://schemas.microsoft.com/office/powerpoint/2010/main" val="381129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01"/>
                                        </p:tgtEl>
                                        <p:attrNameLst>
                                          <p:attrName>style.visibility</p:attrName>
                                        </p:attrNameLst>
                                      </p:cBhvr>
                                      <p:to>
                                        <p:strVal val="visible"/>
                                      </p:to>
                                    </p:set>
                                    <p:animEffect transition="in" filter="wipe(left)">
                                      <p:cBhvr>
                                        <p:cTn id="7" dur="500"/>
                                        <p:tgtEl>
                                          <p:spTgt spid="2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84"/>
          <p:cNvSpPr txBox="1">
            <a:spLocks/>
          </p:cNvSpPr>
          <p:nvPr/>
        </p:nvSpPr>
        <p:spPr bwMode="auto">
          <a:xfrm>
            <a:off x="362204" y="3255590"/>
            <a:ext cx="3827463" cy="18288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a:t>NCS 5500 Series Routers</a:t>
            </a:r>
          </a:p>
        </p:txBody>
      </p:sp>
      <p:grpSp>
        <p:nvGrpSpPr>
          <p:cNvPr id="13" name="Group 12"/>
          <p:cNvGrpSpPr/>
          <p:nvPr/>
        </p:nvGrpSpPr>
        <p:grpSpPr>
          <a:xfrm>
            <a:off x="6393077" y="302107"/>
            <a:ext cx="914011" cy="681369"/>
            <a:chOff x="7306495" y="267381"/>
            <a:chExt cx="914011" cy="681369"/>
          </a:xfrm>
        </p:grpSpPr>
        <p:pic>
          <p:nvPicPr>
            <p:cNvPr id="14" name="Picture 13">
              <a:extLst>
                <a:ext uri="{FF2B5EF4-FFF2-40B4-BE49-F238E27FC236}">
                  <a16:creationId xmlns:a16="http://schemas.microsoft.com/office/drawing/2014/main" id="{B22989E0-EBEA-0A44-8443-3F15084231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31715" y="267381"/>
              <a:ext cx="454460" cy="454460"/>
            </a:xfrm>
            <a:prstGeom prst="rect">
              <a:avLst/>
            </a:prstGeom>
          </p:spPr>
        </p:pic>
        <p:sp>
          <p:nvSpPr>
            <p:cNvPr id="15" name="TextBox 14">
              <a:extLst>
                <a:ext uri="{FF2B5EF4-FFF2-40B4-BE49-F238E27FC236}">
                  <a16:creationId xmlns:a16="http://schemas.microsoft.com/office/drawing/2014/main" id="{56742AE6-9499-4A4D-8233-ABA6C2F04477}"/>
                </a:ext>
              </a:extLst>
            </p:cNvPr>
            <p:cNvSpPr txBox="1"/>
            <p:nvPr/>
          </p:nvSpPr>
          <p:spPr>
            <a:xfrm>
              <a:off x="7306495" y="717918"/>
              <a:ext cx="914011" cy="230832"/>
            </a:xfrm>
            <a:prstGeom prst="rect">
              <a:avLst/>
            </a:prstGeom>
            <a:noFill/>
          </p:spPr>
          <p:txBody>
            <a:bodyPr wrap="square" rtlCol="0">
              <a:spAutoFit/>
            </a:bodyPr>
            <a:lstStyle/>
            <a:p>
              <a:pPr algn="ctr"/>
              <a:r>
                <a:rPr lang="en-US" sz="900" dirty="0">
                  <a:solidFill>
                    <a:schemeClr val="bg1"/>
                  </a:solidFill>
                  <a:latin typeface="+mn-lt"/>
                </a:rPr>
                <a:t>IP Core</a:t>
              </a:r>
            </a:p>
          </p:txBody>
        </p:sp>
      </p:grpSp>
      <p:sp>
        <p:nvSpPr>
          <p:cNvPr id="18" name="Text Placeholder 2"/>
          <p:cNvSpPr txBox="1">
            <a:spLocks/>
          </p:cNvSpPr>
          <p:nvPr/>
        </p:nvSpPr>
        <p:spPr>
          <a:xfrm>
            <a:off x="4914178" y="1307939"/>
            <a:ext cx="3789984" cy="3560902"/>
          </a:xfrm>
          <a:prstGeom prst="rect">
            <a:avLst/>
          </a:prstGeom>
        </p:spPr>
        <p:txBody>
          <a:bodyPr lIns="0" rIns="0" anchor="t" anchorCtr="0"/>
          <a:lstStyle>
            <a:lvl1pPr marL="169863" indent="-169863" algn="l" defTabSz="684213" rtl="0" eaLnBrk="1" fontAlgn="base" hangingPunct="1">
              <a:lnSpc>
                <a:spcPct val="100000"/>
              </a:lnSpc>
              <a:spcBef>
                <a:spcPts val="1075"/>
              </a:spcBef>
              <a:spcAft>
                <a:spcPct val="0"/>
              </a:spcAft>
              <a:buClr>
                <a:schemeClr val="tx1"/>
              </a:buClr>
              <a:buSzPct val="60000"/>
              <a:buFont typeface="Arial" panose="020B0604020202020204" pitchFamily="34" charset="0"/>
              <a:buChar char="•"/>
              <a:tabLst>
                <a:tab pos="228600" algn="l"/>
              </a:tabLst>
              <a:defRPr lang="en-US" sz="2400" kern="1200">
                <a:solidFill>
                  <a:schemeClr val="tx1"/>
                </a:solidFill>
                <a:latin typeface="+mn-lt"/>
                <a:ea typeface="ＭＳ Ｐゴシック" charset="0"/>
                <a:cs typeface="CiscoSans"/>
              </a:defRPr>
            </a:lvl1pPr>
            <a:lvl2pPr marL="346075" indent="-171450" algn="l" defTabSz="684213" rtl="0" eaLnBrk="1" fontAlgn="base" hangingPunct="1">
              <a:lnSpc>
                <a:spcPct val="100000"/>
              </a:lnSpc>
              <a:spcBef>
                <a:spcPts val="600"/>
              </a:spcBef>
              <a:spcAft>
                <a:spcPct val="0"/>
              </a:spcAft>
              <a:buClr>
                <a:schemeClr val="tx1"/>
              </a:buClr>
              <a:buSzPct val="60000"/>
              <a:buFont typeface="Arial" panose="020B0604020202020204" pitchFamily="34" charset="0"/>
              <a:buChar char="•"/>
              <a:defRPr lang="en-US" sz="2400" kern="1200">
                <a:solidFill>
                  <a:schemeClr val="tx1"/>
                </a:solidFill>
                <a:latin typeface="+mn-lt"/>
                <a:ea typeface="ＭＳ Ｐゴシック" charset="0"/>
                <a:cs typeface="CiscoSans"/>
              </a:defRPr>
            </a:lvl2pPr>
            <a:lvl3pPr marL="457200"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2000" kern="1200">
                <a:solidFill>
                  <a:schemeClr val="tx1"/>
                </a:solidFill>
                <a:latin typeface="+mn-lt"/>
                <a:ea typeface="ＭＳ Ｐゴシック" charset="0"/>
                <a:cs typeface="CiscoSans"/>
              </a:defRPr>
            </a:lvl3pPr>
            <a:lvl4pPr marL="574675"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tabLst/>
              <a:defRPr lang="en-US" sz="1800" kern="1200">
                <a:solidFill>
                  <a:schemeClr val="tx1"/>
                </a:solidFill>
                <a:latin typeface="+mn-lt"/>
                <a:ea typeface="ＭＳ Ｐゴシック" charset="0"/>
                <a:cs typeface="CiscoSans"/>
              </a:defRPr>
            </a:lvl4pPr>
            <a:lvl5pPr marL="744538" indent="-112713"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1800" kern="120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sz="2000" b="1" dirty="0"/>
              <a:t>NCS 5500 Series</a:t>
            </a:r>
          </a:p>
          <a:p>
            <a:pPr lvl="1">
              <a:lnSpc>
                <a:spcPct val="110000"/>
              </a:lnSpc>
            </a:pPr>
            <a:r>
              <a:rPr lang="en-US" sz="1800" dirty="0"/>
              <a:t>Fixed and Modular</a:t>
            </a:r>
          </a:p>
          <a:p>
            <a:pPr lvl="1">
              <a:lnSpc>
                <a:spcPct val="110000"/>
              </a:lnSpc>
            </a:pPr>
            <a:r>
              <a:rPr lang="en-ZA" sz="1800" dirty="0"/>
              <a:t>High forwarding performance</a:t>
            </a:r>
          </a:p>
          <a:p>
            <a:pPr lvl="1">
              <a:lnSpc>
                <a:spcPct val="110000"/>
              </a:lnSpc>
            </a:pPr>
            <a:r>
              <a:rPr lang="en-ZA" sz="1800" dirty="0"/>
              <a:t>Pipeline forwarding architecture</a:t>
            </a:r>
          </a:p>
          <a:p>
            <a:pPr lvl="1">
              <a:lnSpc>
                <a:spcPct val="110000"/>
              </a:lnSpc>
            </a:pPr>
            <a:r>
              <a:rPr lang="en-ZA" sz="1800" dirty="0"/>
              <a:t>Deep Virtual Output Queue Buffers</a:t>
            </a:r>
          </a:p>
          <a:p>
            <a:pPr lvl="1">
              <a:lnSpc>
                <a:spcPct val="110000"/>
              </a:lnSpc>
            </a:pPr>
            <a:r>
              <a:rPr lang="en-US" sz="1800" dirty="0"/>
              <a:t>Designed for Transport, Service Edge and Intelligent Peering</a:t>
            </a:r>
          </a:p>
          <a:p>
            <a:pPr lvl="1">
              <a:lnSpc>
                <a:spcPct val="110000"/>
              </a:lnSpc>
            </a:pPr>
            <a:r>
              <a:rPr lang="en-US" sz="1800" dirty="0"/>
              <a:t>High density &amp; low power</a:t>
            </a:r>
          </a:p>
          <a:p>
            <a:pPr lvl="1">
              <a:lnSpc>
                <a:spcPct val="110000"/>
              </a:lnSpc>
            </a:pPr>
            <a:r>
              <a:rPr lang="en-US" sz="1800" dirty="0"/>
              <a:t>Open and Programmable</a:t>
            </a:r>
          </a:p>
        </p:txBody>
      </p:sp>
      <p:sp>
        <p:nvSpPr>
          <p:cNvPr id="8" name="Oval 7">
            <a:extLst>
              <a:ext uri="{FF2B5EF4-FFF2-40B4-BE49-F238E27FC236}">
                <a16:creationId xmlns:a16="http://schemas.microsoft.com/office/drawing/2014/main" id="{7B8AFB19-CA18-464E-B1AB-9C5A369103B4}"/>
              </a:ext>
            </a:extLst>
          </p:cNvPr>
          <p:cNvSpPr/>
          <p:nvPr/>
        </p:nvSpPr>
        <p:spPr>
          <a:xfrm>
            <a:off x="1062242" y="759410"/>
            <a:ext cx="2492884" cy="2328980"/>
          </a:xfrm>
          <a:prstGeom prst="ellipse">
            <a:avLst/>
          </a:prstGeom>
          <a:solidFill>
            <a:srgbClr val="0046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1BF55521-B533-4B5C-8483-0B35D615F5E3}"/>
              </a:ext>
            </a:extLst>
          </p:cNvPr>
          <p:cNvPicPr>
            <a:picLocks noChangeAspect="1"/>
          </p:cNvPicPr>
          <p:nvPr/>
        </p:nvPicPr>
        <p:blipFill>
          <a:blip r:embed="rId4"/>
          <a:stretch>
            <a:fillRect/>
          </a:stretch>
        </p:blipFill>
        <p:spPr>
          <a:xfrm>
            <a:off x="1304939" y="2004448"/>
            <a:ext cx="626092" cy="626092"/>
          </a:xfrm>
          <a:prstGeom prst="rect">
            <a:avLst/>
          </a:prstGeom>
        </p:spPr>
      </p:pic>
      <p:pic>
        <p:nvPicPr>
          <p:cNvPr id="10" name="Picture 9">
            <a:extLst>
              <a:ext uri="{FF2B5EF4-FFF2-40B4-BE49-F238E27FC236}">
                <a16:creationId xmlns:a16="http://schemas.microsoft.com/office/drawing/2014/main" id="{601E2427-36AE-45FC-9740-B561175F024B}"/>
              </a:ext>
            </a:extLst>
          </p:cNvPr>
          <p:cNvPicPr>
            <a:picLocks noChangeAspect="1"/>
          </p:cNvPicPr>
          <p:nvPr/>
        </p:nvPicPr>
        <p:blipFill>
          <a:blip r:embed="rId5"/>
          <a:stretch>
            <a:fillRect/>
          </a:stretch>
        </p:blipFill>
        <p:spPr>
          <a:xfrm>
            <a:off x="2011373" y="857414"/>
            <a:ext cx="675032" cy="675032"/>
          </a:xfrm>
          <a:prstGeom prst="rect">
            <a:avLst/>
          </a:prstGeom>
        </p:spPr>
      </p:pic>
      <p:pic>
        <p:nvPicPr>
          <p:cNvPr id="16" name="Picture 15">
            <a:extLst>
              <a:ext uri="{FF2B5EF4-FFF2-40B4-BE49-F238E27FC236}">
                <a16:creationId xmlns:a16="http://schemas.microsoft.com/office/drawing/2014/main" id="{0AECD1C8-47C0-4E93-B834-632E3E2FC56D}"/>
              </a:ext>
            </a:extLst>
          </p:cNvPr>
          <p:cNvPicPr>
            <a:picLocks noChangeAspect="1"/>
          </p:cNvPicPr>
          <p:nvPr/>
        </p:nvPicPr>
        <p:blipFill>
          <a:blip r:embed="rId6"/>
          <a:stretch>
            <a:fillRect/>
          </a:stretch>
        </p:blipFill>
        <p:spPr>
          <a:xfrm>
            <a:off x="2011373" y="2374679"/>
            <a:ext cx="675032" cy="675032"/>
          </a:xfrm>
          <a:prstGeom prst="rect">
            <a:avLst/>
          </a:prstGeom>
        </p:spPr>
      </p:pic>
      <p:pic>
        <p:nvPicPr>
          <p:cNvPr id="17" name="Picture 16">
            <a:extLst>
              <a:ext uri="{FF2B5EF4-FFF2-40B4-BE49-F238E27FC236}">
                <a16:creationId xmlns:a16="http://schemas.microsoft.com/office/drawing/2014/main" id="{D9F1A60B-860F-42CD-98EF-D202F0FE10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01772" y="1965777"/>
            <a:ext cx="605973" cy="605973"/>
          </a:xfrm>
          <a:prstGeom prst="rect">
            <a:avLst/>
          </a:prstGeom>
        </p:spPr>
      </p:pic>
      <p:cxnSp>
        <p:nvCxnSpPr>
          <p:cNvPr id="3" name="Straight Connector 2">
            <a:extLst>
              <a:ext uri="{FF2B5EF4-FFF2-40B4-BE49-F238E27FC236}">
                <a16:creationId xmlns:a16="http://schemas.microsoft.com/office/drawing/2014/main" id="{A5B521B1-A220-442E-A806-DE3E572B85C6}"/>
              </a:ext>
            </a:extLst>
          </p:cNvPr>
          <p:cNvCxnSpPr>
            <a:cxnSpLocks/>
            <a:endCxn id="9" idx="0"/>
          </p:cNvCxnSpPr>
          <p:nvPr/>
        </p:nvCxnSpPr>
        <p:spPr>
          <a:xfrm flipH="1">
            <a:off x="1617985" y="1365814"/>
            <a:ext cx="502512" cy="638634"/>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37108AD-DBFD-40B2-9EE6-B4990EBBA8B3}"/>
              </a:ext>
            </a:extLst>
          </p:cNvPr>
          <p:cNvCxnSpPr>
            <a:cxnSpLocks/>
            <a:stCxn id="10" idx="2"/>
            <a:endCxn id="16" idx="0"/>
          </p:cNvCxnSpPr>
          <p:nvPr/>
        </p:nvCxnSpPr>
        <p:spPr>
          <a:xfrm>
            <a:off x="2348889" y="1532446"/>
            <a:ext cx="0" cy="842233"/>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BE135E5-4E61-4C51-B43E-8297DF3B3086}"/>
              </a:ext>
            </a:extLst>
          </p:cNvPr>
          <p:cNvCxnSpPr>
            <a:cxnSpLocks/>
            <a:endCxn id="17" idx="0"/>
          </p:cNvCxnSpPr>
          <p:nvPr/>
        </p:nvCxnSpPr>
        <p:spPr>
          <a:xfrm>
            <a:off x="2553351" y="1365814"/>
            <a:ext cx="551408" cy="599963"/>
          </a:xfrm>
          <a:prstGeom prst="line">
            <a:avLst/>
          </a:prstGeom>
          <a:ln w="222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0215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418206" y="1360208"/>
            <a:ext cx="3221272" cy="854080"/>
          </a:xfrm>
          <a:prstGeom prst="rect">
            <a:avLst/>
          </a:prstGeom>
        </p:spPr>
        <p:txBody>
          <a:bodyPr wrap="square">
            <a:spAutoFit/>
          </a:bodyPr>
          <a:lstStyle/>
          <a:p>
            <a:pPr marL="214313" indent="-214313"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IP/MPLS LSR, EVPN/SR, MACsec, IPoDWDM</a:t>
            </a:r>
          </a:p>
          <a:p>
            <a:pPr marL="214313" indent="-214313"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EVPN/SR-TILFA/TE/ODN</a:t>
            </a:r>
          </a:p>
          <a:p>
            <a:pPr marL="214313" indent="-214313"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Sticky EMCP</a:t>
            </a:r>
          </a:p>
          <a:p>
            <a:pPr marL="214313" indent="-214313"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VXLAN DC GW/GPE</a:t>
            </a:r>
            <a:endParaRPr lang="en-US" sz="1050" b="1" dirty="0">
              <a:solidFill>
                <a:srgbClr val="4D4D4C"/>
              </a:solidFill>
              <a:latin typeface="CiscoSansTT ExtraLight"/>
              <a:cs typeface="+mn-cs"/>
            </a:endParaRPr>
          </a:p>
        </p:txBody>
      </p:sp>
      <p:sp>
        <p:nvSpPr>
          <p:cNvPr id="23" name="Rectangle 22"/>
          <p:cNvSpPr/>
          <p:nvPr/>
        </p:nvSpPr>
        <p:spPr>
          <a:xfrm>
            <a:off x="493217" y="1107137"/>
            <a:ext cx="2743200" cy="274320"/>
          </a:xfrm>
          <a:prstGeom prst="rect">
            <a:avLst/>
          </a:prstGeom>
        </p:spPr>
        <p:txBody>
          <a:bodyPr wrap="none" lIns="0" tIns="0" rIns="0" bIns="0" anchor="ctr" anchorCtr="0">
            <a:noAutofit/>
          </a:bodyPr>
          <a:lstStyle/>
          <a:p>
            <a:pPr defTabSz="457118" fontAlgn="auto">
              <a:lnSpc>
                <a:spcPct val="90000"/>
              </a:lnSpc>
              <a:spcBef>
                <a:spcPts val="0"/>
              </a:spcBef>
              <a:spcAft>
                <a:spcPts val="0"/>
              </a:spcAft>
              <a:defRPr/>
            </a:pPr>
            <a:r>
              <a:rPr lang="en-US" b="1" dirty="0">
                <a:solidFill>
                  <a:srgbClr val="57B74E"/>
                </a:solidFill>
                <a:latin typeface="CiscoSansTT ExtraLight"/>
                <a:ea typeface="ＭＳ Ｐゴシック"/>
                <a:cs typeface="ＭＳ Ｐゴシック"/>
              </a:rPr>
              <a:t>SP Data Center</a:t>
            </a:r>
          </a:p>
        </p:txBody>
      </p:sp>
      <p:sp>
        <p:nvSpPr>
          <p:cNvPr id="26" name="Rectangle 25"/>
          <p:cNvSpPr/>
          <p:nvPr/>
        </p:nvSpPr>
        <p:spPr>
          <a:xfrm>
            <a:off x="418206" y="4132720"/>
            <a:ext cx="2627374" cy="654025"/>
          </a:xfrm>
          <a:prstGeom prst="rect">
            <a:avLst/>
          </a:prstGeom>
        </p:spPr>
        <p:txBody>
          <a:bodyPr wrap="square">
            <a:spAutoFit/>
          </a:bodyPr>
          <a:lstStyle/>
          <a:p>
            <a:pPr marL="214313" indent="-214313" defTabSz="456569" fontAlgn="auto">
              <a:spcBef>
                <a:spcPts val="300"/>
              </a:spcBef>
              <a:spcAft>
                <a:spcPts val="0"/>
              </a:spcAft>
              <a:buFont typeface="Arial" panose="020B0604020202020204" pitchFamily="34" charset="0"/>
              <a:buChar char="•"/>
              <a:defRPr/>
            </a:pPr>
            <a:r>
              <a:rPr lang="en-US" sz="1050" b="1" dirty="0">
                <a:solidFill>
                  <a:srgbClr val="4D4D4C"/>
                </a:solidFill>
                <a:latin typeface="CiscoSansTT ExtraLight"/>
                <a:cs typeface="+mn-cs"/>
              </a:rPr>
              <a:t>VPWS, EVPN P2MP, L2/L3 VPN</a:t>
            </a:r>
          </a:p>
          <a:p>
            <a:pPr marL="214313" indent="-214313" defTabSz="456569" fontAlgn="auto">
              <a:spcBef>
                <a:spcPts val="300"/>
              </a:spcBef>
              <a:spcAft>
                <a:spcPts val="0"/>
              </a:spcAft>
              <a:buFont typeface="Arial" panose="020B0604020202020204" pitchFamily="34" charset="0"/>
              <a:buChar char="•"/>
              <a:defRPr/>
            </a:pPr>
            <a:r>
              <a:rPr lang="en-US" sz="1050" b="1" dirty="0">
                <a:solidFill>
                  <a:srgbClr val="4D4D4C"/>
                </a:solidFill>
                <a:latin typeface="CiscoSansTT ExtraLight"/>
                <a:cs typeface="+mn-cs"/>
              </a:rPr>
              <a:t>L2 MCAST, BGP PIC-Edge, mVPN</a:t>
            </a:r>
          </a:p>
          <a:p>
            <a:pPr marL="214313" indent="-214313" defTabSz="456569" fontAlgn="auto">
              <a:spcBef>
                <a:spcPts val="300"/>
              </a:spcBef>
              <a:spcAft>
                <a:spcPts val="0"/>
              </a:spcAft>
              <a:buFont typeface="Arial" panose="020B0604020202020204" pitchFamily="34" charset="0"/>
              <a:buChar char="•"/>
              <a:defRPr/>
            </a:pPr>
            <a:r>
              <a:rPr lang="en-US" sz="1050" b="1" dirty="0">
                <a:solidFill>
                  <a:srgbClr val="4D4D4C"/>
                </a:solidFill>
                <a:latin typeface="CiscoSansTT ExtraLight"/>
                <a:cs typeface="+mn-cs"/>
              </a:rPr>
              <a:t>SRV6</a:t>
            </a:r>
          </a:p>
        </p:txBody>
      </p:sp>
      <p:sp>
        <p:nvSpPr>
          <p:cNvPr id="27" name="Rectangle 26"/>
          <p:cNvSpPr/>
          <p:nvPr/>
        </p:nvSpPr>
        <p:spPr>
          <a:xfrm>
            <a:off x="482500" y="3859790"/>
            <a:ext cx="2743200" cy="274320"/>
          </a:xfrm>
          <a:prstGeom prst="rect">
            <a:avLst/>
          </a:prstGeom>
        </p:spPr>
        <p:txBody>
          <a:bodyPr wrap="none" lIns="0" tIns="0" rIns="0" bIns="0" anchor="ctr" anchorCtr="0">
            <a:noAutofit/>
          </a:bodyPr>
          <a:lstStyle/>
          <a:p>
            <a:pPr defTabSz="456569" fontAlgn="auto">
              <a:lnSpc>
                <a:spcPct val="85000"/>
              </a:lnSpc>
              <a:spcBef>
                <a:spcPts val="0"/>
              </a:spcBef>
              <a:spcAft>
                <a:spcPts val="0"/>
              </a:spcAft>
              <a:defRPr/>
            </a:pPr>
            <a:r>
              <a:rPr lang="en-US" b="1" dirty="0">
                <a:solidFill>
                  <a:srgbClr val="6EBE4A">
                    <a:lumMod val="50000"/>
                  </a:srgbClr>
                </a:solidFill>
                <a:latin typeface="CiscoSansTT ExtraLight"/>
                <a:cs typeface="+mn-cs"/>
              </a:rPr>
              <a:t>SP Aggregation</a:t>
            </a:r>
          </a:p>
        </p:txBody>
      </p:sp>
      <p:sp>
        <p:nvSpPr>
          <p:cNvPr id="30" name="Rectangle 29"/>
          <p:cNvSpPr/>
          <p:nvPr/>
        </p:nvSpPr>
        <p:spPr>
          <a:xfrm>
            <a:off x="418206" y="2666077"/>
            <a:ext cx="2656696" cy="854080"/>
          </a:xfrm>
          <a:prstGeom prst="rect">
            <a:avLst/>
          </a:prstGeom>
        </p:spPr>
        <p:txBody>
          <a:bodyPr wrap="square">
            <a:spAutoFit/>
          </a:bodyPr>
          <a:lstStyle/>
          <a:p>
            <a:pPr marL="214313" indent="-214313" defTabSz="456569" fontAlgn="auto">
              <a:spcBef>
                <a:spcPts val="300"/>
              </a:spcBef>
              <a:spcAft>
                <a:spcPts val="0"/>
              </a:spcAft>
              <a:buFont typeface="Arial" panose="020B0604020202020204" pitchFamily="34" charset="0"/>
              <a:buChar char="•"/>
              <a:defRPr/>
            </a:pPr>
            <a:r>
              <a:rPr lang="en-US" sz="1050" b="1" dirty="0">
                <a:solidFill>
                  <a:srgbClr val="4D4D4C"/>
                </a:solidFill>
                <a:latin typeface="CiscoSansTT ExtraLight"/>
                <a:cs typeface="+mn-cs"/>
              </a:rPr>
              <a:t>v4/v6 Scale ACL/LPTS/</a:t>
            </a:r>
          </a:p>
          <a:p>
            <a:pPr marL="214313" indent="-214313" defTabSz="456569" fontAlgn="auto">
              <a:spcBef>
                <a:spcPts val="300"/>
              </a:spcBef>
              <a:spcAft>
                <a:spcPts val="0"/>
              </a:spcAft>
              <a:buFont typeface="Arial" panose="020B0604020202020204" pitchFamily="34" charset="0"/>
              <a:buChar char="•"/>
              <a:defRPr/>
            </a:pPr>
            <a:r>
              <a:rPr lang="en-US" sz="1050" b="1" dirty="0">
                <a:solidFill>
                  <a:srgbClr val="4D4D4C"/>
                </a:solidFill>
                <a:latin typeface="CiscoSansTT ExtraLight"/>
                <a:cs typeface="+mn-cs"/>
              </a:rPr>
              <a:t>LI, uRFP, Hybrid ACL, Storm Control</a:t>
            </a:r>
          </a:p>
          <a:p>
            <a:pPr marL="214313" indent="-214313" defTabSz="456569" fontAlgn="auto">
              <a:spcBef>
                <a:spcPts val="300"/>
              </a:spcBef>
              <a:spcAft>
                <a:spcPts val="0"/>
              </a:spcAft>
              <a:buFont typeface="Arial" panose="020B0604020202020204" pitchFamily="34" charset="0"/>
              <a:buChar char="•"/>
              <a:defRPr/>
            </a:pPr>
            <a:r>
              <a:rPr lang="en-US" sz="1050" b="1" dirty="0">
                <a:solidFill>
                  <a:srgbClr val="4D4D4C"/>
                </a:solidFill>
                <a:latin typeface="CiscoSansTT ExtraLight"/>
                <a:cs typeface="+mn-cs"/>
              </a:rPr>
              <a:t>BGP FlowSpec, QPPB</a:t>
            </a:r>
          </a:p>
          <a:p>
            <a:pPr marL="214313" indent="-214313" defTabSz="456569" fontAlgn="auto">
              <a:spcBef>
                <a:spcPts val="300"/>
              </a:spcBef>
              <a:spcAft>
                <a:spcPts val="0"/>
              </a:spcAft>
              <a:buFont typeface="Arial" panose="020B0604020202020204" pitchFamily="34" charset="0"/>
              <a:buChar char="•"/>
              <a:defRPr/>
            </a:pPr>
            <a:r>
              <a:rPr lang="en-US" sz="1050" b="1" dirty="0">
                <a:solidFill>
                  <a:srgbClr val="4D4D4C"/>
                </a:solidFill>
                <a:latin typeface="CiscoSansTT ExtraLight"/>
                <a:cs typeface="+mn-cs"/>
              </a:rPr>
              <a:t>Ingress/Egress Netflow</a:t>
            </a:r>
          </a:p>
        </p:txBody>
      </p:sp>
      <p:sp>
        <p:nvSpPr>
          <p:cNvPr id="31" name="Rectangle 30"/>
          <p:cNvSpPr/>
          <p:nvPr/>
        </p:nvSpPr>
        <p:spPr>
          <a:xfrm>
            <a:off x="482501" y="2417420"/>
            <a:ext cx="2743200" cy="274320"/>
          </a:xfrm>
          <a:prstGeom prst="rect">
            <a:avLst/>
          </a:prstGeom>
        </p:spPr>
        <p:txBody>
          <a:bodyPr wrap="none" lIns="0" tIns="0" rIns="0" bIns="0" anchor="ctr" anchorCtr="0">
            <a:noAutofit/>
          </a:bodyPr>
          <a:lstStyle/>
          <a:p>
            <a:pPr defTabSz="456569" fontAlgn="auto">
              <a:lnSpc>
                <a:spcPct val="85000"/>
              </a:lnSpc>
              <a:spcBef>
                <a:spcPts val="0"/>
              </a:spcBef>
              <a:spcAft>
                <a:spcPts val="0"/>
              </a:spcAft>
              <a:defRPr/>
            </a:pPr>
            <a:r>
              <a:rPr lang="en-US" b="1" dirty="0">
                <a:solidFill>
                  <a:srgbClr val="57B74E">
                    <a:lumMod val="75000"/>
                  </a:srgbClr>
                </a:solidFill>
                <a:latin typeface="CiscoSansTT ExtraLight"/>
                <a:cs typeface="+mn-cs"/>
              </a:rPr>
              <a:t>SP Peering</a:t>
            </a:r>
          </a:p>
        </p:txBody>
      </p:sp>
      <p:cxnSp>
        <p:nvCxnSpPr>
          <p:cNvPr id="35" name="Straight Connector 34"/>
          <p:cNvCxnSpPr/>
          <p:nvPr/>
        </p:nvCxnSpPr>
        <p:spPr>
          <a:xfrm>
            <a:off x="493219" y="2300229"/>
            <a:ext cx="24852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93219" y="3771863"/>
            <a:ext cx="24852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901270" y="1460792"/>
            <a:ext cx="2821309" cy="654025"/>
          </a:xfrm>
          <a:prstGeom prst="rect">
            <a:avLst/>
          </a:prstGeom>
        </p:spPr>
        <p:txBody>
          <a:bodyPr wrap="square">
            <a:spAutoFit/>
          </a:bodyPr>
          <a:lstStyle/>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IPv4/v6 MPLS, BFD, LSR, MPLS-TE, PIM</a:t>
            </a:r>
          </a:p>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TI-LFA, LDPoTE</a:t>
            </a:r>
          </a:p>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IPv6 BFD, SRv6</a:t>
            </a:r>
          </a:p>
        </p:txBody>
      </p:sp>
      <p:sp>
        <p:nvSpPr>
          <p:cNvPr id="25" name="Rectangle 24"/>
          <p:cNvSpPr/>
          <p:nvPr/>
        </p:nvSpPr>
        <p:spPr>
          <a:xfrm>
            <a:off x="5881649" y="1162001"/>
            <a:ext cx="2743200" cy="274320"/>
          </a:xfrm>
          <a:prstGeom prst="rect">
            <a:avLst/>
          </a:prstGeom>
        </p:spPr>
        <p:txBody>
          <a:bodyPr wrap="none" lIns="0" tIns="0" rIns="0" bIns="0" anchor="ctr" anchorCtr="0">
            <a:noAutofit/>
          </a:bodyPr>
          <a:lstStyle/>
          <a:p>
            <a:pPr algn="r" defTabSz="457118" fontAlgn="auto">
              <a:spcBef>
                <a:spcPts val="0"/>
              </a:spcBef>
              <a:spcAft>
                <a:spcPts val="0"/>
              </a:spcAft>
              <a:defRPr/>
            </a:pPr>
            <a:r>
              <a:rPr lang="en-US" b="1" dirty="0">
                <a:solidFill>
                  <a:srgbClr val="32B2DF"/>
                </a:solidFill>
                <a:latin typeface="CiscoSansTT ExtraLight"/>
                <a:ea typeface="ＭＳ Ｐゴシック"/>
                <a:cs typeface="ＭＳ Ｐゴシック"/>
              </a:rPr>
              <a:t>SP LSR/Core</a:t>
            </a:r>
          </a:p>
        </p:txBody>
      </p:sp>
      <p:sp>
        <p:nvSpPr>
          <p:cNvPr id="28" name="Rectangle 27"/>
          <p:cNvSpPr/>
          <p:nvPr/>
        </p:nvSpPr>
        <p:spPr>
          <a:xfrm>
            <a:off x="5863553" y="2666076"/>
            <a:ext cx="2849882" cy="854080"/>
          </a:xfrm>
          <a:prstGeom prst="rect">
            <a:avLst/>
          </a:prstGeom>
        </p:spPr>
        <p:txBody>
          <a:bodyPr wrap="square">
            <a:spAutoFit/>
          </a:bodyPr>
          <a:lstStyle/>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VPWS, L2/BVI</a:t>
            </a:r>
          </a:p>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TWAMP, Y.1732, Eth Loopback, Timing</a:t>
            </a:r>
          </a:p>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G.8032, DHCP, GTP Hashing</a:t>
            </a:r>
          </a:p>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IP-SLA, Y.1564</a:t>
            </a:r>
          </a:p>
        </p:txBody>
      </p:sp>
      <p:sp>
        <p:nvSpPr>
          <p:cNvPr id="29" name="Rectangle 28"/>
          <p:cNvSpPr/>
          <p:nvPr/>
        </p:nvSpPr>
        <p:spPr>
          <a:xfrm>
            <a:off x="5881649" y="2453996"/>
            <a:ext cx="2743200" cy="274320"/>
          </a:xfrm>
          <a:prstGeom prst="rect">
            <a:avLst/>
          </a:prstGeom>
        </p:spPr>
        <p:txBody>
          <a:bodyPr wrap="none" lIns="0" tIns="0" rIns="0" bIns="0" anchor="ctr" anchorCtr="0">
            <a:noAutofit/>
          </a:bodyPr>
          <a:lstStyle/>
          <a:p>
            <a:pPr algn="r" defTabSz="456569" fontAlgn="auto">
              <a:lnSpc>
                <a:spcPct val="85000"/>
              </a:lnSpc>
              <a:spcBef>
                <a:spcPts val="0"/>
              </a:spcBef>
              <a:spcAft>
                <a:spcPts val="0"/>
              </a:spcAft>
              <a:defRPr/>
            </a:pPr>
            <a:r>
              <a:rPr lang="en-US" b="1" dirty="0">
                <a:solidFill>
                  <a:srgbClr val="32B2DF">
                    <a:lumMod val="75000"/>
                  </a:srgbClr>
                </a:solidFill>
                <a:latin typeface="CiscoSansTT ExtraLight"/>
                <a:cs typeface="+mn-cs"/>
              </a:rPr>
              <a:t>SP Access / 5G</a:t>
            </a:r>
          </a:p>
        </p:txBody>
      </p:sp>
      <p:sp>
        <p:nvSpPr>
          <p:cNvPr id="32" name="Rectangle 31"/>
          <p:cNvSpPr/>
          <p:nvPr/>
        </p:nvSpPr>
        <p:spPr>
          <a:xfrm>
            <a:off x="5316350" y="4175382"/>
            <a:ext cx="3470825" cy="654025"/>
          </a:xfrm>
          <a:prstGeom prst="rect">
            <a:avLst/>
          </a:prstGeom>
        </p:spPr>
        <p:txBody>
          <a:bodyPr wrap="square">
            <a:spAutoFit/>
          </a:bodyPr>
          <a:lstStyle/>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L2 MCAST, IGMP Snooping</a:t>
            </a:r>
          </a:p>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802.1X, Dual v6 Source, DHCP snooping</a:t>
            </a:r>
          </a:p>
          <a:p>
            <a:pPr marL="214313" indent="-214313" algn="r" defTabSz="456569" fontAlgn="auto">
              <a:spcBef>
                <a:spcPts val="300"/>
              </a:spcBef>
              <a:spcAft>
                <a:spcPts val="0"/>
              </a:spcAft>
              <a:buFont typeface="Arial" panose="020B0604020202020204" pitchFamily="34" charset="0"/>
              <a:buChar char="•"/>
              <a:defRPr/>
            </a:pPr>
            <a:r>
              <a:rPr lang="en-US" sz="1050" b="1" dirty="0">
                <a:solidFill>
                  <a:srgbClr val="676767"/>
                </a:solidFill>
                <a:latin typeface="CiscoSansTT ExtraLight"/>
                <a:cs typeface="+mn-cs"/>
              </a:rPr>
              <a:t>MLD Snooping</a:t>
            </a:r>
          </a:p>
        </p:txBody>
      </p:sp>
      <p:sp>
        <p:nvSpPr>
          <p:cNvPr id="33" name="Rectangle 32"/>
          <p:cNvSpPr/>
          <p:nvPr/>
        </p:nvSpPr>
        <p:spPr>
          <a:xfrm>
            <a:off x="5881649" y="3969517"/>
            <a:ext cx="2743200" cy="274320"/>
          </a:xfrm>
          <a:prstGeom prst="rect">
            <a:avLst/>
          </a:prstGeom>
        </p:spPr>
        <p:txBody>
          <a:bodyPr wrap="none" lIns="0" tIns="0" rIns="0" bIns="0" anchor="ctr" anchorCtr="0">
            <a:noAutofit/>
          </a:bodyPr>
          <a:lstStyle/>
          <a:p>
            <a:pPr algn="r" defTabSz="456569" fontAlgn="auto">
              <a:lnSpc>
                <a:spcPct val="85000"/>
              </a:lnSpc>
              <a:spcBef>
                <a:spcPts val="0"/>
              </a:spcBef>
              <a:spcAft>
                <a:spcPts val="0"/>
              </a:spcAft>
              <a:defRPr/>
            </a:pPr>
            <a:r>
              <a:rPr lang="en-US" b="1" dirty="0">
                <a:solidFill>
                  <a:srgbClr val="8EBCDC">
                    <a:lumMod val="50000"/>
                  </a:srgbClr>
                </a:solidFill>
                <a:latin typeface="CiscoSansTT ExtraLight"/>
                <a:cs typeface="+mn-cs"/>
              </a:rPr>
              <a:t>R-PHY (CIN)</a:t>
            </a:r>
          </a:p>
        </p:txBody>
      </p:sp>
      <p:cxnSp>
        <p:nvCxnSpPr>
          <p:cNvPr id="37" name="Straight Connector 36"/>
          <p:cNvCxnSpPr/>
          <p:nvPr/>
        </p:nvCxnSpPr>
        <p:spPr>
          <a:xfrm>
            <a:off x="6139634" y="3771863"/>
            <a:ext cx="24852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139634" y="2300229"/>
            <a:ext cx="24852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Title 38"/>
          <p:cNvSpPr>
            <a:spLocks noGrp="1"/>
          </p:cNvSpPr>
          <p:nvPr>
            <p:ph type="title"/>
          </p:nvPr>
        </p:nvSpPr>
        <p:spPr>
          <a:xfrm>
            <a:off x="404815" y="260095"/>
            <a:ext cx="8345488" cy="731837"/>
          </a:xfrm>
        </p:spPr>
        <p:txBody>
          <a:bodyPr/>
          <a:lstStyle/>
          <a:p>
            <a:r>
              <a:rPr lang="en-US" sz="3000" dirty="0">
                <a:solidFill>
                  <a:schemeClr val="bg1"/>
                </a:solidFill>
              </a:rPr>
              <a:t>NCS-5500 Position and Portfolio of Services</a:t>
            </a:r>
          </a:p>
        </p:txBody>
      </p:sp>
      <p:sp>
        <p:nvSpPr>
          <p:cNvPr id="3" name="Oval 2">
            <a:extLst>
              <a:ext uri="{FF2B5EF4-FFF2-40B4-BE49-F238E27FC236}">
                <a16:creationId xmlns:a16="http://schemas.microsoft.com/office/drawing/2014/main" id="{8105796A-A707-404A-9244-6607A5AA62AC}"/>
              </a:ext>
            </a:extLst>
          </p:cNvPr>
          <p:cNvSpPr/>
          <p:nvPr/>
        </p:nvSpPr>
        <p:spPr>
          <a:xfrm>
            <a:off x="2980564" y="1131803"/>
            <a:ext cx="3194497" cy="3193026"/>
          </a:xfrm>
          <a:prstGeom prst="ellipse">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dirty="0">
              <a:solidFill>
                <a:srgbClr val="005073"/>
              </a:solidFill>
              <a:latin typeface="CiscoSansTT ExtraLight"/>
            </a:endParaRPr>
          </a:p>
        </p:txBody>
      </p:sp>
      <p:grpSp>
        <p:nvGrpSpPr>
          <p:cNvPr id="148" name="Group 147">
            <a:extLst>
              <a:ext uri="{FF2B5EF4-FFF2-40B4-BE49-F238E27FC236}">
                <a16:creationId xmlns:a16="http://schemas.microsoft.com/office/drawing/2014/main" id="{E96889D8-8F0C-584B-976E-37F99FA84113}"/>
              </a:ext>
            </a:extLst>
          </p:cNvPr>
          <p:cNvGrpSpPr/>
          <p:nvPr/>
        </p:nvGrpSpPr>
        <p:grpSpPr>
          <a:xfrm>
            <a:off x="3104669" y="1233655"/>
            <a:ext cx="2950188" cy="2953363"/>
            <a:chOff x="3104669" y="1233653"/>
            <a:chExt cx="2950188" cy="2953363"/>
          </a:xfrm>
        </p:grpSpPr>
        <p:sp>
          <p:nvSpPr>
            <p:cNvPr id="149" name="Pie 148">
              <a:extLst>
                <a:ext uri="{FF2B5EF4-FFF2-40B4-BE49-F238E27FC236}">
                  <a16:creationId xmlns:a16="http://schemas.microsoft.com/office/drawing/2014/main" id="{E166B6E4-C016-164A-9755-6B722D66F506}"/>
                </a:ext>
              </a:extLst>
            </p:cNvPr>
            <p:cNvSpPr/>
            <p:nvPr/>
          </p:nvSpPr>
          <p:spPr>
            <a:xfrm rot="18002664">
              <a:off x="3104669" y="1236828"/>
              <a:ext cx="2950188" cy="2950188"/>
            </a:xfrm>
            <a:prstGeom prst="pie">
              <a:avLst>
                <a:gd name="adj1" fmla="val 12603517"/>
                <a:gd name="adj2" fmla="val 16200000"/>
              </a:avLst>
            </a:prstGeom>
            <a:solidFill>
              <a:srgbClr val="6EBE4A">
                <a:lumMod val="75000"/>
              </a:srgbClr>
            </a:solidFill>
            <a:ln w="12700" cap="flat" cmpd="sng" algn="ctr">
              <a:solidFill>
                <a:srgbClr val="6EBE4A">
                  <a:lumMod val="75000"/>
                </a:srgbClr>
              </a:solidFill>
              <a:prstDash val="solid"/>
            </a:ln>
            <a:effectLst/>
          </p:spPr>
          <p:txBody>
            <a:bodyPr rtlCol="0" anchor="ctr"/>
            <a:lstStyle/>
            <a:p>
              <a:pPr algn="ctr" defTabSz="914355">
                <a:defRPr/>
              </a:pPr>
              <a:endParaRPr lang="en-US" kern="0" dirty="0">
                <a:solidFill>
                  <a:srgbClr val="282828">
                    <a:lumMod val="50000"/>
                  </a:srgbClr>
                </a:solidFill>
                <a:latin typeface="CiscoSansTT ExtraLight"/>
                <a:ea typeface=""/>
                <a:cs typeface=""/>
              </a:endParaRPr>
            </a:p>
          </p:txBody>
        </p:sp>
        <p:sp>
          <p:nvSpPr>
            <p:cNvPr id="150" name="Pie 149">
              <a:extLst>
                <a:ext uri="{FF2B5EF4-FFF2-40B4-BE49-F238E27FC236}">
                  <a16:creationId xmlns:a16="http://schemas.microsoft.com/office/drawing/2014/main" id="{5653D887-BACA-EA4F-B958-4047B43B55A7}"/>
                </a:ext>
              </a:extLst>
            </p:cNvPr>
            <p:cNvSpPr/>
            <p:nvPr/>
          </p:nvSpPr>
          <p:spPr>
            <a:xfrm rot="14396714">
              <a:off x="3104669" y="1233653"/>
              <a:ext cx="2950188" cy="2950188"/>
            </a:xfrm>
            <a:prstGeom prst="pie">
              <a:avLst>
                <a:gd name="adj1" fmla="val 12603517"/>
                <a:gd name="adj2" fmla="val 16200000"/>
              </a:avLst>
            </a:prstGeom>
            <a:solidFill>
              <a:srgbClr val="6EBE4A">
                <a:lumMod val="50000"/>
              </a:srgbClr>
            </a:solidFill>
            <a:ln w="12700" cap="flat" cmpd="sng" algn="ctr">
              <a:solidFill>
                <a:srgbClr val="6EBE4A">
                  <a:lumMod val="50000"/>
                </a:srgbClr>
              </a:solidFill>
              <a:prstDash val="solid"/>
            </a:ln>
            <a:effectLst/>
          </p:spPr>
          <p:txBody>
            <a:bodyPr rtlCol="0" anchor="ctr"/>
            <a:lstStyle/>
            <a:p>
              <a:pPr algn="ctr" defTabSz="914355">
                <a:defRPr/>
              </a:pPr>
              <a:endParaRPr lang="en-US" kern="0" dirty="0">
                <a:solidFill>
                  <a:srgbClr val="282828">
                    <a:lumMod val="50000"/>
                  </a:srgbClr>
                </a:solidFill>
                <a:latin typeface="CiscoSansTT ExtraLight"/>
                <a:ea typeface=""/>
                <a:cs typeface=""/>
              </a:endParaRPr>
            </a:p>
          </p:txBody>
        </p:sp>
        <p:sp>
          <p:nvSpPr>
            <p:cNvPr id="151" name="Pie 150">
              <a:extLst>
                <a:ext uri="{FF2B5EF4-FFF2-40B4-BE49-F238E27FC236}">
                  <a16:creationId xmlns:a16="http://schemas.microsoft.com/office/drawing/2014/main" id="{4F4E9F57-6A7E-5B49-A06C-E92E4F447CDD}"/>
                </a:ext>
              </a:extLst>
            </p:cNvPr>
            <p:cNvSpPr/>
            <p:nvPr/>
          </p:nvSpPr>
          <p:spPr>
            <a:xfrm rot="14396714" flipH="1" flipV="1">
              <a:off x="3104669" y="1236828"/>
              <a:ext cx="2950188" cy="2950188"/>
            </a:xfrm>
            <a:prstGeom prst="pie">
              <a:avLst>
                <a:gd name="adj1" fmla="val 12603517"/>
                <a:gd name="adj2" fmla="val 16200000"/>
              </a:avLst>
            </a:prstGeom>
            <a:solidFill>
              <a:srgbClr val="00BCEB"/>
            </a:solidFill>
            <a:ln w="12700" cap="flat" cmpd="sng" algn="ctr">
              <a:solidFill>
                <a:srgbClr val="00BCEB"/>
              </a:solidFill>
              <a:prstDash val="solid"/>
            </a:ln>
            <a:effectLst/>
          </p:spPr>
          <p:txBody>
            <a:bodyPr rtlCol="0" anchor="ctr"/>
            <a:lstStyle/>
            <a:p>
              <a:pPr algn="ctr" defTabSz="914355">
                <a:defRPr/>
              </a:pPr>
              <a:endParaRPr lang="en-US" kern="0" dirty="0">
                <a:solidFill>
                  <a:srgbClr val="282828">
                    <a:lumMod val="50000"/>
                  </a:srgbClr>
                </a:solidFill>
                <a:latin typeface="CiscoSansTT ExtraLight"/>
                <a:ea typeface=""/>
                <a:cs typeface=""/>
              </a:endParaRPr>
            </a:p>
          </p:txBody>
        </p:sp>
        <p:sp>
          <p:nvSpPr>
            <p:cNvPr id="152" name="Pie 151">
              <a:extLst>
                <a:ext uri="{FF2B5EF4-FFF2-40B4-BE49-F238E27FC236}">
                  <a16:creationId xmlns:a16="http://schemas.microsoft.com/office/drawing/2014/main" id="{CD6EB170-CE1C-E046-85BA-BF0EA6A8F701}"/>
                </a:ext>
              </a:extLst>
            </p:cNvPr>
            <p:cNvSpPr/>
            <p:nvPr/>
          </p:nvSpPr>
          <p:spPr>
            <a:xfrm rot="18002664" flipH="1" flipV="1">
              <a:off x="3104669" y="1236828"/>
              <a:ext cx="2950188" cy="2950188"/>
            </a:xfrm>
            <a:prstGeom prst="pie">
              <a:avLst>
                <a:gd name="adj1" fmla="val 12603517"/>
                <a:gd name="adj2" fmla="val 16200000"/>
              </a:avLst>
            </a:prstGeom>
            <a:solidFill>
              <a:srgbClr val="00BCEB">
                <a:lumMod val="50000"/>
              </a:srgbClr>
            </a:solidFill>
            <a:ln w="12700" cap="flat" cmpd="sng" algn="ctr">
              <a:solidFill>
                <a:srgbClr val="00BCEB">
                  <a:lumMod val="50000"/>
                </a:srgbClr>
              </a:solidFill>
              <a:prstDash val="solid"/>
            </a:ln>
            <a:effectLst/>
          </p:spPr>
          <p:txBody>
            <a:bodyPr rtlCol="0" anchor="ctr"/>
            <a:lstStyle/>
            <a:p>
              <a:pPr algn="ctr" defTabSz="914355">
                <a:defRPr/>
              </a:pPr>
              <a:endParaRPr lang="en-US" kern="0" dirty="0">
                <a:solidFill>
                  <a:srgbClr val="282828">
                    <a:lumMod val="50000"/>
                  </a:srgbClr>
                </a:solidFill>
                <a:latin typeface="CiscoSansTT ExtraLight"/>
                <a:ea typeface=""/>
                <a:cs typeface=""/>
              </a:endParaRPr>
            </a:p>
          </p:txBody>
        </p:sp>
        <p:sp>
          <p:nvSpPr>
            <p:cNvPr id="153" name="Pie 152">
              <a:extLst>
                <a:ext uri="{FF2B5EF4-FFF2-40B4-BE49-F238E27FC236}">
                  <a16:creationId xmlns:a16="http://schemas.microsoft.com/office/drawing/2014/main" id="{AB3F8ED4-F2EC-2740-9BBE-2653F9D6B893}"/>
                </a:ext>
              </a:extLst>
            </p:cNvPr>
            <p:cNvSpPr/>
            <p:nvPr/>
          </p:nvSpPr>
          <p:spPr>
            <a:xfrm>
              <a:off x="3104669" y="1236828"/>
              <a:ext cx="2950188" cy="2950188"/>
            </a:xfrm>
            <a:prstGeom prst="pie">
              <a:avLst>
                <a:gd name="adj1" fmla="val 12603517"/>
                <a:gd name="adj2" fmla="val 16200000"/>
              </a:avLst>
            </a:prstGeom>
            <a:solidFill>
              <a:srgbClr val="6EBE4A"/>
            </a:solidFill>
            <a:ln w="12700" cap="flat" cmpd="sng" algn="ctr">
              <a:solidFill>
                <a:srgbClr val="6EBE4A"/>
              </a:solidFill>
              <a:prstDash val="solid"/>
            </a:ln>
            <a:effectLst/>
          </p:spPr>
          <p:txBody>
            <a:bodyPr rtlCol="0" anchor="ctr"/>
            <a:lstStyle/>
            <a:p>
              <a:pPr algn="ctr" defTabSz="914355">
                <a:defRPr/>
              </a:pPr>
              <a:endParaRPr lang="en-US" kern="0" dirty="0">
                <a:solidFill>
                  <a:srgbClr val="282828">
                    <a:lumMod val="50000"/>
                  </a:srgbClr>
                </a:solidFill>
                <a:latin typeface="CiscoSansTT ExtraLight"/>
                <a:ea typeface=""/>
                <a:cs typeface=""/>
              </a:endParaRPr>
            </a:p>
          </p:txBody>
        </p:sp>
        <p:sp>
          <p:nvSpPr>
            <p:cNvPr id="154" name="Pie 153">
              <a:extLst>
                <a:ext uri="{FF2B5EF4-FFF2-40B4-BE49-F238E27FC236}">
                  <a16:creationId xmlns:a16="http://schemas.microsoft.com/office/drawing/2014/main" id="{E85257A2-7218-7445-8D1C-7626D9652670}"/>
                </a:ext>
              </a:extLst>
            </p:cNvPr>
            <p:cNvSpPr/>
            <p:nvPr/>
          </p:nvSpPr>
          <p:spPr>
            <a:xfrm flipH="1" flipV="1">
              <a:off x="3104669" y="1233653"/>
              <a:ext cx="2950188" cy="2950188"/>
            </a:xfrm>
            <a:prstGeom prst="pie">
              <a:avLst>
                <a:gd name="adj1" fmla="val 12603517"/>
                <a:gd name="adj2" fmla="val 16200000"/>
              </a:avLst>
            </a:prstGeom>
            <a:solidFill>
              <a:srgbClr val="005073">
                <a:lumMod val="75000"/>
              </a:srgbClr>
            </a:solidFill>
            <a:ln w="12700" cap="flat" cmpd="sng" algn="ctr">
              <a:solidFill>
                <a:srgbClr val="005073">
                  <a:lumMod val="75000"/>
                </a:srgbClr>
              </a:solidFill>
              <a:prstDash val="solid"/>
            </a:ln>
            <a:effectLst/>
          </p:spPr>
          <p:txBody>
            <a:bodyPr rtlCol="0" anchor="ctr"/>
            <a:lstStyle/>
            <a:p>
              <a:pPr algn="ctr" defTabSz="914355">
                <a:defRPr/>
              </a:pPr>
              <a:endParaRPr lang="en-US" kern="0" dirty="0">
                <a:solidFill>
                  <a:srgbClr val="282828">
                    <a:lumMod val="50000"/>
                  </a:srgbClr>
                </a:solidFill>
                <a:latin typeface="CiscoSansTT ExtraLight"/>
                <a:ea typeface=""/>
                <a:cs typeface=""/>
              </a:endParaRPr>
            </a:p>
          </p:txBody>
        </p:sp>
      </p:grpSp>
      <p:sp>
        <p:nvSpPr>
          <p:cNvPr id="155" name="Pie 8">
            <a:extLst>
              <a:ext uri="{FF2B5EF4-FFF2-40B4-BE49-F238E27FC236}">
                <a16:creationId xmlns:a16="http://schemas.microsoft.com/office/drawing/2014/main" id="{3EC6F78F-B503-9C41-9B58-CB5EB9455EEF}"/>
              </a:ext>
            </a:extLst>
          </p:cNvPr>
          <p:cNvSpPr/>
          <p:nvPr/>
        </p:nvSpPr>
        <p:spPr>
          <a:xfrm>
            <a:off x="2997142" y="2747359"/>
            <a:ext cx="1154591" cy="368904"/>
          </a:xfrm>
          <a:prstGeom prst="rect">
            <a:avLst/>
          </a:prstGeom>
          <a:noFill/>
          <a:ln>
            <a:noFill/>
          </a:ln>
          <a:effectLst/>
        </p:spPr>
        <p:txBody>
          <a:bodyPr spcFirstLastPara="0" vert="horz" wrap="square" lIns="113792" tIns="113792" rIns="113792" bIns="113792" numCol="1" spcCol="1270" anchor="ctr" anchorCtr="0">
            <a:noAutofit/>
          </a:bodyPr>
          <a:lstStyle/>
          <a:p>
            <a:pPr algn="ctr" defTabSz="711164">
              <a:lnSpc>
                <a:spcPct val="90000"/>
              </a:lnSpc>
              <a:spcAft>
                <a:spcPct val="35000"/>
              </a:spcAft>
              <a:defRPr/>
            </a:pPr>
            <a:r>
              <a:rPr lang="en-US" sz="1100" b="1" kern="0" dirty="0">
                <a:solidFill>
                  <a:srgbClr val="FFFFFF"/>
                </a:solidFill>
                <a:latin typeface="CiscoSansTT ExtraLight"/>
                <a:ea typeface=""/>
                <a:cs typeface=""/>
              </a:rPr>
              <a:t>64-Bit Container</a:t>
            </a:r>
          </a:p>
        </p:txBody>
      </p:sp>
      <p:grpSp>
        <p:nvGrpSpPr>
          <p:cNvPr id="156" name="Group 155">
            <a:extLst>
              <a:ext uri="{FF2B5EF4-FFF2-40B4-BE49-F238E27FC236}">
                <a16:creationId xmlns:a16="http://schemas.microsoft.com/office/drawing/2014/main" id="{5478EAFA-E981-0742-9572-6155590F3FEB}"/>
              </a:ext>
            </a:extLst>
          </p:cNvPr>
          <p:cNvGrpSpPr/>
          <p:nvPr/>
        </p:nvGrpSpPr>
        <p:grpSpPr>
          <a:xfrm>
            <a:off x="4014100" y="2144483"/>
            <a:ext cx="1073973" cy="1065733"/>
            <a:chOff x="7779564" y="192342"/>
            <a:chExt cx="1013606" cy="963597"/>
          </a:xfrm>
        </p:grpSpPr>
        <p:grpSp>
          <p:nvGrpSpPr>
            <p:cNvPr id="157" name="Group 156">
              <a:extLst>
                <a:ext uri="{FF2B5EF4-FFF2-40B4-BE49-F238E27FC236}">
                  <a16:creationId xmlns:a16="http://schemas.microsoft.com/office/drawing/2014/main" id="{E469F311-EECD-224D-8FA6-9FE616E6A1D8}"/>
                </a:ext>
              </a:extLst>
            </p:cNvPr>
            <p:cNvGrpSpPr/>
            <p:nvPr/>
          </p:nvGrpSpPr>
          <p:grpSpPr>
            <a:xfrm>
              <a:off x="7779564" y="192342"/>
              <a:ext cx="1013606" cy="963597"/>
              <a:chOff x="2657453" y="1404063"/>
              <a:chExt cx="3151098" cy="2995631"/>
            </a:xfrm>
          </p:grpSpPr>
          <p:grpSp>
            <p:nvGrpSpPr>
              <p:cNvPr id="159" name="Group 158">
                <a:extLst>
                  <a:ext uri="{FF2B5EF4-FFF2-40B4-BE49-F238E27FC236}">
                    <a16:creationId xmlns:a16="http://schemas.microsoft.com/office/drawing/2014/main" id="{2707705B-DFAD-E04F-8E7A-9C82713A02CC}"/>
                  </a:ext>
                </a:extLst>
              </p:cNvPr>
              <p:cNvGrpSpPr/>
              <p:nvPr/>
            </p:nvGrpSpPr>
            <p:grpSpPr>
              <a:xfrm rot="-60000">
                <a:off x="2714428" y="1780375"/>
                <a:ext cx="2821876" cy="2619319"/>
                <a:chOff x="2713076" y="1446829"/>
                <a:chExt cx="2821876" cy="2619319"/>
              </a:xfrm>
            </p:grpSpPr>
            <p:sp>
              <p:nvSpPr>
                <p:cNvPr id="229" name="Freeform 245">
                  <a:extLst>
                    <a:ext uri="{FF2B5EF4-FFF2-40B4-BE49-F238E27FC236}">
                      <a16:creationId xmlns:a16="http://schemas.microsoft.com/office/drawing/2014/main" id="{5BCC649B-6D01-3C47-B1C0-9C9E61875136}"/>
                    </a:ext>
                  </a:extLst>
                </p:cNvPr>
                <p:cNvSpPr>
                  <a:spLocks/>
                </p:cNvSpPr>
                <p:nvPr/>
              </p:nvSpPr>
              <p:spPr bwMode="auto">
                <a:xfrm rot="7184395">
                  <a:off x="3572939" y="2476244"/>
                  <a:ext cx="1262004" cy="1917803"/>
                </a:xfrm>
                <a:custGeom>
                  <a:avLst/>
                  <a:gdLst>
                    <a:gd name="T0" fmla="*/ 0 w 133"/>
                    <a:gd name="T1" fmla="*/ 0 h 202"/>
                    <a:gd name="T2" fmla="*/ 133 w 133"/>
                    <a:gd name="T3" fmla="*/ 132 h 202"/>
                    <a:gd name="T4" fmla="*/ 113 w 133"/>
                    <a:gd name="T5" fmla="*/ 202 h 202"/>
                  </a:gdLst>
                  <a:ahLst/>
                  <a:cxnLst>
                    <a:cxn ang="0">
                      <a:pos x="T0" y="T1"/>
                    </a:cxn>
                    <a:cxn ang="0">
                      <a:pos x="T2" y="T3"/>
                    </a:cxn>
                    <a:cxn ang="0">
                      <a:pos x="T4" y="T5"/>
                    </a:cxn>
                  </a:cxnLst>
                  <a:rect l="0" t="0" r="r" b="b"/>
                  <a:pathLst>
                    <a:path w="133" h="202">
                      <a:moveTo>
                        <a:pt x="0" y="0"/>
                      </a:moveTo>
                      <a:cubicBezTo>
                        <a:pt x="73" y="0"/>
                        <a:pt x="133" y="59"/>
                        <a:pt x="133" y="132"/>
                      </a:cubicBezTo>
                      <a:cubicBezTo>
                        <a:pt x="133" y="158"/>
                        <a:pt x="127" y="180"/>
                        <a:pt x="113" y="202"/>
                      </a:cubicBezTo>
                    </a:path>
                  </a:pathLst>
                </a:custGeom>
                <a:noFill/>
                <a:ln w="101600" cap="rnd">
                  <a:solidFill>
                    <a:schemeClr val="accent4">
                      <a:lumMod val="20000"/>
                      <a:lumOff val="80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30" name="Freeform 245">
                  <a:extLst>
                    <a:ext uri="{FF2B5EF4-FFF2-40B4-BE49-F238E27FC236}">
                      <a16:creationId xmlns:a16="http://schemas.microsoft.com/office/drawing/2014/main" id="{CA46358B-77B2-DE40-9C4E-12942A5FEE07}"/>
                    </a:ext>
                  </a:extLst>
                </p:cNvPr>
                <p:cNvSpPr>
                  <a:spLocks/>
                </p:cNvSpPr>
                <p:nvPr/>
              </p:nvSpPr>
              <p:spPr bwMode="auto">
                <a:xfrm>
                  <a:off x="4272950" y="1446829"/>
                  <a:ext cx="1262002" cy="1917800"/>
                </a:xfrm>
                <a:custGeom>
                  <a:avLst/>
                  <a:gdLst>
                    <a:gd name="T0" fmla="*/ 0 w 133"/>
                    <a:gd name="T1" fmla="*/ 0 h 202"/>
                    <a:gd name="T2" fmla="*/ 133 w 133"/>
                    <a:gd name="T3" fmla="*/ 132 h 202"/>
                    <a:gd name="T4" fmla="*/ 113 w 133"/>
                    <a:gd name="T5" fmla="*/ 202 h 202"/>
                  </a:gdLst>
                  <a:ahLst/>
                  <a:cxnLst>
                    <a:cxn ang="0">
                      <a:pos x="T0" y="T1"/>
                    </a:cxn>
                    <a:cxn ang="0">
                      <a:pos x="T2" y="T3"/>
                    </a:cxn>
                    <a:cxn ang="0">
                      <a:pos x="T4" y="T5"/>
                    </a:cxn>
                  </a:cxnLst>
                  <a:rect l="0" t="0" r="r" b="b"/>
                  <a:pathLst>
                    <a:path w="133" h="202">
                      <a:moveTo>
                        <a:pt x="0" y="0"/>
                      </a:moveTo>
                      <a:cubicBezTo>
                        <a:pt x="73" y="0"/>
                        <a:pt x="133" y="59"/>
                        <a:pt x="133" y="132"/>
                      </a:cubicBezTo>
                      <a:cubicBezTo>
                        <a:pt x="133" y="158"/>
                        <a:pt x="127" y="180"/>
                        <a:pt x="113" y="202"/>
                      </a:cubicBezTo>
                    </a:path>
                  </a:pathLst>
                </a:custGeom>
                <a:noFill/>
                <a:ln w="101600" cap="rnd">
                  <a:solidFill>
                    <a:schemeClr val="accent4">
                      <a:lumMod val="20000"/>
                      <a:lumOff val="80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31" name="Freeform 245">
                  <a:extLst>
                    <a:ext uri="{FF2B5EF4-FFF2-40B4-BE49-F238E27FC236}">
                      <a16:creationId xmlns:a16="http://schemas.microsoft.com/office/drawing/2014/main" id="{892287CF-9380-0D45-B945-3C014CCE2457}"/>
                    </a:ext>
                  </a:extLst>
                </p:cNvPr>
                <p:cNvSpPr>
                  <a:spLocks/>
                </p:cNvSpPr>
                <p:nvPr/>
              </p:nvSpPr>
              <p:spPr bwMode="auto">
                <a:xfrm rot="14451489">
                  <a:off x="3040976" y="1345307"/>
                  <a:ext cx="1262004" cy="1917804"/>
                </a:xfrm>
                <a:custGeom>
                  <a:avLst/>
                  <a:gdLst>
                    <a:gd name="T0" fmla="*/ 0 w 133"/>
                    <a:gd name="T1" fmla="*/ 0 h 202"/>
                    <a:gd name="T2" fmla="*/ 133 w 133"/>
                    <a:gd name="T3" fmla="*/ 132 h 202"/>
                    <a:gd name="T4" fmla="*/ 113 w 133"/>
                    <a:gd name="T5" fmla="*/ 202 h 202"/>
                  </a:gdLst>
                  <a:ahLst/>
                  <a:cxnLst>
                    <a:cxn ang="0">
                      <a:pos x="T0" y="T1"/>
                    </a:cxn>
                    <a:cxn ang="0">
                      <a:pos x="T2" y="T3"/>
                    </a:cxn>
                    <a:cxn ang="0">
                      <a:pos x="T4" y="T5"/>
                    </a:cxn>
                  </a:cxnLst>
                  <a:rect l="0" t="0" r="r" b="b"/>
                  <a:pathLst>
                    <a:path w="133" h="202">
                      <a:moveTo>
                        <a:pt x="0" y="0"/>
                      </a:moveTo>
                      <a:cubicBezTo>
                        <a:pt x="73" y="0"/>
                        <a:pt x="133" y="59"/>
                        <a:pt x="133" y="132"/>
                      </a:cubicBezTo>
                      <a:cubicBezTo>
                        <a:pt x="133" y="158"/>
                        <a:pt x="127" y="180"/>
                        <a:pt x="113" y="202"/>
                      </a:cubicBezTo>
                    </a:path>
                  </a:pathLst>
                </a:custGeom>
                <a:noFill/>
                <a:ln w="101600" cap="rnd">
                  <a:solidFill>
                    <a:schemeClr val="accent4">
                      <a:lumMod val="20000"/>
                      <a:lumOff val="80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grpSp>
          <p:grpSp>
            <p:nvGrpSpPr>
              <p:cNvPr id="160" name="Group 159">
                <a:extLst>
                  <a:ext uri="{FF2B5EF4-FFF2-40B4-BE49-F238E27FC236}">
                    <a16:creationId xmlns:a16="http://schemas.microsoft.com/office/drawing/2014/main" id="{4DB87204-79DB-474D-BAC4-AFECB6312669}"/>
                  </a:ext>
                </a:extLst>
              </p:cNvPr>
              <p:cNvGrpSpPr/>
              <p:nvPr/>
            </p:nvGrpSpPr>
            <p:grpSpPr>
              <a:xfrm>
                <a:off x="2657453" y="3248253"/>
                <a:ext cx="858862" cy="858862"/>
                <a:chOff x="6451327" y="2941766"/>
                <a:chExt cx="858862" cy="858862"/>
              </a:xfrm>
            </p:grpSpPr>
            <p:sp>
              <p:nvSpPr>
                <p:cNvPr id="227" name="Oval 226">
                  <a:extLst>
                    <a:ext uri="{FF2B5EF4-FFF2-40B4-BE49-F238E27FC236}">
                      <a16:creationId xmlns:a16="http://schemas.microsoft.com/office/drawing/2014/main" id="{962F0265-AF15-F74E-BF35-74F5BACB234B}"/>
                    </a:ext>
                  </a:extLst>
                </p:cNvPr>
                <p:cNvSpPr/>
                <p:nvPr/>
              </p:nvSpPr>
              <p:spPr>
                <a:xfrm>
                  <a:off x="6451327" y="2941766"/>
                  <a:ext cx="858862" cy="858862"/>
                </a:xfrm>
                <a:prstGeom prst="ellipse">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sz="2400" dirty="0">
                    <a:solidFill>
                      <a:srgbClr val="005073"/>
                    </a:solidFill>
                    <a:latin typeface="CiscoSansTT ExtraLight"/>
                  </a:endParaRPr>
                </a:p>
              </p:txBody>
            </p:sp>
            <p:sp>
              <p:nvSpPr>
                <p:cNvPr id="228" name="Freeform 651">
                  <a:extLst>
                    <a:ext uri="{FF2B5EF4-FFF2-40B4-BE49-F238E27FC236}">
                      <a16:creationId xmlns:a16="http://schemas.microsoft.com/office/drawing/2014/main" id="{3F3E9B52-A365-4C41-BF7F-AE90192AEACD}"/>
                    </a:ext>
                  </a:extLst>
                </p:cNvPr>
                <p:cNvSpPr>
                  <a:spLocks noChangeAspect="1" noEditPoints="1"/>
                </p:cNvSpPr>
                <p:nvPr/>
              </p:nvSpPr>
              <p:spPr bwMode="auto">
                <a:xfrm>
                  <a:off x="6545572" y="3212023"/>
                  <a:ext cx="674450" cy="316847"/>
                </a:xfrm>
                <a:custGeom>
                  <a:avLst/>
                  <a:gdLst>
                    <a:gd name="T0" fmla="*/ 194 w 217"/>
                    <a:gd name="T1" fmla="*/ 28 h 102"/>
                    <a:gd name="T2" fmla="*/ 97 w 217"/>
                    <a:gd name="T3" fmla="*/ 28 h 102"/>
                    <a:gd name="T4" fmla="*/ 51 w 217"/>
                    <a:gd name="T5" fmla="*/ 0 h 102"/>
                    <a:gd name="T6" fmla="*/ 0 w 217"/>
                    <a:gd name="T7" fmla="*/ 51 h 102"/>
                    <a:gd name="T8" fmla="*/ 51 w 217"/>
                    <a:gd name="T9" fmla="*/ 102 h 102"/>
                    <a:gd name="T10" fmla="*/ 97 w 217"/>
                    <a:gd name="T11" fmla="*/ 74 h 102"/>
                    <a:gd name="T12" fmla="*/ 113 w 217"/>
                    <a:gd name="T13" fmla="*/ 74 h 102"/>
                    <a:gd name="T14" fmla="*/ 113 w 217"/>
                    <a:gd name="T15" fmla="*/ 64 h 102"/>
                    <a:gd name="T16" fmla="*/ 119 w 217"/>
                    <a:gd name="T17" fmla="*/ 58 h 102"/>
                    <a:gd name="T18" fmla="*/ 124 w 217"/>
                    <a:gd name="T19" fmla="*/ 64 h 102"/>
                    <a:gd name="T20" fmla="*/ 124 w 217"/>
                    <a:gd name="T21" fmla="*/ 74 h 102"/>
                    <a:gd name="T22" fmla="*/ 136 w 217"/>
                    <a:gd name="T23" fmla="*/ 74 h 102"/>
                    <a:gd name="T24" fmla="*/ 136 w 217"/>
                    <a:gd name="T25" fmla="*/ 64 h 102"/>
                    <a:gd name="T26" fmla="*/ 142 w 217"/>
                    <a:gd name="T27" fmla="*/ 58 h 102"/>
                    <a:gd name="T28" fmla="*/ 148 w 217"/>
                    <a:gd name="T29" fmla="*/ 64 h 102"/>
                    <a:gd name="T30" fmla="*/ 148 w 217"/>
                    <a:gd name="T31" fmla="*/ 74 h 102"/>
                    <a:gd name="T32" fmla="*/ 160 w 217"/>
                    <a:gd name="T33" fmla="*/ 74 h 102"/>
                    <a:gd name="T34" fmla="*/ 160 w 217"/>
                    <a:gd name="T35" fmla="*/ 64 h 102"/>
                    <a:gd name="T36" fmla="*/ 166 w 217"/>
                    <a:gd name="T37" fmla="*/ 58 h 102"/>
                    <a:gd name="T38" fmla="*/ 171 w 217"/>
                    <a:gd name="T39" fmla="*/ 64 h 102"/>
                    <a:gd name="T40" fmla="*/ 171 w 217"/>
                    <a:gd name="T41" fmla="*/ 74 h 102"/>
                    <a:gd name="T42" fmla="*/ 183 w 217"/>
                    <a:gd name="T43" fmla="*/ 74 h 102"/>
                    <a:gd name="T44" fmla="*/ 183 w 217"/>
                    <a:gd name="T45" fmla="*/ 64 h 102"/>
                    <a:gd name="T46" fmla="*/ 189 w 217"/>
                    <a:gd name="T47" fmla="*/ 58 h 102"/>
                    <a:gd name="T48" fmla="*/ 195 w 217"/>
                    <a:gd name="T49" fmla="*/ 64 h 102"/>
                    <a:gd name="T50" fmla="*/ 195 w 217"/>
                    <a:gd name="T51" fmla="*/ 74 h 102"/>
                    <a:gd name="T52" fmla="*/ 217 w 217"/>
                    <a:gd name="T53" fmla="*/ 51 h 102"/>
                    <a:gd name="T54" fmla="*/ 194 w 217"/>
                    <a:gd name="T55" fmla="*/ 28 h 102"/>
                    <a:gd name="T56" fmla="*/ 34 w 217"/>
                    <a:gd name="T57" fmla="*/ 68 h 102"/>
                    <a:gd name="T58" fmla="*/ 17 w 217"/>
                    <a:gd name="T59" fmla="*/ 51 h 102"/>
                    <a:gd name="T60" fmla="*/ 34 w 217"/>
                    <a:gd name="T61" fmla="*/ 34 h 102"/>
                    <a:gd name="T62" fmla="*/ 51 w 217"/>
                    <a:gd name="T63" fmla="*/ 51 h 102"/>
                    <a:gd name="T64" fmla="*/ 34 w 217"/>
                    <a:gd name="T65" fmla="*/ 6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02">
                      <a:moveTo>
                        <a:pt x="194" y="28"/>
                      </a:moveTo>
                      <a:cubicBezTo>
                        <a:pt x="97" y="28"/>
                        <a:pt x="97" y="28"/>
                        <a:pt x="97" y="28"/>
                      </a:cubicBezTo>
                      <a:cubicBezTo>
                        <a:pt x="89" y="11"/>
                        <a:pt x="72" y="0"/>
                        <a:pt x="51" y="0"/>
                      </a:cubicBezTo>
                      <a:cubicBezTo>
                        <a:pt x="23" y="0"/>
                        <a:pt x="0" y="23"/>
                        <a:pt x="0" y="51"/>
                      </a:cubicBezTo>
                      <a:cubicBezTo>
                        <a:pt x="0" y="79"/>
                        <a:pt x="23" y="102"/>
                        <a:pt x="51" y="102"/>
                      </a:cubicBezTo>
                      <a:cubicBezTo>
                        <a:pt x="72" y="102"/>
                        <a:pt x="89" y="91"/>
                        <a:pt x="97" y="74"/>
                      </a:cubicBezTo>
                      <a:cubicBezTo>
                        <a:pt x="113" y="74"/>
                        <a:pt x="113" y="74"/>
                        <a:pt x="113" y="74"/>
                      </a:cubicBezTo>
                      <a:cubicBezTo>
                        <a:pt x="113" y="64"/>
                        <a:pt x="113" y="64"/>
                        <a:pt x="113" y="64"/>
                      </a:cubicBezTo>
                      <a:cubicBezTo>
                        <a:pt x="113" y="60"/>
                        <a:pt x="115" y="58"/>
                        <a:pt x="119" y="58"/>
                      </a:cubicBezTo>
                      <a:cubicBezTo>
                        <a:pt x="122" y="58"/>
                        <a:pt x="124" y="60"/>
                        <a:pt x="124" y="64"/>
                      </a:cubicBezTo>
                      <a:cubicBezTo>
                        <a:pt x="124" y="74"/>
                        <a:pt x="124" y="74"/>
                        <a:pt x="124" y="74"/>
                      </a:cubicBezTo>
                      <a:cubicBezTo>
                        <a:pt x="136" y="74"/>
                        <a:pt x="136" y="74"/>
                        <a:pt x="136" y="74"/>
                      </a:cubicBezTo>
                      <a:cubicBezTo>
                        <a:pt x="136" y="64"/>
                        <a:pt x="136" y="64"/>
                        <a:pt x="136" y="64"/>
                      </a:cubicBezTo>
                      <a:cubicBezTo>
                        <a:pt x="136" y="60"/>
                        <a:pt x="139" y="58"/>
                        <a:pt x="142" y="58"/>
                      </a:cubicBezTo>
                      <a:cubicBezTo>
                        <a:pt x="145" y="58"/>
                        <a:pt x="148" y="60"/>
                        <a:pt x="148" y="64"/>
                      </a:cubicBezTo>
                      <a:cubicBezTo>
                        <a:pt x="148" y="74"/>
                        <a:pt x="148" y="74"/>
                        <a:pt x="148" y="74"/>
                      </a:cubicBezTo>
                      <a:cubicBezTo>
                        <a:pt x="160" y="74"/>
                        <a:pt x="160" y="74"/>
                        <a:pt x="160" y="74"/>
                      </a:cubicBezTo>
                      <a:cubicBezTo>
                        <a:pt x="160" y="64"/>
                        <a:pt x="160" y="64"/>
                        <a:pt x="160" y="64"/>
                      </a:cubicBezTo>
                      <a:cubicBezTo>
                        <a:pt x="160" y="60"/>
                        <a:pt x="162" y="58"/>
                        <a:pt x="166" y="58"/>
                      </a:cubicBezTo>
                      <a:cubicBezTo>
                        <a:pt x="169" y="58"/>
                        <a:pt x="171" y="60"/>
                        <a:pt x="171" y="64"/>
                      </a:cubicBezTo>
                      <a:cubicBezTo>
                        <a:pt x="171" y="74"/>
                        <a:pt x="171" y="74"/>
                        <a:pt x="171" y="74"/>
                      </a:cubicBezTo>
                      <a:cubicBezTo>
                        <a:pt x="183" y="74"/>
                        <a:pt x="183" y="74"/>
                        <a:pt x="183" y="74"/>
                      </a:cubicBezTo>
                      <a:cubicBezTo>
                        <a:pt x="183" y="64"/>
                        <a:pt x="183" y="64"/>
                        <a:pt x="183" y="64"/>
                      </a:cubicBezTo>
                      <a:cubicBezTo>
                        <a:pt x="183" y="60"/>
                        <a:pt x="186" y="58"/>
                        <a:pt x="189" y="58"/>
                      </a:cubicBezTo>
                      <a:cubicBezTo>
                        <a:pt x="192" y="58"/>
                        <a:pt x="195" y="60"/>
                        <a:pt x="195" y="64"/>
                      </a:cubicBezTo>
                      <a:cubicBezTo>
                        <a:pt x="195" y="74"/>
                        <a:pt x="195" y="74"/>
                        <a:pt x="195" y="74"/>
                      </a:cubicBezTo>
                      <a:cubicBezTo>
                        <a:pt x="207" y="73"/>
                        <a:pt x="217" y="63"/>
                        <a:pt x="217" y="51"/>
                      </a:cubicBezTo>
                      <a:cubicBezTo>
                        <a:pt x="217" y="38"/>
                        <a:pt x="207" y="28"/>
                        <a:pt x="194" y="28"/>
                      </a:cubicBezTo>
                      <a:moveTo>
                        <a:pt x="34" y="68"/>
                      </a:moveTo>
                      <a:cubicBezTo>
                        <a:pt x="25" y="68"/>
                        <a:pt x="17" y="60"/>
                        <a:pt x="17" y="51"/>
                      </a:cubicBezTo>
                      <a:cubicBezTo>
                        <a:pt x="17" y="41"/>
                        <a:pt x="25" y="34"/>
                        <a:pt x="34" y="34"/>
                      </a:cubicBezTo>
                      <a:cubicBezTo>
                        <a:pt x="44" y="34"/>
                        <a:pt x="51" y="41"/>
                        <a:pt x="51" y="51"/>
                      </a:cubicBezTo>
                      <a:cubicBezTo>
                        <a:pt x="51" y="60"/>
                        <a:pt x="44" y="68"/>
                        <a:pt x="34" y="68"/>
                      </a:cubicBezTo>
                    </a:path>
                  </a:pathLst>
                </a:custGeom>
                <a:solidFill>
                  <a:schemeClr val="accent4">
                    <a:lumMod val="40000"/>
                    <a:lumOff val="60000"/>
                  </a:schemeClr>
                </a:solidFill>
                <a:ln>
                  <a:no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grpSp>
          <p:grpSp>
            <p:nvGrpSpPr>
              <p:cNvPr id="161" name="Group 160">
                <a:extLst>
                  <a:ext uri="{FF2B5EF4-FFF2-40B4-BE49-F238E27FC236}">
                    <a16:creationId xmlns:a16="http://schemas.microsoft.com/office/drawing/2014/main" id="{E1869871-CC00-D24F-9993-CB2A43E9F5D5}"/>
                  </a:ext>
                </a:extLst>
              </p:cNvPr>
              <p:cNvGrpSpPr/>
              <p:nvPr/>
            </p:nvGrpSpPr>
            <p:grpSpPr>
              <a:xfrm>
                <a:off x="4949689" y="3248253"/>
                <a:ext cx="858862" cy="858862"/>
                <a:chOff x="4291008" y="2958550"/>
                <a:chExt cx="858862" cy="858862"/>
              </a:xfrm>
            </p:grpSpPr>
            <p:sp>
              <p:nvSpPr>
                <p:cNvPr id="215" name="Oval 214">
                  <a:extLst>
                    <a:ext uri="{FF2B5EF4-FFF2-40B4-BE49-F238E27FC236}">
                      <a16:creationId xmlns:a16="http://schemas.microsoft.com/office/drawing/2014/main" id="{95D657FC-40AF-DC4C-AC0B-F536AFB6ACF8}"/>
                    </a:ext>
                  </a:extLst>
                </p:cNvPr>
                <p:cNvSpPr/>
                <p:nvPr/>
              </p:nvSpPr>
              <p:spPr>
                <a:xfrm>
                  <a:off x="4291008" y="2958550"/>
                  <a:ext cx="858862" cy="858862"/>
                </a:xfrm>
                <a:prstGeom prst="ellipse">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sz="2400" dirty="0">
                    <a:solidFill>
                      <a:srgbClr val="005073"/>
                    </a:solidFill>
                    <a:latin typeface="CiscoSansTT ExtraLight"/>
                  </a:endParaRPr>
                </a:p>
              </p:txBody>
            </p:sp>
            <p:grpSp>
              <p:nvGrpSpPr>
                <p:cNvPr id="216" name="Group 258">
                  <a:extLst>
                    <a:ext uri="{FF2B5EF4-FFF2-40B4-BE49-F238E27FC236}">
                      <a16:creationId xmlns:a16="http://schemas.microsoft.com/office/drawing/2014/main" id="{40D87975-A27D-1846-815B-11742269A18D}"/>
                    </a:ext>
                  </a:extLst>
                </p:cNvPr>
                <p:cNvGrpSpPr>
                  <a:grpSpLocks noChangeAspect="1"/>
                </p:cNvGrpSpPr>
                <p:nvPr/>
              </p:nvGrpSpPr>
              <p:grpSpPr bwMode="auto">
                <a:xfrm>
                  <a:off x="4420310" y="3110603"/>
                  <a:ext cx="600258" cy="560389"/>
                  <a:chOff x="3525" y="1319"/>
                  <a:chExt cx="813" cy="759"/>
                </a:xfrm>
              </p:grpSpPr>
              <p:sp>
                <p:nvSpPr>
                  <p:cNvPr id="217" name="Line 259">
                    <a:extLst>
                      <a:ext uri="{FF2B5EF4-FFF2-40B4-BE49-F238E27FC236}">
                        <a16:creationId xmlns:a16="http://schemas.microsoft.com/office/drawing/2014/main" id="{9BF01CCF-B1AF-5144-97D7-00A81762471E}"/>
                      </a:ext>
                    </a:extLst>
                  </p:cNvPr>
                  <p:cNvSpPr>
                    <a:spLocks noChangeShapeType="1"/>
                  </p:cNvSpPr>
                  <p:nvPr/>
                </p:nvSpPr>
                <p:spPr bwMode="auto">
                  <a:xfrm>
                    <a:off x="3775" y="1429"/>
                    <a:ext cx="312" cy="539"/>
                  </a:xfrm>
                  <a:prstGeom prst="line">
                    <a:avLst/>
                  </a:prstGeom>
                  <a:noFill/>
                  <a:ln w="28575" cap="flat">
                    <a:solidFill>
                      <a:schemeClr val="bg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18" name="Line 260">
                    <a:extLst>
                      <a:ext uri="{FF2B5EF4-FFF2-40B4-BE49-F238E27FC236}">
                        <a16:creationId xmlns:a16="http://schemas.microsoft.com/office/drawing/2014/main" id="{A10B16FC-F1AE-0348-A75C-5B5B4D3CCB3F}"/>
                      </a:ext>
                    </a:extLst>
                  </p:cNvPr>
                  <p:cNvSpPr>
                    <a:spLocks noChangeShapeType="1"/>
                  </p:cNvSpPr>
                  <p:nvPr/>
                </p:nvSpPr>
                <p:spPr bwMode="auto">
                  <a:xfrm>
                    <a:off x="3618" y="1699"/>
                    <a:ext cx="624" cy="0"/>
                  </a:xfrm>
                  <a:prstGeom prst="line">
                    <a:avLst/>
                  </a:prstGeom>
                  <a:noFill/>
                  <a:ln w="28575" cap="flat">
                    <a:solidFill>
                      <a:schemeClr val="bg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19" name="Line 261">
                    <a:extLst>
                      <a:ext uri="{FF2B5EF4-FFF2-40B4-BE49-F238E27FC236}">
                        <a16:creationId xmlns:a16="http://schemas.microsoft.com/office/drawing/2014/main" id="{2D83B688-9B1B-6749-B0A5-44D42A8C93B2}"/>
                      </a:ext>
                    </a:extLst>
                  </p:cNvPr>
                  <p:cNvSpPr>
                    <a:spLocks noChangeShapeType="1"/>
                  </p:cNvSpPr>
                  <p:nvPr/>
                </p:nvSpPr>
                <p:spPr bwMode="auto">
                  <a:xfrm flipV="1">
                    <a:off x="3775" y="1429"/>
                    <a:ext cx="312" cy="539"/>
                  </a:xfrm>
                  <a:prstGeom prst="line">
                    <a:avLst/>
                  </a:prstGeom>
                  <a:noFill/>
                  <a:ln w="28575" cap="flat">
                    <a:solidFill>
                      <a:schemeClr val="bg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20" name="Freeform 268">
                    <a:extLst>
                      <a:ext uri="{FF2B5EF4-FFF2-40B4-BE49-F238E27FC236}">
                        <a16:creationId xmlns:a16="http://schemas.microsoft.com/office/drawing/2014/main" id="{4229B127-4D6A-C042-B2E5-70668BE69581}"/>
                      </a:ext>
                    </a:extLst>
                  </p:cNvPr>
                  <p:cNvSpPr>
                    <a:spLocks/>
                  </p:cNvSpPr>
                  <p:nvPr/>
                </p:nvSpPr>
                <p:spPr bwMode="auto">
                  <a:xfrm>
                    <a:off x="3823" y="1591"/>
                    <a:ext cx="214" cy="215"/>
                  </a:xfrm>
                  <a:custGeom>
                    <a:avLst/>
                    <a:gdLst>
                      <a:gd name="T0" fmla="*/ 79 w 90"/>
                      <a:gd name="T1" fmla="*/ 25 h 90"/>
                      <a:gd name="T2" fmla="*/ 65 w 90"/>
                      <a:gd name="T3" fmla="*/ 79 h 90"/>
                      <a:gd name="T4" fmla="*/ 11 w 90"/>
                      <a:gd name="T5" fmla="*/ 65 h 90"/>
                      <a:gd name="T6" fmla="*/ 25 w 90"/>
                      <a:gd name="T7" fmla="*/ 11 h 90"/>
                      <a:gd name="T8" fmla="*/ 79 w 90"/>
                      <a:gd name="T9" fmla="*/ 25 h 90"/>
                    </a:gdLst>
                    <a:ahLst/>
                    <a:cxnLst>
                      <a:cxn ang="0">
                        <a:pos x="T0" y="T1"/>
                      </a:cxn>
                      <a:cxn ang="0">
                        <a:pos x="T2" y="T3"/>
                      </a:cxn>
                      <a:cxn ang="0">
                        <a:pos x="T4" y="T5"/>
                      </a:cxn>
                      <a:cxn ang="0">
                        <a:pos x="T6" y="T7"/>
                      </a:cxn>
                      <a:cxn ang="0">
                        <a:pos x="T8" y="T9"/>
                      </a:cxn>
                    </a:cxnLst>
                    <a:rect l="0" t="0" r="r" b="b"/>
                    <a:pathLst>
                      <a:path w="90" h="90">
                        <a:moveTo>
                          <a:pt x="79" y="25"/>
                        </a:moveTo>
                        <a:cubicBezTo>
                          <a:pt x="90" y="44"/>
                          <a:pt x="84" y="68"/>
                          <a:pt x="65" y="79"/>
                        </a:cubicBezTo>
                        <a:cubicBezTo>
                          <a:pt x="46" y="90"/>
                          <a:pt x="22" y="84"/>
                          <a:pt x="11" y="65"/>
                        </a:cubicBezTo>
                        <a:cubicBezTo>
                          <a:pt x="0" y="46"/>
                          <a:pt x="6" y="22"/>
                          <a:pt x="25" y="11"/>
                        </a:cubicBezTo>
                        <a:cubicBezTo>
                          <a:pt x="44" y="0"/>
                          <a:pt x="68" y="6"/>
                          <a:pt x="79" y="25"/>
                        </a:cubicBezTo>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21" name="Freeform 269">
                    <a:extLst>
                      <a:ext uri="{FF2B5EF4-FFF2-40B4-BE49-F238E27FC236}">
                        <a16:creationId xmlns:a16="http://schemas.microsoft.com/office/drawing/2014/main" id="{9817B9B0-FC86-5D4C-BA24-0093816476D0}"/>
                      </a:ext>
                    </a:extLst>
                  </p:cNvPr>
                  <p:cNvSpPr>
                    <a:spLocks/>
                  </p:cNvSpPr>
                  <p:nvPr/>
                </p:nvSpPr>
                <p:spPr bwMode="auto">
                  <a:xfrm>
                    <a:off x="3666" y="1319"/>
                    <a:ext cx="216" cy="218"/>
                  </a:xfrm>
                  <a:custGeom>
                    <a:avLst/>
                    <a:gdLst>
                      <a:gd name="T0" fmla="*/ 80 w 91"/>
                      <a:gd name="T1" fmla="*/ 26 h 91"/>
                      <a:gd name="T2" fmla="*/ 65 w 91"/>
                      <a:gd name="T3" fmla="*/ 80 h 91"/>
                      <a:gd name="T4" fmla="*/ 11 w 91"/>
                      <a:gd name="T5" fmla="*/ 65 h 91"/>
                      <a:gd name="T6" fmla="*/ 26 w 91"/>
                      <a:gd name="T7" fmla="*/ 11 h 91"/>
                      <a:gd name="T8" fmla="*/ 80 w 91"/>
                      <a:gd name="T9" fmla="*/ 26 h 91"/>
                    </a:gdLst>
                    <a:ahLst/>
                    <a:cxnLst>
                      <a:cxn ang="0">
                        <a:pos x="T0" y="T1"/>
                      </a:cxn>
                      <a:cxn ang="0">
                        <a:pos x="T2" y="T3"/>
                      </a:cxn>
                      <a:cxn ang="0">
                        <a:pos x="T4" y="T5"/>
                      </a:cxn>
                      <a:cxn ang="0">
                        <a:pos x="T6" y="T7"/>
                      </a:cxn>
                      <a:cxn ang="0">
                        <a:pos x="T8" y="T9"/>
                      </a:cxn>
                    </a:cxnLst>
                    <a:rect l="0" t="0" r="r" b="b"/>
                    <a:pathLst>
                      <a:path w="91" h="91">
                        <a:moveTo>
                          <a:pt x="80" y="26"/>
                        </a:moveTo>
                        <a:cubicBezTo>
                          <a:pt x="91" y="45"/>
                          <a:pt x="84" y="69"/>
                          <a:pt x="65" y="80"/>
                        </a:cubicBezTo>
                        <a:cubicBezTo>
                          <a:pt x="46" y="91"/>
                          <a:pt x="22" y="84"/>
                          <a:pt x="11" y="65"/>
                        </a:cubicBezTo>
                        <a:cubicBezTo>
                          <a:pt x="0" y="46"/>
                          <a:pt x="7" y="22"/>
                          <a:pt x="26" y="11"/>
                        </a:cubicBezTo>
                        <a:cubicBezTo>
                          <a:pt x="45" y="0"/>
                          <a:pt x="69" y="7"/>
                          <a:pt x="80" y="26"/>
                        </a:cubicBezTo>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22" name="Freeform 270">
                    <a:extLst>
                      <a:ext uri="{FF2B5EF4-FFF2-40B4-BE49-F238E27FC236}">
                        <a16:creationId xmlns:a16="http://schemas.microsoft.com/office/drawing/2014/main" id="{03276387-E1A7-1849-B555-0CF56F43CF2C}"/>
                      </a:ext>
                    </a:extLst>
                  </p:cNvPr>
                  <p:cNvSpPr>
                    <a:spLocks/>
                  </p:cNvSpPr>
                  <p:nvPr/>
                </p:nvSpPr>
                <p:spPr bwMode="auto">
                  <a:xfrm>
                    <a:off x="3978" y="1861"/>
                    <a:ext cx="217" cy="217"/>
                  </a:xfrm>
                  <a:custGeom>
                    <a:avLst/>
                    <a:gdLst>
                      <a:gd name="T0" fmla="*/ 80 w 91"/>
                      <a:gd name="T1" fmla="*/ 26 h 91"/>
                      <a:gd name="T2" fmla="*/ 65 w 91"/>
                      <a:gd name="T3" fmla="*/ 80 h 91"/>
                      <a:gd name="T4" fmla="*/ 11 w 91"/>
                      <a:gd name="T5" fmla="*/ 65 h 91"/>
                      <a:gd name="T6" fmla="*/ 26 w 91"/>
                      <a:gd name="T7" fmla="*/ 11 h 91"/>
                      <a:gd name="T8" fmla="*/ 80 w 91"/>
                      <a:gd name="T9" fmla="*/ 26 h 91"/>
                    </a:gdLst>
                    <a:ahLst/>
                    <a:cxnLst>
                      <a:cxn ang="0">
                        <a:pos x="T0" y="T1"/>
                      </a:cxn>
                      <a:cxn ang="0">
                        <a:pos x="T2" y="T3"/>
                      </a:cxn>
                      <a:cxn ang="0">
                        <a:pos x="T4" y="T5"/>
                      </a:cxn>
                      <a:cxn ang="0">
                        <a:pos x="T6" y="T7"/>
                      </a:cxn>
                      <a:cxn ang="0">
                        <a:pos x="T8" y="T9"/>
                      </a:cxn>
                    </a:cxnLst>
                    <a:rect l="0" t="0" r="r" b="b"/>
                    <a:pathLst>
                      <a:path w="91" h="91">
                        <a:moveTo>
                          <a:pt x="80" y="26"/>
                        </a:moveTo>
                        <a:cubicBezTo>
                          <a:pt x="91" y="45"/>
                          <a:pt x="84" y="69"/>
                          <a:pt x="65" y="80"/>
                        </a:cubicBezTo>
                        <a:cubicBezTo>
                          <a:pt x="46" y="91"/>
                          <a:pt x="22" y="84"/>
                          <a:pt x="11" y="65"/>
                        </a:cubicBezTo>
                        <a:cubicBezTo>
                          <a:pt x="0" y="46"/>
                          <a:pt x="7" y="22"/>
                          <a:pt x="26" y="11"/>
                        </a:cubicBezTo>
                        <a:cubicBezTo>
                          <a:pt x="45" y="0"/>
                          <a:pt x="69" y="7"/>
                          <a:pt x="80" y="26"/>
                        </a:cubicBezTo>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23" name="Oval 271">
                    <a:extLst>
                      <a:ext uri="{FF2B5EF4-FFF2-40B4-BE49-F238E27FC236}">
                        <a16:creationId xmlns:a16="http://schemas.microsoft.com/office/drawing/2014/main" id="{F10B976F-332B-8A47-9ABA-FAE6D2E4585B}"/>
                      </a:ext>
                    </a:extLst>
                  </p:cNvPr>
                  <p:cNvSpPr>
                    <a:spLocks noChangeArrowheads="1"/>
                  </p:cNvSpPr>
                  <p:nvPr/>
                </p:nvSpPr>
                <p:spPr bwMode="auto">
                  <a:xfrm>
                    <a:off x="3525" y="1603"/>
                    <a:ext cx="188" cy="191"/>
                  </a:xfrm>
                  <a:prstGeom prst="ellipse">
                    <a:avLst/>
                  </a:pr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24" name="Oval 272">
                    <a:extLst>
                      <a:ext uri="{FF2B5EF4-FFF2-40B4-BE49-F238E27FC236}">
                        <a16:creationId xmlns:a16="http://schemas.microsoft.com/office/drawing/2014/main" id="{75EBEB35-B4EB-F240-947F-9FF9C2A719AC}"/>
                      </a:ext>
                    </a:extLst>
                  </p:cNvPr>
                  <p:cNvSpPr>
                    <a:spLocks noChangeArrowheads="1"/>
                  </p:cNvSpPr>
                  <p:nvPr/>
                </p:nvSpPr>
                <p:spPr bwMode="auto">
                  <a:xfrm>
                    <a:off x="4147" y="1603"/>
                    <a:ext cx="191" cy="191"/>
                  </a:xfrm>
                  <a:prstGeom prst="ellipse">
                    <a:avLst/>
                  </a:pr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25" name="Freeform 273">
                    <a:extLst>
                      <a:ext uri="{FF2B5EF4-FFF2-40B4-BE49-F238E27FC236}">
                        <a16:creationId xmlns:a16="http://schemas.microsoft.com/office/drawing/2014/main" id="{3A65D8DB-2CD6-2946-8F6D-2CFE5BEF382E}"/>
                      </a:ext>
                    </a:extLst>
                  </p:cNvPr>
                  <p:cNvSpPr>
                    <a:spLocks/>
                  </p:cNvSpPr>
                  <p:nvPr/>
                </p:nvSpPr>
                <p:spPr bwMode="auto">
                  <a:xfrm>
                    <a:off x="3978" y="1319"/>
                    <a:ext cx="217" cy="218"/>
                  </a:xfrm>
                  <a:custGeom>
                    <a:avLst/>
                    <a:gdLst>
                      <a:gd name="T0" fmla="*/ 11 w 91"/>
                      <a:gd name="T1" fmla="*/ 26 h 91"/>
                      <a:gd name="T2" fmla="*/ 26 w 91"/>
                      <a:gd name="T3" fmla="*/ 80 h 91"/>
                      <a:gd name="T4" fmla="*/ 80 w 91"/>
                      <a:gd name="T5" fmla="*/ 65 h 91"/>
                      <a:gd name="T6" fmla="*/ 65 w 91"/>
                      <a:gd name="T7" fmla="*/ 11 h 91"/>
                      <a:gd name="T8" fmla="*/ 11 w 91"/>
                      <a:gd name="T9" fmla="*/ 26 h 91"/>
                    </a:gdLst>
                    <a:ahLst/>
                    <a:cxnLst>
                      <a:cxn ang="0">
                        <a:pos x="T0" y="T1"/>
                      </a:cxn>
                      <a:cxn ang="0">
                        <a:pos x="T2" y="T3"/>
                      </a:cxn>
                      <a:cxn ang="0">
                        <a:pos x="T4" y="T5"/>
                      </a:cxn>
                      <a:cxn ang="0">
                        <a:pos x="T6" y="T7"/>
                      </a:cxn>
                      <a:cxn ang="0">
                        <a:pos x="T8" y="T9"/>
                      </a:cxn>
                    </a:cxnLst>
                    <a:rect l="0" t="0" r="r" b="b"/>
                    <a:pathLst>
                      <a:path w="91" h="91">
                        <a:moveTo>
                          <a:pt x="11" y="26"/>
                        </a:moveTo>
                        <a:cubicBezTo>
                          <a:pt x="0" y="45"/>
                          <a:pt x="7" y="69"/>
                          <a:pt x="26" y="80"/>
                        </a:cubicBezTo>
                        <a:cubicBezTo>
                          <a:pt x="45" y="91"/>
                          <a:pt x="69" y="84"/>
                          <a:pt x="80" y="65"/>
                        </a:cubicBezTo>
                        <a:cubicBezTo>
                          <a:pt x="91" y="46"/>
                          <a:pt x="84" y="22"/>
                          <a:pt x="65" y="11"/>
                        </a:cubicBezTo>
                        <a:cubicBezTo>
                          <a:pt x="46" y="0"/>
                          <a:pt x="22" y="7"/>
                          <a:pt x="11" y="26"/>
                        </a:cubicBezTo>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26" name="Freeform 274">
                    <a:extLst>
                      <a:ext uri="{FF2B5EF4-FFF2-40B4-BE49-F238E27FC236}">
                        <a16:creationId xmlns:a16="http://schemas.microsoft.com/office/drawing/2014/main" id="{12EE8E10-EA72-214A-8EB2-90400C404FB7}"/>
                      </a:ext>
                    </a:extLst>
                  </p:cNvPr>
                  <p:cNvSpPr>
                    <a:spLocks/>
                  </p:cNvSpPr>
                  <p:nvPr/>
                </p:nvSpPr>
                <p:spPr bwMode="auto">
                  <a:xfrm>
                    <a:off x="3666" y="1861"/>
                    <a:ext cx="216" cy="217"/>
                  </a:xfrm>
                  <a:custGeom>
                    <a:avLst/>
                    <a:gdLst>
                      <a:gd name="T0" fmla="*/ 11 w 91"/>
                      <a:gd name="T1" fmla="*/ 26 h 91"/>
                      <a:gd name="T2" fmla="*/ 26 w 91"/>
                      <a:gd name="T3" fmla="*/ 80 h 91"/>
                      <a:gd name="T4" fmla="*/ 80 w 91"/>
                      <a:gd name="T5" fmla="*/ 65 h 91"/>
                      <a:gd name="T6" fmla="*/ 65 w 91"/>
                      <a:gd name="T7" fmla="*/ 11 h 91"/>
                      <a:gd name="T8" fmla="*/ 11 w 91"/>
                      <a:gd name="T9" fmla="*/ 26 h 91"/>
                    </a:gdLst>
                    <a:ahLst/>
                    <a:cxnLst>
                      <a:cxn ang="0">
                        <a:pos x="T0" y="T1"/>
                      </a:cxn>
                      <a:cxn ang="0">
                        <a:pos x="T2" y="T3"/>
                      </a:cxn>
                      <a:cxn ang="0">
                        <a:pos x="T4" y="T5"/>
                      </a:cxn>
                      <a:cxn ang="0">
                        <a:pos x="T6" y="T7"/>
                      </a:cxn>
                      <a:cxn ang="0">
                        <a:pos x="T8" y="T9"/>
                      </a:cxn>
                    </a:cxnLst>
                    <a:rect l="0" t="0" r="r" b="b"/>
                    <a:pathLst>
                      <a:path w="91" h="91">
                        <a:moveTo>
                          <a:pt x="11" y="26"/>
                        </a:moveTo>
                        <a:cubicBezTo>
                          <a:pt x="0" y="45"/>
                          <a:pt x="7" y="69"/>
                          <a:pt x="26" y="80"/>
                        </a:cubicBezTo>
                        <a:cubicBezTo>
                          <a:pt x="45" y="91"/>
                          <a:pt x="69" y="84"/>
                          <a:pt x="80" y="65"/>
                        </a:cubicBezTo>
                        <a:cubicBezTo>
                          <a:pt x="91" y="46"/>
                          <a:pt x="84" y="22"/>
                          <a:pt x="65" y="11"/>
                        </a:cubicBezTo>
                        <a:cubicBezTo>
                          <a:pt x="46" y="0"/>
                          <a:pt x="22" y="7"/>
                          <a:pt x="11" y="26"/>
                        </a:cubicBezTo>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grpSp>
          </p:grpSp>
          <p:grpSp>
            <p:nvGrpSpPr>
              <p:cNvPr id="162" name="Group 161">
                <a:extLst>
                  <a:ext uri="{FF2B5EF4-FFF2-40B4-BE49-F238E27FC236}">
                    <a16:creationId xmlns:a16="http://schemas.microsoft.com/office/drawing/2014/main" id="{2C0434E7-2FCE-314F-9D49-ECD8A79F8ECE}"/>
                  </a:ext>
                </a:extLst>
              </p:cNvPr>
              <p:cNvGrpSpPr/>
              <p:nvPr/>
            </p:nvGrpSpPr>
            <p:grpSpPr>
              <a:xfrm>
                <a:off x="3854948" y="1404063"/>
                <a:ext cx="872120" cy="872120"/>
                <a:chOff x="2124058" y="2958550"/>
                <a:chExt cx="872120" cy="872120"/>
              </a:xfrm>
            </p:grpSpPr>
            <p:sp>
              <p:nvSpPr>
                <p:cNvPr id="163" name="Oval 162">
                  <a:extLst>
                    <a:ext uri="{FF2B5EF4-FFF2-40B4-BE49-F238E27FC236}">
                      <a16:creationId xmlns:a16="http://schemas.microsoft.com/office/drawing/2014/main" id="{95DEC20A-3CE8-0942-9C17-EE0A1C272891}"/>
                    </a:ext>
                  </a:extLst>
                </p:cNvPr>
                <p:cNvSpPr/>
                <p:nvPr/>
              </p:nvSpPr>
              <p:spPr>
                <a:xfrm>
                  <a:off x="2124058" y="2958550"/>
                  <a:ext cx="872120" cy="87212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sz="2400" dirty="0">
                    <a:solidFill>
                      <a:srgbClr val="005073"/>
                    </a:solidFill>
                    <a:latin typeface="CiscoSansTT ExtraLight"/>
                  </a:endParaRPr>
                </a:p>
              </p:txBody>
            </p:sp>
            <p:grpSp>
              <p:nvGrpSpPr>
                <p:cNvPr id="164" name="Group 163">
                  <a:extLst>
                    <a:ext uri="{FF2B5EF4-FFF2-40B4-BE49-F238E27FC236}">
                      <a16:creationId xmlns:a16="http://schemas.microsoft.com/office/drawing/2014/main" id="{AD9A5023-0D57-964D-B6F1-29B33FE55D8A}"/>
                    </a:ext>
                  </a:extLst>
                </p:cNvPr>
                <p:cNvGrpSpPr/>
                <p:nvPr/>
              </p:nvGrpSpPr>
              <p:grpSpPr>
                <a:xfrm>
                  <a:off x="2234212" y="3112608"/>
                  <a:ext cx="669400" cy="454144"/>
                  <a:chOff x="2234212" y="3112608"/>
                  <a:chExt cx="669400" cy="454144"/>
                </a:xfrm>
              </p:grpSpPr>
              <p:grpSp>
                <p:nvGrpSpPr>
                  <p:cNvPr id="198" name="Group 197">
                    <a:extLst>
                      <a:ext uri="{FF2B5EF4-FFF2-40B4-BE49-F238E27FC236}">
                        <a16:creationId xmlns:a16="http://schemas.microsoft.com/office/drawing/2014/main" id="{0C6A0983-386D-164D-AA55-A43E96918CF2}"/>
                      </a:ext>
                    </a:extLst>
                  </p:cNvPr>
                  <p:cNvGrpSpPr>
                    <a:grpSpLocks noChangeAspect="1"/>
                  </p:cNvGrpSpPr>
                  <p:nvPr/>
                </p:nvGrpSpPr>
                <p:grpSpPr>
                  <a:xfrm rot="4980000" flipH="1">
                    <a:off x="2256932" y="3089888"/>
                    <a:ext cx="435246" cy="480685"/>
                    <a:chOff x="4929188" y="1023937"/>
                    <a:chExt cx="694822" cy="841375"/>
                  </a:xfrm>
                </p:grpSpPr>
                <p:sp>
                  <p:nvSpPr>
                    <p:cNvPr id="208" name="Freeform 123">
                      <a:extLst>
                        <a:ext uri="{FF2B5EF4-FFF2-40B4-BE49-F238E27FC236}">
                          <a16:creationId xmlns:a16="http://schemas.microsoft.com/office/drawing/2014/main" id="{FF80B824-1725-6441-BA76-E0A1489BF853}"/>
                        </a:ext>
                      </a:extLst>
                    </p:cNvPr>
                    <p:cNvSpPr>
                      <a:spLocks noEditPoints="1"/>
                    </p:cNvSpPr>
                    <p:nvPr/>
                  </p:nvSpPr>
                  <p:spPr bwMode="auto">
                    <a:xfrm>
                      <a:off x="4929188" y="1185862"/>
                      <a:ext cx="687388" cy="679450"/>
                    </a:xfrm>
                    <a:custGeom>
                      <a:avLst/>
                      <a:gdLst>
                        <a:gd name="T0" fmla="*/ 266 w 393"/>
                        <a:gd name="T1" fmla="*/ 7 h 388"/>
                        <a:gd name="T2" fmla="*/ 219 w 393"/>
                        <a:gd name="T3" fmla="*/ 23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8 h 388"/>
                        <a:gd name="T20" fmla="*/ 266 w 393"/>
                        <a:gd name="T21" fmla="*/ 7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7"/>
                          </a:moveTo>
                          <a:cubicBezTo>
                            <a:pt x="250" y="12"/>
                            <a:pt x="234" y="17"/>
                            <a:pt x="219" y="23"/>
                          </a:cubicBezTo>
                          <a:cubicBezTo>
                            <a:pt x="154" y="51"/>
                            <a:pt x="100" y="96"/>
                            <a:pt x="61" y="153"/>
                          </a:cubicBezTo>
                          <a:cubicBezTo>
                            <a:pt x="23" y="210"/>
                            <a:pt x="0" y="279"/>
                            <a:pt x="0" y="353"/>
                          </a:cubicBezTo>
                          <a:cubicBezTo>
                            <a:pt x="0" y="372"/>
                            <a:pt x="16" y="388"/>
                            <a:pt x="36" y="388"/>
                          </a:cubicBezTo>
                          <a:cubicBezTo>
                            <a:pt x="55" y="388"/>
                            <a:pt x="71" y="372"/>
                            <a:pt x="71" y="353"/>
                          </a:cubicBezTo>
                          <a:cubicBezTo>
                            <a:pt x="71" y="313"/>
                            <a:pt x="79" y="275"/>
                            <a:pt x="94" y="241"/>
                          </a:cubicBezTo>
                          <a:cubicBezTo>
                            <a:pt x="115" y="190"/>
                            <a:pt x="152" y="146"/>
                            <a:pt x="198" y="115"/>
                          </a:cubicBezTo>
                          <a:cubicBezTo>
                            <a:pt x="222" y="98"/>
                            <a:pt x="250" y="85"/>
                            <a:pt x="279" y="77"/>
                          </a:cubicBezTo>
                          <a:cubicBezTo>
                            <a:pt x="308" y="38"/>
                            <a:pt x="308" y="38"/>
                            <a:pt x="308" y="38"/>
                          </a:cubicBezTo>
                          <a:cubicBezTo>
                            <a:pt x="266" y="7"/>
                            <a:pt x="266" y="7"/>
                            <a:pt x="266" y="7"/>
                          </a:cubicBezTo>
                          <a:moveTo>
                            <a:pt x="375" y="0"/>
                          </a:moveTo>
                          <a:cubicBezTo>
                            <a:pt x="378" y="2"/>
                            <a:pt x="378" y="2"/>
                            <a:pt x="378" y="2"/>
                          </a:cubicBezTo>
                          <a:cubicBezTo>
                            <a:pt x="378" y="2"/>
                            <a:pt x="378" y="2"/>
                            <a:pt x="378" y="2"/>
                          </a:cubicBezTo>
                          <a:cubicBezTo>
                            <a:pt x="388" y="9"/>
                            <a:pt x="393" y="20"/>
                            <a:pt x="392" y="31"/>
                          </a:cubicBezTo>
                          <a:cubicBezTo>
                            <a:pt x="392" y="38"/>
                            <a:pt x="390" y="45"/>
                            <a:pt x="386" y="52"/>
                          </a:cubicBezTo>
                          <a:cubicBezTo>
                            <a:pt x="386" y="52"/>
                            <a:pt x="386" y="52"/>
                            <a:pt x="386" y="52"/>
                          </a:cubicBezTo>
                          <a:cubicBezTo>
                            <a:pt x="382" y="56"/>
                            <a:pt x="382" y="56"/>
                            <a:pt x="382" y="56"/>
                          </a:cubicBezTo>
                          <a:cubicBezTo>
                            <a:pt x="389" y="50"/>
                            <a:pt x="393" y="41"/>
                            <a:pt x="393" y="31"/>
                          </a:cubicBezTo>
                          <a:cubicBezTo>
                            <a:pt x="393" y="17"/>
                            <a:pt x="386" y="6"/>
                            <a:pt x="375"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09" name="Freeform 124">
                      <a:extLst>
                        <a:ext uri="{FF2B5EF4-FFF2-40B4-BE49-F238E27FC236}">
                          <a16:creationId xmlns:a16="http://schemas.microsoft.com/office/drawing/2014/main" id="{CC3A40C6-6845-C349-AB80-EF24D9CD885B}"/>
                        </a:ext>
                      </a:extLst>
                    </p:cNvPr>
                    <p:cNvSpPr>
                      <a:spLocks/>
                    </p:cNvSpPr>
                    <p:nvPr/>
                  </p:nvSpPr>
                  <p:spPr bwMode="auto">
                    <a:xfrm>
                      <a:off x="5272088" y="1023937"/>
                      <a:ext cx="312738" cy="174625"/>
                    </a:xfrm>
                    <a:custGeom>
                      <a:avLst/>
                      <a:gdLst>
                        <a:gd name="T0" fmla="*/ 40 w 179"/>
                        <a:gd name="T1" fmla="*/ 0 h 100"/>
                        <a:gd name="T2" fmla="*/ 12 w 179"/>
                        <a:gd name="T3" fmla="*/ 14 h 100"/>
                        <a:gd name="T4" fmla="*/ 19 w 179"/>
                        <a:gd name="T5" fmla="*/ 64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4"/>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10" name="Freeform 125">
                      <a:extLst>
                        <a:ext uri="{FF2B5EF4-FFF2-40B4-BE49-F238E27FC236}">
                          <a16:creationId xmlns:a16="http://schemas.microsoft.com/office/drawing/2014/main" id="{4BB314FB-40D6-9F41-8DB6-C41A2ED7118D}"/>
                        </a:ext>
                      </a:extLst>
                    </p:cNvPr>
                    <p:cNvSpPr>
                      <a:spLocks noEditPoints="1"/>
                    </p:cNvSpPr>
                    <p:nvPr/>
                  </p:nvSpPr>
                  <p:spPr bwMode="auto">
                    <a:xfrm>
                      <a:off x="5394325" y="1177925"/>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11" name="Freeform 126">
                      <a:extLst>
                        <a:ext uri="{FF2B5EF4-FFF2-40B4-BE49-F238E27FC236}">
                          <a16:creationId xmlns:a16="http://schemas.microsoft.com/office/drawing/2014/main" id="{3752697D-A541-F242-BD92-5677F79D0456}"/>
                        </a:ext>
                      </a:extLst>
                    </p:cNvPr>
                    <p:cNvSpPr>
                      <a:spLocks/>
                    </p:cNvSpPr>
                    <p:nvPr/>
                  </p:nvSpPr>
                  <p:spPr bwMode="auto">
                    <a:xfrm>
                      <a:off x="5330825" y="1284287"/>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5"/>
                            <a:pt x="11" y="75"/>
                            <a:pt x="11" y="75"/>
                          </a:cubicBezTo>
                          <a:cubicBezTo>
                            <a:pt x="0" y="90"/>
                            <a:pt x="3" y="112"/>
                            <a:pt x="19" y="124"/>
                          </a:cubicBezTo>
                          <a:cubicBezTo>
                            <a:pt x="25" y="129"/>
                            <a:pt x="32" y="131"/>
                            <a:pt x="40" y="131"/>
                          </a:cubicBezTo>
                          <a:cubicBezTo>
                            <a:pt x="50" y="131"/>
                            <a:pt x="61" y="126"/>
                            <a:pt x="68" y="116"/>
                          </a:cubicBezTo>
                          <a:cubicBezTo>
                            <a:pt x="153" y="0"/>
                            <a:pt x="153" y="0"/>
                            <a:pt x="153"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12" name="Freeform 127">
                      <a:extLst>
                        <a:ext uri="{FF2B5EF4-FFF2-40B4-BE49-F238E27FC236}">
                          <a16:creationId xmlns:a16="http://schemas.microsoft.com/office/drawing/2014/main" id="{822903D8-E930-B24A-A102-B0E9E3555C7C}"/>
                        </a:ext>
                      </a:extLst>
                    </p:cNvPr>
                    <p:cNvSpPr>
                      <a:spLocks/>
                    </p:cNvSpPr>
                    <p:nvPr/>
                  </p:nvSpPr>
                  <p:spPr bwMode="auto">
                    <a:xfrm>
                      <a:off x="5418138" y="125253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4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4"/>
                            <a:pt x="107" y="14"/>
                            <a:pt x="107" y="14"/>
                          </a:cubicBezTo>
                          <a:cubicBezTo>
                            <a:pt x="100" y="23"/>
                            <a:pt x="89" y="28"/>
                            <a:pt x="78" y="28"/>
                          </a:cubicBezTo>
                          <a:cubicBezTo>
                            <a:pt x="71" y="28"/>
                            <a:pt x="64" y="26"/>
                            <a:pt x="57" y="21"/>
                          </a:cubicBezTo>
                          <a:cubicBezTo>
                            <a:pt x="29" y="0"/>
                            <a:pt x="29" y="0"/>
                            <a:pt x="29"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13" name="Freeform 128">
                      <a:extLst>
                        <a:ext uri="{FF2B5EF4-FFF2-40B4-BE49-F238E27FC236}">
                          <a16:creationId xmlns:a16="http://schemas.microsoft.com/office/drawing/2014/main" id="{0434FCBE-4D2A-5840-9125-FE1D78EE98BF}"/>
                        </a:ext>
                      </a:extLst>
                    </p:cNvPr>
                    <p:cNvSpPr>
                      <a:spLocks/>
                    </p:cNvSpPr>
                    <p:nvPr/>
                  </p:nvSpPr>
                  <p:spPr bwMode="auto">
                    <a:xfrm>
                      <a:off x="5549900" y="1177925"/>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14" name="Freeform 129">
                      <a:extLst>
                        <a:ext uri="{FF2B5EF4-FFF2-40B4-BE49-F238E27FC236}">
                          <a16:creationId xmlns:a16="http://schemas.microsoft.com/office/drawing/2014/main" id="{8937D8A1-F22A-A54C-8762-99419DB96B27}"/>
                        </a:ext>
                      </a:extLst>
                    </p:cNvPr>
                    <p:cNvSpPr>
                      <a:spLocks/>
                    </p:cNvSpPr>
                    <p:nvPr/>
                  </p:nvSpPr>
                  <p:spPr bwMode="auto">
                    <a:xfrm>
                      <a:off x="5476372" y="1177925"/>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7 h 71"/>
                        <a:gd name="T14" fmla="*/ 78 w 85"/>
                        <a:gd name="T15" fmla="*/ 57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7"/>
                          </a:cubicBezTo>
                          <a:cubicBezTo>
                            <a:pt x="78" y="57"/>
                            <a:pt x="78" y="57"/>
                            <a:pt x="78" y="57"/>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solidFill>
                      <a:srgbClr val="F34D00"/>
                    </a:solidFill>
                    <a:ln w="12700">
                      <a:solidFill>
                        <a:srgbClr val="F34D00"/>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grpSp>
              <p:grpSp>
                <p:nvGrpSpPr>
                  <p:cNvPr id="199" name="Group 198">
                    <a:extLst>
                      <a:ext uri="{FF2B5EF4-FFF2-40B4-BE49-F238E27FC236}">
                        <a16:creationId xmlns:a16="http://schemas.microsoft.com/office/drawing/2014/main" id="{71D3E605-8121-4D4A-BA8C-FE6CAE92AA65}"/>
                      </a:ext>
                    </a:extLst>
                  </p:cNvPr>
                  <p:cNvGrpSpPr>
                    <a:grpSpLocks noChangeAspect="1"/>
                  </p:cNvGrpSpPr>
                  <p:nvPr/>
                </p:nvGrpSpPr>
                <p:grpSpPr>
                  <a:xfrm rot="16800000">
                    <a:off x="2429344" y="3092484"/>
                    <a:ext cx="450740" cy="497796"/>
                    <a:chOff x="4929188" y="1027114"/>
                    <a:chExt cx="694822" cy="841375"/>
                  </a:xfrm>
                </p:grpSpPr>
                <p:sp>
                  <p:nvSpPr>
                    <p:cNvPr id="200" name="Freeform 121">
                      <a:extLst>
                        <a:ext uri="{FF2B5EF4-FFF2-40B4-BE49-F238E27FC236}">
                          <a16:creationId xmlns:a16="http://schemas.microsoft.com/office/drawing/2014/main" id="{252360C8-265C-1849-8580-1F043455FF91}"/>
                        </a:ext>
                      </a:extLst>
                    </p:cNvPr>
                    <p:cNvSpPr>
                      <a:spLocks noEditPoints="1"/>
                    </p:cNvSpPr>
                    <p:nvPr/>
                  </p:nvSpPr>
                  <p:spPr bwMode="auto">
                    <a:xfrm>
                      <a:off x="4929188" y="1187451"/>
                      <a:ext cx="687388" cy="681038"/>
                    </a:xfrm>
                    <a:custGeom>
                      <a:avLst/>
                      <a:gdLst>
                        <a:gd name="T0" fmla="*/ 266 w 393"/>
                        <a:gd name="T1" fmla="*/ 8 h 389"/>
                        <a:gd name="T2" fmla="*/ 219 w 393"/>
                        <a:gd name="T3" fmla="*/ 24 h 389"/>
                        <a:gd name="T4" fmla="*/ 61 w 393"/>
                        <a:gd name="T5" fmla="*/ 154 h 389"/>
                        <a:gd name="T6" fmla="*/ 0 w 393"/>
                        <a:gd name="T7" fmla="*/ 354 h 389"/>
                        <a:gd name="T8" fmla="*/ 36 w 393"/>
                        <a:gd name="T9" fmla="*/ 389 h 389"/>
                        <a:gd name="T10" fmla="*/ 71 w 393"/>
                        <a:gd name="T11" fmla="*/ 354 h 389"/>
                        <a:gd name="T12" fmla="*/ 94 w 393"/>
                        <a:gd name="T13" fmla="*/ 242 h 389"/>
                        <a:gd name="T14" fmla="*/ 198 w 393"/>
                        <a:gd name="T15" fmla="*/ 116 h 389"/>
                        <a:gd name="T16" fmla="*/ 279 w 393"/>
                        <a:gd name="T17" fmla="*/ 78 h 389"/>
                        <a:gd name="T18" fmla="*/ 308 w 393"/>
                        <a:gd name="T19" fmla="*/ 39 h 389"/>
                        <a:gd name="T20" fmla="*/ 266 w 393"/>
                        <a:gd name="T21" fmla="*/ 8 h 389"/>
                        <a:gd name="T22" fmla="*/ 375 w 393"/>
                        <a:gd name="T23" fmla="*/ 0 h 389"/>
                        <a:gd name="T24" fmla="*/ 378 w 393"/>
                        <a:gd name="T25" fmla="*/ 3 h 389"/>
                        <a:gd name="T26" fmla="*/ 378 w 393"/>
                        <a:gd name="T27" fmla="*/ 3 h 389"/>
                        <a:gd name="T28" fmla="*/ 392 w 393"/>
                        <a:gd name="T29" fmla="*/ 32 h 389"/>
                        <a:gd name="T30" fmla="*/ 386 w 393"/>
                        <a:gd name="T31" fmla="*/ 52 h 389"/>
                        <a:gd name="T32" fmla="*/ 386 w 393"/>
                        <a:gd name="T33" fmla="*/ 52 h 389"/>
                        <a:gd name="T34" fmla="*/ 382 w 393"/>
                        <a:gd name="T35" fmla="*/ 57 h 389"/>
                        <a:gd name="T36" fmla="*/ 393 w 393"/>
                        <a:gd name="T37" fmla="*/ 32 h 389"/>
                        <a:gd name="T38" fmla="*/ 375 w 393"/>
                        <a:gd name="T39"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9">
                          <a:moveTo>
                            <a:pt x="266" y="8"/>
                          </a:moveTo>
                          <a:cubicBezTo>
                            <a:pt x="250" y="13"/>
                            <a:pt x="234" y="18"/>
                            <a:pt x="219" y="24"/>
                          </a:cubicBezTo>
                          <a:cubicBezTo>
                            <a:pt x="154" y="52"/>
                            <a:pt x="100" y="97"/>
                            <a:pt x="61" y="154"/>
                          </a:cubicBezTo>
                          <a:cubicBezTo>
                            <a:pt x="23" y="211"/>
                            <a:pt x="0" y="280"/>
                            <a:pt x="0" y="354"/>
                          </a:cubicBezTo>
                          <a:cubicBezTo>
                            <a:pt x="0" y="373"/>
                            <a:pt x="16" y="389"/>
                            <a:pt x="36" y="389"/>
                          </a:cubicBezTo>
                          <a:cubicBezTo>
                            <a:pt x="55" y="389"/>
                            <a:pt x="71" y="373"/>
                            <a:pt x="71" y="354"/>
                          </a:cubicBezTo>
                          <a:cubicBezTo>
                            <a:pt x="71" y="314"/>
                            <a:pt x="79" y="276"/>
                            <a:pt x="94" y="242"/>
                          </a:cubicBezTo>
                          <a:cubicBezTo>
                            <a:pt x="115" y="191"/>
                            <a:pt x="152" y="147"/>
                            <a:pt x="198" y="116"/>
                          </a:cubicBezTo>
                          <a:cubicBezTo>
                            <a:pt x="222" y="99"/>
                            <a:pt x="250" y="86"/>
                            <a:pt x="279" y="78"/>
                          </a:cubicBezTo>
                          <a:cubicBezTo>
                            <a:pt x="308" y="39"/>
                            <a:pt x="308" y="39"/>
                            <a:pt x="308" y="39"/>
                          </a:cubicBezTo>
                          <a:cubicBezTo>
                            <a:pt x="266" y="8"/>
                            <a:pt x="266" y="8"/>
                            <a:pt x="266" y="8"/>
                          </a:cubicBezTo>
                          <a:moveTo>
                            <a:pt x="375" y="0"/>
                          </a:moveTo>
                          <a:cubicBezTo>
                            <a:pt x="378" y="3"/>
                            <a:pt x="378" y="3"/>
                            <a:pt x="378" y="3"/>
                          </a:cubicBezTo>
                          <a:cubicBezTo>
                            <a:pt x="378" y="3"/>
                            <a:pt x="378" y="3"/>
                            <a:pt x="378" y="3"/>
                          </a:cubicBezTo>
                          <a:cubicBezTo>
                            <a:pt x="388" y="10"/>
                            <a:pt x="393" y="21"/>
                            <a:pt x="392" y="32"/>
                          </a:cubicBezTo>
                          <a:cubicBezTo>
                            <a:pt x="392" y="39"/>
                            <a:pt x="390" y="46"/>
                            <a:pt x="386" y="52"/>
                          </a:cubicBezTo>
                          <a:cubicBezTo>
                            <a:pt x="386" y="52"/>
                            <a:pt x="386" y="52"/>
                            <a:pt x="386" y="52"/>
                          </a:cubicBezTo>
                          <a:cubicBezTo>
                            <a:pt x="382" y="57"/>
                            <a:pt x="382" y="57"/>
                            <a:pt x="382" y="57"/>
                          </a:cubicBezTo>
                          <a:cubicBezTo>
                            <a:pt x="389" y="51"/>
                            <a:pt x="393" y="42"/>
                            <a:pt x="393" y="32"/>
                          </a:cubicBezTo>
                          <a:cubicBezTo>
                            <a:pt x="393" y="18"/>
                            <a:pt x="386" y="6"/>
                            <a:pt x="375" y="0"/>
                          </a:cubicBezTo>
                        </a:path>
                      </a:pathLst>
                    </a:custGeom>
                    <a:solidFill>
                      <a:schemeClr val="accent2"/>
                    </a:solidFill>
                    <a:ln>
                      <a:solidFill>
                        <a:schemeClr val="accent2"/>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01" name="Freeform 122">
                      <a:extLst>
                        <a:ext uri="{FF2B5EF4-FFF2-40B4-BE49-F238E27FC236}">
                          <a16:creationId xmlns:a16="http://schemas.microsoft.com/office/drawing/2014/main" id="{BB64E37E-AE04-0649-948C-E43D3CB46A70}"/>
                        </a:ext>
                      </a:extLst>
                    </p:cNvPr>
                    <p:cNvSpPr>
                      <a:spLocks/>
                    </p:cNvSpPr>
                    <p:nvPr/>
                  </p:nvSpPr>
                  <p:spPr bwMode="auto">
                    <a:xfrm>
                      <a:off x="5272088" y="1027114"/>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2 h 100"/>
                        <a:gd name="T16" fmla="*/ 61 w 179"/>
                        <a:gd name="T17" fmla="*/ 6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8"/>
                            <a:pt x="159" y="88"/>
                          </a:cubicBezTo>
                          <a:cubicBezTo>
                            <a:pt x="160" y="88"/>
                            <a:pt x="161" y="88"/>
                            <a:pt x="161" y="88"/>
                          </a:cubicBezTo>
                          <a:cubicBezTo>
                            <a:pt x="162" y="88"/>
                            <a:pt x="163" y="88"/>
                            <a:pt x="164" y="88"/>
                          </a:cubicBezTo>
                          <a:cubicBezTo>
                            <a:pt x="169" y="89"/>
                            <a:pt x="174" y="90"/>
                            <a:pt x="179" y="92"/>
                          </a:cubicBezTo>
                          <a:cubicBezTo>
                            <a:pt x="61" y="6"/>
                            <a:pt x="61" y="6"/>
                            <a:pt x="61" y="6"/>
                          </a:cubicBezTo>
                          <a:cubicBezTo>
                            <a:pt x="55" y="2"/>
                            <a:pt x="48" y="0"/>
                            <a:pt x="40" y="0"/>
                          </a:cubicBezTo>
                        </a:path>
                      </a:pathLst>
                    </a:custGeom>
                    <a:solidFill>
                      <a:schemeClr val="accent2"/>
                    </a:solidFill>
                    <a:ln>
                      <a:solidFill>
                        <a:schemeClr val="accent2"/>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02" name="Freeform 123">
                      <a:extLst>
                        <a:ext uri="{FF2B5EF4-FFF2-40B4-BE49-F238E27FC236}">
                          <a16:creationId xmlns:a16="http://schemas.microsoft.com/office/drawing/2014/main" id="{3CA92EA8-B5EE-CF4C-8411-C2920628D66A}"/>
                        </a:ext>
                      </a:extLst>
                    </p:cNvPr>
                    <p:cNvSpPr>
                      <a:spLocks noEditPoints="1"/>
                    </p:cNvSpPr>
                    <p:nvPr/>
                  </p:nvSpPr>
                  <p:spPr bwMode="auto">
                    <a:xfrm>
                      <a:off x="5394325" y="1181101"/>
                      <a:ext cx="196850" cy="74613"/>
                    </a:xfrm>
                    <a:custGeom>
                      <a:avLst/>
                      <a:gdLst>
                        <a:gd name="T0" fmla="*/ 94 w 112"/>
                        <a:gd name="T1" fmla="*/ 0 h 43"/>
                        <a:gd name="T2" fmla="*/ 112 w 112"/>
                        <a:gd name="T3" fmla="*/ 7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4"/>
                            <a:pt x="109" y="4"/>
                            <a:pt x="109" y="4"/>
                          </a:cubicBezTo>
                          <a:cubicBezTo>
                            <a:pt x="104" y="2"/>
                            <a:pt x="99" y="1"/>
                            <a:pt x="94" y="0"/>
                          </a:cubicBezTo>
                          <a:moveTo>
                            <a:pt x="89" y="0"/>
                          </a:moveTo>
                          <a:cubicBezTo>
                            <a:pt x="58" y="0"/>
                            <a:pt x="28" y="5"/>
                            <a:pt x="0" y="12"/>
                          </a:cubicBezTo>
                          <a:cubicBezTo>
                            <a:pt x="42" y="43"/>
                            <a:pt x="42" y="43"/>
                            <a:pt x="42" y="43"/>
                          </a:cubicBezTo>
                          <a:cubicBezTo>
                            <a:pt x="63" y="15"/>
                            <a:pt x="63" y="15"/>
                            <a:pt x="63" y="15"/>
                          </a:cubicBezTo>
                          <a:cubicBezTo>
                            <a:pt x="69" y="6"/>
                            <a:pt x="79" y="1"/>
                            <a:pt x="89" y="0"/>
                          </a:cubicBezTo>
                        </a:path>
                      </a:pathLst>
                    </a:custGeom>
                    <a:solidFill>
                      <a:srgbClr val="308F15"/>
                    </a:solidFill>
                    <a:ln>
                      <a:solidFill>
                        <a:srgbClr val="308F15"/>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03" name="Freeform 124">
                      <a:extLst>
                        <a:ext uri="{FF2B5EF4-FFF2-40B4-BE49-F238E27FC236}">
                          <a16:creationId xmlns:a16="http://schemas.microsoft.com/office/drawing/2014/main" id="{87F9F494-58E6-D942-B2C4-8BF12B1D4B33}"/>
                        </a:ext>
                      </a:extLst>
                    </p:cNvPr>
                    <p:cNvSpPr>
                      <a:spLocks/>
                    </p:cNvSpPr>
                    <p:nvPr/>
                  </p:nvSpPr>
                  <p:spPr bwMode="auto">
                    <a:xfrm>
                      <a:off x="5330825" y="1287464"/>
                      <a:ext cx="266700" cy="230188"/>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solidFill>
                      <a:schemeClr val="accent2"/>
                    </a:solidFill>
                    <a:ln>
                      <a:solidFill>
                        <a:schemeClr val="accent2"/>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04" name="Freeform 125">
                      <a:extLst>
                        <a:ext uri="{FF2B5EF4-FFF2-40B4-BE49-F238E27FC236}">
                          <a16:creationId xmlns:a16="http://schemas.microsoft.com/office/drawing/2014/main" id="{09C9CF17-C58B-D247-98F7-1BC6D3050DB2}"/>
                        </a:ext>
                      </a:extLst>
                    </p:cNvPr>
                    <p:cNvSpPr>
                      <a:spLocks/>
                    </p:cNvSpPr>
                    <p:nvPr/>
                  </p:nvSpPr>
                  <p:spPr bwMode="auto">
                    <a:xfrm>
                      <a:off x="5418138" y="1255714"/>
                      <a:ext cx="187325" cy="68263"/>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solidFill>
                      <a:srgbClr val="308F15"/>
                    </a:solidFill>
                    <a:ln>
                      <a:solidFill>
                        <a:srgbClr val="308F15"/>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05" name="Freeform 126">
                      <a:extLst>
                        <a:ext uri="{FF2B5EF4-FFF2-40B4-BE49-F238E27FC236}">
                          <a16:creationId xmlns:a16="http://schemas.microsoft.com/office/drawing/2014/main" id="{ED80A2F1-1255-E74E-989A-6B730BAE0EB6}"/>
                        </a:ext>
                      </a:extLst>
                    </p:cNvPr>
                    <p:cNvSpPr>
                      <a:spLocks/>
                    </p:cNvSpPr>
                    <p:nvPr/>
                  </p:nvSpPr>
                  <p:spPr bwMode="auto">
                    <a:xfrm>
                      <a:off x="5549900" y="1181101"/>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07" name="Freeform 127">
                      <a:extLst>
                        <a:ext uri="{FF2B5EF4-FFF2-40B4-BE49-F238E27FC236}">
                          <a16:creationId xmlns:a16="http://schemas.microsoft.com/office/drawing/2014/main" id="{579DB6E4-D723-7345-BF1D-224BCA97FDB1}"/>
                        </a:ext>
                      </a:extLst>
                    </p:cNvPr>
                    <p:cNvSpPr>
                      <a:spLocks/>
                    </p:cNvSpPr>
                    <p:nvPr/>
                  </p:nvSpPr>
                  <p:spPr bwMode="auto">
                    <a:xfrm>
                      <a:off x="5476372" y="1181101"/>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solidFill>
                      <a:srgbClr val="156B06"/>
                    </a:solidFill>
                    <a:ln>
                      <a:solidFill>
                        <a:srgbClr val="156B06"/>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grpSp>
            </p:grpSp>
          </p:grpSp>
        </p:grpSp>
        <p:sp>
          <p:nvSpPr>
            <p:cNvPr id="158" name="Rectangle 157">
              <a:extLst>
                <a:ext uri="{FF2B5EF4-FFF2-40B4-BE49-F238E27FC236}">
                  <a16:creationId xmlns:a16="http://schemas.microsoft.com/office/drawing/2014/main" id="{4CF74AB6-CF67-9A42-B1A3-AC6C009327FE}"/>
                </a:ext>
              </a:extLst>
            </p:cNvPr>
            <p:cNvSpPr/>
            <p:nvPr/>
          </p:nvSpPr>
          <p:spPr>
            <a:xfrm>
              <a:off x="7802689" y="577334"/>
              <a:ext cx="978746" cy="268947"/>
            </a:xfrm>
            <a:prstGeom prst="rect">
              <a:avLst/>
            </a:prstGeom>
          </p:spPr>
          <p:txBody>
            <a:bodyPr wrap="square">
              <a:spAutoFit/>
            </a:bodyPr>
            <a:lstStyle/>
            <a:p>
              <a:pPr algn="ctr" defTabSz="914354">
                <a:defRPr/>
              </a:pPr>
              <a:r>
                <a:rPr lang="en-US" sz="1333" b="1" dirty="0">
                  <a:solidFill>
                    <a:srgbClr val="FFFFFF"/>
                  </a:solidFill>
                  <a:latin typeface="CiscoSansTT ExtraLight"/>
                  <a:ea typeface=""/>
                  <a:cs typeface=""/>
                </a:rPr>
                <a:t>IOS-XR</a:t>
              </a:r>
              <a:endParaRPr lang="en-US" sz="1333" dirty="0">
                <a:solidFill>
                  <a:srgbClr val="FFFFFF"/>
                </a:solidFill>
                <a:latin typeface="CiscoSansTT ExtraLight"/>
                <a:ea typeface=""/>
                <a:cs typeface=""/>
              </a:endParaRPr>
            </a:p>
          </p:txBody>
        </p:sp>
      </p:grpSp>
      <p:sp>
        <p:nvSpPr>
          <p:cNvPr id="232" name="Oval 231">
            <a:extLst>
              <a:ext uri="{FF2B5EF4-FFF2-40B4-BE49-F238E27FC236}">
                <a16:creationId xmlns:a16="http://schemas.microsoft.com/office/drawing/2014/main" id="{6061A71C-3B83-9E42-8B77-CAE5C3A17FC7}"/>
              </a:ext>
            </a:extLst>
          </p:cNvPr>
          <p:cNvSpPr/>
          <p:nvPr/>
        </p:nvSpPr>
        <p:spPr>
          <a:xfrm>
            <a:off x="3909655" y="1380617"/>
            <a:ext cx="512580" cy="48416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sz="2400" dirty="0">
              <a:solidFill>
                <a:srgbClr val="005073"/>
              </a:solidFill>
              <a:latin typeface="CiscoSansTT ExtraLight"/>
            </a:endParaRPr>
          </a:p>
        </p:txBody>
      </p:sp>
      <p:grpSp>
        <p:nvGrpSpPr>
          <p:cNvPr id="233" name="Group 4">
            <a:extLst>
              <a:ext uri="{FF2B5EF4-FFF2-40B4-BE49-F238E27FC236}">
                <a16:creationId xmlns:a16="http://schemas.microsoft.com/office/drawing/2014/main" id="{2A65256E-BF56-0E41-AAB6-8310816C8511}"/>
              </a:ext>
            </a:extLst>
          </p:cNvPr>
          <p:cNvGrpSpPr>
            <a:grpSpLocks noChangeAspect="1"/>
          </p:cNvGrpSpPr>
          <p:nvPr/>
        </p:nvGrpSpPr>
        <p:grpSpPr bwMode="auto">
          <a:xfrm>
            <a:off x="4068017" y="1472035"/>
            <a:ext cx="211635" cy="280040"/>
            <a:chOff x="5705" y="767"/>
            <a:chExt cx="662" cy="853"/>
          </a:xfrm>
          <a:solidFill>
            <a:schemeClr val="accent5"/>
          </a:solidFill>
        </p:grpSpPr>
        <p:sp>
          <p:nvSpPr>
            <p:cNvPr id="234" name="Freeform 5">
              <a:extLst>
                <a:ext uri="{FF2B5EF4-FFF2-40B4-BE49-F238E27FC236}">
                  <a16:creationId xmlns:a16="http://schemas.microsoft.com/office/drawing/2014/main" id="{13CB142B-FDDC-654F-B869-6A36E5475CBE}"/>
                </a:ext>
              </a:extLst>
            </p:cNvPr>
            <p:cNvSpPr>
              <a:spLocks/>
            </p:cNvSpPr>
            <p:nvPr/>
          </p:nvSpPr>
          <p:spPr bwMode="auto">
            <a:xfrm>
              <a:off x="5968" y="767"/>
              <a:ext cx="69" cy="67"/>
            </a:xfrm>
            <a:custGeom>
              <a:avLst/>
              <a:gdLst>
                <a:gd name="T0" fmla="*/ 29 w 29"/>
                <a:gd name="T1" fmla="*/ 0 h 28"/>
                <a:gd name="T2" fmla="*/ 29 w 29"/>
                <a:gd name="T3" fmla="*/ 28 h 28"/>
                <a:gd name="T4" fmla="*/ 0 w 29"/>
                <a:gd name="T5" fmla="*/ 28 h 28"/>
                <a:gd name="T6" fmla="*/ 0 w 29"/>
                <a:gd name="T7" fmla="*/ 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cubicBezTo>
                    <a:pt x="29" y="9"/>
                    <a:pt x="29" y="18"/>
                    <a:pt x="29" y="28"/>
                  </a:cubicBezTo>
                  <a:cubicBezTo>
                    <a:pt x="20" y="28"/>
                    <a:pt x="11" y="28"/>
                    <a:pt x="0" y="28"/>
                  </a:cubicBezTo>
                  <a:cubicBezTo>
                    <a:pt x="0" y="19"/>
                    <a:pt x="0" y="10"/>
                    <a:pt x="0" y="0"/>
                  </a:cubicBezTo>
                  <a:cubicBezTo>
                    <a:pt x="10" y="0"/>
                    <a:pt x="20" y="0"/>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sp>
          <p:nvSpPr>
            <p:cNvPr id="235" name="Freeform 6">
              <a:extLst>
                <a:ext uri="{FF2B5EF4-FFF2-40B4-BE49-F238E27FC236}">
                  <a16:creationId xmlns:a16="http://schemas.microsoft.com/office/drawing/2014/main" id="{E6212C41-3B0A-9C46-9DC8-0F5F7129DDAF}"/>
                </a:ext>
              </a:extLst>
            </p:cNvPr>
            <p:cNvSpPr>
              <a:spLocks/>
            </p:cNvSpPr>
            <p:nvPr/>
          </p:nvSpPr>
          <p:spPr bwMode="auto">
            <a:xfrm>
              <a:off x="6106" y="1070"/>
              <a:ext cx="127" cy="124"/>
            </a:xfrm>
            <a:custGeom>
              <a:avLst/>
              <a:gdLst>
                <a:gd name="T0" fmla="*/ 0 w 53"/>
                <a:gd name="T1" fmla="*/ 0 h 52"/>
                <a:gd name="T2" fmla="*/ 53 w 53"/>
                <a:gd name="T3" fmla="*/ 0 h 52"/>
                <a:gd name="T4" fmla="*/ 53 w 53"/>
                <a:gd name="T5" fmla="*/ 52 h 52"/>
                <a:gd name="T6" fmla="*/ 0 w 53"/>
                <a:gd name="T7" fmla="*/ 52 h 52"/>
                <a:gd name="T8" fmla="*/ 0 w 53"/>
                <a:gd name="T9" fmla="*/ 0 h 52"/>
              </a:gdLst>
              <a:ahLst/>
              <a:cxnLst>
                <a:cxn ang="0">
                  <a:pos x="T0" y="T1"/>
                </a:cxn>
                <a:cxn ang="0">
                  <a:pos x="T2" y="T3"/>
                </a:cxn>
                <a:cxn ang="0">
                  <a:pos x="T4" y="T5"/>
                </a:cxn>
                <a:cxn ang="0">
                  <a:pos x="T6" y="T7"/>
                </a:cxn>
                <a:cxn ang="0">
                  <a:pos x="T8" y="T9"/>
                </a:cxn>
              </a:cxnLst>
              <a:rect l="0" t="0" r="r" b="b"/>
              <a:pathLst>
                <a:path w="53" h="52">
                  <a:moveTo>
                    <a:pt x="0" y="0"/>
                  </a:moveTo>
                  <a:cubicBezTo>
                    <a:pt x="18" y="0"/>
                    <a:pt x="35" y="0"/>
                    <a:pt x="53" y="0"/>
                  </a:cubicBezTo>
                  <a:cubicBezTo>
                    <a:pt x="53" y="17"/>
                    <a:pt x="53" y="34"/>
                    <a:pt x="53" y="52"/>
                  </a:cubicBezTo>
                  <a:cubicBezTo>
                    <a:pt x="35" y="52"/>
                    <a:pt x="18" y="52"/>
                    <a:pt x="0" y="52"/>
                  </a:cubicBezTo>
                  <a:cubicBezTo>
                    <a:pt x="0" y="34"/>
                    <a:pt x="0" y="18"/>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sp>
          <p:nvSpPr>
            <p:cNvPr id="236" name="Freeform 7">
              <a:extLst>
                <a:ext uri="{FF2B5EF4-FFF2-40B4-BE49-F238E27FC236}">
                  <a16:creationId xmlns:a16="http://schemas.microsoft.com/office/drawing/2014/main" id="{FE2F0BEC-8F9F-5B46-A5B9-79DC8865BF0D}"/>
                </a:ext>
              </a:extLst>
            </p:cNvPr>
            <p:cNvSpPr>
              <a:spLocks/>
            </p:cNvSpPr>
            <p:nvPr/>
          </p:nvSpPr>
          <p:spPr bwMode="auto">
            <a:xfrm>
              <a:off x="5853" y="958"/>
              <a:ext cx="110" cy="102"/>
            </a:xfrm>
            <a:custGeom>
              <a:avLst/>
              <a:gdLst>
                <a:gd name="T0" fmla="*/ 46 w 46"/>
                <a:gd name="T1" fmla="*/ 0 h 43"/>
                <a:gd name="T2" fmla="*/ 46 w 46"/>
                <a:gd name="T3" fmla="*/ 43 h 43"/>
                <a:gd name="T4" fmla="*/ 0 w 46"/>
                <a:gd name="T5" fmla="*/ 43 h 43"/>
                <a:gd name="T6" fmla="*/ 0 w 46"/>
                <a:gd name="T7" fmla="*/ 0 h 43"/>
                <a:gd name="T8" fmla="*/ 46 w 46"/>
                <a:gd name="T9" fmla="*/ 0 h 43"/>
              </a:gdLst>
              <a:ahLst/>
              <a:cxnLst>
                <a:cxn ang="0">
                  <a:pos x="T0" y="T1"/>
                </a:cxn>
                <a:cxn ang="0">
                  <a:pos x="T2" y="T3"/>
                </a:cxn>
                <a:cxn ang="0">
                  <a:pos x="T4" y="T5"/>
                </a:cxn>
                <a:cxn ang="0">
                  <a:pos x="T6" y="T7"/>
                </a:cxn>
                <a:cxn ang="0">
                  <a:pos x="T8" y="T9"/>
                </a:cxn>
              </a:cxnLst>
              <a:rect l="0" t="0" r="r" b="b"/>
              <a:pathLst>
                <a:path w="46" h="43">
                  <a:moveTo>
                    <a:pt x="46" y="0"/>
                  </a:moveTo>
                  <a:cubicBezTo>
                    <a:pt x="46" y="15"/>
                    <a:pt x="46" y="28"/>
                    <a:pt x="46" y="43"/>
                  </a:cubicBezTo>
                  <a:cubicBezTo>
                    <a:pt x="31" y="43"/>
                    <a:pt x="16" y="43"/>
                    <a:pt x="0" y="43"/>
                  </a:cubicBezTo>
                  <a:cubicBezTo>
                    <a:pt x="0" y="30"/>
                    <a:pt x="0" y="16"/>
                    <a:pt x="0" y="0"/>
                  </a:cubicBezTo>
                  <a:cubicBezTo>
                    <a:pt x="14" y="0"/>
                    <a:pt x="29" y="0"/>
                    <a:pt x="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sp>
          <p:nvSpPr>
            <p:cNvPr id="237" name="Freeform 8">
              <a:extLst>
                <a:ext uri="{FF2B5EF4-FFF2-40B4-BE49-F238E27FC236}">
                  <a16:creationId xmlns:a16="http://schemas.microsoft.com/office/drawing/2014/main" id="{41E41C27-78CF-8144-9713-0591B7033F81}"/>
                </a:ext>
              </a:extLst>
            </p:cNvPr>
            <p:cNvSpPr>
              <a:spLocks/>
            </p:cNvSpPr>
            <p:nvPr/>
          </p:nvSpPr>
          <p:spPr bwMode="auto">
            <a:xfrm>
              <a:off x="6238" y="837"/>
              <a:ext cx="86" cy="85"/>
            </a:xfrm>
            <a:custGeom>
              <a:avLst/>
              <a:gdLst>
                <a:gd name="T0" fmla="*/ 36 w 36"/>
                <a:gd name="T1" fmla="*/ 0 h 36"/>
                <a:gd name="T2" fmla="*/ 36 w 36"/>
                <a:gd name="T3" fmla="*/ 36 h 36"/>
                <a:gd name="T4" fmla="*/ 0 w 36"/>
                <a:gd name="T5" fmla="*/ 36 h 36"/>
                <a:gd name="T6" fmla="*/ 0 w 36"/>
                <a:gd name="T7" fmla="*/ 0 h 36"/>
                <a:gd name="T8" fmla="*/ 36 w 36"/>
                <a:gd name="T9" fmla="*/ 0 h 36"/>
              </a:gdLst>
              <a:ahLst/>
              <a:cxnLst>
                <a:cxn ang="0">
                  <a:pos x="T0" y="T1"/>
                </a:cxn>
                <a:cxn ang="0">
                  <a:pos x="T2" y="T3"/>
                </a:cxn>
                <a:cxn ang="0">
                  <a:pos x="T4" y="T5"/>
                </a:cxn>
                <a:cxn ang="0">
                  <a:pos x="T6" y="T7"/>
                </a:cxn>
                <a:cxn ang="0">
                  <a:pos x="T8" y="T9"/>
                </a:cxn>
              </a:cxnLst>
              <a:rect l="0" t="0" r="r" b="b"/>
              <a:pathLst>
                <a:path w="36" h="36">
                  <a:moveTo>
                    <a:pt x="36" y="0"/>
                  </a:moveTo>
                  <a:cubicBezTo>
                    <a:pt x="36" y="13"/>
                    <a:pt x="36" y="24"/>
                    <a:pt x="36" y="36"/>
                  </a:cubicBezTo>
                  <a:cubicBezTo>
                    <a:pt x="24" y="36"/>
                    <a:pt x="13" y="36"/>
                    <a:pt x="0" y="36"/>
                  </a:cubicBezTo>
                  <a:cubicBezTo>
                    <a:pt x="0" y="24"/>
                    <a:pt x="0" y="13"/>
                    <a:pt x="0" y="0"/>
                  </a:cubicBezTo>
                  <a:cubicBezTo>
                    <a:pt x="12" y="0"/>
                    <a:pt x="23"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sp>
          <p:nvSpPr>
            <p:cNvPr id="238" name="Freeform 9">
              <a:extLst>
                <a:ext uri="{FF2B5EF4-FFF2-40B4-BE49-F238E27FC236}">
                  <a16:creationId xmlns:a16="http://schemas.microsoft.com/office/drawing/2014/main" id="{30410E7F-DC0A-1E49-AD65-650787562B9F}"/>
                </a:ext>
              </a:extLst>
            </p:cNvPr>
            <p:cNvSpPr>
              <a:spLocks/>
            </p:cNvSpPr>
            <p:nvPr/>
          </p:nvSpPr>
          <p:spPr bwMode="auto">
            <a:xfrm>
              <a:off x="6051" y="908"/>
              <a:ext cx="86" cy="86"/>
            </a:xfrm>
            <a:custGeom>
              <a:avLst/>
              <a:gdLst>
                <a:gd name="T0" fmla="*/ 0 w 36"/>
                <a:gd name="T1" fmla="*/ 0 h 36"/>
                <a:gd name="T2" fmla="*/ 36 w 36"/>
                <a:gd name="T3" fmla="*/ 0 h 36"/>
                <a:gd name="T4" fmla="*/ 36 w 36"/>
                <a:gd name="T5" fmla="*/ 36 h 36"/>
                <a:gd name="T6" fmla="*/ 0 w 36"/>
                <a:gd name="T7" fmla="*/ 36 h 36"/>
                <a:gd name="T8" fmla="*/ 0 w 36"/>
                <a:gd name="T9" fmla="*/ 0 h 36"/>
              </a:gdLst>
              <a:ahLst/>
              <a:cxnLst>
                <a:cxn ang="0">
                  <a:pos x="T0" y="T1"/>
                </a:cxn>
                <a:cxn ang="0">
                  <a:pos x="T2" y="T3"/>
                </a:cxn>
                <a:cxn ang="0">
                  <a:pos x="T4" y="T5"/>
                </a:cxn>
                <a:cxn ang="0">
                  <a:pos x="T6" y="T7"/>
                </a:cxn>
                <a:cxn ang="0">
                  <a:pos x="T8" y="T9"/>
                </a:cxn>
              </a:cxnLst>
              <a:rect l="0" t="0" r="r" b="b"/>
              <a:pathLst>
                <a:path w="36" h="36">
                  <a:moveTo>
                    <a:pt x="0" y="0"/>
                  </a:moveTo>
                  <a:cubicBezTo>
                    <a:pt x="13" y="0"/>
                    <a:pt x="24" y="0"/>
                    <a:pt x="36" y="0"/>
                  </a:cubicBezTo>
                  <a:cubicBezTo>
                    <a:pt x="36" y="12"/>
                    <a:pt x="36" y="24"/>
                    <a:pt x="36" y="36"/>
                  </a:cubicBezTo>
                  <a:cubicBezTo>
                    <a:pt x="24" y="36"/>
                    <a:pt x="13" y="36"/>
                    <a:pt x="0" y="36"/>
                  </a:cubicBezTo>
                  <a:cubicBezTo>
                    <a:pt x="0" y="25"/>
                    <a:pt x="0" y="1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sp>
          <p:nvSpPr>
            <p:cNvPr id="239" name="Freeform 10">
              <a:extLst>
                <a:ext uri="{FF2B5EF4-FFF2-40B4-BE49-F238E27FC236}">
                  <a16:creationId xmlns:a16="http://schemas.microsoft.com/office/drawing/2014/main" id="{0E66EC0A-8089-6C40-A8BC-9925E8A60595}"/>
                </a:ext>
              </a:extLst>
            </p:cNvPr>
            <p:cNvSpPr>
              <a:spLocks/>
            </p:cNvSpPr>
            <p:nvPr/>
          </p:nvSpPr>
          <p:spPr bwMode="auto">
            <a:xfrm>
              <a:off x="5736" y="827"/>
              <a:ext cx="79" cy="76"/>
            </a:xfrm>
            <a:custGeom>
              <a:avLst/>
              <a:gdLst>
                <a:gd name="T0" fmla="*/ 0 w 33"/>
                <a:gd name="T1" fmla="*/ 32 h 32"/>
                <a:gd name="T2" fmla="*/ 0 w 33"/>
                <a:gd name="T3" fmla="*/ 0 h 32"/>
                <a:gd name="T4" fmla="*/ 33 w 33"/>
                <a:gd name="T5" fmla="*/ 0 h 32"/>
                <a:gd name="T6" fmla="*/ 33 w 33"/>
                <a:gd name="T7" fmla="*/ 32 h 32"/>
                <a:gd name="T8" fmla="*/ 0 w 33"/>
                <a:gd name="T9" fmla="*/ 32 h 32"/>
              </a:gdLst>
              <a:ahLst/>
              <a:cxnLst>
                <a:cxn ang="0">
                  <a:pos x="T0" y="T1"/>
                </a:cxn>
                <a:cxn ang="0">
                  <a:pos x="T2" y="T3"/>
                </a:cxn>
                <a:cxn ang="0">
                  <a:pos x="T4" y="T5"/>
                </a:cxn>
                <a:cxn ang="0">
                  <a:pos x="T6" y="T7"/>
                </a:cxn>
                <a:cxn ang="0">
                  <a:pos x="T8" y="T9"/>
                </a:cxn>
              </a:cxnLst>
              <a:rect l="0" t="0" r="r" b="b"/>
              <a:pathLst>
                <a:path w="33" h="32">
                  <a:moveTo>
                    <a:pt x="0" y="32"/>
                  </a:moveTo>
                  <a:cubicBezTo>
                    <a:pt x="0" y="21"/>
                    <a:pt x="0" y="11"/>
                    <a:pt x="0" y="0"/>
                  </a:cubicBezTo>
                  <a:cubicBezTo>
                    <a:pt x="11" y="0"/>
                    <a:pt x="22" y="0"/>
                    <a:pt x="33" y="0"/>
                  </a:cubicBezTo>
                  <a:cubicBezTo>
                    <a:pt x="33" y="11"/>
                    <a:pt x="33" y="21"/>
                    <a:pt x="33" y="32"/>
                  </a:cubicBezTo>
                  <a:cubicBezTo>
                    <a:pt x="22" y="32"/>
                    <a:pt x="12" y="32"/>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sp>
          <p:nvSpPr>
            <p:cNvPr id="240" name="Freeform 11">
              <a:extLst>
                <a:ext uri="{FF2B5EF4-FFF2-40B4-BE49-F238E27FC236}">
                  <a16:creationId xmlns:a16="http://schemas.microsoft.com/office/drawing/2014/main" id="{9615EDE2-E791-3F43-8D4C-5FA06E88FB85}"/>
                </a:ext>
              </a:extLst>
            </p:cNvPr>
            <p:cNvSpPr>
              <a:spLocks/>
            </p:cNvSpPr>
            <p:nvPr/>
          </p:nvSpPr>
          <p:spPr bwMode="auto">
            <a:xfrm>
              <a:off x="5705" y="1094"/>
              <a:ext cx="662" cy="526"/>
            </a:xfrm>
            <a:custGeom>
              <a:avLst/>
              <a:gdLst>
                <a:gd name="T0" fmla="*/ 221 w 277"/>
                <a:gd name="T1" fmla="*/ 56 h 221"/>
                <a:gd name="T2" fmla="*/ 221 w 277"/>
                <a:gd name="T3" fmla="*/ 110 h 221"/>
                <a:gd name="T4" fmla="*/ 221 w 277"/>
                <a:gd name="T5" fmla="*/ 111 h 221"/>
                <a:gd name="T6" fmla="*/ 111 w 277"/>
                <a:gd name="T7" fmla="*/ 111 h 221"/>
                <a:gd name="T8" fmla="*/ 111 w 277"/>
                <a:gd name="T9" fmla="*/ 56 h 221"/>
                <a:gd name="T10" fmla="*/ 57 w 277"/>
                <a:gd name="T11" fmla="*/ 56 h 221"/>
                <a:gd name="T12" fmla="*/ 57 w 277"/>
                <a:gd name="T13" fmla="*/ 45 h 221"/>
                <a:gd name="T14" fmla="*/ 57 w 277"/>
                <a:gd name="T15" fmla="*/ 0 h 221"/>
                <a:gd name="T16" fmla="*/ 2 w 277"/>
                <a:gd name="T17" fmla="*/ 0 h 221"/>
                <a:gd name="T18" fmla="*/ 3 w 277"/>
                <a:gd name="T19" fmla="*/ 190 h 221"/>
                <a:gd name="T20" fmla="*/ 24 w 277"/>
                <a:gd name="T21" fmla="*/ 215 h 221"/>
                <a:gd name="T22" fmla="*/ 56 w 277"/>
                <a:gd name="T23" fmla="*/ 221 h 221"/>
                <a:gd name="T24" fmla="*/ 222 w 277"/>
                <a:gd name="T25" fmla="*/ 221 h 221"/>
                <a:gd name="T26" fmla="*/ 254 w 277"/>
                <a:gd name="T27" fmla="*/ 215 h 221"/>
                <a:gd name="T28" fmla="*/ 271 w 277"/>
                <a:gd name="T29" fmla="*/ 200 h 221"/>
                <a:gd name="T30" fmla="*/ 277 w 277"/>
                <a:gd name="T31" fmla="*/ 177 h 221"/>
                <a:gd name="T32" fmla="*/ 277 w 277"/>
                <a:gd name="T33" fmla="*/ 56 h 221"/>
                <a:gd name="T34" fmla="*/ 221 w 277"/>
                <a:gd name="T35" fmla="*/ 5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221">
                  <a:moveTo>
                    <a:pt x="221" y="56"/>
                  </a:moveTo>
                  <a:cubicBezTo>
                    <a:pt x="221" y="110"/>
                    <a:pt x="221" y="110"/>
                    <a:pt x="221" y="110"/>
                  </a:cubicBezTo>
                  <a:cubicBezTo>
                    <a:pt x="221" y="111"/>
                    <a:pt x="221" y="111"/>
                    <a:pt x="221" y="111"/>
                  </a:cubicBezTo>
                  <a:cubicBezTo>
                    <a:pt x="111" y="111"/>
                    <a:pt x="111" y="111"/>
                    <a:pt x="111" y="111"/>
                  </a:cubicBezTo>
                  <a:cubicBezTo>
                    <a:pt x="111" y="56"/>
                    <a:pt x="111" y="56"/>
                    <a:pt x="111" y="56"/>
                  </a:cubicBezTo>
                  <a:cubicBezTo>
                    <a:pt x="92" y="56"/>
                    <a:pt x="76" y="56"/>
                    <a:pt x="57" y="56"/>
                  </a:cubicBezTo>
                  <a:cubicBezTo>
                    <a:pt x="57" y="52"/>
                    <a:pt x="57" y="48"/>
                    <a:pt x="57" y="45"/>
                  </a:cubicBezTo>
                  <a:cubicBezTo>
                    <a:pt x="57" y="30"/>
                    <a:pt x="57" y="16"/>
                    <a:pt x="57" y="0"/>
                  </a:cubicBezTo>
                  <a:cubicBezTo>
                    <a:pt x="37" y="0"/>
                    <a:pt x="19" y="0"/>
                    <a:pt x="2" y="0"/>
                  </a:cubicBezTo>
                  <a:cubicBezTo>
                    <a:pt x="2" y="0"/>
                    <a:pt x="0" y="181"/>
                    <a:pt x="3" y="190"/>
                  </a:cubicBezTo>
                  <a:cubicBezTo>
                    <a:pt x="6" y="201"/>
                    <a:pt x="14" y="209"/>
                    <a:pt x="24" y="215"/>
                  </a:cubicBezTo>
                  <a:cubicBezTo>
                    <a:pt x="34" y="220"/>
                    <a:pt x="45" y="221"/>
                    <a:pt x="56" y="221"/>
                  </a:cubicBezTo>
                  <a:cubicBezTo>
                    <a:pt x="56" y="221"/>
                    <a:pt x="222" y="221"/>
                    <a:pt x="222" y="221"/>
                  </a:cubicBezTo>
                  <a:cubicBezTo>
                    <a:pt x="233" y="221"/>
                    <a:pt x="244" y="219"/>
                    <a:pt x="254" y="215"/>
                  </a:cubicBezTo>
                  <a:cubicBezTo>
                    <a:pt x="261" y="211"/>
                    <a:pt x="267" y="206"/>
                    <a:pt x="271" y="200"/>
                  </a:cubicBezTo>
                  <a:cubicBezTo>
                    <a:pt x="276" y="193"/>
                    <a:pt x="277" y="186"/>
                    <a:pt x="277" y="177"/>
                  </a:cubicBezTo>
                  <a:cubicBezTo>
                    <a:pt x="276" y="172"/>
                    <a:pt x="277" y="56"/>
                    <a:pt x="277" y="56"/>
                  </a:cubicBezTo>
                  <a:lnTo>
                    <a:pt x="221"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grpSp>
      <p:sp>
        <p:nvSpPr>
          <p:cNvPr id="241" name="Text Placeholder 2">
            <a:extLst>
              <a:ext uri="{FF2B5EF4-FFF2-40B4-BE49-F238E27FC236}">
                <a16:creationId xmlns:a16="http://schemas.microsoft.com/office/drawing/2014/main" id="{DB013F2A-9974-F545-92FA-253CC7DAF144}"/>
              </a:ext>
            </a:extLst>
          </p:cNvPr>
          <p:cNvSpPr txBox="1">
            <a:spLocks/>
          </p:cNvSpPr>
          <p:nvPr/>
        </p:nvSpPr>
        <p:spPr>
          <a:xfrm>
            <a:off x="3482426" y="1850004"/>
            <a:ext cx="1235376" cy="243591"/>
          </a:xfrm>
          <a:prstGeom prst="rect">
            <a:avLst/>
          </a:prstGeom>
          <a:noFill/>
        </p:spPr>
        <p:txBody>
          <a:bodyPr anchor="t"/>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1212420">
              <a:buClr>
                <a:srgbClr val="58585B"/>
              </a:buClr>
              <a:buNone/>
              <a:defRPr/>
            </a:pPr>
            <a:r>
              <a:rPr lang="en-US" sz="1100" b="1" dirty="0">
                <a:solidFill>
                  <a:srgbClr val="FFFFFF"/>
                </a:solidFill>
                <a:latin typeface="CiscoSansTT ExtraLight"/>
                <a:cs typeface="Arial" panose="020B0604020202020204" pitchFamily="34" charset="0"/>
              </a:rPr>
              <a:t>IOS-XR</a:t>
            </a:r>
            <a:r>
              <a:rPr lang="en-US" sz="1050" b="1" dirty="0">
                <a:solidFill>
                  <a:srgbClr val="FFFFFF"/>
                </a:solidFill>
                <a:latin typeface="CiscoSansTT ExtraLight"/>
                <a:cs typeface="Arial" panose="020B0604020202020204" pitchFamily="34" charset="0"/>
              </a:rPr>
              <a:t> </a:t>
            </a:r>
            <a:br>
              <a:rPr lang="en-US" sz="1050" b="1" dirty="0">
                <a:solidFill>
                  <a:srgbClr val="FFFFFF"/>
                </a:solidFill>
                <a:latin typeface="CiscoSansTT ExtraLight"/>
                <a:cs typeface="Arial" panose="020B0604020202020204" pitchFamily="34" charset="0"/>
              </a:rPr>
            </a:br>
            <a:r>
              <a:rPr lang="en-US" sz="1050" b="1" dirty="0">
                <a:solidFill>
                  <a:srgbClr val="FFFFFF"/>
                </a:solidFill>
                <a:latin typeface="CiscoSansTT ExtraLight"/>
                <a:cs typeface="Arial" panose="020B0604020202020204" pitchFamily="34" charset="0"/>
              </a:rPr>
              <a:t>as an App</a:t>
            </a:r>
          </a:p>
        </p:txBody>
      </p:sp>
      <p:sp>
        <p:nvSpPr>
          <p:cNvPr id="242" name="Oval 241">
            <a:extLst>
              <a:ext uri="{FF2B5EF4-FFF2-40B4-BE49-F238E27FC236}">
                <a16:creationId xmlns:a16="http://schemas.microsoft.com/office/drawing/2014/main" id="{25E49691-FB13-3041-BE65-19430A0B6CDC}"/>
              </a:ext>
            </a:extLst>
          </p:cNvPr>
          <p:cNvSpPr/>
          <p:nvPr/>
        </p:nvSpPr>
        <p:spPr>
          <a:xfrm>
            <a:off x="4719918" y="1394088"/>
            <a:ext cx="456533" cy="48379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sz="2400" dirty="0">
              <a:solidFill>
                <a:srgbClr val="005073"/>
              </a:solidFill>
              <a:latin typeface="CiscoSansTT ExtraLight"/>
            </a:endParaRPr>
          </a:p>
        </p:txBody>
      </p:sp>
      <p:sp>
        <p:nvSpPr>
          <p:cNvPr id="243" name="Freeform 6">
            <a:extLst>
              <a:ext uri="{FF2B5EF4-FFF2-40B4-BE49-F238E27FC236}">
                <a16:creationId xmlns:a16="http://schemas.microsoft.com/office/drawing/2014/main" id="{D1FADE66-0E82-4748-8B64-B03B70A76BB0}"/>
              </a:ext>
            </a:extLst>
          </p:cNvPr>
          <p:cNvSpPr>
            <a:spLocks/>
          </p:cNvSpPr>
          <p:nvPr/>
        </p:nvSpPr>
        <p:spPr bwMode="auto">
          <a:xfrm flipV="1">
            <a:off x="4795961" y="1509718"/>
            <a:ext cx="85799" cy="195313"/>
          </a:xfrm>
          <a:custGeom>
            <a:avLst/>
            <a:gdLst>
              <a:gd name="T0" fmla="*/ 0 w 53"/>
              <a:gd name="T1" fmla="*/ 0 h 52"/>
              <a:gd name="T2" fmla="*/ 53 w 53"/>
              <a:gd name="T3" fmla="*/ 0 h 52"/>
              <a:gd name="T4" fmla="*/ 53 w 53"/>
              <a:gd name="T5" fmla="*/ 52 h 52"/>
              <a:gd name="T6" fmla="*/ 0 w 53"/>
              <a:gd name="T7" fmla="*/ 52 h 52"/>
              <a:gd name="T8" fmla="*/ 0 w 53"/>
              <a:gd name="T9" fmla="*/ 0 h 52"/>
            </a:gdLst>
            <a:ahLst/>
            <a:cxnLst>
              <a:cxn ang="0">
                <a:pos x="T0" y="T1"/>
              </a:cxn>
              <a:cxn ang="0">
                <a:pos x="T2" y="T3"/>
              </a:cxn>
              <a:cxn ang="0">
                <a:pos x="T4" y="T5"/>
              </a:cxn>
              <a:cxn ang="0">
                <a:pos x="T6" y="T7"/>
              </a:cxn>
              <a:cxn ang="0">
                <a:pos x="T8" y="T9"/>
              </a:cxn>
            </a:cxnLst>
            <a:rect l="0" t="0" r="r" b="b"/>
            <a:pathLst>
              <a:path w="53" h="52">
                <a:moveTo>
                  <a:pt x="0" y="0"/>
                </a:moveTo>
                <a:cubicBezTo>
                  <a:pt x="18" y="0"/>
                  <a:pt x="35" y="0"/>
                  <a:pt x="53" y="0"/>
                </a:cubicBezTo>
                <a:cubicBezTo>
                  <a:pt x="53" y="17"/>
                  <a:pt x="53" y="34"/>
                  <a:pt x="53" y="52"/>
                </a:cubicBezTo>
                <a:cubicBezTo>
                  <a:pt x="35" y="52"/>
                  <a:pt x="18" y="52"/>
                  <a:pt x="0" y="52"/>
                </a:cubicBezTo>
                <a:cubicBezTo>
                  <a:pt x="0" y="34"/>
                  <a:pt x="0" y="18"/>
                  <a:pt x="0" y="0"/>
                </a:cubicBezTo>
                <a:close/>
              </a:path>
            </a:pathLst>
          </a:custGeom>
          <a:solidFill>
            <a:srgbClr val="00B0F0"/>
          </a:solidFill>
          <a:ln>
            <a:noFill/>
          </a:ln>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sp>
        <p:nvSpPr>
          <p:cNvPr id="244" name="Freeform 6">
            <a:extLst>
              <a:ext uri="{FF2B5EF4-FFF2-40B4-BE49-F238E27FC236}">
                <a16:creationId xmlns:a16="http://schemas.microsoft.com/office/drawing/2014/main" id="{97787BD4-E59A-A54D-B89F-45500341101A}"/>
              </a:ext>
            </a:extLst>
          </p:cNvPr>
          <p:cNvSpPr>
            <a:spLocks/>
          </p:cNvSpPr>
          <p:nvPr/>
        </p:nvSpPr>
        <p:spPr bwMode="auto">
          <a:xfrm flipV="1">
            <a:off x="4910383" y="1573669"/>
            <a:ext cx="75600" cy="111575"/>
          </a:xfrm>
          <a:custGeom>
            <a:avLst/>
            <a:gdLst>
              <a:gd name="T0" fmla="*/ 0 w 53"/>
              <a:gd name="T1" fmla="*/ 0 h 52"/>
              <a:gd name="T2" fmla="*/ 53 w 53"/>
              <a:gd name="T3" fmla="*/ 0 h 52"/>
              <a:gd name="T4" fmla="*/ 53 w 53"/>
              <a:gd name="T5" fmla="*/ 52 h 52"/>
              <a:gd name="T6" fmla="*/ 0 w 53"/>
              <a:gd name="T7" fmla="*/ 52 h 52"/>
              <a:gd name="T8" fmla="*/ 0 w 53"/>
              <a:gd name="T9" fmla="*/ 0 h 52"/>
            </a:gdLst>
            <a:ahLst/>
            <a:cxnLst>
              <a:cxn ang="0">
                <a:pos x="T0" y="T1"/>
              </a:cxn>
              <a:cxn ang="0">
                <a:pos x="T2" y="T3"/>
              </a:cxn>
              <a:cxn ang="0">
                <a:pos x="T4" y="T5"/>
              </a:cxn>
              <a:cxn ang="0">
                <a:pos x="T6" y="T7"/>
              </a:cxn>
              <a:cxn ang="0">
                <a:pos x="T8" y="T9"/>
              </a:cxn>
            </a:cxnLst>
            <a:rect l="0" t="0" r="r" b="b"/>
            <a:pathLst>
              <a:path w="53" h="52">
                <a:moveTo>
                  <a:pt x="0" y="0"/>
                </a:moveTo>
                <a:cubicBezTo>
                  <a:pt x="18" y="0"/>
                  <a:pt x="35" y="0"/>
                  <a:pt x="53" y="0"/>
                </a:cubicBezTo>
                <a:cubicBezTo>
                  <a:pt x="53" y="17"/>
                  <a:pt x="53" y="34"/>
                  <a:pt x="53" y="52"/>
                </a:cubicBezTo>
                <a:cubicBezTo>
                  <a:pt x="35" y="52"/>
                  <a:pt x="18" y="52"/>
                  <a:pt x="0" y="52"/>
                </a:cubicBezTo>
                <a:cubicBezTo>
                  <a:pt x="0" y="34"/>
                  <a:pt x="0" y="18"/>
                  <a:pt x="0" y="0"/>
                </a:cubicBezTo>
                <a:close/>
              </a:path>
            </a:pathLst>
          </a:custGeom>
          <a:solidFill>
            <a:srgbClr val="00B0F0"/>
          </a:solidFill>
          <a:ln>
            <a:noFill/>
          </a:ln>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sp>
        <p:nvSpPr>
          <p:cNvPr id="245" name="Freeform 6">
            <a:extLst>
              <a:ext uri="{FF2B5EF4-FFF2-40B4-BE49-F238E27FC236}">
                <a16:creationId xmlns:a16="http://schemas.microsoft.com/office/drawing/2014/main" id="{2D1B506F-6837-7045-8BB8-617E752E6E6A}"/>
              </a:ext>
            </a:extLst>
          </p:cNvPr>
          <p:cNvSpPr>
            <a:spLocks/>
          </p:cNvSpPr>
          <p:nvPr/>
        </p:nvSpPr>
        <p:spPr bwMode="auto">
          <a:xfrm flipV="1">
            <a:off x="5035372" y="1594006"/>
            <a:ext cx="78134" cy="53058"/>
          </a:xfrm>
          <a:custGeom>
            <a:avLst/>
            <a:gdLst>
              <a:gd name="T0" fmla="*/ 0 w 53"/>
              <a:gd name="T1" fmla="*/ 0 h 52"/>
              <a:gd name="T2" fmla="*/ 53 w 53"/>
              <a:gd name="T3" fmla="*/ 0 h 52"/>
              <a:gd name="T4" fmla="*/ 53 w 53"/>
              <a:gd name="T5" fmla="*/ 52 h 52"/>
              <a:gd name="T6" fmla="*/ 0 w 53"/>
              <a:gd name="T7" fmla="*/ 52 h 52"/>
              <a:gd name="T8" fmla="*/ 0 w 53"/>
              <a:gd name="T9" fmla="*/ 0 h 52"/>
            </a:gdLst>
            <a:ahLst/>
            <a:cxnLst>
              <a:cxn ang="0">
                <a:pos x="T0" y="T1"/>
              </a:cxn>
              <a:cxn ang="0">
                <a:pos x="T2" y="T3"/>
              </a:cxn>
              <a:cxn ang="0">
                <a:pos x="T4" y="T5"/>
              </a:cxn>
              <a:cxn ang="0">
                <a:pos x="T6" y="T7"/>
              </a:cxn>
              <a:cxn ang="0">
                <a:pos x="T8" y="T9"/>
              </a:cxn>
            </a:cxnLst>
            <a:rect l="0" t="0" r="r" b="b"/>
            <a:pathLst>
              <a:path w="53" h="52">
                <a:moveTo>
                  <a:pt x="0" y="0"/>
                </a:moveTo>
                <a:cubicBezTo>
                  <a:pt x="18" y="0"/>
                  <a:pt x="35" y="0"/>
                  <a:pt x="53" y="0"/>
                </a:cubicBezTo>
                <a:cubicBezTo>
                  <a:pt x="53" y="17"/>
                  <a:pt x="53" y="34"/>
                  <a:pt x="53" y="52"/>
                </a:cubicBezTo>
                <a:cubicBezTo>
                  <a:pt x="35" y="52"/>
                  <a:pt x="18" y="52"/>
                  <a:pt x="0" y="52"/>
                </a:cubicBezTo>
                <a:cubicBezTo>
                  <a:pt x="0" y="34"/>
                  <a:pt x="0" y="18"/>
                  <a:pt x="0" y="0"/>
                </a:cubicBezTo>
                <a:close/>
              </a:path>
            </a:pathLst>
          </a:custGeom>
          <a:solidFill>
            <a:srgbClr val="00B0F0"/>
          </a:solidFill>
          <a:ln>
            <a:noFill/>
          </a:ln>
        </p:spPr>
        <p:txBody>
          <a:bodyPr vert="horz" wrap="square" lIns="91440" tIns="45721" rIns="91440" bIns="45721" numCol="1" anchor="t" anchorCtr="0" compatLnSpc="1">
            <a:prstTxWarp prst="textNoShape">
              <a:avLst/>
            </a:prstTxWarp>
          </a:bodyPr>
          <a:lstStyle/>
          <a:p>
            <a:pPr defTabSz="810013">
              <a:defRPr/>
            </a:pPr>
            <a:endParaRPr lang="en-US" sz="2400" dirty="0">
              <a:solidFill>
                <a:srgbClr val="58585B"/>
              </a:solidFill>
              <a:latin typeface="CiscoSansTT ExtraLight"/>
              <a:ea typeface="ＭＳ Ｐゴシック" pitchFamily="34" charset="-128"/>
              <a:cs typeface="Arial" panose="020B0604020202020204" pitchFamily="34" charset="0"/>
            </a:endParaRPr>
          </a:p>
        </p:txBody>
      </p:sp>
      <p:sp>
        <p:nvSpPr>
          <p:cNvPr id="246" name="Text Placeholder 2">
            <a:extLst>
              <a:ext uri="{FF2B5EF4-FFF2-40B4-BE49-F238E27FC236}">
                <a16:creationId xmlns:a16="http://schemas.microsoft.com/office/drawing/2014/main" id="{7B24C0DE-26D4-4A47-AC36-EF7D4C8C1D02}"/>
              </a:ext>
            </a:extLst>
          </p:cNvPr>
          <p:cNvSpPr txBox="1">
            <a:spLocks/>
          </p:cNvSpPr>
          <p:nvPr/>
        </p:nvSpPr>
        <p:spPr>
          <a:xfrm>
            <a:off x="4413512" y="1847290"/>
            <a:ext cx="1337004" cy="332693"/>
          </a:xfrm>
          <a:prstGeom prst="rect">
            <a:avLst/>
          </a:prstGeom>
          <a:noFill/>
        </p:spPr>
        <p:txBody>
          <a:bodyPr anchor="t"/>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1212420">
              <a:buClr>
                <a:srgbClr val="58585B"/>
              </a:buClr>
              <a:buNone/>
              <a:defRPr/>
            </a:pPr>
            <a:r>
              <a:rPr lang="en-US" sz="1050" b="1" dirty="0">
                <a:solidFill>
                  <a:srgbClr val="FFFFFF"/>
                </a:solidFill>
                <a:latin typeface="CiscoSansTT ExtraLight"/>
                <a:cs typeface="Arial" panose="020B0604020202020204" pitchFamily="34" charset="0"/>
              </a:rPr>
              <a:t>Common across </a:t>
            </a:r>
            <a:br>
              <a:rPr lang="en-US" sz="1050" b="1" dirty="0">
                <a:solidFill>
                  <a:srgbClr val="FFFFFF"/>
                </a:solidFill>
                <a:latin typeface="CiscoSansTT ExtraLight"/>
                <a:cs typeface="Arial" panose="020B0604020202020204" pitchFamily="34" charset="0"/>
              </a:rPr>
            </a:br>
            <a:r>
              <a:rPr lang="en-US" sz="1050" b="1" dirty="0">
                <a:solidFill>
                  <a:srgbClr val="FFFFFF"/>
                </a:solidFill>
                <a:latin typeface="CiscoSansTT ExtraLight"/>
                <a:cs typeface="Arial" panose="020B0604020202020204" pitchFamily="34" charset="0"/>
              </a:rPr>
              <a:t>form factors</a:t>
            </a:r>
          </a:p>
        </p:txBody>
      </p:sp>
      <p:grpSp>
        <p:nvGrpSpPr>
          <p:cNvPr id="247" name="Group 246">
            <a:extLst>
              <a:ext uri="{FF2B5EF4-FFF2-40B4-BE49-F238E27FC236}">
                <a16:creationId xmlns:a16="http://schemas.microsoft.com/office/drawing/2014/main" id="{43827746-C418-3A48-A0FB-D50838C40801}"/>
              </a:ext>
            </a:extLst>
          </p:cNvPr>
          <p:cNvGrpSpPr/>
          <p:nvPr/>
        </p:nvGrpSpPr>
        <p:grpSpPr>
          <a:xfrm>
            <a:off x="5436205" y="2242467"/>
            <a:ext cx="490543" cy="478594"/>
            <a:chOff x="2124058" y="2958550"/>
            <a:chExt cx="872120" cy="872120"/>
          </a:xfrm>
        </p:grpSpPr>
        <p:sp>
          <p:nvSpPr>
            <p:cNvPr id="248" name="Oval 247">
              <a:extLst>
                <a:ext uri="{FF2B5EF4-FFF2-40B4-BE49-F238E27FC236}">
                  <a16:creationId xmlns:a16="http://schemas.microsoft.com/office/drawing/2014/main" id="{B67A10D4-10B6-D144-BC2F-4724DB598E99}"/>
                </a:ext>
              </a:extLst>
            </p:cNvPr>
            <p:cNvSpPr/>
            <p:nvPr/>
          </p:nvSpPr>
          <p:spPr>
            <a:xfrm>
              <a:off x="2124058" y="2958550"/>
              <a:ext cx="872120" cy="87212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sz="2400" dirty="0">
                <a:solidFill>
                  <a:srgbClr val="005073"/>
                </a:solidFill>
                <a:latin typeface="CiscoSansTT ExtraLight"/>
              </a:endParaRPr>
            </a:p>
          </p:txBody>
        </p:sp>
        <p:grpSp>
          <p:nvGrpSpPr>
            <p:cNvPr id="249" name="Group 248">
              <a:extLst>
                <a:ext uri="{FF2B5EF4-FFF2-40B4-BE49-F238E27FC236}">
                  <a16:creationId xmlns:a16="http://schemas.microsoft.com/office/drawing/2014/main" id="{73C20B6C-907E-E94D-B88B-23EFE4EBA037}"/>
                </a:ext>
              </a:extLst>
            </p:cNvPr>
            <p:cNvGrpSpPr/>
            <p:nvPr/>
          </p:nvGrpSpPr>
          <p:grpSpPr>
            <a:xfrm>
              <a:off x="2234541" y="3117968"/>
              <a:ext cx="677373" cy="459302"/>
              <a:chOff x="2234541" y="3117968"/>
              <a:chExt cx="677373" cy="459302"/>
            </a:xfrm>
          </p:grpSpPr>
          <p:grpSp>
            <p:nvGrpSpPr>
              <p:cNvPr id="250" name="Group 249">
                <a:extLst>
                  <a:ext uri="{FF2B5EF4-FFF2-40B4-BE49-F238E27FC236}">
                    <a16:creationId xmlns:a16="http://schemas.microsoft.com/office/drawing/2014/main" id="{E22FB3E8-C9AC-8447-A977-CFD95CA8ADD8}"/>
                  </a:ext>
                </a:extLst>
              </p:cNvPr>
              <p:cNvGrpSpPr>
                <a:grpSpLocks noChangeAspect="1"/>
              </p:cNvGrpSpPr>
              <p:nvPr/>
            </p:nvGrpSpPr>
            <p:grpSpPr>
              <a:xfrm rot="4980000" flipH="1">
                <a:off x="2213273" y="3139236"/>
                <a:ext cx="435246" cy="392710"/>
                <a:chOff x="4929188" y="1177925"/>
                <a:chExt cx="694822" cy="687387"/>
              </a:xfrm>
            </p:grpSpPr>
            <p:sp>
              <p:nvSpPr>
                <p:cNvPr id="257" name="Freeform 123">
                  <a:extLst>
                    <a:ext uri="{FF2B5EF4-FFF2-40B4-BE49-F238E27FC236}">
                      <a16:creationId xmlns:a16="http://schemas.microsoft.com/office/drawing/2014/main" id="{42674F2B-E9F8-B247-B07B-ECC6AAE9A9F1}"/>
                    </a:ext>
                  </a:extLst>
                </p:cNvPr>
                <p:cNvSpPr>
                  <a:spLocks noEditPoints="1"/>
                </p:cNvSpPr>
                <p:nvPr/>
              </p:nvSpPr>
              <p:spPr bwMode="auto">
                <a:xfrm>
                  <a:off x="4929188" y="1185862"/>
                  <a:ext cx="687388" cy="679450"/>
                </a:xfrm>
                <a:custGeom>
                  <a:avLst/>
                  <a:gdLst>
                    <a:gd name="T0" fmla="*/ 266 w 393"/>
                    <a:gd name="T1" fmla="*/ 7 h 388"/>
                    <a:gd name="T2" fmla="*/ 219 w 393"/>
                    <a:gd name="T3" fmla="*/ 23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8 h 388"/>
                    <a:gd name="T20" fmla="*/ 266 w 393"/>
                    <a:gd name="T21" fmla="*/ 7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7"/>
                      </a:moveTo>
                      <a:cubicBezTo>
                        <a:pt x="250" y="12"/>
                        <a:pt x="234" y="17"/>
                        <a:pt x="219" y="23"/>
                      </a:cubicBezTo>
                      <a:cubicBezTo>
                        <a:pt x="154" y="51"/>
                        <a:pt x="100" y="96"/>
                        <a:pt x="61" y="153"/>
                      </a:cubicBezTo>
                      <a:cubicBezTo>
                        <a:pt x="23" y="210"/>
                        <a:pt x="0" y="279"/>
                        <a:pt x="0" y="353"/>
                      </a:cubicBezTo>
                      <a:cubicBezTo>
                        <a:pt x="0" y="372"/>
                        <a:pt x="16" y="388"/>
                        <a:pt x="36" y="388"/>
                      </a:cubicBezTo>
                      <a:cubicBezTo>
                        <a:pt x="55" y="388"/>
                        <a:pt x="71" y="372"/>
                        <a:pt x="71" y="353"/>
                      </a:cubicBezTo>
                      <a:cubicBezTo>
                        <a:pt x="71" y="313"/>
                        <a:pt x="79" y="275"/>
                        <a:pt x="94" y="241"/>
                      </a:cubicBezTo>
                      <a:cubicBezTo>
                        <a:pt x="115" y="190"/>
                        <a:pt x="152" y="146"/>
                        <a:pt x="198" y="115"/>
                      </a:cubicBezTo>
                      <a:cubicBezTo>
                        <a:pt x="222" y="98"/>
                        <a:pt x="250" y="85"/>
                        <a:pt x="279" y="77"/>
                      </a:cubicBezTo>
                      <a:cubicBezTo>
                        <a:pt x="308" y="38"/>
                        <a:pt x="308" y="38"/>
                        <a:pt x="308" y="38"/>
                      </a:cubicBezTo>
                      <a:cubicBezTo>
                        <a:pt x="266" y="7"/>
                        <a:pt x="266" y="7"/>
                        <a:pt x="266" y="7"/>
                      </a:cubicBezTo>
                      <a:moveTo>
                        <a:pt x="375" y="0"/>
                      </a:moveTo>
                      <a:cubicBezTo>
                        <a:pt x="378" y="2"/>
                        <a:pt x="378" y="2"/>
                        <a:pt x="378" y="2"/>
                      </a:cubicBezTo>
                      <a:cubicBezTo>
                        <a:pt x="378" y="2"/>
                        <a:pt x="378" y="2"/>
                        <a:pt x="378" y="2"/>
                      </a:cubicBezTo>
                      <a:cubicBezTo>
                        <a:pt x="388" y="9"/>
                        <a:pt x="393" y="20"/>
                        <a:pt x="392" y="31"/>
                      </a:cubicBezTo>
                      <a:cubicBezTo>
                        <a:pt x="392" y="38"/>
                        <a:pt x="390" y="45"/>
                        <a:pt x="386" y="52"/>
                      </a:cubicBezTo>
                      <a:cubicBezTo>
                        <a:pt x="386" y="52"/>
                        <a:pt x="386" y="52"/>
                        <a:pt x="386" y="52"/>
                      </a:cubicBezTo>
                      <a:cubicBezTo>
                        <a:pt x="382" y="56"/>
                        <a:pt x="382" y="56"/>
                        <a:pt x="382" y="56"/>
                      </a:cubicBezTo>
                      <a:cubicBezTo>
                        <a:pt x="389" y="50"/>
                        <a:pt x="393" y="41"/>
                        <a:pt x="393" y="31"/>
                      </a:cubicBezTo>
                      <a:cubicBezTo>
                        <a:pt x="393" y="17"/>
                        <a:pt x="386" y="6"/>
                        <a:pt x="375"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58" name="Freeform 125">
                  <a:extLst>
                    <a:ext uri="{FF2B5EF4-FFF2-40B4-BE49-F238E27FC236}">
                      <a16:creationId xmlns:a16="http://schemas.microsoft.com/office/drawing/2014/main" id="{8678B617-2875-F74E-9967-AD5606DE9A9A}"/>
                    </a:ext>
                  </a:extLst>
                </p:cNvPr>
                <p:cNvSpPr>
                  <a:spLocks noEditPoints="1"/>
                </p:cNvSpPr>
                <p:nvPr/>
              </p:nvSpPr>
              <p:spPr bwMode="auto">
                <a:xfrm>
                  <a:off x="5394325" y="1177925"/>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59" name="Freeform 127">
                  <a:extLst>
                    <a:ext uri="{FF2B5EF4-FFF2-40B4-BE49-F238E27FC236}">
                      <a16:creationId xmlns:a16="http://schemas.microsoft.com/office/drawing/2014/main" id="{D171422A-39AA-6640-A148-6D01F90DAB3D}"/>
                    </a:ext>
                  </a:extLst>
                </p:cNvPr>
                <p:cNvSpPr>
                  <a:spLocks/>
                </p:cNvSpPr>
                <p:nvPr/>
              </p:nvSpPr>
              <p:spPr bwMode="auto">
                <a:xfrm>
                  <a:off x="5418138" y="125253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4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4"/>
                        <a:pt x="107" y="14"/>
                        <a:pt x="107" y="14"/>
                      </a:cubicBezTo>
                      <a:cubicBezTo>
                        <a:pt x="100" y="23"/>
                        <a:pt x="89" y="28"/>
                        <a:pt x="78" y="28"/>
                      </a:cubicBezTo>
                      <a:cubicBezTo>
                        <a:pt x="71" y="28"/>
                        <a:pt x="64" y="26"/>
                        <a:pt x="57" y="21"/>
                      </a:cubicBezTo>
                      <a:cubicBezTo>
                        <a:pt x="29" y="0"/>
                        <a:pt x="29" y="0"/>
                        <a:pt x="29"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60" name="Freeform 128">
                  <a:extLst>
                    <a:ext uri="{FF2B5EF4-FFF2-40B4-BE49-F238E27FC236}">
                      <a16:creationId xmlns:a16="http://schemas.microsoft.com/office/drawing/2014/main" id="{4E911044-77F9-844C-A9D2-157386A9E0CB}"/>
                    </a:ext>
                  </a:extLst>
                </p:cNvPr>
                <p:cNvSpPr>
                  <a:spLocks/>
                </p:cNvSpPr>
                <p:nvPr/>
              </p:nvSpPr>
              <p:spPr bwMode="auto">
                <a:xfrm>
                  <a:off x="5549900" y="1177925"/>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61" name="Freeform 129">
                  <a:extLst>
                    <a:ext uri="{FF2B5EF4-FFF2-40B4-BE49-F238E27FC236}">
                      <a16:creationId xmlns:a16="http://schemas.microsoft.com/office/drawing/2014/main" id="{CAD6B202-AD9E-AD41-8DC9-5A613D43B77C}"/>
                    </a:ext>
                  </a:extLst>
                </p:cNvPr>
                <p:cNvSpPr>
                  <a:spLocks/>
                </p:cNvSpPr>
                <p:nvPr/>
              </p:nvSpPr>
              <p:spPr bwMode="auto">
                <a:xfrm>
                  <a:off x="5476372" y="1177925"/>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7 h 71"/>
                    <a:gd name="T14" fmla="*/ 78 w 85"/>
                    <a:gd name="T15" fmla="*/ 57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7"/>
                      </a:cubicBezTo>
                      <a:cubicBezTo>
                        <a:pt x="78" y="57"/>
                        <a:pt x="78" y="57"/>
                        <a:pt x="78" y="57"/>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solidFill>
                  <a:srgbClr val="F34D00"/>
                </a:solidFill>
                <a:ln w="12700">
                  <a:solidFill>
                    <a:srgbClr val="F34D00"/>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grpSp>
          <p:grpSp>
            <p:nvGrpSpPr>
              <p:cNvPr id="251" name="Group 250">
                <a:extLst>
                  <a:ext uri="{FF2B5EF4-FFF2-40B4-BE49-F238E27FC236}">
                    <a16:creationId xmlns:a16="http://schemas.microsoft.com/office/drawing/2014/main" id="{DD10C6FC-97DE-C742-9BFA-C9FEFA3550BC}"/>
                  </a:ext>
                </a:extLst>
              </p:cNvPr>
              <p:cNvGrpSpPr>
                <a:grpSpLocks noChangeAspect="1"/>
              </p:cNvGrpSpPr>
              <p:nvPr/>
            </p:nvGrpSpPr>
            <p:grpSpPr>
              <a:xfrm rot="16800000">
                <a:off x="2477676" y="3143031"/>
                <a:ext cx="452564" cy="415913"/>
                <a:chOff x="4926377" y="1181101"/>
                <a:chExt cx="697633" cy="702977"/>
              </a:xfrm>
            </p:grpSpPr>
            <p:sp>
              <p:nvSpPr>
                <p:cNvPr id="252" name="Freeform 121">
                  <a:extLst>
                    <a:ext uri="{FF2B5EF4-FFF2-40B4-BE49-F238E27FC236}">
                      <a16:creationId xmlns:a16="http://schemas.microsoft.com/office/drawing/2014/main" id="{21603A98-3DD8-A340-8999-92EA4888B6E1}"/>
                    </a:ext>
                  </a:extLst>
                </p:cNvPr>
                <p:cNvSpPr>
                  <a:spLocks noEditPoints="1"/>
                </p:cNvSpPr>
                <p:nvPr/>
              </p:nvSpPr>
              <p:spPr bwMode="auto">
                <a:xfrm>
                  <a:off x="4926377" y="1203040"/>
                  <a:ext cx="687388" cy="681038"/>
                </a:xfrm>
                <a:custGeom>
                  <a:avLst/>
                  <a:gdLst>
                    <a:gd name="T0" fmla="*/ 266 w 393"/>
                    <a:gd name="T1" fmla="*/ 8 h 389"/>
                    <a:gd name="T2" fmla="*/ 219 w 393"/>
                    <a:gd name="T3" fmla="*/ 24 h 389"/>
                    <a:gd name="T4" fmla="*/ 61 w 393"/>
                    <a:gd name="T5" fmla="*/ 154 h 389"/>
                    <a:gd name="T6" fmla="*/ 0 w 393"/>
                    <a:gd name="T7" fmla="*/ 354 h 389"/>
                    <a:gd name="T8" fmla="*/ 36 w 393"/>
                    <a:gd name="T9" fmla="*/ 389 h 389"/>
                    <a:gd name="T10" fmla="*/ 71 w 393"/>
                    <a:gd name="T11" fmla="*/ 354 h 389"/>
                    <a:gd name="T12" fmla="*/ 94 w 393"/>
                    <a:gd name="T13" fmla="*/ 242 h 389"/>
                    <a:gd name="T14" fmla="*/ 198 w 393"/>
                    <a:gd name="T15" fmla="*/ 116 h 389"/>
                    <a:gd name="T16" fmla="*/ 279 w 393"/>
                    <a:gd name="T17" fmla="*/ 78 h 389"/>
                    <a:gd name="T18" fmla="*/ 308 w 393"/>
                    <a:gd name="T19" fmla="*/ 39 h 389"/>
                    <a:gd name="T20" fmla="*/ 266 w 393"/>
                    <a:gd name="T21" fmla="*/ 8 h 389"/>
                    <a:gd name="T22" fmla="*/ 375 w 393"/>
                    <a:gd name="T23" fmla="*/ 0 h 389"/>
                    <a:gd name="T24" fmla="*/ 378 w 393"/>
                    <a:gd name="T25" fmla="*/ 3 h 389"/>
                    <a:gd name="T26" fmla="*/ 378 w 393"/>
                    <a:gd name="T27" fmla="*/ 3 h 389"/>
                    <a:gd name="T28" fmla="*/ 392 w 393"/>
                    <a:gd name="T29" fmla="*/ 32 h 389"/>
                    <a:gd name="T30" fmla="*/ 386 w 393"/>
                    <a:gd name="T31" fmla="*/ 52 h 389"/>
                    <a:gd name="T32" fmla="*/ 386 w 393"/>
                    <a:gd name="T33" fmla="*/ 52 h 389"/>
                    <a:gd name="T34" fmla="*/ 382 w 393"/>
                    <a:gd name="T35" fmla="*/ 57 h 389"/>
                    <a:gd name="T36" fmla="*/ 393 w 393"/>
                    <a:gd name="T37" fmla="*/ 32 h 389"/>
                    <a:gd name="T38" fmla="*/ 375 w 393"/>
                    <a:gd name="T39"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9">
                      <a:moveTo>
                        <a:pt x="266" y="8"/>
                      </a:moveTo>
                      <a:cubicBezTo>
                        <a:pt x="250" y="13"/>
                        <a:pt x="234" y="18"/>
                        <a:pt x="219" y="24"/>
                      </a:cubicBezTo>
                      <a:cubicBezTo>
                        <a:pt x="154" y="52"/>
                        <a:pt x="100" y="97"/>
                        <a:pt x="61" y="154"/>
                      </a:cubicBezTo>
                      <a:cubicBezTo>
                        <a:pt x="23" y="211"/>
                        <a:pt x="0" y="280"/>
                        <a:pt x="0" y="354"/>
                      </a:cubicBezTo>
                      <a:cubicBezTo>
                        <a:pt x="0" y="373"/>
                        <a:pt x="16" y="389"/>
                        <a:pt x="36" y="389"/>
                      </a:cubicBezTo>
                      <a:cubicBezTo>
                        <a:pt x="55" y="389"/>
                        <a:pt x="71" y="373"/>
                        <a:pt x="71" y="354"/>
                      </a:cubicBezTo>
                      <a:cubicBezTo>
                        <a:pt x="71" y="314"/>
                        <a:pt x="79" y="276"/>
                        <a:pt x="94" y="242"/>
                      </a:cubicBezTo>
                      <a:cubicBezTo>
                        <a:pt x="115" y="191"/>
                        <a:pt x="152" y="147"/>
                        <a:pt x="198" y="116"/>
                      </a:cubicBezTo>
                      <a:cubicBezTo>
                        <a:pt x="222" y="99"/>
                        <a:pt x="250" y="86"/>
                        <a:pt x="279" y="78"/>
                      </a:cubicBezTo>
                      <a:cubicBezTo>
                        <a:pt x="308" y="39"/>
                        <a:pt x="308" y="39"/>
                        <a:pt x="308" y="39"/>
                      </a:cubicBezTo>
                      <a:cubicBezTo>
                        <a:pt x="266" y="8"/>
                        <a:pt x="266" y="8"/>
                        <a:pt x="266" y="8"/>
                      </a:cubicBezTo>
                      <a:moveTo>
                        <a:pt x="375" y="0"/>
                      </a:moveTo>
                      <a:cubicBezTo>
                        <a:pt x="378" y="3"/>
                        <a:pt x="378" y="3"/>
                        <a:pt x="378" y="3"/>
                      </a:cubicBezTo>
                      <a:cubicBezTo>
                        <a:pt x="378" y="3"/>
                        <a:pt x="378" y="3"/>
                        <a:pt x="378" y="3"/>
                      </a:cubicBezTo>
                      <a:cubicBezTo>
                        <a:pt x="388" y="10"/>
                        <a:pt x="393" y="21"/>
                        <a:pt x="392" y="32"/>
                      </a:cubicBezTo>
                      <a:cubicBezTo>
                        <a:pt x="392" y="39"/>
                        <a:pt x="390" y="46"/>
                        <a:pt x="386" y="52"/>
                      </a:cubicBezTo>
                      <a:cubicBezTo>
                        <a:pt x="386" y="52"/>
                        <a:pt x="386" y="52"/>
                        <a:pt x="386" y="52"/>
                      </a:cubicBezTo>
                      <a:cubicBezTo>
                        <a:pt x="382" y="57"/>
                        <a:pt x="382" y="57"/>
                        <a:pt x="382" y="57"/>
                      </a:cubicBezTo>
                      <a:cubicBezTo>
                        <a:pt x="389" y="51"/>
                        <a:pt x="393" y="42"/>
                        <a:pt x="393" y="32"/>
                      </a:cubicBezTo>
                      <a:cubicBezTo>
                        <a:pt x="393" y="18"/>
                        <a:pt x="386" y="6"/>
                        <a:pt x="375" y="0"/>
                      </a:cubicBezTo>
                    </a:path>
                  </a:pathLst>
                </a:custGeom>
                <a:solidFill>
                  <a:schemeClr val="accent2"/>
                </a:solidFill>
                <a:ln>
                  <a:solidFill>
                    <a:schemeClr val="accent2"/>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53" name="Freeform 123">
                  <a:extLst>
                    <a:ext uri="{FF2B5EF4-FFF2-40B4-BE49-F238E27FC236}">
                      <a16:creationId xmlns:a16="http://schemas.microsoft.com/office/drawing/2014/main" id="{6D1A9DF4-B4A3-CF43-801D-4378A138E6D8}"/>
                    </a:ext>
                  </a:extLst>
                </p:cNvPr>
                <p:cNvSpPr>
                  <a:spLocks noEditPoints="1"/>
                </p:cNvSpPr>
                <p:nvPr/>
              </p:nvSpPr>
              <p:spPr bwMode="auto">
                <a:xfrm>
                  <a:off x="5394325" y="1181101"/>
                  <a:ext cx="196850" cy="74613"/>
                </a:xfrm>
                <a:custGeom>
                  <a:avLst/>
                  <a:gdLst>
                    <a:gd name="T0" fmla="*/ 94 w 112"/>
                    <a:gd name="T1" fmla="*/ 0 h 43"/>
                    <a:gd name="T2" fmla="*/ 112 w 112"/>
                    <a:gd name="T3" fmla="*/ 7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4"/>
                        <a:pt x="109" y="4"/>
                        <a:pt x="109" y="4"/>
                      </a:cubicBezTo>
                      <a:cubicBezTo>
                        <a:pt x="104" y="2"/>
                        <a:pt x="99" y="1"/>
                        <a:pt x="94" y="0"/>
                      </a:cubicBezTo>
                      <a:moveTo>
                        <a:pt x="89" y="0"/>
                      </a:moveTo>
                      <a:cubicBezTo>
                        <a:pt x="58" y="0"/>
                        <a:pt x="28" y="5"/>
                        <a:pt x="0" y="12"/>
                      </a:cubicBezTo>
                      <a:cubicBezTo>
                        <a:pt x="42" y="43"/>
                        <a:pt x="42" y="43"/>
                        <a:pt x="42" y="43"/>
                      </a:cubicBezTo>
                      <a:cubicBezTo>
                        <a:pt x="63" y="15"/>
                        <a:pt x="63" y="15"/>
                        <a:pt x="63" y="15"/>
                      </a:cubicBezTo>
                      <a:cubicBezTo>
                        <a:pt x="69" y="6"/>
                        <a:pt x="79" y="1"/>
                        <a:pt x="89" y="0"/>
                      </a:cubicBezTo>
                    </a:path>
                  </a:pathLst>
                </a:custGeom>
                <a:solidFill>
                  <a:srgbClr val="308F15"/>
                </a:solidFill>
                <a:ln>
                  <a:solidFill>
                    <a:srgbClr val="308F15"/>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54" name="Freeform 125">
                  <a:extLst>
                    <a:ext uri="{FF2B5EF4-FFF2-40B4-BE49-F238E27FC236}">
                      <a16:creationId xmlns:a16="http://schemas.microsoft.com/office/drawing/2014/main" id="{74B528AF-CB51-2D4B-8DFB-A267201ACFBC}"/>
                    </a:ext>
                  </a:extLst>
                </p:cNvPr>
                <p:cNvSpPr>
                  <a:spLocks/>
                </p:cNvSpPr>
                <p:nvPr/>
              </p:nvSpPr>
              <p:spPr bwMode="auto">
                <a:xfrm>
                  <a:off x="5418138" y="1255714"/>
                  <a:ext cx="187325" cy="68263"/>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solidFill>
                  <a:srgbClr val="308F15"/>
                </a:solidFill>
                <a:ln>
                  <a:solidFill>
                    <a:srgbClr val="308F15"/>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55" name="Freeform 126">
                  <a:extLst>
                    <a:ext uri="{FF2B5EF4-FFF2-40B4-BE49-F238E27FC236}">
                      <a16:creationId xmlns:a16="http://schemas.microsoft.com/office/drawing/2014/main" id="{D08DDFDF-1CA3-AE4E-8C68-98B64AD03098}"/>
                    </a:ext>
                  </a:extLst>
                </p:cNvPr>
                <p:cNvSpPr>
                  <a:spLocks/>
                </p:cNvSpPr>
                <p:nvPr/>
              </p:nvSpPr>
              <p:spPr bwMode="auto">
                <a:xfrm>
                  <a:off x="5549900" y="1181101"/>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sp>
              <p:nvSpPr>
                <p:cNvPr id="256" name="Freeform 127">
                  <a:extLst>
                    <a:ext uri="{FF2B5EF4-FFF2-40B4-BE49-F238E27FC236}">
                      <a16:creationId xmlns:a16="http://schemas.microsoft.com/office/drawing/2014/main" id="{2FA873F5-DA8A-BF4A-AB08-2D81039F85B1}"/>
                    </a:ext>
                  </a:extLst>
                </p:cNvPr>
                <p:cNvSpPr>
                  <a:spLocks/>
                </p:cNvSpPr>
                <p:nvPr/>
              </p:nvSpPr>
              <p:spPr bwMode="auto">
                <a:xfrm>
                  <a:off x="5476372" y="1181101"/>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solidFill>
                  <a:srgbClr val="156B06"/>
                </a:solidFill>
                <a:ln>
                  <a:solidFill>
                    <a:srgbClr val="156B06"/>
                  </a:solidFill>
                </a:ln>
              </p:spPr>
              <p:txBody>
                <a:bodyPr vert="horz" wrap="square" lIns="121920" tIns="60960" rIns="121920" bIns="60960" numCol="1" anchor="t" anchorCtr="0" compatLnSpc="1">
                  <a:prstTxWarp prst="textNoShape">
                    <a:avLst/>
                  </a:prstTxWarp>
                </a:bodyPr>
                <a:lstStyle/>
                <a:p>
                  <a:pPr defTabSz="914354">
                    <a:defRPr/>
                  </a:pPr>
                  <a:endParaRPr lang="en-US" sz="2400" dirty="0">
                    <a:solidFill>
                      <a:srgbClr val="282828"/>
                    </a:solidFill>
                    <a:latin typeface="CiscoSansTT ExtraLight"/>
                    <a:ea typeface=""/>
                    <a:cs typeface=""/>
                  </a:endParaRPr>
                </a:p>
              </p:txBody>
            </p:sp>
          </p:grpSp>
        </p:grpSp>
      </p:grpSp>
      <p:sp>
        <p:nvSpPr>
          <p:cNvPr id="262" name="Text Placeholder 2">
            <a:extLst>
              <a:ext uri="{FF2B5EF4-FFF2-40B4-BE49-F238E27FC236}">
                <a16:creationId xmlns:a16="http://schemas.microsoft.com/office/drawing/2014/main" id="{D91EE434-2CE1-D842-90AB-96AE1C37D560}"/>
              </a:ext>
            </a:extLst>
          </p:cNvPr>
          <p:cNvSpPr txBox="1">
            <a:spLocks/>
          </p:cNvSpPr>
          <p:nvPr/>
        </p:nvSpPr>
        <p:spPr>
          <a:xfrm>
            <a:off x="4921682" y="2696212"/>
            <a:ext cx="1357024" cy="264518"/>
          </a:xfrm>
          <a:prstGeom prst="rect">
            <a:avLst/>
          </a:prstGeom>
          <a:noFill/>
        </p:spPr>
        <p:txBody>
          <a:bodyPr anchor="t"/>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1212420">
              <a:buClr>
                <a:srgbClr val="58585B"/>
              </a:buClr>
              <a:buNone/>
              <a:defRPr/>
            </a:pPr>
            <a:r>
              <a:rPr lang="en-US" sz="1100" b="1" dirty="0">
                <a:solidFill>
                  <a:srgbClr val="FFFFFF"/>
                </a:solidFill>
                <a:latin typeface="CiscoSansTT ExtraLight"/>
                <a:cs typeface="Arial" panose="020B0604020202020204" pitchFamily="34" charset="0"/>
              </a:rPr>
              <a:t>Simplified Operations</a:t>
            </a:r>
          </a:p>
        </p:txBody>
      </p:sp>
      <p:pic>
        <p:nvPicPr>
          <p:cNvPr id="263" name="Picture 262">
            <a:extLst>
              <a:ext uri="{FF2B5EF4-FFF2-40B4-BE49-F238E27FC236}">
                <a16:creationId xmlns:a16="http://schemas.microsoft.com/office/drawing/2014/main" id="{2E07E19E-8BC7-554D-BCCE-670376E0C0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81760" y="3172674"/>
            <a:ext cx="487963" cy="487963"/>
          </a:xfrm>
          <a:prstGeom prst="rect">
            <a:avLst/>
          </a:prstGeom>
        </p:spPr>
      </p:pic>
      <p:sp>
        <p:nvSpPr>
          <p:cNvPr id="264" name="Text Placeholder 2">
            <a:extLst>
              <a:ext uri="{FF2B5EF4-FFF2-40B4-BE49-F238E27FC236}">
                <a16:creationId xmlns:a16="http://schemas.microsoft.com/office/drawing/2014/main" id="{C99D3ECC-9953-AA44-8D4E-8022A8428FC3}"/>
              </a:ext>
            </a:extLst>
          </p:cNvPr>
          <p:cNvSpPr txBox="1">
            <a:spLocks/>
          </p:cNvSpPr>
          <p:nvPr/>
        </p:nvSpPr>
        <p:spPr>
          <a:xfrm>
            <a:off x="4314190" y="3623432"/>
            <a:ext cx="1344877" cy="408239"/>
          </a:xfrm>
          <a:prstGeom prst="rect">
            <a:avLst/>
          </a:prstGeom>
          <a:noFill/>
        </p:spPr>
        <p:txBody>
          <a:bodyPr anchor="t"/>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1212420">
              <a:buClr>
                <a:srgbClr val="58585B"/>
              </a:buClr>
              <a:buNone/>
              <a:defRPr/>
            </a:pPr>
            <a:r>
              <a:rPr lang="en-US" sz="1100" b="1" dirty="0">
                <a:solidFill>
                  <a:srgbClr val="FFFFFF"/>
                </a:solidFill>
                <a:latin typeface="CiscoSansTT ExtraLight"/>
                <a:cs typeface="Arial" panose="020B0604020202020204" pitchFamily="34" charset="0"/>
              </a:rPr>
              <a:t>Boot Time Optimization</a:t>
            </a:r>
          </a:p>
        </p:txBody>
      </p:sp>
      <p:pic>
        <p:nvPicPr>
          <p:cNvPr id="265" name="Picture 264">
            <a:extLst>
              <a:ext uri="{FF2B5EF4-FFF2-40B4-BE49-F238E27FC236}">
                <a16:creationId xmlns:a16="http://schemas.microsoft.com/office/drawing/2014/main" id="{16B3178C-3ECC-134C-AC9C-9FBC23BB131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3855030" y="3162429"/>
            <a:ext cx="524637" cy="482105"/>
          </a:xfrm>
          <a:prstGeom prst="rect">
            <a:avLst/>
          </a:prstGeom>
        </p:spPr>
      </p:pic>
      <p:sp>
        <p:nvSpPr>
          <p:cNvPr id="266" name="Text Placeholder 2">
            <a:extLst>
              <a:ext uri="{FF2B5EF4-FFF2-40B4-BE49-F238E27FC236}">
                <a16:creationId xmlns:a16="http://schemas.microsoft.com/office/drawing/2014/main" id="{1122834F-8E73-EC46-AF33-4C853FB3C774}"/>
              </a:ext>
            </a:extLst>
          </p:cNvPr>
          <p:cNvSpPr txBox="1">
            <a:spLocks/>
          </p:cNvSpPr>
          <p:nvPr/>
        </p:nvSpPr>
        <p:spPr>
          <a:xfrm>
            <a:off x="3644272" y="3657565"/>
            <a:ext cx="1076818" cy="408239"/>
          </a:xfrm>
          <a:prstGeom prst="rect">
            <a:avLst/>
          </a:prstGeom>
          <a:noFill/>
        </p:spPr>
        <p:txBody>
          <a:bodyPr anchor="t"/>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defTabSz="1212420">
              <a:buClr>
                <a:srgbClr val="58585B"/>
              </a:buClr>
              <a:buNone/>
              <a:defRPr/>
            </a:pPr>
            <a:r>
              <a:rPr lang="en-US" sz="1100" b="1" dirty="0">
                <a:solidFill>
                  <a:srgbClr val="FFFFFF"/>
                </a:solidFill>
                <a:latin typeface="CiscoSansTT ExtraLight"/>
                <a:cs typeface="Arial" panose="020B0604020202020204" pitchFamily="34" charset="0"/>
              </a:rPr>
              <a:t>Ultra High Density</a:t>
            </a:r>
          </a:p>
        </p:txBody>
      </p:sp>
      <p:sp>
        <p:nvSpPr>
          <p:cNvPr id="267" name="Oval 266">
            <a:extLst>
              <a:ext uri="{FF2B5EF4-FFF2-40B4-BE49-F238E27FC236}">
                <a16:creationId xmlns:a16="http://schemas.microsoft.com/office/drawing/2014/main" id="{1267ABFB-85D7-D749-B499-49A8B8D753EE}"/>
              </a:ext>
            </a:extLst>
          </p:cNvPr>
          <p:cNvSpPr/>
          <p:nvPr/>
        </p:nvSpPr>
        <p:spPr>
          <a:xfrm>
            <a:off x="3331429" y="2277700"/>
            <a:ext cx="421928" cy="429758"/>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05073"/>
              </a:solidFill>
              <a:latin typeface="CiscoSansTT ExtraLight"/>
            </a:endParaRPr>
          </a:p>
        </p:txBody>
      </p:sp>
      <p:pic>
        <p:nvPicPr>
          <p:cNvPr id="268" name="Picture 267">
            <a:extLst>
              <a:ext uri="{FF2B5EF4-FFF2-40B4-BE49-F238E27FC236}">
                <a16:creationId xmlns:a16="http://schemas.microsoft.com/office/drawing/2014/main" id="{48EA4AFE-A5D5-6C4C-AAB6-A9812DCC32E1}"/>
              </a:ext>
            </a:extLst>
          </p:cNvPr>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3372800" y="2347161"/>
            <a:ext cx="290596" cy="290596"/>
          </a:xfrm>
          <a:prstGeom prst="rect">
            <a:avLst/>
          </a:prstGeom>
        </p:spPr>
      </p:pic>
    </p:spTree>
    <p:extLst>
      <p:ext uri="{BB962C8B-B14F-4D97-AF65-F5344CB8AC3E}">
        <p14:creationId xmlns:p14="http://schemas.microsoft.com/office/powerpoint/2010/main" val="261257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585409E-97C6-1442-BA9D-D32175480954}"/>
              </a:ext>
            </a:extLst>
          </p:cNvPr>
          <p:cNvSpPr>
            <a:spLocks noGrp="1"/>
          </p:cNvSpPr>
          <p:nvPr>
            <p:ph type="title"/>
          </p:nvPr>
        </p:nvSpPr>
        <p:spPr/>
        <p:txBody>
          <a:bodyPr/>
          <a:lstStyle/>
          <a:p>
            <a:r>
              <a:rPr lang="en-US" dirty="0"/>
              <a:t>NCS 5500 Family Attributes</a:t>
            </a:r>
            <a:endParaRPr lang="fr-FR" dirty="0"/>
          </a:p>
        </p:txBody>
      </p:sp>
      <p:sp>
        <p:nvSpPr>
          <p:cNvPr id="4" name="Espace réservé du contenu 3">
            <a:extLst>
              <a:ext uri="{FF2B5EF4-FFF2-40B4-BE49-F238E27FC236}">
                <a16:creationId xmlns:a16="http://schemas.microsoft.com/office/drawing/2014/main" id="{9F96E7B2-90D9-224E-A653-EB2C6D0F4B07}"/>
              </a:ext>
            </a:extLst>
          </p:cNvPr>
          <p:cNvSpPr>
            <a:spLocks noGrp="1"/>
          </p:cNvSpPr>
          <p:nvPr>
            <p:ph sz="quarter" idx="11"/>
          </p:nvPr>
        </p:nvSpPr>
        <p:spPr/>
        <p:txBody>
          <a:bodyPr/>
          <a:lstStyle/>
          <a:p>
            <a:r>
              <a:rPr lang="en-US" dirty="0">
                <a:latin typeface="CiscoSansTT" panose="020B0503020201020303" pitchFamily="34" charset="0"/>
                <a:cs typeface="CiscoSansTT" panose="020B0503020201020303" pitchFamily="34" charset="0"/>
              </a:rPr>
              <a:t>Common characteristics for all NCS 5500 platforms</a:t>
            </a:r>
          </a:p>
        </p:txBody>
      </p:sp>
      <p:pic>
        <p:nvPicPr>
          <p:cNvPr id="6" name="Picture 8">
            <a:extLst>
              <a:ext uri="{FF2B5EF4-FFF2-40B4-BE49-F238E27FC236}">
                <a16:creationId xmlns:a16="http://schemas.microsoft.com/office/drawing/2014/main" id="{D286638B-475C-E440-8ED4-A101B412FED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413235" y="453740"/>
            <a:ext cx="2426354" cy="260833"/>
          </a:xfrm>
          <a:prstGeom prst="rect">
            <a:avLst/>
          </a:prstGeom>
        </p:spPr>
      </p:pic>
      <p:pic>
        <p:nvPicPr>
          <p:cNvPr id="7" name="Picture 10">
            <a:extLst>
              <a:ext uri="{FF2B5EF4-FFF2-40B4-BE49-F238E27FC236}">
                <a16:creationId xmlns:a16="http://schemas.microsoft.com/office/drawing/2014/main" id="{97E8B5EA-D7F8-AF48-8F78-F8DB382B995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13235" y="1260638"/>
            <a:ext cx="2426354" cy="491337"/>
          </a:xfrm>
          <a:prstGeom prst="rect">
            <a:avLst/>
          </a:prstGeom>
        </p:spPr>
      </p:pic>
      <p:pic>
        <p:nvPicPr>
          <p:cNvPr id="8" name="Picture 7">
            <a:extLst>
              <a:ext uri="{FF2B5EF4-FFF2-40B4-BE49-F238E27FC236}">
                <a16:creationId xmlns:a16="http://schemas.microsoft.com/office/drawing/2014/main" id="{6FB5EDAA-F802-8B4D-8431-5AA11CD6BD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13235" y="838607"/>
            <a:ext cx="2426354" cy="317161"/>
          </a:xfrm>
          <a:prstGeom prst="rect">
            <a:avLst/>
          </a:prstGeom>
        </p:spPr>
      </p:pic>
      <p:sp>
        <p:nvSpPr>
          <p:cNvPr id="9" name="Rectangle 8">
            <a:extLst>
              <a:ext uri="{FF2B5EF4-FFF2-40B4-BE49-F238E27FC236}">
                <a16:creationId xmlns:a16="http://schemas.microsoft.com/office/drawing/2014/main" id="{9996F5CC-FA27-BA4E-B0B2-749AB559F894}"/>
              </a:ext>
            </a:extLst>
          </p:cNvPr>
          <p:cNvSpPr/>
          <p:nvPr/>
        </p:nvSpPr>
        <p:spPr>
          <a:xfrm>
            <a:off x="1040003" y="4541855"/>
            <a:ext cx="8036057" cy="53633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dirty="0">
              <a:latin typeface="CiscoSansTT Regular" panose="020B0503020201020303" pitchFamily="34" charset="0"/>
            </a:endParaRPr>
          </a:p>
        </p:txBody>
      </p:sp>
      <p:pic>
        <p:nvPicPr>
          <p:cNvPr id="5" name="Picture 4">
            <a:extLst>
              <a:ext uri="{FF2B5EF4-FFF2-40B4-BE49-F238E27FC236}">
                <a16:creationId xmlns:a16="http://schemas.microsoft.com/office/drawing/2014/main" id="{B72CE84B-6F07-944F-8C7F-81091DF7337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62442" y="1562777"/>
            <a:ext cx="2940523" cy="3675654"/>
          </a:xfrm>
          <a:prstGeom prst="rect">
            <a:avLst/>
          </a:prstGeom>
          <a:noFill/>
        </p:spPr>
      </p:pic>
      <p:sp>
        <p:nvSpPr>
          <p:cNvPr id="2" name="Espace réservé du texte 1">
            <a:extLst>
              <a:ext uri="{FF2B5EF4-FFF2-40B4-BE49-F238E27FC236}">
                <a16:creationId xmlns:a16="http://schemas.microsoft.com/office/drawing/2014/main" id="{EC916C87-4701-AA40-B9E5-640B7B085059}"/>
              </a:ext>
            </a:extLst>
          </p:cNvPr>
          <p:cNvSpPr>
            <a:spLocks noGrp="1"/>
          </p:cNvSpPr>
          <p:nvPr>
            <p:ph type="body" sz="quarter" idx="10"/>
          </p:nvPr>
        </p:nvSpPr>
        <p:spPr/>
        <p:txBody>
          <a:bodyPr/>
          <a:lstStyle/>
          <a:p>
            <a:r>
              <a:rPr lang="fr-FR" dirty="0"/>
              <a:t>High </a:t>
            </a:r>
            <a:r>
              <a:rPr lang="fr-FR" dirty="0" err="1"/>
              <a:t>density</a:t>
            </a:r>
            <a:r>
              <a:rPr lang="fr-FR" dirty="0"/>
              <a:t> &amp; </a:t>
            </a:r>
            <a:r>
              <a:rPr lang="fr-FR" dirty="0" err="1"/>
              <a:t>low</a:t>
            </a:r>
            <a:r>
              <a:rPr lang="fr-FR" dirty="0"/>
              <a:t> power</a:t>
            </a:r>
          </a:p>
          <a:p>
            <a:pPr lvl="1"/>
            <a:r>
              <a:rPr lang="fr-FR" dirty="0"/>
              <a:t>Integrated </a:t>
            </a:r>
            <a:r>
              <a:rPr lang="fr-FR" dirty="0" err="1"/>
              <a:t>forwarding</a:t>
            </a:r>
            <a:r>
              <a:rPr lang="fr-FR" dirty="0"/>
              <a:t> and </a:t>
            </a:r>
            <a:r>
              <a:rPr lang="fr-FR" dirty="0" err="1"/>
              <a:t>fabric</a:t>
            </a:r>
            <a:r>
              <a:rPr lang="fr-FR" dirty="0"/>
              <a:t> interface</a:t>
            </a:r>
          </a:p>
          <a:p>
            <a:pPr lvl="1"/>
            <a:r>
              <a:rPr lang="fr-FR" dirty="0"/>
              <a:t>16nm and 28nm ASIC </a:t>
            </a:r>
            <a:r>
              <a:rPr lang="fr-FR" dirty="0" err="1"/>
              <a:t>process</a:t>
            </a:r>
            <a:endParaRPr lang="fr-FR" dirty="0"/>
          </a:p>
          <a:p>
            <a:r>
              <a:rPr lang="fr-FR" dirty="0"/>
              <a:t>3rd </a:t>
            </a:r>
            <a:r>
              <a:rPr lang="fr-FR" dirty="0" err="1"/>
              <a:t>generation</a:t>
            </a:r>
            <a:r>
              <a:rPr lang="fr-FR" dirty="0"/>
              <a:t> </a:t>
            </a:r>
            <a:r>
              <a:rPr lang="fr-FR" dirty="0" err="1"/>
              <a:t>modular</a:t>
            </a:r>
            <a:r>
              <a:rPr lang="fr-FR" dirty="0"/>
              <a:t> QSFP28 100G </a:t>
            </a:r>
            <a:r>
              <a:rPr lang="fr-FR" dirty="0" err="1"/>
              <a:t>optics</a:t>
            </a:r>
            <a:endParaRPr lang="fr-FR" dirty="0"/>
          </a:p>
          <a:p>
            <a:r>
              <a:rPr lang="fr-FR" dirty="0"/>
              <a:t>10/25/40/50/100GE interface support*</a:t>
            </a:r>
          </a:p>
          <a:p>
            <a:r>
              <a:rPr lang="fr-FR" dirty="0"/>
              <a:t>High </a:t>
            </a:r>
            <a:r>
              <a:rPr lang="fr-FR" dirty="0" err="1"/>
              <a:t>forwarding</a:t>
            </a:r>
            <a:r>
              <a:rPr lang="fr-FR" dirty="0"/>
              <a:t> performance</a:t>
            </a:r>
          </a:p>
          <a:p>
            <a:r>
              <a:rPr lang="fr-FR" dirty="0"/>
              <a:t>Pipeline </a:t>
            </a:r>
            <a:r>
              <a:rPr lang="fr-FR" dirty="0" err="1"/>
              <a:t>forwarding</a:t>
            </a:r>
            <a:r>
              <a:rPr lang="fr-FR" dirty="0"/>
              <a:t> architecture</a:t>
            </a:r>
          </a:p>
          <a:p>
            <a:r>
              <a:rPr lang="fr-FR" dirty="0" err="1"/>
              <a:t>Deep</a:t>
            </a:r>
            <a:r>
              <a:rPr lang="fr-FR" dirty="0"/>
              <a:t> Virtual Output Queue Buffers</a:t>
            </a:r>
          </a:p>
          <a:p>
            <a:endParaRPr lang="fr-FR" dirty="0"/>
          </a:p>
          <a:p>
            <a:pPr lvl="1"/>
            <a:r>
              <a:rPr lang="fr-FR" dirty="0"/>
              <a:t>*25 on J+ </a:t>
            </a:r>
            <a:r>
              <a:rPr lang="fr-FR" dirty="0" err="1"/>
              <a:t>systems</a:t>
            </a:r>
            <a:r>
              <a:rPr lang="fr-FR" dirty="0"/>
              <a:t> </a:t>
            </a:r>
            <a:r>
              <a:rPr lang="fr-FR" dirty="0" err="1"/>
              <a:t>only</a:t>
            </a:r>
            <a:r>
              <a:rPr lang="fr-FR" dirty="0"/>
              <a:t>, 10/40 </a:t>
            </a:r>
            <a:r>
              <a:rPr lang="fr-FR" dirty="0" err="1"/>
              <a:t>with</a:t>
            </a:r>
            <a:r>
              <a:rPr lang="fr-FR" dirty="0"/>
              <a:t> </a:t>
            </a:r>
            <a:r>
              <a:rPr lang="fr-FR" dirty="0" err="1"/>
              <a:t>reduced</a:t>
            </a:r>
            <a:r>
              <a:rPr lang="fr-FR" dirty="0"/>
              <a:t> </a:t>
            </a:r>
            <a:r>
              <a:rPr lang="fr-FR" dirty="0" err="1"/>
              <a:t>density</a:t>
            </a:r>
            <a:r>
              <a:rPr lang="fr-FR" dirty="0"/>
              <a:t>, </a:t>
            </a:r>
          </a:p>
          <a:p>
            <a:pPr lvl="1"/>
            <a:r>
              <a:rPr lang="fr-FR" dirty="0"/>
              <a:t>50G not </a:t>
            </a:r>
            <a:r>
              <a:rPr lang="fr-FR" dirty="0" err="1"/>
              <a:t>supported</a:t>
            </a:r>
            <a:endParaRPr lang="fr-FR" dirty="0"/>
          </a:p>
          <a:p>
            <a:pPr lvl="1"/>
            <a:endParaRPr lang="fr-FR" dirty="0"/>
          </a:p>
          <a:p>
            <a:pPr lvl="1"/>
            <a:endParaRPr lang="fr-FR" dirty="0"/>
          </a:p>
        </p:txBody>
      </p:sp>
    </p:spTree>
    <p:extLst>
      <p:ext uri="{BB962C8B-B14F-4D97-AF65-F5344CB8AC3E}">
        <p14:creationId xmlns:p14="http://schemas.microsoft.com/office/powerpoint/2010/main" val="281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0FCEFCFB-4ACC-F140-954F-6B0D7F59A094}"/>
              </a:ext>
            </a:extLst>
          </p:cNvPr>
          <p:cNvSpPr>
            <a:spLocks noGrp="1"/>
          </p:cNvSpPr>
          <p:nvPr>
            <p:ph type="body" sz="quarter" idx="10"/>
          </p:nvPr>
        </p:nvSpPr>
        <p:spPr/>
        <p:txBody>
          <a:bodyPr/>
          <a:lstStyle/>
          <a:p>
            <a:r>
              <a:rPr lang="en-US" dirty="0"/>
              <a:t>Native 1G/10G SFP+ and 100G QSFP28 ports</a:t>
            </a:r>
          </a:p>
          <a:p>
            <a:r>
              <a:rPr lang="en-US" dirty="0"/>
              <a:t>Base &amp; Scale options</a:t>
            </a:r>
          </a:p>
          <a:p>
            <a:pPr lvl="1"/>
            <a:r>
              <a:rPr lang="en-US" dirty="0"/>
              <a:t>Base: 48x 1/10G + 6x 100G</a:t>
            </a:r>
          </a:p>
          <a:p>
            <a:pPr lvl="1"/>
            <a:r>
              <a:rPr lang="en-US" dirty="0"/>
              <a:t>Scale w/TCAM: 40x 1/10G + 4x 100G</a:t>
            </a:r>
          </a:p>
          <a:p>
            <a:r>
              <a:rPr lang="en-US" dirty="0"/>
              <a:t>System on a Chip (SoC) with a single 800 Gbps forwarding ASIC</a:t>
            </a:r>
          </a:p>
          <a:p>
            <a:r>
              <a:rPr lang="en-US" dirty="0"/>
              <a:t>Dimensions</a:t>
            </a:r>
          </a:p>
          <a:p>
            <a:pPr lvl="1"/>
            <a:r>
              <a:rPr lang="en-US" dirty="0"/>
              <a:t>1.73 x 17.4 x 21.7 inches (H x W x D)</a:t>
            </a:r>
          </a:p>
          <a:p>
            <a:r>
              <a:rPr lang="en-US" dirty="0"/>
              <a:t>Separate fan and power supply PIDs for airflow options</a:t>
            </a:r>
          </a:p>
          <a:p>
            <a:pPr lvl="1"/>
            <a:r>
              <a:rPr lang="en-US" dirty="0"/>
              <a:t>Front to back (Port Side Intake)</a:t>
            </a:r>
          </a:p>
          <a:p>
            <a:pPr lvl="1"/>
            <a:r>
              <a:rPr lang="en-US" dirty="0"/>
              <a:t>Back to front (Port Side Exhaust)</a:t>
            </a:r>
          </a:p>
        </p:txBody>
      </p:sp>
      <p:sp>
        <p:nvSpPr>
          <p:cNvPr id="3" name="Titre 2">
            <a:extLst>
              <a:ext uri="{FF2B5EF4-FFF2-40B4-BE49-F238E27FC236}">
                <a16:creationId xmlns:a16="http://schemas.microsoft.com/office/drawing/2014/main" id="{9F111762-8581-7743-8C15-BA926300B637}"/>
              </a:ext>
            </a:extLst>
          </p:cNvPr>
          <p:cNvSpPr>
            <a:spLocks noGrp="1"/>
          </p:cNvSpPr>
          <p:nvPr>
            <p:ph type="title"/>
          </p:nvPr>
        </p:nvSpPr>
        <p:spPr/>
        <p:txBody>
          <a:bodyPr/>
          <a:lstStyle/>
          <a:p>
            <a:r>
              <a:rPr lang="en-US" dirty="0"/>
              <a:t>NCS-5501(-SE)</a:t>
            </a:r>
          </a:p>
        </p:txBody>
      </p:sp>
      <p:pic>
        <p:nvPicPr>
          <p:cNvPr id="4" name="Picture 4">
            <a:extLst>
              <a:ext uri="{FF2B5EF4-FFF2-40B4-BE49-F238E27FC236}">
                <a16:creationId xmlns:a16="http://schemas.microsoft.com/office/drawing/2014/main" id="{C1CF0BC4-9F3E-FA47-820F-00F23BD5216E}"/>
              </a:ext>
            </a:extLst>
          </p:cNvPr>
          <p:cNvPicPr>
            <a:picLocks noChangeAspect="1"/>
          </p:cNvPicPr>
          <p:nvPr/>
        </p:nvPicPr>
        <p:blipFill>
          <a:blip r:embed="rId2"/>
          <a:stretch>
            <a:fillRect/>
          </a:stretch>
        </p:blipFill>
        <p:spPr>
          <a:xfrm>
            <a:off x="5441004" y="283607"/>
            <a:ext cx="3691118" cy="595192"/>
          </a:xfrm>
          <a:prstGeom prst="rect">
            <a:avLst/>
          </a:prstGeom>
        </p:spPr>
      </p:pic>
      <p:graphicFrame>
        <p:nvGraphicFramePr>
          <p:cNvPr id="5" name="Table 5">
            <a:extLst>
              <a:ext uri="{FF2B5EF4-FFF2-40B4-BE49-F238E27FC236}">
                <a16:creationId xmlns:a16="http://schemas.microsoft.com/office/drawing/2014/main" id="{9262D1F1-49A0-7C45-A3C2-B1CF8B147443}"/>
              </a:ext>
            </a:extLst>
          </p:cNvPr>
          <p:cNvGraphicFramePr>
            <a:graphicFrameLocks noGrp="1"/>
          </p:cNvGraphicFramePr>
          <p:nvPr/>
        </p:nvGraphicFramePr>
        <p:xfrm>
          <a:off x="4215726" y="3952191"/>
          <a:ext cx="4230497" cy="914400"/>
        </p:xfrm>
        <a:graphic>
          <a:graphicData uri="http://schemas.openxmlformats.org/drawingml/2006/table">
            <a:tbl>
              <a:tblPr firstRow="1" bandRow="1">
                <a:tableStyleId>{D7AC3CCA-C797-4891-BE02-D94E43425B78}</a:tableStyleId>
              </a:tblPr>
              <a:tblGrid>
                <a:gridCol w="1470581">
                  <a:extLst>
                    <a:ext uri="{9D8B030D-6E8A-4147-A177-3AD203B41FA5}">
                      <a16:colId xmlns:a16="http://schemas.microsoft.com/office/drawing/2014/main" val="20000"/>
                    </a:ext>
                  </a:extLst>
                </a:gridCol>
                <a:gridCol w="735290">
                  <a:extLst>
                    <a:ext uri="{9D8B030D-6E8A-4147-A177-3AD203B41FA5}">
                      <a16:colId xmlns:a16="http://schemas.microsoft.com/office/drawing/2014/main" val="20001"/>
                    </a:ext>
                  </a:extLst>
                </a:gridCol>
                <a:gridCol w="1154430">
                  <a:extLst>
                    <a:ext uri="{9D8B030D-6E8A-4147-A177-3AD203B41FA5}">
                      <a16:colId xmlns:a16="http://schemas.microsoft.com/office/drawing/2014/main" val="20002"/>
                    </a:ext>
                  </a:extLst>
                </a:gridCol>
                <a:gridCol w="870196">
                  <a:extLst>
                    <a:ext uri="{9D8B030D-6E8A-4147-A177-3AD203B41FA5}">
                      <a16:colId xmlns:a16="http://schemas.microsoft.com/office/drawing/2014/main" val="20003"/>
                    </a:ext>
                  </a:extLst>
                </a:gridCol>
              </a:tblGrid>
              <a:tr h="145769">
                <a:tc>
                  <a:txBody>
                    <a:bodyPr/>
                    <a:lstStyle/>
                    <a:p>
                      <a:pPr algn="ctr"/>
                      <a:r>
                        <a:rPr lang="en-US" sz="1400" b="0" i="0" dirty="0">
                          <a:latin typeface="CiscoSansTT Regular" panose="020B0503020201020303" pitchFamily="34" charset="0"/>
                        </a:rPr>
                        <a:t>Product</a:t>
                      </a:r>
                    </a:p>
                  </a:txBody>
                  <a:tcPr anchor="ctr"/>
                </a:tc>
                <a:tc>
                  <a:txBody>
                    <a:bodyPr/>
                    <a:lstStyle/>
                    <a:p>
                      <a:pPr algn="ctr"/>
                      <a:r>
                        <a:rPr lang="en-US" sz="1400" b="0" i="0" dirty="0">
                          <a:latin typeface="CiscoSansTT Regular" panose="020B0503020201020303" pitchFamily="34" charset="0"/>
                        </a:rPr>
                        <a:t>LEM</a:t>
                      </a:r>
                    </a:p>
                  </a:txBody>
                  <a:tcPr anchor="ctr"/>
                </a:tc>
                <a:tc>
                  <a:txBody>
                    <a:bodyPr/>
                    <a:lstStyle/>
                    <a:p>
                      <a:pPr algn="ctr"/>
                      <a:r>
                        <a:rPr lang="en-US" sz="1400" b="0" i="0" dirty="0">
                          <a:latin typeface="CiscoSansTT Regular" panose="020B0503020201020303" pitchFamily="34" charset="0"/>
                        </a:rPr>
                        <a:t>LPM</a:t>
                      </a:r>
                    </a:p>
                  </a:txBody>
                  <a:tcPr anchor="ctr"/>
                </a:tc>
                <a:tc>
                  <a:txBody>
                    <a:bodyPr/>
                    <a:lstStyle/>
                    <a:p>
                      <a:pPr algn="ctr"/>
                      <a:r>
                        <a:rPr lang="en-US" sz="1400" b="0" i="0" dirty="0" err="1">
                          <a:latin typeface="CiscoSansTT Regular" panose="020B0503020201020303" pitchFamily="34" charset="0"/>
                        </a:rPr>
                        <a:t>eTCAM</a:t>
                      </a:r>
                      <a:endParaRPr lang="en-US" sz="1400" dirty="0"/>
                    </a:p>
                  </a:txBody>
                  <a:tcPr anchor="ctr"/>
                </a:tc>
                <a:extLst>
                  <a:ext uri="{0D108BD9-81ED-4DB2-BD59-A6C34878D82A}">
                    <a16:rowId xmlns:a16="http://schemas.microsoft.com/office/drawing/2014/main" val="10000"/>
                  </a:ext>
                </a:extLst>
              </a:tr>
              <a:tr h="221969">
                <a:tc>
                  <a:txBody>
                    <a:bodyPr/>
                    <a:lstStyle/>
                    <a:p>
                      <a:pPr algn="ctr"/>
                      <a:r>
                        <a:rPr lang="en-US" sz="1400" b="0" i="0" dirty="0">
                          <a:latin typeface="CiscoSansTT Regular" panose="020B0503020201020303" pitchFamily="34" charset="0"/>
                        </a:rPr>
                        <a:t>NCS5501</a:t>
                      </a:r>
                    </a:p>
                  </a:txBody>
                  <a:tcPr/>
                </a:tc>
                <a:tc>
                  <a:txBody>
                    <a:bodyPr/>
                    <a:lstStyle/>
                    <a:p>
                      <a:pPr algn="ctr"/>
                      <a:r>
                        <a:rPr lang="en-US" sz="1400" b="0" i="0" dirty="0">
                          <a:latin typeface="CiscoSansTT Regular" panose="020B0503020201020303" pitchFamily="34" charset="0"/>
                        </a:rPr>
                        <a:t>786k</a:t>
                      </a:r>
                    </a:p>
                  </a:txBody>
                  <a:tcPr/>
                </a:tc>
                <a:tc>
                  <a:txBody>
                    <a:bodyPr/>
                    <a:lstStyle/>
                    <a:p>
                      <a:pPr algn="ctr"/>
                      <a:r>
                        <a:rPr lang="en-US" sz="1400" b="0" i="0" dirty="0">
                          <a:latin typeface="CiscoSansTT Regular" panose="020B0503020201020303" pitchFamily="34" charset="0"/>
                        </a:rPr>
                        <a:t>256k-350k</a:t>
                      </a:r>
                    </a:p>
                  </a:txBody>
                  <a:tcPr/>
                </a:tc>
                <a:tc>
                  <a:txBody>
                    <a:bodyPr/>
                    <a:lstStyle/>
                    <a:p>
                      <a:pPr algn="ctr"/>
                      <a:r>
                        <a:rPr lang="en-US" sz="1400" b="0" i="0" dirty="0">
                          <a:latin typeface="CiscoSansTT Regular" panose="020B0503020201020303" pitchFamily="34" charset="0"/>
                        </a:rPr>
                        <a:t>-</a:t>
                      </a:r>
                    </a:p>
                  </a:txBody>
                  <a:tcPr/>
                </a:tc>
                <a:extLst>
                  <a:ext uri="{0D108BD9-81ED-4DB2-BD59-A6C34878D82A}">
                    <a16:rowId xmlns:a16="http://schemas.microsoft.com/office/drawing/2014/main" val="10001"/>
                  </a:ext>
                </a:extLst>
              </a:tr>
              <a:tr h="180938">
                <a:tc>
                  <a:txBody>
                    <a:bodyPr/>
                    <a:lstStyle/>
                    <a:p>
                      <a:pPr algn="ctr"/>
                      <a:r>
                        <a:rPr lang="en-US" sz="1400" b="0" i="0" dirty="0">
                          <a:latin typeface="CiscoSansTT Regular" panose="020B0503020201020303" pitchFamily="34" charset="0"/>
                        </a:rPr>
                        <a:t>NCS5501-SE</a:t>
                      </a:r>
                    </a:p>
                  </a:txBody>
                  <a:tcPr/>
                </a:tc>
                <a:tc>
                  <a:txBody>
                    <a:bodyPr/>
                    <a:lstStyle/>
                    <a:p>
                      <a:pPr algn="ctr"/>
                      <a:r>
                        <a:rPr lang="en-US" sz="1400" b="0" i="0" dirty="0">
                          <a:latin typeface="CiscoSansTT Regular" panose="020B0503020201020303" pitchFamily="34" charset="0"/>
                        </a:rPr>
                        <a:t>786k</a:t>
                      </a:r>
                    </a:p>
                  </a:txBody>
                  <a:tcPr/>
                </a:tc>
                <a:tc>
                  <a:txBody>
                    <a:bodyPr/>
                    <a:lstStyle/>
                    <a:p>
                      <a:pPr algn="ctr"/>
                      <a:r>
                        <a:rPr lang="en-US" sz="1400" b="0" i="0" dirty="0">
                          <a:latin typeface="CiscoSansTT Regular" panose="020B0503020201020303" pitchFamily="34" charset="0"/>
                        </a:rPr>
                        <a:t>256k-350k</a:t>
                      </a:r>
                    </a:p>
                  </a:txBody>
                  <a:tcPr/>
                </a:tc>
                <a:tc>
                  <a:txBody>
                    <a:bodyPr/>
                    <a:lstStyle/>
                    <a:p>
                      <a:pPr algn="ctr"/>
                      <a:r>
                        <a:rPr lang="en-US" sz="1400" b="0" i="0" dirty="0">
                          <a:latin typeface="CiscoSansTT Regular" panose="020B0503020201020303" pitchFamily="34" charset="0"/>
                        </a:rPr>
                        <a:t>2M</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7560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CA8F64F-23BD-4341-B419-9698B5E40263}"/>
              </a:ext>
            </a:extLst>
          </p:cNvPr>
          <p:cNvSpPr>
            <a:spLocks noGrp="1"/>
          </p:cNvSpPr>
          <p:nvPr>
            <p:ph type="body" sz="quarter" idx="10"/>
          </p:nvPr>
        </p:nvSpPr>
        <p:spPr/>
        <p:txBody>
          <a:bodyPr/>
          <a:lstStyle/>
          <a:p>
            <a:r>
              <a:rPr lang="en-US" dirty="0"/>
              <a:t>Single 800 Gbps FA, 4GB buffer</a:t>
            </a:r>
          </a:p>
          <a:p>
            <a:pPr lvl="1"/>
            <a:r>
              <a:rPr lang="en-US" dirty="0"/>
              <a:t>720 </a:t>
            </a:r>
            <a:r>
              <a:rPr lang="en-US" dirty="0" err="1"/>
              <a:t>Mpps</a:t>
            </a:r>
            <a:endParaRPr lang="en-US" dirty="0"/>
          </a:p>
          <a:p>
            <a:r>
              <a:rPr lang="en-US" dirty="0"/>
              <a:t>Oversubscribed design, total interfaces: 1.08 </a:t>
            </a:r>
            <a:r>
              <a:rPr lang="en-US" dirty="0" err="1"/>
              <a:t>Tbps</a:t>
            </a:r>
            <a:endParaRPr lang="en-US" dirty="0"/>
          </a:p>
          <a:p>
            <a:pPr lvl="1"/>
            <a:r>
              <a:rPr lang="en-US" dirty="0"/>
              <a:t>48x 1/10G SFP/SFP+</a:t>
            </a:r>
          </a:p>
          <a:p>
            <a:pPr lvl="1"/>
            <a:r>
              <a:rPr lang="en-US" dirty="0"/>
              <a:t>6x 40/100G QSFP+/QSFP28</a:t>
            </a:r>
          </a:p>
          <a:p>
            <a:r>
              <a:rPr lang="en-US" dirty="0"/>
              <a:t>Intel Broadwell CPU, with 32GB</a:t>
            </a:r>
          </a:p>
          <a:p>
            <a:pPr lvl="1"/>
            <a:r>
              <a:rPr lang="en-US" dirty="0"/>
              <a:t>6 Cores @ 1.9GHz </a:t>
            </a:r>
          </a:p>
          <a:p>
            <a:r>
              <a:rPr lang="en-US" dirty="0"/>
              <a:t>No DWDM support</a:t>
            </a:r>
          </a:p>
          <a:p>
            <a:r>
              <a:rPr lang="en-US" dirty="0"/>
              <a:t>No timing support</a:t>
            </a:r>
          </a:p>
        </p:txBody>
      </p:sp>
      <p:sp>
        <p:nvSpPr>
          <p:cNvPr id="3" name="Titre 2">
            <a:extLst>
              <a:ext uri="{FF2B5EF4-FFF2-40B4-BE49-F238E27FC236}">
                <a16:creationId xmlns:a16="http://schemas.microsoft.com/office/drawing/2014/main" id="{BEF28CB4-1F4D-CE45-AC98-C1FC942A8913}"/>
              </a:ext>
            </a:extLst>
          </p:cNvPr>
          <p:cNvSpPr>
            <a:spLocks noGrp="1"/>
          </p:cNvSpPr>
          <p:nvPr>
            <p:ph type="title"/>
          </p:nvPr>
        </p:nvSpPr>
        <p:spPr/>
        <p:txBody>
          <a:bodyPr/>
          <a:lstStyle/>
          <a:p>
            <a:r>
              <a:rPr lang="en-US" dirty="0"/>
              <a:t>NCS 5501 Base</a:t>
            </a:r>
          </a:p>
        </p:txBody>
      </p:sp>
      <p:pic>
        <p:nvPicPr>
          <p:cNvPr id="4" name="Picture 2">
            <a:extLst>
              <a:ext uri="{FF2B5EF4-FFF2-40B4-BE49-F238E27FC236}">
                <a16:creationId xmlns:a16="http://schemas.microsoft.com/office/drawing/2014/main" id="{C55F10B4-5D92-CA49-8CDB-5E669DD0DBF3}"/>
              </a:ext>
            </a:extLst>
          </p:cNvPr>
          <p:cNvPicPr>
            <a:picLocks noChangeAspect="1"/>
          </p:cNvPicPr>
          <p:nvPr/>
        </p:nvPicPr>
        <p:blipFill>
          <a:blip r:embed="rId2"/>
          <a:stretch>
            <a:fillRect/>
          </a:stretch>
        </p:blipFill>
        <p:spPr>
          <a:xfrm>
            <a:off x="5001846" y="341108"/>
            <a:ext cx="3915004" cy="631294"/>
          </a:xfrm>
          <a:prstGeom prst="rect">
            <a:avLst/>
          </a:prstGeom>
        </p:spPr>
      </p:pic>
      <p:pic>
        <p:nvPicPr>
          <p:cNvPr id="41" name="Picture 3">
            <a:extLst>
              <a:ext uri="{FF2B5EF4-FFF2-40B4-BE49-F238E27FC236}">
                <a16:creationId xmlns:a16="http://schemas.microsoft.com/office/drawing/2014/main" id="{90B60E42-CD7C-4A4E-95B3-C249F1EDA82C}"/>
              </a:ext>
            </a:extLst>
          </p:cNvPr>
          <p:cNvPicPr>
            <a:picLocks noChangeAspect="1"/>
          </p:cNvPicPr>
          <p:nvPr/>
        </p:nvPicPr>
        <p:blipFill>
          <a:blip r:embed="rId3"/>
          <a:stretch>
            <a:fillRect/>
          </a:stretch>
        </p:blipFill>
        <p:spPr>
          <a:xfrm>
            <a:off x="401052" y="4076785"/>
            <a:ext cx="4832058" cy="513406"/>
          </a:xfrm>
          <a:prstGeom prst="rect">
            <a:avLst/>
          </a:prstGeom>
        </p:spPr>
      </p:pic>
    </p:spTree>
    <p:extLst>
      <p:ext uri="{BB962C8B-B14F-4D97-AF65-F5344CB8AC3E}">
        <p14:creationId xmlns:p14="http://schemas.microsoft.com/office/powerpoint/2010/main" val="2689839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CA8F64F-23BD-4341-B419-9698B5E40263}"/>
              </a:ext>
            </a:extLst>
          </p:cNvPr>
          <p:cNvSpPr>
            <a:spLocks noGrp="1"/>
          </p:cNvSpPr>
          <p:nvPr>
            <p:ph type="body" sz="quarter" idx="10"/>
          </p:nvPr>
        </p:nvSpPr>
        <p:spPr/>
        <p:txBody>
          <a:bodyPr/>
          <a:lstStyle/>
          <a:p>
            <a:r>
              <a:rPr lang="en-US" dirty="0"/>
              <a:t>Single 800 Gbps FA, 4GB buffer</a:t>
            </a:r>
          </a:p>
          <a:p>
            <a:pPr lvl="1"/>
            <a:r>
              <a:rPr lang="en-US" dirty="0"/>
              <a:t>600 </a:t>
            </a:r>
            <a:r>
              <a:rPr lang="en-US" dirty="0" err="1"/>
              <a:t>Mpps</a:t>
            </a:r>
            <a:endParaRPr lang="en-US" dirty="0"/>
          </a:p>
          <a:p>
            <a:r>
              <a:rPr lang="en-US" dirty="0"/>
              <a:t>No Oversubscription, total interfaces: 800G</a:t>
            </a:r>
          </a:p>
          <a:p>
            <a:pPr lvl="1"/>
            <a:r>
              <a:rPr lang="en-US" dirty="0"/>
              <a:t>40x 1/10G SFP/SFP+</a:t>
            </a:r>
          </a:p>
          <a:p>
            <a:pPr lvl="1"/>
            <a:r>
              <a:rPr lang="en-US" dirty="0"/>
              <a:t>4x 40/100G QSFP+/QSFP28</a:t>
            </a:r>
          </a:p>
          <a:p>
            <a:r>
              <a:rPr lang="en-US" dirty="0"/>
              <a:t>Intel Broadwell CPU, with 32GB</a:t>
            </a:r>
          </a:p>
          <a:p>
            <a:pPr lvl="1"/>
            <a:r>
              <a:rPr lang="en-US" dirty="0"/>
              <a:t>8 Cores @ 2GHz </a:t>
            </a:r>
          </a:p>
          <a:p>
            <a:r>
              <a:rPr lang="en-US" dirty="0"/>
              <a:t>Support of Timing and DWDM interfaces</a:t>
            </a:r>
          </a:p>
        </p:txBody>
      </p:sp>
      <p:sp>
        <p:nvSpPr>
          <p:cNvPr id="3" name="Titre 2">
            <a:extLst>
              <a:ext uri="{FF2B5EF4-FFF2-40B4-BE49-F238E27FC236}">
                <a16:creationId xmlns:a16="http://schemas.microsoft.com/office/drawing/2014/main" id="{BEF28CB4-1F4D-CE45-AC98-C1FC942A8913}"/>
              </a:ext>
            </a:extLst>
          </p:cNvPr>
          <p:cNvSpPr>
            <a:spLocks noGrp="1"/>
          </p:cNvSpPr>
          <p:nvPr>
            <p:ph type="title"/>
          </p:nvPr>
        </p:nvSpPr>
        <p:spPr/>
        <p:txBody>
          <a:bodyPr/>
          <a:lstStyle/>
          <a:p>
            <a:r>
              <a:rPr lang="en-US" dirty="0"/>
              <a:t>NCS 5501 Scale</a:t>
            </a:r>
          </a:p>
        </p:txBody>
      </p:sp>
      <p:pic>
        <p:nvPicPr>
          <p:cNvPr id="39" name="Picture 1">
            <a:extLst>
              <a:ext uri="{FF2B5EF4-FFF2-40B4-BE49-F238E27FC236}">
                <a16:creationId xmlns:a16="http://schemas.microsoft.com/office/drawing/2014/main" id="{7200FC57-CEB1-3344-A11A-8EBC2F357855}"/>
              </a:ext>
            </a:extLst>
          </p:cNvPr>
          <p:cNvPicPr>
            <a:picLocks noChangeAspect="1"/>
          </p:cNvPicPr>
          <p:nvPr/>
        </p:nvPicPr>
        <p:blipFill>
          <a:blip r:embed="rId2"/>
          <a:stretch>
            <a:fillRect/>
          </a:stretch>
        </p:blipFill>
        <p:spPr>
          <a:xfrm>
            <a:off x="5028233" y="340786"/>
            <a:ext cx="3911917" cy="630797"/>
          </a:xfrm>
          <a:prstGeom prst="rect">
            <a:avLst/>
          </a:prstGeom>
        </p:spPr>
      </p:pic>
      <p:cxnSp>
        <p:nvCxnSpPr>
          <p:cNvPr id="40" name="Straight Arrow Connector 41">
            <a:extLst>
              <a:ext uri="{FF2B5EF4-FFF2-40B4-BE49-F238E27FC236}">
                <a16:creationId xmlns:a16="http://schemas.microsoft.com/office/drawing/2014/main" id="{FA3A0C62-3B3A-ED4D-9ABB-E0291371EC57}"/>
              </a:ext>
            </a:extLst>
          </p:cNvPr>
          <p:cNvCxnSpPr/>
          <p:nvPr/>
        </p:nvCxnSpPr>
        <p:spPr>
          <a:xfrm>
            <a:off x="1265829" y="4481001"/>
            <a:ext cx="1202146" cy="0"/>
          </a:xfrm>
          <a:prstGeom prst="straightConnector1">
            <a:avLst/>
          </a:prstGeom>
          <a:ln w="12700" cap="rnd">
            <a:solidFill>
              <a:schemeClr val="tx1"/>
            </a:solidFill>
            <a:round/>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41" name="Straight Arrow Connector 42">
            <a:extLst>
              <a:ext uri="{FF2B5EF4-FFF2-40B4-BE49-F238E27FC236}">
                <a16:creationId xmlns:a16="http://schemas.microsoft.com/office/drawing/2014/main" id="{FF1AC683-A5D2-474F-8C34-95DF1F430411}"/>
              </a:ext>
            </a:extLst>
          </p:cNvPr>
          <p:cNvCxnSpPr/>
          <p:nvPr/>
        </p:nvCxnSpPr>
        <p:spPr>
          <a:xfrm>
            <a:off x="2467976" y="4481002"/>
            <a:ext cx="1972893" cy="14498"/>
          </a:xfrm>
          <a:prstGeom prst="straightConnector1">
            <a:avLst/>
          </a:prstGeom>
          <a:ln w="12700" cap="rnd">
            <a:solidFill>
              <a:srgbClr val="660066"/>
            </a:solidFill>
            <a:round/>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3F1A7D15-3258-D047-8D64-3AAC25A56082}"/>
              </a:ext>
            </a:extLst>
          </p:cNvPr>
          <p:cNvSpPr/>
          <p:nvPr/>
        </p:nvSpPr>
        <p:spPr>
          <a:xfrm>
            <a:off x="2687702" y="4306073"/>
            <a:ext cx="1739575" cy="369330"/>
          </a:xfrm>
          <a:prstGeom prst="rect">
            <a:avLst/>
          </a:prstGeom>
        </p:spPr>
        <p:txBody>
          <a:bodyPr wrap="none" lIns="91438" tIns="45719" rIns="91438" bIns="45719">
            <a:spAutoFit/>
          </a:bodyPr>
          <a:lstStyle/>
          <a:p>
            <a:pPr algn="ctr"/>
            <a:r>
              <a:rPr lang="en-US" sz="900">
                <a:solidFill>
                  <a:srgbClr val="660066"/>
                </a:solidFill>
                <a:latin typeface="CiscoSansTT" panose="020B0503020201020303" pitchFamily="34" charset="0"/>
                <a:cs typeface="CiscoSansTT" panose="020B0503020201020303" pitchFamily="34" charset="0"/>
              </a:rPr>
              <a:t>24 ports DWDM/ZR capable </a:t>
            </a:r>
          </a:p>
          <a:p>
            <a:pPr algn="ctr"/>
            <a:r>
              <a:rPr lang="en-US" sz="900">
                <a:solidFill>
                  <a:srgbClr val="660066"/>
                </a:solidFill>
                <a:latin typeface="CiscoSansTT" panose="020B0503020201020303" pitchFamily="34" charset="0"/>
                <a:cs typeface="CiscoSansTT" panose="020B0503020201020303" pitchFamily="34" charset="0"/>
              </a:rPr>
              <a:t>(ports 16 to 39)</a:t>
            </a:r>
          </a:p>
        </p:txBody>
      </p:sp>
      <p:sp>
        <p:nvSpPr>
          <p:cNvPr id="43" name="Rectangle 42">
            <a:extLst>
              <a:ext uri="{FF2B5EF4-FFF2-40B4-BE49-F238E27FC236}">
                <a16:creationId xmlns:a16="http://schemas.microsoft.com/office/drawing/2014/main" id="{6618EDCC-92B9-B54A-BE6F-A458AE5D8F1C}"/>
              </a:ext>
            </a:extLst>
          </p:cNvPr>
          <p:cNvSpPr/>
          <p:nvPr/>
        </p:nvSpPr>
        <p:spPr>
          <a:xfrm>
            <a:off x="1406556" y="4301225"/>
            <a:ext cx="1048681" cy="369330"/>
          </a:xfrm>
          <a:prstGeom prst="rect">
            <a:avLst/>
          </a:prstGeom>
        </p:spPr>
        <p:txBody>
          <a:bodyPr wrap="none" lIns="91438" tIns="45719" rIns="91438" bIns="45719">
            <a:spAutoFit/>
          </a:bodyPr>
          <a:lstStyle/>
          <a:p>
            <a:pPr algn="ctr"/>
            <a:r>
              <a:rPr lang="en-US" sz="900">
                <a:latin typeface="CiscoSansTT" panose="020B0503020201020303" pitchFamily="34" charset="0"/>
                <a:cs typeface="CiscoSansTT" panose="020B0503020201020303" pitchFamily="34" charset="0"/>
              </a:rPr>
              <a:t>16 regular ports</a:t>
            </a:r>
          </a:p>
          <a:p>
            <a:pPr algn="ctr"/>
            <a:r>
              <a:rPr lang="en-US" sz="900">
                <a:latin typeface="CiscoSansTT" panose="020B0503020201020303" pitchFamily="34" charset="0"/>
                <a:cs typeface="CiscoSansTT" panose="020B0503020201020303" pitchFamily="34" charset="0"/>
              </a:rPr>
              <a:t>(ports 0 to 15)</a:t>
            </a:r>
          </a:p>
        </p:txBody>
      </p:sp>
      <p:pic>
        <p:nvPicPr>
          <p:cNvPr id="44" name="Picture 2">
            <a:extLst>
              <a:ext uri="{FF2B5EF4-FFF2-40B4-BE49-F238E27FC236}">
                <a16:creationId xmlns:a16="http://schemas.microsoft.com/office/drawing/2014/main" id="{CA9BB36D-24EB-D047-9D2F-5AFCACA9A880}"/>
              </a:ext>
            </a:extLst>
          </p:cNvPr>
          <p:cNvPicPr>
            <a:picLocks noChangeAspect="1"/>
          </p:cNvPicPr>
          <p:nvPr/>
        </p:nvPicPr>
        <p:blipFill>
          <a:blip r:embed="rId3"/>
          <a:stretch>
            <a:fillRect/>
          </a:stretch>
        </p:blipFill>
        <p:spPr>
          <a:xfrm>
            <a:off x="255275" y="3766847"/>
            <a:ext cx="4852709" cy="521666"/>
          </a:xfrm>
          <a:prstGeom prst="rect">
            <a:avLst/>
          </a:prstGeom>
        </p:spPr>
      </p:pic>
    </p:spTree>
    <p:extLst>
      <p:ext uri="{BB962C8B-B14F-4D97-AF65-F5344CB8AC3E}">
        <p14:creationId xmlns:p14="http://schemas.microsoft.com/office/powerpoint/2010/main" val="39625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C916C87-4701-AA40-B9E5-640B7B085059}"/>
              </a:ext>
            </a:extLst>
          </p:cNvPr>
          <p:cNvSpPr>
            <a:spLocks noGrp="1"/>
          </p:cNvSpPr>
          <p:nvPr>
            <p:ph type="body" sz="quarter" idx="10"/>
          </p:nvPr>
        </p:nvSpPr>
        <p:spPr/>
        <p:txBody>
          <a:bodyPr/>
          <a:lstStyle/>
          <a:p>
            <a:r>
              <a:rPr lang="fr-FR" dirty="0"/>
              <a:t>NCS 5501-SE ports 0/8 to 0/15</a:t>
            </a:r>
          </a:p>
          <a:p>
            <a:pPr lvl="1"/>
            <a:r>
              <a:rPr lang="fr-FR" dirty="0" err="1"/>
              <a:t>Don’t</a:t>
            </a:r>
            <a:r>
              <a:rPr lang="fr-FR" dirty="0"/>
              <a:t> support 100Mbps </a:t>
            </a:r>
            <a:r>
              <a:rPr lang="fr-FR" dirty="0" err="1"/>
              <a:t>copper</a:t>
            </a:r>
            <a:r>
              <a:rPr lang="fr-FR" dirty="0"/>
              <a:t> SFP modules (GLC-T)</a:t>
            </a:r>
          </a:p>
          <a:p>
            <a:pPr lvl="1"/>
            <a:r>
              <a:rPr lang="fr-FR" dirty="0" err="1"/>
              <a:t>Don’t</a:t>
            </a:r>
            <a:r>
              <a:rPr lang="fr-FR" dirty="0"/>
              <a:t> support auto-</a:t>
            </a:r>
            <a:r>
              <a:rPr lang="fr-FR" dirty="0" err="1"/>
              <a:t>neg</a:t>
            </a:r>
            <a:r>
              <a:rPr lang="fr-FR" dirty="0"/>
              <a:t> for 1G </a:t>
            </a:r>
            <a:r>
              <a:rPr lang="fr-FR" dirty="0" err="1"/>
              <a:t>optical</a:t>
            </a:r>
            <a:r>
              <a:rPr lang="fr-FR" dirty="0"/>
              <a:t> SFP</a:t>
            </a:r>
          </a:p>
          <a:p>
            <a:r>
              <a:rPr lang="fr-FR" dirty="0"/>
              <a:t>NCS 5501-SE </a:t>
            </a:r>
            <a:r>
              <a:rPr lang="fr-FR" dirty="0" err="1"/>
              <a:t>other</a:t>
            </a:r>
            <a:r>
              <a:rPr lang="fr-FR" dirty="0"/>
              <a:t> SFP ports</a:t>
            </a:r>
          </a:p>
          <a:p>
            <a:pPr lvl="1"/>
            <a:r>
              <a:rPr lang="fr-FR" dirty="0"/>
              <a:t>Support 1G and 100M speeds </a:t>
            </a:r>
          </a:p>
          <a:p>
            <a:pPr lvl="1"/>
            <a:r>
              <a:rPr lang="fr-FR" dirty="0"/>
              <a:t>Support 1G Auto </a:t>
            </a:r>
            <a:r>
              <a:rPr lang="fr-FR" dirty="0" err="1"/>
              <a:t>Neg</a:t>
            </a:r>
            <a:r>
              <a:rPr lang="fr-FR" dirty="0"/>
              <a:t> (Clause 37)</a:t>
            </a:r>
          </a:p>
          <a:p>
            <a:r>
              <a:rPr lang="fr-FR" dirty="0"/>
              <a:t>No limitation on the 48 ports of NCS 5501</a:t>
            </a:r>
          </a:p>
          <a:p>
            <a:r>
              <a:rPr lang="fr-FR" dirty="0"/>
              <a:t>No timing on 1G ports</a:t>
            </a:r>
          </a:p>
        </p:txBody>
      </p:sp>
      <p:sp>
        <p:nvSpPr>
          <p:cNvPr id="3" name="Titre 2">
            <a:extLst>
              <a:ext uri="{FF2B5EF4-FFF2-40B4-BE49-F238E27FC236}">
                <a16:creationId xmlns:a16="http://schemas.microsoft.com/office/drawing/2014/main" id="{8585409E-97C6-1442-BA9D-D32175480954}"/>
              </a:ext>
            </a:extLst>
          </p:cNvPr>
          <p:cNvSpPr>
            <a:spLocks noGrp="1"/>
          </p:cNvSpPr>
          <p:nvPr>
            <p:ph type="title"/>
          </p:nvPr>
        </p:nvSpPr>
        <p:spPr/>
        <p:txBody>
          <a:bodyPr/>
          <a:lstStyle/>
          <a:p>
            <a:r>
              <a:rPr lang="en-US" dirty="0"/>
              <a:t>NCS 5501</a:t>
            </a:r>
            <a:endParaRPr lang="fr-FR" dirty="0"/>
          </a:p>
        </p:txBody>
      </p:sp>
      <p:sp>
        <p:nvSpPr>
          <p:cNvPr id="4" name="Espace réservé du contenu 3">
            <a:extLst>
              <a:ext uri="{FF2B5EF4-FFF2-40B4-BE49-F238E27FC236}">
                <a16:creationId xmlns:a16="http://schemas.microsoft.com/office/drawing/2014/main" id="{9F96E7B2-90D9-224E-A653-EB2C6D0F4B07}"/>
              </a:ext>
            </a:extLst>
          </p:cNvPr>
          <p:cNvSpPr>
            <a:spLocks noGrp="1"/>
          </p:cNvSpPr>
          <p:nvPr>
            <p:ph sz="quarter" idx="11"/>
          </p:nvPr>
        </p:nvSpPr>
        <p:spPr/>
        <p:txBody>
          <a:bodyPr/>
          <a:lstStyle/>
          <a:p>
            <a:r>
              <a:rPr lang="en-US" dirty="0">
                <a:latin typeface="CiscoSansTT" panose="020B0503020201020303" pitchFamily="34" charset="0"/>
                <a:cs typeface="CiscoSansTT" panose="020B0503020201020303" pitchFamily="34" charset="0"/>
              </a:rPr>
              <a:t>100Mbps / 1Gbps Limitations</a:t>
            </a:r>
            <a:endParaRPr lang="fr-FR" dirty="0">
              <a:latin typeface="CiscoSansTT" panose="020B0503020201020303" pitchFamily="34" charset="0"/>
              <a:cs typeface="CiscoSansTT" panose="020B0503020201020303" pitchFamily="34" charset="0"/>
            </a:endParaRPr>
          </a:p>
        </p:txBody>
      </p:sp>
      <p:pic>
        <p:nvPicPr>
          <p:cNvPr id="5" name="Picture 6">
            <a:extLst>
              <a:ext uri="{FF2B5EF4-FFF2-40B4-BE49-F238E27FC236}">
                <a16:creationId xmlns:a16="http://schemas.microsoft.com/office/drawing/2014/main" id="{5C2333F6-F979-184A-BAAF-310B435C3EB1}"/>
              </a:ext>
            </a:extLst>
          </p:cNvPr>
          <p:cNvPicPr>
            <a:picLocks noChangeAspect="1"/>
          </p:cNvPicPr>
          <p:nvPr/>
        </p:nvPicPr>
        <p:blipFill>
          <a:blip r:embed="rId2"/>
          <a:stretch>
            <a:fillRect/>
          </a:stretch>
        </p:blipFill>
        <p:spPr>
          <a:xfrm>
            <a:off x="1036478" y="3684934"/>
            <a:ext cx="7128989" cy="766366"/>
          </a:xfrm>
          <a:prstGeom prst="rect">
            <a:avLst/>
          </a:prstGeom>
        </p:spPr>
      </p:pic>
      <p:sp>
        <p:nvSpPr>
          <p:cNvPr id="6" name="Rectangle 5">
            <a:extLst>
              <a:ext uri="{FF2B5EF4-FFF2-40B4-BE49-F238E27FC236}">
                <a16:creationId xmlns:a16="http://schemas.microsoft.com/office/drawing/2014/main" id="{7EA739A0-1455-DF41-AF47-F98D5D97490F}"/>
              </a:ext>
            </a:extLst>
          </p:cNvPr>
          <p:cNvSpPr/>
          <p:nvPr/>
        </p:nvSpPr>
        <p:spPr>
          <a:xfrm>
            <a:off x="3403076" y="3911447"/>
            <a:ext cx="904973" cy="424206"/>
          </a:xfrm>
          <a:prstGeom prst="rect">
            <a:avLst/>
          </a:prstGeom>
          <a:solidFill>
            <a:srgbClr val="FF0000">
              <a:alpha val="50196"/>
            </a:srgbClr>
          </a:solidFill>
          <a:ln w="38100">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TT Regular" panose="020B0503020201020303" pitchFamily="34" charset="0"/>
            </a:endParaRPr>
          </a:p>
        </p:txBody>
      </p:sp>
    </p:spTree>
    <p:extLst>
      <p:ext uri="{BB962C8B-B14F-4D97-AF65-F5344CB8AC3E}">
        <p14:creationId xmlns:p14="http://schemas.microsoft.com/office/powerpoint/2010/main" val="28326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CA8F64F-23BD-4341-B419-9698B5E40263}"/>
              </a:ext>
            </a:extLst>
          </p:cNvPr>
          <p:cNvSpPr>
            <a:spLocks noGrp="1"/>
          </p:cNvSpPr>
          <p:nvPr>
            <p:ph type="body" sz="quarter" idx="10"/>
          </p:nvPr>
        </p:nvSpPr>
        <p:spPr>
          <a:xfrm>
            <a:off x="462301" y="929813"/>
            <a:ext cx="8277344" cy="3168210"/>
          </a:xfrm>
        </p:spPr>
        <p:txBody>
          <a:bodyPr/>
          <a:lstStyle/>
          <a:p>
            <a:r>
              <a:rPr lang="en-US" dirty="0"/>
              <a:t>48x QSFP28 or QSFP+ optics</a:t>
            </a:r>
          </a:p>
          <a:p>
            <a:pPr lvl="1"/>
            <a:r>
              <a:rPr lang="en-US" dirty="0"/>
              <a:t>Base &amp; Scale versions</a:t>
            </a:r>
          </a:p>
          <a:p>
            <a:r>
              <a:rPr lang="en-US" dirty="0"/>
              <a:t>Single Intel Broadwell CPU</a:t>
            </a:r>
          </a:p>
          <a:p>
            <a:pPr lvl="1"/>
            <a:r>
              <a:rPr lang="en-US" dirty="0"/>
              <a:t>12-core @ 1.6GHz</a:t>
            </a:r>
          </a:p>
          <a:p>
            <a:pPr lvl="1"/>
            <a:r>
              <a:rPr lang="en-US" dirty="0"/>
              <a:t>Runs RP &amp; LC as LXCs</a:t>
            </a:r>
          </a:p>
          <a:p>
            <a:r>
              <a:rPr lang="en-US" dirty="0"/>
              <a:t>8x 600 Gbps Forwarding ASICs</a:t>
            </a:r>
          </a:p>
          <a:p>
            <a:r>
              <a:rPr lang="en-US" dirty="0"/>
              <a:t>Integrated fabric</a:t>
            </a:r>
          </a:p>
          <a:p>
            <a:r>
              <a:rPr lang="en-US" dirty="0"/>
              <a:t>Dimensions</a:t>
            </a:r>
          </a:p>
          <a:p>
            <a:pPr lvl="1"/>
            <a:r>
              <a:rPr lang="en-US" dirty="0"/>
              <a:t>3.45 x 17.3 x 30.0 inches (H x W x D)</a:t>
            </a:r>
          </a:p>
          <a:p>
            <a:r>
              <a:rPr lang="en-US" dirty="0"/>
              <a:t>Separate fan and power supply PIDs for airflow options</a:t>
            </a:r>
          </a:p>
          <a:p>
            <a:pPr lvl="1"/>
            <a:r>
              <a:rPr lang="en-US" dirty="0"/>
              <a:t>Front to back (Port Side Intake)</a:t>
            </a:r>
          </a:p>
          <a:p>
            <a:pPr lvl="1"/>
            <a:r>
              <a:rPr lang="en-US" dirty="0"/>
              <a:t>Back to front (Port Side Exhaust)</a:t>
            </a:r>
          </a:p>
        </p:txBody>
      </p:sp>
      <p:sp>
        <p:nvSpPr>
          <p:cNvPr id="3" name="Titre 2">
            <a:extLst>
              <a:ext uri="{FF2B5EF4-FFF2-40B4-BE49-F238E27FC236}">
                <a16:creationId xmlns:a16="http://schemas.microsoft.com/office/drawing/2014/main" id="{BEF28CB4-1F4D-CE45-AC98-C1FC942A8913}"/>
              </a:ext>
            </a:extLst>
          </p:cNvPr>
          <p:cNvSpPr>
            <a:spLocks noGrp="1"/>
          </p:cNvSpPr>
          <p:nvPr>
            <p:ph type="title"/>
          </p:nvPr>
        </p:nvSpPr>
        <p:spPr/>
        <p:txBody>
          <a:bodyPr/>
          <a:lstStyle/>
          <a:p>
            <a:r>
              <a:rPr lang="en-US" dirty="0"/>
              <a:t>NCS-5502(-SE)</a:t>
            </a:r>
          </a:p>
        </p:txBody>
      </p:sp>
      <p:pic>
        <p:nvPicPr>
          <p:cNvPr id="4" name="Picture 4">
            <a:extLst>
              <a:ext uri="{FF2B5EF4-FFF2-40B4-BE49-F238E27FC236}">
                <a16:creationId xmlns:a16="http://schemas.microsoft.com/office/drawing/2014/main" id="{1CEB2C11-BBFF-B642-91A4-BD6AC58DDA71}"/>
              </a:ext>
            </a:extLst>
          </p:cNvPr>
          <p:cNvPicPr>
            <a:picLocks noChangeAspect="1"/>
          </p:cNvPicPr>
          <p:nvPr/>
        </p:nvPicPr>
        <p:blipFill>
          <a:blip r:embed="rId2"/>
          <a:stretch>
            <a:fillRect/>
          </a:stretch>
        </p:blipFill>
        <p:spPr>
          <a:xfrm>
            <a:off x="4638803" y="225235"/>
            <a:ext cx="4363529" cy="1030883"/>
          </a:xfrm>
          <a:prstGeom prst="rect">
            <a:avLst/>
          </a:prstGeom>
        </p:spPr>
      </p:pic>
      <p:graphicFrame>
        <p:nvGraphicFramePr>
          <p:cNvPr id="5" name="Table 5">
            <a:extLst>
              <a:ext uri="{FF2B5EF4-FFF2-40B4-BE49-F238E27FC236}">
                <a16:creationId xmlns:a16="http://schemas.microsoft.com/office/drawing/2014/main" id="{6D42AD59-587A-774B-972E-FC6B7E335D75}"/>
              </a:ext>
            </a:extLst>
          </p:cNvPr>
          <p:cNvGraphicFramePr>
            <a:graphicFrameLocks noGrp="1"/>
          </p:cNvGraphicFramePr>
          <p:nvPr/>
        </p:nvGraphicFramePr>
        <p:xfrm>
          <a:off x="4751110" y="2074125"/>
          <a:ext cx="4115758" cy="1341120"/>
        </p:xfrm>
        <a:graphic>
          <a:graphicData uri="http://schemas.openxmlformats.org/drawingml/2006/table">
            <a:tbl>
              <a:tblPr firstRow="1" bandRow="1">
                <a:tableStyleId>{D7AC3CCA-C797-4891-BE02-D94E43425B78}</a:tableStyleId>
              </a:tblPr>
              <a:tblGrid>
                <a:gridCol w="1470581">
                  <a:extLst>
                    <a:ext uri="{9D8B030D-6E8A-4147-A177-3AD203B41FA5}">
                      <a16:colId xmlns:a16="http://schemas.microsoft.com/office/drawing/2014/main" val="20000"/>
                    </a:ext>
                  </a:extLst>
                </a:gridCol>
                <a:gridCol w="735290">
                  <a:extLst>
                    <a:ext uri="{9D8B030D-6E8A-4147-A177-3AD203B41FA5}">
                      <a16:colId xmlns:a16="http://schemas.microsoft.com/office/drawing/2014/main" val="20001"/>
                    </a:ext>
                  </a:extLst>
                </a:gridCol>
                <a:gridCol w="1039691">
                  <a:extLst>
                    <a:ext uri="{9D8B030D-6E8A-4147-A177-3AD203B41FA5}">
                      <a16:colId xmlns:a16="http://schemas.microsoft.com/office/drawing/2014/main" val="20002"/>
                    </a:ext>
                  </a:extLst>
                </a:gridCol>
                <a:gridCol w="870196">
                  <a:extLst>
                    <a:ext uri="{9D8B030D-6E8A-4147-A177-3AD203B41FA5}">
                      <a16:colId xmlns:a16="http://schemas.microsoft.com/office/drawing/2014/main" val="20003"/>
                    </a:ext>
                  </a:extLst>
                </a:gridCol>
              </a:tblGrid>
              <a:tr h="145769">
                <a:tc>
                  <a:txBody>
                    <a:bodyPr/>
                    <a:lstStyle/>
                    <a:p>
                      <a:pPr algn="ctr"/>
                      <a:r>
                        <a:rPr lang="en-US" sz="1400" b="0" i="0" dirty="0">
                          <a:latin typeface="CiscoSansTT Regular" panose="020B0503020201020303" pitchFamily="34" charset="0"/>
                        </a:rPr>
                        <a:t>Product</a:t>
                      </a:r>
                    </a:p>
                  </a:txBody>
                  <a:tcPr anchor="ctr"/>
                </a:tc>
                <a:tc>
                  <a:txBody>
                    <a:bodyPr/>
                    <a:lstStyle/>
                    <a:p>
                      <a:pPr algn="ctr"/>
                      <a:r>
                        <a:rPr lang="en-US" sz="1400" b="0" i="0" dirty="0">
                          <a:latin typeface="CiscoSansTT Regular" panose="020B0503020201020303" pitchFamily="34" charset="0"/>
                        </a:rPr>
                        <a:t>LEM</a:t>
                      </a:r>
                    </a:p>
                  </a:txBody>
                  <a:tcPr anchor="ctr"/>
                </a:tc>
                <a:tc>
                  <a:txBody>
                    <a:bodyPr/>
                    <a:lstStyle/>
                    <a:p>
                      <a:pPr algn="ctr"/>
                      <a:r>
                        <a:rPr lang="en-US" sz="1400" b="0" i="0" dirty="0">
                          <a:latin typeface="CiscoSansTT Regular" panose="020B0503020201020303" pitchFamily="34" charset="0"/>
                        </a:rPr>
                        <a:t>LPM</a:t>
                      </a:r>
                    </a:p>
                  </a:txBody>
                  <a:tcPr anchor="ctr"/>
                </a:tc>
                <a:tc>
                  <a:txBody>
                    <a:bodyPr/>
                    <a:lstStyle/>
                    <a:p>
                      <a:pPr algn="ctr"/>
                      <a:r>
                        <a:rPr lang="en-US" sz="1400" b="0" i="0" dirty="0" err="1">
                          <a:latin typeface="CiscoSansTT Regular" panose="020B0503020201020303" pitchFamily="34" charset="0"/>
                        </a:rPr>
                        <a:t>eTCAM</a:t>
                      </a:r>
                      <a:endParaRPr lang="en-US" sz="1400" dirty="0"/>
                    </a:p>
                  </a:txBody>
                  <a:tcPr anchor="ctr"/>
                </a:tc>
                <a:extLst>
                  <a:ext uri="{0D108BD9-81ED-4DB2-BD59-A6C34878D82A}">
                    <a16:rowId xmlns:a16="http://schemas.microsoft.com/office/drawing/2014/main" val="10000"/>
                  </a:ext>
                </a:extLst>
              </a:tr>
              <a:tr h="221969">
                <a:tc>
                  <a:txBody>
                    <a:bodyPr/>
                    <a:lstStyle/>
                    <a:p>
                      <a:pPr algn="ctr"/>
                      <a:r>
                        <a:rPr lang="en-US" sz="1400" b="0" i="0" dirty="0">
                          <a:latin typeface="CiscoSansTT Regular" panose="020B0503020201020303" pitchFamily="34" charset="0"/>
                        </a:rPr>
                        <a:t>NCS5502</a:t>
                      </a:r>
                    </a:p>
                  </a:txBody>
                  <a:tcPr/>
                </a:tc>
                <a:tc>
                  <a:txBody>
                    <a:bodyPr/>
                    <a:lstStyle/>
                    <a:p>
                      <a:pPr algn="ctr"/>
                      <a:r>
                        <a:rPr lang="en-US" sz="1400" b="0" i="0" dirty="0">
                          <a:latin typeface="CiscoSansTT Regular" panose="020B0503020201020303" pitchFamily="34" charset="0"/>
                        </a:rPr>
                        <a:t>786k</a:t>
                      </a:r>
                    </a:p>
                  </a:txBody>
                  <a:tcPr/>
                </a:tc>
                <a:tc>
                  <a:txBody>
                    <a:bodyPr/>
                    <a:lstStyle/>
                    <a:p>
                      <a:pPr algn="ctr"/>
                      <a:r>
                        <a:rPr lang="en-US" sz="1400" b="0" i="0" dirty="0">
                          <a:latin typeface="CiscoSansTT Regular" panose="020B0503020201020303" pitchFamily="34" charset="0"/>
                        </a:rPr>
                        <a:t>256k-350k</a:t>
                      </a:r>
                    </a:p>
                  </a:txBody>
                  <a:tcPr/>
                </a:tc>
                <a:tc>
                  <a:txBody>
                    <a:bodyPr/>
                    <a:lstStyle/>
                    <a:p>
                      <a:pPr algn="ctr"/>
                      <a:r>
                        <a:rPr lang="en-US" sz="1400" b="0" i="0" dirty="0">
                          <a:latin typeface="CiscoSansTT Regular" panose="020B0503020201020303" pitchFamily="34" charset="0"/>
                        </a:rPr>
                        <a:t>-</a:t>
                      </a:r>
                    </a:p>
                  </a:txBody>
                  <a:tcPr/>
                </a:tc>
                <a:extLst>
                  <a:ext uri="{0D108BD9-81ED-4DB2-BD59-A6C34878D82A}">
                    <a16:rowId xmlns:a16="http://schemas.microsoft.com/office/drawing/2014/main" val="10001"/>
                  </a:ext>
                </a:extLst>
              </a:tr>
              <a:tr h="180938">
                <a:tc>
                  <a:txBody>
                    <a:bodyPr/>
                    <a:lstStyle/>
                    <a:p>
                      <a:pPr algn="ctr"/>
                      <a:r>
                        <a:rPr lang="en-US" sz="1400" b="0" i="0" dirty="0">
                          <a:latin typeface="CiscoSansTT Regular" panose="020B0503020201020303" pitchFamily="34" charset="0"/>
                        </a:rPr>
                        <a:t>NCS5502-SE</a:t>
                      </a:r>
                    </a:p>
                  </a:txBody>
                  <a:tcPr/>
                </a:tc>
                <a:tc>
                  <a:txBody>
                    <a:bodyPr/>
                    <a:lstStyle/>
                    <a:p>
                      <a:pPr algn="ctr"/>
                      <a:r>
                        <a:rPr lang="en-US" sz="1400" b="0" i="0" dirty="0">
                          <a:latin typeface="CiscoSansTT Regular" panose="020B0503020201020303" pitchFamily="34" charset="0"/>
                        </a:rPr>
                        <a:t>786k</a:t>
                      </a:r>
                    </a:p>
                  </a:txBody>
                  <a:tcPr/>
                </a:tc>
                <a:tc>
                  <a:txBody>
                    <a:bodyPr/>
                    <a:lstStyle/>
                    <a:p>
                      <a:pPr algn="ctr"/>
                      <a:r>
                        <a:rPr lang="en-US" sz="1400" b="0" i="0" dirty="0">
                          <a:latin typeface="CiscoSansTT Regular" panose="020B0503020201020303" pitchFamily="34" charset="0"/>
                        </a:rPr>
                        <a:t>256k-350k</a:t>
                      </a:r>
                    </a:p>
                  </a:txBody>
                  <a:tcPr/>
                </a:tc>
                <a:tc>
                  <a:txBody>
                    <a:bodyPr/>
                    <a:lstStyle/>
                    <a:p>
                      <a:pPr algn="ctr"/>
                      <a:r>
                        <a:rPr lang="en-US" sz="1400" b="0" i="0" dirty="0">
                          <a:latin typeface="CiscoSansTT Regular" panose="020B0503020201020303" pitchFamily="34" charset="0"/>
                        </a:rPr>
                        <a:t>2M</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69816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CA8F64F-23BD-4341-B419-9698B5E40263}"/>
              </a:ext>
            </a:extLst>
          </p:cNvPr>
          <p:cNvSpPr>
            <a:spLocks noGrp="1"/>
          </p:cNvSpPr>
          <p:nvPr>
            <p:ph type="body" sz="quarter" idx="10"/>
          </p:nvPr>
        </p:nvSpPr>
        <p:spPr/>
        <p:txBody>
          <a:bodyPr/>
          <a:lstStyle/>
          <a:p>
            <a:r>
              <a:rPr lang="en-US" dirty="0"/>
              <a:t>4.8 </a:t>
            </a:r>
            <a:r>
              <a:rPr lang="en-US" dirty="0" err="1"/>
              <a:t>Tbps</a:t>
            </a:r>
            <a:r>
              <a:rPr lang="en-US" dirty="0"/>
              <a:t> line-rate 100G &lt; 2000W </a:t>
            </a:r>
          </a:p>
          <a:p>
            <a:pPr lvl="1"/>
            <a:r>
              <a:rPr lang="en-US" dirty="0"/>
              <a:t>With SR optics</a:t>
            </a:r>
          </a:p>
          <a:p>
            <a:r>
              <a:rPr lang="en-US" dirty="0"/>
              <a:t>48x 40G/100G QSFP+/QSFP28</a:t>
            </a:r>
          </a:p>
          <a:p>
            <a:r>
              <a:rPr lang="en-US" dirty="0"/>
              <a:t>No external TCAM</a:t>
            </a:r>
          </a:p>
          <a:p>
            <a:r>
              <a:rPr lang="en-US" dirty="0"/>
              <a:t>8x 600 Gbps Forwarding ASICs</a:t>
            </a:r>
          </a:p>
          <a:p>
            <a:pPr lvl="1"/>
            <a:r>
              <a:rPr lang="en-US" dirty="0"/>
              <a:t>720Mpps each</a:t>
            </a:r>
          </a:p>
          <a:p>
            <a:endParaRPr lang="en-US" dirty="0"/>
          </a:p>
          <a:p>
            <a:endParaRPr lang="en-US" dirty="0"/>
          </a:p>
          <a:p>
            <a:endParaRPr lang="en-US" dirty="0"/>
          </a:p>
          <a:p>
            <a:endParaRPr lang="en-US" dirty="0"/>
          </a:p>
        </p:txBody>
      </p:sp>
      <p:sp>
        <p:nvSpPr>
          <p:cNvPr id="3" name="Titre 2">
            <a:extLst>
              <a:ext uri="{FF2B5EF4-FFF2-40B4-BE49-F238E27FC236}">
                <a16:creationId xmlns:a16="http://schemas.microsoft.com/office/drawing/2014/main" id="{BEF28CB4-1F4D-CE45-AC98-C1FC942A8913}"/>
              </a:ext>
            </a:extLst>
          </p:cNvPr>
          <p:cNvSpPr>
            <a:spLocks noGrp="1"/>
          </p:cNvSpPr>
          <p:nvPr>
            <p:ph type="title"/>
          </p:nvPr>
        </p:nvSpPr>
        <p:spPr/>
        <p:txBody>
          <a:bodyPr/>
          <a:lstStyle/>
          <a:p>
            <a:r>
              <a:rPr lang="en-US" dirty="0"/>
              <a:t>NCS 5502 Base</a:t>
            </a:r>
          </a:p>
        </p:txBody>
      </p:sp>
      <p:pic>
        <p:nvPicPr>
          <p:cNvPr id="53" name="Picture 66">
            <a:extLst>
              <a:ext uri="{FF2B5EF4-FFF2-40B4-BE49-F238E27FC236}">
                <a16:creationId xmlns:a16="http://schemas.microsoft.com/office/drawing/2014/main" id="{947010D6-96B2-AE44-AD5E-7271CF70D0CE}"/>
              </a:ext>
            </a:extLst>
          </p:cNvPr>
          <p:cNvPicPr>
            <a:picLocks noChangeAspect="1"/>
          </p:cNvPicPr>
          <p:nvPr/>
        </p:nvPicPr>
        <p:blipFill>
          <a:blip r:embed="rId2"/>
          <a:stretch>
            <a:fillRect/>
          </a:stretch>
        </p:blipFill>
        <p:spPr>
          <a:xfrm>
            <a:off x="2121804" y="3505238"/>
            <a:ext cx="4972736" cy="1006979"/>
          </a:xfrm>
          <a:prstGeom prst="rect">
            <a:avLst/>
          </a:prstGeom>
        </p:spPr>
      </p:pic>
    </p:spTree>
    <p:extLst>
      <p:ext uri="{BB962C8B-B14F-4D97-AF65-F5344CB8AC3E}">
        <p14:creationId xmlns:p14="http://schemas.microsoft.com/office/powerpoint/2010/main" val="101843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r>
              <a:rPr lang="pl-PL" dirty="0"/>
              <a:t> list</a:t>
            </a:r>
            <a:endParaRPr lang="en-US" dirty="0"/>
          </a:p>
        </p:txBody>
      </p:sp>
      <p:sp>
        <p:nvSpPr>
          <p:cNvPr id="4" name="Oval 3"/>
          <p:cNvSpPr>
            <a:spLocks noChangeAspect="1"/>
          </p:cNvSpPr>
          <p:nvPr/>
        </p:nvSpPr>
        <p:spPr>
          <a:xfrm>
            <a:off x="563881" y="1073150"/>
            <a:ext cx="457200" cy="45720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1</a:t>
            </a:r>
          </a:p>
        </p:txBody>
      </p:sp>
      <p:sp>
        <p:nvSpPr>
          <p:cNvPr id="5" name="Oval 4"/>
          <p:cNvSpPr>
            <a:spLocks noChangeAspect="1"/>
          </p:cNvSpPr>
          <p:nvPr/>
        </p:nvSpPr>
        <p:spPr>
          <a:xfrm>
            <a:off x="563881" y="1784861"/>
            <a:ext cx="457200" cy="457201"/>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2"/>
                </a:solidFill>
              </a:rPr>
              <a:t>2</a:t>
            </a:r>
          </a:p>
        </p:txBody>
      </p:sp>
      <p:sp>
        <p:nvSpPr>
          <p:cNvPr id="6" name="Oval 5"/>
          <p:cNvSpPr>
            <a:spLocks noChangeAspect="1"/>
          </p:cNvSpPr>
          <p:nvPr/>
        </p:nvSpPr>
        <p:spPr>
          <a:xfrm>
            <a:off x="563881" y="2496572"/>
            <a:ext cx="457200" cy="45720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3</a:t>
            </a:r>
          </a:p>
        </p:txBody>
      </p:sp>
      <p:sp>
        <p:nvSpPr>
          <p:cNvPr id="7" name="Oval 6"/>
          <p:cNvSpPr>
            <a:spLocks noChangeAspect="1"/>
          </p:cNvSpPr>
          <p:nvPr/>
        </p:nvSpPr>
        <p:spPr>
          <a:xfrm>
            <a:off x="563881" y="3208283"/>
            <a:ext cx="457200" cy="457201"/>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4</a:t>
            </a:r>
          </a:p>
        </p:txBody>
      </p:sp>
      <p:sp>
        <p:nvSpPr>
          <p:cNvPr id="8" name="Oval 7"/>
          <p:cNvSpPr>
            <a:spLocks noChangeAspect="1"/>
          </p:cNvSpPr>
          <p:nvPr/>
        </p:nvSpPr>
        <p:spPr>
          <a:xfrm>
            <a:off x="563881" y="3919993"/>
            <a:ext cx="457200" cy="45720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5</a:t>
            </a:r>
          </a:p>
        </p:txBody>
      </p:sp>
      <p:sp>
        <p:nvSpPr>
          <p:cNvPr id="11" name="TextBox 10"/>
          <p:cNvSpPr txBox="1"/>
          <p:nvPr/>
        </p:nvSpPr>
        <p:spPr>
          <a:xfrm>
            <a:off x="1023159" y="1132473"/>
            <a:ext cx="2038123" cy="338554"/>
          </a:xfrm>
          <a:prstGeom prst="rect">
            <a:avLst/>
          </a:prstGeom>
          <a:noFill/>
        </p:spPr>
        <p:txBody>
          <a:bodyPr wrap="square" rtlCol="0" anchor="ctr">
            <a:spAutoFit/>
          </a:bodyPr>
          <a:lstStyle/>
          <a:p>
            <a:r>
              <a:rPr lang="en-ZA" sz="1600" dirty="0">
                <a:latin typeface="+mn-lt"/>
              </a:rPr>
              <a:t>Overview</a:t>
            </a:r>
            <a:endParaRPr lang="en-US" sz="1600" dirty="0">
              <a:latin typeface="+mn-lt"/>
            </a:endParaRPr>
          </a:p>
        </p:txBody>
      </p:sp>
      <p:sp>
        <p:nvSpPr>
          <p:cNvPr id="12" name="TextBox 11"/>
          <p:cNvSpPr txBox="1"/>
          <p:nvPr/>
        </p:nvSpPr>
        <p:spPr>
          <a:xfrm>
            <a:off x="1023159" y="1721074"/>
            <a:ext cx="2038123" cy="584775"/>
          </a:xfrm>
          <a:prstGeom prst="rect">
            <a:avLst/>
          </a:prstGeom>
          <a:noFill/>
        </p:spPr>
        <p:txBody>
          <a:bodyPr wrap="square" rtlCol="0" anchor="ctr">
            <a:spAutoFit/>
          </a:bodyPr>
          <a:lstStyle/>
          <a:p>
            <a:r>
              <a:rPr lang="en-ZA" sz="1600" dirty="0">
                <a:latin typeface="+mn-lt"/>
              </a:rPr>
              <a:t>Radio, Access, and Core</a:t>
            </a:r>
            <a:endParaRPr lang="pl-PL" sz="1600" dirty="0">
              <a:latin typeface="+mn-lt"/>
            </a:endParaRPr>
          </a:p>
        </p:txBody>
      </p:sp>
      <p:sp>
        <p:nvSpPr>
          <p:cNvPr id="13" name="TextBox 12"/>
          <p:cNvSpPr txBox="1"/>
          <p:nvPr/>
        </p:nvSpPr>
        <p:spPr>
          <a:xfrm>
            <a:off x="1023159" y="2432785"/>
            <a:ext cx="2038123" cy="584775"/>
          </a:xfrm>
          <a:prstGeom prst="rect">
            <a:avLst/>
          </a:prstGeom>
          <a:noFill/>
        </p:spPr>
        <p:txBody>
          <a:bodyPr wrap="square" rtlCol="0" anchor="ctr">
            <a:spAutoFit/>
          </a:bodyPr>
          <a:lstStyle/>
          <a:p>
            <a:r>
              <a:rPr lang="en-ZA" sz="1600" dirty="0">
                <a:latin typeface="+mn-lt"/>
              </a:rPr>
              <a:t>Flexible Consumption Model</a:t>
            </a:r>
            <a:endParaRPr lang="pl-PL" sz="1600" dirty="0">
              <a:latin typeface="+mn-lt"/>
            </a:endParaRPr>
          </a:p>
        </p:txBody>
      </p:sp>
      <p:sp>
        <p:nvSpPr>
          <p:cNvPr id="14" name="TextBox 13"/>
          <p:cNvSpPr txBox="1"/>
          <p:nvPr/>
        </p:nvSpPr>
        <p:spPr>
          <a:xfrm>
            <a:off x="1023159" y="3144496"/>
            <a:ext cx="2038123" cy="584775"/>
          </a:xfrm>
          <a:prstGeom prst="rect">
            <a:avLst/>
          </a:prstGeom>
          <a:noFill/>
        </p:spPr>
        <p:txBody>
          <a:bodyPr wrap="square" rtlCol="0" anchor="ctr">
            <a:spAutoFit/>
          </a:bodyPr>
          <a:lstStyle/>
          <a:p>
            <a:r>
              <a:rPr lang="en-ZA" sz="1600" dirty="0">
                <a:latin typeface="+mn-lt"/>
              </a:rPr>
              <a:t>Data Centre and Interconnect</a:t>
            </a:r>
            <a:endParaRPr lang="pl-PL" sz="1600" dirty="0">
              <a:latin typeface="+mn-lt"/>
            </a:endParaRPr>
          </a:p>
        </p:txBody>
      </p:sp>
      <p:sp>
        <p:nvSpPr>
          <p:cNvPr id="15" name="TextBox 14"/>
          <p:cNvSpPr txBox="1"/>
          <p:nvPr/>
        </p:nvSpPr>
        <p:spPr>
          <a:xfrm>
            <a:off x="1023159" y="3856206"/>
            <a:ext cx="2038123" cy="584775"/>
          </a:xfrm>
          <a:prstGeom prst="rect">
            <a:avLst/>
          </a:prstGeom>
          <a:noFill/>
        </p:spPr>
        <p:txBody>
          <a:bodyPr wrap="square" rtlCol="0" anchor="ctr">
            <a:spAutoFit/>
          </a:bodyPr>
          <a:lstStyle/>
          <a:p>
            <a:r>
              <a:rPr lang="en-ZA" sz="1600" dirty="0">
                <a:latin typeface="+mn-lt"/>
              </a:rPr>
              <a:t>Mobile Network Core</a:t>
            </a:r>
            <a:endParaRPr lang="pl-PL" sz="1600" dirty="0">
              <a:latin typeface="+mn-lt"/>
            </a:endParaRPr>
          </a:p>
        </p:txBody>
      </p:sp>
      <p:sp>
        <p:nvSpPr>
          <p:cNvPr id="17" name="Oval 16"/>
          <p:cNvSpPr>
            <a:spLocks noChangeAspect="1"/>
          </p:cNvSpPr>
          <p:nvPr/>
        </p:nvSpPr>
        <p:spPr>
          <a:xfrm>
            <a:off x="4632378" y="1073150"/>
            <a:ext cx="457200" cy="45720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6</a:t>
            </a:r>
          </a:p>
        </p:txBody>
      </p:sp>
      <p:sp>
        <p:nvSpPr>
          <p:cNvPr id="18" name="Oval 17"/>
          <p:cNvSpPr>
            <a:spLocks noChangeAspect="1"/>
          </p:cNvSpPr>
          <p:nvPr/>
        </p:nvSpPr>
        <p:spPr>
          <a:xfrm>
            <a:off x="4632378" y="1784861"/>
            <a:ext cx="457200" cy="457201"/>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2"/>
                </a:solidFill>
              </a:rPr>
              <a:t>7</a:t>
            </a:r>
          </a:p>
        </p:txBody>
      </p:sp>
      <p:sp>
        <p:nvSpPr>
          <p:cNvPr id="19" name="Oval 18"/>
          <p:cNvSpPr>
            <a:spLocks noChangeAspect="1"/>
          </p:cNvSpPr>
          <p:nvPr/>
        </p:nvSpPr>
        <p:spPr>
          <a:xfrm>
            <a:off x="4632378" y="2496572"/>
            <a:ext cx="457200" cy="45720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8</a:t>
            </a:r>
          </a:p>
        </p:txBody>
      </p:sp>
      <p:sp>
        <p:nvSpPr>
          <p:cNvPr id="20" name="Oval 19"/>
          <p:cNvSpPr>
            <a:spLocks noChangeAspect="1"/>
          </p:cNvSpPr>
          <p:nvPr/>
        </p:nvSpPr>
        <p:spPr>
          <a:xfrm>
            <a:off x="4632378" y="3208283"/>
            <a:ext cx="457200" cy="457201"/>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9</a:t>
            </a:r>
          </a:p>
        </p:txBody>
      </p:sp>
      <p:sp>
        <p:nvSpPr>
          <p:cNvPr id="22" name="TextBox 21"/>
          <p:cNvSpPr txBox="1"/>
          <p:nvPr/>
        </p:nvSpPr>
        <p:spPr>
          <a:xfrm>
            <a:off x="5091656" y="1132473"/>
            <a:ext cx="2038123" cy="338554"/>
          </a:xfrm>
          <a:prstGeom prst="rect">
            <a:avLst/>
          </a:prstGeom>
          <a:noFill/>
        </p:spPr>
        <p:txBody>
          <a:bodyPr wrap="square" rtlCol="0" anchor="ctr">
            <a:spAutoFit/>
          </a:bodyPr>
          <a:lstStyle/>
          <a:p>
            <a:r>
              <a:rPr lang="en-ZA" sz="1600" dirty="0">
                <a:latin typeface="+mn-lt"/>
              </a:rPr>
              <a:t>Security</a:t>
            </a:r>
            <a:endParaRPr lang="en-US" sz="1600" dirty="0">
              <a:latin typeface="+mn-lt"/>
            </a:endParaRPr>
          </a:p>
        </p:txBody>
      </p:sp>
      <p:sp>
        <p:nvSpPr>
          <p:cNvPr id="23" name="TextBox 22"/>
          <p:cNvSpPr txBox="1"/>
          <p:nvPr/>
        </p:nvSpPr>
        <p:spPr>
          <a:xfrm>
            <a:off x="5091656" y="1844184"/>
            <a:ext cx="2038123" cy="338554"/>
          </a:xfrm>
          <a:prstGeom prst="rect">
            <a:avLst/>
          </a:prstGeom>
          <a:noFill/>
        </p:spPr>
        <p:txBody>
          <a:bodyPr wrap="square" rtlCol="0" anchor="ctr">
            <a:spAutoFit/>
          </a:bodyPr>
          <a:lstStyle/>
          <a:p>
            <a:r>
              <a:rPr lang="en-ZA" sz="1600" dirty="0">
                <a:latin typeface="+mn-lt"/>
              </a:rPr>
              <a:t>Automation</a:t>
            </a:r>
            <a:endParaRPr lang="en-US" sz="1600" dirty="0">
              <a:latin typeface="+mn-lt"/>
            </a:endParaRPr>
          </a:p>
        </p:txBody>
      </p:sp>
      <p:sp>
        <p:nvSpPr>
          <p:cNvPr id="24" name="TextBox 23"/>
          <p:cNvSpPr txBox="1"/>
          <p:nvPr/>
        </p:nvSpPr>
        <p:spPr>
          <a:xfrm>
            <a:off x="5091656" y="2432785"/>
            <a:ext cx="2038123" cy="584775"/>
          </a:xfrm>
          <a:prstGeom prst="rect">
            <a:avLst/>
          </a:prstGeom>
          <a:noFill/>
        </p:spPr>
        <p:txBody>
          <a:bodyPr wrap="square" rtlCol="0" anchor="ctr">
            <a:spAutoFit/>
          </a:bodyPr>
          <a:lstStyle/>
          <a:p>
            <a:r>
              <a:rPr lang="en-ZA" sz="1600" dirty="0">
                <a:latin typeface="+mn-lt"/>
              </a:rPr>
              <a:t>Architecture Designs</a:t>
            </a:r>
            <a:endParaRPr lang="en-US" sz="1600" dirty="0">
              <a:latin typeface="+mn-lt"/>
            </a:endParaRPr>
          </a:p>
        </p:txBody>
      </p:sp>
      <p:sp>
        <p:nvSpPr>
          <p:cNvPr id="25" name="TextBox 24"/>
          <p:cNvSpPr txBox="1"/>
          <p:nvPr/>
        </p:nvSpPr>
        <p:spPr>
          <a:xfrm>
            <a:off x="5091656" y="3267606"/>
            <a:ext cx="2038123" cy="338554"/>
          </a:xfrm>
          <a:prstGeom prst="rect">
            <a:avLst/>
          </a:prstGeom>
          <a:noFill/>
        </p:spPr>
        <p:txBody>
          <a:bodyPr wrap="square" rtlCol="0" anchor="ctr">
            <a:spAutoFit/>
          </a:bodyPr>
          <a:lstStyle/>
          <a:p>
            <a:r>
              <a:rPr lang="en-ZA" sz="1600" dirty="0">
                <a:latin typeface="+mn-lt"/>
              </a:rPr>
              <a:t>Close</a:t>
            </a:r>
            <a:endParaRPr lang="en-US" sz="1600" dirty="0">
              <a:latin typeface="+mn-lt"/>
            </a:endParaRPr>
          </a:p>
        </p:txBody>
      </p:sp>
    </p:spTree>
    <p:extLst>
      <p:ext uri="{BB962C8B-B14F-4D97-AF65-F5344CB8AC3E}">
        <p14:creationId xmlns:p14="http://schemas.microsoft.com/office/powerpoint/2010/main" val="64171416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CA8F64F-23BD-4341-B419-9698B5E40263}"/>
              </a:ext>
            </a:extLst>
          </p:cNvPr>
          <p:cNvSpPr>
            <a:spLocks noGrp="1"/>
          </p:cNvSpPr>
          <p:nvPr>
            <p:ph type="body" sz="quarter" idx="10"/>
          </p:nvPr>
        </p:nvSpPr>
        <p:spPr/>
        <p:txBody>
          <a:bodyPr/>
          <a:lstStyle/>
          <a:p>
            <a:r>
              <a:rPr lang="en-US" dirty="0"/>
              <a:t>4.8 </a:t>
            </a:r>
            <a:r>
              <a:rPr lang="en-US" dirty="0" err="1"/>
              <a:t>Tbps</a:t>
            </a:r>
            <a:r>
              <a:rPr lang="en-US" dirty="0"/>
              <a:t> line-rate 100G &lt; 2000W </a:t>
            </a:r>
          </a:p>
          <a:p>
            <a:r>
              <a:rPr lang="en-US" dirty="0"/>
              <a:t>48x 40G/100G QSFP+/QSFP28</a:t>
            </a:r>
          </a:p>
          <a:p>
            <a:r>
              <a:rPr lang="en-US" dirty="0"/>
              <a:t>External TCAM for route and ACL scale</a:t>
            </a:r>
          </a:p>
          <a:p>
            <a:r>
              <a:rPr lang="en-US" dirty="0"/>
              <a:t>8x 600 Gbps Forwarding ASICs</a:t>
            </a:r>
          </a:p>
          <a:p>
            <a:pPr lvl="1"/>
            <a:r>
              <a:rPr lang="en-US" dirty="0"/>
              <a:t>600Mpps each</a:t>
            </a:r>
          </a:p>
          <a:p>
            <a:endParaRPr lang="en-US" dirty="0"/>
          </a:p>
          <a:p>
            <a:endParaRPr lang="en-US" dirty="0"/>
          </a:p>
        </p:txBody>
      </p:sp>
      <p:sp>
        <p:nvSpPr>
          <p:cNvPr id="3" name="Titre 2">
            <a:extLst>
              <a:ext uri="{FF2B5EF4-FFF2-40B4-BE49-F238E27FC236}">
                <a16:creationId xmlns:a16="http://schemas.microsoft.com/office/drawing/2014/main" id="{BEF28CB4-1F4D-CE45-AC98-C1FC942A8913}"/>
              </a:ext>
            </a:extLst>
          </p:cNvPr>
          <p:cNvSpPr>
            <a:spLocks noGrp="1"/>
          </p:cNvSpPr>
          <p:nvPr>
            <p:ph type="title"/>
          </p:nvPr>
        </p:nvSpPr>
        <p:spPr/>
        <p:txBody>
          <a:bodyPr/>
          <a:lstStyle/>
          <a:p>
            <a:r>
              <a:rPr lang="en-US" dirty="0"/>
              <a:t>NCS 5502 Scale</a:t>
            </a:r>
          </a:p>
        </p:txBody>
      </p:sp>
      <p:pic>
        <p:nvPicPr>
          <p:cNvPr id="56" name="Picture 57">
            <a:extLst>
              <a:ext uri="{FF2B5EF4-FFF2-40B4-BE49-F238E27FC236}">
                <a16:creationId xmlns:a16="http://schemas.microsoft.com/office/drawing/2014/main" id="{9E17FAEF-C306-C340-8066-F570DD212AE9}"/>
              </a:ext>
            </a:extLst>
          </p:cNvPr>
          <p:cNvPicPr>
            <a:picLocks noChangeAspect="1"/>
          </p:cNvPicPr>
          <p:nvPr/>
        </p:nvPicPr>
        <p:blipFill>
          <a:blip r:embed="rId2"/>
          <a:stretch>
            <a:fillRect/>
          </a:stretch>
        </p:blipFill>
        <p:spPr>
          <a:xfrm>
            <a:off x="303019" y="3268791"/>
            <a:ext cx="4516359" cy="1066990"/>
          </a:xfrm>
          <a:prstGeom prst="rect">
            <a:avLst/>
          </a:prstGeom>
        </p:spPr>
      </p:pic>
    </p:spTree>
    <p:extLst>
      <p:ext uri="{BB962C8B-B14F-4D97-AF65-F5344CB8AC3E}">
        <p14:creationId xmlns:p14="http://schemas.microsoft.com/office/powerpoint/2010/main" val="41313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707B5E2-AAC6-1E4D-B927-4F558D156846}"/>
              </a:ext>
            </a:extLst>
          </p:cNvPr>
          <p:cNvSpPr>
            <a:spLocks noGrp="1"/>
          </p:cNvSpPr>
          <p:nvPr>
            <p:ph type="body" sz="quarter" idx="10"/>
          </p:nvPr>
        </p:nvSpPr>
        <p:spPr/>
        <p:txBody>
          <a:bodyPr/>
          <a:lstStyle/>
          <a:p>
            <a:r>
              <a:rPr lang="fr-FR" dirty="0"/>
              <a:t>1 RU </a:t>
            </a:r>
            <a:r>
              <a:rPr lang="fr-FR" dirty="0" err="1"/>
              <a:t>Fixed</a:t>
            </a:r>
            <a:r>
              <a:rPr lang="fr-FR" dirty="0"/>
              <a:t> System: 36x QSFP28 or QSFP+ </a:t>
            </a:r>
            <a:r>
              <a:rPr lang="fr-FR" dirty="0" err="1"/>
              <a:t>optics</a:t>
            </a:r>
            <a:endParaRPr lang="fr-FR" dirty="0"/>
          </a:p>
          <a:p>
            <a:pPr lvl="1"/>
            <a:r>
              <a:rPr lang="fr-FR" dirty="0"/>
              <a:t>Code </a:t>
            </a:r>
            <a:r>
              <a:rPr lang="fr-FR" dirty="0" err="1"/>
              <a:t>name</a:t>
            </a:r>
            <a:r>
              <a:rPr lang="fr-FR" dirty="0"/>
              <a:t>: Old Castle</a:t>
            </a:r>
          </a:p>
          <a:p>
            <a:r>
              <a:rPr lang="fr-FR" dirty="0"/>
              <a:t>Base and </a:t>
            </a:r>
            <a:r>
              <a:rPr lang="fr-FR" dirty="0" err="1"/>
              <a:t>Scale</a:t>
            </a:r>
            <a:r>
              <a:rPr lang="fr-FR" dirty="0"/>
              <a:t> (-SE) versions</a:t>
            </a:r>
          </a:p>
          <a:p>
            <a:pPr lvl="1"/>
            <a:r>
              <a:rPr lang="fr-FR" dirty="0" err="1"/>
              <a:t>Scale</a:t>
            </a:r>
            <a:r>
              <a:rPr lang="fr-FR" dirty="0"/>
              <a:t> extension </a:t>
            </a:r>
            <a:r>
              <a:rPr lang="fr-FR" dirty="0" err="1"/>
              <a:t>with</a:t>
            </a:r>
            <a:r>
              <a:rPr lang="fr-FR" dirty="0"/>
              <a:t> </a:t>
            </a:r>
            <a:r>
              <a:rPr lang="fr-FR" dirty="0" err="1"/>
              <a:t>eTCAM</a:t>
            </a:r>
            <a:r>
              <a:rPr lang="fr-FR" dirty="0"/>
              <a:t> of 4M+ entries</a:t>
            </a:r>
          </a:p>
          <a:p>
            <a:r>
              <a:rPr lang="fr-FR" dirty="0"/>
              <a:t>4x 900Gbps </a:t>
            </a:r>
            <a:r>
              <a:rPr lang="fr-FR" dirty="0" err="1"/>
              <a:t>Jericho</a:t>
            </a:r>
            <a:r>
              <a:rPr lang="fr-FR" dirty="0"/>
              <a:t>+ </a:t>
            </a:r>
            <a:r>
              <a:rPr lang="fr-FR" dirty="0" err="1"/>
              <a:t>Forwarding</a:t>
            </a:r>
            <a:r>
              <a:rPr lang="fr-FR" dirty="0"/>
              <a:t> </a:t>
            </a:r>
            <a:r>
              <a:rPr lang="fr-FR" dirty="0" err="1"/>
              <a:t>ASICs</a:t>
            </a:r>
            <a:endParaRPr lang="fr-FR" dirty="0"/>
          </a:p>
          <a:p>
            <a:r>
              <a:rPr lang="fr-FR" dirty="0"/>
              <a:t>1x 3.6Tbps </a:t>
            </a:r>
            <a:r>
              <a:rPr lang="fr-FR" dirty="0" err="1"/>
              <a:t>Fabric</a:t>
            </a:r>
            <a:r>
              <a:rPr lang="fr-FR" dirty="0"/>
              <a:t> ASIC</a:t>
            </a:r>
          </a:p>
          <a:p>
            <a:r>
              <a:rPr lang="fr-FR" dirty="0"/>
              <a:t>Timing 1588 / </a:t>
            </a:r>
            <a:r>
              <a:rPr lang="fr-FR" dirty="0" err="1"/>
              <a:t>Sync</a:t>
            </a:r>
            <a:r>
              <a:rPr lang="fr-FR" dirty="0"/>
              <a:t>-E Capable</a:t>
            </a:r>
          </a:p>
          <a:p>
            <a:pPr lvl="1"/>
            <a:r>
              <a:rPr lang="fr-FR" dirty="0"/>
              <a:t>-SE (</a:t>
            </a:r>
            <a:r>
              <a:rPr lang="fr-FR" dirty="0" err="1"/>
              <a:t>Scale</a:t>
            </a:r>
            <a:r>
              <a:rPr lang="fr-FR" dirty="0"/>
              <a:t>) </a:t>
            </a:r>
            <a:r>
              <a:rPr lang="fr-FR" dirty="0" err="1"/>
              <a:t>only</a:t>
            </a:r>
            <a:endParaRPr lang="fr-FR" dirty="0"/>
          </a:p>
          <a:p>
            <a:r>
              <a:rPr lang="fr-FR" dirty="0"/>
              <a:t>MACSEC Capable</a:t>
            </a:r>
          </a:p>
          <a:p>
            <a:endParaRPr lang="fr-FR" dirty="0"/>
          </a:p>
          <a:p>
            <a:endParaRPr lang="fr-FR" dirty="0"/>
          </a:p>
        </p:txBody>
      </p:sp>
      <p:sp>
        <p:nvSpPr>
          <p:cNvPr id="3" name="Titre 2">
            <a:extLst>
              <a:ext uri="{FF2B5EF4-FFF2-40B4-BE49-F238E27FC236}">
                <a16:creationId xmlns:a16="http://schemas.microsoft.com/office/drawing/2014/main" id="{EAA9FC98-8E20-D442-9FF1-7C9C4D571D1E}"/>
              </a:ext>
            </a:extLst>
          </p:cNvPr>
          <p:cNvSpPr>
            <a:spLocks noGrp="1"/>
          </p:cNvSpPr>
          <p:nvPr>
            <p:ph type="title"/>
          </p:nvPr>
        </p:nvSpPr>
        <p:spPr/>
        <p:txBody>
          <a:bodyPr/>
          <a:lstStyle/>
          <a:p>
            <a:r>
              <a:rPr lang="en-US" sz="3100" dirty="0"/>
              <a:t>NCS-55A1-36H-S / NCS-55A1-36H-SE-S</a:t>
            </a:r>
            <a:endParaRPr lang="fr-FR" sz="3100" dirty="0"/>
          </a:p>
        </p:txBody>
      </p:sp>
      <p:pic>
        <p:nvPicPr>
          <p:cNvPr id="4" name="Picture 6">
            <a:extLst>
              <a:ext uri="{FF2B5EF4-FFF2-40B4-BE49-F238E27FC236}">
                <a16:creationId xmlns:a16="http://schemas.microsoft.com/office/drawing/2014/main" id="{F22968CF-08C9-5845-AA51-254761EDD47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87700" y="3654557"/>
            <a:ext cx="5724404" cy="748266"/>
          </a:xfrm>
          <a:prstGeom prst="rect">
            <a:avLst/>
          </a:prstGeom>
        </p:spPr>
      </p:pic>
    </p:spTree>
    <p:extLst>
      <p:ext uri="{BB962C8B-B14F-4D97-AF65-F5344CB8AC3E}">
        <p14:creationId xmlns:p14="http://schemas.microsoft.com/office/powerpoint/2010/main" val="227751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B8C917A-55D8-ED41-BF92-16F28CE4B2BA}"/>
              </a:ext>
            </a:extLst>
          </p:cNvPr>
          <p:cNvSpPr>
            <a:spLocks noGrp="1"/>
          </p:cNvSpPr>
          <p:nvPr>
            <p:ph type="body" sz="quarter" idx="10"/>
          </p:nvPr>
        </p:nvSpPr>
        <p:spPr>
          <a:xfrm>
            <a:off x="462301" y="1101263"/>
            <a:ext cx="8277344" cy="3168210"/>
          </a:xfrm>
        </p:spPr>
        <p:txBody>
          <a:bodyPr/>
          <a:lstStyle/>
          <a:p>
            <a:r>
              <a:rPr lang="fr-FR" dirty="0"/>
              <a:t>1 RU </a:t>
            </a:r>
            <a:r>
              <a:rPr lang="fr-FR" dirty="0" err="1"/>
              <a:t>Fixed</a:t>
            </a:r>
            <a:r>
              <a:rPr lang="fr-FR" dirty="0"/>
              <a:t> System: 24x QSFP28 ports</a:t>
            </a:r>
          </a:p>
          <a:p>
            <a:pPr lvl="1"/>
            <a:r>
              <a:rPr lang="fr-FR" dirty="0"/>
              <a:t>Code </a:t>
            </a:r>
            <a:r>
              <a:rPr lang="fr-FR" dirty="0" err="1"/>
              <a:t>name</a:t>
            </a:r>
            <a:r>
              <a:rPr lang="fr-FR" dirty="0"/>
              <a:t>: </a:t>
            </a:r>
            <a:r>
              <a:rPr lang="fr-FR" dirty="0" err="1"/>
              <a:t>Pyke</a:t>
            </a:r>
            <a:endParaRPr lang="fr-FR" dirty="0"/>
          </a:p>
          <a:p>
            <a:r>
              <a:rPr lang="fr-FR" dirty="0"/>
              <a:t>Base version </a:t>
            </a:r>
            <a:r>
              <a:rPr lang="fr-FR" dirty="0" err="1"/>
              <a:t>only</a:t>
            </a:r>
            <a:r>
              <a:rPr lang="fr-FR" dirty="0"/>
              <a:t> but J+ </a:t>
            </a:r>
            <a:r>
              <a:rPr lang="fr-FR" dirty="0" err="1"/>
              <a:t>with</a:t>
            </a:r>
            <a:r>
              <a:rPr lang="fr-FR" dirty="0"/>
              <a:t> large LPM</a:t>
            </a:r>
          </a:p>
          <a:p>
            <a:r>
              <a:rPr lang="fr-FR" dirty="0"/>
              <a:t>No MACSEC </a:t>
            </a:r>
            <a:r>
              <a:rPr lang="fr-FR" dirty="0" err="1"/>
              <a:t>capability</a:t>
            </a:r>
            <a:endParaRPr lang="fr-FR" dirty="0"/>
          </a:p>
          <a:p>
            <a:r>
              <a:rPr lang="fr-FR" dirty="0"/>
              <a:t>Timing 1588 / </a:t>
            </a:r>
            <a:r>
              <a:rPr lang="fr-FR" dirty="0" err="1"/>
              <a:t>Sync</a:t>
            </a:r>
            <a:r>
              <a:rPr lang="fr-FR" dirty="0"/>
              <a:t>-E Capable</a:t>
            </a:r>
          </a:p>
          <a:p>
            <a:r>
              <a:rPr lang="fr-FR" dirty="0"/>
              <a:t>2x 900 </a:t>
            </a:r>
            <a:r>
              <a:rPr lang="fr-FR" dirty="0" err="1"/>
              <a:t>Gbps</a:t>
            </a:r>
            <a:r>
              <a:rPr lang="fr-FR" dirty="0"/>
              <a:t> </a:t>
            </a:r>
            <a:r>
              <a:rPr lang="fr-FR" dirty="0" err="1"/>
              <a:t>Forwarding</a:t>
            </a:r>
            <a:r>
              <a:rPr lang="fr-FR" dirty="0"/>
              <a:t> </a:t>
            </a:r>
            <a:r>
              <a:rPr lang="fr-FR" dirty="0" err="1"/>
              <a:t>ASICs</a:t>
            </a:r>
            <a:endParaRPr lang="fr-FR" dirty="0"/>
          </a:p>
          <a:p>
            <a:pPr lvl="1"/>
            <a:r>
              <a:rPr lang="fr-FR" dirty="0" err="1"/>
              <a:t>Directly</a:t>
            </a:r>
            <a:r>
              <a:rPr lang="fr-FR" dirty="0"/>
              <a:t> </a:t>
            </a:r>
            <a:r>
              <a:rPr lang="fr-FR" dirty="0" err="1"/>
              <a:t>connected</a:t>
            </a:r>
            <a:r>
              <a:rPr lang="fr-FR" dirty="0"/>
              <a:t> (back-to-back)</a:t>
            </a:r>
          </a:p>
          <a:p>
            <a:r>
              <a:rPr lang="fr-FR" dirty="0"/>
              <a:t>No </a:t>
            </a:r>
            <a:r>
              <a:rPr lang="fr-FR" dirty="0" err="1"/>
              <a:t>Fabric</a:t>
            </a:r>
            <a:r>
              <a:rPr lang="fr-FR" dirty="0"/>
              <a:t> ASIC</a:t>
            </a:r>
          </a:p>
        </p:txBody>
      </p:sp>
      <p:sp>
        <p:nvSpPr>
          <p:cNvPr id="3" name="Titre 2">
            <a:extLst>
              <a:ext uri="{FF2B5EF4-FFF2-40B4-BE49-F238E27FC236}">
                <a16:creationId xmlns:a16="http://schemas.microsoft.com/office/drawing/2014/main" id="{4F918B89-C4D6-6F43-954C-8596C75D4BB1}"/>
              </a:ext>
            </a:extLst>
          </p:cNvPr>
          <p:cNvSpPr>
            <a:spLocks noGrp="1"/>
          </p:cNvSpPr>
          <p:nvPr>
            <p:ph type="title"/>
          </p:nvPr>
        </p:nvSpPr>
        <p:spPr/>
        <p:txBody>
          <a:bodyPr/>
          <a:lstStyle/>
          <a:p>
            <a:r>
              <a:rPr lang="en-US" dirty="0"/>
              <a:t>NCS-55A1-24H</a:t>
            </a:r>
            <a:endParaRPr lang="fr-FR" dirty="0"/>
          </a:p>
        </p:txBody>
      </p:sp>
      <p:graphicFrame>
        <p:nvGraphicFramePr>
          <p:cNvPr id="4" name="Table 6">
            <a:extLst>
              <a:ext uri="{FF2B5EF4-FFF2-40B4-BE49-F238E27FC236}">
                <a16:creationId xmlns:a16="http://schemas.microsoft.com/office/drawing/2014/main" id="{91163338-60A6-654D-B6CC-EE6AFB36E02C}"/>
              </a:ext>
            </a:extLst>
          </p:cNvPr>
          <p:cNvGraphicFramePr>
            <a:graphicFrameLocks noGrp="1"/>
          </p:cNvGraphicFramePr>
          <p:nvPr/>
        </p:nvGraphicFramePr>
        <p:xfrm>
          <a:off x="4495818" y="2818718"/>
          <a:ext cx="4243827" cy="822960"/>
        </p:xfrm>
        <a:graphic>
          <a:graphicData uri="http://schemas.openxmlformats.org/drawingml/2006/table">
            <a:tbl>
              <a:tblPr firstRow="1" bandRow="1">
                <a:tableStyleId>{D7AC3CCA-C797-4891-BE02-D94E43425B78}</a:tableStyleId>
              </a:tblPr>
              <a:tblGrid>
                <a:gridCol w="1465580">
                  <a:extLst>
                    <a:ext uri="{9D8B030D-6E8A-4147-A177-3AD203B41FA5}">
                      <a16:colId xmlns:a16="http://schemas.microsoft.com/office/drawing/2014/main" val="20000"/>
                    </a:ext>
                  </a:extLst>
                </a:gridCol>
                <a:gridCol w="952107">
                  <a:extLst>
                    <a:ext uri="{9D8B030D-6E8A-4147-A177-3AD203B41FA5}">
                      <a16:colId xmlns:a16="http://schemas.microsoft.com/office/drawing/2014/main" val="20001"/>
                    </a:ext>
                  </a:extLst>
                </a:gridCol>
                <a:gridCol w="930593">
                  <a:extLst>
                    <a:ext uri="{9D8B030D-6E8A-4147-A177-3AD203B41FA5}">
                      <a16:colId xmlns:a16="http://schemas.microsoft.com/office/drawing/2014/main" val="20002"/>
                    </a:ext>
                  </a:extLst>
                </a:gridCol>
                <a:gridCol w="895547">
                  <a:extLst>
                    <a:ext uri="{9D8B030D-6E8A-4147-A177-3AD203B41FA5}">
                      <a16:colId xmlns:a16="http://schemas.microsoft.com/office/drawing/2014/main" val="20003"/>
                    </a:ext>
                  </a:extLst>
                </a:gridCol>
              </a:tblGrid>
              <a:tr h="233692">
                <a:tc>
                  <a:txBody>
                    <a:bodyPr/>
                    <a:lstStyle/>
                    <a:p>
                      <a:pPr algn="ctr"/>
                      <a:r>
                        <a:rPr lang="en-US" sz="1400" b="0" i="0" dirty="0">
                          <a:latin typeface="CiscoSansTT Regular" panose="020B0503020201020303" pitchFamily="34" charset="0"/>
                        </a:rPr>
                        <a:t>Product</a:t>
                      </a:r>
                    </a:p>
                  </a:txBody>
                  <a:tcPr anchor="ctr"/>
                </a:tc>
                <a:tc>
                  <a:txBody>
                    <a:bodyPr/>
                    <a:lstStyle/>
                    <a:p>
                      <a:pPr algn="ctr"/>
                      <a:r>
                        <a:rPr lang="en-US" sz="1400" b="0" i="0" dirty="0">
                          <a:latin typeface="CiscoSansTT Regular" panose="020B0503020201020303" pitchFamily="34" charset="0"/>
                        </a:rPr>
                        <a:t>LEM</a:t>
                      </a:r>
                    </a:p>
                  </a:txBody>
                  <a:tcPr anchor="ctr"/>
                </a:tc>
                <a:tc>
                  <a:txBody>
                    <a:bodyPr/>
                    <a:lstStyle/>
                    <a:p>
                      <a:pPr algn="ctr"/>
                      <a:r>
                        <a:rPr lang="en-US" sz="1400" b="0" i="0" dirty="0">
                          <a:latin typeface="CiscoSansTT Regular" panose="020B0503020201020303" pitchFamily="34" charset="0"/>
                        </a:rPr>
                        <a:t>LPM</a:t>
                      </a:r>
                    </a:p>
                  </a:txBody>
                  <a:tcPr anchor="ctr"/>
                </a:tc>
                <a:tc>
                  <a:txBody>
                    <a:bodyPr/>
                    <a:lstStyle/>
                    <a:p>
                      <a:pPr algn="ctr"/>
                      <a:r>
                        <a:rPr lang="en-US" sz="1400" b="0" i="0" dirty="0" err="1">
                          <a:latin typeface="CiscoSansTT Regular" panose="020B0503020201020303" pitchFamily="34" charset="0"/>
                        </a:rPr>
                        <a:t>eTCAM</a:t>
                      </a:r>
                      <a:endParaRPr lang="en-US" sz="1400" dirty="0"/>
                    </a:p>
                  </a:txBody>
                  <a:tcPr anchor="ctr"/>
                </a:tc>
                <a:extLst>
                  <a:ext uri="{0D108BD9-81ED-4DB2-BD59-A6C34878D82A}">
                    <a16:rowId xmlns:a16="http://schemas.microsoft.com/office/drawing/2014/main" val="10000"/>
                  </a:ext>
                </a:extLst>
              </a:tr>
              <a:tr h="124276">
                <a:tc>
                  <a:txBody>
                    <a:bodyPr/>
                    <a:lstStyle/>
                    <a:p>
                      <a:pPr algn="ctr"/>
                      <a:r>
                        <a:rPr lang="mr-IN" sz="1400" b="0" i="0" dirty="0">
                          <a:latin typeface="CiscoSansTT Regular" panose="020B0503020201020303" pitchFamily="34" charset="0"/>
                        </a:rPr>
                        <a:t>NCS-55A1-24H</a:t>
                      </a:r>
                      <a:endParaRPr lang="en-US" sz="1400" dirty="0"/>
                    </a:p>
                  </a:txBody>
                  <a:tcPr/>
                </a:tc>
                <a:tc>
                  <a:txBody>
                    <a:bodyPr/>
                    <a:lstStyle/>
                    <a:p>
                      <a:pPr algn="ctr"/>
                      <a:r>
                        <a:rPr lang="en-US" sz="1400" b="0" i="0" dirty="0">
                          <a:latin typeface="CiscoSansTT Regular" panose="020B0503020201020303" pitchFamily="34" charset="0"/>
                        </a:rPr>
                        <a:t>786k</a:t>
                      </a:r>
                    </a:p>
                  </a:txBody>
                  <a:tcPr/>
                </a:tc>
                <a:tc>
                  <a:txBody>
                    <a:bodyPr/>
                    <a:lstStyle/>
                    <a:p>
                      <a:pPr algn="ctr"/>
                      <a:r>
                        <a:rPr lang="en-US" sz="1400" b="0" i="0" dirty="0">
                          <a:latin typeface="CiscoSansTT Regular" panose="020B0503020201020303" pitchFamily="34" charset="0"/>
                        </a:rPr>
                        <a:t>1M-1.5M</a:t>
                      </a:r>
                    </a:p>
                  </a:txBody>
                  <a:tcPr/>
                </a:tc>
                <a:tc>
                  <a:txBody>
                    <a:bodyPr/>
                    <a:lstStyle/>
                    <a:p>
                      <a:pPr algn="ctr"/>
                      <a:r>
                        <a:rPr lang="en-US" sz="1400" b="0" i="0" dirty="0">
                          <a:latin typeface="CiscoSansTT Regular" panose="020B0503020201020303" pitchFamily="34" charset="0"/>
                        </a:rPr>
                        <a:t>-</a:t>
                      </a:r>
                    </a:p>
                  </a:txBody>
                  <a:tcPr/>
                </a:tc>
                <a:extLst>
                  <a:ext uri="{0D108BD9-81ED-4DB2-BD59-A6C34878D82A}">
                    <a16:rowId xmlns:a16="http://schemas.microsoft.com/office/drawing/2014/main" val="10001"/>
                  </a:ext>
                </a:extLst>
              </a:tr>
            </a:tbl>
          </a:graphicData>
        </a:graphic>
      </p:graphicFrame>
      <p:pic>
        <p:nvPicPr>
          <p:cNvPr id="5" name="Picture 1">
            <a:extLst>
              <a:ext uri="{FF2B5EF4-FFF2-40B4-BE49-F238E27FC236}">
                <a16:creationId xmlns:a16="http://schemas.microsoft.com/office/drawing/2014/main" id="{6EAF2BED-33CC-0149-889C-D344FBD0E72F}"/>
              </a:ext>
            </a:extLst>
          </p:cNvPr>
          <p:cNvPicPr>
            <a:picLocks noChangeAspect="1"/>
          </p:cNvPicPr>
          <p:nvPr/>
        </p:nvPicPr>
        <p:blipFill>
          <a:blip r:embed="rId2"/>
          <a:stretch>
            <a:fillRect/>
          </a:stretch>
        </p:blipFill>
        <p:spPr>
          <a:xfrm>
            <a:off x="463362" y="3791173"/>
            <a:ext cx="8276284" cy="1088230"/>
          </a:xfrm>
          <a:prstGeom prst="rect">
            <a:avLst/>
          </a:prstGeom>
        </p:spPr>
      </p:pic>
    </p:spTree>
    <p:extLst>
      <p:ext uri="{BB962C8B-B14F-4D97-AF65-F5344CB8AC3E}">
        <p14:creationId xmlns:p14="http://schemas.microsoft.com/office/powerpoint/2010/main" val="29418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443384-0A92-1349-A46F-96E42CCCA5F9}"/>
              </a:ext>
            </a:extLst>
          </p:cNvPr>
          <p:cNvSpPr>
            <a:spLocks noGrp="1"/>
          </p:cNvSpPr>
          <p:nvPr>
            <p:ph type="body" sz="quarter" idx="10"/>
          </p:nvPr>
        </p:nvSpPr>
        <p:spPr/>
        <p:txBody>
          <a:bodyPr/>
          <a:lstStyle/>
          <a:p>
            <a:r>
              <a:rPr lang="fr-FR" dirty="0"/>
              <a:t>2RU, 11 </a:t>
            </a:r>
            <a:r>
              <a:rPr lang="fr-FR" dirty="0" err="1"/>
              <a:t>inches</a:t>
            </a:r>
            <a:r>
              <a:rPr lang="fr-FR" dirty="0"/>
              <a:t> </a:t>
            </a:r>
            <a:r>
              <a:rPr lang="fr-FR" dirty="0" err="1"/>
              <a:t>deep</a:t>
            </a:r>
            <a:r>
              <a:rPr lang="fr-FR" dirty="0"/>
              <a:t> (280mm)</a:t>
            </a:r>
          </a:p>
          <a:p>
            <a:r>
              <a:rPr lang="fr-FR" dirty="0"/>
              <a:t>1x </a:t>
            </a:r>
            <a:r>
              <a:rPr lang="fr-FR" dirty="0" err="1"/>
              <a:t>Jericho</a:t>
            </a:r>
            <a:r>
              <a:rPr lang="fr-FR" dirty="0"/>
              <a:t>+ </a:t>
            </a:r>
            <a:r>
              <a:rPr lang="fr-FR" dirty="0" err="1"/>
              <a:t>Forwarding</a:t>
            </a:r>
            <a:r>
              <a:rPr lang="fr-FR" dirty="0"/>
              <a:t> ASIC</a:t>
            </a:r>
          </a:p>
          <a:p>
            <a:pPr lvl="1"/>
            <a:r>
              <a:rPr lang="fr-FR" dirty="0"/>
              <a:t>835 </a:t>
            </a:r>
            <a:r>
              <a:rPr lang="fr-FR" dirty="0" err="1"/>
              <a:t>Mpps</a:t>
            </a:r>
            <a:r>
              <a:rPr lang="fr-FR" dirty="0"/>
              <a:t> / 900 </a:t>
            </a:r>
            <a:r>
              <a:rPr lang="fr-FR" dirty="0" err="1"/>
              <a:t>Gbps</a:t>
            </a:r>
            <a:r>
              <a:rPr lang="fr-FR" dirty="0"/>
              <a:t> (160% max </a:t>
            </a:r>
            <a:r>
              <a:rPr lang="fr-FR" dirty="0" err="1"/>
              <a:t>oversubscribed</a:t>
            </a:r>
            <a:r>
              <a:rPr lang="fr-FR" dirty="0"/>
              <a:t>) </a:t>
            </a:r>
          </a:p>
          <a:p>
            <a:r>
              <a:rPr lang="fr-FR" dirty="0" err="1"/>
              <a:t>Fixed</a:t>
            </a:r>
            <a:r>
              <a:rPr lang="fr-FR" dirty="0"/>
              <a:t> 40x 1/10G SFP/SFP+ DWDM capable</a:t>
            </a:r>
          </a:p>
          <a:p>
            <a:pPr lvl="1"/>
            <a:r>
              <a:rPr lang="fr-FR" dirty="0"/>
              <a:t>24x 1/10G </a:t>
            </a:r>
          </a:p>
          <a:p>
            <a:pPr lvl="1"/>
            <a:r>
              <a:rPr lang="fr-FR" dirty="0"/>
              <a:t>16x 1/10/25G (</a:t>
            </a:r>
            <a:r>
              <a:rPr lang="fr-FR" dirty="0" err="1"/>
              <a:t>MACsec</a:t>
            </a:r>
            <a:r>
              <a:rPr lang="fr-FR" dirty="0"/>
              <a:t> at 10/25G)</a:t>
            </a:r>
          </a:p>
          <a:p>
            <a:r>
              <a:rPr lang="fr-FR" dirty="0"/>
              <a:t>2x 400G </a:t>
            </a:r>
            <a:r>
              <a:rPr lang="fr-FR" dirty="0" err="1"/>
              <a:t>Modular</a:t>
            </a:r>
            <a:r>
              <a:rPr lang="fr-FR" dirty="0"/>
              <a:t> Port </a:t>
            </a:r>
            <a:r>
              <a:rPr lang="fr-FR" dirty="0" err="1"/>
              <a:t>Adaptor</a:t>
            </a:r>
            <a:r>
              <a:rPr lang="fr-FR" dirty="0"/>
              <a:t> </a:t>
            </a:r>
            <a:r>
              <a:rPr lang="fr-FR" dirty="0" err="1"/>
              <a:t>bays</a:t>
            </a:r>
            <a:endParaRPr lang="fr-FR" dirty="0"/>
          </a:p>
          <a:p>
            <a:r>
              <a:rPr lang="fr-FR" dirty="0"/>
              <a:t>Timing 1588/</a:t>
            </a:r>
            <a:r>
              <a:rPr lang="fr-FR" dirty="0" err="1"/>
              <a:t>SyncE</a:t>
            </a:r>
            <a:r>
              <a:rPr lang="fr-FR" dirty="0"/>
              <a:t> </a:t>
            </a:r>
            <a:r>
              <a:rPr lang="fr-FR" dirty="0" err="1"/>
              <a:t>Capabile</a:t>
            </a:r>
            <a:endParaRPr lang="fr-FR" dirty="0"/>
          </a:p>
          <a:p>
            <a:r>
              <a:rPr lang="fr-FR" dirty="0" err="1"/>
              <a:t>MACsec</a:t>
            </a:r>
            <a:r>
              <a:rPr lang="fr-FR" dirty="0"/>
              <a:t> capable</a:t>
            </a:r>
          </a:p>
          <a:p>
            <a:r>
              <a:rPr lang="fr-FR" dirty="0"/>
              <a:t>8x Fan Modules (F2B), 2x Power </a:t>
            </a:r>
            <a:r>
              <a:rPr lang="fr-FR" dirty="0" err="1"/>
              <a:t>Supply</a:t>
            </a:r>
            <a:r>
              <a:rPr lang="fr-FR" dirty="0"/>
              <a:t> AC/DC (Front)</a:t>
            </a:r>
          </a:p>
          <a:p>
            <a:endParaRPr lang="fr-FR" dirty="0"/>
          </a:p>
          <a:p>
            <a:endParaRPr lang="fr-FR" dirty="0"/>
          </a:p>
        </p:txBody>
      </p:sp>
      <p:sp>
        <p:nvSpPr>
          <p:cNvPr id="3" name="Titre 2">
            <a:extLst>
              <a:ext uri="{FF2B5EF4-FFF2-40B4-BE49-F238E27FC236}">
                <a16:creationId xmlns:a16="http://schemas.microsoft.com/office/drawing/2014/main" id="{34D5B999-42A2-AE4B-9ED5-F1EF12C4B197}"/>
              </a:ext>
            </a:extLst>
          </p:cNvPr>
          <p:cNvSpPr>
            <a:spLocks noGrp="1"/>
          </p:cNvSpPr>
          <p:nvPr>
            <p:ph type="title"/>
          </p:nvPr>
        </p:nvSpPr>
        <p:spPr/>
        <p:txBody>
          <a:bodyPr/>
          <a:lstStyle/>
          <a:p>
            <a:r>
              <a:rPr lang="en-US" dirty="0"/>
              <a:t>NCS-55A2-MOD Series</a:t>
            </a:r>
            <a:endParaRPr lang="fr-FR" dirty="0"/>
          </a:p>
        </p:txBody>
      </p:sp>
      <p:pic>
        <p:nvPicPr>
          <p:cNvPr id="4" name="Picture 6">
            <a:extLst>
              <a:ext uri="{FF2B5EF4-FFF2-40B4-BE49-F238E27FC236}">
                <a16:creationId xmlns:a16="http://schemas.microsoft.com/office/drawing/2014/main" id="{B033FD0E-49FC-9D41-B411-2D6DA2619CC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216106" y="2540703"/>
            <a:ext cx="3818626" cy="814749"/>
          </a:xfrm>
          <a:prstGeom prst="rect">
            <a:avLst/>
          </a:prstGeom>
        </p:spPr>
      </p:pic>
      <p:pic>
        <p:nvPicPr>
          <p:cNvPr id="5" name="Picture 7">
            <a:extLst>
              <a:ext uri="{FF2B5EF4-FFF2-40B4-BE49-F238E27FC236}">
                <a16:creationId xmlns:a16="http://schemas.microsoft.com/office/drawing/2014/main" id="{164AF965-2AF6-6847-B619-795E7AB15B7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717795" y="139694"/>
            <a:ext cx="4675584" cy="2423706"/>
          </a:xfrm>
          <a:prstGeom prst="rect">
            <a:avLst/>
          </a:prstGeom>
        </p:spPr>
      </p:pic>
    </p:spTree>
    <p:extLst>
      <p:ext uri="{BB962C8B-B14F-4D97-AF65-F5344CB8AC3E}">
        <p14:creationId xmlns:p14="http://schemas.microsoft.com/office/powerpoint/2010/main" val="305646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7287DE5-4585-0F47-B99B-6F9EC8DB2660}"/>
              </a:ext>
            </a:extLst>
          </p:cNvPr>
          <p:cNvSpPr>
            <a:spLocks noGrp="1"/>
          </p:cNvSpPr>
          <p:nvPr>
            <p:ph type="body" sz="quarter" idx="10"/>
          </p:nvPr>
        </p:nvSpPr>
        <p:spPr/>
        <p:txBody>
          <a:bodyPr/>
          <a:lstStyle/>
          <a:p>
            <a:r>
              <a:rPr lang="fr-FR" dirty="0"/>
              <a:t>Ports 0/0/0/24 to 0/0/0/39 supports 1G, 10G and 25G</a:t>
            </a:r>
          </a:p>
          <a:p>
            <a:r>
              <a:rPr lang="fr-FR" dirty="0"/>
              <a:t>Concept of « Quad »</a:t>
            </a:r>
          </a:p>
          <a:p>
            <a:r>
              <a:rPr lang="fr-FR" dirty="0"/>
              <a:t>Block of 4 ports </a:t>
            </a:r>
            <a:r>
              <a:rPr lang="fr-FR" dirty="0" err="1"/>
              <a:t>with</a:t>
            </a:r>
            <a:r>
              <a:rPr lang="fr-FR" dirty="0"/>
              <a:t> </a:t>
            </a:r>
            <a:r>
              <a:rPr lang="fr-FR" dirty="0" err="1"/>
              <a:t>common</a:t>
            </a:r>
            <a:r>
              <a:rPr lang="fr-FR" dirty="0"/>
              <a:t> speed: 1G/10G or 25G</a:t>
            </a:r>
          </a:p>
          <a:p>
            <a:r>
              <a:rPr lang="fr-FR" dirty="0"/>
              <a:t>For NCS-55A2-MOD</a:t>
            </a:r>
          </a:p>
          <a:p>
            <a:pPr lvl="1"/>
            <a:r>
              <a:rPr lang="fr-FR" dirty="0"/>
              <a:t>Quad 0 : ports 0/0/0/24 to 0/0/0/27</a:t>
            </a:r>
          </a:p>
          <a:p>
            <a:pPr lvl="1"/>
            <a:r>
              <a:rPr lang="fr-FR" dirty="0"/>
              <a:t>Quad 1 : ports 0/0/0/28 to 0/0/0/31</a:t>
            </a:r>
          </a:p>
          <a:p>
            <a:pPr lvl="1"/>
            <a:r>
              <a:rPr lang="fr-FR" dirty="0"/>
              <a:t>Quad 2 : ports 0/0/0/32 to 0/0/0/35</a:t>
            </a:r>
          </a:p>
          <a:p>
            <a:pPr lvl="1"/>
            <a:r>
              <a:rPr lang="fr-FR" dirty="0"/>
              <a:t>Quad 3 : ports 0/0/0/36 to 0/0/0/39</a:t>
            </a:r>
          </a:p>
          <a:p>
            <a:endParaRPr lang="fr-FR" dirty="0"/>
          </a:p>
        </p:txBody>
      </p:sp>
      <p:sp>
        <p:nvSpPr>
          <p:cNvPr id="3" name="Titre 2">
            <a:extLst>
              <a:ext uri="{FF2B5EF4-FFF2-40B4-BE49-F238E27FC236}">
                <a16:creationId xmlns:a16="http://schemas.microsoft.com/office/drawing/2014/main" id="{2B909EA2-A46D-3445-9846-C44FD1E424D0}"/>
              </a:ext>
            </a:extLst>
          </p:cNvPr>
          <p:cNvSpPr>
            <a:spLocks noGrp="1"/>
          </p:cNvSpPr>
          <p:nvPr>
            <p:ph type="title"/>
          </p:nvPr>
        </p:nvSpPr>
        <p:spPr/>
        <p:txBody>
          <a:bodyPr/>
          <a:lstStyle/>
          <a:p>
            <a:r>
              <a:rPr lang="cs-CZ" dirty="0"/>
              <a:t>NCS-55A2-MOD 10G/25G</a:t>
            </a:r>
            <a:endParaRPr lang="fr-FR" dirty="0"/>
          </a:p>
        </p:txBody>
      </p:sp>
      <p:pic>
        <p:nvPicPr>
          <p:cNvPr id="4" name="Picture 16">
            <a:extLst>
              <a:ext uri="{FF2B5EF4-FFF2-40B4-BE49-F238E27FC236}">
                <a16:creationId xmlns:a16="http://schemas.microsoft.com/office/drawing/2014/main" id="{F125F633-A37A-664F-A0BB-4AE1736C7D91}"/>
              </a:ext>
            </a:extLst>
          </p:cNvPr>
          <p:cNvPicPr>
            <a:picLocks noChangeAspect="1"/>
          </p:cNvPicPr>
          <p:nvPr/>
        </p:nvPicPr>
        <p:blipFill>
          <a:blip r:embed="rId2"/>
          <a:stretch>
            <a:fillRect/>
          </a:stretch>
        </p:blipFill>
        <p:spPr>
          <a:xfrm>
            <a:off x="5564316" y="4578678"/>
            <a:ext cx="2880359" cy="515223"/>
          </a:xfrm>
          <a:prstGeom prst="rect">
            <a:avLst/>
          </a:prstGeom>
        </p:spPr>
      </p:pic>
      <p:cxnSp>
        <p:nvCxnSpPr>
          <p:cNvPr id="5" name="Straight Arrow Connector 112">
            <a:extLst>
              <a:ext uri="{FF2B5EF4-FFF2-40B4-BE49-F238E27FC236}">
                <a16:creationId xmlns:a16="http://schemas.microsoft.com/office/drawing/2014/main" id="{340A4BFB-C6F2-5B44-B03A-2A87D0BA3410}"/>
              </a:ext>
            </a:extLst>
          </p:cNvPr>
          <p:cNvCxnSpPr>
            <a:cxnSpLocks/>
          </p:cNvCxnSpPr>
          <p:nvPr/>
        </p:nvCxnSpPr>
        <p:spPr>
          <a:xfrm flipH="1">
            <a:off x="6355561" y="4810439"/>
            <a:ext cx="373391" cy="1"/>
          </a:xfrm>
          <a:prstGeom prst="straightConnector1">
            <a:avLst/>
          </a:prstGeom>
          <a:ln w="12700" cap="rnd">
            <a:solidFill>
              <a:srgbClr val="000000"/>
            </a:solidFill>
            <a:round/>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6" name="Straight Arrow Connector 113">
            <a:extLst>
              <a:ext uri="{FF2B5EF4-FFF2-40B4-BE49-F238E27FC236}">
                <a16:creationId xmlns:a16="http://schemas.microsoft.com/office/drawing/2014/main" id="{3ACFA0C4-608E-0047-B998-CD9C81973A08}"/>
              </a:ext>
            </a:extLst>
          </p:cNvPr>
          <p:cNvCxnSpPr>
            <a:cxnSpLocks/>
          </p:cNvCxnSpPr>
          <p:nvPr/>
        </p:nvCxnSpPr>
        <p:spPr>
          <a:xfrm flipV="1">
            <a:off x="5204648" y="4810440"/>
            <a:ext cx="367545" cy="1"/>
          </a:xfrm>
          <a:prstGeom prst="straightConnector1">
            <a:avLst/>
          </a:prstGeom>
          <a:ln w="12700" cap="rnd">
            <a:solidFill>
              <a:srgbClr val="000000"/>
            </a:solidFill>
            <a:round/>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7" name="TextBox 114">
            <a:extLst>
              <a:ext uri="{FF2B5EF4-FFF2-40B4-BE49-F238E27FC236}">
                <a16:creationId xmlns:a16="http://schemas.microsoft.com/office/drawing/2014/main" id="{6797225C-5BEA-8045-BA80-C8C287668E8C}"/>
              </a:ext>
            </a:extLst>
          </p:cNvPr>
          <p:cNvSpPr txBox="1"/>
          <p:nvPr/>
        </p:nvSpPr>
        <p:spPr>
          <a:xfrm>
            <a:off x="5451870" y="4667893"/>
            <a:ext cx="1074968" cy="430885"/>
          </a:xfrm>
          <a:prstGeom prst="rect">
            <a:avLst/>
          </a:prstGeom>
          <a:noFill/>
        </p:spPr>
        <p:txBody>
          <a:bodyPr wrap="none" lIns="121917" tIns="60959" rIns="121917" bIns="6095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iscoSansTT" panose="020B0503020201020303" pitchFamily="34" charset="0"/>
                <a:ea typeface="+mn-ea"/>
                <a:cs typeface="CiscoSansTT" panose="020B0503020201020303" pitchFamily="34" charset="0"/>
              </a:rPr>
              <a:t>16x1/10/25G</a:t>
            </a:r>
            <a:r>
              <a:rPr kumimoji="0" lang="en-US" sz="1000" b="1" i="0" u="none" strike="noStrike" kern="1200" cap="none" spc="0" normalizeH="0" baseline="0" noProof="0">
                <a:ln>
                  <a:noFill/>
                </a:ln>
                <a:solidFill>
                  <a:srgbClr val="FF0000"/>
                </a:solidFill>
                <a:effectLst/>
                <a:uLnTx/>
                <a:uFillTx/>
                <a:latin typeface="CiscoSansTT" panose="020B0503020201020303" pitchFamily="34" charset="0"/>
                <a:ea typeface="+mn-ea"/>
                <a:cs typeface="CiscoSansTT" panose="020B0503020201020303"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CiscoSansTT" panose="020B0503020201020303" pitchFamily="34" charset="0"/>
                <a:ea typeface="+mn-ea"/>
                <a:cs typeface="CiscoSansTT" panose="020B0503020201020303" pitchFamily="34" charset="0"/>
              </a:rPr>
              <a:t>0/0/0/24-39</a:t>
            </a:r>
          </a:p>
        </p:txBody>
      </p:sp>
      <p:cxnSp>
        <p:nvCxnSpPr>
          <p:cNvPr id="8" name="Straight Arrow Connector 155">
            <a:extLst>
              <a:ext uri="{FF2B5EF4-FFF2-40B4-BE49-F238E27FC236}">
                <a16:creationId xmlns:a16="http://schemas.microsoft.com/office/drawing/2014/main" id="{E04CEE18-CF38-E243-8CC7-2AC2B0852134}"/>
              </a:ext>
            </a:extLst>
          </p:cNvPr>
          <p:cNvCxnSpPr>
            <a:cxnSpLocks/>
          </p:cNvCxnSpPr>
          <p:nvPr/>
        </p:nvCxnSpPr>
        <p:spPr>
          <a:xfrm>
            <a:off x="2641547" y="4810439"/>
            <a:ext cx="997079" cy="0"/>
          </a:xfrm>
          <a:prstGeom prst="straightConnector1">
            <a:avLst/>
          </a:prstGeom>
          <a:ln w="12700" cap="rnd">
            <a:solidFill>
              <a:srgbClr val="000000"/>
            </a:solidFill>
            <a:round/>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9" name="TextBox 156">
            <a:extLst>
              <a:ext uri="{FF2B5EF4-FFF2-40B4-BE49-F238E27FC236}">
                <a16:creationId xmlns:a16="http://schemas.microsoft.com/office/drawing/2014/main" id="{F1424908-97C5-9A4D-A92C-0FAAEB7B8EDE}"/>
              </a:ext>
            </a:extLst>
          </p:cNvPr>
          <p:cNvSpPr txBox="1"/>
          <p:nvPr/>
        </p:nvSpPr>
        <p:spPr>
          <a:xfrm>
            <a:off x="3545062" y="4667893"/>
            <a:ext cx="940316" cy="430885"/>
          </a:xfrm>
          <a:prstGeom prst="rect">
            <a:avLst/>
          </a:prstGeom>
          <a:noFill/>
        </p:spPr>
        <p:txBody>
          <a:bodyPr wrap="none" lIns="121917" tIns="60959" rIns="121917" bIns="6095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iscoSansTT" panose="020B0503020201020303" pitchFamily="34" charset="0"/>
                <a:ea typeface="+mn-ea"/>
                <a:cs typeface="CiscoSansTT" panose="020B0503020201020303" pitchFamily="34" charset="0"/>
              </a:rPr>
              <a:t>24x1/10G</a:t>
            </a:r>
            <a:r>
              <a:rPr kumimoji="0" lang="en-US" sz="1000" b="1" i="0" u="none" strike="noStrike" kern="1200" cap="none" spc="0" normalizeH="0" baseline="0" noProof="0">
                <a:ln>
                  <a:noFill/>
                </a:ln>
                <a:solidFill>
                  <a:srgbClr val="FF0000"/>
                </a:solidFill>
                <a:effectLst/>
                <a:uLnTx/>
                <a:uFillTx/>
                <a:latin typeface="CiscoSansTT" panose="020B0503020201020303" pitchFamily="34" charset="0"/>
                <a:ea typeface="+mn-ea"/>
                <a:cs typeface="CiscoSansTT" panose="020B0503020201020303"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CiscoSansTT" panose="020B0503020201020303" pitchFamily="34" charset="0"/>
                <a:ea typeface="+mn-ea"/>
                <a:cs typeface="CiscoSansTT" panose="020B0503020201020303" pitchFamily="34" charset="0"/>
              </a:rPr>
              <a:t>0/0/0/0-23 </a:t>
            </a:r>
          </a:p>
        </p:txBody>
      </p:sp>
      <p:cxnSp>
        <p:nvCxnSpPr>
          <p:cNvPr id="10" name="Straight Arrow Connector 157">
            <a:extLst>
              <a:ext uri="{FF2B5EF4-FFF2-40B4-BE49-F238E27FC236}">
                <a16:creationId xmlns:a16="http://schemas.microsoft.com/office/drawing/2014/main" id="{AD133818-0D7C-B54A-AF31-48D56B396D27}"/>
              </a:ext>
            </a:extLst>
          </p:cNvPr>
          <p:cNvCxnSpPr>
            <a:cxnSpLocks/>
          </p:cNvCxnSpPr>
          <p:nvPr/>
        </p:nvCxnSpPr>
        <p:spPr>
          <a:xfrm flipH="1">
            <a:off x="4355950" y="4810439"/>
            <a:ext cx="832527" cy="0"/>
          </a:xfrm>
          <a:prstGeom prst="straightConnector1">
            <a:avLst/>
          </a:prstGeom>
          <a:ln w="12700" cap="rnd">
            <a:solidFill>
              <a:srgbClr val="000000"/>
            </a:solidFill>
            <a:round/>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nvGrpSpPr>
          <p:cNvPr id="11" name="Group 4">
            <a:extLst>
              <a:ext uri="{FF2B5EF4-FFF2-40B4-BE49-F238E27FC236}">
                <a16:creationId xmlns:a16="http://schemas.microsoft.com/office/drawing/2014/main" id="{48B5F94C-2B53-F44C-9515-CA02B2CB28DF}"/>
              </a:ext>
            </a:extLst>
          </p:cNvPr>
          <p:cNvGrpSpPr/>
          <p:nvPr/>
        </p:nvGrpSpPr>
        <p:grpSpPr>
          <a:xfrm>
            <a:off x="1000118" y="3462096"/>
            <a:ext cx="6976943" cy="1334168"/>
            <a:chOff x="306460" y="2608318"/>
            <a:chExt cx="8355848" cy="1782819"/>
          </a:xfrm>
        </p:grpSpPr>
        <p:pic>
          <p:nvPicPr>
            <p:cNvPr id="12" name="Picture 83">
              <a:extLst>
                <a:ext uri="{FF2B5EF4-FFF2-40B4-BE49-F238E27FC236}">
                  <a16:creationId xmlns:a16="http://schemas.microsoft.com/office/drawing/2014/main" id="{C215A896-A5A9-5944-A2EC-7617EE74CD6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06460" y="2608318"/>
              <a:ext cx="8355848" cy="1782819"/>
            </a:xfrm>
            <a:prstGeom prst="rect">
              <a:avLst/>
            </a:prstGeom>
          </p:spPr>
        </p:pic>
        <p:sp>
          <p:nvSpPr>
            <p:cNvPr id="13" name="Rectangle 12">
              <a:extLst>
                <a:ext uri="{FF2B5EF4-FFF2-40B4-BE49-F238E27FC236}">
                  <a16:creationId xmlns:a16="http://schemas.microsoft.com/office/drawing/2014/main" id="{6D05994E-FD35-184A-BA3D-95D5B7EFFAE0}"/>
                </a:ext>
              </a:extLst>
            </p:cNvPr>
            <p:cNvSpPr/>
            <p:nvPr/>
          </p:nvSpPr>
          <p:spPr>
            <a:xfrm>
              <a:off x="6704235" y="3651649"/>
              <a:ext cx="469095" cy="448019"/>
            </a:xfrm>
            <a:prstGeom prst="rect">
              <a:avLst/>
            </a:prstGeom>
            <a:solidFill>
              <a:srgbClr val="4472C4">
                <a:alpha val="20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0000"/>
                  </a:solidFill>
                  <a:latin typeface="CiscoSansTT Regular" panose="020B0503020201020303" pitchFamily="34" charset="0"/>
                </a:rPr>
                <a:t>3</a:t>
              </a:r>
            </a:p>
          </p:txBody>
        </p:sp>
        <p:sp>
          <p:nvSpPr>
            <p:cNvPr id="14" name="Rectangle 13">
              <a:extLst>
                <a:ext uri="{FF2B5EF4-FFF2-40B4-BE49-F238E27FC236}">
                  <a16:creationId xmlns:a16="http://schemas.microsoft.com/office/drawing/2014/main" id="{D2AD60F2-5D4A-494A-A13B-C64EF39A485D}"/>
                </a:ext>
              </a:extLst>
            </p:cNvPr>
            <p:cNvSpPr/>
            <p:nvPr/>
          </p:nvSpPr>
          <p:spPr>
            <a:xfrm>
              <a:off x="6235140" y="3651649"/>
              <a:ext cx="469095" cy="448019"/>
            </a:xfrm>
            <a:prstGeom prst="rect">
              <a:avLst/>
            </a:prstGeom>
            <a:solidFill>
              <a:srgbClr val="FFC000">
                <a:alpha val="20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0000"/>
                  </a:solidFill>
                  <a:latin typeface="CiscoSansTT Regular" panose="020B0503020201020303" pitchFamily="34" charset="0"/>
                </a:rPr>
                <a:t>2</a:t>
              </a:r>
            </a:p>
          </p:txBody>
        </p:sp>
        <p:sp>
          <p:nvSpPr>
            <p:cNvPr id="15" name="Rectangle 14">
              <a:extLst>
                <a:ext uri="{FF2B5EF4-FFF2-40B4-BE49-F238E27FC236}">
                  <a16:creationId xmlns:a16="http://schemas.microsoft.com/office/drawing/2014/main" id="{F43FEE3E-7E2C-B44B-B64E-4DAA5AFA1F8F}"/>
                </a:ext>
              </a:extLst>
            </p:cNvPr>
            <p:cNvSpPr/>
            <p:nvPr/>
          </p:nvSpPr>
          <p:spPr>
            <a:xfrm>
              <a:off x="5766045" y="3651649"/>
              <a:ext cx="469095" cy="448019"/>
            </a:xfrm>
            <a:prstGeom prst="rect">
              <a:avLst/>
            </a:prstGeom>
            <a:solidFill>
              <a:srgbClr val="7030A0">
                <a:alpha val="20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0000"/>
                  </a:solidFill>
                  <a:latin typeface="CiscoSansTT Regular" panose="020B0503020201020303" pitchFamily="34" charset="0"/>
                </a:rPr>
                <a:t>1</a:t>
              </a:r>
            </a:p>
          </p:txBody>
        </p:sp>
        <p:sp>
          <p:nvSpPr>
            <p:cNvPr id="16" name="Rectangle 15">
              <a:extLst>
                <a:ext uri="{FF2B5EF4-FFF2-40B4-BE49-F238E27FC236}">
                  <a16:creationId xmlns:a16="http://schemas.microsoft.com/office/drawing/2014/main" id="{2C2479C1-1A55-5345-B68C-194CEB95D2BB}"/>
                </a:ext>
              </a:extLst>
            </p:cNvPr>
            <p:cNvSpPr/>
            <p:nvPr/>
          </p:nvSpPr>
          <p:spPr>
            <a:xfrm>
              <a:off x="5296950" y="3651649"/>
              <a:ext cx="469095" cy="448019"/>
            </a:xfrm>
            <a:prstGeom prst="rect">
              <a:avLst/>
            </a:prstGeom>
            <a:solidFill>
              <a:srgbClr val="92D050">
                <a:alpha val="20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0000"/>
                  </a:solidFill>
                  <a:latin typeface="CiscoSansTT Regular" panose="020B0503020201020303" pitchFamily="34" charset="0"/>
                </a:rPr>
                <a:t>0</a:t>
              </a:r>
            </a:p>
          </p:txBody>
        </p:sp>
      </p:grpSp>
    </p:spTree>
    <p:extLst>
      <p:ext uri="{BB962C8B-B14F-4D97-AF65-F5344CB8AC3E}">
        <p14:creationId xmlns:p14="http://schemas.microsoft.com/office/powerpoint/2010/main" val="400318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ounded Rectangle 37"/>
          <p:cNvSpPr/>
          <p:nvPr/>
        </p:nvSpPr>
        <p:spPr>
          <a:xfrm>
            <a:off x="1269387" y="2502094"/>
            <a:ext cx="7224874" cy="643467"/>
          </a:xfrm>
          <a:prstGeom prst="roundRect">
            <a:avLst/>
          </a:prstGeom>
          <a:solidFill>
            <a:srgbClr val="E6F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ounded Rectangle 38"/>
          <p:cNvSpPr/>
          <p:nvPr/>
        </p:nvSpPr>
        <p:spPr>
          <a:xfrm>
            <a:off x="1269387" y="3410366"/>
            <a:ext cx="7214213" cy="643467"/>
          </a:xfrm>
          <a:prstGeom prst="roundRect">
            <a:avLst/>
          </a:prstGeom>
          <a:solidFill>
            <a:srgbClr val="E6F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152512" y="528827"/>
            <a:ext cx="8708813" cy="523220"/>
          </a:xfrm>
          <a:prstGeom prst="rect">
            <a:avLst/>
          </a:prstGeom>
        </p:spPr>
        <p:txBody>
          <a:bodyPr wrap="square">
            <a:spAutoFit/>
          </a:bodyPr>
          <a:lstStyle/>
          <a:p>
            <a:pPr defTabSz="457189"/>
            <a:r>
              <a:rPr lang="en-US" sz="2800" b="1" dirty="0">
                <a:solidFill>
                  <a:schemeClr val="bg1"/>
                </a:solidFill>
                <a:latin typeface="+mj-lt"/>
              </a:rPr>
              <a:t>NCS 5500 Modular Systems - Chassis</a:t>
            </a:r>
          </a:p>
        </p:txBody>
      </p:sp>
      <p:pic>
        <p:nvPicPr>
          <p:cNvPr id="29" name="Picture 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9162" y="2551134"/>
            <a:ext cx="385169" cy="533986"/>
          </a:xfrm>
          <a:prstGeom prst="rect">
            <a:avLst/>
          </a:prstGeom>
        </p:spPr>
      </p:pic>
      <p:grpSp>
        <p:nvGrpSpPr>
          <p:cNvPr id="30" name="Group 29"/>
          <p:cNvGrpSpPr>
            <a:grpSpLocks noChangeAspect="1"/>
          </p:cNvGrpSpPr>
          <p:nvPr/>
        </p:nvGrpSpPr>
        <p:grpSpPr>
          <a:xfrm>
            <a:off x="253070" y="3410367"/>
            <a:ext cx="426940" cy="793400"/>
            <a:chOff x="6751512" y="767440"/>
            <a:chExt cx="2067101" cy="3902081"/>
          </a:xfrm>
        </p:grpSpPr>
        <p:pic>
          <p:nvPicPr>
            <p:cNvPr id="31" name="Picture 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53989" y="2088741"/>
              <a:ext cx="2064624" cy="2580780"/>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751512" y="767440"/>
              <a:ext cx="2064623" cy="1612514"/>
            </a:xfrm>
            <a:prstGeom prst="rect">
              <a:avLst/>
            </a:prstGeom>
          </p:spPr>
        </p:pic>
      </p:grpSp>
      <p:pic>
        <p:nvPicPr>
          <p:cNvPr id="33" name="Picture 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9747" y="1649536"/>
            <a:ext cx="348315" cy="341143"/>
          </a:xfrm>
          <a:prstGeom prst="rect">
            <a:avLst/>
          </a:prstGeom>
        </p:spPr>
      </p:pic>
      <p:sp>
        <p:nvSpPr>
          <p:cNvPr id="3" name="Rounded Rectangle 2"/>
          <p:cNvSpPr/>
          <p:nvPr/>
        </p:nvSpPr>
        <p:spPr>
          <a:xfrm>
            <a:off x="1269387" y="1539943"/>
            <a:ext cx="7214213" cy="643467"/>
          </a:xfrm>
          <a:prstGeom prst="roundRect">
            <a:avLst/>
          </a:prstGeom>
          <a:solidFill>
            <a:srgbClr val="E6F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ounded Rectangle 21"/>
          <p:cNvSpPr/>
          <p:nvPr/>
        </p:nvSpPr>
        <p:spPr>
          <a:xfrm>
            <a:off x="2684785" y="1527217"/>
            <a:ext cx="719667" cy="2521286"/>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ounded Rectangle 23"/>
          <p:cNvSpPr/>
          <p:nvPr/>
        </p:nvSpPr>
        <p:spPr>
          <a:xfrm>
            <a:off x="5988701" y="1539943"/>
            <a:ext cx="719667" cy="2521286"/>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1343725" y="1196718"/>
            <a:ext cx="498855" cy="261610"/>
          </a:xfrm>
          <a:prstGeom prst="rect">
            <a:avLst/>
          </a:prstGeom>
          <a:noFill/>
        </p:spPr>
        <p:txBody>
          <a:bodyPr wrap="none" rtlCol="0">
            <a:spAutoFit/>
          </a:bodyPr>
          <a:lstStyle/>
          <a:p>
            <a:r>
              <a:rPr lang="en-US" sz="1100" dirty="0"/>
              <a:t>Slots</a:t>
            </a:r>
          </a:p>
        </p:txBody>
      </p:sp>
      <p:sp>
        <p:nvSpPr>
          <p:cNvPr id="8" name="TextBox 7"/>
          <p:cNvSpPr txBox="1"/>
          <p:nvPr/>
        </p:nvSpPr>
        <p:spPr>
          <a:xfrm>
            <a:off x="3720199" y="1196718"/>
            <a:ext cx="1484702" cy="261610"/>
          </a:xfrm>
          <a:prstGeom prst="rect">
            <a:avLst/>
          </a:prstGeom>
          <a:noFill/>
        </p:spPr>
        <p:txBody>
          <a:bodyPr wrap="none" rtlCol="0">
            <a:spAutoFit/>
          </a:bodyPr>
          <a:lstStyle/>
          <a:p>
            <a:r>
              <a:rPr lang="en-US" sz="1100" dirty="0"/>
              <a:t>Max Capacity (</a:t>
            </a:r>
            <a:r>
              <a:rPr lang="en-US" sz="1100" dirty="0" err="1"/>
              <a:t>Tbps</a:t>
            </a:r>
            <a:r>
              <a:rPr lang="en-US" sz="1100" dirty="0"/>
              <a:t>)</a:t>
            </a:r>
          </a:p>
        </p:txBody>
      </p:sp>
      <p:sp>
        <p:nvSpPr>
          <p:cNvPr id="27" name="TextBox 26"/>
          <p:cNvSpPr txBox="1"/>
          <p:nvPr/>
        </p:nvSpPr>
        <p:spPr>
          <a:xfrm>
            <a:off x="2489437" y="1201662"/>
            <a:ext cx="922047" cy="261610"/>
          </a:xfrm>
          <a:prstGeom prst="rect">
            <a:avLst/>
          </a:prstGeom>
          <a:noFill/>
        </p:spPr>
        <p:txBody>
          <a:bodyPr wrap="none" rtlCol="0">
            <a:spAutoFit/>
          </a:bodyPr>
          <a:lstStyle/>
          <a:p>
            <a:r>
              <a:rPr lang="en-US" sz="1100" dirty="0"/>
              <a:t>Space (RU)</a:t>
            </a:r>
          </a:p>
        </p:txBody>
      </p:sp>
      <p:sp>
        <p:nvSpPr>
          <p:cNvPr id="28" name="Rounded Rectangle 27"/>
          <p:cNvSpPr/>
          <p:nvPr/>
        </p:nvSpPr>
        <p:spPr>
          <a:xfrm>
            <a:off x="1269386" y="1532548"/>
            <a:ext cx="719667" cy="2521286"/>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ounded Rectangle 33"/>
          <p:cNvSpPr/>
          <p:nvPr/>
        </p:nvSpPr>
        <p:spPr>
          <a:xfrm>
            <a:off x="4269395" y="1527217"/>
            <a:ext cx="719667" cy="2521286"/>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p:cNvSpPr txBox="1"/>
          <p:nvPr/>
        </p:nvSpPr>
        <p:spPr>
          <a:xfrm>
            <a:off x="5546740" y="1196718"/>
            <a:ext cx="1625766" cy="261610"/>
          </a:xfrm>
          <a:prstGeom prst="rect">
            <a:avLst/>
          </a:prstGeom>
          <a:noFill/>
        </p:spPr>
        <p:txBody>
          <a:bodyPr wrap="none" rtlCol="0">
            <a:spAutoFit/>
          </a:bodyPr>
          <a:lstStyle/>
          <a:p>
            <a:r>
              <a:rPr lang="en-US" sz="1100" dirty="0"/>
              <a:t>Future Capacity (</a:t>
            </a:r>
            <a:r>
              <a:rPr lang="en-US" sz="1100" dirty="0" err="1"/>
              <a:t>Tbps</a:t>
            </a:r>
            <a:r>
              <a:rPr lang="en-US" sz="1100" dirty="0"/>
              <a:t>)</a:t>
            </a:r>
          </a:p>
        </p:txBody>
      </p:sp>
      <p:sp>
        <p:nvSpPr>
          <p:cNvPr id="36" name="TextBox 35"/>
          <p:cNvSpPr txBox="1"/>
          <p:nvPr/>
        </p:nvSpPr>
        <p:spPr>
          <a:xfrm>
            <a:off x="7578198" y="1186963"/>
            <a:ext cx="944489" cy="261610"/>
          </a:xfrm>
          <a:prstGeom prst="rect">
            <a:avLst/>
          </a:prstGeom>
          <a:noFill/>
        </p:spPr>
        <p:txBody>
          <a:bodyPr wrap="none" rtlCol="0">
            <a:spAutoFit/>
          </a:bodyPr>
          <a:lstStyle/>
          <a:p>
            <a:r>
              <a:rPr lang="en-US" sz="1100" dirty="0"/>
              <a:t>Power (KW)</a:t>
            </a:r>
          </a:p>
        </p:txBody>
      </p:sp>
      <p:sp>
        <p:nvSpPr>
          <p:cNvPr id="37" name="Rounded Rectangle 36"/>
          <p:cNvSpPr/>
          <p:nvPr/>
        </p:nvSpPr>
        <p:spPr>
          <a:xfrm>
            <a:off x="7763933" y="1533580"/>
            <a:ext cx="719667" cy="2521286"/>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p:cNvSpPr txBox="1"/>
          <p:nvPr/>
        </p:nvSpPr>
        <p:spPr>
          <a:xfrm>
            <a:off x="148122" y="1964276"/>
            <a:ext cx="837089" cy="261610"/>
          </a:xfrm>
          <a:prstGeom prst="rect">
            <a:avLst/>
          </a:prstGeom>
          <a:noFill/>
        </p:spPr>
        <p:txBody>
          <a:bodyPr wrap="none" rtlCol="0">
            <a:spAutoFit/>
          </a:bodyPr>
          <a:lstStyle/>
          <a:p>
            <a:r>
              <a:rPr lang="en-US" sz="1100"/>
              <a:t>NCS 5504</a:t>
            </a:r>
            <a:endParaRPr lang="en-US" sz="1100" dirty="0"/>
          </a:p>
        </p:txBody>
      </p:sp>
      <p:sp>
        <p:nvSpPr>
          <p:cNvPr id="41" name="TextBox 40"/>
          <p:cNvSpPr txBox="1"/>
          <p:nvPr/>
        </p:nvSpPr>
        <p:spPr>
          <a:xfrm>
            <a:off x="148122" y="3085119"/>
            <a:ext cx="837089" cy="261610"/>
          </a:xfrm>
          <a:prstGeom prst="rect">
            <a:avLst/>
          </a:prstGeom>
          <a:noFill/>
        </p:spPr>
        <p:txBody>
          <a:bodyPr wrap="none" rtlCol="0">
            <a:spAutoFit/>
          </a:bodyPr>
          <a:lstStyle/>
          <a:p>
            <a:r>
              <a:rPr lang="en-US" sz="1100" dirty="0"/>
              <a:t>NCS 5508</a:t>
            </a:r>
          </a:p>
        </p:txBody>
      </p:sp>
      <p:sp>
        <p:nvSpPr>
          <p:cNvPr id="42" name="TextBox 41"/>
          <p:cNvSpPr txBox="1"/>
          <p:nvPr/>
        </p:nvSpPr>
        <p:spPr>
          <a:xfrm>
            <a:off x="114911" y="4167366"/>
            <a:ext cx="837089" cy="261610"/>
          </a:xfrm>
          <a:prstGeom prst="rect">
            <a:avLst/>
          </a:prstGeom>
          <a:noFill/>
        </p:spPr>
        <p:txBody>
          <a:bodyPr wrap="none" rtlCol="0">
            <a:spAutoFit/>
          </a:bodyPr>
          <a:lstStyle/>
          <a:p>
            <a:r>
              <a:rPr lang="en-US" sz="1100" dirty="0"/>
              <a:t>NCS 5516</a:t>
            </a:r>
          </a:p>
        </p:txBody>
      </p:sp>
      <p:sp>
        <p:nvSpPr>
          <p:cNvPr id="9" name="TextBox 8"/>
          <p:cNvSpPr txBox="1"/>
          <p:nvPr/>
        </p:nvSpPr>
        <p:spPr>
          <a:xfrm>
            <a:off x="1414521" y="1732886"/>
            <a:ext cx="312906" cy="369332"/>
          </a:xfrm>
          <a:prstGeom prst="rect">
            <a:avLst/>
          </a:prstGeom>
          <a:noFill/>
        </p:spPr>
        <p:txBody>
          <a:bodyPr wrap="none" rtlCol="0">
            <a:spAutoFit/>
          </a:bodyPr>
          <a:lstStyle/>
          <a:p>
            <a:r>
              <a:rPr lang="en-US"/>
              <a:t>4</a:t>
            </a:r>
            <a:endParaRPr lang="en-US" dirty="0"/>
          </a:p>
        </p:txBody>
      </p:sp>
      <p:sp>
        <p:nvSpPr>
          <p:cNvPr id="43" name="TextBox 42"/>
          <p:cNvSpPr txBox="1"/>
          <p:nvPr/>
        </p:nvSpPr>
        <p:spPr>
          <a:xfrm>
            <a:off x="1419833" y="2732391"/>
            <a:ext cx="312906" cy="369332"/>
          </a:xfrm>
          <a:prstGeom prst="rect">
            <a:avLst/>
          </a:prstGeom>
          <a:noFill/>
        </p:spPr>
        <p:txBody>
          <a:bodyPr wrap="none" rtlCol="0">
            <a:spAutoFit/>
          </a:bodyPr>
          <a:lstStyle/>
          <a:p>
            <a:r>
              <a:rPr lang="en-US" dirty="0"/>
              <a:t>8</a:t>
            </a:r>
          </a:p>
        </p:txBody>
      </p:sp>
      <p:sp>
        <p:nvSpPr>
          <p:cNvPr id="44" name="TextBox 43"/>
          <p:cNvSpPr txBox="1"/>
          <p:nvPr/>
        </p:nvSpPr>
        <p:spPr>
          <a:xfrm>
            <a:off x="1420186" y="3679461"/>
            <a:ext cx="441146" cy="369332"/>
          </a:xfrm>
          <a:prstGeom prst="rect">
            <a:avLst/>
          </a:prstGeom>
          <a:noFill/>
        </p:spPr>
        <p:txBody>
          <a:bodyPr wrap="none" rtlCol="0">
            <a:spAutoFit/>
          </a:bodyPr>
          <a:lstStyle/>
          <a:p>
            <a:r>
              <a:rPr lang="en-US" dirty="0"/>
              <a:t>16</a:t>
            </a:r>
          </a:p>
        </p:txBody>
      </p:sp>
      <p:sp>
        <p:nvSpPr>
          <p:cNvPr id="10" name="TextBox 9"/>
          <p:cNvSpPr txBox="1"/>
          <p:nvPr/>
        </p:nvSpPr>
        <p:spPr>
          <a:xfrm>
            <a:off x="2863044" y="1727096"/>
            <a:ext cx="312906" cy="369332"/>
          </a:xfrm>
          <a:prstGeom prst="rect">
            <a:avLst/>
          </a:prstGeom>
          <a:noFill/>
        </p:spPr>
        <p:txBody>
          <a:bodyPr wrap="none" rtlCol="0">
            <a:spAutoFit/>
          </a:bodyPr>
          <a:lstStyle/>
          <a:p>
            <a:r>
              <a:rPr lang="en-US"/>
              <a:t>7</a:t>
            </a:r>
            <a:endParaRPr lang="en-US" dirty="0"/>
          </a:p>
        </p:txBody>
      </p:sp>
      <p:sp>
        <p:nvSpPr>
          <p:cNvPr id="45" name="TextBox 44"/>
          <p:cNvSpPr txBox="1"/>
          <p:nvPr/>
        </p:nvSpPr>
        <p:spPr>
          <a:xfrm>
            <a:off x="2848090" y="2732391"/>
            <a:ext cx="441146" cy="369332"/>
          </a:xfrm>
          <a:prstGeom prst="rect">
            <a:avLst/>
          </a:prstGeom>
          <a:noFill/>
        </p:spPr>
        <p:txBody>
          <a:bodyPr wrap="none" rtlCol="0">
            <a:spAutoFit/>
          </a:bodyPr>
          <a:lstStyle/>
          <a:p>
            <a:r>
              <a:rPr lang="en-US"/>
              <a:t>13</a:t>
            </a:r>
            <a:endParaRPr lang="en-US" dirty="0"/>
          </a:p>
        </p:txBody>
      </p:sp>
      <p:sp>
        <p:nvSpPr>
          <p:cNvPr id="46" name="TextBox 45"/>
          <p:cNvSpPr txBox="1"/>
          <p:nvPr/>
        </p:nvSpPr>
        <p:spPr>
          <a:xfrm>
            <a:off x="2863045" y="3679461"/>
            <a:ext cx="441146" cy="369332"/>
          </a:xfrm>
          <a:prstGeom prst="rect">
            <a:avLst/>
          </a:prstGeom>
          <a:noFill/>
        </p:spPr>
        <p:txBody>
          <a:bodyPr wrap="none" rtlCol="0">
            <a:spAutoFit/>
          </a:bodyPr>
          <a:lstStyle/>
          <a:p>
            <a:r>
              <a:rPr lang="en-US" dirty="0"/>
              <a:t>21</a:t>
            </a:r>
          </a:p>
        </p:txBody>
      </p:sp>
      <p:sp>
        <p:nvSpPr>
          <p:cNvPr id="47" name="TextBox 46"/>
          <p:cNvSpPr txBox="1"/>
          <p:nvPr/>
        </p:nvSpPr>
        <p:spPr>
          <a:xfrm>
            <a:off x="4404091" y="1727096"/>
            <a:ext cx="633507" cy="369332"/>
          </a:xfrm>
          <a:prstGeom prst="rect">
            <a:avLst/>
          </a:prstGeom>
          <a:noFill/>
        </p:spPr>
        <p:txBody>
          <a:bodyPr wrap="none" rtlCol="0">
            <a:spAutoFit/>
          </a:bodyPr>
          <a:lstStyle/>
          <a:p>
            <a:r>
              <a:rPr lang="en-US"/>
              <a:t>14.4</a:t>
            </a:r>
            <a:endParaRPr lang="en-US" dirty="0"/>
          </a:p>
        </p:txBody>
      </p:sp>
      <p:sp>
        <p:nvSpPr>
          <p:cNvPr id="48" name="TextBox 47"/>
          <p:cNvSpPr txBox="1"/>
          <p:nvPr/>
        </p:nvSpPr>
        <p:spPr>
          <a:xfrm>
            <a:off x="4355109" y="2732391"/>
            <a:ext cx="633507" cy="369332"/>
          </a:xfrm>
          <a:prstGeom prst="rect">
            <a:avLst/>
          </a:prstGeom>
          <a:noFill/>
        </p:spPr>
        <p:txBody>
          <a:bodyPr wrap="none" rtlCol="0">
            <a:spAutoFit/>
          </a:bodyPr>
          <a:lstStyle/>
          <a:p>
            <a:r>
              <a:rPr lang="en-US" dirty="0"/>
              <a:t>28.8</a:t>
            </a:r>
          </a:p>
        </p:txBody>
      </p:sp>
      <p:sp>
        <p:nvSpPr>
          <p:cNvPr id="49" name="TextBox 48"/>
          <p:cNvSpPr txBox="1"/>
          <p:nvPr/>
        </p:nvSpPr>
        <p:spPr>
          <a:xfrm>
            <a:off x="4322327" y="3679024"/>
            <a:ext cx="633507" cy="369332"/>
          </a:xfrm>
          <a:prstGeom prst="rect">
            <a:avLst/>
          </a:prstGeom>
          <a:noFill/>
        </p:spPr>
        <p:txBody>
          <a:bodyPr wrap="none" rtlCol="0">
            <a:spAutoFit/>
          </a:bodyPr>
          <a:lstStyle/>
          <a:p>
            <a:r>
              <a:rPr lang="en-US" dirty="0"/>
              <a:t>57.6</a:t>
            </a:r>
          </a:p>
        </p:txBody>
      </p:sp>
      <p:sp>
        <p:nvSpPr>
          <p:cNvPr id="50" name="TextBox 49"/>
          <p:cNvSpPr txBox="1"/>
          <p:nvPr/>
        </p:nvSpPr>
        <p:spPr>
          <a:xfrm>
            <a:off x="6021912" y="1728820"/>
            <a:ext cx="633507" cy="369332"/>
          </a:xfrm>
          <a:prstGeom prst="rect">
            <a:avLst/>
          </a:prstGeom>
          <a:noFill/>
        </p:spPr>
        <p:txBody>
          <a:bodyPr wrap="none" rtlCol="0">
            <a:spAutoFit/>
          </a:bodyPr>
          <a:lstStyle/>
          <a:p>
            <a:r>
              <a:rPr lang="en-US" dirty="0"/>
              <a:t>38.4</a:t>
            </a:r>
          </a:p>
        </p:txBody>
      </p:sp>
      <p:sp>
        <p:nvSpPr>
          <p:cNvPr id="51" name="TextBox 50"/>
          <p:cNvSpPr txBox="1"/>
          <p:nvPr/>
        </p:nvSpPr>
        <p:spPr>
          <a:xfrm>
            <a:off x="6021911" y="2732391"/>
            <a:ext cx="633507" cy="369332"/>
          </a:xfrm>
          <a:prstGeom prst="rect">
            <a:avLst/>
          </a:prstGeom>
          <a:noFill/>
        </p:spPr>
        <p:txBody>
          <a:bodyPr wrap="none" rtlCol="0">
            <a:spAutoFit/>
          </a:bodyPr>
          <a:lstStyle/>
          <a:p>
            <a:r>
              <a:rPr lang="en-US" dirty="0"/>
              <a:t>76.8</a:t>
            </a:r>
          </a:p>
        </p:txBody>
      </p:sp>
      <p:sp>
        <p:nvSpPr>
          <p:cNvPr id="52" name="TextBox 51"/>
          <p:cNvSpPr txBox="1"/>
          <p:nvPr/>
        </p:nvSpPr>
        <p:spPr>
          <a:xfrm>
            <a:off x="6022964" y="3679024"/>
            <a:ext cx="761747" cy="369332"/>
          </a:xfrm>
          <a:prstGeom prst="rect">
            <a:avLst/>
          </a:prstGeom>
          <a:noFill/>
        </p:spPr>
        <p:txBody>
          <a:bodyPr wrap="none" rtlCol="0">
            <a:spAutoFit/>
          </a:bodyPr>
          <a:lstStyle/>
          <a:p>
            <a:r>
              <a:rPr lang="en-US"/>
              <a:t>153.6</a:t>
            </a:r>
            <a:endParaRPr lang="en-US" dirty="0"/>
          </a:p>
        </p:txBody>
      </p:sp>
      <p:sp>
        <p:nvSpPr>
          <p:cNvPr id="53" name="TextBox 52"/>
          <p:cNvSpPr txBox="1"/>
          <p:nvPr/>
        </p:nvSpPr>
        <p:spPr>
          <a:xfrm>
            <a:off x="7778765" y="1727096"/>
            <a:ext cx="312906" cy="369332"/>
          </a:xfrm>
          <a:prstGeom prst="rect">
            <a:avLst/>
          </a:prstGeom>
          <a:noFill/>
        </p:spPr>
        <p:txBody>
          <a:bodyPr wrap="none" rtlCol="0">
            <a:spAutoFit/>
          </a:bodyPr>
          <a:lstStyle/>
          <a:p>
            <a:r>
              <a:rPr lang="en-US" dirty="0"/>
              <a:t>4</a:t>
            </a:r>
          </a:p>
        </p:txBody>
      </p:sp>
      <p:sp>
        <p:nvSpPr>
          <p:cNvPr id="54" name="TextBox 53"/>
          <p:cNvSpPr txBox="1"/>
          <p:nvPr/>
        </p:nvSpPr>
        <p:spPr>
          <a:xfrm>
            <a:off x="7814022" y="2695610"/>
            <a:ext cx="312906" cy="369332"/>
          </a:xfrm>
          <a:prstGeom prst="rect">
            <a:avLst/>
          </a:prstGeom>
          <a:noFill/>
        </p:spPr>
        <p:txBody>
          <a:bodyPr wrap="none" rtlCol="0">
            <a:spAutoFit/>
          </a:bodyPr>
          <a:lstStyle/>
          <a:p>
            <a:r>
              <a:rPr lang="en-US" dirty="0"/>
              <a:t>7</a:t>
            </a:r>
          </a:p>
        </p:txBody>
      </p:sp>
      <p:sp>
        <p:nvSpPr>
          <p:cNvPr id="55" name="TextBox 54"/>
          <p:cNvSpPr txBox="1"/>
          <p:nvPr/>
        </p:nvSpPr>
        <p:spPr>
          <a:xfrm>
            <a:off x="7819111" y="3685027"/>
            <a:ext cx="441146" cy="369332"/>
          </a:xfrm>
          <a:prstGeom prst="rect">
            <a:avLst/>
          </a:prstGeom>
          <a:noFill/>
        </p:spPr>
        <p:txBody>
          <a:bodyPr wrap="none" rtlCol="0">
            <a:spAutoFit/>
          </a:bodyPr>
          <a:lstStyle/>
          <a:p>
            <a:r>
              <a:rPr lang="en-US" dirty="0"/>
              <a:t>15</a:t>
            </a:r>
          </a:p>
        </p:txBody>
      </p:sp>
      <p:pic>
        <p:nvPicPr>
          <p:cNvPr id="57" name="Picture 56">
            <a:extLst>
              <a:ext uri="{FF2B5EF4-FFF2-40B4-BE49-F238E27FC236}">
                <a16:creationId xmlns:a16="http://schemas.microsoft.com/office/drawing/2014/main" id="{4E069D5A-2DF7-2B4E-87B4-47CCE320C71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08814" y="4404356"/>
            <a:ext cx="1648859" cy="739143"/>
          </a:xfrm>
          <a:prstGeom prst="rect">
            <a:avLst/>
          </a:prstGeom>
        </p:spPr>
      </p:pic>
    </p:spTree>
    <p:extLst>
      <p:ext uri="{BB962C8B-B14F-4D97-AF65-F5344CB8AC3E}">
        <p14:creationId xmlns:p14="http://schemas.microsoft.com/office/powerpoint/2010/main" val="426248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9" name="Rounded Rectangle 108"/>
          <p:cNvSpPr/>
          <p:nvPr/>
        </p:nvSpPr>
        <p:spPr>
          <a:xfrm>
            <a:off x="1196618" y="1910175"/>
            <a:ext cx="7906900" cy="394087"/>
          </a:xfrm>
          <a:prstGeom prst="roundRect">
            <a:avLst/>
          </a:prstGeom>
          <a:solidFill>
            <a:srgbClr val="E6F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10" name="Rounded Rectangle 109"/>
          <p:cNvSpPr/>
          <p:nvPr/>
        </p:nvSpPr>
        <p:spPr>
          <a:xfrm>
            <a:off x="1188519" y="2357298"/>
            <a:ext cx="7906900" cy="394087"/>
          </a:xfrm>
          <a:prstGeom prst="roundRect">
            <a:avLst/>
          </a:prstGeom>
          <a:solidFill>
            <a:srgbClr val="E6F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11" name="Rounded Rectangle 110"/>
          <p:cNvSpPr/>
          <p:nvPr/>
        </p:nvSpPr>
        <p:spPr>
          <a:xfrm>
            <a:off x="1208781" y="2807610"/>
            <a:ext cx="7906900" cy="394087"/>
          </a:xfrm>
          <a:prstGeom prst="roundRect">
            <a:avLst/>
          </a:prstGeom>
          <a:solidFill>
            <a:srgbClr val="E6F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12" name="Rounded Rectangle 111"/>
          <p:cNvSpPr/>
          <p:nvPr/>
        </p:nvSpPr>
        <p:spPr>
          <a:xfrm>
            <a:off x="1213554" y="3275420"/>
            <a:ext cx="7906900" cy="394087"/>
          </a:xfrm>
          <a:prstGeom prst="roundRect">
            <a:avLst/>
          </a:prstGeom>
          <a:solidFill>
            <a:srgbClr val="E6F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13" name="Rounded Rectangle 112"/>
          <p:cNvSpPr/>
          <p:nvPr/>
        </p:nvSpPr>
        <p:spPr>
          <a:xfrm>
            <a:off x="1196618" y="3750543"/>
            <a:ext cx="7906900" cy="951047"/>
          </a:xfrm>
          <a:prstGeom prst="roundRect">
            <a:avLst/>
          </a:prstGeom>
          <a:solidFill>
            <a:srgbClr val="E6F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7" name="Rectangle 6"/>
          <p:cNvSpPr/>
          <p:nvPr/>
        </p:nvSpPr>
        <p:spPr>
          <a:xfrm>
            <a:off x="152512" y="283136"/>
            <a:ext cx="8708813" cy="523220"/>
          </a:xfrm>
          <a:prstGeom prst="rect">
            <a:avLst/>
          </a:prstGeom>
        </p:spPr>
        <p:txBody>
          <a:bodyPr wrap="square">
            <a:spAutoFit/>
          </a:bodyPr>
          <a:lstStyle/>
          <a:p>
            <a:pPr defTabSz="457189"/>
            <a:r>
              <a:rPr lang="en-US" sz="2800" b="1" dirty="0">
                <a:solidFill>
                  <a:schemeClr val="bg1"/>
                </a:solidFill>
                <a:latin typeface="+mj-lt"/>
              </a:rPr>
              <a:t>NCS 5500 Fixed Systems</a:t>
            </a:r>
          </a:p>
        </p:txBody>
      </p:sp>
      <p:sp>
        <p:nvSpPr>
          <p:cNvPr id="24" name="Rectangle 23"/>
          <p:cNvSpPr/>
          <p:nvPr/>
        </p:nvSpPr>
        <p:spPr>
          <a:xfrm>
            <a:off x="-66188" y="1627913"/>
            <a:ext cx="1228093" cy="215444"/>
          </a:xfrm>
          <a:prstGeom prst="rect">
            <a:avLst/>
          </a:prstGeom>
        </p:spPr>
        <p:txBody>
          <a:bodyPr wrap="square">
            <a:spAutoFit/>
          </a:bodyPr>
          <a:lstStyle/>
          <a:p>
            <a:pPr algn="ctr"/>
            <a:r>
              <a:rPr lang="de-DE" sz="800" b="1" dirty="0"/>
              <a:t>NCS 5501 (S/SE)</a:t>
            </a:r>
            <a:endParaRPr lang="en-US" sz="800" b="1" dirty="0"/>
          </a:p>
        </p:txBody>
      </p:sp>
      <p:sp>
        <p:nvSpPr>
          <p:cNvPr id="37" name="Rounded Rectangle 36"/>
          <p:cNvSpPr/>
          <p:nvPr/>
        </p:nvSpPr>
        <p:spPr>
          <a:xfrm>
            <a:off x="1196618" y="1459925"/>
            <a:ext cx="7906900" cy="394087"/>
          </a:xfrm>
          <a:prstGeom prst="roundRect">
            <a:avLst/>
          </a:prstGeom>
          <a:solidFill>
            <a:srgbClr val="E6F1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9" name="TextBox 38"/>
          <p:cNvSpPr txBox="1"/>
          <p:nvPr/>
        </p:nvSpPr>
        <p:spPr>
          <a:xfrm>
            <a:off x="1158161" y="1092105"/>
            <a:ext cx="489236" cy="338554"/>
          </a:xfrm>
          <a:prstGeom prst="rect">
            <a:avLst/>
          </a:prstGeom>
          <a:noFill/>
        </p:spPr>
        <p:txBody>
          <a:bodyPr wrap="none" rtlCol="0">
            <a:spAutoFit/>
          </a:bodyPr>
          <a:lstStyle/>
          <a:p>
            <a:r>
              <a:rPr lang="en-US" sz="800" b="1"/>
              <a:t>Space</a:t>
            </a:r>
          </a:p>
          <a:p>
            <a:r>
              <a:rPr lang="en-US" sz="800" b="1" dirty="0"/>
              <a:t>(RU)</a:t>
            </a:r>
          </a:p>
        </p:txBody>
      </p:sp>
      <p:sp>
        <p:nvSpPr>
          <p:cNvPr id="53" name="Rounded Rectangle 52"/>
          <p:cNvSpPr/>
          <p:nvPr/>
        </p:nvSpPr>
        <p:spPr>
          <a:xfrm>
            <a:off x="1208781" y="1448285"/>
            <a:ext cx="339670" cy="3227274"/>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5" name="Rectangle 4"/>
          <p:cNvSpPr/>
          <p:nvPr/>
        </p:nvSpPr>
        <p:spPr>
          <a:xfrm>
            <a:off x="3435425" y="4677297"/>
            <a:ext cx="3841581" cy="430887"/>
          </a:xfrm>
          <a:prstGeom prst="rect">
            <a:avLst/>
          </a:prstGeom>
        </p:spPr>
        <p:txBody>
          <a:bodyPr wrap="square">
            <a:spAutoFit/>
          </a:bodyPr>
          <a:lstStyle/>
          <a:p>
            <a:pPr>
              <a:buFont typeface="Arial" charset="0"/>
              <a:buChar char="•"/>
            </a:pPr>
            <a:r>
              <a:rPr lang="en-US" sz="800" b="1" dirty="0">
                <a:solidFill>
                  <a:srgbClr val="666666"/>
                </a:solidFill>
                <a:latin typeface="ArialMT" charset="0"/>
              </a:rPr>
              <a:t>Scale (SE) versions have an External TCAM as a shared resource </a:t>
            </a:r>
            <a:endParaRPr lang="en-US" sz="600" b="1" dirty="0">
              <a:solidFill>
                <a:srgbClr val="666666"/>
              </a:solidFill>
              <a:latin typeface="ArialMT" charset="0"/>
            </a:endParaRPr>
          </a:p>
          <a:p>
            <a:pPr marL="742931" lvl="1" indent="-285743">
              <a:buFont typeface="Arial" charset="0"/>
              <a:buChar char="•"/>
            </a:pPr>
            <a:r>
              <a:rPr lang="en-US" sz="700" b="1" dirty="0">
                <a:solidFill>
                  <a:srgbClr val="666666"/>
                </a:solidFill>
                <a:latin typeface="ArialMT" charset="0"/>
              </a:rPr>
              <a:t>IPv4 &amp; IPv6 route scale </a:t>
            </a:r>
            <a:endParaRPr lang="en-US" sz="600" b="1" dirty="0">
              <a:solidFill>
                <a:srgbClr val="666666"/>
              </a:solidFill>
              <a:latin typeface="ArialMT" charset="0"/>
            </a:endParaRPr>
          </a:p>
          <a:p>
            <a:pPr marL="742931" lvl="1" indent="-285743">
              <a:buFont typeface="Arial" charset="0"/>
              <a:buChar char="•"/>
            </a:pPr>
            <a:r>
              <a:rPr lang="en-US" sz="700" b="1" dirty="0">
                <a:solidFill>
                  <a:srgbClr val="666666"/>
                </a:solidFill>
                <a:latin typeface="ArialMT" charset="0"/>
              </a:rPr>
              <a:t>Ingress ACL / </a:t>
            </a:r>
            <a:r>
              <a:rPr lang="en-US" sz="700" b="1" dirty="0" err="1">
                <a:solidFill>
                  <a:srgbClr val="666666"/>
                </a:solidFill>
                <a:latin typeface="ArialMT" charset="0"/>
              </a:rPr>
              <a:t>QoS</a:t>
            </a:r>
            <a:r>
              <a:rPr lang="en-US" sz="700" b="1" dirty="0">
                <a:solidFill>
                  <a:srgbClr val="666666"/>
                </a:solidFill>
                <a:latin typeface="ArialMT" charset="0"/>
              </a:rPr>
              <a:t> matching scale </a:t>
            </a:r>
            <a:endParaRPr lang="en-US" sz="600" b="1" dirty="0">
              <a:solidFill>
                <a:srgbClr val="666666"/>
              </a:solidFill>
              <a:latin typeface="ArialMT" charset="0"/>
            </a:endParaRPr>
          </a:p>
        </p:txBody>
      </p:sp>
      <p:sp>
        <p:nvSpPr>
          <p:cNvPr id="104" name="Rectangle 103"/>
          <p:cNvSpPr/>
          <p:nvPr/>
        </p:nvSpPr>
        <p:spPr>
          <a:xfrm>
            <a:off x="-32218" y="2115611"/>
            <a:ext cx="1228093" cy="215444"/>
          </a:xfrm>
          <a:prstGeom prst="rect">
            <a:avLst/>
          </a:prstGeom>
        </p:spPr>
        <p:txBody>
          <a:bodyPr wrap="square">
            <a:spAutoFit/>
          </a:bodyPr>
          <a:lstStyle/>
          <a:p>
            <a:pPr algn="ctr"/>
            <a:r>
              <a:rPr lang="de-DE" sz="800" b="1" dirty="0"/>
              <a:t>NCS 5502 (S/SE)</a:t>
            </a:r>
            <a:endParaRPr lang="en-US" sz="800" b="1" dirty="0"/>
          </a:p>
        </p:txBody>
      </p:sp>
      <p:sp>
        <p:nvSpPr>
          <p:cNvPr id="105" name="Rectangle 104"/>
          <p:cNvSpPr/>
          <p:nvPr/>
        </p:nvSpPr>
        <p:spPr>
          <a:xfrm>
            <a:off x="-32027" y="2513125"/>
            <a:ext cx="1228093" cy="338554"/>
          </a:xfrm>
          <a:prstGeom prst="rect">
            <a:avLst/>
          </a:prstGeom>
        </p:spPr>
        <p:txBody>
          <a:bodyPr wrap="square">
            <a:spAutoFit/>
          </a:bodyPr>
          <a:lstStyle/>
          <a:p>
            <a:pPr algn="ctr"/>
            <a:r>
              <a:rPr lang="en-US" sz="800" b="1" dirty="0"/>
              <a:t>NCS-55A1-36H-S/SE </a:t>
            </a:r>
            <a:br>
              <a:rPr lang="en-US" sz="800" b="1" dirty="0"/>
            </a:br>
            <a:r>
              <a:rPr lang="en-US" sz="800" b="1" dirty="0"/>
              <a:t>Oldcastle</a:t>
            </a:r>
          </a:p>
        </p:txBody>
      </p:sp>
      <p:sp>
        <p:nvSpPr>
          <p:cNvPr id="106" name="Rectangle 105"/>
          <p:cNvSpPr/>
          <p:nvPr/>
        </p:nvSpPr>
        <p:spPr>
          <a:xfrm>
            <a:off x="-11245" y="3004945"/>
            <a:ext cx="1228093" cy="338554"/>
          </a:xfrm>
          <a:prstGeom prst="rect">
            <a:avLst/>
          </a:prstGeom>
        </p:spPr>
        <p:txBody>
          <a:bodyPr wrap="square">
            <a:spAutoFit/>
          </a:bodyPr>
          <a:lstStyle/>
          <a:p>
            <a:pPr algn="ctr"/>
            <a:r>
              <a:rPr lang="en-US" sz="800" b="1" dirty="0"/>
              <a:t>NCS-55A1-24H</a:t>
            </a:r>
            <a:br>
              <a:rPr lang="en-US" sz="800" b="1" dirty="0"/>
            </a:br>
            <a:r>
              <a:rPr lang="en-US" sz="800" b="1" dirty="0"/>
              <a:t>Pyke</a:t>
            </a:r>
          </a:p>
        </p:txBody>
      </p:sp>
      <p:sp>
        <p:nvSpPr>
          <p:cNvPr id="107" name="Rectangle 106"/>
          <p:cNvSpPr/>
          <p:nvPr/>
        </p:nvSpPr>
        <p:spPr>
          <a:xfrm>
            <a:off x="-34133" y="3440873"/>
            <a:ext cx="1228093" cy="338554"/>
          </a:xfrm>
          <a:prstGeom prst="rect">
            <a:avLst/>
          </a:prstGeom>
        </p:spPr>
        <p:txBody>
          <a:bodyPr wrap="square">
            <a:spAutoFit/>
          </a:bodyPr>
          <a:lstStyle/>
          <a:p>
            <a:pPr algn="ctr"/>
            <a:r>
              <a:rPr lang="en-US" sz="800" b="1" dirty="0"/>
              <a:t>NCS55A1-48Q6H</a:t>
            </a:r>
            <a:br>
              <a:rPr lang="en-US" sz="800" b="1" dirty="0"/>
            </a:br>
            <a:r>
              <a:rPr lang="en-US" sz="800" b="1" dirty="0"/>
              <a:t>Bifrost-T</a:t>
            </a:r>
          </a:p>
        </p:txBody>
      </p:sp>
      <p:sp>
        <p:nvSpPr>
          <p:cNvPr id="108" name="Rectangle 107"/>
          <p:cNvSpPr/>
          <p:nvPr/>
        </p:nvSpPr>
        <p:spPr>
          <a:xfrm>
            <a:off x="-52500" y="4047441"/>
            <a:ext cx="1345624" cy="338554"/>
          </a:xfrm>
          <a:prstGeom prst="rect">
            <a:avLst/>
          </a:prstGeom>
        </p:spPr>
        <p:txBody>
          <a:bodyPr wrap="square">
            <a:spAutoFit/>
          </a:bodyPr>
          <a:lstStyle/>
          <a:p>
            <a:pPr algn="ctr"/>
            <a:r>
              <a:rPr lang="en-US" sz="800" b="1" dirty="0"/>
              <a:t>NCS-55A2-MOD (S/SE)</a:t>
            </a:r>
            <a:br>
              <a:rPr lang="en-US" sz="800" b="1" dirty="0"/>
            </a:br>
            <a:r>
              <a:rPr lang="en-US" sz="800" b="1" dirty="0" err="1"/>
              <a:t>Peyto</a:t>
            </a:r>
            <a:endParaRPr lang="en-US" sz="800" b="1" dirty="0"/>
          </a:p>
        </p:txBody>
      </p:sp>
      <p:pic>
        <p:nvPicPr>
          <p:cNvPr id="114" name="Picture 11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3198" y="1494710"/>
            <a:ext cx="859800" cy="161839"/>
          </a:xfrm>
          <a:prstGeom prst="rect">
            <a:avLst/>
          </a:prstGeom>
        </p:spPr>
      </p:pic>
      <p:pic>
        <p:nvPicPr>
          <p:cNvPr id="115" name="Picture 11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3001" y="1997340"/>
            <a:ext cx="772890" cy="161575"/>
          </a:xfrm>
          <a:prstGeom prst="rect">
            <a:avLst/>
          </a:prstGeom>
        </p:spPr>
      </p:pic>
      <p:pic>
        <p:nvPicPr>
          <p:cNvPr id="116" name="Picture 115"/>
          <p:cNvPicPr>
            <a:picLocks noChangeAspect="1"/>
          </p:cNvPicPr>
          <p:nvPr/>
        </p:nvPicPr>
        <p:blipFill>
          <a:blip r:embed="rId4" cstate="email">
            <a:duotone>
              <a:prstClr val="black"/>
              <a:schemeClr val="accent4">
                <a:tint val="45000"/>
                <a:satMod val="400000"/>
              </a:schemeClr>
            </a:duotone>
            <a:extLst>
              <a:ext uri="{BEBA8EAE-BF5A-486C-A8C5-ECC9F3942E4B}">
                <a14:imgProps xmlns:a14="http://schemas.microsoft.com/office/drawing/2010/main">
                  <a14:imgLayer r:embed="rId5">
                    <a14:imgEffect>
                      <a14:backgroundRemoval t="0" b="100000" l="0" r="100000">
                        <a14:foregroundMark x1="93547" y1="83551" x2="98566" y2="87467"/>
                        <a14:foregroundMark x1="97200" y1="30287" x2="97644" y2="78329"/>
                        <a14:foregroundMark x1="98327" y1="30287" x2="91909" y2="4700"/>
                        <a14:foregroundMark x1="98839" y1="34987" x2="99010" y2="39426"/>
                        <a14:foregroundMark x1="57357" y1="85640" x2="27347" y2="87467"/>
                        <a14:foregroundMark x1="49232" y1="11488" x2="1741" y2="36554"/>
                        <a14:foregroundMark x1="84158" y1="82768" x2="92216" y2="86945"/>
                        <a14:backgroundMark x1="96176" y1="4700" x2="99078" y2="14883"/>
                        <a14:backgroundMark x1="93479" y1="1828" x2="95050" y2="4178"/>
                        <a14:backgroundMark x1="99522" y1="93211" x2="99659" y2="32637"/>
                        <a14:backgroundMark x1="97439" y1="95300" x2="32571" y2="97128"/>
                        <a14:backgroundMark x1="7409" y1="95300" x2="171" y2="97650"/>
                        <a14:backgroundMark x1="3619" y1="2872" x2="478" y2="22977"/>
                        <a14:backgroundMark x1="4575" y1="1828" x2="5941" y2="2350"/>
                        <a14:backgroundMark x1="273" y1="82245" x2="171" y2="33159"/>
                        <a14:backgroundMark x1="92967" y1="1828" x2="92216" y2="1305"/>
                      </a14:backgroundRemoval>
                    </a14:imgEffect>
                  </a14:imgLayer>
                </a14:imgProps>
              </a:ext>
              <a:ext uri="{28A0092B-C50C-407E-A947-70E740481C1C}">
                <a14:useLocalDpi xmlns:a14="http://schemas.microsoft.com/office/drawing/2010/main"/>
              </a:ext>
            </a:extLst>
          </a:blip>
          <a:stretch>
            <a:fillRect/>
          </a:stretch>
        </p:blipFill>
        <p:spPr>
          <a:xfrm>
            <a:off x="136147" y="2433525"/>
            <a:ext cx="729744" cy="126354"/>
          </a:xfrm>
          <a:prstGeom prst="rect">
            <a:avLst/>
          </a:prstGeom>
        </p:spPr>
      </p:pic>
      <p:pic>
        <p:nvPicPr>
          <p:cNvPr id="141" name="Picture 140"/>
          <p:cNvPicPr>
            <a:picLocks noChangeAspect="1"/>
          </p:cNvPicPr>
          <p:nvPr/>
        </p:nvPicPr>
        <p:blipFill>
          <a:blip r:embed="rId6"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95365" y="2932280"/>
            <a:ext cx="892794" cy="114177"/>
          </a:xfrm>
          <a:prstGeom prst="rect">
            <a:avLst/>
          </a:prstGeom>
        </p:spPr>
      </p:pic>
      <p:pic>
        <p:nvPicPr>
          <p:cNvPr id="142" name="Picture 141"/>
          <p:cNvPicPr>
            <a:picLocks noChangeAspect="1"/>
          </p:cNvPicPr>
          <p:nvPr/>
        </p:nvPicPr>
        <p:blipFill rotWithShape="1">
          <a:blip r:embed="rId7" cstate="email">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93334" y="3907712"/>
            <a:ext cx="913214" cy="194847"/>
          </a:xfrm>
          <a:prstGeom prst="rect">
            <a:avLst/>
          </a:prstGeom>
        </p:spPr>
      </p:pic>
      <p:pic>
        <p:nvPicPr>
          <p:cNvPr id="143" name="Picture 14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740" y="3363906"/>
            <a:ext cx="858799" cy="112139"/>
          </a:xfrm>
          <a:prstGeom prst="rect">
            <a:avLst/>
          </a:prstGeom>
        </p:spPr>
      </p:pic>
      <p:sp>
        <p:nvSpPr>
          <p:cNvPr id="144" name="Rounded Rectangle 143"/>
          <p:cNvSpPr/>
          <p:nvPr/>
        </p:nvSpPr>
        <p:spPr>
          <a:xfrm>
            <a:off x="1625522" y="1457314"/>
            <a:ext cx="683577" cy="3227274"/>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45" name="Rounded Rectangle 144"/>
          <p:cNvSpPr/>
          <p:nvPr/>
        </p:nvSpPr>
        <p:spPr>
          <a:xfrm>
            <a:off x="2388979" y="1474315"/>
            <a:ext cx="3024890" cy="3227274"/>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48" name="Rounded Rectangle 147"/>
          <p:cNvSpPr/>
          <p:nvPr/>
        </p:nvSpPr>
        <p:spPr>
          <a:xfrm>
            <a:off x="5482946" y="1450022"/>
            <a:ext cx="683577" cy="3227274"/>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49" name="Rounded Rectangle 148"/>
          <p:cNvSpPr/>
          <p:nvPr/>
        </p:nvSpPr>
        <p:spPr>
          <a:xfrm>
            <a:off x="6237822" y="1455250"/>
            <a:ext cx="450947" cy="3227274"/>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50" name="Rounded Rectangle 149"/>
          <p:cNvSpPr/>
          <p:nvPr/>
        </p:nvSpPr>
        <p:spPr>
          <a:xfrm>
            <a:off x="6765135" y="1455250"/>
            <a:ext cx="485362" cy="3227274"/>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52" name="TextBox 151"/>
          <p:cNvSpPr txBox="1"/>
          <p:nvPr/>
        </p:nvSpPr>
        <p:spPr>
          <a:xfrm>
            <a:off x="1221943" y="1563071"/>
            <a:ext cx="248786" cy="230832"/>
          </a:xfrm>
          <a:prstGeom prst="rect">
            <a:avLst/>
          </a:prstGeom>
          <a:noFill/>
        </p:spPr>
        <p:txBody>
          <a:bodyPr wrap="none" rtlCol="0">
            <a:spAutoFit/>
          </a:bodyPr>
          <a:lstStyle/>
          <a:p>
            <a:r>
              <a:rPr lang="en-US" sz="900" b="1" dirty="0"/>
              <a:t>1</a:t>
            </a:r>
          </a:p>
        </p:txBody>
      </p:sp>
      <p:sp>
        <p:nvSpPr>
          <p:cNvPr id="153" name="TextBox 152"/>
          <p:cNvSpPr txBox="1"/>
          <p:nvPr/>
        </p:nvSpPr>
        <p:spPr>
          <a:xfrm>
            <a:off x="1221776" y="1988678"/>
            <a:ext cx="248786" cy="230832"/>
          </a:xfrm>
          <a:prstGeom prst="rect">
            <a:avLst/>
          </a:prstGeom>
          <a:noFill/>
        </p:spPr>
        <p:txBody>
          <a:bodyPr wrap="none" rtlCol="0">
            <a:spAutoFit/>
          </a:bodyPr>
          <a:lstStyle/>
          <a:p>
            <a:r>
              <a:rPr lang="en-US" sz="900" b="1" dirty="0"/>
              <a:t>2</a:t>
            </a:r>
          </a:p>
        </p:txBody>
      </p:sp>
      <p:sp>
        <p:nvSpPr>
          <p:cNvPr id="154" name="TextBox 153"/>
          <p:cNvSpPr txBox="1"/>
          <p:nvPr/>
        </p:nvSpPr>
        <p:spPr>
          <a:xfrm>
            <a:off x="1213844" y="2436191"/>
            <a:ext cx="248786" cy="230832"/>
          </a:xfrm>
          <a:prstGeom prst="rect">
            <a:avLst/>
          </a:prstGeom>
          <a:noFill/>
        </p:spPr>
        <p:txBody>
          <a:bodyPr wrap="none" rtlCol="0">
            <a:spAutoFit/>
          </a:bodyPr>
          <a:lstStyle/>
          <a:p>
            <a:r>
              <a:rPr lang="en-US" sz="900" b="1"/>
              <a:t>1</a:t>
            </a:r>
            <a:endParaRPr lang="en-US" sz="900" b="1" dirty="0"/>
          </a:p>
        </p:txBody>
      </p:sp>
      <p:sp>
        <p:nvSpPr>
          <p:cNvPr id="155" name="TextBox 154"/>
          <p:cNvSpPr txBox="1"/>
          <p:nvPr/>
        </p:nvSpPr>
        <p:spPr>
          <a:xfrm>
            <a:off x="1217378" y="2862569"/>
            <a:ext cx="248786" cy="230832"/>
          </a:xfrm>
          <a:prstGeom prst="rect">
            <a:avLst/>
          </a:prstGeom>
          <a:noFill/>
        </p:spPr>
        <p:txBody>
          <a:bodyPr wrap="none" rtlCol="0">
            <a:spAutoFit/>
          </a:bodyPr>
          <a:lstStyle/>
          <a:p>
            <a:r>
              <a:rPr lang="en-US" sz="900" b="1"/>
              <a:t>1</a:t>
            </a:r>
            <a:endParaRPr lang="en-US" sz="900" b="1" dirty="0"/>
          </a:p>
        </p:txBody>
      </p:sp>
      <p:sp>
        <p:nvSpPr>
          <p:cNvPr id="156" name="TextBox 155"/>
          <p:cNvSpPr txBox="1"/>
          <p:nvPr/>
        </p:nvSpPr>
        <p:spPr>
          <a:xfrm>
            <a:off x="1253454" y="3397691"/>
            <a:ext cx="248786" cy="230832"/>
          </a:xfrm>
          <a:prstGeom prst="rect">
            <a:avLst/>
          </a:prstGeom>
          <a:noFill/>
        </p:spPr>
        <p:txBody>
          <a:bodyPr wrap="none" rtlCol="0">
            <a:spAutoFit/>
          </a:bodyPr>
          <a:lstStyle/>
          <a:p>
            <a:r>
              <a:rPr lang="en-US" sz="900" b="1"/>
              <a:t>1</a:t>
            </a:r>
            <a:endParaRPr lang="en-US" sz="900" b="1" dirty="0"/>
          </a:p>
        </p:txBody>
      </p:sp>
      <p:sp>
        <p:nvSpPr>
          <p:cNvPr id="157" name="TextBox 156"/>
          <p:cNvSpPr txBox="1"/>
          <p:nvPr/>
        </p:nvSpPr>
        <p:spPr>
          <a:xfrm>
            <a:off x="1236518" y="3914246"/>
            <a:ext cx="248786" cy="230832"/>
          </a:xfrm>
          <a:prstGeom prst="rect">
            <a:avLst/>
          </a:prstGeom>
          <a:noFill/>
        </p:spPr>
        <p:txBody>
          <a:bodyPr wrap="none" rtlCol="0">
            <a:spAutoFit/>
          </a:bodyPr>
          <a:lstStyle/>
          <a:p>
            <a:r>
              <a:rPr lang="en-US" sz="900" b="1" dirty="0"/>
              <a:t>2</a:t>
            </a:r>
          </a:p>
        </p:txBody>
      </p:sp>
      <p:sp>
        <p:nvSpPr>
          <p:cNvPr id="158" name="TextBox 157"/>
          <p:cNvSpPr txBox="1"/>
          <p:nvPr/>
        </p:nvSpPr>
        <p:spPr>
          <a:xfrm>
            <a:off x="1659807" y="1104464"/>
            <a:ext cx="614271" cy="215444"/>
          </a:xfrm>
          <a:prstGeom prst="rect">
            <a:avLst/>
          </a:prstGeom>
          <a:noFill/>
        </p:spPr>
        <p:txBody>
          <a:bodyPr wrap="none" rtlCol="0">
            <a:spAutoFit/>
          </a:bodyPr>
          <a:lstStyle/>
          <a:p>
            <a:r>
              <a:rPr lang="en-US" sz="800" b="1" dirty="0"/>
              <a:t>Capacity</a:t>
            </a:r>
          </a:p>
        </p:txBody>
      </p:sp>
      <p:sp>
        <p:nvSpPr>
          <p:cNvPr id="159" name="TextBox 158"/>
          <p:cNvSpPr txBox="1"/>
          <p:nvPr/>
        </p:nvSpPr>
        <p:spPr>
          <a:xfrm>
            <a:off x="1650916" y="1568813"/>
            <a:ext cx="704039" cy="230832"/>
          </a:xfrm>
          <a:prstGeom prst="rect">
            <a:avLst/>
          </a:prstGeom>
          <a:noFill/>
        </p:spPr>
        <p:txBody>
          <a:bodyPr wrap="none" rtlCol="0">
            <a:spAutoFit/>
          </a:bodyPr>
          <a:lstStyle/>
          <a:p>
            <a:r>
              <a:rPr lang="en-US" sz="900" b="1" dirty="0"/>
              <a:t>800 </a:t>
            </a:r>
            <a:r>
              <a:rPr lang="en-US" sz="900" b="1" dirty="0" err="1"/>
              <a:t>Gbps</a:t>
            </a:r>
            <a:endParaRPr lang="en-US" sz="900" b="1" dirty="0"/>
          </a:p>
        </p:txBody>
      </p:sp>
      <p:sp>
        <p:nvSpPr>
          <p:cNvPr id="160" name="TextBox 159"/>
          <p:cNvSpPr txBox="1"/>
          <p:nvPr/>
        </p:nvSpPr>
        <p:spPr>
          <a:xfrm>
            <a:off x="1651424" y="1985800"/>
            <a:ext cx="652743" cy="230832"/>
          </a:xfrm>
          <a:prstGeom prst="rect">
            <a:avLst/>
          </a:prstGeom>
          <a:noFill/>
        </p:spPr>
        <p:txBody>
          <a:bodyPr wrap="none" rtlCol="0">
            <a:spAutoFit/>
          </a:bodyPr>
          <a:lstStyle/>
          <a:p>
            <a:r>
              <a:rPr lang="en-US" sz="900" b="1" dirty="0"/>
              <a:t>4.8 </a:t>
            </a:r>
            <a:r>
              <a:rPr lang="en-US" sz="900" b="1" dirty="0" err="1"/>
              <a:t>Tbps</a:t>
            </a:r>
            <a:endParaRPr lang="en-US" sz="900" b="1" dirty="0"/>
          </a:p>
        </p:txBody>
      </p:sp>
      <p:sp>
        <p:nvSpPr>
          <p:cNvPr id="161" name="TextBox 160"/>
          <p:cNvSpPr txBox="1"/>
          <p:nvPr/>
        </p:nvSpPr>
        <p:spPr>
          <a:xfrm>
            <a:off x="1660340" y="2435855"/>
            <a:ext cx="652743" cy="230832"/>
          </a:xfrm>
          <a:prstGeom prst="rect">
            <a:avLst/>
          </a:prstGeom>
          <a:noFill/>
        </p:spPr>
        <p:txBody>
          <a:bodyPr wrap="none" rtlCol="0">
            <a:spAutoFit/>
          </a:bodyPr>
          <a:lstStyle/>
          <a:p>
            <a:r>
              <a:rPr lang="en-US" sz="900" b="1" dirty="0"/>
              <a:t>3.6 </a:t>
            </a:r>
            <a:r>
              <a:rPr lang="en-US" sz="900" b="1" dirty="0" err="1"/>
              <a:t>Tbps</a:t>
            </a:r>
            <a:endParaRPr lang="en-US" sz="900" b="1" dirty="0"/>
          </a:p>
        </p:txBody>
      </p:sp>
      <p:sp>
        <p:nvSpPr>
          <p:cNvPr id="162" name="TextBox 161"/>
          <p:cNvSpPr txBox="1"/>
          <p:nvPr/>
        </p:nvSpPr>
        <p:spPr>
          <a:xfrm>
            <a:off x="1634842" y="2862233"/>
            <a:ext cx="652743" cy="230832"/>
          </a:xfrm>
          <a:prstGeom prst="rect">
            <a:avLst/>
          </a:prstGeom>
          <a:noFill/>
        </p:spPr>
        <p:txBody>
          <a:bodyPr wrap="none" rtlCol="0">
            <a:spAutoFit/>
          </a:bodyPr>
          <a:lstStyle/>
          <a:p>
            <a:r>
              <a:rPr lang="en-US" sz="900" b="1" dirty="0"/>
              <a:t>1.8 </a:t>
            </a:r>
            <a:r>
              <a:rPr lang="en-US" sz="900" b="1" dirty="0" err="1"/>
              <a:t>Tbps</a:t>
            </a:r>
            <a:endParaRPr lang="en-US" sz="900" b="1" dirty="0"/>
          </a:p>
        </p:txBody>
      </p:sp>
      <p:sp>
        <p:nvSpPr>
          <p:cNvPr id="163" name="TextBox 162"/>
          <p:cNvSpPr txBox="1"/>
          <p:nvPr/>
        </p:nvSpPr>
        <p:spPr>
          <a:xfrm>
            <a:off x="1659562" y="3367232"/>
            <a:ext cx="652743" cy="230832"/>
          </a:xfrm>
          <a:prstGeom prst="rect">
            <a:avLst/>
          </a:prstGeom>
          <a:noFill/>
        </p:spPr>
        <p:txBody>
          <a:bodyPr wrap="none" rtlCol="0">
            <a:spAutoFit/>
          </a:bodyPr>
          <a:lstStyle/>
          <a:p>
            <a:r>
              <a:rPr lang="en-US" sz="900" b="1" dirty="0"/>
              <a:t>1.8 </a:t>
            </a:r>
            <a:r>
              <a:rPr lang="en-US" sz="900" b="1" dirty="0" err="1"/>
              <a:t>Tbps</a:t>
            </a:r>
            <a:endParaRPr lang="en-US" sz="900" b="1" dirty="0"/>
          </a:p>
        </p:txBody>
      </p:sp>
      <p:sp>
        <p:nvSpPr>
          <p:cNvPr id="164" name="TextBox 163"/>
          <p:cNvSpPr txBox="1"/>
          <p:nvPr/>
        </p:nvSpPr>
        <p:spPr>
          <a:xfrm>
            <a:off x="1659016" y="3918995"/>
            <a:ext cx="704039" cy="230832"/>
          </a:xfrm>
          <a:prstGeom prst="rect">
            <a:avLst/>
          </a:prstGeom>
          <a:noFill/>
        </p:spPr>
        <p:txBody>
          <a:bodyPr wrap="none" rtlCol="0">
            <a:spAutoFit/>
          </a:bodyPr>
          <a:lstStyle/>
          <a:p>
            <a:r>
              <a:rPr lang="en-US" sz="900" b="1" dirty="0"/>
              <a:t>900 </a:t>
            </a:r>
            <a:r>
              <a:rPr lang="en-US" sz="900" b="1" dirty="0" err="1"/>
              <a:t>Gbps</a:t>
            </a:r>
            <a:endParaRPr lang="en-US" sz="900" b="1" dirty="0"/>
          </a:p>
        </p:txBody>
      </p:sp>
      <p:sp>
        <p:nvSpPr>
          <p:cNvPr id="165" name="TextBox 164"/>
          <p:cNvSpPr txBox="1"/>
          <p:nvPr/>
        </p:nvSpPr>
        <p:spPr>
          <a:xfrm>
            <a:off x="3269200" y="1104028"/>
            <a:ext cx="790601" cy="215444"/>
          </a:xfrm>
          <a:prstGeom prst="rect">
            <a:avLst/>
          </a:prstGeom>
          <a:noFill/>
        </p:spPr>
        <p:txBody>
          <a:bodyPr wrap="none" rtlCol="0">
            <a:spAutoFit/>
          </a:bodyPr>
          <a:lstStyle/>
          <a:p>
            <a:r>
              <a:rPr lang="en-US" sz="800" b="1" dirty="0"/>
              <a:t>Port Density</a:t>
            </a:r>
          </a:p>
        </p:txBody>
      </p:sp>
      <p:sp>
        <p:nvSpPr>
          <p:cNvPr id="166" name="TextBox 165"/>
          <p:cNvSpPr txBox="1"/>
          <p:nvPr/>
        </p:nvSpPr>
        <p:spPr>
          <a:xfrm>
            <a:off x="2615536" y="1512091"/>
            <a:ext cx="1516762" cy="477054"/>
          </a:xfrm>
          <a:prstGeom prst="rect">
            <a:avLst/>
          </a:prstGeom>
          <a:noFill/>
        </p:spPr>
        <p:txBody>
          <a:bodyPr wrap="none" rtlCol="0">
            <a:spAutoFit/>
          </a:bodyPr>
          <a:lstStyle/>
          <a:p>
            <a:r>
              <a:rPr lang="fr-FR" sz="800" b="1" dirty="0"/>
              <a:t>Base: 48x 1/10G + 6x 100G</a:t>
            </a:r>
            <a:br>
              <a:rPr lang="fr-FR" sz="800" b="1" dirty="0"/>
            </a:br>
            <a:r>
              <a:rPr lang="fr-FR" sz="800" b="1" dirty="0" err="1"/>
              <a:t>Scale</a:t>
            </a:r>
            <a:r>
              <a:rPr lang="fr-FR" sz="800" b="1" dirty="0"/>
              <a:t>: 40x 1/10G + 4x 100G</a:t>
            </a:r>
            <a:endParaRPr lang="fr-FR" sz="800" b="1" dirty="0">
              <a:solidFill>
                <a:srgbClr val="000000"/>
              </a:solidFill>
              <a:latin typeface="Calibri" charset="0"/>
            </a:endParaRPr>
          </a:p>
          <a:p>
            <a:endParaRPr lang="en-US" sz="900" b="1" dirty="0"/>
          </a:p>
        </p:txBody>
      </p:sp>
      <p:sp>
        <p:nvSpPr>
          <p:cNvPr id="167" name="TextBox 166"/>
          <p:cNvSpPr txBox="1"/>
          <p:nvPr/>
        </p:nvSpPr>
        <p:spPr>
          <a:xfrm>
            <a:off x="2631686" y="1958176"/>
            <a:ext cx="1311578" cy="353943"/>
          </a:xfrm>
          <a:prstGeom prst="rect">
            <a:avLst/>
          </a:prstGeom>
          <a:noFill/>
        </p:spPr>
        <p:txBody>
          <a:bodyPr wrap="none" rtlCol="0">
            <a:spAutoFit/>
          </a:bodyPr>
          <a:lstStyle/>
          <a:p>
            <a:pPr fontAlgn="b"/>
            <a:r>
              <a:rPr lang="en-US" sz="800" b="1" dirty="0"/>
              <a:t>48 x QSFP28 or QSFP+</a:t>
            </a:r>
            <a:endParaRPr lang="en-US" sz="800" b="1" dirty="0">
              <a:solidFill>
                <a:srgbClr val="000000"/>
              </a:solidFill>
              <a:latin typeface="Calibri" charset="0"/>
            </a:endParaRPr>
          </a:p>
          <a:p>
            <a:endParaRPr lang="en-US" sz="900" b="1" dirty="0"/>
          </a:p>
        </p:txBody>
      </p:sp>
      <p:sp>
        <p:nvSpPr>
          <p:cNvPr id="168" name="TextBox 167"/>
          <p:cNvSpPr txBox="1"/>
          <p:nvPr/>
        </p:nvSpPr>
        <p:spPr>
          <a:xfrm>
            <a:off x="2644262" y="2432323"/>
            <a:ext cx="1340432" cy="353943"/>
          </a:xfrm>
          <a:prstGeom prst="rect">
            <a:avLst/>
          </a:prstGeom>
          <a:noFill/>
        </p:spPr>
        <p:txBody>
          <a:bodyPr wrap="none" rtlCol="0">
            <a:spAutoFit/>
          </a:bodyPr>
          <a:lstStyle/>
          <a:p>
            <a:pPr fontAlgn="b"/>
            <a:r>
              <a:rPr lang="en-US" sz="800" b="1" dirty="0"/>
              <a:t>36 x QSFP28 or QSFP+ </a:t>
            </a:r>
            <a:endParaRPr lang="en-US" sz="800" b="1" dirty="0">
              <a:solidFill>
                <a:srgbClr val="000000"/>
              </a:solidFill>
              <a:latin typeface="Calibri" charset="0"/>
            </a:endParaRPr>
          </a:p>
          <a:p>
            <a:endParaRPr lang="en-US" sz="900" b="1" dirty="0"/>
          </a:p>
        </p:txBody>
      </p:sp>
      <p:sp>
        <p:nvSpPr>
          <p:cNvPr id="169" name="TextBox 168"/>
          <p:cNvSpPr txBox="1"/>
          <p:nvPr/>
        </p:nvSpPr>
        <p:spPr>
          <a:xfrm>
            <a:off x="2635567" y="2855803"/>
            <a:ext cx="840295" cy="353943"/>
          </a:xfrm>
          <a:prstGeom prst="rect">
            <a:avLst/>
          </a:prstGeom>
          <a:noFill/>
        </p:spPr>
        <p:txBody>
          <a:bodyPr wrap="none" rtlCol="0">
            <a:spAutoFit/>
          </a:bodyPr>
          <a:lstStyle/>
          <a:p>
            <a:pPr fontAlgn="b"/>
            <a:r>
              <a:rPr lang="fr-FR" sz="800" b="1" dirty="0"/>
              <a:t>24 x QSFP28 </a:t>
            </a:r>
            <a:endParaRPr lang="fr-FR" sz="800" b="1" dirty="0">
              <a:solidFill>
                <a:srgbClr val="000000"/>
              </a:solidFill>
              <a:latin typeface="Calibri" charset="0"/>
            </a:endParaRPr>
          </a:p>
          <a:p>
            <a:endParaRPr lang="en-US" sz="900" b="1" dirty="0"/>
          </a:p>
        </p:txBody>
      </p:sp>
      <p:sp>
        <p:nvSpPr>
          <p:cNvPr id="170" name="TextBox 169"/>
          <p:cNvSpPr txBox="1"/>
          <p:nvPr/>
        </p:nvSpPr>
        <p:spPr>
          <a:xfrm>
            <a:off x="2654404" y="3323948"/>
            <a:ext cx="1330814" cy="353943"/>
          </a:xfrm>
          <a:prstGeom prst="rect">
            <a:avLst/>
          </a:prstGeom>
          <a:noFill/>
        </p:spPr>
        <p:txBody>
          <a:bodyPr wrap="none" rtlCol="0">
            <a:spAutoFit/>
          </a:bodyPr>
          <a:lstStyle/>
          <a:p>
            <a:pPr fontAlgn="b"/>
            <a:r>
              <a:rPr lang="fr-FR" sz="800" b="1" dirty="0"/>
              <a:t>48 x SFP28 + 6 QSFP28</a:t>
            </a:r>
            <a:endParaRPr lang="fr-FR" sz="800" b="1" dirty="0">
              <a:solidFill>
                <a:srgbClr val="000000"/>
              </a:solidFill>
              <a:latin typeface="Calibri" charset="0"/>
            </a:endParaRPr>
          </a:p>
          <a:p>
            <a:endParaRPr lang="en-US" sz="900" b="1" dirty="0"/>
          </a:p>
        </p:txBody>
      </p:sp>
      <p:sp>
        <p:nvSpPr>
          <p:cNvPr id="171" name="TextBox 170"/>
          <p:cNvSpPr txBox="1"/>
          <p:nvPr/>
        </p:nvSpPr>
        <p:spPr>
          <a:xfrm>
            <a:off x="2338057" y="3742686"/>
            <a:ext cx="2451312" cy="1077218"/>
          </a:xfrm>
          <a:prstGeom prst="rect">
            <a:avLst/>
          </a:prstGeom>
          <a:noFill/>
        </p:spPr>
        <p:txBody>
          <a:bodyPr wrap="none" rtlCol="0">
            <a:spAutoFit/>
          </a:bodyPr>
          <a:lstStyle/>
          <a:p>
            <a:pPr marL="171442" defTabSz="457189">
              <a:defRPr/>
            </a:pPr>
            <a:r>
              <a:rPr lang="en-US" sz="800" b="1" dirty="0"/>
              <a:t>Fixed Ports: 24 x 1/10G &amp; 16 x 1/10/25G</a:t>
            </a:r>
            <a:br>
              <a:rPr lang="en-US" sz="800" b="1" dirty="0"/>
            </a:br>
            <a:r>
              <a:rPr lang="en-US" sz="800" b="1" dirty="0"/>
              <a:t>2 x MPAs of 400 </a:t>
            </a:r>
            <a:r>
              <a:rPr lang="en-US" sz="800" b="1" dirty="0" err="1"/>
              <a:t>Gbps</a:t>
            </a:r>
            <a:r>
              <a:rPr lang="en-US" sz="800" b="1" dirty="0"/>
              <a:t> each:</a:t>
            </a:r>
          </a:p>
          <a:p>
            <a:pPr marL="342887" indent="-171446" defTabSz="457189">
              <a:buFont typeface="Arial" panose="020B0604020202020204" pitchFamily="34" charset="0"/>
              <a:buChar char="•"/>
              <a:defRPr/>
            </a:pPr>
            <a:r>
              <a:rPr lang="en-US" sz="800" b="1" dirty="0"/>
              <a:t>2x 100/200G CFP2 DCO DWDM</a:t>
            </a:r>
          </a:p>
          <a:p>
            <a:pPr marL="342884" indent="-171442" defTabSz="457189">
              <a:buFont typeface="Arial" panose="020B0604020202020204" pitchFamily="34" charset="0"/>
              <a:buChar char="•"/>
              <a:defRPr/>
            </a:pPr>
            <a:r>
              <a:rPr lang="en-US" sz="800" b="1" dirty="0"/>
              <a:t>1x 100/200G DCO + 2x 100G QSFP28</a:t>
            </a:r>
          </a:p>
          <a:p>
            <a:pPr marL="342884" indent="-171442" defTabSz="457189">
              <a:buFont typeface="Arial" panose="020B0604020202020204" pitchFamily="34" charset="0"/>
              <a:buChar char="•"/>
              <a:defRPr/>
            </a:pPr>
            <a:r>
              <a:rPr lang="en-US" sz="800" b="1" dirty="0"/>
              <a:t>12x 10GE w/ WANPHY, OTN</a:t>
            </a:r>
          </a:p>
          <a:p>
            <a:pPr marL="342884" indent="-171442" defTabSz="457189">
              <a:buFont typeface="Arial" panose="020B0604020202020204" pitchFamily="34" charset="0"/>
              <a:buChar char="•"/>
              <a:defRPr/>
            </a:pPr>
            <a:r>
              <a:rPr lang="en-US" sz="800" b="1" dirty="0"/>
              <a:t>4X100G QSFP28</a:t>
            </a:r>
          </a:p>
          <a:p>
            <a:pPr marL="342884" indent="-171442" defTabSz="457189">
              <a:buFont typeface="Arial" panose="020B0604020202020204" pitchFamily="34" charset="0"/>
              <a:buChar char="•"/>
              <a:defRPr/>
            </a:pPr>
            <a:r>
              <a:rPr lang="en-US" sz="800" b="1" dirty="0"/>
              <a:t>4X100G QSFP28 temperature hardened</a:t>
            </a:r>
          </a:p>
          <a:p>
            <a:endParaRPr lang="en-US" sz="800" b="1" dirty="0"/>
          </a:p>
        </p:txBody>
      </p:sp>
      <p:sp>
        <p:nvSpPr>
          <p:cNvPr id="172" name="TextBox 171"/>
          <p:cNvSpPr txBox="1"/>
          <p:nvPr/>
        </p:nvSpPr>
        <p:spPr>
          <a:xfrm>
            <a:off x="5621059" y="1104758"/>
            <a:ext cx="412292" cy="215444"/>
          </a:xfrm>
          <a:prstGeom prst="rect">
            <a:avLst/>
          </a:prstGeom>
          <a:noFill/>
        </p:spPr>
        <p:txBody>
          <a:bodyPr wrap="none" rtlCol="0">
            <a:spAutoFit/>
          </a:bodyPr>
          <a:lstStyle/>
          <a:p>
            <a:r>
              <a:rPr lang="en-US" sz="800" b="1"/>
              <a:t>Chip</a:t>
            </a:r>
            <a:endParaRPr lang="en-US" sz="800" b="1" dirty="0"/>
          </a:p>
        </p:txBody>
      </p:sp>
      <p:sp>
        <p:nvSpPr>
          <p:cNvPr id="173" name="TextBox 172"/>
          <p:cNvSpPr txBox="1"/>
          <p:nvPr/>
        </p:nvSpPr>
        <p:spPr>
          <a:xfrm>
            <a:off x="5457851" y="1574800"/>
            <a:ext cx="832279" cy="230832"/>
          </a:xfrm>
          <a:prstGeom prst="rect">
            <a:avLst/>
          </a:prstGeom>
          <a:noFill/>
        </p:spPr>
        <p:txBody>
          <a:bodyPr wrap="none" rtlCol="0">
            <a:spAutoFit/>
          </a:bodyPr>
          <a:lstStyle/>
          <a:p>
            <a:r>
              <a:rPr lang="en-US" sz="900" b="1" dirty="0"/>
              <a:t>Qumran MX</a:t>
            </a:r>
          </a:p>
        </p:txBody>
      </p:sp>
      <p:sp>
        <p:nvSpPr>
          <p:cNvPr id="174" name="TextBox 173"/>
          <p:cNvSpPr txBox="1"/>
          <p:nvPr/>
        </p:nvSpPr>
        <p:spPr>
          <a:xfrm>
            <a:off x="5481166" y="1990370"/>
            <a:ext cx="595035" cy="230832"/>
          </a:xfrm>
          <a:prstGeom prst="rect">
            <a:avLst/>
          </a:prstGeom>
          <a:noFill/>
        </p:spPr>
        <p:txBody>
          <a:bodyPr wrap="none" rtlCol="0">
            <a:spAutoFit/>
          </a:bodyPr>
          <a:lstStyle/>
          <a:p>
            <a:r>
              <a:rPr lang="en-US" sz="900" b="1" dirty="0"/>
              <a:t>Jericho</a:t>
            </a:r>
          </a:p>
        </p:txBody>
      </p:sp>
      <p:sp>
        <p:nvSpPr>
          <p:cNvPr id="175" name="TextBox 174"/>
          <p:cNvSpPr txBox="1"/>
          <p:nvPr/>
        </p:nvSpPr>
        <p:spPr>
          <a:xfrm>
            <a:off x="5491029" y="2429177"/>
            <a:ext cx="662361" cy="230832"/>
          </a:xfrm>
          <a:prstGeom prst="rect">
            <a:avLst/>
          </a:prstGeom>
          <a:noFill/>
        </p:spPr>
        <p:txBody>
          <a:bodyPr wrap="none" rtlCol="0">
            <a:spAutoFit/>
          </a:bodyPr>
          <a:lstStyle/>
          <a:p>
            <a:r>
              <a:rPr lang="en-US" sz="900" b="1" dirty="0"/>
              <a:t>Jericho+</a:t>
            </a:r>
          </a:p>
        </p:txBody>
      </p:sp>
      <p:sp>
        <p:nvSpPr>
          <p:cNvPr id="176" name="TextBox 175"/>
          <p:cNvSpPr txBox="1"/>
          <p:nvPr/>
        </p:nvSpPr>
        <p:spPr>
          <a:xfrm>
            <a:off x="5491028" y="2873123"/>
            <a:ext cx="662361" cy="230832"/>
          </a:xfrm>
          <a:prstGeom prst="rect">
            <a:avLst/>
          </a:prstGeom>
          <a:noFill/>
        </p:spPr>
        <p:txBody>
          <a:bodyPr wrap="none" rtlCol="0">
            <a:spAutoFit/>
          </a:bodyPr>
          <a:lstStyle/>
          <a:p>
            <a:r>
              <a:rPr lang="en-US" sz="900" b="1" dirty="0"/>
              <a:t>Jericho+</a:t>
            </a:r>
          </a:p>
        </p:txBody>
      </p:sp>
      <p:sp>
        <p:nvSpPr>
          <p:cNvPr id="177" name="TextBox 176"/>
          <p:cNvSpPr txBox="1"/>
          <p:nvPr/>
        </p:nvSpPr>
        <p:spPr>
          <a:xfrm>
            <a:off x="5495137" y="3347522"/>
            <a:ext cx="662361" cy="230832"/>
          </a:xfrm>
          <a:prstGeom prst="rect">
            <a:avLst/>
          </a:prstGeom>
          <a:noFill/>
        </p:spPr>
        <p:txBody>
          <a:bodyPr wrap="none" rtlCol="0">
            <a:spAutoFit/>
          </a:bodyPr>
          <a:lstStyle/>
          <a:p>
            <a:r>
              <a:rPr lang="en-US" sz="900" b="1" dirty="0"/>
              <a:t>Jericho+</a:t>
            </a:r>
          </a:p>
        </p:txBody>
      </p:sp>
      <p:sp>
        <p:nvSpPr>
          <p:cNvPr id="178" name="TextBox 177"/>
          <p:cNvSpPr txBox="1"/>
          <p:nvPr/>
        </p:nvSpPr>
        <p:spPr>
          <a:xfrm>
            <a:off x="5481166" y="4026236"/>
            <a:ext cx="662361" cy="230832"/>
          </a:xfrm>
          <a:prstGeom prst="rect">
            <a:avLst/>
          </a:prstGeom>
          <a:noFill/>
        </p:spPr>
        <p:txBody>
          <a:bodyPr wrap="none" rtlCol="0">
            <a:spAutoFit/>
          </a:bodyPr>
          <a:lstStyle/>
          <a:p>
            <a:r>
              <a:rPr lang="en-US" sz="900" b="1" dirty="0"/>
              <a:t>Jericho+</a:t>
            </a:r>
          </a:p>
        </p:txBody>
      </p:sp>
      <p:sp>
        <p:nvSpPr>
          <p:cNvPr id="179" name="TextBox 178"/>
          <p:cNvSpPr txBox="1"/>
          <p:nvPr/>
        </p:nvSpPr>
        <p:spPr>
          <a:xfrm>
            <a:off x="6127741" y="1098428"/>
            <a:ext cx="590226" cy="215444"/>
          </a:xfrm>
          <a:prstGeom prst="rect">
            <a:avLst/>
          </a:prstGeom>
          <a:noFill/>
        </p:spPr>
        <p:txBody>
          <a:bodyPr wrap="none" rtlCol="0">
            <a:spAutoFit/>
          </a:bodyPr>
          <a:lstStyle/>
          <a:p>
            <a:r>
              <a:rPr lang="en-US" sz="800" b="1" dirty="0" err="1"/>
              <a:t>MACsec</a:t>
            </a:r>
            <a:endParaRPr lang="en-US" sz="800" b="1" dirty="0"/>
          </a:p>
        </p:txBody>
      </p:sp>
      <p:sp>
        <p:nvSpPr>
          <p:cNvPr id="180" name="TextBox 179"/>
          <p:cNvSpPr txBox="1"/>
          <p:nvPr/>
        </p:nvSpPr>
        <p:spPr>
          <a:xfrm>
            <a:off x="6243670" y="1573202"/>
            <a:ext cx="268022" cy="230832"/>
          </a:xfrm>
          <a:prstGeom prst="rect">
            <a:avLst/>
          </a:prstGeom>
          <a:noFill/>
        </p:spPr>
        <p:txBody>
          <a:bodyPr wrap="none" rtlCol="0">
            <a:spAutoFit/>
          </a:bodyPr>
          <a:lstStyle/>
          <a:p>
            <a:r>
              <a:rPr lang="en-US" sz="900" b="1" dirty="0"/>
              <a:t>N</a:t>
            </a:r>
          </a:p>
        </p:txBody>
      </p:sp>
      <p:sp>
        <p:nvSpPr>
          <p:cNvPr id="181" name="TextBox 180"/>
          <p:cNvSpPr txBox="1"/>
          <p:nvPr/>
        </p:nvSpPr>
        <p:spPr>
          <a:xfrm>
            <a:off x="6266985" y="1988773"/>
            <a:ext cx="268022" cy="230832"/>
          </a:xfrm>
          <a:prstGeom prst="rect">
            <a:avLst/>
          </a:prstGeom>
          <a:noFill/>
        </p:spPr>
        <p:txBody>
          <a:bodyPr wrap="none" rtlCol="0">
            <a:spAutoFit/>
          </a:bodyPr>
          <a:lstStyle/>
          <a:p>
            <a:r>
              <a:rPr lang="en-US" sz="900" b="1" dirty="0"/>
              <a:t>N</a:t>
            </a:r>
          </a:p>
        </p:txBody>
      </p:sp>
      <p:sp>
        <p:nvSpPr>
          <p:cNvPr id="182" name="TextBox 181"/>
          <p:cNvSpPr txBox="1"/>
          <p:nvPr/>
        </p:nvSpPr>
        <p:spPr>
          <a:xfrm>
            <a:off x="6276848" y="2427578"/>
            <a:ext cx="261610" cy="230832"/>
          </a:xfrm>
          <a:prstGeom prst="rect">
            <a:avLst/>
          </a:prstGeom>
          <a:noFill/>
        </p:spPr>
        <p:txBody>
          <a:bodyPr wrap="none" rtlCol="0">
            <a:spAutoFit/>
          </a:bodyPr>
          <a:lstStyle/>
          <a:p>
            <a:r>
              <a:rPr lang="en-US" sz="900" b="1" dirty="0"/>
              <a:t>Y</a:t>
            </a:r>
          </a:p>
        </p:txBody>
      </p:sp>
      <p:sp>
        <p:nvSpPr>
          <p:cNvPr id="183" name="TextBox 182"/>
          <p:cNvSpPr txBox="1"/>
          <p:nvPr/>
        </p:nvSpPr>
        <p:spPr>
          <a:xfrm>
            <a:off x="6276847" y="2871526"/>
            <a:ext cx="268022" cy="230832"/>
          </a:xfrm>
          <a:prstGeom prst="rect">
            <a:avLst/>
          </a:prstGeom>
          <a:noFill/>
        </p:spPr>
        <p:txBody>
          <a:bodyPr wrap="none" rtlCol="0">
            <a:spAutoFit/>
          </a:bodyPr>
          <a:lstStyle/>
          <a:p>
            <a:r>
              <a:rPr lang="en-US" sz="900" b="1" dirty="0"/>
              <a:t>N</a:t>
            </a:r>
          </a:p>
        </p:txBody>
      </p:sp>
      <p:sp>
        <p:nvSpPr>
          <p:cNvPr id="184" name="TextBox 183"/>
          <p:cNvSpPr txBox="1"/>
          <p:nvPr/>
        </p:nvSpPr>
        <p:spPr>
          <a:xfrm>
            <a:off x="6160627" y="3360704"/>
            <a:ext cx="620683" cy="230832"/>
          </a:xfrm>
          <a:prstGeom prst="rect">
            <a:avLst/>
          </a:prstGeom>
          <a:noFill/>
        </p:spPr>
        <p:txBody>
          <a:bodyPr wrap="none" rtlCol="0">
            <a:spAutoFit/>
          </a:bodyPr>
          <a:lstStyle/>
          <a:p>
            <a:r>
              <a:rPr lang="en-US" sz="900" b="1"/>
              <a:t>Y(100G)</a:t>
            </a:r>
            <a:endParaRPr lang="en-US" sz="900" b="1" dirty="0"/>
          </a:p>
        </p:txBody>
      </p:sp>
      <p:sp>
        <p:nvSpPr>
          <p:cNvPr id="185" name="TextBox 184"/>
          <p:cNvSpPr txBox="1"/>
          <p:nvPr/>
        </p:nvSpPr>
        <p:spPr>
          <a:xfrm>
            <a:off x="6266985" y="4024639"/>
            <a:ext cx="261610" cy="230832"/>
          </a:xfrm>
          <a:prstGeom prst="rect">
            <a:avLst/>
          </a:prstGeom>
          <a:noFill/>
        </p:spPr>
        <p:txBody>
          <a:bodyPr wrap="none" rtlCol="0">
            <a:spAutoFit/>
          </a:bodyPr>
          <a:lstStyle/>
          <a:p>
            <a:r>
              <a:rPr lang="en-US" sz="900" b="1" dirty="0"/>
              <a:t>Y</a:t>
            </a:r>
          </a:p>
        </p:txBody>
      </p:sp>
      <p:sp>
        <p:nvSpPr>
          <p:cNvPr id="186" name="TextBox 185"/>
          <p:cNvSpPr txBox="1"/>
          <p:nvPr/>
        </p:nvSpPr>
        <p:spPr>
          <a:xfrm>
            <a:off x="6695258" y="1098428"/>
            <a:ext cx="513282" cy="215444"/>
          </a:xfrm>
          <a:prstGeom prst="rect">
            <a:avLst/>
          </a:prstGeom>
          <a:noFill/>
        </p:spPr>
        <p:txBody>
          <a:bodyPr wrap="none" rtlCol="0">
            <a:spAutoFit/>
          </a:bodyPr>
          <a:lstStyle/>
          <a:p>
            <a:r>
              <a:rPr lang="en-US" sz="800" b="1" dirty="0"/>
              <a:t>DWDM</a:t>
            </a:r>
          </a:p>
        </p:txBody>
      </p:sp>
      <p:sp>
        <p:nvSpPr>
          <p:cNvPr id="187" name="TextBox 186"/>
          <p:cNvSpPr txBox="1"/>
          <p:nvPr/>
        </p:nvSpPr>
        <p:spPr>
          <a:xfrm>
            <a:off x="6685029" y="1554337"/>
            <a:ext cx="713657" cy="215444"/>
          </a:xfrm>
          <a:prstGeom prst="rect">
            <a:avLst/>
          </a:prstGeom>
          <a:noFill/>
        </p:spPr>
        <p:txBody>
          <a:bodyPr wrap="none" rtlCol="0">
            <a:spAutoFit/>
          </a:bodyPr>
          <a:lstStyle/>
          <a:p>
            <a:r>
              <a:rPr lang="en-US" sz="800" b="1"/>
              <a:t>Scale Only</a:t>
            </a:r>
            <a:endParaRPr lang="en-US" sz="800" b="1" dirty="0"/>
          </a:p>
        </p:txBody>
      </p:sp>
      <p:sp>
        <p:nvSpPr>
          <p:cNvPr id="188" name="TextBox 187"/>
          <p:cNvSpPr txBox="1"/>
          <p:nvPr/>
        </p:nvSpPr>
        <p:spPr>
          <a:xfrm>
            <a:off x="6820291" y="1995584"/>
            <a:ext cx="268022" cy="230832"/>
          </a:xfrm>
          <a:prstGeom prst="rect">
            <a:avLst/>
          </a:prstGeom>
          <a:noFill/>
        </p:spPr>
        <p:txBody>
          <a:bodyPr wrap="none" rtlCol="0">
            <a:spAutoFit/>
          </a:bodyPr>
          <a:lstStyle/>
          <a:p>
            <a:r>
              <a:rPr lang="en-US" sz="900" b="1" dirty="0"/>
              <a:t>N</a:t>
            </a:r>
          </a:p>
        </p:txBody>
      </p:sp>
      <p:sp>
        <p:nvSpPr>
          <p:cNvPr id="189" name="TextBox 188"/>
          <p:cNvSpPr txBox="1"/>
          <p:nvPr/>
        </p:nvSpPr>
        <p:spPr>
          <a:xfrm>
            <a:off x="6830154" y="2434391"/>
            <a:ext cx="268022" cy="230832"/>
          </a:xfrm>
          <a:prstGeom prst="rect">
            <a:avLst/>
          </a:prstGeom>
          <a:noFill/>
        </p:spPr>
        <p:txBody>
          <a:bodyPr wrap="none" rtlCol="0">
            <a:spAutoFit/>
          </a:bodyPr>
          <a:lstStyle/>
          <a:p>
            <a:r>
              <a:rPr lang="en-US" sz="900" b="1" dirty="0"/>
              <a:t>N</a:t>
            </a:r>
          </a:p>
        </p:txBody>
      </p:sp>
      <p:sp>
        <p:nvSpPr>
          <p:cNvPr id="190" name="TextBox 189"/>
          <p:cNvSpPr txBox="1"/>
          <p:nvPr/>
        </p:nvSpPr>
        <p:spPr>
          <a:xfrm>
            <a:off x="6830153" y="2878337"/>
            <a:ext cx="268022" cy="230832"/>
          </a:xfrm>
          <a:prstGeom prst="rect">
            <a:avLst/>
          </a:prstGeom>
          <a:noFill/>
        </p:spPr>
        <p:txBody>
          <a:bodyPr wrap="none" rtlCol="0">
            <a:spAutoFit/>
          </a:bodyPr>
          <a:lstStyle/>
          <a:p>
            <a:r>
              <a:rPr lang="en-US" sz="900" b="1" dirty="0"/>
              <a:t>N</a:t>
            </a:r>
          </a:p>
        </p:txBody>
      </p:sp>
      <p:sp>
        <p:nvSpPr>
          <p:cNvPr id="191" name="TextBox 190"/>
          <p:cNvSpPr txBox="1"/>
          <p:nvPr/>
        </p:nvSpPr>
        <p:spPr>
          <a:xfrm>
            <a:off x="6837123" y="3369769"/>
            <a:ext cx="268022" cy="230832"/>
          </a:xfrm>
          <a:prstGeom prst="rect">
            <a:avLst/>
          </a:prstGeom>
          <a:noFill/>
        </p:spPr>
        <p:txBody>
          <a:bodyPr wrap="none" rtlCol="0">
            <a:spAutoFit/>
          </a:bodyPr>
          <a:lstStyle/>
          <a:p>
            <a:r>
              <a:rPr lang="en-US" sz="900" b="1" dirty="0"/>
              <a:t>N</a:t>
            </a:r>
          </a:p>
        </p:txBody>
      </p:sp>
      <p:sp>
        <p:nvSpPr>
          <p:cNvPr id="192" name="TextBox 191"/>
          <p:cNvSpPr txBox="1"/>
          <p:nvPr/>
        </p:nvSpPr>
        <p:spPr>
          <a:xfrm>
            <a:off x="6820291" y="4031450"/>
            <a:ext cx="261610" cy="230832"/>
          </a:xfrm>
          <a:prstGeom prst="rect">
            <a:avLst/>
          </a:prstGeom>
          <a:noFill/>
        </p:spPr>
        <p:txBody>
          <a:bodyPr wrap="none" rtlCol="0">
            <a:spAutoFit/>
          </a:bodyPr>
          <a:lstStyle/>
          <a:p>
            <a:r>
              <a:rPr lang="en-US" sz="900" b="1" dirty="0"/>
              <a:t>Y</a:t>
            </a:r>
          </a:p>
        </p:txBody>
      </p:sp>
      <p:sp>
        <p:nvSpPr>
          <p:cNvPr id="193" name="Rounded Rectangle 192"/>
          <p:cNvSpPr/>
          <p:nvPr/>
        </p:nvSpPr>
        <p:spPr>
          <a:xfrm>
            <a:off x="7342134" y="1447924"/>
            <a:ext cx="485362" cy="3227274"/>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94" name="TextBox 193"/>
          <p:cNvSpPr txBox="1"/>
          <p:nvPr/>
        </p:nvSpPr>
        <p:spPr>
          <a:xfrm>
            <a:off x="7272258" y="1091101"/>
            <a:ext cx="668773" cy="338554"/>
          </a:xfrm>
          <a:prstGeom prst="rect">
            <a:avLst/>
          </a:prstGeom>
          <a:noFill/>
        </p:spPr>
        <p:txBody>
          <a:bodyPr wrap="none" rtlCol="0">
            <a:spAutoFit/>
          </a:bodyPr>
          <a:lstStyle/>
          <a:p>
            <a:r>
              <a:rPr lang="en-US" sz="800" b="1" dirty="0"/>
              <a:t>OTN/ </a:t>
            </a:r>
          </a:p>
          <a:p>
            <a:r>
              <a:rPr lang="en-US" sz="800" b="1" dirty="0"/>
              <a:t>WAN PHY</a:t>
            </a:r>
          </a:p>
        </p:txBody>
      </p:sp>
      <p:sp>
        <p:nvSpPr>
          <p:cNvPr id="195" name="TextBox 194"/>
          <p:cNvSpPr txBox="1"/>
          <p:nvPr/>
        </p:nvSpPr>
        <p:spPr>
          <a:xfrm>
            <a:off x="7414122" y="1547609"/>
            <a:ext cx="258404" cy="215444"/>
          </a:xfrm>
          <a:prstGeom prst="rect">
            <a:avLst/>
          </a:prstGeom>
          <a:noFill/>
        </p:spPr>
        <p:txBody>
          <a:bodyPr wrap="none" rtlCol="0">
            <a:spAutoFit/>
          </a:bodyPr>
          <a:lstStyle/>
          <a:p>
            <a:r>
              <a:rPr lang="en-US" sz="800" b="1"/>
              <a:t>N</a:t>
            </a:r>
            <a:endParaRPr lang="en-US" sz="800" b="1" dirty="0"/>
          </a:p>
        </p:txBody>
      </p:sp>
      <p:sp>
        <p:nvSpPr>
          <p:cNvPr id="196" name="TextBox 195"/>
          <p:cNvSpPr txBox="1"/>
          <p:nvPr/>
        </p:nvSpPr>
        <p:spPr>
          <a:xfrm>
            <a:off x="7397290" y="1988258"/>
            <a:ext cx="268022" cy="230832"/>
          </a:xfrm>
          <a:prstGeom prst="rect">
            <a:avLst/>
          </a:prstGeom>
          <a:noFill/>
        </p:spPr>
        <p:txBody>
          <a:bodyPr wrap="none" rtlCol="0">
            <a:spAutoFit/>
          </a:bodyPr>
          <a:lstStyle/>
          <a:p>
            <a:r>
              <a:rPr lang="en-US" sz="900" b="1" dirty="0"/>
              <a:t>N</a:t>
            </a:r>
          </a:p>
        </p:txBody>
      </p:sp>
      <p:sp>
        <p:nvSpPr>
          <p:cNvPr id="197" name="TextBox 196"/>
          <p:cNvSpPr txBox="1"/>
          <p:nvPr/>
        </p:nvSpPr>
        <p:spPr>
          <a:xfrm>
            <a:off x="7407153" y="2427065"/>
            <a:ext cx="268022" cy="230832"/>
          </a:xfrm>
          <a:prstGeom prst="rect">
            <a:avLst/>
          </a:prstGeom>
          <a:noFill/>
        </p:spPr>
        <p:txBody>
          <a:bodyPr wrap="none" rtlCol="0">
            <a:spAutoFit/>
          </a:bodyPr>
          <a:lstStyle/>
          <a:p>
            <a:r>
              <a:rPr lang="en-US" sz="900" b="1" dirty="0"/>
              <a:t>N</a:t>
            </a:r>
          </a:p>
        </p:txBody>
      </p:sp>
      <p:sp>
        <p:nvSpPr>
          <p:cNvPr id="198" name="TextBox 197"/>
          <p:cNvSpPr txBox="1"/>
          <p:nvPr/>
        </p:nvSpPr>
        <p:spPr>
          <a:xfrm>
            <a:off x="7407152" y="2871011"/>
            <a:ext cx="268022" cy="230832"/>
          </a:xfrm>
          <a:prstGeom prst="rect">
            <a:avLst/>
          </a:prstGeom>
          <a:noFill/>
        </p:spPr>
        <p:txBody>
          <a:bodyPr wrap="none" rtlCol="0">
            <a:spAutoFit/>
          </a:bodyPr>
          <a:lstStyle/>
          <a:p>
            <a:r>
              <a:rPr lang="en-US" sz="900" b="1" dirty="0"/>
              <a:t>N</a:t>
            </a:r>
          </a:p>
        </p:txBody>
      </p:sp>
      <p:sp>
        <p:nvSpPr>
          <p:cNvPr id="199" name="TextBox 198"/>
          <p:cNvSpPr txBox="1"/>
          <p:nvPr/>
        </p:nvSpPr>
        <p:spPr>
          <a:xfrm>
            <a:off x="7414122" y="3362443"/>
            <a:ext cx="268022" cy="230832"/>
          </a:xfrm>
          <a:prstGeom prst="rect">
            <a:avLst/>
          </a:prstGeom>
          <a:noFill/>
        </p:spPr>
        <p:txBody>
          <a:bodyPr wrap="none" rtlCol="0">
            <a:spAutoFit/>
          </a:bodyPr>
          <a:lstStyle/>
          <a:p>
            <a:r>
              <a:rPr lang="en-US" sz="900" b="1" dirty="0"/>
              <a:t>N</a:t>
            </a:r>
          </a:p>
        </p:txBody>
      </p:sp>
      <p:sp>
        <p:nvSpPr>
          <p:cNvPr id="200" name="TextBox 199"/>
          <p:cNvSpPr txBox="1"/>
          <p:nvPr/>
        </p:nvSpPr>
        <p:spPr>
          <a:xfrm>
            <a:off x="7397290" y="4024124"/>
            <a:ext cx="261610" cy="230832"/>
          </a:xfrm>
          <a:prstGeom prst="rect">
            <a:avLst/>
          </a:prstGeom>
          <a:noFill/>
        </p:spPr>
        <p:txBody>
          <a:bodyPr wrap="none" rtlCol="0">
            <a:spAutoFit/>
          </a:bodyPr>
          <a:lstStyle/>
          <a:p>
            <a:r>
              <a:rPr lang="en-US" sz="900" b="1" dirty="0"/>
              <a:t>Y</a:t>
            </a:r>
          </a:p>
        </p:txBody>
      </p:sp>
      <p:sp>
        <p:nvSpPr>
          <p:cNvPr id="201" name="Rounded Rectangle 200"/>
          <p:cNvSpPr/>
          <p:nvPr/>
        </p:nvSpPr>
        <p:spPr>
          <a:xfrm>
            <a:off x="7920666" y="1462486"/>
            <a:ext cx="485362" cy="3227274"/>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02" name="TextBox 201"/>
          <p:cNvSpPr txBox="1"/>
          <p:nvPr/>
        </p:nvSpPr>
        <p:spPr>
          <a:xfrm>
            <a:off x="7850791" y="1105663"/>
            <a:ext cx="793807" cy="338554"/>
          </a:xfrm>
          <a:prstGeom prst="rect">
            <a:avLst/>
          </a:prstGeom>
          <a:noFill/>
        </p:spPr>
        <p:txBody>
          <a:bodyPr wrap="none" rtlCol="0">
            <a:spAutoFit/>
          </a:bodyPr>
          <a:lstStyle/>
          <a:p>
            <a:r>
              <a:rPr lang="en-US" sz="800" b="1" dirty="0"/>
              <a:t>Timing</a:t>
            </a:r>
          </a:p>
          <a:p>
            <a:r>
              <a:rPr lang="en-US" sz="800" b="1" dirty="0"/>
              <a:t>1588/Sync-E</a:t>
            </a:r>
          </a:p>
        </p:txBody>
      </p:sp>
      <p:sp>
        <p:nvSpPr>
          <p:cNvPr id="203" name="TextBox 202"/>
          <p:cNvSpPr txBox="1"/>
          <p:nvPr/>
        </p:nvSpPr>
        <p:spPr>
          <a:xfrm>
            <a:off x="7928751" y="1504453"/>
            <a:ext cx="455574" cy="338554"/>
          </a:xfrm>
          <a:prstGeom prst="rect">
            <a:avLst/>
          </a:prstGeom>
          <a:noFill/>
        </p:spPr>
        <p:txBody>
          <a:bodyPr wrap="none" rtlCol="0">
            <a:spAutoFit/>
          </a:bodyPr>
          <a:lstStyle/>
          <a:p>
            <a:r>
              <a:rPr lang="en-US" sz="800" b="1" dirty="0"/>
              <a:t>Scale</a:t>
            </a:r>
          </a:p>
          <a:p>
            <a:r>
              <a:rPr lang="en-US" sz="800" b="1" dirty="0"/>
              <a:t>only</a:t>
            </a:r>
          </a:p>
        </p:txBody>
      </p:sp>
      <p:sp>
        <p:nvSpPr>
          <p:cNvPr id="204" name="TextBox 203"/>
          <p:cNvSpPr txBox="1"/>
          <p:nvPr/>
        </p:nvSpPr>
        <p:spPr>
          <a:xfrm>
            <a:off x="7975823" y="2002820"/>
            <a:ext cx="268022" cy="230832"/>
          </a:xfrm>
          <a:prstGeom prst="rect">
            <a:avLst/>
          </a:prstGeom>
          <a:noFill/>
        </p:spPr>
        <p:txBody>
          <a:bodyPr wrap="none" rtlCol="0">
            <a:spAutoFit/>
          </a:bodyPr>
          <a:lstStyle/>
          <a:p>
            <a:r>
              <a:rPr lang="en-US" sz="900" b="1" dirty="0"/>
              <a:t>N</a:t>
            </a:r>
          </a:p>
        </p:txBody>
      </p:sp>
      <p:sp>
        <p:nvSpPr>
          <p:cNvPr id="205" name="TextBox 204"/>
          <p:cNvSpPr txBox="1"/>
          <p:nvPr/>
        </p:nvSpPr>
        <p:spPr>
          <a:xfrm>
            <a:off x="7985686" y="2441627"/>
            <a:ext cx="261610" cy="230832"/>
          </a:xfrm>
          <a:prstGeom prst="rect">
            <a:avLst/>
          </a:prstGeom>
          <a:noFill/>
        </p:spPr>
        <p:txBody>
          <a:bodyPr wrap="none" rtlCol="0">
            <a:spAutoFit/>
          </a:bodyPr>
          <a:lstStyle/>
          <a:p>
            <a:r>
              <a:rPr lang="en-US" sz="900" b="1" dirty="0"/>
              <a:t>Y</a:t>
            </a:r>
          </a:p>
        </p:txBody>
      </p:sp>
      <p:sp>
        <p:nvSpPr>
          <p:cNvPr id="206" name="TextBox 205"/>
          <p:cNvSpPr txBox="1"/>
          <p:nvPr/>
        </p:nvSpPr>
        <p:spPr>
          <a:xfrm>
            <a:off x="7985685" y="2885573"/>
            <a:ext cx="261610" cy="230832"/>
          </a:xfrm>
          <a:prstGeom prst="rect">
            <a:avLst/>
          </a:prstGeom>
          <a:noFill/>
        </p:spPr>
        <p:txBody>
          <a:bodyPr wrap="none" rtlCol="0">
            <a:spAutoFit/>
          </a:bodyPr>
          <a:lstStyle/>
          <a:p>
            <a:r>
              <a:rPr lang="en-US" sz="900" b="1" dirty="0"/>
              <a:t>Y</a:t>
            </a:r>
          </a:p>
        </p:txBody>
      </p:sp>
      <p:sp>
        <p:nvSpPr>
          <p:cNvPr id="207" name="TextBox 206"/>
          <p:cNvSpPr txBox="1"/>
          <p:nvPr/>
        </p:nvSpPr>
        <p:spPr>
          <a:xfrm>
            <a:off x="7992655" y="3377005"/>
            <a:ext cx="261610" cy="230832"/>
          </a:xfrm>
          <a:prstGeom prst="rect">
            <a:avLst/>
          </a:prstGeom>
          <a:noFill/>
        </p:spPr>
        <p:txBody>
          <a:bodyPr wrap="none" rtlCol="0">
            <a:spAutoFit/>
          </a:bodyPr>
          <a:lstStyle/>
          <a:p>
            <a:r>
              <a:rPr lang="en-US" sz="900" b="1" dirty="0"/>
              <a:t>Y</a:t>
            </a:r>
          </a:p>
        </p:txBody>
      </p:sp>
      <p:sp>
        <p:nvSpPr>
          <p:cNvPr id="208" name="TextBox 207"/>
          <p:cNvSpPr txBox="1"/>
          <p:nvPr/>
        </p:nvSpPr>
        <p:spPr>
          <a:xfrm>
            <a:off x="7975823" y="4038686"/>
            <a:ext cx="261610" cy="230832"/>
          </a:xfrm>
          <a:prstGeom prst="rect">
            <a:avLst/>
          </a:prstGeom>
          <a:noFill/>
        </p:spPr>
        <p:txBody>
          <a:bodyPr wrap="none" rtlCol="0">
            <a:spAutoFit/>
          </a:bodyPr>
          <a:lstStyle/>
          <a:p>
            <a:r>
              <a:rPr lang="en-US" sz="900" b="1" dirty="0"/>
              <a:t>Y</a:t>
            </a:r>
          </a:p>
        </p:txBody>
      </p:sp>
      <p:sp>
        <p:nvSpPr>
          <p:cNvPr id="209" name="Rounded Rectangle 208"/>
          <p:cNvSpPr/>
          <p:nvPr/>
        </p:nvSpPr>
        <p:spPr>
          <a:xfrm>
            <a:off x="8466296" y="1454298"/>
            <a:ext cx="637221" cy="3227274"/>
          </a:xfrm>
          <a:prstGeom prst="roundRect">
            <a:avLst/>
          </a:prstGeom>
          <a:solidFill>
            <a:schemeClr val="accent4">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10" name="TextBox 209"/>
          <p:cNvSpPr txBox="1"/>
          <p:nvPr/>
        </p:nvSpPr>
        <p:spPr>
          <a:xfrm>
            <a:off x="8585090" y="1091102"/>
            <a:ext cx="389850" cy="215444"/>
          </a:xfrm>
          <a:prstGeom prst="rect">
            <a:avLst/>
          </a:prstGeom>
          <a:noFill/>
        </p:spPr>
        <p:txBody>
          <a:bodyPr wrap="none" rtlCol="0">
            <a:spAutoFit/>
          </a:bodyPr>
          <a:lstStyle/>
          <a:p>
            <a:r>
              <a:rPr lang="en-US" sz="800" b="1" dirty="0"/>
              <a:t>FCS</a:t>
            </a:r>
          </a:p>
        </p:txBody>
      </p:sp>
      <p:sp>
        <p:nvSpPr>
          <p:cNvPr id="211" name="TextBox 210"/>
          <p:cNvSpPr txBox="1"/>
          <p:nvPr/>
        </p:nvSpPr>
        <p:spPr>
          <a:xfrm>
            <a:off x="8448551" y="1546616"/>
            <a:ext cx="623889" cy="215444"/>
          </a:xfrm>
          <a:prstGeom prst="rect">
            <a:avLst/>
          </a:prstGeom>
          <a:noFill/>
        </p:spPr>
        <p:txBody>
          <a:bodyPr wrap="none" rtlCol="0">
            <a:spAutoFit/>
          </a:bodyPr>
          <a:lstStyle/>
          <a:p>
            <a:r>
              <a:rPr lang="en-US" sz="800" b="1"/>
              <a:t>Shipping</a:t>
            </a:r>
            <a:endParaRPr lang="en-US" sz="800" b="1" dirty="0"/>
          </a:p>
        </p:txBody>
      </p:sp>
      <p:sp>
        <p:nvSpPr>
          <p:cNvPr id="216" name="TextBox 215"/>
          <p:cNvSpPr txBox="1"/>
          <p:nvPr/>
        </p:nvSpPr>
        <p:spPr>
          <a:xfrm>
            <a:off x="8391521" y="3984565"/>
            <a:ext cx="841897" cy="630942"/>
          </a:xfrm>
          <a:prstGeom prst="rect">
            <a:avLst/>
          </a:prstGeom>
          <a:noFill/>
        </p:spPr>
        <p:txBody>
          <a:bodyPr wrap="none" rtlCol="0">
            <a:spAutoFit/>
          </a:bodyPr>
          <a:lstStyle>
            <a:defPPr>
              <a:defRPr lang="en-US"/>
            </a:defPPr>
            <a:lvl1pPr>
              <a:defRPr sz="700"/>
            </a:lvl1pPr>
          </a:lstStyle>
          <a:p>
            <a:r>
              <a:rPr lang="fr-FR" b="1" dirty="0"/>
              <a:t>Base &amp; </a:t>
            </a:r>
            <a:r>
              <a:rPr lang="fr-FR" b="1" dirty="0" err="1"/>
              <a:t>temp</a:t>
            </a:r>
            <a:r>
              <a:rPr lang="fr-FR" b="1" dirty="0"/>
              <a:t>-</a:t>
            </a:r>
          </a:p>
          <a:p>
            <a:r>
              <a:rPr lang="fr-FR" b="1" dirty="0" err="1"/>
              <a:t>hardened</a:t>
            </a:r>
            <a:r>
              <a:rPr lang="fr-FR" b="1" dirty="0"/>
              <a:t> </a:t>
            </a:r>
          </a:p>
          <a:p>
            <a:r>
              <a:rPr lang="fr-FR" b="1" dirty="0"/>
              <a:t>(July,18)</a:t>
            </a:r>
            <a:br>
              <a:rPr lang="fr-FR" b="1" dirty="0"/>
            </a:br>
            <a:r>
              <a:rPr lang="fr-FR" b="1" dirty="0" err="1"/>
              <a:t>Scale</a:t>
            </a:r>
            <a:r>
              <a:rPr lang="fr-FR" b="1" dirty="0"/>
              <a:t> (H2CY18)</a:t>
            </a:r>
          </a:p>
          <a:p>
            <a:endParaRPr lang="en-US" b="1" dirty="0"/>
          </a:p>
        </p:txBody>
      </p:sp>
      <p:sp>
        <p:nvSpPr>
          <p:cNvPr id="217" name="TextBox 216"/>
          <p:cNvSpPr txBox="1"/>
          <p:nvPr/>
        </p:nvSpPr>
        <p:spPr>
          <a:xfrm>
            <a:off x="8415267" y="1971719"/>
            <a:ext cx="623889" cy="215444"/>
          </a:xfrm>
          <a:prstGeom prst="rect">
            <a:avLst/>
          </a:prstGeom>
          <a:noFill/>
        </p:spPr>
        <p:txBody>
          <a:bodyPr wrap="none" rtlCol="0">
            <a:spAutoFit/>
          </a:bodyPr>
          <a:lstStyle/>
          <a:p>
            <a:r>
              <a:rPr lang="en-US" sz="800" b="1"/>
              <a:t>Shipping</a:t>
            </a:r>
            <a:endParaRPr lang="en-US" sz="800" b="1" dirty="0"/>
          </a:p>
        </p:txBody>
      </p:sp>
      <p:sp>
        <p:nvSpPr>
          <p:cNvPr id="218" name="TextBox 217"/>
          <p:cNvSpPr txBox="1"/>
          <p:nvPr/>
        </p:nvSpPr>
        <p:spPr>
          <a:xfrm>
            <a:off x="8402447" y="2372277"/>
            <a:ext cx="841897" cy="307777"/>
          </a:xfrm>
          <a:prstGeom prst="rect">
            <a:avLst/>
          </a:prstGeom>
          <a:noFill/>
        </p:spPr>
        <p:txBody>
          <a:bodyPr wrap="none" rtlCol="0">
            <a:spAutoFit/>
          </a:bodyPr>
          <a:lstStyle/>
          <a:p>
            <a:r>
              <a:rPr lang="en-US" sz="700" b="1" dirty="0"/>
              <a:t>Base(Shipping)</a:t>
            </a:r>
          </a:p>
          <a:p>
            <a:r>
              <a:rPr lang="en-US" sz="700" b="1" dirty="0"/>
              <a:t>Scale(Q1CY18)</a:t>
            </a:r>
          </a:p>
        </p:txBody>
      </p:sp>
      <p:sp>
        <p:nvSpPr>
          <p:cNvPr id="219" name="TextBox 218"/>
          <p:cNvSpPr txBox="1"/>
          <p:nvPr/>
        </p:nvSpPr>
        <p:spPr>
          <a:xfrm>
            <a:off x="8439323" y="2886032"/>
            <a:ext cx="623889" cy="215444"/>
          </a:xfrm>
          <a:prstGeom prst="rect">
            <a:avLst/>
          </a:prstGeom>
          <a:noFill/>
        </p:spPr>
        <p:txBody>
          <a:bodyPr wrap="none" rtlCol="0">
            <a:spAutoFit/>
          </a:bodyPr>
          <a:lstStyle/>
          <a:p>
            <a:r>
              <a:rPr lang="en-US" sz="800" b="1"/>
              <a:t>Shipping</a:t>
            </a:r>
            <a:endParaRPr lang="en-US" sz="800" b="1" dirty="0"/>
          </a:p>
        </p:txBody>
      </p:sp>
      <p:sp>
        <p:nvSpPr>
          <p:cNvPr id="220" name="TextBox 219"/>
          <p:cNvSpPr txBox="1"/>
          <p:nvPr/>
        </p:nvSpPr>
        <p:spPr>
          <a:xfrm>
            <a:off x="8439323" y="3346750"/>
            <a:ext cx="795411" cy="200055"/>
          </a:xfrm>
          <a:prstGeom prst="rect">
            <a:avLst/>
          </a:prstGeom>
          <a:noFill/>
        </p:spPr>
        <p:txBody>
          <a:bodyPr wrap="none" rtlCol="0">
            <a:spAutoFit/>
          </a:bodyPr>
          <a:lstStyle/>
          <a:p>
            <a:r>
              <a:rPr lang="en-US" sz="700" b="1" dirty="0"/>
              <a:t>Base(H2CY18)</a:t>
            </a:r>
          </a:p>
        </p:txBody>
      </p:sp>
    </p:spTree>
    <p:extLst>
      <p:ext uri="{BB962C8B-B14F-4D97-AF65-F5344CB8AC3E}">
        <p14:creationId xmlns:p14="http://schemas.microsoft.com/office/powerpoint/2010/main" val="168402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84"/>
          <p:cNvSpPr txBox="1">
            <a:spLocks/>
          </p:cNvSpPr>
          <p:nvPr/>
        </p:nvSpPr>
        <p:spPr bwMode="auto">
          <a:xfrm>
            <a:off x="362204" y="3255590"/>
            <a:ext cx="3827463" cy="18288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a:t>ASR 9900 Core Routers</a:t>
            </a:r>
          </a:p>
        </p:txBody>
      </p:sp>
      <p:grpSp>
        <p:nvGrpSpPr>
          <p:cNvPr id="13" name="Group 12"/>
          <p:cNvGrpSpPr/>
          <p:nvPr/>
        </p:nvGrpSpPr>
        <p:grpSpPr>
          <a:xfrm>
            <a:off x="6393077" y="302107"/>
            <a:ext cx="914011" cy="681369"/>
            <a:chOff x="7306495" y="267381"/>
            <a:chExt cx="914011" cy="681369"/>
          </a:xfrm>
        </p:grpSpPr>
        <p:pic>
          <p:nvPicPr>
            <p:cNvPr id="14" name="Picture 13">
              <a:extLst>
                <a:ext uri="{FF2B5EF4-FFF2-40B4-BE49-F238E27FC236}">
                  <a16:creationId xmlns:a16="http://schemas.microsoft.com/office/drawing/2014/main" id="{B22989E0-EBEA-0A44-8443-3F15084231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31715" y="267381"/>
              <a:ext cx="454460" cy="454460"/>
            </a:xfrm>
            <a:prstGeom prst="rect">
              <a:avLst/>
            </a:prstGeom>
          </p:spPr>
        </p:pic>
        <p:sp>
          <p:nvSpPr>
            <p:cNvPr id="15" name="TextBox 14">
              <a:extLst>
                <a:ext uri="{FF2B5EF4-FFF2-40B4-BE49-F238E27FC236}">
                  <a16:creationId xmlns:a16="http://schemas.microsoft.com/office/drawing/2014/main" id="{56742AE6-9499-4A4D-8233-ABA6C2F04477}"/>
                </a:ext>
              </a:extLst>
            </p:cNvPr>
            <p:cNvSpPr txBox="1"/>
            <p:nvPr/>
          </p:nvSpPr>
          <p:spPr>
            <a:xfrm>
              <a:off x="7306495" y="717918"/>
              <a:ext cx="914011" cy="230832"/>
            </a:xfrm>
            <a:prstGeom prst="rect">
              <a:avLst/>
            </a:prstGeom>
            <a:noFill/>
          </p:spPr>
          <p:txBody>
            <a:bodyPr wrap="square" rtlCol="0">
              <a:spAutoFit/>
            </a:bodyPr>
            <a:lstStyle/>
            <a:p>
              <a:pPr algn="ctr"/>
              <a:r>
                <a:rPr lang="en-US" sz="900" dirty="0">
                  <a:solidFill>
                    <a:schemeClr val="bg1"/>
                  </a:solidFill>
                  <a:latin typeface="+mn-lt"/>
                </a:rPr>
                <a:t>IP </a:t>
              </a:r>
              <a:r>
                <a:rPr lang="en-US" sz="900" dirty="0" err="1">
                  <a:solidFill>
                    <a:schemeClr val="bg1"/>
                  </a:solidFill>
                  <a:latin typeface="+mn-lt"/>
                </a:rPr>
                <a:t>COre</a:t>
              </a:r>
              <a:endParaRPr lang="en-US" sz="900" dirty="0">
                <a:solidFill>
                  <a:schemeClr val="bg1"/>
                </a:solidFill>
                <a:latin typeface="+mn-lt"/>
              </a:endParaRPr>
            </a:p>
          </p:txBody>
        </p:sp>
      </p:grpSp>
      <p:sp>
        <p:nvSpPr>
          <p:cNvPr id="18" name="Text Placeholder 2"/>
          <p:cNvSpPr txBox="1">
            <a:spLocks/>
          </p:cNvSpPr>
          <p:nvPr/>
        </p:nvSpPr>
        <p:spPr>
          <a:xfrm>
            <a:off x="4914178" y="1307939"/>
            <a:ext cx="3789984" cy="3560902"/>
          </a:xfrm>
          <a:prstGeom prst="rect">
            <a:avLst/>
          </a:prstGeom>
        </p:spPr>
        <p:txBody>
          <a:bodyPr lIns="0" rIns="0" anchor="t" anchorCtr="0"/>
          <a:lstStyle>
            <a:lvl1pPr marL="169863" indent="-169863" algn="l" defTabSz="684213" rtl="0" eaLnBrk="1" fontAlgn="base" hangingPunct="1">
              <a:lnSpc>
                <a:spcPct val="100000"/>
              </a:lnSpc>
              <a:spcBef>
                <a:spcPts val="1075"/>
              </a:spcBef>
              <a:spcAft>
                <a:spcPct val="0"/>
              </a:spcAft>
              <a:buClr>
                <a:schemeClr val="tx1"/>
              </a:buClr>
              <a:buSzPct val="60000"/>
              <a:buFont typeface="Arial" panose="020B0604020202020204" pitchFamily="34" charset="0"/>
              <a:buChar char="•"/>
              <a:tabLst>
                <a:tab pos="228600" algn="l"/>
              </a:tabLst>
              <a:defRPr lang="en-US" sz="2400" kern="1200">
                <a:solidFill>
                  <a:schemeClr val="tx1"/>
                </a:solidFill>
                <a:latin typeface="+mn-lt"/>
                <a:ea typeface="ＭＳ Ｐゴシック" charset="0"/>
                <a:cs typeface="CiscoSans"/>
              </a:defRPr>
            </a:lvl1pPr>
            <a:lvl2pPr marL="346075" indent="-171450" algn="l" defTabSz="684213" rtl="0" eaLnBrk="1" fontAlgn="base" hangingPunct="1">
              <a:lnSpc>
                <a:spcPct val="100000"/>
              </a:lnSpc>
              <a:spcBef>
                <a:spcPts val="600"/>
              </a:spcBef>
              <a:spcAft>
                <a:spcPct val="0"/>
              </a:spcAft>
              <a:buClr>
                <a:schemeClr val="tx1"/>
              </a:buClr>
              <a:buSzPct val="60000"/>
              <a:buFont typeface="Arial" panose="020B0604020202020204" pitchFamily="34" charset="0"/>
              <a:buChar char="•"/>
              <a:defRPr lang="en-US" sz="2400" kern="1200">
                <a:solidFill>
                  <a:schemeClr val="tx1"/>
                </a:solidFill>
                <a:latin typeface="+mn-lt"/>
                <a:ea typeface="ＭＳ Ｐゴシック" charset="0"/>
                <a:cs typeface="CiscoSans"/>
              </a:defRPr>
            </a:lvl2pPr>
            <a:lvl3pPr marL="457200"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2000" kern="1200">
                <a:solidFill>
                  <a:schemeClr val="tx1"/>
                </a:solidFill>
                <a:latin typeface="+mn-lt"/>
                <a:ea typeface="ＭＳ Ｐゴシック" charset="0"/>
                <a:cs typeface="CiscoSans"/>
              </a:defRPr>
            </a:lvl3pPr>
            <a:lvl4pPr marL="574675" indent="-117475"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tabLst/>
              <a:defRPr lang="en-US" sz="1800" kern="1200">
                <a:solidFill>
                  <a:schemeClr val="tx1"/>
                </a:solidFill>
                <a:latin typeface="+mn-lt"/>
                <a:ea typeface="ＭＳ Ｐゴシック" charset="0"/>
                <a:cs typeface="CiscoSans"/>
              </a:defRPr>
            </a:lvl4pPr>
            <a:lvl5pPr marL="744538" indent="-112713" algn="l" defTabSz="684213" rtl="0" eaLnBrk="1" fontAlgn="base" hangingPunct="1">
              <a:lnSpc>
                <a:spcPct val="100000"/>
              </a:lnSpc>
              <a:spcBef>
                <a:spcPts val="625"/>
              </a:spcBef>
              <a:spcAft>
                <a:spcPct val="0"/>
              </a:spcAft>
              <a:buClr>
                <a:schemeClr val="tx1"/>
              </a:buClr>
              <a:buSzPct val="60000"/>
              <a:buFont typeface="Arial" panose="020B0604020202020204" pitchFamily="34" charset="0"/>
              <a:buChar char="•"/>
              <a:defRPr lang="en-US" sz="1800" kern="120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sz="2000" b="1" dirty="0"/>
              <a:t>ASR9k</a:t>
            </a:r>
          </a:p>
          <a:p>
            <a:pPr lvl="1">
              <a:lnSpc>
                <a:spcPct val="110000"/>
              </a:lnSpc>
            </a:pPr>
            <a:r>
              <a:rPr lang="en-ZA" sz="1800" dirty="0"/>
              <a:t>Modular and Redundant</a:t>
            </a:r>
          </a:p>
          <a:p>
            <a:pPr lvl="1">
              <a:lnSpc>
                <a:spcPct val="110000"/>
              </a:lnSpc>
            </a:pPr>
            <a:r>
              <a:rPr lang="en-ZA" sz="1800" dirty="0"/>
              <a:t>Closed-loop automation with programmability and telemetry</a:t>
            </a:r>
          </a:p>
          <a:p>
            <a:pPr lvl="1">
              <a:lnSpc>
                <a:spcPct val="110000"/>
              </a:lnSpc>
            </a:pPr>
            <a:r>
              <a:rPr lang="en-ZA" sz="1800" dirty="0"/>
              <a:t>Automated DDoS mitigation </a:t>
            </a:r>
          </a:p>
          <a:p>
            <a:pPr lvl="1">
              <a:lnSpc>
                <a:spcPct val="110000"/>
              </a:lnSpc>
            </a:pPr>
            <a:r>
              <a:rPr lang="en-ZA" sz="1800" dirty="0"/>
              <a:t>Intelligent Peering and Edge Services</a:t>
            </a:r>
          </a:p>
          <a:p>
            <a:pPr lvl="1">
              <a:lnSpc>
                <a:spcPct val="110000"/>
              </a:lnSpc>
            </a:pPr>
            <a:r>
              <a:rPr lang="en-ZA" sz="1800" dirty="0"/>
              <a:t>400GE Ready </a:t>
            </a:r>
          </a:p>
          <a:p>
            <a:pPr lvl="1">
              <a:lnSpc>
                <a:spcPct val="110000"/>
              </a:lnSpc>
            </a:pPr>
            <a:r>
              <a:rPr lang="en-ZA" sz="1800" dirty="0"/>
              <a:t>Transponder Optics Supported</a:t>
            </a:r>
          </a:p>
          <a:p>
            <a:pPr lvl="1">
              <a:lnSpc>
                <a:spcPct val="110000"/>
              </a:lnSpc>
            </a:pPr>
            <a:endParaRPr lang="en-ZA" sz="1800" dirty="0"/>
          </a:p>
        </p:txBody>
      </p:sp>
      <p:sp>
        <p:nvSpPr>
          <p:cNvPr id="8" name="Oval 7">
            <a:extLst>
              <a:ext uri="{FF2B5EF4-FFF2-40B4-BE49-F238E27FC236}">
                <a16:creationId xmlns:a16="http://schemas.microsoft.com/office/drawing/2014/main" id="{7B8AFB19-CA18-464E-B1AB-9C5A369103B4}"/>
              </a:ext>
            </a:extLst>
          </p:cNvPr>
          <p:cNvSpPr/>
          <p:nvPr/>
        </p:nvSpPr>
        <p:spPr>
          <a:xfrm>
            <a:off x="1062242" y="759410"/>
            <a:ext cx="2492884" cy="2328980"/>
          </a:xfrm>
          <a:prstGeom prst="ellipse">
            <a:avLst/>
          </a:prstGeom>
          <a:solidFill>
            <a:srgbClr val="0046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1BF55521-B533-4B5C-8483-0B35D615F5E3}"/>
              </a:ext>
            </a:extLst>
          </p:cNvPr>
          <p:cNvPicPr>
            <a:picLocks noChangeAspect="1"/>
          </p:cNvPicPr>
          <p:nvPr/>
        </p:nvPicPr>
        <p:blipFill>
          <a:blip r:embed="rId4"/>
          <a:stretch>
            <a:fillRect/>
          </a:stretch>
        </p:blipFill>
        <p:spPr>
          <a:xfrm>
            <a:off x="1304939" y="2004448"/>
            <a:ext cx="626092" cy="626092"/>
          </a:xfrm>
          <a:prstGeom prst="rect">
            <a:avLst/>
          </a:prstGeom>
        </p:spPr>
      </p:pic>
      <p:pic>
        <p:nvPicPr>
          <p:cNvPr id="10" name="Picture 9">
            <a:extLst>
              <a:ext uri="{FF2B5EF4-FFF2-40B4-BE49-F238E27FC236}">
                <a16:creationId xmlns:a16="http://schemas.microsoft.com/office/drawing/2014/main" id="{601E2427-36AE-45FC-9740-B561175F024B}"/>
              </a:ext>
            </a:extLst>
          </p:cNvPr>
          <p:cNvPicPr>
            <a:picLocks noChangeAspect="1"/>
          </p:cNvPicPr>
          <p:nvPr/>
        </p:nvPicPr>
        <p:blipFill>
          <a:blip r:embed="rId5"/>
          <a:stretch>
            <a:fillRect/>
          </a:stretch>
        </p:blipFill>
        <p:spPr>
          <a:xfrm>
            <a:off x="2011373" y="857414"/>
            <a:ext cx="675032" cy="675032"/>
          </a:xfrm>
          <a:prstGeom prst="rect">
            <a:avLst/>
          </a:prstGeom>
        </p:spPr>
      </p:pic>
      <p:pic>
        <p:nvPicPr>
          <p:cNvPr id="16" name="Picture 15">
            <a:extLst>
              <a:ext uri="{FF2B5EF4-FFF2-40B4-BE49-F238E27FC236}">
                <a16:creationId xmlns:a16="http://schemas.microsoft.com/office/drawing/2014/main" id="{0AECD1C8-47C0-4E93-B834-632E3E2FC56D}"/>
              </a:ext>
            </a:extLst>
          </p:cNvPr>
          <p:cNvPicPr>
            <a:picLocks noChangeAspect="1"/>
          </p:cNvPicPr>
          <p:nvPr/>
        </p:nvPicPr>
        <p:blipFill>
          <a:blip r:embed="rId6"/>
          <a:stretch>
            <a:fillRect/>
          </a:stretch>
        </p:blipFill>
        <p:spPr>
          <a:xfrm>
            <a:off x="2011373" y="2374679"/>
            <a:ext cx="675032" cy="675032"/>
          </a:xfrm>
          <a:prstGeom prst="rect">
            <a:avLst/>
          </a:prstGeom>
        </p:spPr>
      </p:pic>
      <p:pic>
        <p:nvPicPr>
          <p:cNvPr id="17" name="Picture 16">
            <a:extLst>
              <a:ext uri="{FF2B5EF4-FFF2-40B4-BE49-F238E27FC236}">
                <a16:creationId xmlns:a16="http://schemas.microsoft.com/office/drawing/2014/main" id="{D9F1A60B-860F-42CD-98EF-D202F0FE10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01772" y="1965777"/>
            <a:ext cx="605973" cy="605973"/>
          </a:xfrm>
          <a:prstGeom prst="rect">
            <a:avLst/>
          </a:prstGeom>
        </p:spPr>
      </p:pic>
      <p:cxnSp>
        <p:nvCxnSpPr>
          <p:cNvPr id="3" name="Straight Connector 2">
            <a:extLst>
              <a:ext uri="{FF2B5EF4-FFF2-40B4-BE49-F238E27FC236}">
                <a16:creationId xmlns:a16="http://schemas.microsoft.com/office/drawing/2014/main" id="{A5B521B1-A220-442E-A806-DE3E572B85C6}"/>
              </a:ext>
            </a:extLst>
          </p:cNvPr>
          <p:cNvCxnSpPr>
            <a:cxnSpLocks/>
            <a:endCxn id="9" idx="0"/>
          </p:cNvCxnSpPr>
          <p:nvPr/>
        </p:nvCxnSpPr>
        <p:spPr>
          <a:xfrm flipH="1">
            <a:off x="1617985" y="1365814"/>
            <a:ext cx="502512" cy="638634"/>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37108AD-DBFD-40B2-9EE6-B4990EBBA8B3}"/>
              </a:ext>
            </a:extLst>
          </p:cNvPr>
          <p:cNvCxnSpPr>
            <a:cxnSpLocks/>
            <a:stCxn id="10" idx="2"/>
            <a:endCxn id="16" idx="0"/>
          </p:cNvCxnSpPr>
          <p:nvPr/>
        </p:nvCxnSpPr>
        <p:spPr>
          <a:xfrm>
            <a:off x="2348889" y="1532446"/>
            <a:ext cx="0" cy="842233"/>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BE135E5-4E61-4C51-B43E-8297DF3B3086}"/>
              </a:ext>
            </a:extLst>
          </p:cNvPr>
          <p:cNvCxnSpPr>
            <a:cxnSpLocks/>
            <a:endCxn id="17" idx="0"/>
          </p:cNvCxnSpPr>
          <p:nvPr/>
        </p:nvCxnSpPr>
        <p:spPr>
          <a:xfrm>
            <a:off x="2553351" y="1365814"/>
            <a:ext cx="551408" cy="599963"/>
          </a:xfrm>
          <a:prstGeom prst="line">
            <a:avLst/>
          </a:prstGeom>
          <a:ln w="222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274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68313" y="147431"/>
            <a:ext cx="8345488" cy="731837"/>
          </a:xfrm>
        </p:spPr>
        <p:txBody>
          <a:bodyPr vert="horz" wrap="square" lIns="73302" tIns="40707" rIns="73302" bIns="40707" numCol="1" rtlCol="0" anchor="b" anchorCtr="0" compatLnSpc="1">
            <a:prstTxWarp prst="textNoShape">
              <a:avLst/>
            </a:prstTxWarp>
            <a:noAutofit/>
          </a:bodyPr>
          <a:lstStyle/>
          <a:p>
            <a:pPr defTabSz="814411"/>
            <a:r>
              <a:rPr lang="en-US" dirty="0">
                <a:latin typeface="+mn-lt"/>
                <a:cs typeface="Arial" panose="020B0604020202020204" pitchFamily="34" charset="0"/>
              </a:rPr>
              <a:t>Cisco ASR 9910 Overview</a:t>
            </a:r>
          </a:p>
        </p:txBody>
      </p:sp>
      <p:graphicFrame>
        <p:nvGraphicFramePr>
          <p:cNvPr id="4" name="Table 3"/>
          <p:cNvGraphicFramePr>
            <a:graphicFrameLocks noGrp="1"/>
          </p:cNvGraphicFramePr>
          <p:nvPr/>
        </p:nvGraphicFramePr>
        <p:xfrm>
          <a:off x="117014" y="938801"/>
          <a:ext cx="5754166" cy="3918656"/>
        </p:xfrm>
        <a:graphic>
          <a:graphicData uri="http://schemas.openxmlformats.org/drawingml/2006/table">
            <a:tbl>
              <a:tblPr firstRow="1" bandRow="1">
                <a:tableStyleId>{5C22544A-7EE6-4342-B048-85BDC9FD1C3A}</a:tableStyleId>
              </a:tblPr>
              <a:tblGrid>
                <a:gridCol w="1502421">
                  <a:extLst>
                    <a:ext uri="{9D8B030D-6E8A-4147-A177-3AD203B41FA5}">
                      <a16:colId xmlns:a16="http://schemas.microsoft.com/office/drawing/2014/main" val="20000"/>
                    </a:ext>
                  </a:extLst>
                </a:gridCol>
                <a:gridCol w="4251745">
                  <a:extLst>
                    <a:ext uri="{9D8B030D-6E8A-4147-A177-3AD203B41FA5}">
                      <a16:colId xmlns:a16="http://schemas.microsoft.com/office/drawing/2014/main" val="20001"/>
                    </a:ext>
                  </a:extLst>
                </a:gridCol>
              </a:tblGrid>
              <a:tr h="285750">
                <a:tc>
                  <a:txBody>
                    <a:bodyPr/>
                    <a:lstStyle/>
                    <a:p>
                      <a:pPr algn="ctr"/>
                      <a:r>
                        <a:rPr lang="en-US" sz="1400" dirty="0"/>
                        <a:t>Feature</a:t>
                      </a:r>
                      <a:endParaRPr lang="en-US" sz="1400" dirty="0">
                        <a:solidFill>
                          <a:srgbClr val="167596"/>
                        </a:solidFill>
                        <a:latin typeface="+mn-lt"/>
                      </a:endParaRPr>
                    </a:p>
                  </a:txBody>
                  <a:tcPr marL="91416" marR="91416" marT="34290" marB="34290" anchor="ctr"/>
                </a:tc>
                <a:tc>
                  <a:txBody>
                    <a:bodyPr/>
                    <a:lstStyle/>
                    <a:p>
                      <a:r>
                        <a:rPr lang="en-US" sz="1400" dirty="0"/>
                        <a:t>Description</a:t>
                      </a:r>
                      <a:endParaRPr lang="en-US" sz="1400" dirty="0">
                        <a:solidFill>
                          <a:srgbClr val="167596"/>
                        </a:solidFill>
                        <a:latin typeface="+mn-lt"/>
                      </a:endParaRPr>
                    </a:p>
                  </a:txBody>
                  <a:tcPr marL="91416" marR="91416" marT="34290" marB="34290" anchor="ctr"/>
                </a:tc>
                <a:extLst>
                  <a:ext uri="{0D108BD9-81ED-4DB2-BD59-A6C34878D82A}">
                    <a16:rowId xmlns:a16="http://schemas.microsoft.com/office/drawing/2014/main" val="10000"/>
                  </a:ext>
                </a:extLst>
              </a:tr>
              <a:tr h="240030">
                <a:tc>
                  <a:txBody>
                    <a:bodyPr/>
                    <a:lstStyle/>
                    <a:p>
                      <a:pPr algn="ctr"/>
                      <a:r>
                        <a:rPr lang="en-US" sz="1100" dirty="0">
                          <a:solidFill>
                            <a:schemeClr val="tx2"/>
                          </a:solidFill>
                        </a:rPr>
                        <a:t>Total Capacity</a:t>
                      </a:r>
                      <a:endParaRPr lang="en-US" sz="1100" b="1" dirty="0">
                        <a:solidFill>
                          <a:schemeClr val="tx2"/>
                        </a:solidFill>
                        <a:latin typeface="+mn-lt"/>
                      </a:endParaRPr>
                    </a:p>
                  </a:txBody>
                  <a:tcPr marL="91416" marR="91416" marT="34290" marB="34290" anchor="ctr"/>
                </a:tc>
                <a:tc>
                  <a:txBody>
                    <a:bodyPr/>
                    <a:lstStyle/>
                    <a:p>
                      <a:r>
                        <a:rPr lang="en-US" sz="1100" dirty="0">
                          <a:solidFill>
                            <a:schemeClr val="tx2"/>
                          </a:solidFill>
                        </a:rPr>
                        <a:t>&gt;64</a:t>
                      </a:r>
                      <a:r>
                        <a:rPr lang="en-US" sz="1100" baseline="0" dirty="0">
                          <a:solidFill>
                            <a:schemeClr val="tx2"/>
                          </a:solidFill>
                        </a:rPr>
                        <a:t> </a:t>
                      </a:r>
                      <a:r>
                        <a:rPr lang="en-US" sz="1100" dirty="0" err="1">
                          <a:solidFill>
                            <a:schemeClr val="tx2"/>
                          </a:solidFill>
                        </a:rPr>
                        <a:t>Tbps</a:t>
                      </a:r>
                      <a:endParaRPr lang="en-US" sz="1100" dirty="0">
                        <a:solidFill>
                          <a:schemeClr val="tx2"/>
                        </a:solidFill>
                        <a:latin typeface="+mn-lt"/>
                      </a:endParaRPr>
                    </a:p>
                  </a:txBody>
                  <a:tcPr marL="91416" marR="91416" marT="34290" marB="34290" anchor="ctr"/>
                </a:tc>
                <a:extLst>
                  <a:ext uri="{0D108BD9-81ED-4DB2-BD59-A6C34878D82A}">
                    <a16:rowId xmlns:a16="http://schemas.microsoft.com/office/drawing/2014/main" val="10001"/>
                  </a:ext>
                </a:extLst>
              </a:tr>
              <a:tr h="240030">
                <a:tc>
                  <a:txBody>
                    <a:bodyPr/>
                    <a:lstStyle/>
                    <a:p>
                      <a:pPr algn="ctr"/>
                      <a:r>
                        <a:rPr lang="en-US" sz="1100" dirty="0">
                          <a:solidFill>
                            <a:schemeClr val="tx2"/>
                          </a:solidFill>
                        </a:rPr>
                        <a:t>Capacit</a:t>
                      </a:r>
                      <a:r>
                        <a:rPr lang="en-US" sz="1100" baseline="0" dirty="0">
                          <a:solidFill>
                            <a:schemeClr val="tx2"/>
                          </a:solidFill>
                        </a:rPr>
                        <a:t>y per Slot</a:t>
                      </a:r>
                      <a:endParaRPr lang="en-US" sz="1100" b="1" dirty="0">
                        <a:solidFill>
                          <a:schemeClr val="tx2"/>
                        </a:solidFill>
                        <a:latin typeface="+mn-lt"/>
                      </a:endParaRPr>
                    </a:p>
                  </a:txBody>
                  <a:tcPr marL="91416" marR="91416" marT="34290" marB="34290" anchor="ctr"/>
                </a:tc>
                <a:tc>
                  <a:txBody>
                    <a:bodyPr/>
                    <a:lstStyle/>
                    <a:p>
                      <a:r>
                        <a:rPr lang="en-US" sz="1100" dirty="0">
                          <a:solidFill>
                            <a:schemeClr val="tx2"/>
                          </a:solidFill>
                        </a:rPr>
                        <a:t>&gt;4</a:t>
                      </a:r>
                      <a:r>
                        <a:rPr lang="en-US" sz="1100" baseline="0" dirty="0">
                          <a:solidFill>
                            <a:schemeClr val="tx2"/>
                          </a:solidFill>
                        </a:rPr>
                        <a:t> </a:t>
                      </a:r>
                      <a:r>
                        <a:rPr lang="en-US" sz="1100" dirty="0" err="1">
                          <a:solidFill>
                            <a:schemeClr val="tx2"/>
                          </a:solidFill>
                        </a:rPr>
                        <a:t>Tbps</a:t>
                      </a:r>
                      <a:endParaRPr lang="en-US" sz="1100" dirty="0">
                        <a:solidFill>
                          <a:schemeClr val="tx2"/>
                        </a:solidFill>
                        <a:latin typeface="+mn-lt"/>
                      </a:endParaRPr>
                    </a:p>
                  </a:txBody>
                  <a:tcPr marL="91416" marR="91416" marT="34290" marB="34290" anchor="ctr"/>
                </a:tc>
                <a:extLst>
                  <a:ext uri="{0D108BD9-81ED-4DB2-BD59-A6C34878D82A}">
                    <a16:rowId xmlns:a16="http://schemas.microsoft.com/office/drawing/2014/main" val="10002"/>
                  </a:ext>
                </a:extLst>
              </a:tr>
              <a:tr h="240030">
                <a:tc>
                  <a:txBody>
                    <a:bodyPr/>
                    <a:lstStyle/>
                    <a:p>
                      <a:pPr algn="ctr"/>
                      <a:r>
                        <a:rPr lang="en-US" sz="1100" dirty="0">
                          <a:solidFill>
                            <a:schemeClr val="tx2"/>
                          </a:solidFill>
                        </a:rPr>
                        <a:t>Slots</a:t>
                      </a:r>
                      <a:endParaRPr lang="en-US" sz="1100" b="1" dirty="0">
                        <a:solidFill>
                          <a:schemeClr val="tx2"/>
                        </a:solidFill>
                        <a:latin typeface="+mn-lt"/>
                      </a:endParaRPr>
                    </a:p>
                  </a:txBody>
                  <a:tcPr marL="91416" marR="91416" marT="34290" marB="34290" anchor="ctr"/>
                </a:tc>
                <a:tc>
                  <a:txBody>
                    <a:bodyPr/>
                    <a:lstStyle/>
                    <a:p>
                      <a:r>
                        <a:rPr lang="en-US" sz="1100" dirty="0">
                          <a:solidFill>
                            <a:schemeClr val="tx2"/>
                          </a:solidFill>
                        </a:rPr>
                        <a:t>10 slots</a:t>
                      </a:r>
                      <a:r>
                        <a:rPr lang="en-US" sz="1100" baseline="0" dirty="0">
                          <a:solidFill>
                            <a:schemeClr val="tx2"/>
                          </a:solidFill>
                        </a:rPr>
                        <a:t> -</a:t>
                      </a:r>
                      <a:r>
                        <a:rPr lang="en-US" sz="1100" dirty="0">
                          <a:solidFill>
                            <a:schemeClr val="tx2"/>
                          </a:solidFill>
                        </a:rPr>
                        <a:t> 8 Line Cards and 2 RSPs</a:t>
                      </a:r>
                      <a:endParaRPr lang="en-US" sz="1100" dirty="0">
                        <a:solidFill>
                          <a:schemeClr val="tx2"/>
                        </a:solidFill>
                        <a:latin typeface="+mn-lt"/>
                      </a:endParaRPr>
                    </a:p>
                  </a:txBody>
                  <a:tcPr marL="91416" marR="91416" marT="34290" marB="34290" anchor="ctr"/>
                </a:tc>
                <a:extLst>
                  <a:ext uri="{0D108BD9-81ED-4DB2-BD59-A6C34878D82A}">
                    <a16:rowId xmlns:a16="http://schemas.microsoft.com/office/drawing/2014/main" val="10003"/>
                  </a:ext>
                </a:extLst>
              </a:tr>
              <a:tr h="240030">
                <a:tc>
                  <a:txBody>
                    <a:bodyPr/>
                    <a:lstStyle/>
                    <a:p>
                      <a:pPr algn="ctr"/>
                      <a:r>
                        <a:rPr lang="en-US" sz="1100" dirty="0">
                          <a:solidFill>
                            <a:schemeClr val="tx2"/>
                          </a:solidFill>
                        </a:rPr>
                        <a:t>Rack</a:t>
                      </a:r>
                      <a:r>
                        <a:rPr lang="en-US" sz="1100" baseline="0" dirty="0">
                          <a:solidFill>
                            <a:schemeClr val="tx2"/>
                          </a:solidFill>
                        </a:rPr>
                        <a:t> size</a:t>
                      </a:r>
                      <a:endParaRPr lang="en-US" sz="1100" b="1" dirty="0">
                        <a:solidFill>
                          <a:schemeClr val="tx2"/>
                        </a:solidFill>
                        <a:latin typeface="+mn-lt"/>
                      </a:endParaRPr>
                    </a:p>
                  </a:txBody>
                  <a:tcPr marL="91416" marR="91416" marT="34290" marB="34290" anchor="ctr"/>
                </a:tc>
                <a:tc>
                  <a:txBody>
                    <a:bodyPr/>
                    <a:lstStyle/>
                    <a:p>
                      <a:r>
                        <a:rPr lang="en-US" sz="1100" baseline="0" dirty="0">
                          <a:solidFill>
                            <a:schemeClr val="tx2"/>
                          </a:solidFill>
                        </a:rPr>
                        <a:t>21RU</a:t>
                      </a:r>
                      <a:endParaRPr lang="en-US" sz="1100" dirty="0">
                        <a:solidFill>
                          <a:schemeClr val="tx2"/>
                        </a:solidFill>
                        <a:latin typeface="+mn-lt"/>
                      </a:endParaRPr>
                    </a:p>
                  </a:txBody>
                  <a:tcPr marL="91416" marR="91416" marT="34290" marB="34290" anchor="ctr"/>
                </a:tc>
                <a:extLst>
                  <a:ext uri="{0D108BD9-81ED-4DB2-BD59-A6C34878D82A}">
                    <a16:rowId xmlns:a16="http://schemas.microsoft.com/office/drawing/2014/main" val="10004"/>
                  </a:ext>
                </a:extLst>
              </a:tr>
              <a:tr h="662940">
                <a:tc>
                  <a:txBody>
                    <a:bodyPr/>
                    <a:lstStyle/>
                    <a:p>
                      <a:pPr algn="ctr"/>
                      <a:r>
                        <a:rPr lang="en-US" sz="1100" dirty="0">
                          <a:solidFill>
                            <a:schemeClr val="tx2"/>
                          </a:solidFill>
                        </a:rPr>
                        <a:t>Power</a:t>
                      </a:r>
                      <a:endParaRPr lang="en-US" sz="1100" b="1" dirty="0">
                        <a:solidFill>
                          <a:schemeClr val="tx2"/>
                        </a:solidFill>
                        <a:latin typeface="+mn-lt"/>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2 Power</a:t>
                      </a:r>
                      <a:r>
                        <a:rPr lang="en-US" sz="1100" baseline="0" dirty="0">
                          <a:solidFill>
                            <a:schemeClr val="tx2"/>
                          </a:solidFill>
                        </a:rPr>
                        <a:t> Trays</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Version 3 Powe</a:t>
                      </a:r>
                      <a:r>
                        <a:rPr lang="en-US" sz="1100" baseline="0" dirty="0">
                          <a:solidFill>
                            <a:schemeClr val="tx2"/>
                          </a:solidFill>
                        </a:rPr>
                        <a:t>r Supplies</a:t>
                      </a:r>
                      <a:r>
                        <a:rPr lang="en-US" sz="1100" dirty="0">
                          <a:solidFill>
                            <a:schemeClr val="tx2"/>
                          </a:solidFill>
                        </a:rPr>
                        <a:t>:  </a:t>
                      </a:r>
                    </a:p>
                    <a:p>
                      <a:pPr marL="342886" marR="0" lvl="1"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rPr>
                        <a:t>4.4 KW DC supplies (max 8/system)</a:t>
                      </a:r>
                    </a:p>
                    <a:p>
                      <a:pPr marL="342886" marR="0" lvl="1"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6.0 KW AC supplies (max 6/system)</a:t>
                      </a:r>
                      <a:endParaRPr lang="en-US" sz="900" b="0" dirty="0">
                        <a:solidFill>
                          <a:schemeClr val="tx2"/>
                        </a:solidFill>
                      </a:endParaRPr>
                    </a:p>
                  </a:txBody>
                  <a:tcPr marL="91416" marR="91416" marT="34290" marB="34290" anchor="ctr"/>
                </a:tc>
                <a:extLst>
                  <a:ext uri="{0D108BD9-81ED-4DB2-BD59-A6C34878D82A}">
                    <a16:rowId xmlns:a16="http://schemas.microsoft.com/office/drawing/2014/main" val="10005"/>
                  </a:ext>
                </a:extLst>
              </a:tr>
              <a:tr h="408883">
                <a:tc>
                  <a:txBody>
                    <a:bodyPr/>
                    <a:lstStyle/>
                    <a:p>
                      <a:pPr algn="ctr"/>
                      <a:r>
                        <a:rPr lang="en-US" sz="1100" dirty="0">
                          <a:solidFill>
                            <a:schemeClr val="tx2"/>
                          </a:solidFill>
                        </a:rPr>
                        <a:t>Fan</a:t>
                      </a:r>
                      <a:endParaRPr lang="en-US" sz="1100" b="1" dirty="0">
                        <a:solidFill>
                          <a:schemeClr val="tx2"/>
                        </a:solidFill>
                        <a:latin typeface="+mn-lt"/>
                      </a:endParaRPr>
                    </a:p>
                  </a:txBody>
                  <a:tcPr marL="91416" marR="91416" marT="34290" marB="34290" anchor="ctr"/>
                </a:tc>
                <a:tc>
                  <a:txBody>
                    <a:bodyPr/>
                    <a:lstStyle/>
                    <a:p>
                      <a:r>
                        <a:rPr lang="en-US" sz="1100" dirty="0">
                          <a:solidFill>
                            <a:schemeClr val="tx2"/>
                          </a:solidFill>
                        </a:rPr>
                        <a:t>Front-to-Back Airflow</a:t>
                      </a:r>
                      <a:endParaRPr lang="en-US" sz="1100" baseline="0" dirty="0">
                        <a:solidFill>
                          <a:schemeClr val="tx2"/>
                        </a:solidFill>
                      </a:endParaRPr>
                    </a:p>
                    <a:p>
                      <a:r>
                        <a:rPr lang="en-US" sz="1100" baseline="0" dirty="0">
                          <a:solidFill>
                            <a:schemeClr val="tx2"/>
                          </a:solidFill>
                        </a:rPr>
                        <a:t>2 Fan Trays, FRU</a:t>
                      </a:r>
                      <a:endParaRPr lang="en-US" sz="1100" dirty="0">
                        <a:solidFill>
                          <a:schemeClr val="tx2"/>
                        </a:solidFill>
                        <a:latin typeface="+mn-lt"/>
                      </a:endParaRPr>
                    </a:p>
                  </a:txBody>
                  <a:tcPr marL="91416" marR="91416" marT="34290" marB="34290" anchor="ctr"/>
                </a:tc>
                <a:extLst>
                  <a:ext uri="{0D108BD9-81ED-4DB2-BD59-A6C34878D82A}">
                    <a16:rowId xmlns:a16="http://schemas.microsoft.com/office/drawing/2014/main" val="10006"/>
                  </a:ext>
                </a:extLst>
              </a:tr>
              <a:tr h="388620">
                <a:tc>
                  <a:txBody>
                    <a:bodyPr/>
                    <a:lstStyle/>
                    <a:p>
                      <a:pPr algn="ctr"/>
                      <a:r>
                        <a:rPr lang="en-US" sz="1100" dirty="0">
                          <a:solidFill>
                            <a:schemeClr val="tx2"/>
                          </a:solidFill>
                        </a:rPr>
                        <a:t>RSPs</a:t>
                      </a:r>
                      <a:endParaRPr lang="en-US" sz="1100" b="1" dirty="0">
                        <a:solidFill>
                          <a:schemeClr val="tx2"/>
                        </a:solidFill>
                      </a:endParaRPr>
                    </a:p>
                  </a:txBody>
                  <a:tcPr marL="91416" marR="91416" marT="34290" marB="34290" anchor="ctr"/>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1100" dirty="0">
                          <a:solidFill>
                            <a:schemeClr val="tx2"/>
                          </a:solidFill>
                        </a:rPr>
                        <a:t>RSP880, RSP880-LT, RSP5 </a:t>
                      </a:r>
                      <a:endParaRPr lang="en-US" sz="1100" baseline="0" dirty="0">
                        <a:solidFill>
                          <a:schemeClr val="tx2"/>
                        </a:solidFill>
                      </a:endParaRPr>
                    </a:p>
                    <a:p>
                      <a:pPr marL="0" marR="0" indent="0" algn="l" defTabSz="685777"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Integrated Fabric, 1+1 Redundancy</a:t>
                      </a:r>
                    </a:p>
                  </a:txBody>
                  <a:tcPr marL="91416" marR="91416" marT="34290" marB="34290" anchor="ctr"/>
                </a:tc>
                <a:extLst>
                  <a:ext uri="{0D108BD9-81ED-4DB2-BD59-A6C34878D82A}">
                    <a16:rowId xmlns:a16="http://schemas.microsoft.com/office/drawing/2014/main" val="10007"/>
                  </a:ext>
                </a:extLst>
              </a:tr>
              <a:tr h="664448">
                <a:tc>
                  <a:txBody>
                    <a:bodyPr/>
                    <a:lstStyle/>
                    <a:p>
                      <a:pPr algn="ctr"/>
                      <a:r>
                        <a:rPr lang="en-US" sz="1100" dirty="0">
                          <a:solidFill>
                            <a:schemeClr val="tx2"/>
                          </a:solidFill>
                        </a:rPr>
                        <a:t>Fabric</a:t>
                      </a:r>
                      <a:r>
                        <a:rPr lang="en-US" sz="1100" baseline="0" dirty="0">
                          <a:solidFill>
                            <a:schemeClr val="tx2"/>
                          </a:solidFill>
                        </a:rPr>
                        <a:t> Cards</a:t>
                      </a:r>
                      <a:endParaRPr lang="en-US" sz="1100" b="1" dirty="0">
                        <a:solidFill>
                          <a:schemeClr val="tx2"/>
                        </a:solidFill>
                      </a:endParaRPr>
                    </a:p>
                  </a:txBody>
                  <a:tcPr marL="91416" marR="91416" marT="34290" marB="34290" anchor="ct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5 Fabric cards on chassis rear for additional capacity</a:t>
                      </a:r>
                    </a:p>
                    <a:p>
                      <a:pPr marL="0" marR="0" indent="0" algn="l" defTabSz="685777"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600G per FC</a:t>
                      </a:r>
                    </a:p>
                    <a:p>
                      <a:pPr marL="0" marR="0" indent="0" algn="l" defTabSz="685777"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Up to 6+1 Redundancy using RSP’s integrated fabric</a:t>
                      </a:r>
                      <a:endParaRPr lang="en-US" sz="1100" baseline="0" dirty="0">
                        <a:solidFill>
                          <a:schemeClr val="tx2"/>
                        </a:solidFill>
                        <a:latin typeface="+mn-lt"/>
                      </a:endParaRPr>
                    </a:p>
                  </a:txBody>
                  <a:tcPr marL="91416" marR="91416" marT="34290" marB="34290" anchor="ctr"/>
                </a:tc>
                <a:extLst>
                  <a:ext uri="{0D108BD9-81ED-4DB2-BD59-A6C34878D82A}">
                    <a16:rowId xmlns:a16="http://schemas.microsoft.com/office/drawing/2014/main" val="10008"/>
                  </a:ext>
                </a:extLst>
              </a:tr>
              <a:tr h="51741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Line cards</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2</a:t>
                      </a:r>
                      <a:r>
                        <a:rPr lang="en-US" sz="1100" baseline="30000" dirty="0">
                          <a:solidFill>
                            <a:schemeClr val="tx2"/>
                          </a:solidFill>
                        </a:rPr>
                        <a:t>nd</a:t>
                      </a:r>
                      <a:r>
                        <a:rPr lang="en-US" sz="1100" baseline="0" dirty="0">
                          <a:solidFill>
                            <a:schemeClr val="tx2"/>
                          </a:solidFill>
                        </a:rPr>
                        <a:t>, 3</a:t>
                      </a:r>
                      <a:r>
                        <a:rPr lang="en-US" sz="1100" baseline="30000" dirty="0">
                          <a:solidFill>
                            <a:schemeClr val="tx2"/>
                          </a:solidFill>
                        </a:rPr>
                        <a:t>rd</a:t>
                      </a:r>
                      <a:r>
                        <a:rPr lang="en-US" sz="1100" baseline="0" dirty="0">
                          <a:solidFill>
                            <a:schemeClr val="tx2"/>
                          </a:solidFill>
                        </a:rPr>
                        <a:t>, 4</a:t>
                      </a:r>
                      <a:r>
                        <a:rPr lang="en-US" sz="1100" baseline="30000" dirty="0">
                          <a:solidFill>
                            <a:schemeClr val="tx2"/>
                          </a:solidFill>
                        </a:rPr>
                        <a:t>th</a:t>
                      </a:r>
                      <a:r>
                        <a:rPr lang="en-US" sz="1100" baseline="0" dirty="0">
                          <a:solidFill>
                            <a:schemeClr val="tx2"/>
                          </a:solidFill>
                        </a:rPr>
                        <a:t> &amp; 5</a:t>
                      </a:r>
                      <a:r>
                        <a:rPr lang="en-US" sz="1100" baseline="30000" dirty="0">
                          <a:solidFill>
                            <a:schemeClr val="tx2"/>
                          </a:solidFill>
                        </a:rPr>
                        <a:t>th</a:t>
                      </a:r>
                      <a:r>
                        <a:rPr lang="en-US" sz="1100" baseline="0" dirty="0">
                          <a:solidFill>
                            <a:schemeClr val="tx2"/>
                          </a:solidFill>
                        </a:rPr>
                        <a:t> Generation </a:t>
                      </a:r>
                      <a:r>
                        <a:rPr lang="en-US" sz="1100" baseline="0" dirty="0" err="1">
                          <a:solidFill>
                            <a:schemeClr val="tx2"/>
                          </a:solidFill>
                        </a:rPr>
                        <a:t>Linecards</a:t>
                      </a:r>
                      <a:endParaRPr lang="en-US" sz="1100" baseline="0" dirty="0">
                        <a:solidFill>
                          <a:schemeClr val="tx2"/>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Service Card:  Virtualized Service Module (VSM)</a:t>
                      </a:r>
                      <a:endParaRPr lang="en-US" sz="1100" baseline="0" dirty="0">
                        <a:solidFill>
                          <a:schemeClr val="tx2"/>
                        </a:solidFill>
                        <a:latin typeface="+mn-lt"/>
                      </a:endParaRPr>
                    </a:p>
                  </a:txBody>
                  <a:tcPr marL="91416" marR="91416" marT="34290" marB="34290" anchor="ctr"/>
                </a:tc>
                <a:extLst>
                  <a:ext uri="{0D108BD9-81ED-4DB2-BD59-A6C34878D82A}">
                    <a16:rowId xmlns:a16="http://schemas.microsoft.com/office/drawing/2014/main" val="10009"/>
                  </a:ext>
                </a:extLst>
              </a:tr>
            </a:tbl>
          </a:graphicData>
        </a:graphic>
      </p:graphicFrame>
      <p:pic>
        <p:nvPicPr>
          <p:cNvPr id="1027"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925884" y="938801"/>
            <a:ext cx="2743915" cy="342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a:off x="6189217" y="1125022"/>
            <a:ext cx="0" cy="3036014"/>
          </a:xfrm>
          <a:prstGeom prst="straightConnector1">
            <a:avLst/>
          </a:prstGeom>
          <a:ln>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871228" y="1789707"/>
            <a:ext cx="261604" cy="1463860"/>
          </a:xfrm>
          <a:prstGeom prst="rect">
            <a:avLst/>
          </a:prstGeom>
          <a:noFill/>
        </p:spPr>
        <p:txBody>
          <a:bodyPr vert="vert" wrap="none" lIns="68577" tIns="34289" rIns="68577" bIns="34289" rtlCol="0">
            <a:spAutoFit/>
          </a:bodyPr>
          <a:lstStyle/>
          <a:p>
            <a:pPr defTabSz="683167">
              <a:defRPr/>
            </a:pPr>
            <a:r>
              <a:rPr lang="en-US" sz="800" dirty="0">
                <a:latin typeface="Arial"/>
              </a:rPr>
              <a:t>Height: 36.688 in. (931.9 mm) </a:t>
            </a:r>
          </a:p>
        </p:txBody>
      </p:sp>
      <p:sp>
        <p:nvSpPr>
          <p:cNvPr id="13" name="TextBox 12"/>
          <p:cNvSpPr txBox="1"/>
          <p:nvPr/>
        </p:nvSpPr>
        <p:spPr>
          <a:xfrm>
            <a:off x="6446684" y="4446860"/>
            <a:ext cx="1411278" cy="192358"/>
          </a:xfrm>
          <a:prstGeom prst="rect">
            <a:avLst/>
          </a:prstGeom>
          <a:noFill/>
        </p:spPr>
        <p:txBody>
          <a:bodyPr wrap="none" lIns="68577" tIns="34289" rIns="68577" bIns="34289" rtlCol="0">
            <a:spAutoFit/>
          </a:bodyPr>
          <a:lstStyle/>
          <a:p>
            <a:pPr defTabSz="685760">
              <a:defRPr/>
            </a:pPr>
            <a:r>
              <a:rPr lang="en-US" sz="800" dirty="0">
                <a:latin typeface="Arial"/>
              </a:rPr>
              <a:t>Width: 17.60 in. (447.0 mm)</a:t>
            </a:r>
          </a:p>
        </p:txBody>
      </p:sp>
      <p:cxnSp>
        <p:nvCxnSpPr>
          <p:cNvPr id="12" name="Straight Arrow Connector 11"/>
          <p:cNvCxnSpPr/>
          <p:nvPr/>
        </p:nvCxnSpPr>
        <p:spPr>
          <a:xfrm>
            <a:off x="6397335" y="4368521"/>
            <a:ext cx="1418203" cy="0"/>
          </a:xfrm>
          <a:prstGeom prst="straightConnector1">
            <a:avLst/>
          </a:prstGeom>
          <a:ln>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2243299">
            <a:off x="8321444" y="3805559"/>
            <a:ext cx="384715" cy="886779"/>
          </a:xfrm>
          <a:prstGeom prst="rect">
            <a:avLst/>
          </a:prstGeom>
          <a:noFill/>
        </p:spPr>
        <p:txBody>
          <a:bodyPr vert="vert270" wrap="none" lIns="68577" tIns="34289" rIns="68577" bIns="34289" rtlCol="0">
            <a:spAutoFit/>
          </a:bodyPr>
          <a:lstStyle/>
          <a:p>
            <a:pPr defTabSz="685760">
              <a:defRPr/>
            </a:pPr>
            <a:r>
              <a:rPr lang="en-US" sz="800" dirty="0">
                <a:latin typeface="Arial"/>
              </a:rPr>
              <a:t>Depth: 31.266 in. </a:t>
            </a:r>
            <a:br>
              <a:rPr lang="en-US" sz="800" dirty="0">
                <a:latin typeface="Arial"/>
              </a:rPr>
            </a:br>
            <a:r>
              <a:rPr lang="en-US" sz="800" dirty="0">
                <a:latin typeface="Arial"/>
              </a:rPr>
              <a:t>          (794.2 mm)</a:t>
            </a:r>
          </a:p>
        </p:txBody>
      </p:sp>
      <p:cxnSp>
        <p:nvCxnSpPr>
          <p:cNvPr id="19" name="Straight Arrow Connector 18"/>
          <p:cNvCxnSpPr/>
          <p:nvPr/>
        </p:nvCxnSpPr>
        <p:spPr>
          <a:xfrm flipV="1">
            <a:off x="8059186" y="4037745"/>
            <a:ext cx="265055" cy="330058"/>
          </a:xfrm>
          <a:prstGeom prst="straightConnector1">
            <a:avLst/>
          </a:prstGeom>
          <a:ln>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19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descr="KN41077.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756754" y="867747"/>
            <a:ext cx="1770182" cy="3738378"/>
          </a:xfrm>
          <a:prstGeom prst="rect">
            <a:avLst/>
          </a:prstGeom>
        </p:spPr>
      </p:pic>
      <p:sp>
        <p:nvSpPr>
          <p:cNvPr id="2" name="Title 1"/>
          <p:cNvSpPr>
            <a:spLocks noGrp="1"/>
          </p:cNvSpPr>
          <p:nvPr>
            <p:ph type="title"/>
          </p:nvPr>
        </p:nvSpPr>
        <p:spPr>
          <a:xfrm>
            <a:off x="308804" y="66012"/>
            <a:ext cx="6891456" cy="580744"/>
          </a:xfrm>
        </p:spPr>
        <p:txBody>
          <a:bodyPr vert="horz" wrap="square" lIns="73200" tIns="40655" rIns="73200" bIns="40655" numCol="1" rtlCol="0" anchor="b" anchorCtr="0" compatLnSpc="1">
            <a:prstTxWarp prst="textNoShape">
              <a:avLst/>
            </a:prstTxWarp>
            <a:noAutofit/>
          </a:bodyPr>
          <a:lstStyle/>
          <a:p>
            <a:pPr defTabSz="814411"/>
            <a:r>
              <a:rPr lang="en-US" dirty="0">
                <a:latin typeface="+mn-lt"/>
                <a:cs typeface="Arial" panose="020B0604020202020204" pitchFamily="34" charset="0"/>
              </a:rPr>
              <a:t>Cisco ASR 9912 Overview</a:t>
            </a:r>
          </a:p>
        </p:txBody>
      </p:sp>
      <p:graphicFrame>
        <p:nvGraphicFramePr>
          <p:cNvPr id="5" name="Table 4"/>
          <p:cNvGraphicFramePr>
            <a:graphicFrameLocks noGrp="1"/>
          </p:cNvGraphicFramePr>
          <p:nvPr/>
        </p:nvGraphicFramePr>
        <p:xfrm>
          <a:off x="395655" y="706225"/>
          <a:ext cx="6057901" cy="4371263"/>
        </p:xfrm>
        <a:graphic>
          <a:graphicData uri="http://schemas.openxmlformats.org/drawingml/2006/table">
            <a:tbl>
              <a:tblPr firstRow="1" bandRow="1">
                <a:tableStyleId>{5C22544A-7EE6-4342-B048-85BDC9FD1C3A}</a:tableStyleId>
              </a:tblPr>
              <a:tblGrid>
                <a:gridCol w="1297121">
                  <a:extLst>
                    <a:ext uri="{9D8B030D-6E8A-4147-A177-3AD203B41FA5}">
                      <a16:colId xmlns:a16="http://schemas.microsoft.com/office/drawing/2014/main" val="20000"/>
                    </a:ext>
                  </a:extLst>
                </a:gridCol>
                <a:gridCol w="4760780">
                  <a:extLst>
                    <a:ext uri="{9D8B030D-6E8A-4147-A177-3AD203B41FA5}">
                      <a16:colId xmlns:a16="http://schemas.microsoft.com/office/drawing/2014/main" val="20001"/>
                    </a:ext>
                  </a:extLst>
                </a:gridCol>
              </a:tblGrid>
              <a:tr h="251460">
                <a:tc>
                  <a:txBody>
                    <a:bodyPr/>
                    <a:lstStyle/>
                    <a:p>
                      <a:pPr algn="ctr"/>
                      <a:r>
                        <a:rPr lang="en-US" sz="1200" dirty="0"/>
                        <a:t>Features</a:t>
                      </a:r>
                      <a:endParaRPr lang="en-US" sz="1200" dirty="0">
                        <a:solidFill>
                          <a:schemeClr val="tx1"/>
                        </a:solidFill>
                        <a:latin typeface="+mn-lt"/>
                      </a:endParaRPr>
                    </a:p>
                  </a:txBody>
                  <a:tcPr marL="91416" marR="91416" marT="34290" marB="34290" anchor="ctr"/>
                </a:tc>
                <a:tc>
                  <a:txBody>
                    <a:bodyPr/>
                    <a:lstStyle/>
                    <a:p>
                      <a:r>
                        <a:rPr lang="en-US" sz="1200" dirty="0"/>
                        <a:t>Description</a:t>
                      </a:r>
                      <a:endParaRPr lang="en-US" sz="1200" dirty="0">
                        <a:solidFill>
                          <a:schemeClr val="tx1"/>
                        </a:solidFill>
                        <a:latin typeface="+mn-lt"/>
                      </a:endParaRPr>
                    </a:p>
                  </a:txBody>
                  <a:tcPr marL="91416" marR="91416" marT="34290" marB="34290" anchor="ctr"/>
                </a:tc>
                <a:extLst>
                  <a:ext uri="{0D108BD9-81ED-4DB2-BD59-A6C34878D82A}">
                    <a16:rowId xmlns:a16="http://schemas.microsoft.com/office/drawing/2014/main" val="10000"/>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Total Capacity</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gt;80T</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1"/>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Capacity per Slot</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gt;4T</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2"/>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Slots</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12 slots:</a:t>
                      </a:r>
                      <a:r>
                        <a:rPr lang="en-US" sz="1100" baseline="0" dirty="0">
                          <a:solidFill>
                            <a:schemeClr val="tx2"/>
                          </a:solidFill>
                        </a:rPr>
                        <a:t> </a:t>
                      </a:r>
                      <a:r>
                        <a:rPr lang="en-US" sz="1100" dirty="0">
                          <a:solidFill>
                            <a:schemeClr val="tx2"/>
                          </a:solidFill>
                        </a:rPr>
                        <a:t>10 Line</a:t>
                      </a:r>
                      <a:r>
                        <a:rPr lang="en-US" sz="1100" baseline="0" dirty="0">
                          <a:solidFill>
                            <a:schemeClr val="tx2"/>
                          </a:solidFill>
                        </a:rPr>
                        <a:t> cards, 2 RP, plus 7 SFC</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3"/>
                  </a:ext>
                </a:extLst>
              </a:tr>
              <a:tr h="240030">
                <a:tc>
                  <a:txBody>
                    <a:bodyPr/>
                    <a:lstStyle/>
                    <a:p>
                      <a:pPr algn="ctr"/>
                      <a:r>
                        <a:rPr lang="en-US" sz="1100" dirty="0">
                          <a:solidFill>
                            <a:schemeClr val="tx2"/>
                          </a:solidFill>
                        </a:rPr>
                        <a:t>Rack Size</a:t>
                      </a:r>
                      <a:endParaRPr lang="en-US" sz="1100" b="1" dirty="0">
                        <a:solidFill>
                          <a:schemeClr val="tx2"/>
                        </a:solidFill>
                        <a:latin typeface="+mn-lt"/>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30 RU (2/3 Rack)</a:t>
                      </a:r>
                    </a:p>
                  </a:txBody>
                  <a:tcPr marL="91416" marR="91416" marT="34290" marB="34290" anchor="ctr"/>
                </a:tc>
                <a:extLst>
                  <a:ext uri="{0D108BD9-81ED-4DB2-BD59-A6C34878D82A}">
                    <a16:rowId xmlns:a16="http://schemas.microsoft.com/office/drawing/2014/main" val="10004"/>
                  </a:ext>
                </a:extLst>
              </a:tr>
              <a:tr h="582930">
                <a:tc>
                  <a:txBody>
                    <a:bodyPr/>
                    <a:lstStyle/>
                    <a:p>
                      <a:pPr algn="ctr"/>
                      <a:r>
                        <a:rPr lang="en-US" sz="1100" baseline="0" dirty="0">
                          <a:solidFill>
                            <a:schemeClr val="tx2"/>
                          </a:solidFill>
                        </a:rPr>
                        <a:t>Power</a:t>
                      </a:r>
                      <a:endParaRPr lang="en-US" sz="1100" b="1" baseline="0" dirty="0">
                        <a:solidFill>
                          <a:schemeClr val="tx2"/>
                        </a:solidFill>
                        <a:latin typeface="+mn-lt"/>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u="none" dirty="0">
                          <a:solidFill>
                            <a:schemeClr val="tx2"/>
                          </a:solidFill>
                        </a:rPr>
                        <a:t>3 Power Trays</a:t>
                      </a:r>
                    </a:p>
                    <a:p>
                      <a:pPr marL="342886" marR="0" lvl="1" indent="0" algn="l" defTabSz="914400" rtl="0" eaLnBrk="1" fontAlgn="auto" latinLnBrk="0" hangingPunct="1">
                        <a:lnSpc>
                          <a:spcPct val="100000"/>
                        </a:lnSpc>
                        <a:spcBef>
                          <a:spcPts val="0"/>
                        </a:spcBef>
                        <a:spcAft>
                          <a:spcPts val="0"/>
                        </a:spcAft>
                        <a:buClrTx/>
                        <a:buSzTx/>
                        <a:buFontTx/>
                        <a:buNone/>
                        <a:tabLst/>
                        <a:defRPr/>
                      </a:pPr>
                      <a:r>
                        <a:rPr lang="en-US" sz="1100" u="none" dirty="0">
                          <a:solidFill>
                            <a:schemeClr val="tx2"/>
                          </a:solidFill>
                        </a:rPr>
                        <a:t>Version</a:t>
                      </a:r>
                      <a:r>
                        <a:rPr lang="en-US" sz="1100" u="none" baseline="0" dirty="0">
                          <a:solidFill>
                            <a:schemeClr val="tx2"/>
                          </a:solidFill>
                        </a:rPr>
                        <a:t> 2</a:t>
                      </a:r>
                      <a:r>
                        <a:rPr lang="en-US" sz="1100" baseline="0" dirty="0">
                          <a:solidFill>
                            <a:schemeClr val="tx2"/>
                          </a:solidFill>
                        </a:rPr>
                        <a:t>:  </a:t>
                      </a:r>
                      <a:r>
                        <a:rPr lang="en-US" sz="900" dirty="0">
                          <a:solidFill>
                            <a:schemeClr val="tx2"/>
                          </a:solidFill>
                        </a:rPr>
                        <a:t>2.1 KW DC / 3.0 KW AC supplies (12/system)</a:t>
                      </a:r>
                    </a:p>
                    <a:p>
                      <a:pPr marL="342886" marR="0" lvl="1" indent="0" algn="l" defTabSz="914400" rtl="0" eaLnBrk="1" fontAlgn="auto" latinLnBrk="0" hangingPunct="1">
                        <a:lnSpc>
                          <a:spcPct val="100000"/>
                        </a:lnSpc>
                        <a:spcBef>
                          <a:spcPts val="0"/>
                        </a:spcBef>
                        <a:spcAft>
                          <a:spcPts val="0"/>
                        </a:spcAft>
                        <a:buClrTx/>
                        <a:buSzTx/>
                        <a:buFontTx/>
                        <a:buNone/>
                        <a:tabLst/>
                        <a:defRPr/>
                      </a:pPr>
                      <a:r>
                        <a:rPr lang="en-US" sz="1100" u="none" dirty="0">
                          <a:solidFill>
                            <a:schemeClr val="tx2"/>
                          </a:solidFill>
                        </a:rPr>
                        <a:t>Version 3</a:t>
                      </a:r>
                      <a:r>
                        <a:rPr lang="en-US" sz="1100" dirty="0">
                          <a:solidFill>
                            <a:schemeClr val="tx2"/>
                          </a:solidFill>
                        </a:rPr>
                        <a:t>:  </a:t>
                      </a:r>
                      <a:r>
                        <a:rPr lang="en-US" sz="900" dirty="0">
                          <a:solidFill>
                            <a:schemeClr val="tx2"/>
                          </a:solidFill>
                        </a:rPr>
                        <a:t>4.4 KW DC / 6.0 KW AC supplies (12</a:t>
                      </a:r>
                      <a:r>
                        <a:rPr lang="en-US" sz="900" baseline="0" dirty="0">
                          <a:solidFill>
                            <a:schemeClr val="tx2"/>
                          </a:solidFill>
                        </a:rPr>
                        <a:t> (DC), 9 (AC)/system)</a:t>
                      </a:r>
                      <a:endParaRPr lang="en-US" sz="9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5"/>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Fan</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2 Fan Trays,</a:t>
                      </a:r>
                      <a:r>
                        <a:rPr lang="en-US" sz="1100" baseline="0" dirty="0">
                          <a:solidFill>
                            <a:schemeClr val="tx2"/>
                          </a:solidFill>
                        </a:rPr>
                        <a:t> </a:t>
                      </a:r>
                      <a:r>
                        <a:rPr lang="en-US" sz="1100" dirty="0">
                          <a:solidFill>
                            <a:schemeClr val="tx2"/>
                          </a:solidFill>
                        </a:rPr>
                        <a:t>Front-to-back airflow</a:t>
                      </a:r>
                      <a:endParaRPr lang="en-US" sz="1100" baseline="0" dirty="0">
                        <a:solidFill>
                          <a:schemeClr val="tx2"/>
                        </a:solidFill>
                        <a:latin typeface="+mn-lt"/>
                      </a:endParaRPr>
                    </a:p>
                  </a:txBody>
                  <a:tcPr marL="91416" marR="91416" marT="34290" marB="34290" anchor="ctr"/>
                </a:tc>
                <a:extLst>
                  <a:ext uri="{0D108BD9-81ED-4DB2-BD59-A6C34878D82A}">
                    <a16:rowId xmlns:a16="http://schemas.microsoft.com/office/drawing/2014/main" val="10006"/>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RP</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RP1, RP2, RP3, 1+1 RP redundancy</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7"/>
                  </a:ext>
                </a:extLst>
              </a:tr>
              <a:tr h="2400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Fabric (SFC)</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6+1 fabric redundancy</a:t>
                      </a:r>
                      <a:endParaRPr lang="en-US" sz="11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08"/>
                  </a:ext>
                </a:extLst>
              </a:tr>
              <a:tr h="14401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Line cards</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High Density Fixed</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  100G: 4X100GE, 8X100GE. 12X100GE, 16X100GE, 32X100G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  10G: 24X10GE-1G, 48X10GE-1G</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Modular</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  MOD200, MOD400</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  MPAs: 20xGE, 4x10G, 8x10G, 2x40G, 1x100G, 20x10G, 2x100G</a:t>
                      </a:r>
                      <a:br>
                        <a:rPr lang="en-US" sz="1100" baseline="0" dirty="0">
                          <a:solidFill>
                            <a:schemeClr val="tx2"/>
                          </a:solidFill>
                        </a:rPr>
                      </a:br>
                      <a:r>
                        <a:rPr lang="en-US" sz="1100" baseline="0" dirty="0">
                          <a:solidFill>
                            <a:schemeClr val="tx2"/>
                          </a:solidFill>
                        </a:rPr>
                        <a:t>Low Density Fixed</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  40x1GE, 4x10G+16x1GE</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2"/>
                          </a:solidFill>
                        </a:rPr>
                        <a:t>Service Card:  Virtualized Service Module (VSM)</a:t>
                      </a:r>
                      <a:endParaRPr lang="en-US" sz="1100" baseline="0" dirty="0">
                        <a:solidFill>
                          <a:schemeClr val="tx2"/>
                        </a:solidFill>
                        <a:latin typeface="+mn-lt"/>
                      </a:endParaRPr>
                    </a:p>
                  </a:txBody>
                  <a:tcPr marL="91416" marR="91416" marT="34290" marB="34290" anchor="ctr"/>
                </a:tc>
                <a:extLst>
                  <a:ext uri="{0D108BD9-81ED-4DB2-BD59-A6C34878D82A}">
                    <a16:rowId xmlns:a16="http://schemas.microsoft.com/office/drawing/2014/main" val="10009"/>
                  </a:ext>
                </a:extLst>
              </a:tr>
              <a:tr h="41648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2"/>
                          </a:solidFill>
                        </a:rPr>
                        <a:t>Bandwidth</a:t>
                      </a:r>
                      <a:endParaRPr lang="en-US" sz="1100" b="1" dirty="0">
                        <a:solidFill>
                          <a:schemeClr val="tx2"/>
                        </a:solidFill>
                        <a:latin typeface="+mn-lt"/>
                        <a:cs typeface="Arial" pitchFamily="34" charset="0"/>
                      </a:endParaRPr>
                    </a:p>
                  </a:txBody>
                  <a:tcPr marL="91416" marR="91416"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SFC2:       1.6 </a:t>
                      </a:r>
                      <a:r>
                        <a:rPr lang="en-US" sz="900" baseline="0" dirty="0" err="1">
                          <a:solidFill>
                            <a:schemeClr val="tx2"/>
                          </a:solidFill>
                        </a:rPr>
                        <a:t>Tbps</a:t>
                      </a:r>
                      <a:r>
                        <a:rPr lang="en-US" sz="900" baseline="0" dirty="0">
                          <a:solidFill>
                            <a:schemeClr val="tx2"/>
                          </a:solidFill>
                        </a:rPr>
                        <a:t>/slo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2"/>
                          </a:solidFill>
                        </a:rPr>
                        <a:t>SFC3:        4.2Tbps per slot</a:t>
                      </a:r>
                      <a:endParaRPr lang="en-US" sz="900" dirty="0">
                        <a:solidFill>
                          <a:schemeClr val="tx2"/>
                        </a:solidFill>
                        <a:latin typeface="+mn-lt"/>
                        <a:cs typeface="Arial" pitchFamily="34" charset="0"/>
                      </a:endParaRPr>
                    </a:p>
                  </a:txBody>
                  <a:tcPr marL="91416" marR="91416" marT="34290" marB="3429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675057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11.0&quot;&gt;&lt;object type=&quot;1&quot; unique_id=&quot;10001&quot;&gt;&lt;object type=&quot;2&quot; unique_id=&quot;10002&quot;&gt;&lt;object type=&quot;3&quot; unique_id=&quot;184153&quot;&gt;&lt;property id=&quot;20148&quot; value=&quot;5&quot;/&gt;&lt;property id=&quot;20300&quot; value=&quot;Slide 6 - &amp;quot;Use this slide for transitions&amp;quot;&quot;/&gt;&lt;property id=&quot;20307&quot; value=&quot;257&quot;/&gt;&lt;/object&gt;&lt;object type=&quot;3&quot; unique_id=&quot;184154&quot;&gt;&lt;property id=&quot;20148&quot; value=&quot;5&quot;/&gt;&lt;property id=&quot;20300&quot; value=&quot;Slide 25 - &amp;quot;Color palette&amp;quot;&quot;/&gt;&lt;property id=&quot;20307&quot; value=&quot;258&quot;/&gt;&lt;/object&gt;&lt;object type=&quot;3&quot; unique_id=&quot;184155&quot;&gt;&lt;property id=&quot;20148&quot; value=&quot;5&quot;/&gt;&lt;property id=&quot;20300&quot; value=&quot;Slide 13 - &amp;quot;Two-column layout&amp;quot;&quot;/&gt;&lt;property id=&quot;20307&quot; value=&quot;259&quot;/&gt;&lt;/object&gt;&lt;object type=&quot;3&quot; unique_id=&quot;184156&quot;&gt;&lt;property id=&quot;20148&quot; value=&quot;5&quot;/&gt;&lt;property id=&quot;20300&quot; value=&quot;Slide 19 - &amp;quot;This is a sample headline&amp;quot;&quot;/&gt;&lt;property id=&quot;20307&quot; value=&quot;260&quot;/&gt;&lt;/object&gt;&lt;object type=&quot;3&quot; unique_id=&quot;184157&quot;&gt;&lt;property id=&quot;20148&quot; value=&quot;5&quot;/&gt;&lt;property id=&quot;20300&quot; value=&quot;Slide 20 - &amp;quot;Slide title&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4 - &amp;quot;This is a sample headline&amp;quot;&quot;/&gt;&lt;property id=&quot;20307&quot; value=&quot;265&quot;/&gt;&lt;/object&gt;&lt;object type=&quot;3&quot; unique_id=&quot;184162&quot;&gt;&lt;property id=&quot;20148&quot; value=&quot;5&quot;/&gt;&lt;property id=&quot;20300&quot; value=&quot;Slide 15 - &amp;quot;This is a sample headline&amp;quot;&quot;/&gt;&lt;property id=&quot;20307&quot; value=&quot;266&quot;/&gt;&lt;/object&gt;&lt;object type=&quot;3&quot; unique_id=&quot;184163&quot;&gt;&lt;property id=&quot;20148&quot; value=&quot;5&quot;/&gt;&lt;property id=&quot;20300&quot; value=&quot;Slide 16 - &amp;quot;This is a sample headline&amp;quot;&quot;/&gt;&lt;property id=&quot;20307&quot; value=&quot;267&quot;/&gt;&lt;/object&gt;&lt;object type=&quot;3&quot; unique_id=&quot;184164&quot;&gt;&lt;property id=&quot;20148&quot; value=&quot;5&quot;/&gt;&lt;property id=&quot;20300&quot; value=&quot;Slide 21 - &amp;quot;Use this layout when pairing words with a picture.&amp;quot;&quot;/&gt;&lt;property id=&quot;20307&quot; value=&quot;268&quot;/&gt;&lt;/object&gt;&lt;object type=&quot;3&quot; unique_id=&quot;184165&quot;&gt;&lt;property id=&quot;20148&quot; value=&quot;5&quot;/&gt;&lt;property id=&quot;20300&quot; value=&quot;Slide 22 - &amp;quot;Use this layout when pairing words with a picture.&amp;quot;&quot;/&gt;&lt;property id=&quot;20307&quot; value=&quot;269&quot;/&gt;&lt;/object&gt;&lt;object type=&quot;3&quot; unique_id=&quot;184166&quot;&gt;&lt;property id=&quot;20148&quot; value=&quot;5&quot;/&gt;&lt;property id=&quot;20300&quot; value=&quot;Slide 23&quot;/&gt;&lt;property id=&quot;20307&quot; value=&quot;270&quot;/&gt;&lt;/object&gt;&lt;object type=&quot;3&quot; unique_id=&quot;198815&quot;&gt;&lt;property id=&quot;20148&quot; value=&quot;5&quot;/&gt;&lt;property id=&quot;20300&quot; value=&quot;Slide 24 - &amp;quot;Best practices&amp;quot;&quot;/&gt;&lt;property id=&quot;20307&quot; value=&quot;286&quot;/&gt;&lt;/object&gt;&lt;object type=&quot;3&quot; unique_id=&quot;198816&quot;&gt;&lt;property id=&quot;20148&quot; value=&quot;5&quot;/&gt;&lt;property id=&quot;20300&quot; value=&quot;Slide 26 - &amp;quot;Only use the themes provided&amp;quot;&quot;/&gt;&lt;property id=&quot;20307&quot; value=&quot;287&quot;/&gt;&lt;/object&gt;&lt;object type=&quot;3&quot; unique_id=&quot;198998&quot;&gt;&lt;property id=&quot;20148&quot; value=&quot;5&quot;/&gt;&lt;property id=&quot;20300&quot; value=&quot;Slide 27 - &amp;quot;Seven tips for better presentations&amp;quot;&quot;/&gt;&lt;property id=&quot;20307&quot; value=&quot;288&quot;/&gt;&lt;/object&gt;&lt;object type=&quot;3&quot; unique_id=&quot;199061&quot;&gt;&lt;property id=&quot;20148&quot; value=&quot;5&quot;/&gt;&lt;property id=&quot;20300&quot; value=&quot;Slide 1 - &amp;quot;Please read&amp;quot;&quot;/&gt;&lt;property id=&quot;20307&quot; value=&quot;303&quot;/&gt;&lt;/object&gt;&lt;object type=&quot;3&quot; unique_id=&quot;199062&quot;&gt;&lt;property id=&quot;20148&quot; value=&quot;5&quot;/&gt;&lt;property id=&quot;20300&quot; value=&quot;Slide 2 - &amp;quot;Everyone is responsible  for security&amp;quot;&quot;/&gt;&lt;property id=&quot;20307&quot; value=&quot;443&quot;/&gt;&lt;/object&gt;&lt;object type=&quot;3&quot; unique_id=&quot;199063&quot;&gt;&lt;property id=&quot;20148&quot; value=&quot;5&quot;/&gt;&lt;property id=&quot;20300&quot; value=&quot;Slide 3 - &amp;quot;Please read&amp;quot;&quot;/&gt;&lt;property id=&quot;20307&quot; value=&quot;444&quot;/&gt;&lt;/object&gt;&lt;object type=&quot;3&quot; unique_id=&quot;199064&quot;&gt;&lt;property id=&quot;20148&quot; value=&quot;5&quot;/&gt;&lt;property id=&quot;20300&quot; value=&quot;Slide 4 - &amp;quot;Color themes&amp;quot;&quot;/&gt;&lt;property id=&quot;20307&quot; value=&quot;445&quot;/&gt;&lt;/object&gt;&lt;object type=&quot;3&quot; unique_id=&quot;199065&quot;&gt;&lt;property id=&quot;20148&quot; value=&quot;5&quot;/&gt;&lt;property id=&quot;20300&quot; value=&quot;Slide 5 - &amp;quot;Presentation Title Goes Here&amp;quot;&quot;/&gt;&lt;property id=&quot;20307&quot; value=&quot;256&quot;/&gt;&lt;/object&gt;&lt;object type=&quot;3&quot; unique_id=&quot;199066&quot;&gt;&lt;property id=&quot;20148&quot; value=&quot;5&quot;/&gt;&lt;property id=&quot;20300&quot; value=&quot;Slide 7 - &amp;quot;Use this slide for transitions&amp;quot;&quot;/&gt;&lt;property id=&quot;20307&quot; value=&quot;302&quot;/&gt;&lt;/object&gt;&lt;object type=&quot;3&quot; unique_id=&quot;199067&quot;&gt;&lt;property id=&quot;20148&quot; value=&quot;5&quot;/&gt;&lt;property id=&quot;20300&quot; value=&quot;Slide 8 - &amp;quot;“Design is the silent  ambassador of your brand.”&amp;quot;&quot;/&gt;&lt;property id=&quot;20307&quot; value=&quot;293&quot;/&gt;&lt;/object&gt;&lt;object type=&quot;3&quot; unique_id=&quot;199068&quot;&gt;&lt;property id=&quot;20148&quot; value=&quot;5&quot;/&gt;&lt;property id=&quot;20300&quot; value=&quot;Slide 9 - &amp;quot;“Design is the silent  ambassador of your brand.”&amp;quot;&quot;/&gt;&lt;property id=&quot;20307&quot; value=&quot;301&quot;/&gt;&lt;/object&gt;&lt;object type=&quot;3&quot; unique_id=&quot;199069&quot;&gt;&lt;property id=&quot;20148&quot; value=&quot;5&quot;/&gt;&lt;property id=&quot;20300&quot; value=&quot;Slide 17 - &amp;quot;Bar charts&amp;quot;&quot;/&gt;&lt;property id=&quot;20307&quot; value=&quot;298&quot;/&gt;&lt;/object&gt;&lt;object type=&quot;3&quot; unique_id=&quot;199070&quot;&gt;&lt;property id=&quot;20148&quot; value=&quot;5&quot;/&gt;&lt;property id=&quot;20300&quot; value=&quot;Slide 18 - &amp;quot;Line charts&amp;quot;&quot;/&gt;&lt;property id=&quot;20307&quot; value=&quot;300&quot;/&gt;&lt;/object&gt;&lt;object type=&quot;3&quot; unique_id=&quot;199071&quot;&gt;&lt;property id=&quot;20148&quot; value=&quot;5&quot;/&gt;&lt;property id=&quot;20300&quot; value=&quot;Slide 28&quot;/&gt;&lt;property id=&quot;20307&quot; value=&quot;290&quot;/&gt;&lt;/object&gt;&lt;/object&gt;&lt;object type=&quot;8&quot; unique_id=&quot;10268&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xHo7ZhsQAuhKlDIXy18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ZEUTZgixRqJSxnlI7enjw"/>
</p:tagLst>
</file>

<file path=ppt/tags/tag14.xml><?xml version="1.0" encoding="utf-8"?>
<p:tagLst xmlns:a="http://schemas.openxmlformats.org/drawingml/2006/main" xmlns:r="http://schemas.openxmlformats.org/officeDocument/2006/relationships" xmlns:p="http://schemas.openxmlformats.org/presentationml/2006/main">
  <p:tag name="PLACEWARE-AUD-SLIDE-NAME" val="Expense Report Process (after)"/>
</p:tagLst>
</file>

<file path=ppt/tags/tag15.xml><?xml version="1.0" encoding="utf-8"?>
<p:tagLst xmlns:a="http://schemas.openxmlformats.org/drawingml/2006/main" xmlns:r="http://schemas.openxmlformats.org/officeDocument/2006/relationships" xmlns:p="http://schemas.openxmlformats.org/presentationml/2006/main">
  <p:tag name="PLACEWARE-AUD-SLIDE-NAME" val="What did you draw?"/>
</p:tagLst>
</file>

<file path=ppt/tags/tag16.xml><?xml version="1.0" encoding="utf-8"?>
<p:tagLst xmlns:a="http://schemas.openxmlformats.org/drawingml/2006/main" xmlns:r="http://schemas.openxmlformats.org/officeDocument/2006/relationships" xmlns:p="http://schemas.openxmlformats.org/presentationml/2006/main">
  <p:tag name="PLACEWARE-AUD-SLIDE-NAME" val="What did you dr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cs256UaQI6MH_8GYedc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wBYxApZRhglmJ7m5ZKK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xHo7ZhsQAuhKlDIXy18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ZEUTZgixRqJSxnlI7en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16x9_Corporate template_default_June_2019" id="{AC699EBA-485E-4A95-BC08-812E1AF43828}" vid="{AD2D85AF-7E56-42CD-B27A-3DB0E7D34C3A}"/>
    </a:ext>
  </a:extLst>
</a:theme>
</file>

<file path=ppt/theme/theme2.xml><?xml version="1.0" encoding="utf-8"?>
<a:theme xmlns:a="http://schemas.openxmlformats.org/drawingml/2006/main" name="5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2018_16x9_Corporate template_default.pptx" id="{3E8BA8F0-006E-49F4-AA24-535E7EC0AFAE}" vid="{D1F5A12A-9BEB-42C6-86BC-C6B10DEA621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E645426CC3C3348B900E57479C898EF" ma:contentTypeVersion="7" ma:contentTypeDescription="Create a new document." ma:contentTypeScope="" ma:versionID="fdc1906c9ebc5c00d0a040c547f53166">
  <xsd:schema xmlns:xsd="http://www.w3.org/2001/XMLSchema" xmlns:xs="http://www.w3.org/2001/XMLSchema" xmlns:p="http://schemas.microsoft.com/office/2006/metadata/properties" xmlns:ns3="5a361508-a8bd-49ac-aae1-a5acde08ec86" xmlns:ns4="cc328e4a-acc5-4db9-8edf-03a7e14d7082" targetNamespace="http://schemas.microsoft.com/office/2006/metadata/properties" ma:root="true" ma:fieldsID="eca42e25a59c314b5fc5391880bdc64a" ns3:_="" ns4:_="">
    <xsd:import namespace="5a361508-a8bd-49ac-aae1-a5acde08ec86"/>
    <xsd:import namespace="cc328e4a-acc5-4db9-8edf-03a7e14d708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361508-a8bd-49ac-aae1-a5acde08ec8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c328e4a-acc5-4db9-8edf-03a7e14d708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4931B4-E9F0-4967-8A32-106E982D9667}">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5C30D621-1051-4FAC-907A-A437F8C581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361508-a8bd-49ac-aae1-a5acde08ec86"/>
    <ds:schemaRef ds:uri="cc328e4a-acc5-4db9-8edf-03a7e14d708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4A8008C-CA14-46FB-AA25-D5711D97508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x9_Corporate template_default_June_2019</Template>
  <TotalTime>12148</TotalTime>
  <Words>20934</Words>
  <Application>Microsoft Office PowerPoint</Application>
  <PresentationFormat>On-screen Show (16:9)</PresentationFormat>
  <Paragraphs>5000</Paragraphs>
  <Slides>222</Slides>
  <Notes>105</Notes>
  <HiddenSlides>98</HiddenSlides>
  <MMClips>0</MMClips>
  <ScaleCrop>false</ScaleCrop>
  <HeadingPairs>
    <vt:vector size="8" baseType="variant">
      <vt:variant>
        <vt:lpstr>Fonts Used</vt:lpstr>
      </vt:variant>
      <vt:variant>
        <vt:i4>22</vt:i4>
      </vt:variant>
      <vt:variant>
        <vt:lpstr>Theme</vt:lpstr>
      </vt:variant>
      <vt:variant>
        <vt:i4>3</vt:i4>
      </vt:variant>
      <vt:variant>
        <vt:lpstr>Embedded OLE Servers</vt:lpstr>
      </vt:variant>
      <vt:variant>
        <vt:i4>2</vt:i4>
      </vt:variant>
      <vt:variant>
        <vt:lpstr>Slide Titles</vt:lpstr>
      </vt:variant>
      <vt:variant>
        <vt:i4>222</vt:i4>
      </vt:variant>
    </vt:vector>
  </HeadingPairs>
  <TitlesOfParts>
    <vt:vector size="249" baseType="lpstr">
      <vt:lpstr>Arial</vt:lpstr>
      <vt:lpstr>Arial Black</vt:lpstr>
      <vt:lpstr>ArialMT</vt:lpstr>
      <vt:lpstr>Calibri</vt:lpstr>
      <vt:lpstr>Calibri Regular</vt:lpstr>
      <vt:lpstr>Calibri-Bold</vt:lpstr>
      <vt:lpstr>Ciscolight</vt:lpstr>
      <vt:lpstr>CiscoSans</vt:lpstr>
      <vt:lpstr>CiscoSans Light</vt:lpstr>
      <vt:lpstr>CiscoSansTT</vt:lpstr>
      <vt:lpstr>CiscoSansTT ExtraLight</vt:lpstr>
      <vt:lpstr>CiscoSansTT Heavy</vt:lpstr>
      <vt:lpstr>CiscoSansTT Light</vt:lpstr>
      <vt:lpstr>CiscoSansTT Oblique</vt:lpstr>
      <vt:lpstr>CiscoSansTT Regular</vt:lpstr>
      <vt:lpstr>Courier New</vt:lpstr>
      <vt:lpstr>DIN Pro Regular</vt:lpstr>
      <vt:lpstr>Symbol</vt:lpstr>
      <vt:lpstr>Times New Roman</vt:lpstr>
      <vt:lpstr>Verdana</vt:lpstr>
      <vt:lpstr>Vodafone Rg</vt:lpstr>
      <vt:lpstr>Wingdings</vt:lpstr>
      <vt:lpstr>Blue theme 2015 16x9</vt:lpstr>
      <vt:lpstr>5_Blue theme 2015 16x9</vt:lpstr>
      <vt:lpstr>1_Blue theme 2015 16x9</vt:lpstr>
      <vt:lpstr>think-cell Slide</vt:lpstr>
      <vt:lpstr>Visio.Drawing.15</vt:lpstr>
      <vt:lpstr>Vodacom Architecture for Ethiopia</vt:lpstr>
      <vt:lpstr>Flow of presentation</vt:lpstr>
      <vt:lpstr>Ethiopia by Numbers</vt:lpstr>
      <vt:lpstr>Ethiopia by Numbers</vt:lpstr>
      <vt:lpstr>Ethiopia by Numbers</vt:lpstr>
      <vt:lpstr>Assumptions</vt:lpstr>
      <vt:lpstr>Exclusions</vt:lpstr>
      <vt:lpstr>Strategic Intent</vt:lpstr>
      <vt:lpstr>Agenda list</vt:lpstr>
      <vt:lpstr>Business Value of Cisco</vt:lpstr>
      <vt:lpstr>Vodacom Key Business Outcomes</vt:lpstr>
      <vt:lpstr>Network Segments</vt:lpstr>
      <vt:lpstr>Cisco Solution Overview</vt:lpstr>
      <vt:lpstr>Solution Positioning</vt:lpstr>
      <vt:lpstr>Defining the Core Sites</vt:lpstr>
      <vt:lpstr>Fit into end-to-end Architecture</vt:lpstr>
      <vt:lpstr>PowerPoint Presentation</vt:lpstr>
      <vt:lpstr>Distribution Sites</vt:lpstr>
      <vt:lpstr>PowerPoint Presentation</vt:lpstr>
      <vt:lpstr>PowerPoint Presentation</vt:lpstr>
      <vt:lpstr>Aggregation Sites</vt:lpstr>
      <vt:lpstr>PowerPoint Presentation</vt:lpstr>
      <vt:lpstr>PowerPoint Presentation</vt:lpstr>
      <vt:lpstr>PowerPoint Presentation</vt:lpstr>
      <vt:lpstr>Sanity Check Against Population Density</vt:lpstr>
      <vt:lpstr>PowerPoint Presentation</vt:lpstr>
      <vt:lpstr>PowerPoint Presentation</vt:lpstr>
      <vt:lpstr>Access Samp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ear 0 – Sites Per Region</vt:lpstr>
      <vt:lpstr>Year 1 – Sites Per Region</vt:lpstr>
      <vt:lpstr>Year 2 – Sites Per Region</vt:lpstr>
      <vt:lpstr>Year 3 – Sites Per Region</vt:lpstr>
      <vt:lpstr>Year 4 – Sites Per Region</vt:lpstr>
      <vt:lpstr>Year 5 – Sites Per Region</vt:lpstr>
      <vt:lpstr>Year 6 – Sites Per Region</vt:lpstr>
      <vt:lpstr>PowerPoint Presentation</vt:lpstr>
      <vt:lpstr>Radio Access Network (RAN)</vt:lpstr>
      <vt:lpstr>Radio Access and Fronthaul</vt:lpstr>
      <vt:lpstr>Simplification and Values Enabled by vRAN</vt:lpstr>
      <vt:lpstr>Cisco Converged Packet-based Fronthaul</vt:lpstr>
      <vt:lpstr>PowerPoint Presentation</vt:lpstr>
      <vt:lpstr>Fronthaul Portfolio Summary</vt:lpstr>
      <vt:lpstr>Access, Pre-Aggregation</vt:lpstr>
      <vt:lpstr>Access and Pre-Aggregation</vt:lpstr>
      <vt:lpstr>PowerPoint Presentation</vt:lpstr>
      <vt:lpstr>NCS 540 Decision Tree</vt:lpstr>
      <vt:lpstr>NCS 540</vt:lpstr>
      <vt:lpstr> N540X-12Z16G-SYS-A/D (aka Acadia) </vt:lpstr>
      <vt:lpstr>N540X-16Z4G8Q2C-A/D (aka Everglades)</vt:lpstr>
      <vt:lpstr>N540-28Z4C-SYS-A /D (aka Crater Lake)</vt:lpstr>
      <vt:lpstr>N540-12Z20G-SYS-A /D (aka Denali)</vt:lpstr>
      <vt:lpstr>PowerPoint Presentation</vt:lpstr>
      <vt:lpstr>Introducing NCS 560 Next Generation Modular Aggregation Routers</vt:lpstr>
      <vt:lpstr>NCS 560-7 (7RU) Overview</vt:lpstr>
      <vt:lpstr>NCS 560-4 (4RU) Overview</vt:lpstr>
      <vt:lpstr>Metro Transport Building Blocks</vt:lpstr>
      <vt:lpstr>Converged SDN-enabled IP Transport</vt:lpstr>
      <vt:lpstr>Metro Transport – Options The case for Digital Coherent Optics</vt:lpstr>
      <vt:lpstr>Converging IP and Optical Networks</vt:lpstr>
      <vt:lpstr>Reduced Capex, Opex and Complexity with DCO</vt:lpstr>
      <vt:lpstr>IPoEoF Solution Components Optimized delivery of 100/200G to the Access</vt:lpstr>
      <vt:lpstr>Optimized IP + Optical Transport</vt:lpstr>
      <vt:lpstr>400G OTN XP</vt:lpstr>
      <vt:lpstr>100G Density Summary</vt:lpstr>
      <vt:lpstr>Cisco NCS 1000 Programmability and Massive Scale for Data Center Interconnect</vt:lpstr>
      <vt:lpstr>DWDM Transport Overview First to 250G DWDM Pluggable Transport</vt:lpstr>
      <vt:lpstr>Optimized IP + Optical Metro Transport Ready &amp; Trusted Hardware Platforms</vt:lpstr>
      <vt:lpstr>PowerPoint Presentation</vt:lpstr>
      <vt:lpstr>ASR9000 MOD200/400 Cards &amp; MPAs</vt:lpstr>
      <vt:lpstr>NCS5500 Fretta MOD Cards/Routers</vt:lpstr>
      <vt:lpstr>IP Core</vt:lpstr>
      <vt:lpstr>PowerPoint Presentation</vt:lpstr>
      <vt:lpstr>NCS-5500 Position and Portfolio of Services</vt:lpstr>
      <vt:lpstr>NCS 5500 Family Attributes</vt:lpstr>
      <vt:lpstr>NCS-5501(-SE)</vt:lpstr>
      <vt:lpstr>NCS 5501 Base</vt:lpstr>
      <vt:lpstr>NCS 5501 Scale</vt:lpstr>
      <vt:lpstr>NCS 5501</vt:lpstr>
      <vt:lpstr>NCS-5502(-SE)</vt:lpstr>
      <vt:lpstr>NCS 5502 Base</vt:lpstr>
      <vt:lpstr>NCS 5502 Scale</vt:lpstr>
      <vt:lpstr>NCS-55A1-36H-S / NCS-55A1-36H-SE-S</vt:lpstr>
      <vt:lpstr>NCS-55A1-24H</vt:lpstr>
      <vt:lpstr>NCS-55A2-MOD Series</vt:lpstr>
      <vt:lpstr>NCS-55A2-MOD 10G/25G</vt:lpstr>
      <vt:lpstr>PowerPoint Presentation</vt:lpstr>
      <vt:lpstr>PowerPoint Presentation</vt:lpstr>
      <vt:lpstr>PowerPoint Presentation</vt:lpstr>
      <vt:lpstr>Cisco ASR 9910 Overview</vt:lpstr>
      <vt:lpstr>Cisco ASR 9912 Overview</vt:lpstr>
      <vt:lpstr>Cisco ASR 9922 Summary</vt:lpstr>
      <vt:lpstr>Cisco ASR 9010 Overview</vt:lpstr>
      <vt:lpstr>Cisco ASR 9006 Overview</vt:lpstr>
      <vt:lpstr>Cisco ASR 9000 portfolio</vt:lpstr>
      <vt:lpstr>ASR 9000 Series Built to Last 80x capacity increase in ten years; 95% power reduction/G</vt:lpstr>
      <vt:lpstr>PowerPoint Presentation</vt:lpstr>
      <vt:lpstr>Silicon Innovation</vt:lpstr>
      <vt:lpstr>Optics Innovation</vt:lpstr>
      <vt:lpstr>Trust and Security The Industry’s Most Trusted  and Secure Solutions</vt:lpstr>
      <vt:lpstr>5G Innovation Scalable and Trusted Solutions</vt:lpstr>
      <vt:lpstr>5th Generation: Plan of Record</vt:lpstr>
      <vt:lpstr>PowerPoint Presentation</vt:lpstr>
      <vt:lpstr>Converged IP Transport</vt:lpstr>
      <vt:lpstr>Metro Transport Building Blocks</vt:lpstr>
      <vt:lpstr>Converged SDN-enabled IP Transport</vt:lpstr>
      <vt:lpstr>Converging IP and Optical Networks</vt:lpstr>
      <vt:lpstr>Optimized IP + Optical Transport</vt:lpstr>
      <vt:lpstr>400G OTN XP</vt:lpstr>
      <vt:lpstr>Flexible Capacity</vt:lpstr>
      <vt:lpstr>Flexible Consumption  Capacity and Automation PAYG</vt:lpstr>
      <vt:lpstr>Network Economics</vt:lpstr>
      <vt:lpstr>Network-wide License Pooling “Before” Example</vt:lpstr>
      <vt:lpstr>Network-wide License Pooling “After” Example</vt:lpstr>
      <vt:lpstr>IOS-XR Flexible Consumption </vt:lpstr>
      <vt:lpstr>Optimized IP + Optical Transport</vt:lpstr>
      <vt:lpstr>DC-Interconnect</vt:lpstr>
      <vt:lpstr>DC Interconnect</vt:lpstr>
      <vt:lpstr>The Next-Gen DCI Transport Solution Overview</vt:lpstr>
      <vt:lpstr>Cisco’s DCI &amp; Transport Solution Portfolio    </vt:lpstr>
      <vt:lpstr>Intelligent Peering</vt:lpstr>
      <vt:lpstr>Cisco’s Intelligent Peering Solution</vt:lpstr>
      <vt:lpstr>Peering Fabric Design</vt:lpstr>
      <vt:lpstr>Distributed Denial of Service (DDoS)  for Peering Solutions</vt:lpstr>
      <vt:lpstr>Data Center</vt:lpstr>
      <vt:lpstr>Data Center</vt:lpstr>
      <vt:lpstr>Data Centre</vt:lpstr>
      <vt:lpstr>PowerPoint Presentation</vt:lpstr>
      <vt:lpstr>The ETSI NFV Reference Architecture and NFVI</vt:lpstr>
      <vt:lpstr>SP Approaches to NFV</vt:lpstr>
      <vt:lpstr>SP Approaches to NFV</vt:lpstr>
      <vt:lpstr>Cisco NFV Solution Architecture</vt:lpstr>
      <vt:lpstr>Cisco NFVI Platform Use Cases</vt:lpstr>
      <vt:lpstr>Cisco NFVI Solution  Leading Industry Partnerships</vt:lpstr>
      <vt:lpstr>Target Architecture based on ETSI MANO</vt:lpstr>
      <vt:lpstr>PowerPoint Presentation</vt:lpstr>
      <vt:lpstr>Nexus Platforms – Areas of Investment</vt:lpstr>
      <vt:lpstr>Network Insights - Enabling Proactive Action</vt:lpstr>
      <vt:lpstr>Cisco CVIM POD Options</vt:lpstr>
      <vt:lpstr>NDC Pod Design Details</vt:lpstr>
      <vt:lpstr>RDC Pod Design Details</vt:lpstr>
      <vt:lpstr>Cisco VIM Architecture</vt:lpstr>
      <vt:lpstr>Mobile Packet Core</vt:lpstr>
      <vt:lpstr>Mobile Packet Core</vt:lpstr>
      <vt:lpstr>Treehouse Forecasts</vt:lpstr>
      <vt:lpstr>Mobile Network Architecture</vt:lpstr>
      <vt:lpstr>Mobile Network Architecture</vt:lpstr>
      <vt:lpstr>Assumptions</vt:lpstr>
      <vt:lpstr>Core Architecture Assumptions</vt:lpstr>
      <vt:lpstr>Packet Core - Deployment Models</vt:lpstr>
      <vt:lpstr>Cisco Solution Overview for 4G/5G-NSA</vt:lpstr>
      <vt:lpstr>Cisco Core Architecture Play</vt:lpstr>
      <vt:lpstr>Distributed Architecture for Data Growth</vt:lpstr>
      <vt:lpstr>Solution Stack </vt:lpstr>
      <vt:lpstr>Security</vt:lpstr>
      <vt:lpstr>Data Center</vt:lpstr>
      <vt:lpstr>PowerPoint Presentation</vt:lpstr>
      <vt:lpstr>Security Portfolio for Mobile SP</vt:lpstr>
      <vt:lpstr>PowerPoint Presentation</vt:lpstr>
      <vt:lpstr>Distributed Denial of Service (DDoS)  for Peering Solutions</vt:lpstr>
      <vt:lpstr>Automation and Programmability</vt:lpstr>
      <vt:lpstr>Solution Positioning</vt:lpstr>
      <vt:lpstr>PowerPoint Presentation</vt:lpstr>
      <vt:lpstr>Automation and Programmability</vt:lpstr>
      <vt:lpstr>PowerPoint Presentation</vt:lpstr>
      <vt:lpstr>Crosswork Network Automation</vt:lpstr>
      <vt:lpstr>Crosswork Network Automation</vt:lpstr>
      <vt:lpstr>Automate network operation lifecycle</vt:lpstr>
      <vt:lpstr>Network operations lifecycle</vt:lpstr>
      <vt:lpstr>Cross-domain Automation</vt:lpstr>
      <vt:lpstr>Network Architectures</vt:lpstr>
      <vt:lpstr>Validated Designs for Each portion of the Network</vt:lpstr>
      <vt:lpstr>The Service Provider Network of the Future –  A Fabric of Fabrics</vt:lpstr>
      <vt:lpstr>Converged SDN-enabled IP transport</vt:lpstr>
      <vt:lpstr>Cisco Fabric Routing – Simplified Operations Enabled through Automation</vt:lpstr>
      <vt:lpstr>Peering Creates New Requirements</vt:lpstr>
      <vt:lpstr>PowerPoint Presentation</vt:lpstr>
      <vt:lpstr>Segment Routing Necessary for Enterprise Connectivity through the Access router Sites</vt:lpstr>
      <vt:lpstr>How Segment Routing Works</vt:lpstr>
      <vt:lpstr>Benefits of Segment Routing</vt:lpstr>
      <vt:lpstr>Benefits of Segment Routing</vt:lpstr>
      <vt:lpstr>Enterprise Customers Connecting to the SR Network</vt:lpstr>
      <vt:lpstr>Enterprise Connectivity</vt:lpstr>
      <vt:lpstr>PowerPoint Presentation</vt:lpstr>
      <vt:lpstr>Comprehensive CPE Portfolio – Physical and Virtual</vt:lpstr>
      <vt:lpstr>Value Proposition</vt:lpstr>
      <vt:lpstr>PowerPoint Presentation</vt:lpstr>
      <vt:lpstr>Common OS Across IP Network IOS XR 7: Built for All Deployments</vt:lpstr>
      <vt:lpstr>Redefining the Network End-to-End </vt:lpstr>
      <vt:lpstr>Cisco’s overall 5G transport proposition</vt:lpstr>
      <vt:lpstr>Model-driven Telemetry</vt:lpstr>
      <vt:lpstr>Model-driven Telemetry</vt:lpstr>
      <vt:lpstr>High Performance, 5G-ready Portfolio</vt:lpstr>
      <vt:lpstr>Converged SDN Transport Design – End to End</vt:lpstr>
      <vt:lpstr>Converged SDN Transport High-Level Domain View</vt:lpstr>
      <vt:lpstr>Converged SDN Transport High-Level Domain View</vt:lpstr>
      <vt:lpstr>Service Provider Platforms per Place in Network </vt:lpstr>
      <vt:lpstr>High Level Overview of Transport Network</vt:lpstr>
      <vt:lpstr>Simplify Your Transport with Segment Routing</vt:lpstr>
      <vt:lpstr>IOS XR: Simplifying Operations</vt:lpstr>
      <vt:lpstr>A Growing Family</vt:lpstr>
      <vt:lpstr>xHaul Transport Architecture Programmable, High Bandwidth Network Fabric</vt:lpstr>
      <vt:lpstr>Options for Future Growth</vt:lpstr>
      <vt:lpstr>Cisco Fabric Routing – Simplified Operations Enabled through Automation</vt:lpstr>
      <vt:lpstr>Peering Fabric – Distributed Network Functions  </vt:lpstr>
      <vt:lpstr>The Service Provider Network of the Future –  A Fabric of Fabrics</vt:lpstr>
      <vt:lpstr>SP Network - Simplification Journey - Summary</vt:lpstr>
      <vt:lpstr>PowerPoint Presentation</vt:lpstr>
      <vt:lpstr>PowerPoint Presentation</vt:lpstr>
      <vt:lpstr>PowerPoint Presentation</vt:lpstr>
      <vt:lpstr>Converged SDN-enabled IP transport</vt:lpstr>
      <vt:lpstr>PowerPoint Presentation</vt:lpstr>
      <vt:lpstr>PowerPoint Presentation</vt:lpstr>
      <vt:lpstr>Fibre Layout of Ethiotel</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hiopia Architecture Presentation</dc:title>
  <dc:creator>John Meyer (johnmeye)</dc:creator>
  <cp:lastModifiedBy>John Meyer (johnmeye)</cp:lastModifiedBy>
  <cp:revision>56</cp:revision>
  <cp:lastPrinted>2016-04-29T20:31:14Z</cp:lastPrinted>
  <dcterms:created xsi:type="dcterms:W3CDTF">2019-09-26T11:57:25Z</dcterms:created>
  <dcterms:modified xsi:type="dcterms:W3CDTF">2020-08-28T07:02:1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645426CC3C3348B900E57479C898EF</vt:lpwstr>
  </property>
</Properties>
</file>